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wmf" ContentType="image/x-w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gif" ContentType="image/gif"/>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Masters/slideMaster20.xml" ContentType="application/vnd.openxmlformats-officedocument.presentationml.slideMaster+xml"/>
  <Override PartName="/ppt/slideMasters/slideMaster21.xml" ContentType="application/vnd.openxmlformats-officedocument.presentationml.slideMaster+xml"/>
  <Override PartName="/ppt/slideMasters/slideMaster22.xml" ContentType="application/vnd.openxmlformats-officedocument.presentationml.slideMaster+xml"/>
  <Override PartName="/ppt/slideMasters/slideMaster23.xml" ContentType="application/vnd.openxmlformats-officedocument.presentationml.slideMaster+xml"/>
  <Override PartName="/ppt/slideMasters/slideMaster24.xml" ContentType="application/vnd.openxmlformats-officedocument.presentationml.slideMaster+xml"/>
  <Override PartName="/ppt/slideMasters/slideMaster25.xml" ContentType="application/vnd.openxmlformats-officedocument.presentationml.slideMaster+xml"/>
  <Override PartName="/ppt/slideMasters/slideMaster26.xml" ContentType="application/vnd.openxmlformats-officedocument.presentationml.slideMaster+xml"/>
  <Override PartName="/ppt/slideMasters/slideMaster27.xml" ContentType="application/vnd.openxmlformats-officedocument.presentationml.slideMaster+xml"/>
  <Override PartName="/ppt/slideMasters/slideMaster28.xml" ContentType="application/vnd.openxmlformats-officedocument.presentationml.slideMaster+xml"/>
  <Override PartName="/ppt/slideMasters/slideMaster29.xml" ContentType="application/vnd.openxmlformats-officedocument.presentationml.slideMaster+xml"/>
  <Override PartName="/ppt/slideMasters/slideMaster30.xml" ContentType="application/vnd.openxmlformats-officedocument.presentationml.slideMaster+xml"/>
  <Override PartName="/ppt/slideMasters/slideMaster31.xml" ContentType="application/vnd.openxmlformats-officedocument.presentationml.slideMaster+xml"/>
  <Override PartName="/ppt/slideMasters/slideMaster32.xml" ContentType="application/vnd.openxmlformats-officedocument.presentationml.slideMaster+xml"/>
  <Override PartName="/ppt/slideMasters/slideMaster33.xml" ContentType="application/vnd.openxmlformats-officedocument.presentationml.slideMaster+xml"/>
  <Override PartName="/ppt/slideMasters/slideMaster34.xml" ContentType="application/vnd.openxmlformats-officedocument.presentationml.slideMaster+xml"/>
  <Override PartName="/ppt/slideMasters/slideMaster35.xml" ContentType="application/vnd.openxmlformats-officedocument.presentationml.slideMaster+xml"/>
  <Override PartName="/ppt/slideMasters/slideMaster36.xml" ContentType="application/vnd.openxmlformats-officedocument.presentationml.slideMaster+xml"/>
  <Override PartName="/ppt/slideMasters/slideMaster37.xml" ContentType="application/vnd.openxmlformats-officedocument.presentationml.slideMaster+xml"/>
  <Override PartName="/ppt/slideMasters/slideMaster38.xml" ContentType="application/vnd.openxmlformats-officedocument.presentationml.slideMaster+xml"/>
  <Override PartName="/ppt/slideMasters/slideMaster39.xml" ContentType="application/vnd.openxmlformats-officedocument.presentationml.slideMaster+xml"/>
  <Override PartName="/ppt/slideMasters/slideMaster40.xml" ContentType="application/vnd.openxmlformats-officedocument.presentationml.slideMaster+xml"/>
  <Override PartName="/ppt/slideMasters/slideMaster41.xml" ContentType="application/vnd.openxmlformats-officedocument.presentationml.slideMaster+xml"/>
  <Override PartName="/ppt/slideMasters/slideMaster42.xml" ContentType="application/vnd.openxmlformats-officedocument.presentationml.slideMaster+xml"/>
  <Override PartName="/ppt/slideMasters/slideMaster43.xml" ContentType="application/vnd.openxmlformats-officedocument.presentationml.slideMaster+xml"/>
  <Override PartName="/ppt/slideMasters/slideMaster44.xml" ContentType="application/vnd.openxmlformats-officedocument.presentationml.slideMaster+xml"/>
  <Override PartName="/ppt/slideMasters/slideMaster45.xml" ContentType="application/vnd.openxmlformats-officedocument.presentationml.slideMaster+xml"/>
  <Override PartName="/ppt/slideMasters/slideMaster46.xml" ContentType="application/vnd.openxmlformats-officedocument.presentationml.slideMaster+xml"/>
  <Override PartName="/ppt/slideMasters/slideMaster47.xml" ContentType="application/vnd.openxmlformats-officedocument.presentationml.slideMaster+xml"/>
  <Override PartName="/ppt/slideMasters/slideMaster48.xml" ContentType="application/vnd.openxmlformats-officedocument.presentationml.slideMaster+xml"/>
  <Override PartName="/ppt/slideMasters/slideMaster49.xml" ContentType="application/vnd.openxmlformats-officedocument.presentationml.slideMaster+xml"/>
  <Override PartName="/ppt/slideMasters/slideMaster50.xml" ContentType="application/vnd.openxmlformats-officedocument.presentationml.slideMaster+xml"/>
  <Override PartName="/ppt/slideMasters/slideMaster51.xml" ContentType="application/vnd.openxmlformats-officedocument.presentationml.slideMaster+xml"/>
  <Override PartName="/ppt/slideMasters/slideMaster5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heme/theme2.xml" ContentType="application/vnd.openxmlformats-officedocument.theme+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3.xml" ContentType="application/vnd.openxmlformats-officedocument.theme+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4.xml" ContentType="application/vnd.openxmlformats-officedocument.theme+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5.xml" ContentType="application/vnd.openxmlformats-officedocument.theme+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6.xml" ContentType="application/vnd.openxmlformats-officedocument.theme+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heme/theme7.xml" ContentType="application/vnd.openxmlformats-officedocument.theme+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heme/theme8.xml" ContentType="application/vnd.openxmlformats-officedocument.theme+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9.xml" ContentType="application/vnd.openxmlformats-officedocument.theme+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theme/theme10.xml" ContentType="application/vnd.openxmlformats-officedocument.theme+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heme/theme11.xml" ContentType="application/vnd.openxmlformats-officedocument.theme+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theme/theme12.xml" ContentType="application/vnd.openxmlformats-officedocument.theme+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tags/tag419.xml" ContentType="application/vnd.openxmlformats-officedocument.presentationml.tags+xml"/>
  <Override PartName="/ppt/tags/tag420.xml" ContentType="application/vnd.openxmlformats-officedocument.presentationml.tags+xml"/>
  <Override PartName="/ppt/tags/tag421.xml" ContentType="application/vnd.openxmlformats-officedocument.presentationml.tags+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theme/theme13.xml" ContentType="application/vnd.openxmlformats-officedocument.theme+xml"/>
  <Override PartName="/ppt/tags/tag422.xml" ContentType="application/vnd.openxmlformats-officedocument.presentationml.tags+xml"/>
  <Override PartName="/ppt/tags/tag423.xml" ContentType="application/vnd.openxmlformats-officedocument.presentationml.tags+xml"/>
  <Override PartName="/ppt/tags/tag424.xml" ContentType="application/vnd.openxmlformats-officedocument.presentationml.tags+xml"/>
  <Override PartName="/ppt/tags/tag425.xml" ContentType="application/vnd.openxmlformats-officedocument.presentationml.tags+xml"/>
  <Override PartName="/ppt/tags/tag426.xml" ContentType="application/vnd.openxmlformats-officedocument.presentationml.tags+xml"/>
  <Override PartName="/ppt/tags/tag427.xml" ContentType="application/vnd.openxmlformats-officedocument.presentationml.tags+xml"/>
  <Override PartName="/ppt/tags/tag428.xml" ContentType="application/vnd.openxmlformats-officedocument.presentationml.tags+xml"/>
  <Override PartName="/ppt/tags/tag429.xml" ContentType="application/vnd.openxmlformats-officedocument.presentationml.tags+xml"/>
  <Override PartName="/ppt/tags/tag430.xml" ContentType="application/vnd.openxmlformats-officedocument.presentationml.tags+xml"/>
  <Override PartName="/ppt/tags/tag431.xml" ContentType="application/vnd.openxmlformats-officedocument.presentationml.tags+xml"/>
  <Override PartName="/ppt/tags/tag432.xml" ContentType="application/vnd.openxmlformats-officedocument.presentationml.tags+xml"/>
  <Override PartName="/ppt/tags/tag433.xml" ContentType="application/vnd.openxmlformats-officedocument.presentationml.tags+xml"/>
  <Override PartName="/ppt/tags/tag434.xml" ContentType="application/vnd.openxmlformats-officedocument.presentationml.tags+xml"/>
  <Override PartName="/ppt/tags/tag435.xml" ContentType="application/vnd.openxmlformats-officedocument.presentationml.tags+xml"/>
  <Override PartName="/ppt/tags/tag436.xml" ContentType="application/vnd.openxmlformats-officedocument.presentationml.tags+xml"/>
  <Override PartName="/ppt/tags/tag437.xml" ContentType="application/vnd.openxmlformats-officedocument.presentationml.tags+xml"/>
  <Override PartName="/ppt/tags/tag438.xml" ContentType="application/vnd.openxmlformats-officedocument.presentationml.tags+xml"/>
  <Override PartName="/ppt/tags/tag439.xml" ContentType="application/vnd.openxmlformats-officedocument.presentationml.tags+xml"/>
  <Override PartName="/ppt/tags/tag440.xml" ContentType="application/vnd.openxmlformats-officedocument.presentationml.tags+xml"/>
  <Override PartName="/ppt/tags/tag441.xml" ContentType="application/vnd.openxmlformats-officedocument.presentationml.tags+xml"/>
  <Override PartName="/ppt/tags/tag442.xml" ContentType="application/vnd.openxmlformats-officedocument.presentationml.tags+xml"/>
  <Override PartName="/ppt/tags/tag443.xml" ContentType="application/vnd.openxmlformats-officedocument.presentationml.tags+xml"/>
  <Override PartName="/ppt/tags/tag444.xml" ContentType="application/vnd.openxmlformats-officedocument.presentationml.tags+xml"/>
  <Override PartName="/ppt/tags/tag445.xml" ContentType="application/vnd.openxmlformats-officedocument.presentationml.tags+xml"/>
  <Override PartName="/ppt/tags/tag446.xml" ContentType="application/vnd.openxmlformats-officedocument.presentationml.tags+xml"/>
  <Override PartName="/ppt/tags/tag447.xml" ContentType="application/vnd.openxmlformats-officedocument.presentationml.tags+xml"/>
  <Override PartName="/ppt/tags/tag448.xml" ContentType="application/vnd.openxmlformats-officedocument.presentationml.tags+xml"/>
  <Override PartName="/ppt/tags/tag449.xml" ContentType="application/vnd.openxmlformats-officedocument.presentationml.tags+xml"/>
  <Override PartName="/ppt/tags/tag450.xml" ContentType="application/vnd.openxmlformats-officedocument.presentationml.tags+xml"/>
  <Override PartName="/ppt/tags/tag451.xml" ContentType="application/vnd.openxmlformats-officedocument.presentationml.tags+xml"/>
  <Override PartName="/ppt/tags/tag452.xml" ContentType="application/vnd.openxmlformats-officedocument.presentationml.tags+xml"/>
  <Override PartName="/ppt/tags/tag453.xml" ContentType="application/vnd.openxmlformats-officedocument.presentationml.tags+xml"/>
  <Override PartName="/ppt/tags/tag454.xml" ContentType="application/vnd.openxmlformats-officedocument.presentationml.tags+xml"/>
  <Override PartName="/ppt/tags/tag455.xml" ContentType="application/vnd.openxmlformats-officedocument.presentationml.tags+xml"/>
  <Override PartName="/ppt/tags/tag456.xml" ContentType="application/vnd.openxmlformats-officedocument.presentationml.tags+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theme/theme14.xml" ContentType="application/vnd.openxmlformats-officedocument.theme+xml"/>
  <Override PartName="/ppt/tags/tag457.xml" ContentType="application/vnd.openxmlformats-officedocument.presentationml.tags+xml"/>
  <Override PartName="/ppt/tags/tag458.xml" ContentType="application/vnd.openxmlformats-officedocument.presentationml.tags+xml"/>
  <Override PartName="/ppt/tags/tag459.xml" ContentType="application/vnd.openxmlformats-officedocument.presentationml.tags+xml"/>
  <Override PartName="/ppt/tags/tag460.xml" ContentType="application/vnd.openxmlformats-officedocument.presentationml.tags+xml"/>
  <Override PartName="/ppt/tags/tag461.xml" ContentType="application/vnd.openxmlformats-officedocument.presentationml.tags+xml"/>
  <Override PartName="/ppt/tags/tag462.xml" ContentType="application/vnd.openxmlformats-officedocument.presentationml.tags+xml"/>
  <Override PartName="/ppt/tags/tag463.xml" ContentType="application/vnd.openxmlformats-officedocument.presentationml.tags+xml"/>
  <Override PartName="/ppt/tags/tag464.xml" ContentType="application/vnd.openxmlformats-officedocument.presentationml.tags+xml"/>
  <Override PartName="/ppt/tags/tag465.xml" ContentType="application/vnd.openxmlformats-officedocument.presentationml.tags+xml"/>
  <Override PartName="/ppt/tags/tag466.xml" ContentType="application/vnd.openxmlformats-officedocument.presentationml.tags+xml"/>
  <Override PartName="/ppt/tags/tag467.xml" ContentType="application/vnd.openxmlformats-officedocument.presentationml.tags+xml"/>
  <Override PartName="/ppt/tags/tag468.xml" ContentType="application/vnd.openxmlformats-officedocument.presentationml.tags+xml"/>
  <Override PartName="/ppt/tags/tag469.xml" ContentType="application/vnd.openxmlformats-officedocument.presentationml.tags+xml"/>
  <Override PartName="/ppt/tags/tag470.xml" ContentType="application/vnd.openxmlformats-officedocument.presentationml.tags+xml"/>
  <Override PartName="/ppt/tags/tag471.xml" ContentType="application/vnd.openxmlformats-officedocument.presentationml.tags+xml"/>
  <Override PartName="/ppt/tags/tag472.xml" ContentType="application/vnd.openxmlformats-officedocument.presentationml.tags+xml"/>
  <Override PartName="/ppt/tags/tag473.xml" ContentType="application/vnd.openxmlformats-officedocument.presentationml.tags+xml"/>
  <Override PartName="/ppt/tags/tag474.xml" ContentType="application/vnd.openxmlformats-officedocument.presentationml.tags+xml"/>
  <Override PartName="/ppt/tags/tag475.xml" ContentType="application/vnd.openxmlformats-officedocument.presentationml.tags+xml"/>
  <Override PartName="/ppt/tags/tag476.xml" ContentType="application/vnd.openxmlformats-officedocument.presentationml.tags+xml"/>
  <Override PartName="/ppt/tags/tag477.xml" ContentType="application/vnd.openxmlformats-officedocument.presentationml.tags+xml"/>
  <Override PartName="/ppt/tags/tag478.xml" ContentType="application/vnd.openxmlformats-officedocument.presentationml.tags+xml"/>
  <Override PartName="/ppt/tags/tag479.xml" ContentType="application/vnd.openxmlformats-officedocument.presentationml.tags+xml"/>
  <Override PartName="/ppt/tags/tag480.xml" ContentType="application/vnd.openxmlformats-officedocument.presentationml.tags+xml"/>
  <Override PartName="/ppt/tags/tag481.xml" ContentType="application/vnd.openxmlformats-officedocument.presentationml.tags+xml"/>
  <Override PartName="/ppt/tags/tag482.xml" ContentType="application/vnd.openxmlformats-officedocument.presentationml.tags+xml"/>
  <Override PartName="/ppt/tags/tag483.xml" ContentType="application/vnd.openxmlformats-officedocument.presentationml.tags+xml"/>
  <Override PartName="/ppt/tags/tag484.xml" ContentType="application/vnd.openxmlformats-officedocument.presentationml.tags+xml"/>
  <Override PartName="/ppt/tags/tag485.xml" ContentType="application/vnd.openxmlformats-officedocument.presentationml.tags+xml"/>
  <Override PartName="/ppt/tags/tag486.xml" ContentType="application/vnd.openxmlformats-officedocument.presentationml.tags+xml"/>
  <Override PartName="/ppt/tags/tag487.xml" ContentType="application/vnd.openxmlformats-officedocument.presentationml.tags+xml"/>
  <Override PartName="/ppt/tags/tag488.xml" ContentType="application/vnd.openxmlformats-officedocument.presentationml.tags+xml"/>
  <Override PartName="/ppt/tags/tag489.xml" ContentType="application/vnd.openxmlformats-officedocument.presentationml.tags+xml"/>
  <Override PartName="/ppt/tags/tag490.xml" ContentType="application/vnd.openxmlformats-officedocument.presentationml.tags+xml"/>
  <Override PartName="/ppt/tags/tag491.xml" ContentType="application/vnd.openxmlformats-officedocument.presentationml.tags+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theme/theme15.xml" ContentType="application/vnd.openxmlformats-officedocument.theme+xml"/>
  <Override PartName="/ppt/tags/tag492.xml" ContentType="application/vnd.openxmlformats-officedocument.presentationml.tags+xml"/>
  <Override PartName="/ppt/tags/tag493.xml" ContentType="application/vnd.openxmlformats-officedocument.presentationml.tags+xml"/>
  <Override PartName="/ppt/tags/tag494.xml" ContentType="application/vnd.openxmlformats-officedocument.presentationml.tags+xml"/>
  <Override PartName="/ppt/tags/tag495.xml" ContentType="application/vnd.openxmlformats-officedocument.presentationml.tags+xml"/>
  <Override PartName="/ppt/tags/tag496.xml" ContentType="application/vnd.openxmlformats-officedocument.presentationml.tags+xml"/>
  <Override PartName="/ppt/tags/tag497.xml" ContentType="application/vnd.openxmlformats-officedocument.presentationml.tags+xml"/>
  <Override PartName="/ppt/tags/tag498.xml" ContentType="application/vnd.openxmlformats-officedocument.presentationml.tags+xml"/>
  <Override PartName="/ppt/tags/tag499.xml" ContentType="application/vnd.openxmlformats-officedocument.presentationml.tags+xml"/>
  <Override PartName="/ppt/tags/tag500.xml" ContentType="application/vnd.openxmlformats-officedocument.presentationml.tags+xml"/>
  <Override PartName="/ppt/tags/tag501.xml" ContentType="application/vnd.openxmlformats-officedocument.presentationml.tags+xml"/>
  <Override PartName="/ppt/tags/tag502.xml" ContentType="application/vnd.openxmlformats-officedocument.presentationml.tags+xml"/>
  <Override PartName="/ppt/tags/tag503.xml" ContentType="application/vnd.openxmlformats-officedocument.presentationml.tags+xml"/>
  <Override PartName="/ppt/tags/tag504.xml" ContentType="application/vnd.openxmlformats-officedocument.presentationml.tags+xml"/>
  <Override PartName="/ppt/tags/tag505.xml" ContentType="application/vnd.openxmlformats-officedocument.presentationml.tags+xml"/>
  <Override PartName="/ppt/tags/tag506.xml" ContentType="application/vnd.openxmlformats-officedocument.presentationml.tags+xml"/>
  <Override PartName="/ppt/tags/tag507.xml" ContentType="application/vnd.openxmlformats-officedocument.presentationml.tags+xml"/>
  <Override PartName="/ppt/tags/tag508.xml" ContentType="application/vnd.openxmlformats-officedocument.presentationml.tags+xml"/>
  <Override PartName="/ppt/tags/tag509.xml" ContentType="application/vnd.openxmlformats-officedocument.presentationml.tags+xml"/>
  <Override PartName="/ppt/tags/tag510.xml" ContentType="application/vnd.openxmlformats-officedocument.presentationml.tags+xml"/>
  <Override PartName="/ppt/tags/tag511.xml" ContentType="application/vnd.openxmlformats-officedocument.presentationml.tags+xml"/>
  <Override PartName="/ppt/tags/tag512.xml" ContentType="application/vnd.openxmlformats-officedocument.presentationml.tags+xml"/>
  <Override PartName="/ppt/tags/tag513.xml" ContentType="application/vnd.openxmlformats-officedocument.presentationml.tags+xml"/>
  <Override PartName="/ppt/tags/tag514.xml" ContentType="application/vnd.openxmlformats-officedocument.presentationml.tags+xml"/>
  <Override PartName="/ppt/tags/tag515.xml" ContentType="application/vnd.openxmlformats-officedocument.presentationml.tags+xml"/>
  <Override PartName="/ppt/tags/tag516.xml" ContentType="application/vnd.openxmlformats-officedocument.presentationml.tags+xml"/>
  <Override PartName="/ppt/tags/tag517.xml" ContentType="application/vnd.openxmlformats-officedocument.presentationml.tags+xml"/>
  <Override PartName="/ppt/tags/tag518.xml" ContentType="application/vnd.openxmlformats-officedocument.presentationml.tags+xml"/>
  <Override PartName="/ppt/tags/tag519.xml" ContentType="application/vnd.openxmlformats-officedocument.presentationml.tags+xml"/>
  <Override PartName="/ppt/tags/tag520.xml" ContentType="application/vnd.openxmlformats-officedocument.presentationml.tags+xml"/>
  <Override PartName="/ppt/tags/tag521.xml" ContentType="application/vnd.openxmlformats-officedocument.presentationml.tags+xml"/>
  <Override PartName="/ppt/tags/tag522.xml" ContentType="application/vnd.openxmlformats-officedocument.presentationml.tags+xml"/>
  <Override PartName="/ppt/tags/tag523.xml" ContentType="application/vnd.openxmlformats-officedocument.presentationml.tags+xml"/>
  <Override PartName="/ppt/tags/tag524.xml" ContentType="application/vnd.openxmlformats-officedocument.presentationml.tags+xml"/>
  <Override PartName="/ppt/tags/tag525.xml" ContentType="application/vnd.openxmlformats-officedocument.presentationml.tags+xml"/>
  <Override PartName="/ppt/tags/tag526.xml" ContentType="application/vnd.openxmlformats-officedocument.presentationml.tags+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theme/theme16.xml" ContentType="application/vnd.openxmlformats-officedocument.theme+xml"/>
  <Override PartName="/ppt/tags/tag527.xml" ContentType="application/vnd.openxmlformats-officedocument.presentationml.tags+xml"/>
  <Override PartName="/ppt/tags/tag528.xml" ContentType="application/vnd.openxmlformats-officedocument.presentationml.tags+xml"/>
  <Override PartName="/ppt/tags/tag529.xml" ContentType="application/vnd.openxmlformats-officedocument.presentationml.tags+xml"/>
  <Override PartName="/ppt/tags/tag530.xml" ContentType="application/vnd.openxmlformats-officedocument.presentationml.tags+xml"/>
  <Override PartName="/ppt/tags/tag531.xml" ContentType="application/vnd.openxmlformats-officedocument.presentationml.tags+xml"/>
  <Override PartName="/ppt/tags/tag532.xml" ContentType="application/vnd.openxmlformats-officedocument.presentationml.tags+xml"/>
  <Override PartName="/ppt/tags/tag533.xml" ContentType="application/vnd.openxmlformats-officedocument.presentationml.tags+xml"/>
  <Override PartName="/ppt/tags/tag534.xml" ContentType="application/vnd.openxmlformats-officedocument.presentationml.tags+xml"/>
  <Override PartName="/ppt/tags/tag535.xml" ContentType="application/vnd.openxmlformats-officedocument.presentationml.tags+xml"/>
  <Override PartName="/ppt/tags/tag536.xml" ContentType="application/vnd.openxmlformats-officedocument.presentationml.tags+xml"/>
  <Override PartName="/ppt/tags/tag537.xml" ContentType="application/vnd.openxmlformats-officedocument.presentationml.tags+xml"/>
  <Override PartName="/ppt/tags/tag538.xml" ContentType="application/vnd.openxmlformats-officedocument.presentationml.tags+xml"/>
  <Override PartName="/ppt/tags/tag539.xml" ContentType="application/vnd.openxmlformats-officedocument.presentationml.tags+xml"/>
  <Override PartName="/ppt/tags/tag540.xml" ContentType="application/vnd.openxmlformats-officedocument.presentationml.tags+xml"/>
  <Override PartName="/ppt/tags/tag541.xml" ContentType="application/vnd.openxmlformats-officedocument.presentationml.tags+xml"/>
  <Override PartName="/ppt/tags/tag542.xml" ContentType="application/vnd.openxmlformats-officedocument.presentationml.tags+xml"/>
  <Override PartName="/ppt/tags/tag543.xml" ContentType="application/vnd.openxmlformats-officedocument.presentationml.tags+xml"/>
  <Override PartName="/ppt/tags/tag544.xml" ContentType="application/vnd.openxmlformats-officedocument.presentationml.tags+xml"/>
  <Override PartName="/ppt/tags/tag545.xml" ContentType="application/vnd.openxmlformats-officedocument.presentationml.tags+xml"/>
  <Override PartName="/ppt/tags/tag546.xml" ContentType="application/vnd.openxmlformats-officedocument.presentationml.tags+xml"/>
  <Override PartName="/ppt/tags/tag547.xml" ContentType="application/vnd.openxmlformats-officedocument.presentationml.tags+xml"/>
  <Override PartName="/ppt/tags/tag548.xml" ContentType="application/vnd.openxmlformats-officedocument.presentationml.tags+xml"/>
  <Override PartName="/ppt/tags/tag549.xml" ContentType="application/vnd.openxmlformats-officedocument.presentationml.tags+xml"/>
  <Override PartName="/ppt/tags/tag550.xml" ContentType="application/vnd.openxmlformats-officedocument.presentationml.tags+xml"/>
  <Override PartName="/ppt/tags/tag551.xml" ContentType="application/vnd.openxmlformats-officedocument.presentationml.tags+xml"/>
  <Override PartName="/ppt/tags/tag552.xml" ContentType="application/vnd.openxmlformats-officedocument.presentationml.tags+xml"/>
  <Override PartName="/ppt/tags/tag553.xml" ContentType="application/vnd.openxmlformats-officedocument.presentationml.tags+xml"/>
  <Override PartName="/ppt/tags/tag554.xml" ContentType="application/vnd.openxmlformats-officedocument.presentationml.tags+xml"/>
  <Override PartName="/ppt/tags/tag555.xml" ContentType="application/vnd.openxmlformats-officedocument.presentationml.tags+xml"/>
  <Override PartName="/ppt/tags/tag556.xml" ContentType="application/vnd.openxmlformats-officedocument.presentationml.tags+xml"/>
  <Override PartName="/ppt/tags/tag557.xml" ContentType="application/vnd.openxmlformats-officedocument.presentationml.tags+xml"/>
  <Override PartName="/ppt/tags/tag558.xml" ContentType="application/vnd.openxmlformats-officedocument.presentationml.tags+xml"/>
  <Override PartName="/ppt/tags/tag559.xml" ContentType="application/vnd.openxmlformats-officedocument.presentationml.tags+xml"/>
  <Override PartName="/ppt/tags/tag560.xml" ContentType="application/vnd.openxmlformats-officedocument.presentationml.tags+xml"/>
  <Override PartName="/ppt/tags/tag561.xml" ContentType="application/vnd.openxmlformats-officedocument.presentationml.tags+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theme/theme17.xml" ContentType="application/vnd.openxmlformats-officedocument.theme+xml"/>
  <Override PartName="/ppt/tags/tag562.xml" ContentType="application/vnd.openxmlformats-officedocument.presentationml.tags+xml"/>
  <Override PartName="/ppt/tags/tag563.xml" ContentType="application/vnd.openxmlformats-officedocument.presentationml.tags+xml"/>
  <Override PartName="/ppt/tags/tag564.xml" ContentType="application/vnd.openxmlformats-officedocument.presentationml.tags+xml"/>
  <Override PartName="/ppt/tags/tag565.xml" ContentType="application/vnd.openxmlformats-officedocument.presentationml.tags+xml"/>
  <Override PartName="/ppt/tags/tag566.xml" ContentType="application/vnd.openxmlformats-officedocument.presentationml.tags+xml"/>
  <Override PartName="/ppt/tags/tag567.xml" ContentType="application/vnd.openxmlformats-officedocument.presentationml.tags+xml"/>
  <Override PartName="/ppt/tags/tag568.xml" ContentType="application/vnd.openxmlformats-officedocument.presentationml.tags+xml"/>
  <Override PartName="/ppt/tags/tag569.xml" ContentType="application/vnd.openxmlformats-officedocument.presentationml.tags+xml"/>
  <Override PartName="/ppt/tags/tag570.xml" ContentType="application/vnd.openxmlformats-officedocument.presentationml.tags+xml"/>
  <Override PartName="/ppt/tags/tag571.xml" ContentType="application/vnd.openxmlformats-officedocument.presentationml.tags+xml"/>
  <Override PartName="/ppt/tags/tag572.xml" ContentType="application/vnd.openxmlformats-officedocument.presentationml.tags+xml"/>
  <Override PartName="/ppt/tags/tag573.xml" ContentType="application/vnd.openxmlformats-officedocument.presentationml.tags+xml"/>
  <Override PartName="/ppt/tags/tag574.xml" ContentType="application/vnd.openxmlformats-officedocument.presentationml.tags+xml"/>
  <Override PartName="/ppt/tags/tag575.xml" ContentType="application/vnd.openxmlformats-officedocument.presentationml.tags+xml"/>
  <Override PartName="/ppt/tags/tag576.xml" ContentType="application/vnd.openxmlformats-officedocument.presentationml.tags+xml"/>
  <Override PartName="/ppt/tags/tag577.xml" ContentType="application/vnd.openxmlformats-officedocument.presentationml.tags+xml"/>
  <Override PartName="/ppt/tags/tag578.xml" ContentType="application/vnd.openxmlformats-officedocument.presentationml.tags+xml"/>
  <Override PartName="/ppt/tags/tag579.xml" ContentType="application/vnd.openxmlformats-officedocument.presentationml.tags+xml"/>
  <Override PartName="/ppt/tags/tag580.xml" ContentType="application/vnd.openxmlformats-officedocument.presentationml.tags+xml"/>
  <Override PartName="/ppt/tags/tag581.xml" ContentType="application/vnd.openxmlformats-officedocument.presentationml.tags+xml"/>
  <Override PartName="/ppt/tags/tag582.xml" ContentType="application/vnd.openxmlformats-officedocument.presentationml.tags+xml"/>
  <Override PartName="/ppt/tags/tag583.xml" ContentType="application/vnd.openxmlformats-officedocument.presentationml.tags+xml"/>
  <Override PartName="/ppt/tags/tag584.xml" ContentType="application/vnd.openxmlformats-officedocument.presentationml.tags+xml"/>
  <Override PartName="/ppt/tags/tag585.xml" ContentType="application/vnd.openxmlformats-officedocument.presentationml.tags+xml"/>
  <Override PartName="/ppt/tags/tag586.xml" ContentType="application/vnd.openxmlformats-officedocument.presentationml.tags+xml"/>
  <Override PartName="/ppt/tags/tag587.xml" ContentType="application/vnd.openxmlformats-officedocument.presentationml.tags+xml"/>
  <Override PartName="/ppt/tags/tag588.xml" ContentType="application/vnd.openxmlformats-officedocument.presentationml.tags+xml"/>
  <Override PartName="/ppt/tags/tag589.xml" ContentType="application/vnd.openxmlformats-officedocument.presentationml.tags+xml"/>
  <Override PartName="/ppt/tags/tag590.xml" ContentType="application/vnd.openxmlformats-officedocument.presentationml.tags+xml"/>
  <Override PartName="/ppt/tags/tag591.xml" ContentType="application/vnd.openxmlformats-officedocument.presentationml.tags+xml"/>
  <Override PartName="/ppt/tags/tag592.xml" ContentType="application/vnd.openxmlformats-officedocument.presentationml.tags+xml"/>
  <Override PartName="/ppt/tags/tag593.xml" ContentType="application/vnd.openxmlformats-officedocument.presentationml.tags+xml"/>
  <Override PartName="/ppt/tags/tag594.xml" ContentType="application/vnd.openxmlformats-officedocument.presentationml.tags+xml"/>
  <Override PartName="/ppt/tags/tag595.xml" ContentType="application/vnd.openxmlformats-officedocument.presentationml.tags+xml"/>
  <Override PartName="/ppt/tags/tag596.xml" ContentType="application/vnd.openxmlformats-officedocument.presentationml.tags+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theme/theme18.xml" ContentType="application/vnd.openxmlformats-officedocument.theme+xml"/>
  <Override PartName="/ppt/tags/tag597.xml" ContentType="application/vnd.openxmlformats-officedocument.presentationml.tags+xml"/>
  <Override PartName="/ppt/tags/tag598.xml" ContentType="application/vnd.openxmlformats-officedocument.presentationml.tags+xml"/>
  <Override PartName="/ppt/tags/tag599.xml" ContentType="application/vnd.openxmlformats-officedocument.presentationml.tags+xml"/>
  <Override PartName="/ppt/tags/tag600.xml" ContentType="application/vnd.openxmlformats-officedocument.presentationml.tags+xml"/>
  <Override PartName="/ppt/tags/tag601.xml" ContentType="application/vnd.openxmlformats-officedocument.presentationml.tags+xml"/>
  <Override PartName="/ppt/tags/tag602.xml" ContentType="application/vnd.openxmlformats-officedocument.presentationml.tags+xml"/>
  <Override PartName="/ppt/tags/tag603.xml" ContentType="application/vnd.openxmlformats-officedocument.presentationml.tags+xml"/>
  <Override PartName="/ppt/tags/tag604.xml" ContentType="application/vnd.openxmlformats-officedocument.presentationml.tags+xml"/>
  <Override PartName="/ppt/tags/tag605.xml" ContentType="application/vnd.openxmlformats-officedocument.presentationml.tags+xml"/>
  <Override PartName="/ppt/tags/tag606.xml" ContentType="application/vnd.openxmlformats-officedocument.presentationml.tags+xml"/>
  <Override PartName="/ppt/tags/tag607.xml" ContentType="application/vnd.openxmlformats-officedocument.presentationml.tags+xml"/>
  <Override PartName="/ppt/tags/tag608.xml" ContentType="application/vnd.openxmlformats-officedocument.presentationml.tags+xml"/>
  <Override PartName="/ppt/tags/tag609.xml" ContentType="application/vnd.openxmlformats-officedocument.presentationml.tags+xml"/>
  <Override PartName="/ppt/tags/tag610.xml" ContentType="application/vnd.openxmlformats-officedocument.presentationml.tags+xml"/>
  <Override PartName="/ppt/tags/tag611.xml" ContentType="application/vnd.openxmlformats-officedocument.presentationml.tags+xml"/>
  <Override PartName="/ppt/tags/tag612.xml" ContentType="application/vnd.openxmlformats-officedocument.presentationml.tags+xml"/>
  <Override PartName="/ppt/tags/tag613.xml" ContentType="application/vnd.openxmlformats-officedocument.presentationml.tags+xml"/>
  <Override PartName="/ppt/tags/tag614.xml" ContentType="application/vnd.openxmlformats-officedocument.presentationml.tags+xml"/>
  <Override PartName="/ppt/tags/tag615.xml" ContentType="application/vnd.openxmlformats-officedocument.presentationml.tags+xml"/>
  <Override PartName="/ppt/tags/tag616.xml" ContentType="application/vnd.openxmlformats-officedocument.presentationml.tags+xml"/>
  <Override PartName="/ppt/tags/tag617.xml" ContentType="application/vnd.openxmlformats-officedocument.presentationml.tags+xml"/>
  <Override PartName="/ppt/tags/tag618.xml" ContentType="application/vnd.openxmlformats-officedocument.presentationml.tags+xml"/>
  <Override PartName="/ppt/tags/tag619.xml" ContentType="application/vnd.openxmlformats-officedocument.presentationml.tags+xml"/>
  <Override PartName="/ppt/tags/tag620.xml" ContentType="application/vnd.openxmlformats-officedocument.presentationml.tags+xml"/>
  <Override PartName="/ppt/tags/tag621.xml" ContentType="application/vnd.openxmlformats-officedocument.presentationml.tags+xml"/>
  <Override PartName="/ppt/tags/tag622.xml" ContentType="application/vnd.openxmlformats-officedocument.presentationml.tags+xml"/>
  <Override PartName="/ppt/tags/tag623.xml" ContentType="application/vnd.openxmlformats-officedocument.presentationml.tags+xml"/>
  <Override PartName="/ppt/tags/tag624.xml" ContentType="application/vnd.openxmlformats-officedocument.presentationml.tags+xml"/>
  <Override PartName="/ppt/tags/tag625.xml" ContentType="application/vnd.openxmlformats-officedocument.presentationml.tags+xml"/>
  <Override PartName="/ppt/tags/tag626.xml" ContentType="application/vnd.openxmlformats-officedocument.presentationml.tags+xml"/>
  <Override PartName="/ppt/tags/tag627.xml" ContentType="application/vnd.openxmlformats-officedocument.presentationml.tags+xml"/>
  <Override PartName="/ppt/tags/tag628.xml" ContentType="application/vnd.openxmlformats-officedocument.presentationml.tags+xml"/>
  <Override PartName="/ppt/tags/tag629.xml" ContentType="application/vnd.openxmlformats-officedocument.presentationml.tags+xml"/>
  <Override PartName="/ppt/tags/tag630.xml" ContentType="application/vnd.openxmlformats-officedocument.presentationml.tags+xml"/>
  <Override PartName="/ppt/tags/tag631.xml" ContentType="application/vnd.openxmlformats-officedocument.presentationml.tags+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theme/theme19.xml" ContentType="application/vnd.openxmlformats-officedocument.theme+xml"/>
  <Override PartName="/ppt/tags/tag632.xml" ContentType="application/vnd.openxmlformats-officedocument.presentationml.tags+xml"/>
  <Override PartName="/ppt/tags/tag633.xml" ContentType="application/vnd.openxmlformats-officedocument.presentationml.tags+xml"/>
  <Override PartName="/ppt/tags/tag634.xml" ContentType="application/vnd.openxmlformats-officedocument.presentationml.tags+xml"/>
  <Override PartName="/ppt/tags/tag635.xml" ContentType="application/vnd.openxmlformats-officedocument.presentationml.tags+xml"/>
  <Override PartName="/ppt/tags/tag636.xml" ContentType="application/vnd.openxmlformats-officedocument.presentationml.tags+xml"/>
  <Override PartName="/ppt/tags/tag637.xml" ContentType="application/vnd.openxmlformats-officedocument.presentationml.tags+xml"/>
  <Override PartName="/ppt/tags/tag638.xml" ContentType="application/vnd.openxmlformats-officedocument.presentationml.tags+xml"/>
  <Override PartName="/ppt/tags/tag639.xml" ContentType="application/vnd.openxmlformats-officedocument.presentationml.tags+xml"/>
  <Override PartName="/ppt/tags/tag640.xml" ContentType="application/vnd.openxmlformats-officedocument.presentationml.tags+xml"/>
  <Override PartName="/ppt/tags/tag641.xml" ContentType="application/vnd.openxmlformats-officedocument.presentationml.tags+xml"/>
  <Override PartName="/ppt/tags/tag642.xml" ContentType="application/vnd.openxmlformats-officedocument.presentationml.tags+xml"/>
  <Override PartName="/ppt/tags/tag643.xml" ContentType="application/vnd.openxmlformats-officedocument.presentationml.tags+xml"/>
  <Override PartName="/ppt/tags/tag644.xml" ContentType="application/vnd.openxmlformats-officedocument.presentationml.tags+xml"/>
  <Override PartName="/ppt/tags/tag645.xml" ContentType="application/vnd.openxmlformats-officedocument.presentationml.tags+xml"/>
  <Override PartName="/ppt/tags/tag646.xml" ContentType="application/vnd.openxmlformats-officedocument.presentationml.tags+xml"/>
  <Override PartName="/ppt/tags/tag647.xml" ContentType="application/vnd.openxmlformats-officedocument.presentationml.tags+xml"/>
  <Override PartName="/ppt/tags/tag648.xml" ContentType="application/vnd.openxmlformats-officedocument.presentationml.tags+xml"/>
  <Override PartName="/ppt/tags/tag649.xml" ContentType="application/vnd.openxmlformats-officedocument.presentationml.tags+xml"/>
  <Override PartName="/ppt/tags/tag650.xml" ContentType="application/vnd.openxmlformats-officedocument.presentationml.tags+xml"/>
  <Override PartName="/ppt/tags/tag651.xml" ContentType="application/vnd.openxmlformats-officedocument.presentationml.tags+xml"/>
  <Override PartName="/ppt/tags/tag652.xml" ContentType="application/vnd.openxmlformats-officedocument.presentationml.tags+xml"/>
  <Override PartName="/ppt/tags/tag653.xml" ContentType="application/vnd.openxmlformats-officedocument.presentationml.tags+xml"/>
  <Override PartName="/ppt/tags/tag654.xml" ContentType="application/vnd.openxmlformats-officedocument.presentationml.tags+xml"/>
  <Override PartName="/ppt/tags/tag655.xml" ContentType="application/vnd.openxmlformats-officedocument.presentationml.tags+xml"/>
  <Override PartName="/ppt/tags/tag656.xml" ContentType="application/vnd.openxmlformats-officedocument.presentationml.tags+xml"/>
  <Override PartName="/ppt/tags/tag657.xml" ContentType="application/vnd.openxmlformats-officedocument.presentationml.tags+xml"/>
  <Override PartName="/ppt/tags/tag658.xml" ContentType="application/vnd.openxmlformats-officedocument.presentationml.tags+xml"/>
  <Override PartName="/ppt/tags/tag659.xml" ContentType="application/vnd.openxmlformats-officedocument.presentationml.tags+xml"/>
  <Override PartName="/ppt/tags/tag660.xml" ContentType="application/vnd.openxmlformats-officedocument.presentationml.tags+xml"/>
  <Override PartName="/ppt/tags/tag661.xml" ContentType="application/vnd.openxmlformats-officedocument.presentationml.tags+xml"/>
  <Override PartName="/ppt/tags/tag662.xml" ContentType="application/vnd.openxmlformats-officedocument.presentationml.tags+xml"/>
  <Override PartName="/ppt/tags/tag663.xml" ContentType="application/vnd.openxmlformats-officedocument.presentationml.tags+xml"/>
  <Override PartName="/ppt/tags/tag664.xml" ContentType="application/vnd.openxmlformats-officedocument.presentationml.tags+xml"/>
  <Override PartName="/ppt/tags/tag665.xml" ContentType="application/vnd.openxmlformats-officedocument.presentationml.tags+xml"/>
  <Override PartName="/ppt/tags/tag666.xml" ContentType="application/vnd.openxmlformats-officedocument.presentationml.tags+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theme/theme20.xml" ContentType="application/vnd.openxmlformats-officedocument.theme+xml"/>
  <Override PartName="/ppt/tags/tag667.xml" ContentType="application/vnd.openxmlformats-officedocument.presentationml.tags+xml"/>
  <Override PartName="/ppt/tags/tag668.xml" ContentType="application/vnd.openxmlformats-officedocument.presentationml.tags+xml"/>
  <Override PartName="/ppt/tags/tag669.xml" ContentType="application/vnd.openxmlformats-officedocument.presentationml.tags+xml"/>
  <Override PartName="/ppt/tags/tag670.xml" ContentType="application/vnd.openxmlformats-officedocument.presentationml.tags+xml"/>
  <Override PartName="/ppt/tags/tag671.xml" ContentType="application/vnd.openxmlformats-officedocument.presentationml.tags+xml"/>
  <Override PartName="/ppt/tags/tag672.xml" ContentType="application/vnd.openxmlformats-officedocument.presentationml.tags+xml"/>
  <Override PartName="/ppt/tags/tag673.xml" ContentType="application/vnd.openxmlformats-officedocument.presentationml.tags+xml"/>
  <Override PartName="/ppt/tags/tag674.xml" ContentType="application/vnd.openxmlformats-officedocument.presentationml.tags+xml"/>
  <Override PartName="/ppt/tags/tag675.xml" ContentType="application/vnd.openxmlformats-officedocument.presentationml.tags+xml"/>
  <Override PartName="/ppt/tags/tag676.xml" ContentType="application/vnd.openxmlformats-officedocument.presentationml.tags+xml"/>
  <Override PartName="/ppt/tags/tag677.xml" ContentType="application/vnd.openxmlformats-officedocument.presentationml.tags+xml"/>
  <Override PartName="/ppt/tags/tag678.xml" ContentType="application/vnd.openxmlformats-officedocument.presentationml.tags+xml"/>
  <Override PartName="/ppt/tags/tag679.xml" ContentType="application/vnd.openxmlformats-officedocument.presentationml.tags+xml"/>
  <Override PartName="/ppt/tags/tag680.xml" ContentType="application/vnd.openxmlformats-officedocument.presentationml.tags+xml"/>
  <Override PartName="/ppt/tags/tag681.xml" ContentType="application/vnd.openxmlformats-officedocument.presentationml.tags+xml"/>
  <Override PartName="/ppt/tags/tag682.xml" ContentType="application/vnd.openxmlformats-officedocument.presentationml.tags+xml"/>
  <Override PartName="/ppt/tags/tag683.xml" ContentType="application/vnd.openxmlformats-officedocument.presentationml.tags+xml"/>
  <Override PartName="/ppt/tags/tag684.xml" ContentType="application/vnd.openxmlformats-officedocument.presentationml.tags+xml"/>
  <Override PartName="/ppt/tags/tag685.xml" ContentType="application/vnd.openxmlformats-officedocument.presentationml.tags+xml"/>
  <Override PartName="/ppt/tags/tag686.xml" ContentType="application/vnd.openxmlformats-officedocument.presentationml.tags+xml"/>
  <Override PartName="/ppt/tags/tag687.xml" ContentType="application/vnd.openxmlformats-officedocument.presentationml.tags+xml"/>
  <Override PartName="/ppt/tags/tag688.xml" ContentType="application/vnd.openxmlformats-officedocument.presentationml.tags+xml"/>
  <Override PartName="/ppt/tags/tag689.xml" ContentType="application/vnd.openxmlformats-officedocument.presentationml.tags+xml"/>
  <Override PartName="/ppt/tags/tag690.xml" ContentType="application/vnd.openxmlformats-officedocument.presentationml.tags+xml"/>
  <Override PartName="/ppt/tags/tag691.xml" ContentType="application/vnd.openxmlformats-officedocument.presentationml.tags+xml"/>
  <Override PartName="/ppt/tags/tag692.xml" ContentType="application/vnd.openxmlformats-officedocument.presentationml.tags+xml"/>
  <Override PartName="/ppt/tags/tag693.xml" ContentType="application/vnd.openxmlformats-officedocument.presentationml.tags+xml"/>
  <Override PartName="/ppt/tags/tag694.xml" ContentType="application/vnd.openxmlformats-officedocument.presentationml.tags+xml"/>
  <Override PartName="/ppt/tags/tag695.xml" ContentType="application/vnd.openxmlformats-officedocument.presentationml.tags+xml"/>
  <Override PartName="/ppt/tags/tag696.xml" ContentType="application/vnd.openxmlformats-officedocument.presentationml.tags+xml"/>
  <Override PartName="/ppt/tags/tag697.xml" ContentType="application/vnd.openxmlformats-officedocument.presentationml.tags+xml"/>
  <Override PartName="/ppt/tags/tag698.xml" ContentType="application/vnd.openxmlformats-officedocument.presentationml.tags+xml"/>
  <Override PartName="/ppt/tags/tag699.xml" ContentType="application/vnd.openxmlformats-officedocument.presentationml.tags+xml"/>
  <Override PartName="/ppt/tags/tag700.xml" ContentType="application/vnd.openxmlformats-officedocument.presentationml.tags+xml"/>
  <Override PartName="/ppt/tags/tag701.xml" ContentType="application/vnd.openxmlformats-officedocument.presentationml.tags+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theme/theme21.xml" ContentType="application/vnd.openxmlformats-officedocument.theme+xml"/>
  <Override PartName="/ppt/tags/tag702.xml" ContentType="application/vnd.openxmlformats-officedocument.presentationml.tags+xml"/>
  <Override PartName="/ppt/tags/tag703.xml" ContentType="application/vnd.openxmlformats-officedocument.presentationml.tags+xml"/>
  <Override PartName="/ppt/tags/tag704.xml" ContentType="application/vnd.openxmlformats-officedocument.presentationml.tags+xml"/>
  <Override PartName="/ppt/tags/tag705.xml" ContentType="application/vnd.openxmlformats-officedocument.presentationml.tags+xml"/>
  <Override PartName="/ppt/tags/tag706.xml" ContentType="application/vnd.openxmlformats-officedocument.presentationml.tags+xml"/>
  <Override PartName="/ppt/tags/tag707.xml" ContentType="application/vnd.openxmlformats-officedocument.presentationml.tags+xml"/>
  <Override PartName="/ppt/tags/tag708.xml" ContentType="application/vnd.openxmlformats-officedocument.presentationml.tags+xml"/>
  <Override PartName="/ppt/tags/tag709.xml" ContentType="application/vnd.openxmlformats-officedocument.presentationml.tags+xml"/>
  <Override PartName="/ppt/tags/tag710.xml" ContentType="application/vnd.openxmlformats-officedocument.presentationml.tags+xml"/>
  <Override PartName="/ppt/tags/tag711.xml" ContentType="application/vnd.openxmlformats-officedocument.presentationml.tags+xml"/>
  <Override PartName="/ppt/tags/tag712.xml" ContentType="application/vnd.openxmlformats-officedocument.presentationml.tags+xml"/>
  <Override PartName="/ppt/tags/tag713.xml" ContentType="application/vnd.openxmlformats-officedocument.presentationml.tags+xml"/>
  <Override PartName="/ppt/tags/tag714.xml" ContentType="application/vnd.openxmlformats-officedocument.presentationml.tags+xml"/>
  <Override PartName="/ppt/tags/tag715.xml" ContentType="application/vnd.openxmlformats-officedocument.presentationml.tags+xml"/>
  <Override PartName="/ppt/tags/tag716.xml" ContentType="application/vnd.openxmlformats-officedocument.presentationml.tags+xml"/>
  <Override PartName="/ppt/tags/tag717.xml" ContentType="application/vnd.openxmlformats-officedocument.presentationml.tags+xml"/>
  <Override PartName="/ppt/tags/tag718.xml" ContentType="application/vnd.openxmlformats-officedocument.presentationml.tags+xml"/>
  <Override PartName="/ppt/tags/tag719.xml" ContentType="application/vnd.openxmlformats-officedocument.presentationml.tags+xml"/>
  <Override PartName="/ppt/tags/tag720.xml" ContentType="application/vnd.openxmlformats-officedocument.presentationml.tags+xml"/>
  <Override PartName="/ppt/tags/tag721.xml" ContentType="application/vnd.openxmlformats-officedocument.presentationml.tags+xml"/>
  <Override PartName="/ppt/tags/tag722.xml" ContentType="application/vnd.openxmlformats-officedocument.presentationml.tags+xml"/>
  <Override PartName="/ppt/tags/tag723.xml" ContentType="application/vnd.openxmlformats-officedocument.presentationml.tags+xml"/>
  <Override PartName="/ppt/tags/tag724.xml" ContentType="application/vnd.openxmlformats-officedocument.presentationml.tags+xml"/>
  <Override PartName="/ppt/tags/tag725.xml" ContentType="application/vnd.openxmlformats-officedocument.presentationml.tags+xml"/>
  <Override PartName="/ppt/tags/tag726.xml" ContentType="application/vnd.openxmlformats-officedocument.presentationml.tags+xml"/>
  <Override PartName="/ppt/tags/tag727.xml" ContentType="application/vnd.openxmlformats-officedocument.presentationml.tags+xml"/>
  <Override PartName="/ppt/tags/tag728.xml" ContentType="application/vnd.openxmlformats-officedocument.presentationml.tags+xml"/>
  <Override PartName="/ppt/tags/tag729.xml" ContentType="application/vnd.openxmlformats-officedocument.presentationml.tags+xml"/>
  <Override PartName="/ppt/tags/tag730.xml" ContentType="application/vnd.openxmlformats-officedocument.presentationml.tags+xml"/>
  <Override PartName="/ppt/tags/tag731.xml" ContentType="application/vnd.openxmlformats-officedocument.presentationml.tags+xml"/>
  <Override PartName="/ppt/tags/tag732.xml" ContentType="application/vnd.openxmlformats-officedocument.presentationml.tags+xml"/>
  <Override PartName="/ppt/tags/tag733.xml" ContentType="application/vnd.openxmlformats-officedocument.presentationml.tags+xml"/>
  <Override PartName="/ppt/tags/tag734.xml" ContentType="application/vnd.openxmlformats-officedocument.presentationml.tags+xml"/>
  <Override PartName="/ppt/tags/tag735.xml" ContentType="application/vnd.openxmlformats-officedocument.presentationml.tags+xml"/>
  <Override PartName="/ppt/tags/tag736.xml" ContentType="application/vnd.openxmlformats-officedocument.presentationml.tags+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theme/theme22.xml" ContentType="application/vnd.openxmlformats-officedocument.theme+xml"/>
  <Override PartName="/ppt/tags/tag737.xml" ContentType="application/vnd.openxmlformats-officedocument.presentationml.tags+xml"/>
  <Override PartName="/ppt/tags/tag738.xml" ContentType="application/vnd.openxmlformats-officedocument.presentationml.tags+xml"/>
  <Override PartName="/ppt/tags/tag739.xml" ContentType="application/vnd.openxmlformats-officedocument.presentationml.tags+xml"/>
  <Override PartName="/ppt/tags/tag740.xml" ContentType="application/vnd.openxmlformats-officedocument.presentationml.tags+xml"/>
  <Override PartName="/ppt/tags/tag741.xml" ContentType="application/vnd.openxmlformats-officedocument.presentationml.tags+xml"/>
  <Override PartName="/ppt/tags/tag742.xml" ContentType="application/vnd.openxmlformats-officedocument.presentationml.tags+xml"/>
  <Override PartName="/ppt/tags/tag743.xml" ContentType="application/vnd.openxmlformats-officedocument.presentationml.tags+xml"/>
  <Override PartName="/ppt/tags/tag744.xml" ContentType="application/vnd.openxmlformats-officedocument.presentationml.tags+xml"/>
  <Override PartName="/ppt/tags/tag745.xml" ContentType="application/vnd.openxmlformats-officedocument.presentationml.tags+xml"/>
  <Override PartName="/ppt/tags/tag746.xml" ContentType="application/vnd.openxmlformats-officedocument.presentationml.tags+xml"/>
  <Override PartName="/ppt/tags/tag747.xml" ContentType="application/vnd.openxmlformats-officedocument.presentationml.tags+xml"/>
  <Override PartName="/ppt/tags/tag748.xml" ContentType="application/vnd.openxmlformats-officedocument.presentationml.tags+xml"/>
  <Override PartName="/ppt/tags/tag749.xml" ContentType="application/vnd.openxmlformats-officedocument.presentationml.tags+xml"/>
  <Override PartName="/ppt/tags/tag750.xml" ContentType="application/vnd.openxmlformats-officedocument.presentationml.tags+xml"/>
  <Override PartName="/ppt/tags/tag751.xml" ContentType="application/vnd.openxmlformats-officedocument.presentationml.tags+xml"/>
  <Override PartName="/ppt/tags/tag752.xml" ContentType="application/vnd.openxmlformats-officedocument.presentationml.tags+xml"/>
  <Override PartName="/ppt/tags/tag753.xml" ContentType="application/vnd.openxmlformats-officedocument.presentationml.tags+xml"/>
  <Override PartName="/ppt/tags/tag754.xml" ContentType="application/vnd.openxmlformats-officedocument.presentationml.tags+xml"/>
  <Override PartName="/ppt/tags/tag755.xml" ContentType="application/vnd.openxmlformats-officedocument.presentationml.tags+xml"/>
  <Override PartName="/ppt/tags/tag756.xml" ContentType="application/vnd.openxmlformats-officedocument.presentationml.tags+xml"/>
  <Override PartName="/ppt/tags/tag757.xml" ContentType="application/vnd.openxmlformats-officedocument.presentationml.tags+xml"/>
  <Override PartName="/ppt/tags/tag758.xml" ContentType="application/vnd.openxmlformats-officedocument.presentationml.tags+xml"/>
  <Override PartName="/ppt/tags/tag759.xml" ContentType="application/vnd.openxmlformats-officedocument.presentationml.tags+xml"/>
  <Override PartName="/ppt/tags/tag760.xml" ContentType="application/vnd.openxmlformats-officedocument.presentationml.tags+xml"/>
  <Override PartName="/ppt/tags/tag761.xml" ContentType="application/vnd.openxmlformats-officedocument.presentationml.tags+xml"/>
  <Override PartName="/ppt/tags/tag762.xml" ContentType="application/vnd.openxmlformats-officedocument.presentationml.tags+xml"/>
  <Override PartName="/ppt/tags/tag763.xml" ContentType="application/vnd.openxmlformats-officedocument.presentationml.tags+xml"/>
  <Override PartName="/ppt/tags/tag764.xml" ContentType="application/vnd.openxmlformats-officedocument.presentationml.tags+xml"/>
  <Override PartName="/ppt/tags/tag765.xml" ContentType="application/vnd.openxmlformats-officedocument.presentationml.tags+xml"/>
  <Override PartName="/ppt/tags/tag766.xml" ContentType="application/vnd.openxmlformats-officedocument.presentationml.tags+xml"/>
  <Override PartName="/ppt/tags/tag767.xml" ContentType="application/vnd.openxmlformats-officedocument.presentationml.tags+xml"/>
  <Override PartName="/ppt/tags/tag768.xml" ContentType="application/vnd.openxmlformats-officedocument.presentationml.tags+xml"/>
  <Override PartName="/ppt/tags/tag769.xml" ContentType="application/vnd.openxmlformats-officedocument.presentationml.tags+xml"/>
  <Override PartName="/ppt/tags/tag770.xml" ContentType="application/vnd.openxmlformats-officedocument.presentationml.tags+xml"/>
  <Override PartName="/ppt/tags/tag771.xml" ContentType="application/vnd.openxmlformats-officedocument.presentationml.tags+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theme/theme23.xml" ContentType="application/vnd.openxmlformats-officedocument.theme+xml"/>
  <Override PartName="/ppt/tags/tag772.xml" ContentType="application/vnd.openxmlformats-officedocument.presentationml.tags+xml"/>
  <Override PartName="/ppt/tags/tag773.xml" ContentType="application/vnd.openxmlformats-officedocument.presentationml.tags+xml"/>
  <Override PartName="/ppt/tags/tag774.xml" ContentType="application/vnd.openxmlformats-officedocument.presentationml.tags+xml"/>
  <Override PartName="/ppt/tags/tag775.xml" ContentType="application/vnd.openxmlformats-officedocument.presentationml.tags+xml"/>
  <Override PartName="/ppt/tags/tag776.xml" ContentType="application/vnd.openxmlformats-officedocument.presentationml.tags+xml"/>
  <Override PartName="/ppt/tags/tag777.xml" ContentType="application/vnd.openxmlformats-officedocument.presentationml.tags+xml"/>
  <Override PartName="/ppt/tags/tag778.xml" ContentType="application/vnd.openxmlformats-officedocument.presentationml.tags+xml"/>
  <Override PartName="/ppt/tags/tag779.xml" ContentType="application/vnd.openxmlformats-officedocument.presentationml.tags+xml"/>
  <Override PartName="/ppt/tags/tag780.xml" ContentType="application/vnd.openxmlformats-officedocument.presentationml.tags+xml"/>
  <Override PartName="/ppt/tags/tag781.xml" ContentType="application/vnd.openxmlformats-officedocument.presentationml.tags+xml"/>
  <Override PartName="/ppt/tags/tag782.xml" ContentType="application/vnd.openxmlformats-officedocument.presentationml.tags+xml"/>
  <Override PartName="/ppt/tags/tag783.xml" ContentType="application/vnd.openxmlformats-officedocument.presentationml.tags+xml"/>
  <Override PartName="/ppt/tags/tag784.xml" ContentType="application/vnd.openxmlformats-officedocument.presentationml.tags+xml"/>
  <Override PartName="/ppt/tags/tag785.xml" ContentType="application/vnd.openxmlformats-officedocument.presentationml.tags+xml"/>
  <Override PartName="/ppt/tags/tag786.xml" ContentType="application/vnd.openxmlformats-officedocument.presentationml.tags+xml"/>
  <Override PartName="/ppt/tags/tag787.xml" ContentType="application/vnd.openxmlformats-officedocument.presentationml.tags+xml"/>
  <Override PartName="/ppt/tags/tag788.xml" ContentType="application/vnd.openxmlformats-officedocument.presentationml.tags+xml"/>
  <Override PartName="/ppt/tags/tag789.xml" ContentType="application/vnd.openxmlformats-officedocument.presentationml.tags+xml"/>
  <Override PartName="/ppt/tags/tag790.xml" ContentType="application/vnd.openxmlformats-officedocument.presentationml.tags+xml"/>
  <Override PartName="/ppt/tags/tag791.xml" ContentType="application/vnd.openxmlformats-officedocument.presentationml.tags+xml"/>
  <Override PartName="/ppt/tags/tag792.xml" ContentType="application/vnd.openxmlformats-officedocument.presentationml.tags+xml"/>
  <Override PartName="/ppt/tags/tag793.xml" ContentType="application/vnd.openxmlformats-officedocument.presentationml.tags+xml"/>
  <Override PartName="/ppt/tags/tag794.xml" ContentType="application/vnd.openxmlformats-officedocument.presentationml.tags+xml"/>
  <Override PartName="/ppt/tags/tag795.xml" ContentType="application/vnd.openxmlformats-officedocument.presentationml.tags+xml"/>
  <Override PartName="/ppt/tags/tag796.xml" ContentType="application/vnd.openxmlformats-officedocument.presentationml.tags+xml"/>
  <Override PartName="/ppt/tags/tag797.xml" ContentType="application/vnd.openxmlformats-officedocument.presentationml.tags+xml"/>
  <Override PartName="/ppt/tags/tag798.xml" ContentType="application/vnd.openxmlformats-officedocument.presentationml.tags+xml"/>
  <Override PartName="/ppt/tags/tag799.xml" ContentType="application/vnd.openxmlformats-officedocument.presentationml.tags+xml"/>
  <Override PartName="/ppt/tags/tag800.xml" ContentType="application/vnd.openxmlformats-officedocument.presentationml.tags+xml"/>
  <Override PartName="/ppt/tags/tag801.xml" ContentType="application/vnd.openxmlformats-officedocument.presentationml.tags+xml"/>
  <Override PartName="/ppt/tags/tag802.xml" ContentType="application/vnd.openxmlformats-officedocument.presentationml.tags+xml"/>
  <Override PartName="/ppt/tags/tag803.xml" ContentType="application/vnd.openxmlformats-officedocument.presentationml.tags+xml"/>
  <Override PartName="/ppt/tags/tag804.xml" ContentType="application/vnd.openxmlformats-officedocument.presentationml.tags+xml"/>
  <Override PartName="/ppt/tags/tag805.xml" ContentType="application/vnd.openxmlformats-officedocument.presentationml.tags+xml"/>
  <Override PartName="/ppt/tags/tag806.xml" ContentType="application/vnd.openxmlformats-officedocument.presentationml.tags+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theme/theme24.xml" ContentType="application/vnd.openxmlformats-officedocument.theme+xml"/>
  <Override PartName="/ppt/tags/tag807.xml" ContentType="application/vnd.openxmlformats-officedocument.presentationml.tags+xml"/>
  <Override PartName="/ppt/tags/tag808.xml" ContentType="application/vnd.openxmlformats-officedocument.presentationml.tags+xml"/>
  <Override PartName="/ppt/tags/tag809.xml" ContentType="application/vnd.openxmlformats-officedocument.presentationml.tags+xml"/>
  <Override PartName="/ppt/tags/tag810.xml" ContentType="application/vnd.openxmlformats-officedocument.presentationml.tags+xml"/>
  <Override PartName="/ppt/tags/tag811.xml" ContentType="application/vnd.openxmlformats-officedocument.presentationml.tags+xml"/>
  <Override PartName="/ppt/tags/tag812.xml" ContentType="application/vnd.openxmlformats-officedocument.presentationml.tags+xml"/>
  <Override PartName="/ppt/tags/tag813.xml" ContentType="application/vnd.openxmlformats-officedocument.presentationml.tags+xml"/>
  <Override PartName="/ppt/tags/tag814.xml" ContentType="application/vnd.openxmlformats-officedocument.presentationml.tags+xml"/>
  <Override PartName="/ppt/tags/tag815.xml" ContentType="application/vnd.openxmlformats-officedocument.presentationml.tags+xml"/>
  <Override PartName="/ppt/tags/tag816.xml" ContentType="application/vnd.openxmlformats-officedocument.presentationml.tags+xml"/>
  <Override PartName="/ppt/tags/tag817.xml" ContentType="application/vnd.openxmlformats-officedocument.presentationml.tags+xml"/>
  <Override PartName="/ppt/tags/tag818.xml" ContentType="application/vnd.openxmlformats-officedocument.presentationml.tags+xml"/>
  <Override PartName="/ppt/tags/tag819.xml" ContentType="application/vnd.openxmlformats-officedocument.presentationml.tags+xml"/>
  <Override PartName="/ppt/tags/tag820.xml" ContentType="application/vnd.openxmlformats-officedocument.presentationml.tags+xml"/>
  <Override PartName="/ppt/tags/tag821.xml" ContentType="application/vnd.openxmlformats-officedocument.presentationml.tags+xml"/>
  <Override PartName="/ppt/tags/tag822.xml" ContentType="application/vnd.openxmlformats-officedocument.presentationml.tags+xml"/>
  <Override PartName="/ppt/tags/tag823.xml" ContentType="application/vnd.openxmlformats-officedocument.presentationml.tags+xml"/>
  <Override PartName="/ppt/tags/tag824.xml" ContentType="application/vnd.openxmlformats-officedocument.presentationml.tags+xml"/>
  <Override PartName="/ppt/tags/tag825.xml" ContentType="application/vnd.openxmlformats-officedocument.presentationml.tags+xml"/>
  <Override PartName="/ppt/tags/tag826.xml" ContentType="application/vnd.openxmlformats-officedocument.presentationml.tags+xml"/>
  <Override PartName="/ppt/tags/tag827.xml" ContentType="application/vnd.openxmlformats-officedocument.presentationml.tags+xml"/>
  <Override PartName="/ppt/tags/tag828.xml" ContentType="application/vnd.openxmlformats-officedocument.presentationml.tags+xml"/>
  <Override PartName="/ppt/tags/tag829.xml" ContentType="application/vnd.openxmlformats-officedocument.presentationml.tags+xml"/>
  <Override PartName="/ppt/tags/tag830.xml" ContentType="application/vnd.openxmlformats-officedocument.presentationml.tags+xml"/>
  <Override PartName="/ppt/tags/tag831.xml" ContentType="application/vnd.openxmlformats-officedocument.presentationml.tags+xml"/>
  <Override PartName="/ppt/tags/tag832.xml" ContentType="application/vnd.openxmlformats-officedocument.presentationml.tags+xml"/>
  <Override PartName="/ppt/tags/tag833.xml" ContentType="application/vnd.openxmlformats-officedocument.presentationml.tags+xml"/>
  <Override PartName="/ppt/tags/tag834.xml" ContentType="application/vnd.openxmlformats-officedocument.presentationml.tags+xml"/>
  <Override PartName="/ppt/tags/tag835.xml" ContentType="application/vnd.openxmlformats-officedocument.presentationml.tags+xml"/>
  <Override PartName="/ppt/tags/tag836.xml" ContentType="application/vnd.openxmlformats-officedocument.presentationml.tags+xml"/>
  <Override PartName="/ppt/tags/tag837.xml" ContentType="application/vnd.openxmlformats-officedocument.presentationml.tags+xml"/>
  <Override PartName="/ppt/tags/tag838.xml" ContentType="application/vnd.openxmlformats-officedocument.presentationml.tags+xml"/>
  <Override PartName="/ppt/tags/tag839.xml" ContentType="application/vnd.openxmlformats-officedocument.presentationml.tags+xml"/>
  <Override PartName="/ppt/tags/tag840.xml" ContentType="application/vnd.openxmlformats-officedocument.presentationml.tags+xml"/>
  <Override PartName="/ppt/tags/tag841.xml" ContentType="application/vnd.openxmlformats-officedocument.presentationml.tags+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theme/theme25.xml" ContentType="application/vnd.openxmlformats-officedocument.theme+xml"/>
  <Override PartName="/ppt/tags/tag842.xml" ContentType="application/vnd.openxmlformats-officedocument.presentationml.tags+xml"/>
  <Override PartName="/ppt/tags/tag843.xml" ContentType="application/vnd.openxmlformats-officedocument.presentationml.tags+xml"/>
  <Override PartName="/ppt/tags/tag844.xml" ContentType="application/vnd.openxmlformats-officedocument.presentationml.tags+xml"/>
  <Override PartName="/ppt/tags/tag845.xml" ContentType="application/vnd.openxmlformats-officedocument.presentationml.tags+xml"/>
  <Override PartName="/ppt/tags/tag846.xml" ContentType="application/vnd.openxmlformats-officedocument.presentationml.tags+xml"/>
  <Override PartName="/ppt/tags/tag847.xml" ContentType="application/vnd.openxmlformats-officedocument.presentationml.tags+xml"/>
  <Override PartName="/ppt/tags/tag848.xml" ContentType="application/vnd.openxmlformats-officedocument.presentationml.tags+xml"/>
  <Override PartName="/ppt/tags/tag849.xml" ContentType="application/vnd.openxmlformats-officedocument.presentationml.tags+xml"/>
  <Override PartName="/ppt/tags/tag850.xml" ContentType="application/vnd.openxmlformats-officedocument.presentationml.tags+xml"/>
  <Override PartName="/ppt/tags/tag851.xml" ContentType="application/vnd.openxmlformats-officedocument.presentationml.tags+xml"/>
  <Override PartName="/ppt/tags/tag852.xml" ContentType="application/vnd.openxmlformats-officedocument.presentationml.tags+xml"/>
  <Override PartName="/ppt/tags/tag853.xml" ContentType="application/vnd.openxmlformats-officedocument.presentationml.tags+xml"/>
  <Override PartName="/ppt/tags/tag854.xml" ContentType="application/vnd.openxmlformats-officedocument.presentationml.tags+xml"/>
  <Override PartName="/ppt/tags/tag855.xml" ContentType="application/vnd.openxmlformats-officedocument.presentationml.tags+xml"/>
  <Override PartName="/ppt/tags/tag856.xml" ContentType="application/vnd.openxmlformats-officedocument.presentationml.tags+xml"/>
  <Override PartName="/ppt/tags/tag857.xml" ContentType="application/vnd.openxmlformats-officedocument.presentationml.tags+xml"/>
  <Override PartName="/ppt/tags/tag858.xml" ContentType="application/vnd.openxmlformats-officedocument.presentationml.tags+xml"/>
  <Override PartName="/ppt/tags/tag859.xml" ContentType="application/vnd.openxmlformats-officedocument.presentationml.tags+xml"/>
  <Override PartName="/ppt/tags/tag860.xml" ContentType="application/vnd.openxmlformats-officedocument.presentationml.tags+xml"/>
  <Override PartName="/ppt/tags/tag861.xml" ContentType="application/vnd.openxmlformats-officedocument.presentationml.tags+xml"/>
  <Override PartName="/ppt/tags/tag862.xml" ContentType="application/vnd.openxmlformats-officedocument.presentationml.tags+xml"/>
  <Override PartName="/ppt/tags/tag863.xml" ContentType="application/vnd.openxmlformats-officedocument.presentationml.tags+xml"/>
  <Override PartName="/ppt/tags/tag864.xml" ContentType="application/vnd.openxmlformats-officedocument.presentationml.tags+xml"/>
  <Override PartName="/ppt/tags/tag865.xml" ContentType="application/vnd.openxmlformats-officedocument.presentationml.tags+xml"/>
  <Override PartName="/ppt/tags/tag866.xml" ContentType="application/vnd.openxmlformats-officedocument.presentationml.tags+xml"/>
  <Override PartName="/ppt/tags/tag867.xml" ContentType="application/vnd.openxmlformats-officedocument.presentationml.tags+xml"/>
  <Override PartName="/ppt/tags/tag868.xml" ContentType="application/vnd.openxmlformats-officedocument.presentationml.tags+xml"/>
  <Override PartName="/ppt/tags/tag869.xml" ContentType="application/vnd.openxmlformats-officedocument.presentationml.tags+xml"/>
  <Override PartName="/ppt/tags/tag870.xml" ContentType="application/vnd.openxmlformats-officedocument.presentationml.tags+xml"/>
  <Override PartName="/ppt/tags/tag871.xml" ContentType="application/vnd.openxmlformats-officedocument.presentationml.tags+xml"/>
  <Override PartName="/ppt/tags/tag872.xml" ContentType="application/vnd.openxmlformats-officedocument.presentationml.tags+xml"/>
  <Override PartName="/ppt/tags/tag873.xml" ContentType="application/vnd.openxmlformats-officedocument.presentationml.tags+xml"/>
  <Override PartName="/ppt/tags/tag874.xml" ContentType="application/vnd.openxmlformats-officedocument.presentationml.tags+xml"/>
  <Override PartName="/ppt/tags/tag875.xml" ContentType="application/vnd.openxmlformats-officedocument.presentationml.tags+xml"/>
  <Override PartName="/ppt/tags/tag876.xml" ContentType="application/vnd.openxmlformats-officedocument.presentationml.tags+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theme/theme26.xml" ContentType="application/vnd.openxmlformats-officedocument.theme+xml"/>
  <Override PartName="/ppt/tags/tag877.xml" ContentType="application/vnd.openxmlformats-officedocument.presentationml.tags+xml"/>
  <Override PartName="/ppt/tags/tag878.xml" ContentType="application/vnd.openxmlformats-officedocument.presentationml.tags+xml"/>
  <Override PartName="/ppt/tags/tag879.xml" ContentType="application/vnd.openxmlformats-officedocument.presentationml.tags+xml"/>
  <Override PartName="/ppt/tags/tag880.xml" ContentType="application/vnd.openxmlformats-officedocument.presentationml.tags+xml"/>
  <Override PartName="/ppt/tags/tag881.xml" ContentType="application/vnd.openxmlformats-officedocument.presentationml.tags+xml"/>
  <Override PartName="/ppt/tags/tag882.xml" ContentType="application/vnd.openxmlformats-officedocument.presentationml.tags+xml"/>
  <Override PartName="/ppt/tags/tag883.xml" ContentType="application/vnd.openxmlformats-officedocument.presentationml.tags+xml"/>
  <Override PartName="/ppt/tags/tag884.xml" ContentType="application/vnd.openxmlformats-officedocument.presentationml.tags+xml"/>
  <Override PartName="/ppt/tags/tag885.xml" ContentType="application/vnd.openxmlformats-officedocument.presentationml.tags+xml"/>
  <Override PartName="/ppt/tags/tag886.xml" ContentType="application/vnd.openxmlformats-officedocument.presentationml.tags+xml"/>
  <Override PartName="/ppt/tags/tag887.xml" ContentType="application/vnd.openxmlformats-officedocument.presentationml.tags+xml"/>
  <Override PartName="/ppt/tags/tag888.xml" ContentType="application/vnd.openxmlformats-officedocument.presentationml.tags+xml"/>
  <Override PartName="/ppt/tags/tag889.xml" ContentType="application/vnd.openxmlformats-officedocument.presentationml.tags+xml"/>
  <Override PartName="/ppt/tags/tag890.xml" ContentType="application/vnd.openxmlformats-officedocument.presentationml.tags+xml"/>
  <Override PartName="/ppt/tags/tag891.xml" ContentType="application/vnd.openxmlformats-officedocument.presentationml.tags+xml"/>
  <Override PartName="/ppt/tags/tag892.xml" ContentType="application/vnd.openxmlformats-officedocument.presentationml.tags+xml"/>
  <Override PartName="/ppt/tags/tag893.xml" ContentType="application/vnd.openxmlformats-officedocument.presentationml.tags+xml"/>
  <Override PartName="/ppt/tags/tag894.xml" ContentType="application/vnd.openxmlformats-officedocument.presentationml.tags+xml"/>
  <Override PartName="/ppt/tags/tag895.xml" ContentType="application/vnd.openxmlformats-officedocument.presentationml.tags+xml"/>
  <Override PartName="/ppt/tags/tag896.xml" ContentType="application/vnd.openxmlformats-officedocument.presentationml.tags+xml"/>
  <Override PartName="/ppt/tags/tag897.xml" ContentType="application/vnd.openxmlformats-officedocument.presentationml.tags+xml"/>
  <Override PartName="/ppt/tags/tag898.xml" ContentType="application/vnd.openxmlformats-officedocument.presentationml.tags+xml"/>
  <Override PartName="/ppt/tags/tag899.xml" ContentType="application/vnd.openxmlformats-officedocument.presentationml.tags+xml"/>
  <Override PartName="/ppt/tags/tag900.xml" ContentType="application/vnd.openxmlformats-officedocument.presentationml.tags+xml"/>
  <Override PartName="/ppt/tags/tag901.xml" ContentType="application/vnd.openxmlformats-officedocument.presentationml.tags+xml"/>
  <Override PartName="/ppt/tags/tag902.xml" ContentType="application/vnd.openxmlformats-officedocument.presentationml.tags+xml"/>
  <Override PartName="/ppt/tags/tag903.xml" ContentType="application/vnd.openxmlformats-officedocument.presentationml.tags+xml"/>
  <Override PartName="/ppt/tags/tag904.xml" ContentType="application/vnd.openxmlformats-officedocument.presentationml.tags+xml"/>
  <Override PartName="/ppt/tags/tag905.xml" ContentType="application/vnd.openxmlformats-officedocument.presentationml.tags+xml"/>
  <Override PartName="/ppt/tags/tag906.xml" ContentType="application/vnd.openxmlformats-officedocument.presentationml.tags+xml"/>
  <Override PartName="/ppt/tags/tag907.xml" ContentType="application/vnd.openxmlformats-officedocument.presentationml.tags+xml"/>
  <Override PartName="/ppt/tags/tag908.xml" ContentType="application/vnd.openxmlformats-officedocument.presentationml.tags+xml"/>
  <Override PartName="/ppt/tags/tag909.xml" ContentType="application/vnd.openxmlformats-officedocument.presentationml.tags+xml"/>
  <Override PartName="/ppt/tags/tag910.xml" ContentType="application/vnd.openxmlformats-officedocument.presentationml.tags+xml"/>
  <Override PartName="/ppt/tags/tag911.xml" ContentType="application/vnd.openxmlformats-officedocument.presentationml.tags+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theme/theme27.xml" ContentType="application/vnd.openxmlformats-officedocument.theme+xml"/>
  <Override PartName="/ppt/tags/tag912.xml" ContentType="application/vnd.openxmlformats-officedocument.presentationml.tags+xml"/>
  <Override PartName="/ppt/tags/tag913.xml" ContentType="application/vnd.openxmlformats-officedocument.presentationml.tags+xml"/>
  <Override PartName="/ppt/tags/tag914.xml" ContentType="application/vnd.openxmlformats-officedocument.presentationml.tags+xml"/>
  <Override PartName="/ppt/tags/tag915.xml" ContentType="application/vnd.openxmlformats-officedocument.presentationml.tags+xml"/>
  <Override PartName="/ppt/tags/tag916.xml" ContentType="application/vnd.openxmlformats-officedocument.presentationml.tags+xml"/>
  <Override PartName="/ppt/tags/tag917.xml" ContentType="application/vnd.openxmlformats-officedocument.presentationml.tags+xml"/>
  <Override PartName="/ppt/tags/tag918.xml" ContentType="application/vnd.openxmlformats-officedocument.presentationml.tags+xml"/>
  <Override PartName="/ppt/tags/tag919.xml" ContentType="application/vnd.openxmlformats-officedocument.presentationml.tags+xml"/>
  <Override PartName="/ppt/tags/tag920.xml" ContentType="application/vnd.openxmlformats-officedocument.presentationml.tags+xml"/>
  <Override PartName="/ppt/tags/tag921.xml" ContentType="application/vnd.openxmlformats-officedocument.presentationml.tags+xml"/>
  <Override PartName="/ppt/tags/tag922.xml" ContentType="application/vnd.openxmlformats-officedocument.presentationml.tags+xml"/>
  <Override PartName="/ppt/tags/tag923.xml" ContentType="application/vnd.openxmlformats-officedocument.presentationml.tags+xml"/>
  <Override PartName="/ppt/tags/tag924.xml" ContentType="application/vnd.openxmlformats-officedocument.presentationml.tags+xml"/>
  <Override PartName="/ppt/tags/tag925.xml" ContentType="application/vnd.openxmlformats-officedocument.presentationml.tags+xml"/>
  <Override PartName="/ppt/tags/tag926.xml" ContentType="application/vnd.openxmlformats-officedocument.presentationml.tags+xml"/>
  <Override PartName="/ppt/tags/tag927.xml" ContentType="application/vnd.openxmlformats-officedocument.presentationml.tags+xml"/>
  <Override PartName="/ppt/tags/tag928.xml" ContentType="application/vnd.openxmlformats-officedocument.presentationml.tags+xml"/>
  <Override PartName="/ppt/tags/tag929.xml" ContentType="application/vnd.openxmlformats-officedocument.presentationml.tags+xml"/>
  <Override PartName="/ppt/tags/tag930.xml" ContentType="application/vnd.openxmlformats-officedocument.presentationml.tags+xml"/>
  <Override PartName="/ppt/tags/tag931.xml" ContentType="application/vnd.openxmlformats-officedocument.presentationml.tags+xml"/>
  <Override PartName="/ppt/tags/tag932.xml" ContentType="application/vnd.openxmlformats-officedocument.presentationml.tags+xml"/>
  <Override PartName="/ppt/tags/tag933.xml" ContentType="application/vnd.openxmlformats-officedocument.presentationml.tags+xml"/>
  <Override PartName="/ppt/tags/tag934.xml" ContentType="application/vnd.openxmlformats-officedocument.presentationml.tags+xml"/>
  <Override PartName="/ppt/tags/tag935.xml" ContentType="application/vnd.openxmlformats-officedocument.presentationml.tags+xml"/>
  <Override PartName="/ppt/tags/tag936.xml" ContentType="application/vnd.openxmlformats-officedocument.presentationml.tags+xml"/>
  <Override PartName="/ppt/tags/tag937.xml" ContentType="application/vnd.openxmlformats-officedocument.presentationml.tags+xml"/>
  <Override PartName="/ppt/tags/tag938.xml" ContentType="application/vnd.openxmlformats-officedocument.presentationml.tags+xml"/>
  <Override PartName="/ppt/tags/tag939.xml" ContentType="application/vnd.openxmlformats-officedocument.presentationml.tags+xml"/>
  <Override PartName="/ppt/tags/tag940.xml" ContentType="application/vnd.openxmlformats-officedocument.presentationml.tags+xml"/>
  <Override PartName="/ppt/tags/tag941.xml" ContentType="application/vnd.openxmlformats-officedocument.presentationml.tags+xml"/>
  <Override PartName="/ppt/tags/tag942.xml" ContentType="application/vnd.openxmlformats-officedocument.presentationml.tags+xml"/>
  <Override PartName="/ppt/tags/tag943.xml" ContentType="application/vnd.openxmlformats-officedocument.presentationml.tags+xml"/>
  <Override PartName="/ppt/tags/tag944.xml" ContentType="application/vnd.openxmlformats-officedocument.presentationml.tags+xml"/>
  <Override PartName="/ppt/tags/tag945.xml" ContentType="application/vnd.openxmlformats-officedocument.presentationml.tags+xml"/>
  <Override PartName="/ppt/tags/tag946.xml" ContentType="application/vnd.openxmlformats-officedocument.presentationml.tags+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theme/theme28.xml" ContentType="application/vnd.openxmlformats-officedocument.theme+xml"/>
  <Override PartName="/ppt/tags/tag947.xml" ContentType="application/vnd.openxmlformats-officedocument.presentationml.tags+xml"/>
  <Override PartName="/ppt/tags/tag948.xml" ContentType="application/vnd.openxmlformats-officedocument.presentationml.tags+xml"/>
  <Override PartName="/ppt/tags/tag949.xml" ContentType="application/vnd.openxmlformats-officedocument.presentationml.tags+xml"/>
  <Override PartName="/ppt/tags/tag950.xml" ContentType="application/vnd.openxmlformats-officedocument.presentationml.tags+xml"/>
  <Override PartName="/ppt/tags/tag951.xml" ContentType="application/vnd.openxmlformats-officedocument.presentationml.tags+xml"/>
  <Override PartName="/ppt/tags/tag952.xml" ContentType="application/vnd.openxmlformats-officedocument.presentationml.tags+xml"/>
  <Override PartName="/ppt/tags/tag953.xml" ContentType="application/vnd.openxmlformats-officedocument.presentationml.tags+xml"/>
  <Override PartName="/ppt/tags/tag954.xml" ContentType="application/vnd.openxmlformats-officedocument.presentationml.tags+xml"/>
  <Override PartName="/ppt/tags/tag955.xml" ContentType="application/vnd.openxmlformats-officedocument.presentationml.tags+xml"/>
  <Override PartName="/ppt/tags/tag956.xml" ContentType="application/vnd.openxmlformats-officedocument.presentationml.tags+xml"/>
  <Override PartName="/ppt/tags/tag957.xml" ContentType="application/vnd.openxmlformats-officedocument.presentationml.tags+xml"/>
  <Override PartName="/ppt/tags/tag958.xml" ContentType="application/vnd.openxmlformats-officedocument.presentationml.tags+xml"/>
  <Override PartName="/ppt/tags/tag959.xml" ContentType="application/vnd.openxmlformats-officedocument.presentationml.tags+xml"/>
  <Override PartName="/ppt/tags/tag960.xml" ContentType="application/vnd.openxmlformats-officedocument.presentationml.tags+xml"/>
  <Override PartName="/ppt/tags/tag961.xml" ContentType="application/vnd.openxmlformats-officedocument.presentationml.tags+xml"/>
  <Override PartName="/ppt/tags/tag962.xml" ContentType="application/vnd.openxmlformats-officedocument.presentationml.tags+xml"/>
  <Override PartName="/ppt/tags/tag963.xml" ContentType="application/vnd.openxmlformats-officedocument.presentationml.tags+xml"/>
  <Override PartName="/ppt/tags/tag964.xml" ContentType="application/vnd.openxmlformats-officedocument.presentationml.tags+xml"/>
  <Override PartName="/ppt/tags/tag965.xml" ContentType="application/vnd.openxmlformats-officedocument.presentationml.tags+xml"/>
  <Override PartName="/ppt/tags/tag966.xml" ContentType="application/vnd.openxmlformats-officedocument.presentationml.tags+xml"/>
  <Override PartName="/ppt/tags/tag967.xml" ContentType="application/vnd.openxmlformats-officedocument.presentationml.tags+xml"/>
  <Override PartName="/ppt/tags/tag968.xml" ContentType="application/vnd.openxmlformats-officedocument.presentationml.tags+xml"/>
  <Override PartName="/ppt/tags/tag969.xml" ContentType="application/vnd.openxmlformats-officedocument.presentationml.tags+xml"/>
  <Override PartName="/ppt/tags/tag970.xml" ContentType="application/vnd.openxmlformats-officedocument.presentationml.tags+xml"/>
  <Override PartName="/ppt/tags/tag971.xml" ContentType="application/vnd.openxmlformats-officedocument.presentationml.tags+xml"/>
  <Override PartName="/ppt/tags/tag972.xml" ContentType="application/vnd.openxmlformats-officedocument.presentationml.tags+xml"/>
  <Override PartName="/ppt/tags/tag973.xml" ContentType="application/vnd.openxmlformats-officedocument.presentationml.tags+xml"/>
  <Override PartName="/ppt/tags/tag974.xml" ContentType="application/vnd.openxmlformats-officedocument.presentationml.tags+xml"/>
  <Override PartName="/ppt/tags/tag975.xml" ContentType="application/vnd.openxmlformats-officedocument.presentationml.tags+xml"/>
  <Override PartName="/ppt/tags/tag976.xml" ContentType="application/vnd.openxmlformats-officedocument.presentationml.tags+xml"/>
  <Override PartName="/ppt/tags/tag977.xml" ContentType="application/vnd.openxmlformats-officedocument.presentationml.tags+xml"/>
  <Override PartName="/ppt/tags/tag978.xml" ContentType="application/vnd.openxmlformats-officedocument.presentationml.tags+xml"/>
  <Override PartName="/ppt/tags/tag979.xml" ContentType="application/vnd.openxmlformats-officedocument.presentationml.tags+xml"/>
  <Override PartName="/ppt/tags/tag980.xml" ContentType="application/vnd.openxmlformats-officedocument.presentationml.tags+xml"/>
  <Override PartName="/ppt/tags/tag981.xml" ContentType="application/vnd.openxmlformats-officedocument.presentationml.tags+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theme/theme29.xml" ContentType="application/vnd.openxmlformats-officedocument.theme+xml"/>
  <Override PartName="/ppt/tags/tag982.xml" ContentType="application/vnd.openxmlformats-officedocument.presentationml.tags+xml"/>
  <Override PartName="/ppt/tags/tag983.xml" ContentType="application/vnd.openxmlformats-officedocument.presentationml.tags+xml"/>
  <Override PartName="/ppt/tags/tag984.xml" ContentType="application/vnd.openxmlformats-officedocument.presentationml.tags+xml"/>
  <Override PartName="/ppt/tags/tag985.xml" ContentType="application/vnd.openxmlformats-officedocument.presentationml.tags+xml"/>
  <Override PartName="/ppt/tags/tag986.xml" ContentType="application/vnd.openxmlformats-officedocument.presentationml.tags+xml"/>
  <Override PartName="/ppt/tags/tag987.xml" ContentType="application/vnd.openxmlformats-officedocument.presentationml.tags+xml"/>
  <Override PartName="/ppt/tags/tag988.xml" ContentType="application/vnd.openxmlformats-officedocument.presentationml.tags+xml"/>
  <Override PartName="/ppt/tags/tag989.xml" ContentType="application/vnd.openxmlformats-officedocument.presentationml.tags+xml"/>
  <Override PartName="/ppt/tags/tag990.xml" ContentType="application/vnd.openxmlformats-officedocument.presentationml.tags+xml"/>
  <Override PartName="/ppt/tags/tag991.xml" ContentType="application/vnd.openxmlformats-officedocument.presentationml.tags+xml"/>
  <Override PartName="/ppt/tags/tag992.xml" ContentType="application/vnd.openxmlformats-officedocument.presentationml.tags+xml"/>
  <Override PartName="/ppt/tags/tag993.xml" ContentType="application/vnd.openxmlformats-officedocument.presentationml.tags+xml"/>
  <Override PartName="/ppt/tags/tag994.xml" ContentType="application/vnd.openxmlformats-officedocument.presentationml.tags+xml"/>
  <Override PartName="/ppt/tags/tag995.xml" ContentType="application/vnd.openxmlformats-officedocument.presentationml.tags+xml"/>
  <Override PartName="/ppt/tags/tag996.xml" ContentType="application/vnd.openxmlformats-officedocument.presentationml.tags+xml"/>
  <Override PartName="/ppt/tags/tag997.xml" ContentType="application/vnd.openxmlformats-officedocument.presentationml.tags+xml"/>
  <Override PartName="/ppt/tags/tag998.xml" ContentType="application/vnd.openxmlformats-officedocument.presentationml.tags+xml"/>
  <Override PartName="/ppt/tags/tag999.xml" ContentType="application/vnd.openxmlformats-officedocument.presentationml.tags+xml"/>
  <Override PartName="/ppt/tags/tag1000.xml" ContentType="application/vnd.openxmlformats-officedocument.presentationml.tags+xml"/>
  <Override PartName="/ppt/tags/tag1001.xml" ContentType="application/vnd.openxmlformats-officedocument.presentationml.tags+xml"/>
  <Override PartName="/ppt/tags/tag1002.xml" ContentType="application/vnd.openxmlformats-officedocument.presentationml.tags+xml"/>
  <Override PartName="/ppt/tags/tag1003.xml" ContentType="application/vnd.openxmlformats-officedocument.presentationml.tags+xml"/>
  <Override PartName="/ppt/tags/tag1004.xml" ContentType="application/vnd.openxmlformats-officedocument.presentationml.tags+xml"/>
  <Override PartName="/ppt/tags/tag1005.xml" ContentType="application/vnd.openxmlformats-officedocument.presentationml.tags+xml"/>
  <Override PartName="/ppt/tags/tag1006.xml" ContentType="application/vnd.openxmlformats-officedocument.presentationml.tags+xml"/>
  <Override PartName="/ppt/tags/tag1007.xml" ContentType="application/vnd.openxmlformats-officedocument.presentationml.tags+xml"/>
  <Override PartName="/ppt/tags/tag1008.xml" ContentType="application/vnd.openxmlformats-officedocument.presentationml.tags+xml"/>
  <Override PartName="/ppt/tags/tag1009.xml" ContentType="application/vnd.openxmlformats-officedocument.presentationml.tags+xml"/>
  <Override PartName="/ppt/tags/tag1010.xml" ContentType="application/vnd.openxmlformats-officedocument.presentationml.tags+xml"/>
  <Override PartName="/ppt/tags/tag1011.xml" ContentType="application/vnd.openxmlformats-officedocument.presentationml.tags+xml"/>
  <Override PartName="/ppt/tags/tag1012.xml" ContentType="application/vnd.openxmlformats-officedocument.presentationml.tags+xml"/>
  <Override PartName="/ppt/tags/tag1013.xml" ContentType="application/vnd.openxmlformats-officedocument.presentationml.tags+xml"/>
  <Override PartName="/ppt/tags/tag1014.xml" ContentType="application/vnd.openxmlformats-officedocument.presentationml.tags+xml"/>
  <Override PartName="/ppt/tags/tag1015.xml" ContentType="application/vnd.openxmlformats-officedocument.presentationml.tags+xml"/>
  <Override PartName="/ppt/tags/tag1016.xml" ContentType="application/vnd.openxmlformats-officedocument.presentationml.tags+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theme/theme30.xml" ContentType="application/vnd.openxmlformats-officedocument.theme+xml"/>
  <Override PartName="/ppt/tags/tag1017.xml" ContentType="application/vnd.openxmlformats-officedocument.presentationml.tags+xml"/>
  <Override PartName="/ppt/tags/tag1018.xml" ContentType="application/vnd.openxmlformats-officedocument.presentationml.tags+xml"/>
  <Override PartName="/ppt/tags/tag1019.xml" ContentType="application/vnd.openxmlformats-officedocument.presentationml.tags+xml"/>
  <Override PartName="/ppt/tags/tag1020.xml" ContentType="application/vnd.openxmlformats-officedocument.presentationml.tags+xml"/>
  <Override PartName="/ppt/tags/tag1021.xml" ContentType="application/vnd.openxmlformats-officedocument.presentationml.tags+xml"/>
  <Override PartName="/ppt/tags/tag1022.xml" ContentType="application/vnd.openxmlformats-officedocument.presentationml.tags+xml"/>
  <Override PartName="/ppt/tags/tag1023.xml" ContentType="application/vnd.openxmlformats-officedocument.presentationml.tags+xml"/>
  <Override PartName="/ppt/tags/tag1024.xml" ContentType="application/vnd.openxmlformats-officedocument.presentationml.tags+xml"/>
  <Override PartName="/ppt/tags/tag1025.xml" ContentType="application/vnd.openxmlformats-officedocument.presentationml.tags+xml"/>
  <Override PartName="/ppt/tags/tag1026.xml" ContentType="application/vnd.openxmlformats-officedocument.presentationml.tags+xml"/>
  <Override PartName="/ppt/tags/tag1027.xml" ContentType="application/vnd.openxmlformats-officedocument.presentationml.tags+xml"/>
  <Override PartName="/ppt/tags/tag1028.xml" ContentType="application/vnd.openxmlformats-officedocument.presentationml.tags+xml"/>
  <Override PartName="/ppt/tags/tag1029.xml" ContentType="application/vnd.openxmlformats-officedocument.presentationml.tags+xml"/>
  <Override PartName="/ppt/tags/tag1030.xml" ContentType="application/vnd.openxmlformats-officedocument.presentationml.tags+xml"/>
  <Override PartName="/ppt/tags/tag1031.xml" ContentType="application/vnd.openxmlformats-officedocument.presentationml.tags+xml"/>
  <Override PartName="/ppt/tags/tag1032.xml" ContentType="application/vnd.openxmlformats-officedocument.presentationml.tags+xml"/>
  <Override PartName="/ppt/tags/tag1033.xml" ContentType="application/vnd.openxmlformats-officedocument.presentationml.tags+xml"/>
  <Override PartName="/ppt/tags/tag1034.xml" ContentType="application/vnd.openxmlformats-officedocument.presentationml.tags+xml"/>
  <Override PartName="/ppt/tags/tag1035.xml" ContentType="application/vnd.openxmlformats-officedocument.presentationml.tags+xml"/>
  <Override PartName="/ppt/tags/tag1036.xml" ContentType="application/vnd.openxmlformats-officedocument.presentationml.tags+xml"/>
  <Override PartName="/ppt/tags/tag1037.xml" ContentType="application/vnd.openxmlformats-officedocument.presentationml.tags+xml"/>
  <Override PartName="/ppt/tags/tag1038.xml" ContentType="application/vnd.openxmlformats-officedocument.presentationml.tags+xml"/>
  <Override PartName="/ppt/tags/tag1039.xml" ContentType="application/vnd.openxmlformats-officedocument.presentationml.tags+xml"/>
  <Override PartName="/ppt/tags/tag1040.xml" ContentType="application/vnd.openxmlformats-officedocument.presentationml.tags+xml"/>
  <Override PartName="/ppt/tags/tag1041.xml" ContentType="application/vnd.openxmlformats-officedocument.presentationml.tags+xml"/>
  <Override PartName="/ppt/tags/tag1042.xml" ContentType="application/vnd.openxmlformats-officedocument.presentationml.tags+xml"/>
  <Override PartName="/ppt/tags/tag1043.xml" ContentType="application/vnd.openxmlformats-officedocument.presentationml.tags+xml"/>
  <Override PartName="/ppt/tags/tag1044.xml" ContentType="application/vnd.openxmlformats-officedocument.presentationml.tags+xml"/>
  <Override PartName="/ppt/tags/tag1045.xml" ContentType="application/vnd.openxmlformats-officedocument.presentationml.tags+xml"/>
  <Override PartName="/ppt/tags/tag1046.xml" ContentType="application/vnd.openxmlformats-officedocument.presentationml.tags+xml"/>
  <Override PartName="/ppt/tags/tag1047.xml" ContentType="application/vnd.openxmlformats-officedocument.presentationml.tags+xml"/>
  <Override PartName="/ppt/tags/tag1048.xml" ContentType="application/vnd.openxmlformats-officedocument.presentationml.tags+xml"/>
  <Override PartName="/ppt/tags/tag1049.xml" ContentType="application/vnd.openxmlformats-officedocument.presentationml.tags+xml"/>
  <Override PartName="/ppt/tags/tag1050.xml" ContentType="application/vnd.openxmlformats-officedocument.presentationml.tags+xml"/>
  <Override PartName="/ppt/tags/tag1051.xml" ContentType="application/vnd.openxmlformats-officedocument.presentationml.tags+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theme/theme31.xml" ContentType="application/vnd.openxmlformats-officedocument.theme+xml"/>
  <Override PartName="/ppt/tags/tag1052.xml" ContentType="application/vnd.openxmlformats-officedocument.presentationml.tags+xml"/>
  <Override PartName="/ppt/tags/tag1053.xml" ContentType="application/vnd.openxmlformats-officedocument.presentationml.tags+xml"/>
  <Override PartName="/ppt/tags/tag1054.xml" ContentType="application/vnd.openxmlformats-officedocument.presentationml.tags+xml"/>
  <Override PartName="/ppt/tags/tag1055.xml" ContentType="application/vnd.openxmlformats-officedocument.presentationml.tags+xml"/>
  <Override PartName="/ppt/tags/tag1056.xml" ContentType="application/vnd.openxmlformats-officedocument.presentationml.tags+xml"/>
  <Override PartName="/ppt/tags/tag1057.xml" ContentType="application/vnd.openxmlformats-officedocument.presentationml.tags+xml"/>
  <Override PartName="/ppt/tags/tag1058.xml" ContentType="application/vnd.openxmlformats-officedocument.presentationml.tags+xml"/>
  <Override PartName="/ppt/tags/tag1059.xml" ContentType="application/vnd.openxmlformats-officedocument.presentationml.tags+xml"/>
  <Override PartName="/ppt/tags/tag1060.xml" ContentType="application/vnd.openxmlformats-officedocument.presentationml.tags+xml"/>
  <Override PartName="/ppt/tags/tag1061.xml" ContentType="application/vnd.openxmlformats-officedocument.presentationml.tags+xml"/>
  <Override PartName="/ppt/tags/tag1062.xml" ContentType="application/vnd.openxmlformats-officedocument.presentationml.tags+xml"/>
  <Override PartName="/ppt/tags/tag1063.xml" ContentType="application/vnd.openxmlformats-officedocument.presentationml.tags+xml"/>
  <Override PartName="/ppt/tags/tag1064.xml" ContentType="application/vnd.openxmlformats-officedocument.presentationml.tags+xml"/>
  <Override PartName="/ppt/tags/tag1065.xml" ContentType="application/vnd.openxmlformats-officedocument.presentationml.tags+xml"/>
  <Override PartName="/ppt/tags/tag1066.xml" ContentType="application/vnd.openxmlformats-officedocument.presentationml.tags+xml"/>
  <Override PartName="/ppt/tags/tag1067.xml" ContentType="application/vnd.openxmlformats-officedocument.presentationml.tags+xml"/>
  <Override PartName="/ppt/tags/tag1068.xml" ContentType="application/vnd.openxmlformats-officedocument.presentationml.tags+xml"/>
  <Override PartName="/ppt/tags/tag1069.xml" ContentType="application/vnd.openxmlformats-officedocument.presentationml.tags+xml"/>
  <Override PartName="/ppt/tags/tag1070.xml" ContentType="application/vnd.openxmlformats-officedocument.presentationml.tags+xml"/>
  <Override PartName="/ppt/tags/tag1071.xml" ContentType="application/vnd.openxmlformats-officedocument.presentationml.tags+xml"/>
  <Override PartName="/ppt/tags/tag1072.xml" ContentType="application/vnd.openxmlformats-officedocument.presentationml.tags+xml"/>
  <Override PartName="/ppt/tags/tag1073.xml" ContentType="application/vnd.openxmlformats-officedocument.presentationml.tags+xml"/>
  <Override PartName="/ppt/tags/tag1074.xml" ContentType="application/vnd.openxmlformats-officedocument.presentationml.tags+xml"/>
  <Override PartName="/ppt/tags/tag1075.xml" ContentType="application/vnd.openxmlformats-officedocument.presentationml.tags+xml"/>
  <Override PartName="/ppt/tags/tag1076.xml" ContentType="application/vnd.openxmlformats-officedocument.presentationml.tags+xml"/>
  <Override PartName="/ppt/tags/tag1077.xml" ContentType="application/vnd.openxmlformats-officedocument.presentationml.tags+xml"/>
  <Override PartName="/ppt/tags/tag1078.xml" ContentType="application/vnd.openxmlformats-officedocument.presentationml.tags+xml"/>
  <Override PartName="/ppt/tags/tag1079.xml" ContentType="application/vnd.openxmlformats-officedocument.presentationml.tags+xml"/>
  <Override PartName="/ppt/tags/tag1080.xml" ContentType="application/vnd.openxmlformats-officedocument.presentationml.tags+xml"/>
  <Override PartName="/ppt/tags/tag1081.xml" ContentType="application/vnd.openxmlformats-officedocument.presentationml.tags+xml"/>
  <Override PartName="/ppt/tags/tag1082.xml" ContentType="application/vnd.openxmlformats-officedocument.presentationml.tags+xml"/>
  <Override PartName="/ppt/tags/tag1083.xml" ContentType="application/vnd.openxmlformats-officedocument.presentationml.tags+xml"/>
  <Override PartName="/ppt/tags/tag1084.xml" ContentType="application/vnd.openxmlformats-officedocument.presentationml.tags+xml"/>
  <Override PartName="/ppt/tags/tag1085.xml" ContentType="application/vnd.openxmlformats-officedocument.presentationml.tags+xml"/>
  <Override PartName="/ppt/tags/tag1086.xml" ContentType="application/vnd.openxmlformats-officedocument.presentationml.tags+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theme/theme32.xml" ContentType="application/vnd.openxmlformats-officedocument.theme+xml"/>
  <Override PartName="/ppt/tags/tag1087.xml" ContentType="application/vnd.openxmlformats-officedocument.presentationml.tags+xml"/>
  <Override PartName="/ppt/tags/tag1088.xml" ContentType="application/vnd.openxmlformats-officedocument.presentationml.tags+xml"/>
  <Override PartName="/ppt/tags/tag1089.xml" ContentType="application/vnd.openxmlformats-officedocument.presentationml.tags+xml"/>
  <Override PartName="/ppt/tags/tag1090.xml" ContentType="application/vnd.openxmlformats-officedocument.presentationml.tags+xml"/>
  <Override PartName="/ppt/tags/tag1091.xml" ContentType="application/vnd.openxmlformats-officedocument.presentationml.tags+xml"/>
  <Override PartName="/ppt/tags/tag1092.xml" ContentType="application/vnd.openxmlformats-officedocument.presentationml.tags+xml"/>
  <Override PartName="/ppt/tags/tag1093.xml" ContentType="application/vnd.openxmlformats-officedocument.presentationml.tags+xml"/>
  <Override PartName="/ppt/tags/tag1094.xml" ContentType="application/vnd.openxmlformats-officedocument.presentationml.tags+xml"/>
  <Override PartName="/ppt/tags/tag1095.xml" ContentType="application/vnd.openxmlformats-officedocument.presentationml.tags+xml"/>
  <Override PartName="/ppt/tags/tag1096.xml" ContentType="application/vnd.openxmlformats-officedocument.presentationml.tags+xml"/>
  <Override PartName="/ppt/tags/tag1097.xml" ContentType="application/vnd.openxmlformats-officedocument.presentationml.tags+xml"/>
  <Override PartName="/ppt/tags/tag1098.xml" ContentType="application/vnd.openxmlformats-officedocument.presentationml.tags+xml"/>
  <Override PartName="/ppt/tags/tag1099.xml" ContentType="application/vnd.openxmlformats-officedocument.presentationml.tags+xml"/>
  <Override PartName="/ppt/tags/tag1100.xml" ContentType="application/vnd.openxmlformats-officedocument.presentationml.tags+xml"/>
  <Override PartName="/ppt/tags/tag1101.xml" ContentType="application/vnd.openxmlformats-officedocument.presentationml.tags+xml"/>
  <Override PartName="/ppt/tags/tag1102.xml" ContentType="application/vnd.openxmlformats-officedocument.presentationml.tags+xml"/>
  <Override PartName="/ppt/tags/tag1103.xml" ContentType="application/vnd.openxmlformats-officedocument.presentationml.tags+xml"/>
  <Override PartName="/ppt/tags/tag1104.xml" ContentType="application/vnd.openxmlformats-officedocument.presentationml.tags+xml"/>
  <Override PartName="/ppt/tags/tag1105.xml" ContentType="application/vnd.openxmlformats-officedocument.presentationml.tags+xml"/>
  <Override PartName="/ppt/tags/tag1106.xml" ContentType="application/vnd.openxmlformats-officedocument.presentationml.tags+xml"/>
  <Override PartName="/ppt/tags/tag1107.xml" ContentType="application/vnd.openxmlformats-officedocument.presentationml.tags+xml"/>
  <Override PartName="/ppt/tags/tag1108.xml" ContentType="application/vnd.openxmlformats-officedocument.presentationml.tags+xml"/>
  <Override PartName="/ppt/tags/tag1109.xml" ContentType="application/vnd.openxmlformats-officedocument.presentationml.tags+xml"/>
  <Override PartName="/ppt/tags/tag1110.xml" ContentType="application/vnd.openxmlformats-officedocument.presentationml.tags+xml"/>
  <Override PartName="/ppt/tags/tag1111.xml" ContentType="application/vnd.openxmlformats-officedocument.presentationml.tags+xml"/>
  <Override PartName="/ppt/tags/tag1112.xml" ContentType="application/vnd.openxmlformats-officedocument.presentationml.tags+xml"/>
  <Override PartName="/ppt/tags/tag1113.xml" ContentType="application/vnd.openxmlformats-officedocument.presentationml.tags+xml"/>
  <Override PartName="/ppt/tags/tag1114.xml" ContentType="application/vnd.openxmlformats-officedocument.presentationml.tags+xml"/>
  <Override PartName="/ppt/tags/tag1115.xml" ContentType="application/vnd.openxmlformats-officedocument.presentationml.tags+xml"/>
  <Override PartName="/ppt/tags/tag1116.xml" ContentType="application/vnd.openxmlformats-officedocument.presentationml.tags+xml"/>
  <Override PartName="/ppt/tags/tag1117.xml" ContentType="application/vnd.openxmlformats-officedocument.presentationml.tags+xml"/>
  <Override PartName="/ppt/tags/tag1118.xml" ContentType="application/vnd.openxmlformats-officedocument.presentationml.tags+xml"/>
  <Override PartName="/ppt/tags/tag1119.xml" ContentType="application/vnd.openxmlformats-officedocument.presentationml.tags+xml"/>
  <Override PartName="/ppt/tags/tag1120.xml" ContentType="application/vnd.openxmlformats-officedocument.presentationml.tags+xml"/>
  <Override PartName="/ppt/tags/tag1121.xml" ContentType="application/vnd.openxmlformats-officedocument.presentationml.tags+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theme/theme33.xml" ContentType="application/vnd.openxmlformats-officedocument.theme+xml"/>
  <Override PartName="/ppt/tags/tag1122.xml" ContentType="application/vnd.openxmlformats-officedocument.presentationml.tags+xml"/>
  <Override PartName="/ppt/tags/tag1123.xml" ContentType="application/vnd.openxmlformats-officedocument.presentationml.tags+xml"/>
  <Override PartName="/ppt/tags/tag1124.xml" ContentType="application/vnd.openxmlformats-officedocument.presentationml.tags+xml"/>
  <Override PartName="/ppt/tags/tag1125.xml" ContentType="application/vnd.openxmlformats-officedocument.presentationml.tags+xml"/>
  <Override PartName="/ppt/tags/tag1126.xml" ContentType="application/vnd.openxmlformats-officedocument.presentationml.tags+xml"/>
  <Override PartName="/ppt/tags/tag1127.xml" ContentType="application/vnd.openxmlformats-officedocument.presentationml.tags+xml"/>
  <Override PartName="/ppt/tags/tag1128.xml" ContentType="application/vnd.openxmlformats-officedocument.presentationml.tags+xml"/>
  <Override PartName="/ppt/tags/tag1129.xml" ContentType="application/vnd.openxmlformats-officedocument.presentationml.tags+xml"/>
  <Override PartName="/ppt/tags/tag1130.xml" ContentType="application/vnd.openxmlformats-officedocument.presentationml.tags+xml"/>
  <Override PartName="/ppt/tags/tag1131.xml" ContentType="application/vnd.openxmlformats-officedocument.presentationml.tags+xml"/>
  <Override PartName="/ppt/tags/tag1132.xml" ContentType="application/vnd.openxmlformats-officedocument.presentationml.tags+xml"/>
  <Override PartName="/ppt/tags/tag1133.xml" ContentType="application/vnd.openxmlformats-officedocument.presentationml.tags+xml"/>
  <Override PartName="/ppt/tags/tag1134.xml" ContentType="application/vnd.openxmlformats-officedocument.presentationml.tags+xml"/>
  <Override PartName="/ppt/tags/tag1135.xml" ContentType="application/vnd.openxmlformats-officedocument.presentationml.tags+xml"/>
  <Override PartName="/ppt/tags/tag1136.xml" ContentType="application/vnd.openxmlformats-officedocument.presentationml.tags+xml"/>
  <Override PartName="/ppt/tags/tag1137.xml" ContentType="application/vnd.openxmlformats-officedocument.presentationml.tags+xml"/>
  <Override PartName="/ppt/tags/tag1138.xml" ContentType="application/vnd.openxmlformats-officedocument.presentationml.tags+xml"/>
  <Override PartName="/ppt/tags/tag1139.xml" ContentType="application/vnd.openxmlformats-officedocument.presentationml.tags+xml"/>
  <Override PartName="/ppt/tags/tag1140.xml" ContentType="application/vnd.openxmlformats-officedocument.presentationml.tags+xml"/>
  <Override PartName="/ppt/tags/tag1141.xml" ContentType="application/vnd.openxmlformats-officedocument.presentationml.tags+xml"/>
  <Override PartName="/ppt/tags/tag1142.xml" ContentType="application/vnd.openxmlformats-officedocument.presentationml.tags+xml"/>
  <Override PartName="/ppt/tags/tag1143.xml" ContentType="application/vnd.openxmlformats-officedocument.presentationml.tags+xml"/>
  <Override PartName="/ppt/tags/tag1144.xml" ContentType="application/vnd.openxmlformats-officedocument.presentationml.tags+xml"/>
  <Override PartName="/ppt/tags/tag1145.xml" ContentType="application/vnd.openxmlformats-officedocument.presentationml.tags+xml"/>
  <Override PartName="/ppt/tags/tag1146.xml" ContentType="application/vnd.openxmlformats-officedocument.presentationml.tags+xml"/>
  <Override PartName="/ppt/tags/tag1147.xml" ContentType="application/vnd.openxmlformats-officedocument.presentationml.tags+xml"/>
  <Override PartName="/ppt/tags/tag1148.xml" ContentType="application/vnd.openxmlformats-officedocument.presentationml.tags+xml"/>
  <Override PartName="/ppt/tags/tag1149.xml" ContentType="application/vnd.openxmlformats-officedocument.presentationml.tags+xml"/>
  <Override PartName="/ppt/tags/tag1150.xml" ContentType="application/vnd.openxmlformats-officedocument.presentationml.tags+xml"/>
  <Override PartName="/ppt/tags/tag1151.xml" ContentType="application/vnd.openxmlformats-officedocument.presentationml.tags+xml"/>
  <Override PartName="/ppt/tags/tag1152.xml" ContentType="application/vnd.openxmlformats-officedocument.presentationml.tags+xml"/>
  <Override PartName="/ppt/tags/tag1153.xml" ContentType="application/vnd.openxmlformats-officedocument.presentationml.tags+xml"/>
  <Override PartName="/ppt/tags/tag1154.xml" ContentType="application/vnd.openxmlformats-officedocument.presentationml.tags+xml"/>
  <Override PartName="/ppt/tags/tag1155.xml" ContentType="application/vnd.openxmlformats-officedocument.presentationml.tags+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theme/theme34.xml" ContentType="application/vnd.openxmlformats-officedocument.theme+xml"/>
  <Override PartName="/ppt/tags/tag1156.xml" ContentType="application/vnd.openxmlformats-officedocument.presentationml.tags+xml"/>
  <Override PartName="/ppt/tags/tag1157.xml" ContentType="application/vnd.openxmlformats-officedocument.presentationml.tags+xml"/>
  <Override PartName="/ppt/tags/tag1158.xml" ContentType="application/vnd.openxmlformats-officedocument.presentationml.tags+xml"/>
  <Override PartName="/ppt/tags/tag1159.xml" ContentType="application/vnd.openxmlformats-officedocument.presentationml.tags+xml"/>
  <Override PartName="/ppt/tags/tag1160.xml" ContentType="application/vnd.openxmlformats-officedocument.presentationml.tags+xml"/>
  <Override PartName="/ppt/tags/tag1161.xml" ContentType="application/vnd.openxmlformats-officedocument.presentationml.tags+xml"/>
  <Override PartName="/ppt/tags/tag1162.xml" ContentType="application/vnd.openxmlformats-officedocument.presentationml.tags+xml"/>
  <Override PartName="/ppt/tags/tag1163.xml" ContentType="application/vnd.openxmlformats-officedocument.presentationml.tags+xml"/>
  <Override PartName="/ppt/tags/tag1164.xml" ContentType="application/vnd.openxmlformats-officedocument.presentationml.tags+xml"/>
  <Override PartName="/ppt/tags/tag1165.xml" ContentType="application/vnd.openxmlformats-officedocument.presentationml.tags+xml"/>
  <Override PartName="/ppt/tags/tag1166.xml" ContentType="application/vnd.openxmlformats-officedocument.presentationml.tags+xml"/>
  <Override PartName="/ppt/tags/tag1167.xml" ContentType="application/vnd.openxmlformats-officedocument.presentationml.tags+xml"/>
  <Override PartName="/ppt/tags/tag1168.xml" ContentType="application/vnd.openxmlformats-officedocument.presentationml.tags+xml"/>
  <Override PartName="/ppt/tags/tag1169.xml" ContentType="application/vnd.openxmlformats-officedocument.presentationml.tags+xml"/>
  <Override PartName="/ppt/tags/tag1170.xml" ContentType="application/vnd.openxmlformats-officedocument.presentationml.tags+xml"/>
  <Override PartName="/ppt/tags/tag1171.xml" ContentType="application/vnd.openxmlformats-officedocument.presentationml.tags+xml"/>
  <Override PartName="/ppt/tags/tag1172.xml" ContentType="application/vnd.openxmlformats-officedocument.presentationml.tags+xml"/>
  <Override PartName="/ppt/tags/tag1173.xml" ContentType="application/vnd.openxmlformats-officedocument.presentationml.tags+xml"/>
  <Override PartName="/ppt/tags/tag1174.xml" ContentType="application/vnd.openxmlformats-officedocument.presentationml.tags+xml"/>
  <Override PartName="/ppt/tags/tag1175.xml" ContentType="application/vnd.openxmlformats-officedocument.presentationml.tags+xml"/>
  <Override PartName="/ppt/tags/tag1176.xml" ContentType="application/vnd.openxmlformats-officedocument.presentationml.tags+xml"/>
  <Override PartName="/ppt/tags/tag1177.xml" ContentType="application/vnd.openxmlformats-officedocument.presentationml.tags+xml"/>
  <Override PartName="/ppt/tags/tag1178.xml" ContentType="application/vnd.openxmlformats-officedocument.presentationml.tags+xml"/>
  <Override PartName="/ppt/tags/tag1179.xml" ContentType="application/vnd.openxmlformats-officedocument.presentationml.tags+xml"/>
  <Override PartName="/ppt/tags/tag1180.xml" ContentType="application/vnd.openxmlformats-officedocument.presentationml.tags+xml"/>
  <Override PartName="/ppt/tags/tag1181.xml" ContentType="application/vnd.openxmlformats-officedocument.presentationml.tags+xml"/>
  <Override PartName="/ppt/tags/tag1182.xml" ContentType="application/vnd.openxmlformats-officedocument.presentationml.tags+xml"/>
  <Override PartName="/ppt/tags/tag1183.xml" ContentType="application/vnd.openxmlformats-officedocument.presentationml.tags+xml"/>
  <Override PartName="/ppt/tags/tag1184.xml" ContentType="application/vnd.openxmlformats-officedocument.presentationml.tags+xml"/>
  <Override PartName="/ppt/tags/tag1185.xml" ContentType="application/vnd.openxmlformats-officedocument.presentationml.tags+xml"/>
  <Override PartName="/ppt/tags/tag1186.xml" ContentType="application/vnd.openxmlformats-officedocument.presentationml.tags+xml"/>
  <Override PartName="/ppt/tags/tag1187.xml" ContentType="application/vnd.openxmlformats-officedocument.presentationml.tags+xml"/>
  <Override PartName="/ppt/tags/tag1188.xml" ContentType="application/vnd.openxmlformats-officedocument.presentationml.tags+xml"/>
  <Override PartName="/ppt/tags/tag1189.xml" ContentType="application/vnd.openxmlformats-officedocument.presentationml.tags+xml"/>
  <Override PartName="/ppt/tags/tag1190.xml" ContentType="application/vnd.openxmlformats-officedocument.presentationml.tags+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theme/theme35.xml" ContentType="application/vnd.openxmlformats-officedocument.theme+xml"/>
  <Override PartName="/ppt/tags/tag1191.xml" ContentType="application/vnd.openxmlformats-officedocument.presentationml.tags+xml"/>
  <Override PartName="/ppt/tags/tag1192.xml" ContentType="application/vnd.openxmlformats-officedocument.presentationml.tags+xml"/>
  <Override PartName="/ppt/tags/tag1193.xml" ContentType="application/vnd.openxmlformats-officedocument.presentationml.tags+xml"/>
  <Override PartName="/ppt/tags/tag1194.xml" ContentType="application/vnd.openxmlformats-officedocument.presentationml.tags+xml"/>
  <Override PartName="/ppt/tags/tag1195.xml" ContentType="application/vnd.openxmlformats-officedocument.presentationml.tags+xml"/>
  <Override PartName="/ppt/tags/tag1196.xml" ContentType="application/vnd.openxmlformats-officedocument.presentationml.tags+xml"/>
  <Override PartName="/ppt/tags/tag1197.xml" ContentType="application/vnd.openxmlformats-officedocument.presentationml.tags+xml"/>
  <Override PartName="/ppt/tags/tag1198.xml" ContentType="application/vnd.openxmlformats-officedocument.presentationml.tags+xml"/>
  <Override PartName="/ppt/tags/tag1199.xml" ContentType="application/vnd.openxmlformats-officedocument.presentationml.tags+xml"/>
  <Override PartName="/ppt/tags/tag1200.xml" ContentType="application/vnd.openxmlformats-officedocument.presentationml.tags+xml"/>
  <Override PartName="/ppt/tags/tag1201.xml" ContentType="application/vnd.openxmlformats-officedocument.presentationml.tags+xml"/>
  <Override PartName="/ppt/tags/tag1202.xml" ContentType="application/vnd.openxmlformats-officedocument.presentationml.tags+xml"/>
  <Override PartName="/ppt/tags/tag1203.xml" ContentType="application/vnd.openxmlformats-officedocument.presentationml.tags+xml"/>
  <Override PartName="/ppt/tags/tag1204.xml" ContentType="application/vnd.openxmlformats-officedocument.presentationml.tags+xml"/>
  <Override PartName="/ppt/tags/tag1205.xml" ContentType="application/vnd.openxmlformats-officedocument.presentationml.tags+xml"/>
  <Override PartName="/ppt/tags/tag1206.xml" ContentType="application/vnd.openxmlformats-officedocument.presentationml.tags+xml"/>
  <Override PartName="/ppt/tags/tag1207.xml" ContentType="application/vnd.openxmlformats-officedocument.presentationml.tags+xml"/>
  <Override PartName="/ppt/tags/tag1208.xml" ContentType="application/vnd.openxmlformats-officedocument.presentationml.tags+xml"/>
  <Override PartName="/ppt/tags/tag1209.xml" ContentType="application/vnd.openxmlformats-officedocument.presentationml.tags+xml"/>
  <Override PartName="/ppt/tags/tag1210.xml" ContentType="application/vnd.openxmlformats-officedocument.presentationml.tags+xml"/>
  <Override PartName="/ppt/tags/tag1211.xml" ContentType="application/vnd.openxmlformats-officedocument.presentationml.tags+xml"/>
  <Override PartName="/ppt/tags/tag1212.xml" ContentType="application/vnd.openxmlformats-officedocument.presentationml.tags+xml"/>
  <Override PartName="/ppt/tags/tag1213.xml" ContentType="application/vnd.openxmlformats-officedocument.presentationml.tags+xml"/>
  <Override PartName="/ppt/tags/tag1214.xml" ContentType="application/vnd.openxmlformats-officedocument.presentationml.tags+xml"/>
  <Override PartName="/ppt/tags/tag1215.xml" ContentType="application/vnd.openxmlformats-officedocument.presentationml.tags+xml"/>
  <Override PartName="/ppt/tags/tag1216.xml" ContentType="application/vnd.openxmlformats-officedocument.presentationml.tags+xml"/>
  <Override PartName="/ppt/tags/tag1217.xml" ContentType="application/vnd.openxmlformats-officedocument.presentationml.tags+xml"/>
  <Override PartName="/ppt/tags/tag1218.xml" ContentType="application/vnd.openxmlformats-officedocument.presentationml.tags+xml"/>
  <Override PartName="/ppt/tags/tag1219.xml" ContentType="application/vnd.openxmlformats-officedocument.presentationml.tags+xml"/>
  <Override PartName="/ppt/tags/tag1220.xml" ContentType="application/vnd.openxmlformats-officedocument.presentationml.tags+xml"/>
  <Override PartName="/ppt/tags/tag1221.xml" ContentType="application/vnd.openxmlformats-officedocument.presentationml.tags+xml"/>
  <Override PartName="/ppt/tags/tag1222.xml" ContentType="application/vnd.openxmlformats-officedocument.presentationml.tags+xml"/>
  <Override PartName="/ppt/tags/tag1223.xml" ContentType="application/vnd.openxmlformats-officedocument.presentationml.tags+xml"/>
  <Override PartName="/ppt/tags/tag1224.xml" ContentType="application/vnd.openxmlformats-officedocument.presentationml.tags+xml"/>
  <Override PartName="/ppt/tags/tag1225.xml" ContentType="application/vnd.openxmlformats-officedocument.presentationml.tags+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theme/theme36.xml" ContentType="application/vnd.openxmlformats-officedocument.theme+xml"/>
  <Override PartName="/ppt/tags/tag1226.xml" ContentType="application/vnd.openxmlformats-officedocument.presentationml.tags+xml"/>
  <Override PartName="/ppt/tags/tag1227.xml" ContentType="application/vnd.openxmlformats-officedocument.presentationml.tags+xml"/>
  <Override PartName="/ppt/tags/tag1228.xml" ContentType="application/vnd.openxmlformats-officedocument.presentationml.tags+xml"/>
  <Override PartName="/ppt/tags/tag1229.xml" ContentType="application/vnd.openxmlformats-officedocument.presentationml.tags+xml"/>
  <Override PartName="/ppt/tags/tag1230.xml" ContentType="application/vnd.openxmlformats-officedocument.presentationml.tags+xml"/>
  <Override PartName="/ppt/tags/tag1231.xml" ContentType="application/vnd.openxmlformats-officedocument.presentationml.tags+xml"/>
  <Override PartName="/ppt/tags/tag1232.xml" ContentType="application/vnd.openxmlformats-officedocument.presentationml.tags+xml"/>
  <Override PartName="/ppt/tags/tag1233.xml" ContentType="application/vnd.openxmlformats-officedocument.presentationml.tags+xml"/>
  <Override PartName="/ppt/tags/tag1234.xml" ContentType="application/vnd.openxmlformats-officedocument.presentationml.tags+xml"/>
  <Override PartName="/ppt/tags/tag1235.xml" ContentType="application/vnd.openxmlformats-officedocument.presentationml.tags+xml"/>
  <Override PartName="/ppt/tags/tag1236.xml" ContentType="application/vnd.openxmlformats-officedocument.presentationml.tags+xml"/>
  <Override PartName="/ppt/tags/tag1237.xml" ContentType="application/vnd.openxmlformats-officedocument.presentationml.tags+xml"/>
  <Override PartName="/ppt/tags/tag1238.xml" ContentType="application/vnd.openxmlformats-officedocument.presentationml.tags+xml"/>
  <Override PartName="/ppt/tags/tag1239.xml" ContentType="application/vnd.openxmlformats-officedocument.presentationml.tags+xml"/>
  <Override PartName="/ppt/tags/tag1240.xml" ContentType="application/vnd.openxmlformats-officedocument.presentationml.tags+xml"/>
  <Override PartName="/ppt/tags/tag1241.xml" ContentType="application/vnd.openxmlformats-officedocument.presentationml.tags+xml"/>
  <Override PartName="/ppt/tags/tag1242.xml" ContentType="application/vnd.openxmlformats-officedocument.presentationml.tags+xml"/>
  <Override PartName="/ppt/tags/tag1243.xml" ContentType="application/vnd.openxmlformats-officedocument.presentationml.tags+xml"/>
  <Override PartName="/ppt/tags/tag1244.xml" ContentType="application/vnd.openxmlformats-officedocument.presentationml.tags+xml"/>
  <Override PartName="/ppt/tags/tag1245.xml" ContentType="application/vnd.openxmlformats-officedocument.presentationml.tags+xml"/>
  <Override PartName="/ppt/tags/tag1246.xml" ContentType="application/vnd.openxmlformats-officedocument.presentationml.tags+xml"/>
  <Override PartName="/ppt/tags/tag1247.xml" ContentType="application/vnd.openxmlformats-officedocument.presentationml.tags+xml"/>
  <Override PartName="/ppt/tags/tag1248.xml" ContentType="application/vnd.openxmlformats-officedocument.presentationml.tags+xml"/>
  <Override PartName="/ppt/tags/tag1249.xml" ContentType="application/vnd.openxmlformats-officedocument.presentationml.tags+xml"/>
  <Override PartName="/ppt/tags/tag1250.xml" ContentType="application/vnd.openxmlformats-officedocument.presentationml.tags+xml"/>
  <Override PartName="/ppt/tags/tag1251.xml" ContentType="application/vnd.openxmlformats-officedocument.presentationml.tags+xml"/>
  <Override PartName="/ppt/tags/tag1252.xml" ContentType="application/vnd.openxmlformats-officedocument.presentationml.tags+xml"/>
  <Override PartName="/ppt/tags/tag1253.xml" ContentType="application/vnd.openxmlformats-officedocument.presentationml.tags+xml"/>
  <Override PartName="/ppt/tags/tag1254.xml" ContentType="application/vnd.openxmlformats-officedocument.presentationml.tags+xml"/>
  <Override PartName="/ppt/tags/tag1255.xml" ContentType="application/vnd.openxmlformats-officedocument.presentationml.tags+xml"/>
  <Override PartName="/ppt/tags/tag1256.xml" ContentType="application/vnd.openxmlformats-officedocument.presentationml.tags+xml"/>
  <Override PartName="/ppt/tags/tag1257.xml" ContentType="application/vnd.openxmlformats-officedocument.presentationml.tags+xml"/>
  <Override PartName="/ppt/tags/tag1258.xml" ContentType="application/vnd.openxmlformats-officedocument.presentationml.tags+xml"/>
  <Override PartName="/ppt/tags/tag1259.xml" ContentType="application/vnd.openxmlformats-officedocument.presentationml.tags+xml"/>
  <Override PartName="/ppt/tags/tag1260.xml" ContentType="application/vnd.openxmlformats-officedocument.presentationml.tags+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theme/theme37.xml" ContentType="application/vnd.openxmlformats-officedocument.theme+xml"/>
  <Override PartName="/ppt/tags/tag1261.xml" ContentType="application/vnd.openxmlformats-officedocument.presentationml.tags+xml"/>
  <Override PartName="/ppt/tags/tag1262.xml" ContentType="application/vnd.openxmlformats-officedocument.presentationml.tags+xml"/>
  <Override PartName="/ppt/tags/tag1263.xml" ContentType="application/vnd.openxmlformats-officedocument.presentationml.tags+xml"/>
  <Override PartName="/ppt/tags/tag1264.xml" ContentType="application/vnd.openxmlformats-officedocument.presentationml.tags+xml"/>
  <Override PartName="/ppt/tags/tag1265.xml" ContentType="application/vnd.openxmlformats-officedocument.presentationml.tags+xml"/>
  <Override PartName="/ppt/tags/tag1266.xml" ContentType="application/vnd.openxmlformats-officedocument.presentationml.tags+xml"/>
  <Override PartName="/ppt/tags/tag1267.xml" ContentType="application/vnd.openxmlformats-officedocument.presentationml.tags+xml"/>
  <Override PartName="/ppt/tags/tag1268.xml" ContentType="application/vnd.openxmlformats-officedocument.presentationml.tags+xml"/>
  <Override PartName="/ppt/tags/tag1269.xml" ContentType="application/vnd.openxmlformats-officedocument.presentationml.tags+xml"/>
  <Override PartName="/ppt/tags/tag1270.xml" ContentType="application/vnd.openxmlformats-officedocument.presentationml.tags+xml"/>
  <Override PartName="/ppt/tags/tag1271.xml" ContentType="application/vnd.openxmlformats-officedocument.presentationml.tags+xml"/>
  <Override PartName="/ppt/tags/tag1272.xml" ContentType="application/vnd.openxmlformats-officedocument.presentationml.tags+xml"/>
  <Override PartName="/ppt/tags/tag1273.xml" ContentType="application/vnd.openxmlformats-officedocument.presentationml.tags+xml"/>
  <Override PartName="/ppt/tags/tag1274.xml" ContentType="application/vnd.openxmlformats-officedocument.presentationml.tags+xml"/>
  <Override PartName="/ppt/tags/tag1275.xml" ContentType="application/vnd.openxmlformats-officedocument.presentationml.tags+xml"/>
  <Override PartName="/ppt/tags/tag1276.xml" ContentType="application/vnd.openxmlformats-officedocument.presentationml.tags+xml"/>
  <Override PartName="/ppt/tags/tag1277.xml" ContentType="application/vnd.openxmlformats-officedocument.presentationml.tags+xml"/>
  <Override PartName="/ppt/tags/tag1278.xml" ContentType="application/vnd.openxmlformats-officedocument.presentationml.tags+xml"/>
  <Override PartName="/ppt/tags/tag1279.xml" ContentType="application/vnd.openxmlformats-officedocument.presentationml.tags+xml"/>
  <Override PartName="/ppt/tags/tag1280.xml" ContentType="application/vnd.openxmlformats-officedocument.presentationml.tags+xml"/>
  <Override PartName="/ppt/tags/tag1281.xml" ContentType="application/vnd.openxmlformats-officedocument.presentationml.tags+xml"/>
  <Override PartName="/ppt/tags/tag1282.xml" ContentType="application/vnd.openxmlformats-officedocument.presentationml.tags+xml"/>
  <Override PartName="/ppt/tags/tag1283.xml" ContentType="application/vnd.openxmlformats-officedocument.presentationml.tags+xml"/>
  <Override PartName="/ppt/tags/tag1284.xml" ContentType="application/vnd.openxmlformats-officedocument.presentationml.tags+xml"/>
  <Override PartName="/ppt/tags/tag1285.xml" ContentType="application/vnd.openxmlformats-officedocument.presentationml.tags+xml"/>
  <Override PartName="/ppt/tags/tag1286.xml" ContentType="application/vnd.openxmlformats-officedocument.presentationml.tags+xml"/>
  <Override PartName="/ppt/tags/tag1287.xml" ContentType="application/vnd.openxmlformats-officedocument.presentationml.tags+xml"/>
  <Override PartName="/ppt/tags/tag1288.xml" ContentType="application/vnd.openxmlformats-officedocument.presentationml.tags+xml"/>
  <Override PartName="/ppt/tags/tag1289.xml" ContentType="application/vnd.openxmlformats-officedocument.presentationml.tags+xml"/>
  <Override PartName="/ppt/tags/tag1290.xml" ContentType="application/vnd.openxmlformats-officedocument.presentationml.tags+xml"/>
  <Override PartName="/ppt/tags/tag1291.xml" ContentType="application/vnd.openxmlformats-officedocument.presentationml.tags+xml"/>
  <Override PartName="/ppt/tags/tag1292.xml" ContentType="application/vnd.openxmlformats-officedocument.presentationml.tags+xml"/>
  <Override PartName="/ppt/tags/tag1293.xml" ContentType="application/vnd.openxmlformats-officedocument.presentationml.tags+xml"/>
  <Override PartName="/ppt/tags/tag1294.xml" ContentType="application/vnd.openxmlformats-officedocument.presentationml.tags+xml"/>
  <Override PartName="/ppt/tags/tag1295.xml" ContentType="application/vnd.openxmlformats-officedocument.presentationml.tags+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theme/theme38.xml" ContentType="application/vnd.openxmlformats-officedocument.theme+xml"/>
  <Override PartName="/ppt/tags/tag1296.xml" ContentType="application/vnd.openxmlformats-officedocument.presentationml.tags+xml"/>
  <Override PartName="/ppt/tags/tag1297.xml" ContentType="application/vnd.openxmlformats-officedocument.presentationml.tags+xml"/>
  <Override PartName="/ppt/tags/tag1298.xml" ContentType="application/vnd.openxmlformats-officedocument.presentationml.tags+xml"/>
  <Override PartName="/ppt/tags/tag1299.xml" ContentType="application/vnd.openxmlformats-officedocument.presentationml.tags+xml"/>
  <Override PartName="/ppt/tags/tag1300.xml" ContentType="application/vnd.openxmlformats-officedocument.presentationml.tags+xml"/>
  <Override PartName="/ppt/tags/tag1301.xml" ContentType="application/vnd.openxmlformats-officedocument.presentationml.tags+xml"/>
  <Override PartName="/ppt/tags/tag1302.xml" ContentType="application/vnd.openxmlformats-officedocument.presentationml.tags+xml"/>
  <Override PartName="/ppt/tags/tag1303.xml" ContentType="application/vnd.openxmlformats-officedocument.presentationml.tags+xml"/>
  <Override PartName="/ppt/tags/tag1304.xml" ContentType="application/vnd.openxmlformats-officedocument.presentationml.tags+xml"/>
  <Override PartName="/ppt/tags/tag1305.xml" ContentType="application/vnd.openxmlformats-officedocument.presentationml.tags+xml"/>
  <Override PartName="/ppt/tags/tag1306.xml" ContentType="application/vnd.openxmlformats-officedocument.presentationml.tags+xml"/>
  <Override PartName="/ppt/tags/tag1307.xml" ContentType="application/vnd.openxmlformats-officedocument.presentationml.tags+xml"/>
  <Override PartName="/ppt/tags/tag1308.xml" ContentType="application/vnd.openxmlformats-officedocument.presentationml.tags+xml"/>
  <Override PartName="/ppt/tags/tag1309.xml" ContentType="application/vnd.openxmlformats-officedocument.presentationml.tags+xml"/>
  <Override PartName="/ppt/tags/tag1310.xml" ContentType="application/vnd.openxmlformats-officedocument.presentationml.tags+xml"/>
  <Override PartName="/ppt/tags/tag1311.xml" ContentType="application/vnd.openxmlformats-officedocument.presentationml.tags+xml"/>
  <Override PartName="/ppt/tags/tag1312.xml" ContentType="application/vnd.openxmlformats-officedocument.presentationml.tags+xml"/>
  <Override PartName="/ppt/tags/tag1313.xml" ContentType="application/vnd.openxmlformats-officedocument.presentationml.tags+xml"/>
  <Override PartName="/ppt/tags/tag1314.xml" ContentType="application/vnd.openxmlformats-officedocument.presentationml.tags+xml"/>
  <Override PartName="/ppt/tags/tag1315.xml" ContentType="application/vnd.openxmlformats-officedocument.presentationml.tags+xml"/>
  <Override PartName="/ppt/tags/tag1316.xml" ContentType="application/vnd.openxmlformats-officedocument.presentationml.tags+xml"/>
  <Override PartName="/ppt/tags/tag1317.xml" ContentType="application/vnd.openxmlformats-officedocument.presentationml.tags+xml"/>
  <Override PartName="/ppt/tags/tag1318.xml" ContentType="application/vnd.openxmlformats-officedocument.presentationml.tags+xml"/>
  <Override PartName="/ppt/tags/tag1319.xml" ContentType="application/vnd.openxmlformats-officedocument.presentationml.tags+xml"/>
  <Override PartName="/ppt/tags/tag1320.xml" ContentType="application/vnd.openxmlformats-officedocument.presentationml.tags+xml"/>
  <Override PartName="/ppt/tags/tag1321.xml" ContentType="application/vnd.openxmlformats-officedocument.presentationml.tags+xml"/>
  <Override PartName="/ppt/tags/tag1322.xml" ContentType="application/vnd.openxmlformats-officedocument.presentationml.tags+xml"/>
  <Override PartName="/ppt/tags/tag1323.xml" ContentType="application/vnd.openxmlformats-officedocument.presentationml.tags+xml"/>
  <Override PartName="/ppt/tags/tag1324.xml" ContentType="application/vnd.openxmlformats-officedocument.presentationml.tags+xml"/>
  <Override PartName="/ppt/tags/tag1325.xml" ContentType="application/vnd.openxmlformats-officedocument.presentationml.tags+xml"/>
  <Override PartName="/ppt/tags/tag1326.xml" ContentType="application/vnd.openxmlformats-officedocument.presentationml.tags+xml"/>
  <Override PartName="/ppt/tags/tag1327.xml" ContentType="application/vnd.openxmlformats-officedocument.presentationml.tags+xml"/>
  <Override PartName="/ppt/tags/tag1328.xml" ContentType="application/vnd.openxmlformats-officedocument.presentationml.tags+xml"/>
  <Override PartName="/ppt/tags/tag1329.xml" ContentType="application/vnd.openxmlformats-officedocument.presentationml.tags+xml"/>
  <Override PartName="/ppt/tags/tag1330.xml" ContentType="application/vnd.openxmlformats-officedocument.presentationml.tags+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theme/theme39.xml" ContentType="application/vnd.openxmlformats-officedocument.theme+xml"/>
  <Override PartName="/ppt/tags/tag1331.xml" ContentType="application/vnd.openxmlformats-officedocument.presentationml.tags+xml"/>
  <Override PartName="/ppt/tags/tag1332.xml" ContentType="application/vnd.openxmlformats-officedocument.presentationml.tags+xml"/>
  <Override PartName="/ppt/tags/tag1333.xml" ContentType="application/vnd.openxmlformats-officedocument.presentationml.tags+xml"/>
  <Override PartName="/ppt/tags/tag1334.xml" ContentType="application/vnd.openxmlformats-officedocument.presentationml.tags+xml"/>
  <Override PartName="/ppt/tags/tag1335.xml" ContentType="application/vnd.openxmlformats-officedocument.presentationml.tags+xml"/>
  <Override PartName="/ppt/tags/tag1336.xml" ContentType="application/vnd.openxmlformats-officedocument.presentationml.tags+xml"/>
  <Override PartName="/ppt/tags/tag1337.xml" ContentType="application/vnd.openxmlformats-officedocument.presentationml.tags+xml"/>
  <Override PartName="/ppt/tags/tag1338.xml" ContentType="application/vnd.openxmlformats-officedocument.presentationml.tags+xml"/>
  <Override PartName="/ppt/tags/tag1339.xml" ContentType="application/vnd.openxmlformats-officedocument.presentationml.tags+xml"/>
  <Override PartName="/ppt/tags/tag1340.xml" ContentType="application/vnd.openxmlformats-officedocument.presentationml.tags+xml"/>
  <Override PartName="/ppt/tags/tag1341.xml" ContentType="application/vnd.openxmlformats-officedocument.presentationml.tags+xml"/>
  <Override PartName="/ppt/tags/tag1342.xml" ContentType="application/vnd.openxmlformats-officedocument.presentationml.tags+xml"/>
  <Override PartName="/ppt/tags/tag1343.xml" ContentType="application/vnd.openxmlformats-officedocument.presentationml.tags+xml"/>
  <Override PartName="/ppt/tags/tag1344.xml" ContentType="application/vnd.openxmlformats-officedocument.presentationml.tags+xml"/>
  <Override PartName="/ppt/tags/tag1345.xml" ContentType="application/vnd.openxmlformats-officedocument.presentationml.tags+xml"/>
  <Override PartName="/ppt/tags/tag1346.xml" ContentType="application/vnd.openxmlformats-officedocument.presentationml.tags+xml"/>
  <Override PartName="/ppt/tags/tag1347.xml" ContentType="application/vnd.openxmlformats-officedocument.presentationml.tags+xml"/>
  <Override PartName="/ppt/tags/tag1348.xml" ContentType="application/vnd.openxmlformats-officedocument.presentationml.tags+xml"/>
  <Override PartName="/ppt/tags/tag1349.xml" ContentType="application/vnd.openxmlformats-officedocument.presentationml.tags+xml"/>
  <Override PartName="/ppt/tags/tag1350.xml" ContentType="application/vnd.openxmlformats-officedocument.presentationml.tags+xml"/>
  <Override PartName="/ppt/tags/tag1351.xml" ContentType="application/vnd.openxmlformats-officedocument.presentationml.tags+xml"/>
  <Override PartName="/ppt/tags/tag1352.xml" ContentType="application/vnd.openxmlformats-officedocument.presentationml.tags+xml"/>
  <Override PartName="/ppt/tags/tag1353.xml" ContentType="application/vnd.openxmlformats-officedocument.presentationml.tags+xml"/>
  <Override PartName="/ppt/tags/tag1354.xml" ContentType="application/vnd.openxmlformats-officedocument.presentationml.tags+xml"/>
  <Override PartName="/ppt/tags/tag1355.xml" ContentType="application/vnd.openxmlformats-officedocument.presentationml.tags+xml"/>
  <Override PartName="/ppt/tags/tag1356.xml" ContentType="application/vnd.openxmlformats-officedocument.presentationml.tags+xml"/>
  <Override PartName="/ppt/tags/tag1357.xml" ContentType="application/vnd.openxmlformats-officedocument.presentationml.tags+xml"/>
  <Override PartName="/ppt/tags/tag1358.xml" ContentType="application/vnd.openxmlformats-officedocument.presentationml.tags+xml"/>
  <Override PartName="/ppt/tags/tag1359.xml" ContentType="application/vnd.openxmlformats-officedocument.presentationml.tags+xml"/>
  <Override PartName="/ppt/tags/tag1360.xml" ContentType="application/vnd.openxmlformats-officedocument.presentationml.tags+xml"/>
  <Override PartName="/ppt/tags/tag1361.xml" ContentType="application/vnd.openxmlformats-officedocument.presentationml.tags+xml"/>
  <Override PartName="/ppt/tags/tag1362.xml" ContentType="application/vnd.openxmlformats-officedocument.presentationml.tags+xml"/>
  <Override PartName="/ppt/tags/tag1363.xml" ContentType="application/vnd.openxmlformats-officedocument.presentationml.tags+xml"/>
  <Override PartName="/ppt/tags/tag1364.xml" ContentType="application/vnd.openxmlformats-officedocument.presentationml.tags+xml"/>
  <Override PartName="/ppt/tags/tag1365.xml" ContentType="application/vnd.openxmlformats-officedocument.presentationml.tags+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theme/theme40.xml" ContentType="application/vnd.openxmlformats-officedocument.theme+xml"/>
  <Override PartName="/ppt/tags/tag1366.xml" ContentType="application/vnd.openxmlformats-officedocument.presentationml.tags+xml"/>
  <Override PartName="/ppt/tags/tag1367.xml" ContentType="application/vnd.openxmlformats-officedocument.presentationml.tags+xml"/>
  <Override PartName="/ppt/tags/tag1368.xml" ContentType="application/vnd.openxmlformats-officedocument.presentationml.tags+xml"/>
  <Override PartName="/ppt/tags/tag1369.xml" ContentType="application/vnd.openxmlformats-officedocument.presentationml.tags+xml"/>
  <Override PartName="/ppt/tags/tag1370.xml" ContentType="application/vnd.openxmlformats-officedocument.presentationml.tags+xml"/>
  <Override PartName="/ppt/tags/tag1371.xml" ContentType="application/vnd.openxmlformats-officedocument.presentationml.tags+xml"/>
  <Override PartName="/ppt/tags/tag1372.xml" ContentType="application/vnd.openxmlformats-officedocument.presentationml.tags+xml"/>
  <Override PartName="/ppt/tags/tag1373.xml" ContentType="application/vnd.openxmlformats-officedocument.presentationml.tags+xml"/>
  <Override PartName="/ppt/tags/tag1374.xml" ContentType="application/vnd.openxmlformats-officedocument.presentationml.tags+xml"/>
  <Override PartName="/ppt/tags/tag1375.xml" ContentType="application/vnd.openxmlformats-officedocument.presentationml.tags+xml"/>
  <Override PartName="/ppt/tags/tag1376.xml" ContentType="application/vnd.openxmlformats-officedocument.presentationml.tags+xml"/>
  <Override PartName="/ppt/tags/tag1377.xml" ContentType="application/vnd.openxmlformats-officedocument.presentationml.tags+xml"/>
  <Override PartName="/ppt/tags/tag1378.xml" ContentType="application/vnd.openxmlformats-officedocument.presentationml.tags+xml"/>
  <Override PartName="/ppt/tags/tag1379.xml" ContentType="application/vnd.openxmlformats-officedocument.presentationml.tags+xml"/>
  <Override PartName="/ppt/tags/tag1380.xml" ContentType="application/vnd.openxmlformats-officedocument.presentationml.tags+xml"/>
  <Override PartName="/ppt/tags/tag1381.xml" ContentType="application/vnd.openxmlformats-officedocument.presentationml.tags+xml"/>
  <Override PartName="/ppt/tags/tag1382.xml" ContentType="application/vnd.openxmlformats-officedocument.presentationml.tags+xml"/>
  <Override PartName="/ppt/tags/tag1383.xml" ContentType="application/vnd.openxmlformats-officedocument.presentationml.tags+xml"/>
  <Override PartName="/ppt/tags/tag1384.xml" ContentType="application/vnd.openxmlformats-officedocument.presentationml.tags+xml"/>
  <Override PartName="/ppt/tags/tag1385.xml" ContentType="application/vnd.openxmlformats-officedocument.presentationml.tags+xml"/>
  <Override PartName="/ppt/tags/tag1386.xml" ContentType="application/vnd.openxmlformats-officedocument.presentationml.tags+xml"/>
  <Override PartName="/ppt/tags/tag1387.xml" ContentType="application/vnd.openxmlformats-officedocument.presentationml.tags+xml"/>
  <Override PartName="/ppt/tags/tag1388.xml" ContentType="application/vnd.openxmlformats-officedocument.presentationml.tags+xml"/>
  <Override PartName="/ppt/tags/tag1389.xml" ContentType="application/vnd.openxmlformats-officedocument.presentationml.tags+xml"/>
  <Override PartName="/ppt/tags/tag1390.xml" ContentType="application/vnd.openxmlformats-officedocument.presentationml.tags+xml"/>
  <Override PartName="/ppt/tags/tag1391.xml" ContentType="application/vnd.openxmlformats-officedocument.presentationml.tags+xml"/>
  <Override PartName="/ppt/tags/tag1392.xml" ContentType="application/vnd.openxmlformats-officedocument.presentationml.tags+xml"/>
  <Override PartName="/ppt/tags/tag1393.xml" ContentType="application/vnd.openxmlformats-officedocument.presentationml.tags+xml"/>
  <Override PartName="/ppt/tags/tag1394.xml" ContentType="application/vnd.openxmlformats-officedocument.presentationml.tags+xml"/>
  <Override PartName="/ppt/tags/tag1395.xml" ContentType="application/vnd.openxmlformats-officedocument.presentationml.tags+xml"/>
  <Override PartName="/ppt/tags/tag1396.xml" ContentType="application/vnd.openxmlformats-officedocument.presentationml.tags+xml"/>
  <Override PartName="/ppt/tags/tag1397.xml" ContentType="application/vnd.openxmlformats-officedocument.presentationml.tags+xml"/>
  <Override PartName="/ppt/tags/tag1398.xml" ContentType="application/vnd.openxmlformats-officedocument.presentationml.tags+xml"/>
  <Override PartName="/ppt/tags/tag1399.xml" ContentType="application/vnd.openxmlformats-officedocument.presentationml.tags+xml"/>
  <Override PartName="/ppt/tags/tag1400.xml" ContentType="application/vnd.openxmlformats-officedocument.presentationml.tags+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theme/theme41.xml" ContentType="application/vnd.openxmlformats-officedocument.theme+xml"/>
  <Override PartName="/ppt/tags/tag1401.xml" ContentType="application/vnd.openxmlformats-officedocument.presentationml.tags+xml"/>
  <Override PartName="/ppt/tags/tag1402.xml" ContentType="application/vnd.openxmlformats-officedocument.presentationml.tags+xml"/>
  <Override PartName="/ppt/tags/tag1403.xml" ContentType="application/vnd.openxmlformats-officedocument.presentationml.tags+xml"/>
  <Override PartName="/ppt/tags/tag1404.xml" ContentType="application/vnd.openxmlformats-officedocument.presentationml.tags+xml"/>
  <Override PartName="/ppt/tags/tag1405.xml" ContentType="application/vnd.openxmlformats-officedocument.presentationml.tags+xml"/>
  <Override PartName="/ppt/tags/tag1406.xml" ContentType="application/vnd.openxmlformats-officedocument.presentationml.tags+xml"/>
  <Override PartName="/ppt/tags/tag1407.xml" ContentType="application/vnd.openxmlformats-officedocument.presentationml.tags+xml"/>
  <Override PartName="/ppt/tags/tag1408.xml" ContentType="application/vnd.openxmlformats-officedocument.presentationml.tags+xml"/>
  <Override PartName="/ppt/tags/tag1409.xml" ContentType="application/vnd.openxmlformats-officedocument.presentationml.tags+xml"/>
  <Override PartName="/ppt/tags/tag1410.xml" ContentType="application/vnd.openxmlformats-officedocument.presentationml.tags+xml"/>
  <Override PartName="/ppt/tags/tag1411.xml" ContentType="application/vnd.openxmlformats-officedocument.presentationml.tags+xml"/>
  <Override PartName="/ppt/tags/tag1412.xml" ContentType="application/vnd.openxmlformats-officedocument.presentationml.tags+xml"/>
  <Override PartName="/ppt/tags/tag1413.xml" ContentType="application/vnd.openxmlformats-officedocument.presentationml.tags+xml"/>
  <Override PartName="/ppt/tags/tag1414.xml" ContentType="application/vnd.openxmlformats-officedocument.presentationml.tags+xml"/>
  <Override PartName="/ppt/tags/tag1415.xml" ContentType="application/vnd.openxmlformats-officedocument.presentationml.tags+xml"/>
  <Override PartName="/ppt/tags/tag1416.xml" ContentType="application/vnd.openxmlformats-officedocument.presentationml.tags+xml"/>
  <Override PartName="/ppt/tags/tag1417.xml" ContentType="application/vnd.openxmlformats-officedocument.presentationml.tags+xml"/>
  <Override PartName="/ppt/tags/tag1418.xml" ContentType="application/vnd.openxmlformats-officedocument.presentationml.tags+xml"/>
  <Override PartName="/ppt/tags/tag1419.xml" ContentType="application/vnd.openxmlformats-officedocument.presentationml.tags+xml"/>
  <Override PartName="/ppt/tags/tag1420.xml" ContentType="application/vnd.openxmlformats-officedocument.presentationml.tags+xml"/>
  <Override PartName="/ppt/tags/tag1421.xml" ContentType="application/vnd.openxmlformats-officedocument.presentationml.tags+xml"/>
  <Override PartName="/ppt/tags/tag1422.xml" ContentType="application/vnd.openxmlformats-officedocument.presentationml.tags+xml"/>
  <Override PartName="/ppt/tags/tag1423.xml" ContentType="application/vnd.openxmlformats-officedocument.presentationml.tags+xml"/>
  <Override PartName="/ppt/tags/tag1424.xml" ContentType="application/vnd.openxmlformats-officedocument.presentationml.tags+xml"/>
  <Override PartName="/ppt/tags/tag1425.xml" ContentType="application/vnd.openxmlformats-officedocument.presentationml.tags+xml"/>
  <Override PartName="/ppt/tags/tag1426.xml" ContentType="application/vnd.openxmlformats-officedocument.presentationml.tags+xml"/>
  <Override PartName="/ppt/tags/tag1427.xml" ContentType="application/vnd.openxmlformats-officedocument.presentationml.tags+xml"/>
  <Override PartName="/ppt/tags/tag1428.xml" ContentType="application/vnd.openxmlformats-officedocument.presentationml.tags+xml"/>
  <Override PartName="/ppt/tags/tag1429.xml" ContentType="application/vnd.openxmlformats-officedocument.presentationml.tags+xml"/>
  <Override PartName="/ppt/tags/tag1430.xml" ContentType="application/vnd.openxmlformats-officedocument.presentationml.tags+xml"/>
  <Override PartName="/ppt/tags/tag1431.xml" ContentType="application/vnd.openxmlformats-officedocument.presentationml.tags+xml"/>
  <Override PartName="/ppt/tags/tag1432.xml" ContentType="application/vnd.openxmlformats-officedocument.presentationml.tags+xml"/>
  <Override PartName="/ppt/tags/tag1433.xml" ContentType="application/vnd.openxmlformats-officedocument.presentationml.tags+xml"/>
  <Override PartName="/ppt/tags/tag1434.xml" ContentType="application/vnd.openxmlformats-officedocument.presentationml.tags+xml"/>
  <Override PartName="/ppt/tags/tag1435.xml" ContentType="application/vnd.openxmlformats-officedocument.presentationml.tags+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theme/theme42.xml" ContentType="application/vnd.openxmlformats-officedocument.theme+xml"/>
  <Override PartName="/ppt/tags/tag1436.xml" ContentType="application/vnd.openxmlformats-officedocument.presentationml.tags+xml"/>
  <Override PartName="/ppt/tags/tag1437.xml" ContentType="application/vnd.openxmlformats-officedocument.presentationml.tags+xml"/>
  <Override PartName="/ppt/tags/tag1438.xml" ContentType="application/vnd.openxmlformats-officedocument.presentationml.tags+xml"/>
  <Override PartName="/ppt/tags/tag1439.xml" ContentType="application/vnd.openxmlformats-officedocument.presentationml.tags+xml"/>
  <Override PartName="/ppt/tags/tag1440.xml" ContentType="application/vnd.openxmlformats-officedocument.presentationml.tags+xml"/>
  <Override PartName="/ppt/tags/tag1441.xml" ContentType="application/vnd.openxmlformats-officedocument.presentationml.tags+xml"/>
  <Override PartName="/ppt/tags/tag1442.xml" ContentType="application/vnd.openxmlformats-officedocument.presentationml.tags+xml"/>
  <Override PartName="/ppt/tags/tag1443.xml" ContentType="application/vnd.openxmlformats-officedocument.presentationml.tags+xml"/>
  <Override PartName="/ppt/tags/tag1444.xml" ContentType="application/vnd.openxmlformats-officedocument.presentationml.tags+xml"/>
  <Override PartName="/ppt/tags/tag1445.xml" ContentType="application/vnd.openxmlformats-officedocument.presentationml.tags+xml"/>
  <Override PartName="/ppt/tags/tag1446.xml" ContentType="application/vnd.openxmlformats-officedocument.presentationml.tags+xml"/>
  <Override PartName="/ppt/tags/tag1447.xml" ContentType="application/vnd.openxmlformats-officedocument.presentationml.tags+xml"/>
  <Override PartName="/ppt/tags/tag1448.xml" ContentType="application/vnd.openxmlformats-officedocument.presentationml.tags+xml"/>
  <Override PartName="/ppt/tags/tag1449.xml" ContentType="application/vnd.openxmlformats-officedocument.presentationml.tags+xml"/>
  <Override PartName="/ppt/tags/tag1450.xml" ContentType="application/vnd.openxmlformats-officedocument.presentationml.tags+xml"/>
  <Override PartName="/ppt/tags/tag1451.xml" ContentType="application/vnd.openxmlformats-officedocument.presentationml.tags+xml"/>
  <Override PartName="/ppt/tags/tag1452.xml" ContentType="application/vnd.openxmlformats-officedocument.presentationml.tags+xml"/>
  <Override PartName="/ppt/tags/tag1453.xml" ContentType="application/vnd.openxmlformats-officedocument.presentationml.tags+xml"/>
  <Override PartName="/ppt/tags/tag1454.xml" ContentType="application/vnd.openxmlformats-officedocument.presentationml.tags+xml"/>
  <Override PartName="/ppt/tags/tag1455.xml" ContentType="application/vnd.openxmlformats-officedocument.presentationml.tags+xml"/>
  <Override PartName="/ppt/tags/tag1456.xml" ContentType="application/vnd.openxmlformats-officedocument.presentationml.tags+xml"/>
  <Override PartName="/ppt/tags/tag1457.xml" ContentType="application/vnd.openxmlformats-officedocument.presentationml.tags+xml"/>
  <Override PartName="/ppt/tags/tag1458.xml" ContentType="application/vnd.openxmlformats-officedocument.presentationml.tags+xml"/>
  <Override PartName="/ppt/tags/tag1459.xml" ContentType="application/vnd.openxmlformats-officedocument.presentationml.tags+xml"/>
  <Override PartName="/ppt/tags/tag1460.xml" ContentType="application/vnd.openxmlformats-officedocument.presentationml.tags+xml"/>
  <Override PartName="/ppt/tags/tag1461.xml" ContentType="application/vnd.openxmlformats-officedocument.presentationml.tags+xml"/>
  <Override PartName="/ppt/tags/tag1462.xml" ContentType="application/vnd.openxmlformats-officedocument.presentationml.tags+xml"/>
  <Override PartName="/ppt/tags/tag1463.xml" ContentType="application/vnd.openxmlformats-officedocument.presentationml.tags+xml"/>
  <Override PartName="/ppt/tags/tag1464.xml" ContentType="application/vnd.openxmlformats-officedocument.presentationml.tags+xml"/>
  <Override PartName="/ppt/tags/tag1465.xml" ContentType="application/vnd.openxmlformats-officedocument.presentationml.tags+xml"/>
  <Override PartName="/ppt/tags/tag1466.xml" ContentType="application/vnd.openxmlformats-officedocument.presentationml.tags+xml"/>
  <Override PartName="/ppt/tags/tag1467.xml" ContentType="application/vnd.openxmlformats-officedocument.presentationml.tags+xml"/>
  <Override PartName="/ppt/tags/tag1468.xml" ContentType="application/vnd.openxmlformats-officedocument.presentationml.tags+xml"/>
  <Override PartName="/ppt/tags/tag1469.xml" ContentType="application/vnd.openxmlformats-officedocument.presentationml.tags+xml"/>
  <Override PartName="/ppt/tags/tag1470.xml" ContentType="application/vnd.openxmlformats-officedocument.presentationml.tags+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theme/theme43.xml" ContentType="application/vnd.openxmlformats-officedocument.theme+xml"/>
  <Override PartName="/ppt/tags/tag1471.xml" ContentType="application/vnd.openxmlformats-officedocument.presentationml.tags+xml"/>
  <Override PartName="/ppt/tags/tag1472.xml" ContentType="application/vnd.openxmlformats-officedocument.presentationml.tags+xml"/>
  <Override PartName="/ppt/tags/tag1473.xml" ContentType="application/vnd.openxmlformats-officedocument.presentationml.tags+xml"/>
  <Override PartName="/ppt/tags/tag1474.xml" ContentType="application/vnd.openxmlformats-officedocument.presentationml.tags+xml"/>
  <Override PartName="/ppt/tags/tag1475.xml" ContentType="application/vnd.openxmlformats-officedocument.presentationml.tags+xml"/>
  <Override PartName="/ppt/tags/tag1476.xml" ContentType="application/vnd.openxmlformats-officedocument.presentationml.tags+xml"/>
  <Override PartName="/ppt/tags/tag1477.xml" ContentType="application/vnd.openxmlformats-officedocument.presentationml.tags+xml"/>
  <Override PartName="/ppt/tags/tag1478.xml" ContentType="application/vnd.openxmlformats-officedocument.presentationml.tags+xml"/>
  <Override PartName="/ppt/tags/tag1479.xml" ContentType="application/vnd.openxmlformats-officedocument.presentationml.tags+xml"/>
  <Override PartName="/ppt/tags/tag1480.xml" ContentType="application/vnd.openxmlformats-officedocument.presentationml.tags+xml"/>
  <Override PartName="/ppt/tags/tag1481.xml" ContentType="application/vnd.openxmlformats-officedocument.presentationml.tags+xml"/>
  <Override PartName="/ppt/tags/tag1482.xml" ContentType="application/vnd.openxmlformats-officedocument.presentationml.tags+xml"/>
  <Override PartName="/ppt/tags/tag1483.xml" ContentType="application/vnd.openxmlformats-officedocument.presentationml.tags+xml"/>
  <Override PartName="/ppt/tags/tag1484.xml" ContentType="application/vnd.openxmlformats-officedocument.presentationml.tags+xml"/>
  <Override PartName="/ppt/tags/tag1485.xml" ContentType="application/vnd.openxmlformats-officedocument.presentationml.tags+xml"/>
  <Override PartName="/ppt/tags/tag1486.xml" ContentType="application/vnd.openxmlformats-officedocument.presentationml.tags+xml"/>
  <Override PartName="/ppt/tags/tag1487.xml" ContentType="application/vnd.openxmlformats-officedocument.presentationml.tags+xml"/>
  <Override PartName="/ppt/tags/tag1488.xml" ContentType="application/vnd.openxmlformats-officedocument.presentationml.tags+xml"/>
  <Override PartName="/ppt/tags/tag1489.xml" ContentType="application/vnd.openxmlformats-officedocument.presentationml.tags+xml"/>
  <Override PartName="/ppt/tags/tag1490.xml" ContentType="application/vnd.openxmlformats-officedocument.presentationml.tags+xml"/>
  <Override PartName="/ppt/tags/tag1491.xml" ContentType="application/vnd.openxmlformats-officedocument.presentationml.tags+xml"/>
  <Override PartName="/ppt/tags/tag1492.xml" ContentType="application/vnd.openxmlformats-officedocument.presentationml.tags+xml"/>
  <Override PartName="/ppt/tags/tag1493.xml" ContentType="application/vnd.openxmlformats-officedocument.presentationml.tags+xml"/>
  <Override PartName="/ppt/tags/tag1494.xml" ContentType="application/vnd.openxmlformats-officedocument.presentationml.tags+xml"/>
  <Override PartName="/ppt/tags/tag1495.xml" ContentType="application/vnd.openxmlformats-officedocument.presentationml.tags+xml"/>
  <Override PartName="/ppt/tags/tag1496.xml" ContentType="application/vnd.openxmlformats-officedocument.presentationml.tags+xml"/>
  <Override PartName="/ppt/tags/tag1497.xml" ContentType="application/vnd.openxmlformats-officedocument.presentationml.tags+xml"/>
  <Override PartName="/ppt/tags/tag1498.xml" ContentType="application/vnd.openxmlformats-officedocument.presentationml.tags+xml"/>
  <Override PartName="/ppt/tags/tag1499.xml" ContentType="application/vnd.openxmlformats-officedocument.presentationml.tags+xml"/>
  <Override PartName="/ppt/tags/tag1500.xml" ContentType="application/vnd.openxmlformats-officedocument.presentationml.tags+xml"/>
  <Override PartName="/ppt/tags/tag1501.xml" ContentType="application/vnd.openxmlformats-officedocument.presentationml.tags+xml"/>
  <Override PartName="/ppt/tags/tag1502.xml" ContentType="application/vnd.openxmlformats-officedocument.presentationml.tags+xml"/>
  <Override PartName="/ppt/tags/tag1503.xml" ContentType="application/vnd.openxmlformats-officedocument.presentationml.tags+xml"/>
  <Override PartName="/ppt/tags/tag1504.xml" ContentType="application/vnd.openxmlformats-officedocument.presentationml.tags+xml"/>
  <Override PartName="/ppt/tags/tag1505.xml" ContentType="application/vnd.openxmlformats-officedocument.presentationml.tags+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theme/theme44.xml" ContentType="application/vnd.openxmlformats-officedocument.theme+xml"/>
  <Override PartName="/ppt/tags/tag1506.xml" ContentType="application/vnd.openxmlformats-officedocument.presentationml.tags+xml"/>
  <Override PartName="/ppt/tags/tag1507.xml" ContentType="application/vnd.openxmlformats-officedocument.presentationml.tags+xml"/>
  <Override PartName="/ppt/tags/tag1508.xml" ContentType="application/vnd.openxmlformats-officedocument.presentationml.tags+xml"/>
  <Override PartName="/ppt/tags/tag1509.xml" ContentType="application/vnd.openxmlformats-officedocument.presentationml.tags+xml"/>
  <Override PartName="/ppt/tags/tag1510.xml" ContentType="application/vnd.openxmlformats-officedocument.presentationml.tags+xml"/>
  <Override PartName="/ppt/tags/tag1511.xml" ContentType="application/vnd.openxmlformats-officedocument.presentationml.tags+xml"/>
  <Override PartName="/ppt/tags/tag1512.xml" ContentType="application/vnd.openxmlformats-officedocument.presentationml.tags+xml"/>
  <Override PartName="/ppt/tags/tag1513.xml" ContentType="application/vnd.openxmlformats-officedocument.presentationml.tags+xml"/>
  <Override PartName="/ppt/tags/tag1514.xml" ContentType="application/vnd.openxmlformats-officedocument.presentationml.tags+xml"/>
  <Override PartName="/ppt/tags/tag1515.xml" ContentType="application/vnd.openxmlformats-officedocument.presentationml.tags+xml"/>
  <Override PartName="/ppt/tags/tag1516.xml" ContentType="application/vnd.openxmlformats-officedocument.presentationml.tags+xml"/>
  <Override PartName="/ppt/tags/tag1517.xml" ContentType="application/vnd.openxmlformats-officedocument.presentationml.tags+xml"/>
  <Override PartName="/ppt/tags/tag1518.xml" ContentType="application/vnd.openxmlformats-officedocument.presentationml.tags+xml"/>
  <Override PartName="/ppt/tags/tag1519.xml" ContentType="application/vnd.openxmlformats-officedocument.presentationml.tags+xml"/>
  <Override PartName="/ppt/tags/tag1520.xml" ContentType="application/vnd.openxmlformats-officedocument.presentationml.tags+xml"/>
  <Override PartName="/ppt/tags/tag1521.xml" ContentType="application/vnd.openxmlformats-officedocument.presentationml.tags+xml"/>
  <Override PartName="/ppt/tags/tag1522.xml" ContentType="application/vnd.openxmlformats-officedocument.presentationml.tags+xml"/>
  <Override PartName="/ppt/tags/tag1523.xml" ContentType="application/vnd.openxmlformats-officedocument.presentationml.tags+xml"/>
  <Override PartName="/ppt/tags/tag1524.xml" ContentType="application/vnd.openxmlformats-officedocument.presentationml.tags+xml"/>
  <Override PartName="/ppt/tags/tag1525.xml" ContentType="application/vnd.openxmlformats-officedocument.presentationml.tags+xml"/>
  <Override PartName="/ppt/tags/tag1526.xml" ContentType="application/vnd.openxmlformats-officedocument.presentationml.tags+xml"/>
  <Override PartName="/ppt/tags/tag1527.xml" ContentType="application/vnd.openxmlformats-officedocument.presentationml.tags+xml"/>
  <Override PartName="/ppt/tags/tag1528.xml" ContentType="application/vnd.openxmlformats-officedocument.presentationml.tags+xml"/>
  <Override PartName="/ppt/tags/tag1529.xml" ContentType="application/vnd.openxmlformats-officedocument.presentationml.tags+xml"/>
  <Override PartName="/ppt/tags/tag1530.xml" ContentType="application/vnd.openxmlformats-officedocument.presentationml.tags+xml"/>
  <Override PartName="/ppt/tags/tag1531.xml" ContentType="application/vnd.openxmlformats-officedocument.presentationml.tags+xml"/>
  <Override PartName="/ppt/tags/tag1532.xml" ContentType="application/vnd.openxmlformats-officedocument.presentationml.tags+xml"/>
  <Override PartName="/ppt/tags/tag1533.xml" ContentType="application/vnd.openxmlformats-officedocument.presentationml.tags+xml"/>
  <Override PartName="/ppt/tags/tag1534.xml" ContentType="application/vnd.openxmlformats-officedocument.presentationml.tags+xml"/>
  <Override PartName="/ppt/tags/tag1535.xml" ContentType="application/vnd.openxmlformats-officedocument.presentationml.tags+xml"/>
  <Override PartName="/ppt/tags/tag1536.xml" ContentType="application/vnd.openxmlformats-officedocument.presentationml.tags+xml"/>
  <Override PartName="/ppt/tags/tag1537.xml" ContentType="application/vnd.openxmlformats-officedocument.presentationml.tags+xml"/>
  <Override PartName="/ppt/tags/tag1538.xml" ContentType="application/vnd.openxmlformats-officedocument.presentationml.tags+xml"/>
  <Override PartName="/ppt/tags/tag1539.xml" ContentType="application/vnd.openxmlformats-officedocument.presentationml.tags+xml"/>
  <Override PartName="/ppt/tags/tag1540.xml" ContentType="application/vnd.openxmlformats-officedocument.presentationml.tags+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theme/theme45.xml" ContentType="application/vnd.openxmlformats-officedocument.theme+xml"/>
  <Override PartName="/ppt/tags/tag1541.xml" ContentType="application/vnd.openxmlformats-officedocument.presentationml.tags+xml"/>
  <Override PartName="/ppt/tags/tag1542.xml" ContentType="application/vnd.openxmlformats-officedocument.presentationml.tags+xml"/>
  <Override PartName="/ppt/tags/tag1543.xml" ContentType="application/vnd.openxmlformats-officedocument.presentationml.tags+xml"/>
  <Override PartName="/ppt/tags/tag1544.xml" ContentType="application/vnd.openxmlformats-officedocument.presentationml.tags+xml"/>
  <Override PartName="/ppt/tags/tag1545.xml" ContentType="application/vnd.openxmlformats-officedocument.presentationml.tags+xml"/>
  <Override PartName="/ppt/tags/tag1546.xml" ContentType="application/vnd.openxmlformats-officedocument.presentationml.tags+xml"/>
  <Override PartName="/ppt/tags/tag1547.xml" ContentType="application/vnd.openxmlformats-officedocument.presentationml.tags+xml"/>
  <Override PartName="/ppt/tags/tag1548.xml" ContentType="application/vnd.openxmlformats-officedocument.presentationml.tags+xml"/>
  <Override PartName="/ppt/tags/tag1549.xml" ContentType="application/vnd.openxmlformats-officedocument.presentationml.tags+xml"/>
  <Override PartName="/ppt/tags/tag1550.xml" ContentType="application/vnd.openxmlformats-officedocument.presentationml.tags+xml"/>
  <Override PartName="/ppt/tags/tag1551.xml" ContentType="application/vnd.openxmlformats-officedocument.presentationml.tags+xml"/>
  <Override PartName="/ppt/tags/tag1552.xml" ContentType="application/vnd.openxmlformats-officedocument.presentationml.tags+xml"/>
  <Override PartName="/ppt/tags/tag1553.xml" ContentType="application/vnd.openxmlformats-officedocument.presentationml.tags+xml"/>
  <Override PartName="/ppt/tags/tag1554.xml" ContentType="application/vnd.openxmlformats-officedocument.presentationml.tags+xml"/>
  <Override PartName="/ppt/tags/tag1555.xml" ContentType="application/vnd.openxmlformats-officedocument.presentationml.tags+xml"/>
  <Override PartName="/ppt/tags/tag1556.xml" ContentType="application/vnd.openxmlformats-officedocument.presentationml.tags+xml"/>
  <Override PartName="/ppt/tags/tag1557.xml" ContentType="application/vnd.openxmlformats-officedocument.presentationml.tags+xml"/>
  <Override PartName="/ppt/tags/tag1558.xml" ContentType="application/vnd.openxmlformats-officedocument.presentationml.tags+xml"/>
  <Override PartName="/ppt/tags/tag1559.xml" ContentType="application/vnd.openxmlformats-officedocument.presentationml.tags+xml"/>
  <Override PartName="/ppt/tags/tag1560.xml" ContentType="application/vnd.openxmlformats-officedocument.presentationml.tags+xml"/>
  <Override PartName="/ppt/tags/tag1561.xml" ContentType="application/vnd.openxmlformats-officedocument.presentationml.tags+xml"/>
  <Override PartName="/ppt/tags/tag1562.xml" ContentType="application/vnd.openxmlformats-officedocument.presentationml.tags+xml"/>
  <Override PartName="/ppt/tags/tag1563.xml" ContentType="application/vnd.openxmlformats-officedocument.presentationml.tags+xml"/>
  <Override PartName="/ppt/tags/tag1564.xml" ContentType="application/vnd.openxmlformats-officedocument.presentationml.tags+xml"/>
  <Override PartName="/ppt/tags/tag1565.xml" ContentType="application/vnd.openxmlformats-officedocument.presentationml.tags+xml"/>
  <Override PartName="/ppt/tags/tag1566.xml" ContentType="application/vnd.openxmlformats-officedocument.presentationml.tags+xml"/>
  <Override PartName="/ppt/tags/tag1567.xml" ContentType="application/vnd.openxmlformats-officedocument.presentationml.tags+xml"/>
  <Override PartName="/ppt/tags/tag1568.xml" ContentType="application/vnd.openxmlformats-officedocument.presentationml.tags+xml"/>
  <Override PartName="/ppt/tags/tag1569.xml" ContentType="application/vnd.openxmlformats-officedocument.presentationml.tags+xml"/>
  <Override PartName="/ppt/tags/tag1570.xml" ContentType="application/vnd.openxmlformats-officedocument.presentationml.tags+xml"/>
  <Override PartName="/ppt/tags/tag1571.xml" ContentType="application/vnd.openxmlformats-officedocument.presentationml.tags+xml"/>
  <Override PartName="/ppt/tags/tag1572.xml" ContentType="application/vnd.openxmlformats-officedocument.presentationml.tags+xml"/>
  <Override PartName="/ppt/tags/tag1573.xml" ContentType="application/vnd.openxmlformats-officedocument.presentationml.tags+xml"/>
  <Override PartName="/ppt/tags/tag1574.xml" ContentType="application/vnd.openxmlformats-officedocument.presentationml.tags+xml"/>
  <Override PartName="/ppt/tags/tag1575.xml" ContentType="application/vnd.openxmlformats-officedocument.presentationml.tags+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theme/theme46.xml" ContentType="application/vnd.openxmlformats-officedocument.theme+xml"/>
  <Override PartName="/ppt/tags/tag1576.xml" ContentType="application/vnd.openxmlformats-officedocument.presentationml.tags+xml"/>
  <Override PartName="/ppt/tags/tag1577.xml" ContentType="application/vnd.openxmlformats-officedocument.presentationml.tags+xml"/>
  <Override PartName="/ppt/tags/tag1578.xml" ContentType="application/vnd.openxmlformats-officedocument.presentationml.tags+xml"/>
  <Override PartName="/ppt/tags/tag1579.xml" ContentType="application/vnd.openxmlformats-officedocument.presentationml.tags+xml"/>
  <Override PartName="/ppt/tags/tag1580.xml" ContentType="application/vnd.openxmlformats-officedocument.presentationml.tags+xml"/>
  <Override PartName="/ppt/tags/tag1581.xml" ContentType="application/vnd.openxmlformats-officedocument.presentationml.tags+xml"/>
  <Override PartName="/ppt/tags/tag1582.xml" ContentType="application/vnd.openxmlformats-officedocument.presentationml.tags+xml"/>
  <Override PartName="/ppt/tags/tag1583.xml" ContentType="application/vnd.openxmlformats-officedocument.presentationml.tags+xml"/>
  <Override PartName="/ppt/tags/tag1584.xml" ContentType="application/vnd.openxmlformats-officedocument.presentationml.tags+xml"/>
  <Override PartName="/ppt/tags/tag1585.xml" ContentType="application/vnd.openxmlformats-officedocument.presentationml.tags+xml"/>
  <Override PartName="/ppt/tags/tag1586.xml" ContentType="application/vnd.openxmlformats-officedocument.presentationml.tags+xml"/>
  <Override PartName="/ppt/tags/tag1587.xml" ContentType="application/vnd.openxmlformats-officedocument.presentationml.tags+xml"/>
  <Override PartName="/ppt/tags/tag1588.xml" ContentType="application/vnd.openxmlformats-officedocument.presentationml.tags+xml"/>
  <Override PartName="/ppt/tags/tag1589.xml" ContentType="application/vnd.openxmlformats-officedocument.presentationml.tags+xml"/>
  <Override PartName="/ppt/tags/tag1590.xml" ContentType="application/vnd.openxmlformats-officedocument.presentationml.tags+xml"/>
  <Override PartName="/ppt/tags/tag1591.xml" ContentType="application/vnd.openxmlformats-officedocument.presentationml.tags+xml"/>
  <Override PartName="/ppt/tags/tag1592.xml" ContentType="application/vnd.openxmlformats-officedocument.presentationml.tags+xml"/>
  <Override PartName="/ppt/tags/tag1593.xml" ContentType="application/vnd.openxmlformats-officedocument.presentationml.tags+xml"/>
  <Override PartName="/ppt/tags/tag1594.xml" ContentType="application/vnd.openxmlformats-officedocument.presentationml.tags+xml"/>
  <Override PartName="/ppt/tags/tag1595.xml" ContentType="application/vnd.openxmlformats-officedocument.presentationml.tags+xml"/>
  <Override PartName="/ppt/tags/tag1596.xml" ContentType="application/vnd.openxmlformats-officedocument.presentationml.tags+xml"/>
  <Override PartName="/ppt/tags/tag1597.xml" ContentType="application/vnd.openxmlformats-officedocument.presentationml.tags+xml"/>
  <Override PartName="/ppt/tags/tag1598.xml" ContentType="application/vnd.openxmlformats-officedocument.presentationml.tags+xml"/>
  <Override PartName="/ppt/tags/tag1599.xml" ContentType="application/vnd.openxmlformats-officedocument.presentationml.tags+xml"/>
  <Override PartName="/ppt/tags/tag1600.xml" ContentType="application/vnd.openxmlformats-officedocument.presentationml.tags+xml"/>
  <Override PartName="/ppt/tags/tag1601.xml" ContentType="application/vnd.openxmlformats-officedocument.presentationml.tags+xml"/>
  <Override PartName="/ppt/tags/tag1602.xml" ContentType="application/vnd.openxmlformats-officedocument.presentationml.tags+xml"/>
  <Override PartName="/ppt/tags/tag1603.xml" ContentType="application/vnd.openxmlformats-officedocument.presentationml.tags+xml"/>
  <Override PartName="/ppt/tags/tag1604.xml" ContentType="application/vnd.openxmlformats-officedocument.presentationml.tags+xml"/>
  <Override PartName="/ppt/tags/tag1605.xml" ContentType="application/vnd.openxmlformats-officedocument.presentationml.tags+xml"/>
  <Override PartName="/ppt/tags/tag1606.xml" ContentType="application/vnd.openxmlformats-officedocument.presentationml.tags+xml"/>
  <Override PartName="/ppt/tags/tag1607.xml" ContentType="application/vnd.openxmlformats-officedocument.presentationml.tags+xml"/>
  <Override PartName="/ppt/tags/tag1608.xml" ContentType="application/vnd.openxmlformats-officedocument.presentationml.tags+xml"/>
  <Override PartName="/ppt/tags/tag1609.xml" ContentType="application/vnd.openxmlformats-officedocument.presentationml.tags+xml"/>
  <Override PartName="/ppt/tags/tag1610.xml" ContentType="application/vnd.openxmlformats-officedocument.presentationml.tags+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theme/theme47.xml" ContentType="application/vnd.openxmlformats-officedocument.theme+xml"/>
  <Override PartName="/ppt/tags/tag1611.xml" ContentType="application/vnd.openxmlformats-officedocument.presentationml.tags+xml"/>
  <Override PartName="/ppt/tags/tag1612.xml" ContentType="application/vnd.openxmlformats-officedocument.presentationml.tags+xml"/>
  <Override PartName="/ppt/tags/tag1613.xml" ContentType="application/vnd.openxmlformats-officedocument.presentationml.tags+xml"/>
  <Override PartName="/ppt/tags/tag1614.xml" ContentType="application/vnd.openxmlformats-officedocument.presentationml.tags+xml"/>
  <Override PartName="/ppt/tags/tag1615.xml" ContentType="application/vnd.openxmlformats-officedocument.presentationml.tags+xml"/>
  <Override PartName="/ppt/tags/tag1616.xml" ContentType="application/vnd.openxmlformats-officedocument.presentationml.tags+xml"/>
  <Override PartName="/ppt/tags/tag1617.xml" ContentType="application/vnd.openxmlformats-officedocument.presentationml.tags+xml"/>
  <Override PartName="/ppt/tags/tag1618.xml" ContentType="application/vnd.openxmlformats-officedocument.presentationml.tags+xml"/>
  <Override PartName="/ppt/tags/tag1619.xml" ContentType="application/vnd.openxmlformats-officedocument.presentationml.tags+xml"/>
  <Override PartName="/ppt/tags/tag1620.xml" ContentType="application/vnd.openxmlformats-officedocument.presentationml.tags+xml"/>
  <Override PartName="/ppt/tags/tag1621.xml" ContentType="application/vnd.openxmlformats-officedocument.presentationml.tags+xml"/>
  <Override PartName="/ppt/tags/tag1622.xml" ContentType="application/vnd.openxmlformats-officedocument.presentationml.tags+xml"/>
  <Override PartName="/ppt/tags/tag1623.xml" ContentType="application/vnd.openxmlformats-officedocument.presentationml.tags+xml"/>
  <Override PartName="/ppt/tags/tag1624.xml" ContentType="application/vnd.openxmlformats-officedocument.presentationml.tags+xml"/>
  <Override PartName="/ppt/tags/tag1625.xml" ContentType="application/vnd.openxmlformats-officedocument.presentationml.tags+xml"/>
  <Override PartName="/ppt/tags/tag1626.xml" ContentType="application/vnd.openxmlformats-officedocument.presentationml.tags+xml"/>
  <Override PartName="/ppt/tags/tag1627.xml" ContentType="application/vnd.openxmlformats-officedocument.presentationml.tags+xml"/>
  <Override PartName="/ppt/tags/tag1628.xml" ContentType="application/vnd.openxmlformats-officedocument.presentationml.tags+xml"/>
  <Override PartName="/ppt/tags/tag1629.xml" ContentType="application/vnd.openxmlformats-officedocument.presentationml.tags+xml"/>
  <Override PartName="/ppt/tags/tag1630.xml" ContentType="application/vnd.openxmlformats-officedocument.presentationml.tags+xml"/>
  <Override PartName="/ppt/tags/tag1631.xml" ContentType="application/vnd.openxmlformats-officedocument.presentationml.tags+xml"/>
  <Override PartName="/ppt/tags/tag1632.xml" ContentType="application/vnd.openxmlformats-officedocument.presentationml.tags+xml"/>
  <Override PartName="/ppt/tags/tag1633.xml" ContentType="application/vnd.openxmlformats-officedocument.presentationml.tags+xml"/>
  <Override PartName="/ppt/tags/tag1634.xml" ContentType="application/vnd.openxmlformats-officedocument.presentationml.tags+xml"/>
  <Override PartName="/ppt/tags/tag1635.xml" ContentType="application/vnd.openxmlformats-officedocument.presentationml.tags+xml"/>
  <Override PartName="/ppt/tags/tag1636.xml" ContentType="application/vnd.openxmlformats-officedocument.presentationml.tags+xml"/>
  <Override PartName="/ppt/tags/tag1637.xml" ContentType="application/vnd.openxmlformats-officedocument.presentationml.tags+xml"/>
  <Override PartName="/ppt/tags/tag1638.xml" ContentType="application/vnd.openxmlformats-officedocument.presentationml.tags+xml"/>
  <Override PartName="/ppt/tags/tag1639.xml" ContentType="application/vnd.openxmlformats-officedocument.presentationml.tags+xml"/>
  <Override PartName="/ppt/tags/tag1640.xml" ContentType="application/vnd.openxmlformats-officedocument.presentationml.tags+xml"/>
  <Override PartName="/ppt/tags/tag1641.xml" ContentType="application/vnd.openxmlformats-officedocument.presentationml.tags+xml"/>
  <Override PartName="/ppt/tags/tag1642.xml" ContentType="application/vnd.openxmlformats-officedocument.presentationml.tags+xml"/>
  <Override PartName="/ppt/tags/tag1643.xml" ContentType="application/vnd.openxmlformats-officedocument.presentationml.tags+xml"/>
  <Override PartName="/ppt/tags/tag1644.xml" ContentType="application/vnd.openxmlformats-officedocument.presentationml.tags+xml"/>
  <Override PartName="/ppt/tags/tag1645.xml" ContentType="application/vnd.openxmlformats-officedocument.presentationml.tags+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theme/theme48.xml" ContentType="application/vnd.openxmlformats-officedocument.theme+xml"/>
  <Override PartName="/ppt/tags/tag1646.xml" ContentType="application/vnd.openxmlformats-officedocument.presentationml.tags+xml"/>
  <Override PartName="/ppt/tags/tag1647.xml" ContentType="application/vnd.openxmlformats-officedocument.presentationml.tags+xml"/>
  <Override PartName="/ppt/tags/tag1648.xml" ContentType="application/vnd.openxmlformats-officedocument.presentationml.tags+xml"/>
  <Override PartName="/ppt/tags/tag1649.xml" ContentType="application/vnd.openxmlformats-officedocument.presentationml.tags+xml"/>
  <Override PartName="/ppt/tags/tag1650.xml" ContentType="application/vnd.openxmlformats-officedocument.presentationml.tags+xml"/>
  <Override PartName="/ppt/tags/tag1651.xml" ContentType="application/vnd.openxmlformats-officedocument.presentationml.tags+xml"/>
  <Override PartName="/ppt/tags/tag1652.xml" ContentType="application/vnd.openxmlformats-officedocument.presentationml.tags+xml"/>
  <Override PartName="/ppt/tags/tag1653.xml" ContentType="application/vnd.openxmlformats-officedocument.presentationml.tags+xml"/>
  <Override PartName="/ppt/tags/tag1654.xml" ContentType="application/vnd.openxmlformats-officedocument.presentationml.tags+xml"/>
  <Override PartName="/ppt/tags/tag1655.xml" ContentType="application/vnd.openxmlformats-officedocument.presentationml.tags+xml"/>
  <Override PartName="/ppt/tags/tag1656.xml" ContentType="application/vnd.openxmlformats-officedocument.presentationml.tags+xml"/>
  <Override PartName="/ppt/tags/tag1657.xml" ContentType="application/vnd.openxmlformats-officedocument.presentationml.tags+xml"/>
  <Override PartName="/ppt/tags/tag1658.xml" ContentType="application/vnd.openxmlformats-officedocument.presentationml.tags+xml"/>
  <Override PartName="/ppt/tags/tag1659.xml" ContentType="application/vnd.openxmlformats-officedocument.presentationml.tags+xml"/>
  <Override PartName="/ppt/tags/tag1660.xml" ContentType="application/vnd.openxmlformats-officedocument.presentationml.tags+xml"/>
  <Override PartName="/ppt/tags/tag1661.xml" ContentType="application/vnd.openxmlformats-officedocument.presentationml.tags+xml"/>
  <Override PartName="/ppt/tags/tag1662.xml" ContentType="application/vnd.openxmlformats-officedocument.presentationml.tags+xml"/>
  <Override PartName="/ppt/tags/tag1663.xml" ContentType="application/vnd.openxmlformats-officedocument.presentationml.tags+xml"/>
  <Override PartName="/ppt/tags/tag1664.xml" ContentType="application/vnd.openxmlformats-officedocument.presentationml.tags+xml"/>
  <Override PartName="/ppt/tags/tag1665.xml" ContentType="application/vnd.openxmlformats-officedocument.presentationml.tags+xml"/>
  <Override PartName="/ppt/tags/tag1666.xml" ContentType="application/vnd.openxmlformats-officedocument.presentationml.tags+xml"/>
  <Override PartName="/ppt/tags/tag1667.xml" ContentType="application/vnd.openxmlformats-officedocument.presentationml.tags+xml"/>
  <Override PartName="/ppt/tags/tag1668.xml" ContentType="application/vnd.openxmlformats-officedocument.presentationml.tags+xml"/>
  <Override PartName="/ppt/tags/tag1669.xml" ContentType="application/vnd.openxmlformats-officedocument.presentationml.tags+xml"/>
  <Override PartName="/ppt/tags/tag1670.xml" ContentType="application/vnd.openxmlformats-officedocument.presentationml.tags+xml"/>
  <Override PartName="/ppt/tags/tag1671.xml" ContentType="application/vnd.openxmlformats-officedocument.presentationml.tags+xml"/>
  <Override PartName="/ppt/tags/tag1672.xml" ContentType="application/vnd.openxmlformats-officedocument.presentationml.tags+xml"/>
  <Override PartName="/ppt/tags/tag1673.xml" ContentType="application/vnd.openxmlformats-officedocument.presentationml.tags+xml"/>
  <Override PartName="/ppt/tags/tag1674.xml" ContentType="application/vnd.openxmlformats-officedocument.presentationml.tags+xml"/>
  <Override PartName="/ppt/tags/tag1675.xml" ContentType="application/vnd.openxmlformats-officedocument.presentationml.tags+xml"/>
  <Override PartName="/ppt/tags/tag1676.xml" ContentType="application/vnd.openxmlformats-officedocument.presentationml.tags+xml"/>
  <Override PartName="/ppt/tags/tag1677.xml" ContentType="application/vnd.openxmlformats-officedocument.presentationml.tags+xml"/>
  <Override PartName="/ppt/tags/tag1678.xml" ContentType="application/vnd.openxmlformats-officedocument.presentationml.tags+xml"/>
  <Override PartName="/ppt/tags/tag1679.xml" ContentType="application/vnd.openxmlformats-officedocument.presentationml.tags+xml"/>
  <Override PartName="/ppt/tags/tag1680.xml" ContentType="application/vnd.openxmlformats-officedocument.presentationml.tags+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theme/theme49.xml" ContentType="application/vnd.openxmlformats-officedocument.theme+xml"/>
  <Override PartName="/ppt/tags/tag1681.xml" ContentType="application/vnd.openxmlformats-officedocument.presentationml.tags+xml"/>
  <Override PartName="/ppt/tags/tag1682.xml" ContentType="application/vnd.openxmlformats-officedocument.presentationml.tags+xml"/>
  <Override PartName="/ppt/tags/tag1683.xml" ContentType="application/vnd.openxmlformats-officedocument.presentationml.tags+xml"/>
  <Override PartName="/ppt/tags/tag1684.xml" ContentType="application/vnd.openxmlformats-officedocument.presentationml.tags+xml"/>
  <Override PartName="/ppt/tags/tag1685.xml" ContentType="application/vnd.openxmlformats-officedocument.presentationml.tags+xml"/>
  <Override PartName="/ppt/tags/tag1686.xml" ContentType="application/vnd.openxmlformats-officedocument.presentationml.tags+xml"/>
  <Override PartName="/ppt/tags/tag1687.xml" ContentType="application/vnd.openxmlformats-officedocument.presentationml.tags+xml"/>
  <Override PartName="/ppt/tags/tag1688.xml" ContentType="application/vnd.openxmlformats-officedocument.presentationml.tags+xml"/>
  <Override PartName="/ppt/tags/tag1689.xml" ContentType="application/vnd.openxmlformats-officedocument.presentationml.tags+xml"/>
  <Override PartName="/ppt/tags/tag1690.xml" ContentType="application/vnd.openxmlformats-officedocument.presentationml.tags+xml"/>
  <Override PartName="/ppt/tags/tag1691.xml" ContentType="application/vnd.openxmlformats-officedocument.presentationml.tags+xml"/>
  <Override PartName="/ppt/tags/tag1692.xml" ContentType="application/vnd.openxmlformats-officedocument.presentationml.tags+xml"/>
  <Override PartName="/ppt/tags/tag1693.xml" ContentType="application/vnd.openxmlformats-officedocument.presentationml.tags+xml"/>
  <Override PartName="/ppt/tags/tag1694.xml" ContentType="application/vnd.openxmlformats-officedocument.presentationml.tags+xml"/>
  <Override PartName="/ppt/tags/tag1695.xml" ContentType="application/vnd.openxmlformats-officedocument.presentationml.tags+xml"/>
  <Override PartName="/ppt/tags/tag1696.xml" ContentType="application/vnd.openxmlformats-officedocument.presentationml.tags+xml"/>
  <Override PartName="/ppt/tags/tag1697.xml" ContentType="application/vnd.openxmlformats-officedocument.presentationml.tags+xml"/>
  <Override PartName="/ppt/tags/tag1698.xml" ContentType="application/vnd.openxmlformats-officedocument.presentationml.tags+xml"/>
  <Override PartName="/ppt/tags/tag1699.xml" ContentType="application/vnd.openxmlformats-officedocument.presentationml.tags+xml"/>
  <Override PartName="/ppt/tags/tag1700.xml" ContentType="application/vnd.openxmlformats-officedocument.presentationml.tags+xml"/>
  <Override PartName="/ppt/tags/tag1701.xml" ContentType="application/vnd.openxmlformats-officedocument.presentationml.tags+xml"/>
  <Override PartName="/ppt/tags/tag1702.xml" ContentType="application/vnd.openxmlformats-officedocument.presentationml.tags+xml"/>
  <Override PartName="/ppt/tags/tag1703.xml" ContentType="application/vnd.openxmlformats-officedocument.presentationml.tags+xml"/>
  <Override PartName="/ppt/tags/tag1704.xml" ContentType="application/vnd.openxmlformats-officedocument.presentationml.tags+xml"/>
  <Override PartName="/ppt/tags/tag1705.xml" ContentType="application/vnd.openxmlformats-officedocument.presentationml.tags+xml"/>
  <Override PartName="/ppt/tags/tag1706.xml" ContentType="application/vnd.openxmlformats-officedocument.presentationml.tags+xml"/>
  <Override PartName="/ppt/tags/tag1707.xml" ContentType="application/vnd.openxmlformats-officedocument.presentationml.tags+xml"/>
  <Override PartName="/ppt/tags/tag1708.xml" ContentType="application/vnd.openxmlformats-officedocument.presentationml.tags+xml"/>
  <Override PartName="/ppt/tags/tag1709.xml" ContentType="application/vnd.openxmlformats-officedocument.presentationml.tags+xml"/>
  <Override PartName="/ppt/tags/tag1710.xml" ContentType="application/vnd.openxmlformats-officedocument.presentationml.tags+xml"/>
  <Override PartName="/ppt/tags/tag1711.xml" ContentType="application/vnd.openxmlformats-officedocument.presentationml.tags+xml"/>
  <Override PartName="/ppt/tags/tag1712.xml" ContentType="application/vnd.openxmlformats-officedocument.presentationml.tags+xml"/>
  <Override PartName="/ppt/tags/tag1713.xml" ContentType="application/vnd.openxmlformats-officedocument.presentationml.tags+xml"/>
  <Override PartName="/ppt/tags/tag1714.xml" ContentType="application/vnd.openxmlformats-officedocument.presentationml.tags+xml"/>
  <Override PartName="/ppt/tags/tag1715.xml" ContentType="application/vnd.openxmlformats-officedocument.presentationml.tags+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theme/theme50.xml" ContentType="application/vnd.openxmlformats-officedocument.theme+xml"/>
  <Override PartName="/ppt/tags/tag1716.xml" ContentType="application/vnd.openxmlformats-officedocument.presentationml.tags+xml"/>
  <Override PartName="/ppt/tags/tag1717.xml" ContentType="application/vnd.openxmlformats-officedocument.presentationml.tags+xml"/>
  <Override PartName="/ppt/tags/tag1718.xml" ContentType="application/vnd.openxmlformats-officedocument.presentationml.tags+xml"/>
  <Override PartName="/ppt/tags/tag1719.xml" ContentType="application/vnd.openxmlformats-officedocument.presentationml.tags+xml"/>
  <Override PartName="/ppt/tags/tag1720.xml" ContentType="application/vnd.openxmlformats-officedocument.presentationml.tags+xml"/>
  <Override PartName="/ppt/tags/tag1721.xml" ContentType="application/vnd.openxmlformats-officedocument.presentationml.tags+xml"/>
  <Override PartName="/ppt/tags/tag1722.xml" ContentType="application/vnd.openxmlformats-officedocument.presentationml.tags+xml"/>
  <Override PartName="/ppt/tags/tag1723.xml" ContentType="application/vnd.openxmlformats-officedocument.presentationml.tags+xml"/>
  <Override PartName="/ppt/tags/tag1724.xml" ContentType="application/vnd.openxmlformats-officedocument.presentationml.tags+xml"/>
  <Override PartName="/ppt/tags/tag1725.xml" ContentType="application/vnd.openxmlformats-officedocument.presentationml.tags+xml"/>
  <Override PartName="/ppt/tags/tag1726.xml" ContentType="application/vnd.openxmlformats-officedocument.presentationml.tags+xml"/>
  <Override PartName="/ppt/tags/tag1727.xml" ContentType="application/vnd.openxmlformats-officedocument.presentationml.tags+xml"/>
  <Override PartName="/ppt/tags/tag1728.xml" ContentType="application/vnd.openxmlformats-officedocument.presentationml.tags+xml"/>
  <Override PartName="/ppt/tags/tag1729.xml" ContentType="application/vnd.openxmlformats-officedocument.presentationml.tags+xml"/>
  <Override PartName="/ppt/tags/tag1730.xml" ContentType="application/vnd.openxmlformats-officedocument.presentationml.tags+xml"/>
  <Override PartName="/ppt/tags/tag1731.xml" ContentType="application/vnd.openxmlformats-officedocument.presentationml.tags+xml"/>
  <Override PartName="/ppt/tags/tag1732.xml" ContentType="application/vnd.openxmlformats-officedocument.presentationml.tags+xml"/>
  <Override PartName="/ppt/tags/tag1733.xml" ContentType="application/vnd.openxmlformats-officedocument.presentationml.tags+xml"/>
  <Override PartName="/ppt/tags/tag1734.xml" ContentType="application/vnd.openxmlformats-officedocument.presentationml.tags+xml"/>
  <Override PartName="/ppt/tags/tag1735.xml" ContentType="application/vnd.openxmlformats-officedocument.presentationml.tags+xml"/>
  <Override PartName="/ppt/tags/tag1736.xml" ContentType="application/vnd.openxmlformats-officedocument.presentationml.tags+xml"/>
  <Override PartName="/ppt/tags/tag1737.xml" ContentType="application/vnd.openxmlformats-officedocument.presentationml.tags+xml"/>
  <Override PartName="/ppt/tags/tag1738.xml" ContentType="application/vnd.openxmlformats-officedocument.presentationml.tags+xml"/>
  <Override PartName="/ppt/tags/tag1739.xml" ContentType="application/vnd.openxmlformats-officedocument.presentationml.tags+xml"/>
  <Override PartName="/ppt/tags/tag1740.xml" ContentType="application/vnd.openxmlformats-officedocument.presentationml.tags+xml"/>
  <Override PartName="/ppt/tags/tag1741.xml" ContentType="application/vnd.openxmlformats-officedocument.presentationml.tags+xml"/>
  <Override PartName="/ppt/tags/tag1742.xml" ContentType="application/vnd.openxmlformats-officedocument.presentationml.tags+xml"/>
  <Override PartName="/ppt/tags/tag1743.xml" ContentType="application/vnd.openxmlformats-officedocument.presentationml.tags+xml"/>
  <Override PartName="/ppt/tags/tag1744.xml" ContentType="application/vnd.openxmlformats-officedocument.presentationml.tags+xml"/>
  <Override PartName="/ppt/tags/tag1745.xml" ContentType="application/vnd.openxmlformats-officedocument.presentationml.tags+xml"/>
  <Override PartName="/ppt/tags/tag1746.xml" ContentType="application/vnd.openxmlformats-officedocument.presentationml.tags+xml"/>
  <Override PartName="/ppt/tags/tag1747.xml" ContentType="application/vnd.openxmlformats-officedocument.presentationml.tags+xml"/>
  <Override PartName="/ppt/tags/tag1748.xml" ContentType="application/vnd.openxmlformats-officedocument.presentationml.tags+xml"/>
  <Override PartName="/ppt/tags/tag1749.xml" ContentType="application/vnd.openxmlformats-officedocument.presentationml.tags+xml"/>
  <Override PartName="/ppt/tags/tag1750.xml" ContentType="application/vnd.openxmlformats-officedocument.presentationml.tags+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theme/theme51.xml" ContentType="application/vnd.openxmlformats-officedocument.theme+xml"/>
  <Override PartName="/ppt/tags/tag1751.xml" ContentType="application/vnd.openxmlformats-officedocument.presentationml.tags+xml"/>
  <Override PartName="/ppt/tags/tag1752.xml" ContentType="application/vnd.openxmlformats-officedocument.presentationml.tags+xml"/>
  <Override PartName="/ppt/tags/tag1753.xml" ContentType="application/vnd.openxmlformats-officedocument.presentationml.tags+xml"/>
  <Override PartName="/ppt/tags/tag1754.xml" ContentType="application/vnd.openxmlformats-officedocument.presentationml.tags+xml"/>
  <Override PartName="/ppt/tags/tag1755.xml" ContentType="application/vnd.openxmlformats-officedocument.presentationml.tags+xml"/>
  <Override PartName="/ppt/tags/tag1756.xml" ContentType="application/vnd.openxmlformats-officedocument.presentationml.tags+xml"/>
  <Override PartName="/ppt/tags/tag1757.xml" ContentType="application/vnd.openxmlformats-officedocument.presentationml.tags+xml"/>
  <Override PartName="/ppt/tags/tag1758.xml" ContentType="application/vnd.openxmlformats-officedocument.presentationml.tags+xml"/>
  <Override PartName="/ppt/tags/tag1759.xml" ContentType="application/vnd.openxmlformats-officedocument.presentationml.tags+xml"/>
  <Override PartName="/ppt/tags/tag1760.xml" ContentType="application/vnd.openxmlformats-officedocument.presentationml.tags+xml"/>
  <Override PartName="/ppt/tags/tag1761.xml" ContentType="application/vnd.openxmlformats-officedocument.presentationml.tags+xml"/>
  <Override PartName="/ppt/tags/tag1762.xml" ContentType="application/vnd.openxmlformats-officedocument.presentationml.tags+xml"/>
  <Override PartName="/ppt/tags/tag1763.xml" ContentType="application/vnd.openxmlformats-officedocument.presentationml.tags+xml"/>
  <Override PartName="/ppt/tags/tag1764.xml" ContentType="application/vnd.openxmlformats-officedocument.presentationml.tags+xml"/>
  <Override PartName="/ppt/tags/tag1765.xml" ContentType="application/vnd.openxmlformats-officedocument.presentationml.tags+xml"/>
  <Override PartName="/ppt/tags/tag1766.xml" ContentType="application/vnd.openxmlformats-officedocument.presentationml.tags+xml"/>
  <Override PartName="/ppt/tags/tag1767.xml" ContentType="application/vnd.openxmlformats-officedocument.presentationml.tags+xml"/>
  <Override PartName="/ppt/tags/tag1768.xml" ContentType="application/vnd.openxmlformats-officedocument.presentationml.tags+xml"/>
  <Override PartName="/ppt/tags/tag1769.xml" ContentType="application/vnd.openxmlformats-officedocument.presentationml.tags+xml"/>
  <Override PartName="/ppt/tags/tag1770.xml" ContentType="application/vnd.openxmlformats-officedocument.presentationml.tags+xml"/>
  <Override PartName="/ppt/tags/tag1771.xml" ContentType="application/vnd.openxmlformats-officedocument.presentationml.tags+xml"/>
  <Override PartName="/ppt/tags/tag1772.xml" ContentType="application/vnd.openxmlformats-officedocument.presentationml.tags+xml"/>
  <Override PartName="/ppt/tags/tag1773.xml" ContentType="application/vnd.openxmlformats-officedocument.presentationml.tags+xml"/>
  <Override PartName="/ppt/tags/tag1774.xml" ContentType="application/vnd.openxmlformats-officedocument.presentationml.tags+xml"/>
  <Override PartName="/ppt/tags/tag1775.xml" ContentType="application/vnd.openxmlformats-officedocument.presentationml.tags+xml"/>
  <Override PartName="/ppt/tags/tag1776.xml" ContentType="application/vnd.openxmlformats-officedocument.presentationml.tags+xml"/>
  <Override PartName="/ppt/tags/tag1777.xml" ContentType="application/vnd.openxmlformats-officedocument.presentationml.tags+xml"/>
  <Override PartName="/ppt/tags/tag1778.xml" ContentType="application/vnd.openxmlformats-officedocument.presentationml.tags+xml"/>
  <Override PartName="/ppt/tags/tag1779.xml" ContentType="application/vnd.openxmlformats-officedocument.presentationml.tags+xml"/>
  <Override PartName="/ppt/tags/tag1780.xml" ContentType="application/vnd.openxmlformats-officedocument.presentationml.tags+xml"/>
  <Override PartName="/ppt/tags/tag1781.xml" ContentType="application/vnd.openxmlformats-officedocument.presentationml.tags+xml"/>
  <Override PartName="/ppt/tags/tag1782.xml" ContentType="application/vnd.openxmlformats-officedocument.presentationml.tags+xml"/>
  <Override PartName="/ppt/tags/tag1783.xml" ContentType="application/vnd.openxmlformats-officedocument.presentationml.tags+xml"/>
  <Override PartName="/ppt/tags/tag1784.xml" ContentType="application/vnd.openxmlformats-officedocument.presentationml.tags+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theme/theme52.xml" ContentType="application/vnd.openxmlformats-officedocument.theme+xml"/>
  <Override PartName="/ppt/tags/tag1785.xml" ContentType="application/vnd.openxmlformats-officedocument.presentationml.tags+xml"/>
  <Override PartName="/ppt/tags/tag1786.xml" ContentType="application/vnd.openxmlformats-officedocument.presentationml.tags+xml"/>
  <Override PartName="/ppt/tags/tag1787.xml" ContentType="application/vnd.openxmlformats-officedocument.presentationml.tags+xml"/>
  <Override PartName="/ppt/tags/tag1788.xml" ContentType="application/vnd.openxmlformats-officedocument.presentationml.tags+xml"/>
  <Override PartName="/ppt/tags/tag1789.xml" ContentType="application/vnd.openxmlformats-officedocument.presentationml.tags+xml"/>
  <Override PartName="/ppt/tags/tag1790.xml" ContentType="application/vnd.openxmlformats-officedocument.presentationml.tags+xml"/>
  <Override PartName="/ppt/tags/tag1791.xml" ContentType="application/vnd.openxmlformats-officedocument.presentationml.tags+xml"/>
  <Override PartName="/ppt/tags/tag1792.xml" ContentType="application/vnd.openxmlformats-officedocument.presentationml.tags+xml"/>
  <Override PartName="/ppt/tags/tag1793.xml" ContentType="application/vnd.openxmlformats-officedocument.presentationml.tags+xml"/>
  <Override PartName="/ppt/tags/tag1794.xml" ContentType="application/vnd.openxmlformats-officedocument.presentationml.tags+xml"/>
  <Override PartName="/ppt/tags/tag1795.xml" ContentType="application/vnd.openxmlformats-officedocument.presentationml.tags+xml"/>
  <Override PartName="/ppt/tags/tag1796.xml" ContentType="application/vnd.openxmlformats-officedocument.presentationml.tags+xml"/>
  <Override PartName="/ppt/tags/tag1797.xml" ContentType="application/vnd.openxmlformats-officedocument.presentationml.tags+xml"/>
  <Override PartName="/ppt/tags/tag1798.xml" ContentType="application/vnd.openxmlformats-officedocument.presentationml.tags+xml"/>
  <Override PartName="/ppt/tags/tag1799.xml" ContentType="application/vnd.openxmlformats-officedocument.presentationml.tags+xml"/>
  <Override PartName="/ppt/tags/tag1800.xml" ContentType="application/vnd.openxmlformats-officedocument.presentationml.tags+xml"/>
  <Override PartName="/ppt/tags/tag1801.xml" ContentType="application/vnd.openxmlformats-officedocument.presentationml.tags+xml"/>
  <Override PartName="/ppt/tags/tag1802.xml" ContentType="application/vnd.openxmlformats-officedocument.presentationml.tags+xml"/>
  <Override PartName="/ppt/tags/tag1803.xml" ContentType="application/vnd.openxmlformats-officedocument.presentationml.tags+xml"/>
  <Override PartName="/ppt/tags/tag1804.xml" ContentType="application/vnd.openxmlformats-officedocument.presentationml.tags+xml"/>
  <Override PartName="/ppt/tags/tag1805.xml" ContentType="application/vnd.openxmlformats-officedocument.presentationml.tags+xml"/>
  <Override PartName="/ppt/tags/tag1806.xml" ContentType="application/vnd.openxmlformats-officedocument.presentationml.tags+xml"/>
  <Override PartName="/ppt/tags/tag1807.xml" ContentType="application/vnd.openxmlformats-officedocument.presentationml.tags+xml"/>
  <Override PartName="/ppt/tags/tag1808.xml" ContentType="application/vnd.openxmlformats-officedocument.presentationml.tags+xml"/>
  <Override PartName="/ppt/tags/tag1809.xml" ContentType="application/vnd.openxmlformats-officedocument.presentationml.tags+xml"/>
  <Override PartName="/ppt/tags/tag1810.xml" ContentType="application/vnd.openxmlformats-officedocument.presentationml.tags+xml"/>
  <Override PartName="/ppt/tags/tag1811.xml" ContentType="application/vnd.openxmlformats-officedocument.presentationml.tags+xml"/>
  <Override PartName="/ppt/tags/tag1812.xml" ContentType="application/vnd.openxmlformats-officedocument.presentationml.tags+xml"/>
  <Override PartName="/ppt/tags/tag1813.xml" ContentType="application/vnd.openxmlformats-officedocument.presentationml.tags+xml"/>
  <Override PartName="/ppt/tags/tag1814.xml" ContentType="application/vnd.openxmlformats-officedocument.presentationml.tags+xml"/>
  <Override PartName="/ppt/tags/tag1815.xml" ContentType="application/vnd.openxmlformats-officedocument.presentationml.tags+xml"/>
  <Override PartName="/ppt/tags/tag1816.xml" ContentType="application/vnd.openxmlformats-officedocument.presentationml.tags+xml"/>
  <Override PartName="/ppt/tags/tag1817.xml" ContentType="application/vnd.openxmlformats-officedocument.presentationml.tags+xml"/>
  <Override PartName="/ppt/tags/tag1818.xml" ContentType="application/vnd.openxmlformats-officedocument.presentationml.tags+xml"/>
  <Override PartName="/ppt/tags/tag1819.xml" ContentType="application/vnd.openxmlformats-officedocument.presentationml.tags+xml"/>
  <Override PartName="/ppt/theme/theme53.xml" ContentType="application/vnd.openxmlformats-officedocument.theme+xml"/>
  <Override PartName="/ppt/tags/tag1820.xml" ContentType="application/vnd.openxmlformats-officedocument.presentationml.tags+xml"/>
  <Override PartName="/ppt/notesSlides/notesSlide1.xml" ContentType="application/vnd.openxmlformats-officedocument.presentationml.notesSlide+xml"/>
  <Override PartName="/ppt/tags/tag1821.xml" ContentType="application/vnd.openxmlformats-officedocument.presentationml.tags+xml"/>
  <Override PartName="/ppt/notesSlides/notesSlide2.xml" ContentType="application/vnd.openxmlformats-officedocument.presentationml.notesSlide+xml"/>
  <Override PartName="/ppt/tags/tag1822.xml" ContentType="application/vnd.openxmlformats-officedocument.presentationml.tags+xml"/>
  <Override PartName="/ppt/tags/tag1823.xml" ContentType="application/vnd.openxmlformats-officedocument.presentationml.tags+xml"/>
  <Override PartName="/ppt/tags/tag1824.xml" ContentType="application/vnd.openxmlformats-officedocument.presentationml.tags+xml"/>
  <Override PartName="/ppt/tags/tag1825.xml" ContentType="application/vnd.openxmlformats-officedocument.presentationml.tags+xml"/>
  <Override PartName="/ppt/tags/tag1826.xml" ContentType="application/vnd.openxmlformats-officedocument.presentationml.tags+xml"/>
  <Override PartName="/ppt/tags/tag1827.xml" ContentType="application/vnd.openxmlformats-officedocument.presentationml.tags+xml"/>
  <Override PartName="/ppt/tags/tag1828.xml" ContentType="application/vnd.openxmlformats-officedocument.presentationml.tags+xml"/>
  <Override PartName="/ppt/tags/tag1829.xml" ContentType="application/vnd.openxmlformats-officedocument.presentationml.tags+xml"/>
  <Override PartName="/ppt/tags/tag1830.xml" ContentType="application/vnd.openxmlformats-officedocument.presentationml.tags+xml"/>
  <Override PartName="/ppt/tags/tag1831.xml" ContentType="application/vnd.openxmlformats-officedocument.presentationml.tags+xml"/>
  <Override PartName="/ppt/tags/tag1832.xml" ContentType="application/vnd.openxmlformats-officedocument.presentationml.tags+xml"/>
  <Override PartName="/ppt/tags/tag1833.xml" ContentType="application/vnd.openxmlformats-officedocument.presentationml.tags+xml"/>
  <Override PartName="/ppt/notesSlides/notesSlide3.xml" ContentType="application/vnd.openxmlformats-officedocument.presentationml.notesSlide+xml"/>
  <Override PartName="/ppt/tags/tag1834.xml" ContentType="application/vnd.openxmlformats-officedocument.presentationml.tags+xml"/>
  <Override PartName="/ppt/tags/tag1835.xml" ContentType="application/vnd.openxmlformats-officedocument.presentationml.tags+xml"/>
  <Override PartName="/ppt/tags/tag1836.xml" ContentType="application/vnd.openxmlformats-officedocument.presentationml.tags+xml"/>
  <Override PartName="/ppt/tags/tag1837.xml" ContentType="application/vnd.openxmlformats-officedocument.presentationml.tags+xml"/>
  <Override PartName="/ppt/notesSlides/notesSlide4.xml" ContentType="application/vnd.openxmlformats-officedocument.presentationml.notesSlide+xml"/>
  <Override PartName="/ppt/tags/tag1838.xml" ContentType="application/vnd.openxmlformats-officedocument.presentationml.tags+xml"/>
  <Override PartName="/ppt/tags/tag1839.xml" ContentType="application/vnd.openxmlformats-officedocument.presentationml.tags+xml"/>
  <Override PartName="/ppt/tags/tag1840.xml" ContentType="application/vnd.openxmlformats-officedocument.presentationml.tags+xml"/>
  <Override PartName="/ppt/tags/tag1841.xml" ContentType="application/vnd.openxmlformats-officedocument.presentationml.tags+xml"/>
  <Override PartName="/ppt/tags/tag1842.xml" ContentType="application/vnd.openxmlformats-officedocument.presentationml.tags+xml"/>
  <Override PartName="/ppt/tags/tag1843.xml" ContentType="application/vnd.openxmlformats-officedocument.presentationml.tags+xml"/>
  <Override PartName="/ppt/tags/tag1844.xml" ContentType="application/vnd.openxmlformats-officedocument.presentationml.tags+xml"/>
  <Override PartName="/ppt/tags/tag1845.xml" ContentType="application/vnd.openxmlformats-officedocument.presentationml.tags+xml"/>
  <Override PartName="/ppt/tags/tag1846.xml" ContentType="application/vnd.openxmlformats-officedocument.presentationml.tags+xml"/>
  <Override PartName="/ppt/tags/tag1847.xml" ContentType="application/vnd.openxmlformats-officedocument.presentationml.tags+xml"/>
  <Override PartName="/ppt/tags/tag1848.xml" ContentType="application/vnd.openxmlformats-officedocument.presentationml.tags+xml"/>
  <Override PartName="/ppt/tags/tag1849.xml" ContentType="application/vnd.openxmlformats-officedocument.presentationml.tags+xml"/>
  <Override PartName="/ppt/notesSlides/notesSlide5.xml" ContentType="application/vnd.openxmlformats-officedocument.presentationml.notesSlide+xml"/>
  <Override PartName="/ppt/tags/tag1850.xml" ContentType="application/vnd.openxmlformats-officedocument.presentationml.tags+xml"/>
  <Override PartName="/ppt/tags/tag1851.xml" ContentType="application/vnd.openxmlformats-officedocument.presentationml.tags+xml"/>
  <Override PartName="/ppt/tags/tag1852.xml" ContentType="application/vnd.openxmlformats-officedocument.presentationml.tags+xml"/>
  <Override PartName="/ppt/tags/tag1853.xml" ContentType="application/vnd.openxmlformats-officedocument.presentationml.tags+xml"/>
  <Override PartName="/ppt/tags/tag1854.xml" ContentType="application/vnd.openxmlformats-officedocument.presentationml.tags+xml"/>
  <Override PartName="/ppt/tags/tag1855.xml" ContentType="application/vnd.openxmlformats-officedocument.presentationml.tags+xml"/>
  <Override PartName="/ppt/tags/tag1856.xml" ContentType="application/vnd.openxmlformats-officedocument.presentationml.tags+xml"/>
  <Override PartName="/ppt/tags/tag1857.xml" ContentType="application/vnd.openxmlformats-officedocument.presentationml.tags+xml"/>
  <Override PartName="/ppt/tags/tag1858.xml" ContentType="application/vnd.openxmlformats-officedocument.presentationml.tags+xml"/>
  <Override PartName="/ppt/tags/tag1859.xml" ContentType="application/vnd.openxmlformats-officedocument.presentationml.tags+xml"/>
  <Override PartName="/ppt/tags/tag1860.xml" ContentType="application/vnd.openxmlformats-officedocument.presentationml.tags+xml"/>
  <Override PartName="/ppt/tags/tag1861.xml" ContentType="application/vnd.openxmlformats-officedocument.presentationml.tags+xml"/>
  <Override PartName="/ppt/tags/tag1862.xml" ContentType="application/vnd.openxmlformats-officedocument.presentationml.tags+xml"/>
  <Override PartName="/ppt/tags/tag1863.xml" ContentType="application/vnd.openxmlformats-officedocument.presentationml.tags+xml"/>
  <Override PartName="/ppt/tags/tag1864.xml" ContentType="application/vnd.openxmlformats-officedocument.presentationml.tags+xml"/>
  <Override PartName="/ppt/tags/tag1865.xml" ContentType="application/vnd.openxmlformats-officedocument.presentationml.tags+xml"/>
  <Override PartName="/ppt/tags/tag1866.xml" ContentType="application/vnd.openxmlformats-officedocument.presentationml.tags+xml"/>
  <Override PartName="/ppt/tags/tag1867.xml" ContentType="application/vnd.openxmlformats-officedocument.presentationml.tags+xml"/>
  <Override PartName="/ppt/notesSlides/notesSlide6.xml" ContentType="application/vnd.openxmlformats-officedocument.presentationml.notesSlide+xml"/>
  <Override PartName="/ppt/tags/tag1868.xml" ContentType="application/vnd.openxmlformats-officedocument.presentationml.tags+xml"/>
  <Override PartName="/ppt/tags/tag1869.xml" ContentType="application/vnd.openxmlformats-officedocument.presentationml.tags+xml"/>
  <Override PartName="/ppt/tags/tag1870.xml" ContentType="application/vnd.openxmlformats-officedocument.presentationml.tags+xml"/>
  <Override PartName="/ppt/tags/tag1871.xml" ContentType="application/vnd.openxmlformats-officedocument.presentationml.tags+xml"/>
  <Override PartName="/ppt/tags/tag1872.xml" ContentType="application/vnd.openxmlformats-officedocument.presentationml.tags+xml"/>
  <Override PartName="/ppt/tags/tag1873.xml" ContentType="application/vnd.openxmlformats-officedocument.presentationml.tags+xml"/>
  <Override PartName="/ppt/tags/tag1874.xml" ContentType="application/vnd.openxmlformats-officedocument.presentationml.tags+xml"/>
  <Override PartName="/ppt/tags/tag1875.xml" ContentType="application/vnd.openxmlformats-officedocument.presentationml.tags+xml"/>
  <Override PartName="/ppt/tags/tag1876.xml" ContentType="application/vnd.openxmlformats-officedocument.presentationml.tags+xml"/>
  <Override PartName="/ppt/tags/tag1877.xml" ContentType="application/vnd.openxmlformats-officedocument.presentationml.tags+xml"/>
  <Override PartName="/ppt/notesSlides/notesSlide7.xml" ContentType="application/vnd.openxmlformats-officedocument.presentationml.notesSlide+xml"/>
  <Override PartName="/ppt/tags/tag1878.xml" ContentType="application/vnd.openxmlformats-officedocument.presentationml.tags+xml"/>
  <Override PartName="/ppt/tags/tag1879.xml" ContentType="application/vnd.openxmlformats-officedocument.presentationml.tags+xml"/>
  <Override PartName="/ppt/tags/tag1880.xml" ContentType="application/vnd.openxmlformats-officedocument.presentationml.tags+xml"/>
  <Override PartName="/ppt/tags/tag1881.xml" ContentType="application/vnd.openxmlformats-officedocument.presentationml.tags+xml"/>
  <Override PartName="/ppt/tags/tag1882.xml" ContentType="application/vnd.openxmlformats-officedocument.presentationml.tags+xml"/>
  <Override PartName="/ppt/tags/tag1883.xml" ContentType="application/vnd.openxmlformats-officedocument.presentationml.tags+xml"/>
  <Override PartName="/ppt/tags/tag1884.xml" ContentType="application/vnd.openxmlformats-officedocument.presentationml.tags+xml"/>
  <Override PartName="/ppt/tags/tag1885.xml" ContentType="application/vnd.openxmlformats-officedocument.presentationml.tags+xml"/>
  <Override PartName="/ppt/notesSlides/notesSlide8.xml" ContentType="application/vnd.openxmlformats-officedocument.presentationml.notesSlide+xml"/>
  <Override PartName="/ppt/tags/tag1886.xml" ContentType="application/vnd.openxmlformats-officedocument.presentationml.tags+xml"/>
  <Override PartName="/ppt/tags/tag1887.xml" ContentType="application/vnd.openxmlformats-officedocument.presentationml.tags+xml"/>
  <Override PartName="/ppt/tags/tag1888.xml" ContentType="application/vnd.openxmlformats-officedocument.presentationml.tags+xml"/>
  <Override PartName="/ppt/tags/tag1889.xml" ContentType="application/vnd.openxmlformats-officedocument.presentationml.tags+xml"/>
  <Override PartName="/ppt/tags/tag1890.xml" ContentType="application/vnd.openxmlformats-officedocument.presentationml.tags+xml"/>
  <Override PartName="/ppt/notesSlides/notesSlide9.xml" ContentType="application/vnd.openxmlformats-officedocument.presentationml.notesSlide+xml"/>
  <Override PartName="/ppt/tags/tag1891.xml" ContentType="application/vnd.openxmlformats-officedocument.presentationml.tags+xml"/>
  <Override PartName="/ppt/tags/tag1892.xml" ContentType="application/vnd.openxmlformats-officedocument.presentationml.tags+xml"/>
  <Override PartName="/ppt/tags/tag1893.xml" ContentType="application/vnd.openxmlformats-officedocument.presentationml.tags+xml"/>
  <Override PartName="/ppt/tags/tag1894.xml" ContentType="application/vnd.openxmlformats-officedocument.presentationml.tags+xml"/>
  <Override PartName="/ppt/tags/tag1895.xml" ContentType="application/vnd.openxmlformats-officedocument.presentationml.tags+xml"/>
  <Override PartName="/ppt/tags/tag1896.xml" ContentType="application/vnd.openxmlformats-officedocument.presentationml.tags+xml"/>
  <Override PartName="/ppt/tags/tag1897.xml" ContentType="application/vnd.openxmlformats-officedocument.presentationml.tags+xml"/>
  <Override PartName="/ppt/tags/tag1898.xml" ContentType="application/vnd.openxmlformats-officedocument.presentationml.tags+xml"/>
  <Override PartName="/ppt/tags/tag1899.xml" ContentType="application/vnd.openxmlformats-officedocument.presentationml.tags+xml"/>
  <Override PartName="/ppt/tags/tag1900.xml" ContentType="application/vnd.openxmlformats-officedocument.presentationml.tags+xml"/>
  <Override PartName="/ppt/tags/tag1901.xml" ContentType="application/vnd.openxmlformats-officedocument.presentationml.tags+xml"/>
  <Override PartName="/ppt/tags/tag1902.xml" ContentType="application/vnd.openxmlformats-officedocument.presentationml.tags+xml"/>
  <Override PartName="/ppt/tags/tag1903.xml" ContentType="application/vnd.openxmlformats-officedocument.presentationml.tags+xml"/>
  <Override PartName="/ppt/tags/tag1904.xml" ContentType="application/vnd.openxmlformats-officedocument.presentationml.tags+xml"/>
  <Override PartName="/ppt/tags/tag1905.xml" ContentType="application/vnd.openxmlformats-officedocument.presentationml.tags+xml"/>
  <Override PartName="/ppt/tags/tag1906.xml" ContentType="application/vnd.openxmlformats-officedocument.presentationml.tags+xml"/>
  <Override PartName="/ppt/tags/tag1907.xml" ContentType="application/vnd.openxmlformats-officedocument.presentationml.tags+xml"/>
  <Override PartName="/ppt/tags/tag1908.xml" ContentType="application/vnd.openxmlformats-officedocument.presentationml.tags+xml"/>
  <Override PartName="/ppt/tags/tag1909.xml" ContentType="application/vnd.openxmlformats-officedocument.presentationml.tags+xml"/>
  <Override PartName="/ppt/tags/tag1910.xml" ContentType="application/vnd.openxmlformats-officedocument.presentationml.tags+xml"/>
  <Override PartName="/ppt/tags/tag1911.xml" ContentType="application/vnd.openxmlformats-officedocument.presentationml.tags+xml"/>
  <Override PartName="/ppt/tags/tag1912.xml" ContentType="application/vnd.openxmlformats-officedocument.presentationml.tags+xml"/>
  <Override PartName="/ppt/tags/tag1913.xml" ContentType="application/vnd.openxmlformats-officedocument.presentationml.tags+xml"/>
  <Override PartName="/ppt/tags/tag1914.xml" ContentType="application/vnd.openxmlformats-officedocument.presentationml.tags+xml"/>
  <Override PartName="/ppt/tags/tag1915.xml" ContentType="application/vnd.openxmlformats-officedocument.presentationml.tags+xml"/>
  <Override PartName="/ppt/tags/tag1916.xml" ContentType="application/vnd.openxmlformats-officedocument.presentationml.tags+xml"/>
  <Override PartName="/ppt/tags/tag1917.xml" ContentType="application/vnd.openxmlformats-officedocument.presentationml.tags+xml"/>
  <Override PartName="/ppt/tags/tag1918.xml" ContentType="application/vnd.openxmlformats-officedocument.presentationml.tags+xml"/>
  <Override PartName="/ppt/tags/tag1919.xml" ContentType="application/vnd.openxmlformats-officedocument.presentationml.tags+xml"/>
  <Override PartName="/ppt/tags/tag1920.xml" ContentType="application/vnd.openxmlformats-officedocument.presentationml.tags+xml"/>
  <Override PartName="/ppt/tags/tag1921.xml" ContentType="application/vnd.openxmlformats-officedocument.presentationml.tags+xml"/>
  <Override PartName="/ppt/tags/tag1922.xml" ContentType="application/vnd.openxmlformats-officedocument.presentationml.tags+xml"/>
  <Override PartName="/ppt/tags/tag1923.xml" ContentType="application/vnd.openxmlformats-officedocument.presentationml.tags+xml"/>
  <Override PartName="/ppt/tags/tag1924.xml" ContentType="application/vnd.openxmlformats-officedocument.presentationml.tags+xml"/>
  <Override PartName="/ppt/tags/tag1925.xml" ContentType="application/vnd.openxmlformats-officedocument.presentationml.tags+xml"/>
  <Override PartName="/ppt/tags/tag1926.xml" ContentType="application/vnd.openxmlformats-officedocument.presentationml.tags+xml"/>
  <Override PartName="/ppt/tags/tag1927.xml" ContentType="application/vnd.openxmlformats-officedocument.presentationml.tags+xml"/>
  <Override PartName="/ppt/tags/tag1928.xml" ContentType="application/vnd.openxmlformats-officedocument.presentationml.tags+xml"/>
  <Override PartName="/ppt/tags/tag1929.xml" ContentType="application/vnd.openxmlformats-officedocument.presentationml.tags+xml"/>
  <Override PartName="/ppt/tags/tag1930.xml" ContentType="application/vnd.openxmlformats-officedocument.presentationml.tags+xml"/>
  <Override PartName="/ppt/tags/tag1931.xml" ContentType="application/vnd.openxmlformats-officedocument.presentationml.tags+xml"/>
  <Override PartName="/ppt/tags/tag1932.xml" ContentType="application/vnd.openxmlformats-officedocument.presentationml.tags+xml"/>
  <Override PartName="/ppt/tags/tag1933.xml" ContentType="application/vnd.openxmlformats-officedocument.presentationml.tags+xml"/>
  <Override PartName="/ppt/tags/tag1934.xml" ContentType="application/vnd.openxmlformats-officedocument.presentationml.tags+xml"/>
  <Override PartName="/ppt/tags/tag1935.xml" ContentType="application/vnd.openxmlformats-officedocument.presentationml.tags+xml"/>
  <Override PartName="/ppt/tags/tag1936.xml" ContentType="application/vnd.openxmlformats-officedocument.presentationml.tags+xml"/>
  <Override PartName="/ppt/notesSlides/notesSlide10.xml" ContentType="application/vnd.openxmlformats-officedocument.presentationml.notesSlide+xml"/>
  <Override PartName="/ppt/tags/tag1937.xml" ContentType="application/vnd.openxmlformats-officedocument.presentationml.tags+xml"/>
  <Override PartName="/ppt/tags/tag1938.xml" ContentType="application/vnd.openxmlformats-officedocument.presentationml.tags+xml"/>
  <Override PartName="/ppt/tags/tag1939.xml" ContentType="application/vnd.openxmlformats-officedocument.presentationml.tags+xml"/>
  <Override PartName="/ppt/tags/tag1940.xml" ContentType="application/vnd.openxmlformats-officedocument.presentationml.tags+xml"/>
  <Override PartName="/ppt/tags/tag1941.xml" ContentType="application/vnd.openxmlformats-officedocument.presentationml.tags+xml"/>
  <Override PartName="/ppt/tags/tag1942.xml" ContentType="application/vnd.openxmlformats-officedocument.presentationml.tags+xml"/>
  <Override PartName="/ppt/tags/tag1943.xml" ContentType="application/vnd.openxmlformats-officedocument.presentationml.tags+xml"/>
  <Override PartName="/ppt/tags/tag1944.xml" ContentType="application/vnd.openxmlformats-officedocument.presentationml.tags+xml"/>
  <Override PartName="/ppt/tags/tag1945.xml" ContentType="application/vnd.openxmlformats-officedocument.presentationml.tags+xml"/>
  <Override PartName="/ppt/tags/tag1946.xml" ContentType="application/vnd.openxmlformats-officedocument.presentationml.tags+xml"/>
  <Override PartName="/ppt/tags/tag1947.xml" ContentType="application/vnd.openxmlformats-officedocument.presentationml.tags+xml"/>
  <Override PartName="/ppt/tags/tag1948.xml" ContentType="application/vnd.openxmlformats-officedocument.presentationml.tags+xml"/>
  <Override PartName="/ppt/notesSlides/notesSlide11.xml" ContentType="application/vnd.openxmlformats-officedocument.presentationml.notesSlide+xml"/>
  <Override PartName="/ppt/tags/tag1949.xml" ContentType="application/vnd.openxmlformats-officedocument.presentationml.tags+xml"/>
  <Override PartName="/ppt/tags/tag1950.xml" ContentType="application/vnd.openxmlformats-officedocument.presentationml.tags+xml"/>
  <Override PartName="/ppt/tags/tag1951.xml" ContentType="application/vnd.openxmlformats-officedocument.presentationml.tags+xml"/>
  <Override PartName="/ppt/tags/tag1952.xml" ContentType="application/vnd.openxmlformats-officedocument.presentationml.tags+xml"/>
  <Override PartName="/ppt/notesSlides/notesSlide12.xml" ContentType="application/vnd.openxmlformats-officedocument.presentationml.notesSlide+xml"/>
  <Override PartName="/ppt/tags/tag1953.xml" ContentType="application/vnd.openxmlformats-officedocument.presentationml.tags+xml"/>
  <Override PartName="/ppt/tags/tag1954.xml" ContentType="application/vnd.openxmlformats-officedocument.presentationml.tags+xml"/>
  <Override PartName="/ppt/tags/tag1955.xml" ContentType="application/vnd.openxmlformats-officedocument.presentationml.tags+xml"/>
  <Override PartName="/ppt/tags/tag1956.xml" ContentType="application/vnd.openxmlformats-officedocument.presentationml.tags+xml"/>
  <Override PartName="/ppt/notesSlides/notesSlide13.xml" ContentType="application/vnd.openxmlformats-officedocument.presentationml.notesSlide+xml"/>
  <Override PartName="/ppt/tags/tag1957.xml" ContentType="application/vnd.openxmlformats-officedocument.presentationml.tags+xml"/>
  <Override PartName="/ppt/tags/tag1958.xml" ContentType="application/vnd.openxmlformats-officedocument.presentationml.tags+xml"/>
  <Override PartName="/ppt/tags/tag1959.xml" ContentType="application/vnd.openxmlformats-officedocument.presentationml.tags+xml"/>
  <Override PartName="/ppt/tags/tag1960.xml" ContentType="application/vnd.openxmlformats-officedocument.presentationml.tags+xml"/>
  <Override PartName="/ppt/tags/tag1961.xml" ContentType="application/vnd.openxmlformats-officedocument.presentationml.tags+xml"/>
  <Override PartName="/ppt/tags/tag1962.xml" ContentType="application/vnd.openxmlformats-officedocument.presentationml.tags+xml"/>
  <Override PartName="/ppt/tags/tag1963.xml" ContentType="application/vnd.openxmlformats-officedocument.presentationml.tags+xml"/>
  <Override PartName="/ppt/tags/tag1964.xml" ContentType="application/vnd.openxmlformats-officedocument.presentationml.tags+xml"/>
  <Override PartName="/ppt/tags/tag1965.xml" ContentType="application/vnd.openxmlformats-officedocument.presentationml.tags+xml"/>
  <Override PartName="/ppt/tags/tag1966.xml" ContentType="application/vnd.openxmlformats-officedocument.presentationml.tags+xml"/>
  <Override PartName="/ppt/tags/tag1967.xml" ContentType="application/vnd.openxmlformats-officedocument.presentationml.tags+xml"/>
  <Override PartName="/ppt/tags/tag1968.xml" ContentType="application/vnd.openxmlformats-officedocument.presentationml.tags+xml"/>
  <Override PartName="/ppt/tags/tag1969.xml" ContentType="application/vnd.openxmlformats-officedocument.presentationml.tags+xml"/>
  <Override PartName="/ppt/notesSlides/notesSlide14.xml" ContentType="application/vnd.openxmlformats-officedocument.presentationml.notesSlide+xml"/>
  <Override PartName="/ppt/tags/tag1970.xml" ContentType="application/vnd.openxmlformats-officedocument.presentationml.tags+xml"/>
  <Override PartName="/ppt/tags/tag1971.xml" ContentType="application/vnd.openxmlformats-officedocument.presentationml.tags+xml"/>
  <Override PartName="/ppt/tags/tag1972.xml" ContentType="application/vnd.openxmlformats-officedocument.presentationml.tags+xml"/>
  <Override PartName="/ppt/tags/tag1973.xml" ContentType="application/vnd.openxmlformats-officedocument.presentationml.tags+xml"/>
  <Override PartName="/ppt/tags/tag1974.xml" ContentType="application/vnd.openxmlformats-officedocument.presentationml.tags+xml"/>
  <Override PartName="/ppt/tags/tag1975.xml" ContentType="application/vnd.openxmlformats-officedocument.presentationml.tags+xml"/>
  <Override PartName="/ppt/tags/tag1976.xml" ContentType="application/vnd.openxmlformats-officedocument.presentationml.tags+xml"/>
  <Override PartName="/ppt/tags/tag1977.xml" ContentType="application/vnd.openxmlformats-officedocument.presentationml.tags+xml"/>
  <Override PartName="/ppt/notesSlides/notesSlide15.xml" ContentType="application/vnd.openxmlformats-officedocument.presentationml.notesSlide+xml"/>
  <Override PartName="/ppt/tags/tag1978.xml" ContentType="application/vnd.openxmlformats-officedocument.presentationml.tags+xml"/>
  <Override PartName="/ppt/tags/tag1979.xml" ContentType="application/vnd.openxmlformats-officedocument.presentationml.tags+xml"/>
  <Override PartName="/ppt/tags/tag1980.xml" ContentType="application/vnd.openxmlformats-officedocument.presentationml.tags+xml"/>
  <Override PartName="/ppt/notesSlides/notesSlide16.xml" ContentType="application/vnd.openxmlformats-officedocument.presentationml.notesSlide+xml"/>
  <Override PartName="/ppt/tags/tag1981.xml" ContentType="application/vnd.openxmlformats-officedocument.presentationml.tags+xml"/>
  <Override PartName="/ppt/tags/tag1982.xml" ContentType="application/vnd.openxmlformats-officedocument.presentationml.tags+xml"/>
  <Override PartName="/ppt/tags/tag1983.xml" ContentType="application/vnd.openxmlformats-officedocument.presentationml.tags+xml"/>
  <Override PartName="/ppt/tags/tag1984.xml" ContentType="application/vnd.openxmlformats-officedocument.presentationml.tags+xml"/>
  <Override PartName="/ppt/tags/tag1985.xml" ContentType="application/vnd.openxmlformats-officedocument.presentationml.tags+xml"/>
  <Override PartName="/ppt/tags/tag1986.xml" ContentType="application/vnd.openxmlformats-officedocument.presentationml.tags+xml"/>
  <Override PartName="/ppt/notesSlides/notesSlide17.xml" ContentType="application/vnd.openxmlformats-officedocument.presentationml.notesSlide+xml"/>
  <Override PartName="/ppt/tags/tag1987.xml" ContentType="application/vnd.openxmlformats-officedocument.presentationml.tags+xml"/>
  <Override PartName="/ppt/notesSlides/notesSlide18.xml" ContentType="application/vnd.openxmlformats-officedocument.presentationml.notesSlide+xml"/>
  <Override PartName="/ppt/tags/tag1988.xml" ContentType="application/vnd.openxmlformats-officedocument.presentationml.tags+xml"/>
  <Override PartName="/ppt/notesSlides/notesSlide19.xml" ContentType="application/vnd.openxmlformats-officedocument.presentationml.notesSlide+xml"/>
  <Override PartName="/ppt/tags/tag1989.xml" ContentType="application/vnd.openxmlformats-officedocument.presentationml.tags+xml"/>
  <Override PartName="/ppt/tags/tag1990.xml" ContentType="application/vnd.openxmlformats-officedocument.presentationml.tags+xml"/>
  <Override PartName="/ppt/tags/tag1991.xml" ContentType="application/vnd.openxmlformats-officedocument.presentationml.tags+xml"/>
  <Override PartName="/ppt/tags/tag1992.xml" ContentType="application/vnd.openxmlformats-officedocument.presentationml.tags+xml"/>
  <Override PartName="/ppt/tags/tag1993.xml" ContentType="application/vnd.openxmlformats-officedocument.presentationml.tags+xml"/>
  <Override PartName="/ppt/tags/tag1994.xml" ContentType="application/vnd.openxmlformats-officedocument.presentationml.tags+xml"/>
  <Override PartName="/ppt/tags/tag1995.xml" ContentType="application/vnd.openxmlformats-officedocument.presentationml.tags+xml"/>
  <Override PartName="/ppt/tags/tag1996.xml" ContentType="application/vnd.openxmlformats-officedocument.presentationml.tags+xml"/>
  <Override PartName="/ppt/tags/tag1997.xml" ContentType="application/vnd.openxmlformats-officedocument.presentationml.tags+xml"/>
  <Override PartName="/ppt/tags/tag1998.xml" ContentType="application/vnd.openxmlformats-officedocument.presentationml.tags+xml"/>
  <Override PartName="/ppt/tags/tag1999.xml" ContentType="application/vnd.openxmlformats-officedocument.presentationml.tags+xml"/>
  <Override PartName="/ppt/tags/tag2000.xml" ContentType="application/vnd.openxmlformats-officedocument.presentationml.tags+xml"/>
  <Override PartName="/ppt/tags/tag2001.xml" ContentType="application/vnd.openxmlformats-officedocument.presentationml.tags+xml"/>
  <Override PartName="/ppt/tags/tag2002.xml" ContentType="application/vnd.openxmlformats-officedocument.presentationml.tags+xml"/>
  <Override PartName="/ppt/tags/tag2003.xml" ContentType="application/vnd.openxmlformats-officedocument.presentationml.tags+xml"/>
  <Override PartName="/ppt/tags/tag2004.xml" ContentType="application/vnd.openxmlformats-officedocument.presentationml.tags+xml"/>
  <Override PartName="/ppt/tags/tag2005.xml" ContentType="application/vnd.openxmlformats-officedocument.presentationml.tags+xml"/>
  <Override PartName="/ppt/tags/tag2006.xml" ContentType="application/vnd.openxmlformats-officedocument.presentationml.tags+xml"/>
  <Override PartName="/ppt/tags/tag2007.xml" ContentType="application/vnd.openxmlformats-officedocument.presentationml.tags+xml"/>
  <Override PartName="/ppt/tags/tag2008.xml" ContentType="application/vnd.openxmlformats-officedocument.presentationml.tags+xml"/>
  <Override PartName="/ppt/tags/tag2009.xml" ContentType="application/vnd.openxmlformats-officedocument.presentationml.tags+xml"/>
  <Override PartName="/ppt/tags/tag2010.xml" ContentType="application/vnd.openxmlformats-officedocument.presentationml.tags+xml"/>
  <Override PartName="/ppt/tags/tag2011.xml" ContentType="application/vnd.openxmlformats-officedocument.presentationml.tags+xml"/>
  <Override PartName="/ppt/tags/tag2012.xml" ContentType="application/vnd.openxmlformats-officedocument.presentationml.tags+xml"/>
  <Override PartName="/ppt/tags/tag2013.xml" ContentType="application/vnd.openxmlformats-officedocument.presentationml.tags+xml"/>
  <Override PartName="/ppt/tags/tag2014.xml" ContentType="application/vnd.openxmlformats-officedocument.presentationml.tags+xml"/>
  <Override PartName="/ppt/tags/tag2015.xml" ContentType="application/vnd.openxmlformats-officedocument.presentationml.tags+xml"/>
  <Override PartName="/ppt/tags/tag2016.xml" ContentType="application/vnd.openxmlformats-officedocument.presentationml.tags+xml"/>
  <Override PartName="/ppt/tags/tag2017.xml" ContentType="application/vnd.openxmlformats-officedocument.presentationml.tags+xml"/>
  <Override PartName="/ppt/tags/tag2018.xml" ContentType="application/vnd.openxmlformats-officedocument.presentationml.tags+xml"/>
  <Override PartName="/ppt/tags/tag2019.xml" ContentType="application/vnd.openxmlformats-officedocument.presentationml.tags+xml"/>
  <Override PartName="/ppt/tags/tag2020.xml" ContentType="application/vnd.openxmlformats-officedocument.presentationml.tags+xml"/>
  <Override PartName="/ppt/tags/tag2021.xml" ContentType="application/vnd.openxmlformats-officedocument.presentationml.tags+xml"/>
  <Override PartName="/ppt/tags/tag2022.xml" ContentType="application/vnd.openxmlformats-officedocument.presentationml.tags+xml"/>
  <Override PartName="/ppt/tags/tag2023.xml" ContentType="application/vnd.openxmlformats-officedocument.presentationml.tags+xml"/>
  <Override PartName="/ppt/tags/tag2024.xml" ContentType="application/vnd.openxmlformats-officedocument.presentationml.tags+xml"/>
  <Override PartName="/ppt/tags/tag2025.xml" ContentType="application/vnd.openxmlformats-officedocument.presentationml.tags+xml"/>
  <Override PartName="/ppt/tags/tag2026.xml" ContentType="application/vnd.openxmlformats-officedocument.presentationml.tags+xml"/>
  <Override PartName="/ppt/tags/tag2027.xml" ContentType="application/vnd.openxmlformats-officedocument.presentationml.tags+xml"/>
  <Override PartName="/ppt/tags/tag2028.xml" ContentType="application/vnd.openxmlformats-officedocument.presentationml.tags+xml"/>
  <Override PartName="/ppt/tags/tag2029.xml" ContentType="application/vnd.openxmlformats-officedocument.presentationml.tags+xml"/>
  <Override PartName="/ppt/tags/tag2030.xml" ContentType="application/vnd.openxmlformats-officedocument.presentationml.tags+xml"/>
  <Override PartName="/ppt/tags/tag2031.xml" ContentType="application/vnd.openxmlformats-officedocument.presentationml.tags+xml"/>
  <Override PartName="/ppt/notesSlides/notesSlide20.xml" ContentType="application/vnd.openxmlformats-officedocument.presentationml.notesSlide+xml"/>
  <Override PartName="/ppt/tags/tag2032.xml" ContentType="application/vnd.openxmlformats-officedocument.presentationml.tags+xml"/>
  <Override PartName="/ppt/tags/tag2033.xml" ContentType="application/vnd.openxmlformats-officedocument.presentationml.tags+xml"/>
  <Override PartName="/ppt/tags/tag2034.xml" ContentType="application/vnd.openxmlformats-officedocument.presentationml.tags+xml"/>
  <Override PartName="/ppt/tags/tag2035.xml" ContentType="application/vnd.openxmlformats-officedocument.presentationml.tags+xml"/>
  <Override PartName="/ppt/notesSlides/notesSlide21.xml" ContentType="application/vnd.openxmlformats-officedocument.presentationml.notesSlide+xml"/>
  <Override PartName="/ppt/tags/tag2036.xml" ContentType="application/vnd.openxmlformats-officedocument.presentationml.tags+xml"/>
  <Override PartName="/ppt/tags/tag2037.xml" ContentType="application/vnd.openxmlformats-officedocument.presentationml.tags+xml"/>
  <Override PartName="/ppt/tags/tag2038.xml" ContentType="application/vnd.openxmlformats-officedocument.presentationml.tags+xml"/>
  <Override PartName="/ppt/tags/tag2039.xml" ContentType="application/vnd.openxmlformats-officedocument.presentationml.tags+xml"/>
  <Override PartName="/ppt/tags/tag2040.xml" ContentType="application/vnd.openxmlformats-officedocument.presentationml.tags+xml"/>
  <Override PartName="/ppt/tags/tag2041.xml" ContentType="application/vnd.openxmlformats-officedocument.presentationml.tags+xml"/>
  <Override PartName="/ppt/tags/tag2042.xml" ContentType="application/vnd.openxmlformats-officedocument.presentationml.tags+xml"/>
  <Override PartName="/ppt/tags/tag2043.xml" ContentType="application/vnd.openxmlformats-officedocument.presentationml.tags+xml"/>
  <Override PartName="/ppt/tags/tag2044.xml" ContentType="application/vnd.openxmlformats-officedocument.presentationml.tags+xml"/>
  <Override PartName="/ppt/tags/tag2045.xml" ContentType="application/vnd.openxmlformats-officedocument.presentationml.tags+xml"/>
  <Override PartName="/ppt/tags/tag2046.xml" ContentType="application/vnd.openxmlformats-officedocument.presentationml.tags+xml"/>
  <Override PartName="/ppt/tags/tag2047.xml" ContentType="application/vnd.openxmlformats-officedocument.presentationml.tags+xml"/>
  <Override PartName="/ppt/tags/tag2048.xml" ContentType="application/vnd.openxmlformats-officedocument.presentationml.tags+xml"/>
  <Override PartName="/ppt/tags/tag2049.xml" ContentType="application/vnd.openxmlformats-officedocument.presentationml.tags+xml"/>
  <Override PartName="/ppt/tags/tag2050.xml" ContentType="application/vnd.openxmlformats-officedocument.presentationml.tags+xml"/>
  <Override PartName="/ppt/tags/tag2051.xml" ContentType="application/vnd.openxmlformats-officedocument.presentationml.tags+xml"/>
  <Override PartName="/ppt/tags/tag2052.xml" ContentType="application/vnd.openxmlformats-officedocument.presentationml.tags+xml"/>
  <Override PartName="/ppt/tags/tag2053.xml" ContentType="application/vnd.openxmlformats-officedocument.presentationml.tags+xml"/>
  <Override PartName="/ppt/tags/tag2054.xml" ContentType="application/vnd.openxmlformats-officedocument.presentationml.tags+xml"/>
  <Override PartName="/ppt/tags/tag2055.xml" ContentType="application/vnd.openxmlformats-officedocument.presentationml.tags+xml"/>
  <Override PartName="/ppt/tags/tag2056.xml" ContentType="application/vnd.openxmlformats-officedocument.presentationml.tags+xml"/>
  <Override PartName="/ppt/tags/tag2057.xml" ContentType="application/vnd.openxmlformats-officedocument.presentationml.tags+xml"/>
  <Override PartName="/ppt/tags/tag2058.xml" ContentType="application/vnd.openxmlformats-officedocument.presentationml.tags+xml"/>
  <Override PartName="/ppt/tags/tag2059.xml" ContentType="application/vnd.openxmlformats-officedocument.presentationml.tags+xml"/>
  <Override PartName="/ppt/tags/tag2060.xml" ContentType="application/vnd.openxmlformats-officedocument.presentationml.tags+xml"/>
  <Override PartName="/ppt/tags/tag2061.xml" ContentType="application/vnd.openxmlformats-officedocument.presentationml.tags+xml"/>
  <Override PartName="/ppt/tags/tag2062.xml" ContentType="application/vnd.openxmlformats-officedocument.presentationml.tags+xml"/>
  <Override PartName="/ppt/tags/tag2063.xml" ContentType="application/vnd.openxmlformats-officedocument.presentationml.tags+xml"/>
  <Override PartName="/ppt/tags/tag2064.xml" ContentType="application/vnd.openxmlformats-officedocument.presentationml.tags+xml"/>
  <Override PartName="/ppt/tags/tag2065.xml" ContentType="application/vnd.openxmlformats-officedocument.presentationml.tags+xml"/>
  <Override PartName="/ppt/tags/tag2066.xml" ContentType="application/vnd.openxmlformats-officedocument.presentationml.tags+xml"/>
  <Override PartName="/ppt/tags/tag2067.xml" ContentType="application/vnd.openxmlformats-officedocument.presentationml.tags+xml"/>
  <Override PartName="/ppt/tags/tag2068.xml" ContentType="application/vnd.openxmlformats-officedocument.presentationml.tags+xml"/>
  <Override PartName="/ppt/tags/tag2069.xml" ContentType="application/vnd.openxmlformats-officedocument.presentationml.tags+xml"/>
  <Override PartName="/ppt/tags/tag2070.xml" ContentType="application/vnd.openxmlformats-officedocument.presentationml.tags+xml"/>
  <Override PartName="/ppt/tags/tag2071.xml" ContentType="application/vnd.openxmlformats-officedocument.presentationml.tags+xml"/>
  <Override PartName="/ppt/tags/tag2072.xml" ContentType="application/vnd.openxmlformats-officedocument.presentationml.tags+xml"/>
  <Override PartName="/ppt/tags/tag2073.xml" ContentType="application/vnd.openxmlformats-officedocument.presentationml.tags+xml"/>
  <Override PartName="/ppt/tags/tag2074.xml" ContentType="application/vnd.openxmlformats-officedocument.presentationml.tags+xml"/>
  <Override PartName="/ppt/tags/tag2075.xml" ContentType="application/vnd.openxmlformats-officedocument.presentationml.tags+xml"/>
  <Override PartName="/ppt/tags/tag2076.xml" ContentType="application/vnd.openxmlformats-officedocument.presentationml.tags+xml"/>
  <Override PartName="/ppt/tags/tag2077.xml" ContentType="application/vnd.openxmlformats-officedocument.presentationml.tags+xml"/>
  <Override PartName="/ppt/tags/tag2078.xml" ContentType="application/vnd.openxmlformats-officedocument.presentationml.tags+xml"/>
  <Override PartName="/ppt/tags/tag2079.xml" ContentType="application/vnd.openxmlformats-officedocument.presentationml.tags+xml"/>
  <Override PartName="/ppt/tags/tag2080.xml" ContentType="application/vnd.openxmlformats-officedocument.presentationml.tags+xml"/>
  <Override PartName="/ppt/tags/tag2081.xml" ContentType="application/vnd.openxmlformats-officedocument.presentationml.tags+xml"/>
  <Override PartName="/ppt/tags/tag2082.xml" ContentType="application/vnd.openxmlformats-officedocument.presentationml.tags+xml"/>
  <Override PartName="/ppt/tags/tag2083.xml" ContentType="application/vnd.openxmlformats-officedocument.presentationml.tags+xml"/>
  <Override PartName="/ppt/tags/tag2084.xml" ContentType="application/vnd.openxmlformats-officedocument.presentationml.tags+xml"/>
  <Override PartName="/ppt/tags/tag2085.xml" ContentType="application/vnd.openxmlformats-officedocument.presentationml.tags+xml"/>
  <Override PartName="/ppt/tags/tag2086.xml" ContentType="application/vnd.openxmlformats-officedocument.presentationml.tags+xml"/>
  <Override PartName="/ppt/tags/tag2087.xml" ContentType="application/vnd.openxmlformats-officedocument.presentationml.tags+xml"/>
  <Override PartName="/ppt/tags/tag2088.xml" ContentType="application/vnd.openxmlformats-officedocument.presentationml.tags+xml"/>
  <Override PartName="/ppt/tags/tag2089.xml" ContentType="application/vnd.openxmlformats-officedocument.presentationml.tags+xml"/>
  <Override PartName="/ppt/tags/tag2090.xml" ContentType="application/vnd.openxmlformats-officedocument.presentationml.tags+xml"/>
  <Override PartName="/ppt/tags/tag2091.xml" ContentType="application/vnd.openxmlformats-officedocument.presentationml.tags+xml"/>
  <Override PartName="/ppt/tags/tag2092.xml" ContentType="application/vnd.openxmlformats-officedocument.presentationml.tags+xml"/>
  <Override PartName="/ppt/tags/tag2093.xml" ContentType="application/vnd.openxmlformats-officedocument.presentationml.tags+xml"/>
  <Override PartName="/ppt/tags/tag2094.xml" ContentType="application/vnd.openxmlformats-officedocument.presentationml.tags+xml"/>
  <Override PartName="/ppt/tags/tag2095.xml" ContentType="application/vnd.openxmlformats-officedocument.presentationml.tags+xml"/>
  <Override PartName="/ppt/notesSlides/notesSlide22.xml" ContentType="application/vnd.openxmlformats-officedocument.presentationml.notesSlide+xml"/>
  <Override PartName="/ppt/tags/tag2096.xml" ContentType="application/vnd.openxmlformats-officedocument.presentationml.tags+xml"/>
  <Override PartName="/ppt/tags/tag2097.xml" ContentType="application/vnd.openxmlformats-officedocument.presentationml.tags+xml"/>
  <Override PartName="/ppt/tags/tag2098.xml" ContentType="application/vnd.openxmlformats-officedocument.presentationml.tags+xml"/>
  <Override PartName="/ppt/tags/tag2099.xml" ContentType="application/vnd.openxmlformats-officedocument.presentationml.tags+xml"/>
  <Override PartName="/ppt/notesSlides/notesSlide23.xml" ContentType="application/vnd.openxmlformats-officedocument.presentationml.notesSlide+xml"/>
  <Override PartName="/ppt/tags/tag2100.xml" ContentType="application/vnd.openxmlformats-officedocument.presentationml.tags+xml"/>
  <Override PartName="/ppt/tags/tag2101.xml" ContentType="application/vnd.openxmlformats-officedocument.presentationml.tags+xml"/>
  <Override PartName="/ppt/tags/tag2102.xml" ContentType="application/vnd.openxmlformats-officedocument.presentationml.tags+xml"/>
  <Override PartName="/ppt/tags/tag2103.xml" ContentType="application/vnd.openxmlformats-officedocument.presentationml.tags+xml"/>
  <Override PartName="/ppt/tags/tag2104.xml" ContentType="application/vnd.openxmlformats-officedocument.presentationml.tags+xml"/>
  <Override PartName="/ppt/tags/tag2105.xml" ContentType="application/vnd.openxmlformats-officedocument.presentationml.tags+xml"/>
  <Override PartName="/ppt/tags/tag2106.xml" ContentType="application/vnd.openxmlformats-officedocument.presentationml.tags+xml"/>
  <Override PartName="/ppt/tags/tag2107.xml" ContentType="application/vnd.openxmlformats-officedocument.presentationml.tags+xml"/>
  <Override PartName="/ppt/tags/tag2108.xml" ContentType="application/vnd.openxmlformats-officedocument.presentationml.tags+xml"/>
  <Override PartName="/ppt/tags/tag2109.xml" ContentType="application/vnd.openxmlformats-officedocument.presentationml.tags+xml"/>
  <Override PartName="/ppt/tags/tag2110.xml" ContentType="application/vnd.openxmlformats-officedocument.presentationml.tags+xml"/>
  <Override PartName="/ppt/tags/tag2111.xml" ContentType="application/vnd.openxmlformats-officedocument.presentationml.tags+xml"/>
  <Override PartName="/ppt/tags/tag2112.xml" ContentType="application/vnd.openxmlformats-officedocument.presentationml.tags+xml"/>
  <Override PartName="/ppt/tags/tag2113.xml" ContentType="application/vnd.openxmlformats-officedocument.presentationml.tags+xml"/>
  <Override PartName="/ppt/notesSlides/notesSlide24.xml" ContentType="application/vnd.openxmlformats-officedocument.presentationml.notesSlide+xml"/>
  <Override PartName="/ppt/tags/tag2114.xml" ContentType="application/vnd.openxmlformats-officedocument.presentationml.tags+xml"/>
  <Override PartName="/ppt/tags/tag2115.xml" ContentType="application/vnd.openxmlformats-officedocument.presentationml.tags+xml"/>
  <Override PartName="/ppt/tags/tag2116.xml" ContentType="application/vnd.openxmlformats-officedocument.presentationml.tags+xml"/>
  <Override PartName="/ppt/tags/tag2117.xml" ContentType="application/vnd.openxmlformats-officedocument.presentationml.tags+xml"/>
  <Override PartName="/ppt/notesSlides/notesSlide25.xml" ContentType="application/vnd.openxmlformats-officedocument.presentationml.notesSlide+xml"/>
  <Override PartName="/ppt/tags/tag2118.xml" ContentType="application/vnd.openxmlformats-officedocument.presentationml.tags+xml"/>
  <Override PartName="/ppt/tags/tag2119.xml" ContentType="application/vnd.openxmlformats-officedocument.presentationml.tags+xml"/>
  <Override PartName="/ppt/tags/tag2120.xml" ContentType="application/vnd.openxmlformats-officedocument.presentationml.tags+xml"/>
  <Override PartName="/ppt/tags/tag2121.xml" ContentType="application/vnd.openxmlformats-officedocument.presentationml.tags+xml"/>
  <Override PartName="/ppt/tags/tag2122.xml" ContentType="application/vnd.openxmlformats-officedocument.presentationml.tags+xml"/>
  <Override PartName="/ppt/tags/tag2123.xml" ContentType="application/vnd.openxmlformats-officedocument.presentationml.tags+xml"/>
  <Override PartName="/ppt/tags/tag2124.xml" ContentType="application/vnd.openxmlformats-officedocument.presentationml.tags+xml"/>
  <Override PartName="/ppt/notesSlides/notesSlide26.xml" ContentType="application/vnd.openxmlformats-officedocument.presentationml.notesSlide+xml"/>
  <Override PartName="/ppt/tags/tag2125.xml" ContentType="application/vnd.openxmlformats-officedocument.presentationml.tags+xml"/>
  <Override PartName="/ppt/tags/tag2126.xml" ContentType="application/vnd.openxmlformats-officedocument.presentationml.tags+xml"/>
  <Override PartName="/ppt/tags/tag2127.xml" ContentType="application/vnd.openxmlformats-officedocument.presentationml.tags+xml"/>
  <Override PartName="/ppt/tags/tag2128.xml" ContentType="application/vnd.openxmlformats-officedocument.presentationml.tags+xml"/>
  <Override PartName="/ppt/notesSlides/notesSlide27.xml" ContentType="application/vnd.openxmlformats-officedocument.presentationml.notesSlide+xml"/>
  <Override PartName="/ppt/tags/tag2129.xml" ContentType="application/vnd.openxmlformats-officedocument.presentationml.tags+xml"/>
  <Override PartName="/ppt/tags/tag2130.xml" ContentType="application/vnd.openxmlformats-officedocument.presentationml.tags+xml"/>
  <Override PartName="/ppt/tags/tag2131.xml" ContentType="application/vnd.openxmlformats-officedocument.presentationml.tags+xml"/>
  <Override PartName="/ppt/tags/tag2132.xml" ContentType="application/vnd.openxmlformats-officedocument.presentationml.tags+xml"/>
  <Override PartName="/ppt/tags/tag2133.xml" ContentType="application/vnd.openxmlformats-officedocument.presentationml.tags+xml"/>
  <Override PartName="/ppt/tags/tag2134.xml" ContentType="application/vnd.openxmlformats-officedocument.presentationml.tags+xml"/>
  <Override PartName="/ppt/tags/tag2135.xml" ContentType="application/vnd.openxmlformats-officedocument.presentationml.tags+xml"/>
  <Override PartName="/ppt/tags/tag2136.xml" ContentType="application/vnd.openxmlformats-officedocument.presentationml.tags+xml"/>
  <Override PartName="/ppt/tags/tag2137.xml" ContentType="application/vnd.openxmlformats-officedocument.presentationml.tags+xml"/>
  <Override PartName="/ppt/tags/tag2138.xml" ContentType="application/vnd.openxmlformats-officedocument.presentationml.tags+xml"/>
  <Override PartName="/ppt/tags/tag2139.xml" ContentType="application/vnd.openxmlformats-officedocument.presentationml.tags+xml"/>
  <Override PartName="/ppt/notesSlides/notesSlide28.xml" ContentType="application/vnd.openxmlformats-officedocument.presentationml.notesSlide+xml"/>
  <Override PartName="/ppt/tags/tag2140.xml" ContentType="application/vnd.openxmlformats-officedocument.presentationml.tags+xml"/>
  <Override PartName="/ppt/tags/tag2141.xml" ContentType="application/vnd.openxmlformats-officedocument.presentationml.tags+xml"/>
  <Override PartName="/ppt/tags/tag2142.xml" ContentType="application/vnd.openxmlformats-officedocument.presentationml.tags+xml"/>
  <Override PartName="/ppt/tags/tag2143.xml" ContentType="application/vnd.openxmlformats-officedocument.presentationml.tags+xml"/>
  <Override PartName="/ppt/tags/tag2144.xml" ContentType="application/vnd.openxmlformats-officedocument.presentationml.tags+xml"/>
  <Override PartName="/ppt/tags/tag2145.xml" ContentType="application/vnd.openxmlformats-officedocument.presentationml.tags+xml"/>
  <Override PartName="/ppt/tags/tag2146.xml" ContentType="application/vnd.openxmlformats-officedocument.presentationml.tags+xml"/>
  <Override PartName="/ppt/tags/tag2147.xml" ContentType="application/vnd.openxmlformats-officedocument.presentationml.tags+xml"/>
  <Override PartName="/ppt/tags/tag2148.xml" ContentType="application/vnd.openxmlformats-officedocument.presentationml.tags+xml"/>
  <Override PartName="/ppt/tags/tag2149.xml" ContentType="application/vnd.openxmlformats-officedocument.presentationml.tags+xml"/>
  <Override PartName="/ppt/tags/tag2150.xml" ContentType="application/vnd.openxmlformats-officedocument.presentationml.tags+xml"/>
  <Override PartName="/ppt/tags/tag2151.xml" ContentType="application/vnd.openxmlformats-officedocument.presentationml.tags+xml"/>
  <Override PartName="/ppt/tags/tag2152.xml" ContentType="application/vnd.openxmlformats-officedocument.presentationml.tags+xml"/>
  <Override PartName="/ppt/tags/tag2153.xml" ContentType="application/vnd.openxmlformats-officedocument.presentationml.tags+xml"/>
  <Override PartName="/ppt/tags/tag2154.xml" ContentType="application/vnd.openxmlformats-officedocument.presentationml.tags+xml"/>
  <Override PartName="/ppt/tags/tag2155.xml" ContentType="application/vnd.openxmlformats-officedocument.presentationml.tags+xml"/>
  <Override PartName="/ppt/tags/tag2156.xml" ContentType="application/vnd.openxmlformats-officedocument.presentationml.tags+xml"/>
  <Override PartName="/ppt/tags/tag2157.xml" ContentType="application/vnd.openxmlformats-officedocument.presentationml.tags+xml"/>
  <Override PartName="/ppt/notesSlides/notesSlide29.xml" ContentType="application/vnd.openxmlformats-officedocument.presentationml.notesSlide+xml"/>
  <Override PartName="/ppt/tags/tag2158.xml" ContentType="application/vnd.openxmlformats-officedocument.presentationml.tags+xml"/>
  <Override PartName="/ppt/tags/tag2159.xml" ContentType="application/vnd.openxmlformats-officedocument.presentationml.tags+xml"/>
  <Override PartName="/ppt/tags/tag2160.xml" ContentType="application/vnd.openxmlformats-officedocument.presentationml.tags+xml"/>
  <Override PartName="/ppt/tags/tag2161.xml" ContentType="application/vnd.openxmlformats-officedocument.presentationml.tags+xml"/>
  <Override PartName="/ppt/tags/tag2162.xml" ContentType="application/vnd.openxmlformats-officedocument.presentationml.tags+xml"/>
  <Override PartName="/ppt/tags/tag2163.xml" ContentType="application/vnd.openxmlformats-officedocument.presentationml.tags+xml"/>
  <Override PartName="/ppt/tags/tag2164.xml" ContentType="application/vnd.openxmlformats-officedocument.presentationml.tags+xml"/>
  <Override PartName="/ppt/tags/tag2165.xml" ContentType="application/vnd.openxmlformats-officedocument.presentationml.tags+xml"/>
  <Override PartName="/ppt/notesSlides/notesSlide30.xml" ContentType="application/vnd.openxmlformats-officedocument.presentationml.notesSlide+xml"/>
  <Override PartName="/ppt/tags/tag2166.xml" ContentType="application/vnd.openxmlformats-officedocument.presentationml.tags+xml"/>
  <Override PartName="/ppt/tags/tag2167.xml" ContentType="application/vnd.openxmlformats-officedocument.presentationml.tags+xml"/>
  <Override PartName="/ppt/tags/tag2168.xml" ContentType="application/vnd.openxmlformats-officedocument.presentationml.tags+xml"/>
  <Override PartName="/ppt/tags/tag2169.xml" ContentType="application/vnd.openxmlformats-officedocument.presentationml.tags+xml"/>
  <Override PartName="/ppt/tags/tag2170.xml" ContentType="application/vnd.openxmlformats-officedocument.presentationml.tags+xml"/>
  <Override PartName="/ppt/tags/tag2171.xml" ContentType="application/vnd.openxmlformats-officedocument.presentationml.tags+xml"/>
  <Override PartName="/ppt/tags/tag2172.xml" ContentType="application/vnd.openxmlformats-officedocument.presentationml.tags+xml"/>
  <Override PartName="/ppt/tags/tag2173.xml" ContentType="application/vnd.openxmlformats-officedocument.presentationml.tags+xml"/>
  <Override PartName="/ppt/tags/tag2174.xml" ContentType="application/vnd.openxmlformats-officedocument.presentationml.tags+xml"/>
  <Override PartName="/ppt/tags/tag2175.xml" ContentType="application/vnd.openxmlformats-officedocument.presentationml.tags+xml"/>
  <Override PartName="/ppt/tags/tag2176.xml" ContentType="application/vnd.openxmlformats-officedocument.presentationml.tags+xml"/>
  <Override PartName="/ppt/tags/tag2177.xml" ContentType="application/vnd.openxmlformats-officedocument.presentationml.tags+xml"/>
  <Override PartName="/ppt/tags/tag2178.xml" ContentType="application/vnd.openxmlformats-officedocument.presentationml.tags+xml"/>
  <Override PartName="/ppt/tags/tag2179.xml" ContentType="application/vnd.openxmlformats-officedocument.presentationml.tags+xml"/>
  <Override PartName="/ppt/tags/tag2180.xml" ContentType="application/vnd.openxmlformats-officedocument.presentationml.tags+xml"/>
  <Override PartName="/ppt/tags/tag2181.xml" ContentType="application/vnd.openxmlformats-officedocument.presentationml.tags+xml"/>
  <Override PartName="/ppt/tags/tag2182.xml" ContentType="application/vnd.openxmlformats-officedocument.presentationml.tags+xml"/>
  <Override PartName="/ppt/tags/tag2183.xml" ContentType="application/vnd.openxmlformats-officedocument.presentationml.tags+xml"/>
  <Override PartName="/ppt/notesSlides/notesSlide31.xml" ContentType="application/vnd.openxmlformats-officedocument.presentationml.notesSlide+xml"/>
  <Override PartName="/ppt/tags/tag2184.xml" ContentType="application/vnd.openxmlformats-officedocument.presentationml.tags+xml"/>
  <Override PartName="/ppt/tags/tag2185.xml" ContentType="application/vnd.openxmlformats-officedocument.presentationml.tags+xml"/>
  <Override PartName="/ppt/tags/tag2186.xml" ContentType="application/vnd.openxmlformats-officedocument.presentationml.tags+xml"/>
  <Override PartName="/ppt/notesSlides/notesSlide32.xml" ContentType="application/vnd.openxmlformats-officedocument.presentationml.notesSlide+xml"/>
  <Override PartName="/ppt/tags/tag2187.xml" ContentType="application/vnd.openxmlformats-officedocument.presentationml.tags+xml"/>
  <Override PartName="/ppt/tags/tag2188.xml" ContentType="application/vnd.openxmlformats-officedocument.presentationml.tags+xml"/>
  <Override PartName="/ppt/tags/tag2189.xml" ContentType="application/vnd.openxmlformats-officedocument.presentationml.tags+xml"/>
  <Override PartName="/ppt/tags/tag2190.xml" ContentType="application/vnd.openxmlformats-officedocument.presentationml.tags+xml"/>
  <Override PartName="/ppt/tags/tag2191.xml" ContentType="application/vnd.openxmlformats-officedocument.presentationml.tags+xml"/>
  <Override PartName="/ppt/tags/tag2192.xml" ContentType="application/vnd.openxmlformats-officedocument.presentationml.tags+xml"/>
  <Override PartName="/ppt/tags/tag2193.xml" ContentType="application/vnd.openxmlformats-officedocument.presentationml.tags+xml"/>
  <Override PartName="/ppt/tags/tag2194.xml" ContentType="application/vnd.openxmlformats-officedocument.presentationml.tags+xml"/>
  <Override PartName="/ppt/notesSlides/notesSlide33.xml" ContentType="application/vnd.openxmlformats-officedocument.presentationml.notesSlide+xml"/>
  <Override PartName="/ppt/tags/tag2195.xml" ContentType="application/vnd.openxmlformats-officedocument.presentationml.tags+xml"/>
  <Override PartName="/ppt/tags/tag2196.xml" ContentType="application/vnd.openxmlformats-officedocument.presentationml.tags+xml"/>
  <Override PartName="/ppt/notesSlides/notesSlide34.xml" ContentType="application/vnd.openxmlformats-officedocument.presentationml.notesSlide+xml"/>
  <Override PartName="/ppt/tags/tag2197.xml" ContentType="application/vnd.openxmlformats-officedocument.presentationml.tags+xml"/>
  <Override PartName="/ppt/tags/tag2198.xml" ContentType="application/vnd.openxmlformats-officedocument.presentationml.tags+xml"/>
  <Override PartName="/ppt/tags/tag2199.xml" ContentType="application/vnd.openxmlformats-officedocument.presentationml.tags+xml"/>
  <Override PartName="/ppt/charts/chart1.xml" ContentType="application/vnd.openxmlformats-officedocument.drawingml.chart+xml"/>
  <Override PartName="/ppt/tags/tag2200.xml" ContentType="application/vnd.openxmlformats-officedocument.presentationml.tags+xml"/>
  <Override PartName="/ppt/tags/tag2201.xml" ContentType="application/vnd.openxmlformats-officedocument.presentationml.tags+xml"/>
  <Override PartName="/ppt/tags/tag2202.xml" ContentType="application/vnd.openxmlformats-officedocument.presentationml.tags+xml"/>
  <Override PartName="/ppt/tags/tag2203.xml" ContentType="application/vnd.openxmlformats-officedocument.presentationml.tags+xml"/>
  <Override PartName="/ppt/tags/tag2204.xml" ContentType="application/vnd.openxmlformats-officedocument.presentationml.tags+xml"/>
  <Override PartName="/ppt/tags/tag2205.xml" ContentType="application/vnd.openxmlformats-officedocument.presentationml.tags+xml"/>
  <Override PartName="/ppt/tags/tag2206.xml" ContentType="application/vnd.openxmlformats-officedocument.presentationml.tags+xml"/>
  <Override PartName="/ppt/tags/tag2207.xml" ContentType="application/vnd.openxmlformats-officedocument.presentationml.tags+xml"/>
  <Override PartName="/ppt/tags/tag2208.xml" ContentType="application/vnd.openxmlformats-officedocument.presentationml.tags+xml"/>
  <Override PartName="/ppt/tags/tag2209.xml" ContentType="application/vnd.openxmlformats-officedocument.presentationml.tags+xml"/>
  <Override PartName="/ppt/tags/tag2210.xml" ContentType="application/vnd.openxmlformats-officedocument.presentationml.tags+xml"/>
  <Override PartName="/ppt/tags/tag2211.xml" ContentType="application/vnd.openxmlformats-officedocument.presentationml.tags+xml"/>
  <Override PartName="/ppt/tags/tag2212.xml" ContentType="application/vnd.openxmlformats-officedocument.presentationml.tags+xml"/>
  <Override PartName="/ppt/tags/tag2213.xml" ContentType="application/vnd.openxmlformats-officedocument.presentationml.tags+xml"/>
  <Override PartName="/ppt/tags/tag2214.xml" ContentType="application/vnd.openxmlformats-officedocument.presentationml.tags+xml"/>
  <Override PartName="/ppt/tags/tag2215.xml" ContentType="application/vnd.openxmlformats-officedocument.presentationml.tags+xml"/>
  <Override PartName="/ppt/tags/tag2216.xml" ContentType="application/vnd.openxmlformats-officedocument.presentationml.tags+xml"/>
  <Override PartName="/ppt/tags/tag2217.xml" ContentType="application/vnd.openxmlformats-officedocument.presentationml.tags+xml"/>
  <Override PartName="/ppt/tags/tag2218.xml" ContentType="application/vnd.openxmlformats-officedocument.presentationml.tags+xml"/>
  <Override PartName="/ppt/tags/tag2219.xml" ContentType="application/vnd.openxmlformats-officedocument.presentationml.tags+xml"/>
  <Override PartName="/ppt/tags/tag2220.xml" ContentType="application/vnd.openxmlformats-officedocument.presentationml.tags+xml"/>
  <Override PartName="/ppt/tags/tag2221.xml" ContentType="application/vnd.openxmlformats-officedocument.presentationml.tags+xml"/>
  <Override PartName="/ppt/tags/tag2222.xml" ContentType="application/vnd.openxmlformats-officedocument.presentationml.tags+xml"/>
  <Override PartName="/ppt/tags/tag2223.xml" ContentType="application/vnd.openxmlformats-officedocument.presentationml.tags+xml"/>
  <Override PartName="/ppt/tags/tag2224.xml" ContentType="application/vnd.openxmlformats-officedocument.presentationml.tags+xml"/>
  <Override PartName="/ppt/tags/tag2225.xml" ContentType="application/vnd.openxmlformats-officedocument.presentationml.tags+xml"/>
  <Override PartName="/ppt/tags/tag2226.xml" ContentType="application/vnd.openxmlformats-officedocument.presentationml.tags+xml"/>
  <Override PartName="/ppt/tags/tag2227.xml" ContentType="application/vnd.openxmlformats-officedocument.presentationml.tags+xml"/>
  <Override PartName="/ppt/tags/tag2228.xml" ContentType="application/vnd.openxmlformats-officedocument.presentationml.tags+xml"/>
  <Override PartName="/ppt/tags/tag2229.xml" ContentType="application/vnd.openxmlformats-officedocument.presentationml.tags+xml"/>
  <Override PartName="/ppt/tags/tag2230.xml" ContentType="application/vnd.openxmlformats-officedocument.presentationml.tags+xml"/>
  <Override PartName="/ppt/tags/tag2231.xml" ContentType="application/vnd.openxmlformats-officedocument.presentationml.tags+xml"/>
  <Override PartName="/ppt/tags/tag2232.xml" ContentType="application/vnd.openxmlformats-officedocument.presentationml.tags+xml"/>
  <Override PartName="/ppt/tags/tag2233.xml" ContentType="application/vnd.openxmlformats-officedocument.presentationml.tags+xml"/>
  <Override PartName="/ppt/tags/tag2234.xml" ContentType="application/vnd.openxmlformats-officedocument.presentationml.tags+xml"/>
  <Override PartName="/ppt/tags/tag2235.xml" ContentType="application/vnd.openxmlformats-officedocument.presentationml.tags+xml"/>
  <Override PartName="/ppt/tags/tag2236.xml" ContentType="application/vnd.openxmlformats-officedocument.presentationml.tags+xml"/>
  <Override PartName="/ppt/tags/tag2237.xml" ContentType="application/vnd.openxmlformats-officedocument.presentationml.tags+xml"/>
  <Override PartName="/ppt/tags/tag2238.xml" ContentType="application/vnd.openxmlformats-officedocument.presentationml.tags+xml"/>
  <Override PartName="/ppt/tags/tag2239.xml" ContentType="application/vnd.openxmlformats-officedocument.presentationml.tags+xml"/>
  <Override PartName="/ppt/tags/tag2240.xml" ContentType="application/vnd.openxmlformats-officedocument.presentationml.tags+xml"/>
  <Override PartName="/ppt/tags/tag2241.xml" ContentType="application/vnd.openxmlformats-officedocument.presentationml.tags+xml"/>
  <Override PartName="/ppt/tags/tag2242.xml" ContentType="application/vnd.openxmlformats-officedocument.presentationml.tags+xml"/>
  <Override PartName="/ppt/tags/tag2243.xml" ContentType="application/vnd.openxmlformats-officedocument.presentationml.tags+xml"/>
  <Override PartName="/ppt/tags/tag2244.xml" ContentType="application/vnd.openxmlformats-officedocument.presentationml.tags+xml"/>
  <Override PartName="/ppt/tags/tag2245.xml" ContentType="application/vnd.openxmlformats-officedocument.presentationml.tags+xml"/>
  <Override PartName="/ppt/tags/tag2246.xml" ContentType="application/vnd.openxmlformats-officedocument.presentationml.tags+xml"/>
  <Override PartName="/ppt/tags/tag2247.xml" ContentType="application/vnd.openxmlformats-officedocument.presentationml.tags+xml"/>
  <Override PartName="/ppt/tags/tag2248.xml" ContentType="application/vnd.openxmlformats-officedocument.presentationml.tags+xml"/>
  <Override PartName="/ppt/tags/tag2249.xml" ContentType="application/vnd.openxmlformats-officedocument.presentationml.tags+xml"/>
  <Override PartName="/ppt/tags/tag2250.xml" ContentType="application/vnd.openxmlformats-officedocument.presentationml.tags+xml"/>
  <Override PartName="/ppt/tags/tag2251.xml" ContentType="application/vnd.openxmlformats-officedocument.presentationml.tags+xml"/>
  <Override PartName="/ppt/tags/tag2252.xml" ContentType="application/vnd.openxmlformats-officedocument.presentationml.tags+xml"/>
  <Override PartName="/ppt/tags/tag2253.xml" ContentType="application/vnd.openxmlformats-officedocument.presentationml.tags+xml"/>
  <Override PartName="/ppt/tags/tag2254.xml" ContentType="application/vnd.openxmlformats-officedocument.presentationml.tags+xml"/>
  <Override PartName="/ppt/tags/tag2255.xml" ContentType="application/vnd.openxmlformats-officedocument.presentationml.tags+xml"/>
  <Override PartName="/ppt/tags/tag2256.xml" ContentType="application/vnd.openxmlformats-officedocument.presentationml.tags+xml"/>
  <Override PartName="/ppt/tags/tag2257.xml" ContentType="application/vnd.openxmlformats-officedocument.presentationml.tags+xml"/>
  <Override PartName="/ppt/tags/tag2258.xml" ContentType="application/vnd.openxmlformats-officedocument.presentationml.tags+xml"/>
  <Override PartName="/ppt/tags/tag2259.xml" ContentType="application/vnd.openxmlformats-officedocument.presentationml.tags+xml"/>
  <Override PartName="/ppt/tags/tag2260.xml" ContentType="application/vnd.openxmlformats-officedocument.presentationml.tags+xml"/>
  <Override PartName="/ppt/tags/tag2261.xml" ContentType="application/vnd.openxmlformats-officedocument.presentationml.tags+xml"/>
  <Override PartName="/ppt/tags/tag2262.xml" ContentType="application/vnd.openxmlformats-officedocument.presentationml.tags+xml"/>
  <Override PartName="/ppt/tags/tag2263.xml" ContentType="application/vnd.openxmlformats-officedocument.presentationml.tags+xml"/>
  <Override PartName="/ppt/tags/tag2264.xml" ContentType="application/vnd.openxmlformats-officedocument.presentationml.tags+xml"/>
  <Override PartName="/ppt/tags/tag2265.xml" ContentType="application/vnd.openxmlformats-officedocument.presentationml.tags+xml"/>
  <Override PartName="/ppt/tags/tag2266.xml" ContentType="application/vnd.openxmlformats-officedocument.presentationml.tags+xml"/>
  <Override PartName="/ppt/tags/tag2267.xml" ContentType="application/vnd.openxmlformats-officedocument.presentationml.tags+xml"/>
  <Override PartName="/ppt/tags/tag2268.xml" ContentType="application/vnd.openxmlformats-officedocument.presentationml.tags+xml"/>
  <Override PartName="/ppt/tags/tag2269.xml" ContentType="application/vnd.openxmlformats-officedocument.presentationml.tags+xml"/>
  <Override PartName="/ppt/tags/tag2270.xml" ContentType="application/vnd.openxmlformats-officedocument.presentationml.tags+xml"/>
  <Override PartName="/ppt/tags/tag2271.xml" ContentType="application/vnd.openxmlformats-officedocument.presentationml.tags+xml"/>
  <Override PartName="/ppt/tags/tag2272.xml" ContentType="application/vnd.openxmlformats-officedocument.presentationml.tags+xml"/>
  <Override PartName="/ppt/tags/tag2273.xml" ContentType="application/vnd.openxmlformats-officedocument.presentationml.tags+xml"/>
  <Override PartName="/ppt/tags/tag2274.xml" ContentType="application/vnd.openxmlformats-officedocument.presentationml.tags+xml"/>
  <Override PartName="/ppt/tags/tag2275.xml" ContentType="application/vnd.openxmlformats-officedocument.presentationml.tags+xml"/>
  <Override PartName="/ppt/tags/tag2276.xml" ContentType="application/vnd.openxmlformats-officedocument.presentationml.tags+xml"/>
  <Override PartName="/ppt/tags/tag2277.xml" ContentType="application/vnd.openxmlformats-officedocument.presentationml.tags+xml"/>
  <Override PartName="/ppt/tags/tag2278.xml" ContentType="application/vnd.openxmlformats-officedocument.presentationml.tags+xml"/>
  <Override PartName="/ppt/tags/tag2279.xml" ContentType="application/vnd.openxmlformats-officedocument.presentationml.tags+xml"/>
  <Override PartName="/ppt/tags/tag2280.xml" ContentType="application/vnd.openxmlformats-officedocument.presentationml.tags+xml"/>
  <Override PartName="/ppt/tags/tag2281.xml" ContentType="application/vnd.openxmlformats-officedocument.presentationml.tags+xml"/>
  <Override PartName="/ppt/tags/tag2282.xml" ContentType="application/vnd.openxmlformats-officedocument.presentationml.tags+xml"/>
  <Override PartName="/ppt/tags/tag2283.xml" ContentType="application/vnd.openxmlformats-officedocument.presentationml.tags+xml"/>
  <Override PartName="/ppt/tags/tag2284.xml" ContentType="application/vnd.openxmlformats-officedocument.presentationml.tags+xml"/>
  <Override PartName="/ppt/tags/tag2285.xml" ContentType="application/vnd.openxmlformats-officedocument.presentationml.tags+xml"/>
  <Override PartName="/ppt/tags/tag2286.xml" ContentType="application/vnd.openxmlformats-officedocument.presentationml.tags+xml"/>
  <Override PartName="/ppt/tags/tag2287.xml" ContentType="application/vnd.openxmlformats-officedocument.presentationml.tags+xml"/>
  <Override PartName="/ppt/tags/tag2288.xml" ContentType="application/vnd.openxmlformats-officedocument.presentationml.tags+xml"/>
  <Override PartName="/ppt/tags/tag2289.xml" ContentType="application/vnd.openxmlformats-officedocument.presentationml.tags+xml"/>
  <Override PartName="/ppt/tags/tag2290.xml" ContentType="application/vnd.openxmlformats-officedocument.presentationml.tags+xml"/>
  <Override PartName="/ppt/tags/tag2291.xml" ContentType="application/vnd.openxmlformats-officedocument.presentationml.tags+xml"/>
  <Override PartName="/ppt/tags/tag2292.xml" ContentType="application/vnd.openxmlformats-officedocument.presentationml.tags+xml"/>
  <Override PartName="/ppt/tags/tag2293.xml" ContentType="application/vnd.openxmlformats-officedocument.presentationml.tags+xml"/>
  <Override PartName="/ppt/tags/tag2294.xml" ContentType="application/vnd.openxmlformats-officedocument.presentationml.tags+xml"/>
  <Override PartName="/ppt/tags/tag2295.xml" ContentType="application/vnd.openxmlformats-officedocument.presentationml.tags+xml"/>
  <Override PartName="/ppt/tags/tag2296.xml" ContentType="application/vnd.openxmlformats-officedocument.presentationml.tags+xml"/>
  <Override PartName="/ppt/tags/tag2297.xml" ContentType="application/vnd.openxmlformats-officedocument.presentationml.tags+xml"/>
  <Override PartName="/ppt/tags/tag2298.xml" ContentType="application/vnd.openxmlformats-officedocument.presentationml.tags+xml"/>
  <Override PartName="/ppt/tags/tag2299.xml" ContentType="application/vnd.openxmlformats-officedocument.presentationml.tags+xml"/>
  <Override PartName="/ppt/tags/tag2300.xml" ContentType="application/vnd.openxmlformats-officedocument.presentationml.tags+xml"/>
  <Override PartName="/ppt/tags/tag2301.xml" ContentType="application/vnd.openxmlformats-officedocument.presentationml.tags+xml"/>
  <Override PartName="/ppt/tags/tag2302.xml" ContentType="application/vnd.openxmlformats-officedocument.presentationml.tags+xml"/>
  <Override PartName="/ppt/tags/tag2303.xml" ContentType="application/vnd.openxmlformats-officedocument.presentationml.tags+xml"/>
  <Override PartName="/ppt/tags/tag2304.xml" ContentType="application/vnd.openxmlformats-officedocument.presentationml.tags+xml"/>
  <Override PartName="/ppt/tags/tag2305.xml" ContentType="application/vnd.openxmlformats-officedocument.presentationml.tags+xml"/>
  <Override PartName="/ppt/tags/tag2306.xml" ContentType="application/vnd.openxmlformats-officedocument.presentationml.tags+xml"/>
  <Override PartName="/ppt/tags/tag2307.xml" ContentType="application/vnd.openxmlformats-officedocument.presentationml.tags+xml"/>
  <Override PartName="/ppt/tags/tag2308.xml" ContentType="application/vnd.openxmlformats-officedocument.presentationml.tags+xml"/>
  <Override PartName="/ppt/tags/tag2309.xml" ContentType="application/vnd.openxmlformats-officedocument.presentationml.tags+xml"/>
  <Override PartName="/ppt/tags/tag2310.xml" ContentType="application/vnd.openxmlformats-officedocument.presentationml.tags+xml"/>
  <Override PartName="/ppt/tags/tag2311.xml" ContentType="application/vnd.openxmlformats-officedocument.presentationml.tags+xml"/>
  <Override PartName="/ppt/tags/tag2312.xml" ContentType="application/vnd.openxmlformats-officedocument.presentationml.tags+xml"/>
  <Override PartName="/ppt/tags/tag2313.xml" ContentType="application/vnd.openxmlformats-officedocument.presentationml.tags+xml"/>
  <Override PartName="/ppt/tags/tag2314.xml" ContentType="application/vnd.openxmlformats-officedocument.presentationml.tags+xml"/>
  <Override PartName="/ppt/tags/tag2315.xml" ContentType="application/vnd.openxmlformats-officedocument.presentationml.tags+xml"/>
  <Override PartName="/ppt/tags/tag2316.xml" ContentType="application/vnd.openxmlformats-officedocument.presentationml.tags+xml"/>
  <Override PartName="/ppt/tags/tag2317.xml" ContentType="application/vnd.openxmlformats-officedocument.presentationml.tags+xml"/>
  <Override PartName="/ppt/tags/tag2318.xml" ContentType="application/vnd.openxmlformats-officedocument.presentationml.tags+xml"/>
  <Override PartName="/ppt/tags/tag2319.xml" ContentType="application/vnd.openxmlformats-officedocument.presentationml.tags+xml"/>
  <Override PartName="/ppt/tags/tag2320.xml" ContentType="application/vnd.openxmlformats-officedocument.presentationml.tags+xml"/>
  <Override PartName="/ppt/tags/tag2321.xml" ContentType="application/vnd.openxmlformats-officedocument.presentationml.tags+xml"/>
  <Override PartName="/ppt/tags/tag2322.xml" ContentType="application/vnd.openxmlformats-officedocument.presentationml.tags+xml"/>
  <Override PartName="/ppt/tags/tag2323.xml" ContentType="application/vnd.openxmlformats-officedocument.presentationml.tags+xml"/>
  <Override PartName="/ppt/tags/tag2324.xml" ContentType="application/vnd.openxmlformats-officedocument.presentationml.tags+xml"/>
  <Override PartName="/ppt/tags/tag2325.xml" ContentType="application/vnd.openxmlformats-officedocument.presentationml.tags+xml"/>
  <Override PartName="/ppt/tags/tag2326.xml" ContentType="application/vnd.openxmlformats-officedocument.presentationml.tags+xml"/>
  <Override PartName="/ppt/tags/tag2327.xml" ContentType="application/vnd.openxmlformats-officedocument.presentationml.tags+xml"/>
  <Override PartName="/ppt/tags/tag2328.xml" ContentType="application/vnd.openxmlformats-officedocument.presentationml.tags+xml"/>
  <Override PartName="/ppt/tags/tag2329.xml" ContentType="application/vnd.openxmlformats-officedocument.presentationml.tags+xml"/>
  <Override PartName="/ppt/tags/tag2330.xml" ContentType="application/vnd.openxmlformats-officedocument.presentationml.tags+xml"/>
  <Override PartName="/ppt/tags/tag2331.xml" ContentType="application/vnd.openxmlformats-officedocument.presentationml.tags+xml"/>
  <Override PartName="/ppt/tags/tag2332.xml" ContentType="application/vnd.openxmlformats-officedocument.presentationml.tags+xml"/>
  <Override PartName="/ppt/tags/tag2333.xml" ContentType="application/vnd.openxmlformats-officedocument.presentationml.tags+xml"/>
  <Override PartName="/ppt/tags/tag2334.xml" ContentType="application/vnd.openxmlformats-officedocument.presentationml.tags+xml"/>
  <Override PartName="/ppt/tags/tag2335.xml" ContentType="application/vnd.openxmlformats-officedocument.presentationml.tags+xml"/>
  <Override PartName="/ppt/tags/tag2336.xml" ContentType="application/vnd.openxmlformats-officedocument.presentationml.tags+xml"/>
  <Override PartName="/ppt/tags/tag2337.xml" ContentType="application/vnd.openxmlformats-officedocument.presentationml.tags+xml"/>
  <Override PartName="/ppt/tags/tag2338.xml" ContentType="application/vnd.openxmlformats-officedocument.presentationml.tags+xml"/>
  <Override PartName="/ppt/tags/tag2339.xml" ContentType="application/vnd.openxmlformats-officedocument.presentationml.tags+xml"/>
  <Override PartName="/ppt/tags/tag2340.xml" ContentType="application/vnd.openxmlformats-officedocument.presentationml.tags+xml"/>
  <Override PartName="/ppt/tags/tag2341.xml" ContentType="application/vnd.openxmlformats-officedocument.presentationml.tags+xml"/>
  <Override PartName="/ppt/tags/tag2342.xml" ContentType="application/vnd.openxmlformats-officedocument.presentationml.tags+xml"/>
  <Override PartName="/ppt/tags/tag2343.xml" ContentType="application/vnd.openxmlformats-officedocument.presentationml.tags+xml"/>
  <Override PartName="/ppt/tags/tag2344.xml" ContentType="application/vnd.openxmlformats-officedocument.presentationml.tags+xml"/>
  <Override PartName="/ppt/tags/tag2345.xml" ContentType="application/vnd.openxmlformats-officedocument.presentationml.tags+xml"/>
  <Override PartName="/ppt/tags/tag2346.xml" ContentType="application/vnd.openxmlformats-officedocument.presentationml.tags+xml"/>
  <Override PartName="/ppt/tags/tag2347.xml" ContentType="application/vnd.openxmlformats-officedocument.presentationml.tags+xml"/>
  <Override PartName="/ppt/tags/tag2348.xml" ContentType="application/vnd.openxmlformats-officedocument.presentationml.tags+xml"/>
  <Override PartName="/ppt/tags/tag2349.xml" ContentType="application/vnd.openxmlformats-officedocument.presentationml.tags+xml"/>
  <Override PartName="/ppt/tags/tag2350.xml" ContentType="application/vnd.openxmlformats-officedocument.presentationml.tags+xml"/>
  <Override PartName="/ppt/tags/tag2351.xml" ContentType="application/vnd.openxmlformats-officedocument.presentationml.tags+xml"/>
  <Override PartName="/ppt/tags/tag2352.xml" ContentType="application/vnd.openxmlformats-officedocument.presentationml.tags+xml"/>
  <Override PartName="/ppt/tags/tag2353.xml" ContentType="application/vnd.openxmlformats-officedocument.presentationml.tags+xml"/>
  <Override PartName="/ppt/tags/tag2354.xml" ContentType="application/vnd.openxmlformats-officedocument.presentationml.tags+xml"/>
  <Override PartName="/ppt/tags/tag2355.xml" ContentType="application/vnd.openxmlformats-officedocument.presentationml.tags+xml"/>
  <Override PartName="/ppt/tags/tag2356.xml" ContentType="application/vnd.openxmlformats-officedocument.presentationml.tags+xml"/>
  <Override PartName="/ppt/tags/tag2357.xml" ContentType="application/vnd.openxmlformats-officedocument.presentationml.tags+xml"/>
  <Override PartName="/ppt/tags/tag2358.xml" ContentType="application/vnd.openxmlformats-officedocument.presentationml.tags+xml"/>
  <Override PartName="/ppt/tags/tag2359.xml" ContentType="application/vnd.openxmlformats-officedocument.presentationml.tags+xml"/>
  <Override PartName="/ppt/tags/tag2360.xml" ContentType="application/vnd.openxmlformats-officedocument.presentationml.tags+xml"/>
  <Override PartName="/ppt/tags/tag2361.xml" ContentType="application/vnd.openxmlformats-officedocument.presentationml.tags+xml"/>
  <Override PartName="/ppt/tags/tag2362.xml" ContentType="application/vnd.openxmlformats-officedocument.presentationml.tags+xml"/>
  <Override PartName="/ppt/tags/tag2363.xml" ContentType="application/vnd.openxmlformats-officedocument.presentationml.tags+xml"/>
  <Override PartName="/ppt/tags/tag2364.xml" ContentType="application/vnd.openxmlformats-officedocument.presentationml.tags+xml"/>
  <Override PartName="/ppt/tags/tag2365.xml" ContentType="application/vnd.openxmlformats-officedocument.presentationml.tags+xml"/>
  <Override PartName="/ppt/tags/tag2366.xml" ContentType="application/vnd.openxmlformats-officedocument.presentationml.tags+xml"/>
  <Override PartName="/ppt/tags/tag2367.xml" ContentType="application/vnd.openxmlformats-officedocument.presentationml.tags+xml"/>
  <Override PartName="/ppt/tags/tag2368.xml" ContentType="application/vnd.openxmlformats-officedocument.presentationml.tags+xml"/>
  <Override PartName="/ppt/tags/tag2369.xml" ContentType="application/vnd.openxmlformats-officedocument.presentationml.tags+xml"/>
  <Override PartName="/ppt/tags/tag2370.xml" ContentType="application/vnd.openxmlformats-officedocument.presentationml.tags+xml"/>
  <Override PartName="/ppt/tags/tag2371.xml" ContentType="application/vnd.openxmlformats-officedocument.presentationml.tags+xml"/>
  <Override PartName="/ppt/tags/tag2372.xml" ContentType="application/vnd.openxmlformats-officedocument.presentationml.tags+xml"/>
  <Override PartName="/ppt/tags/tag2373.xml" ContentType="application/vnd.openxmlformats-officedocument.presentationml.tags+xml"/>
  <Override PartName="/ppt/tags/tag2374.xml" ContentType="application/vnd.openxmlformats-officedocument.presentationml.tags+xml"/>
  <Override PartName="/ppt/tags/tag2375.xml" ContentType="application/vnd.openxmlformats-officedocument.presentationml.tags+xml"/>
  <Override PartName="/ppt/tags/tag2376.xml" ContentType="application/vnd.openxmlformats-officedocument.presentationml.tags+xml"/>
  <Override PartName="/ppt/tags/tag2377.xml" ContentType="application/vnd.openxmlformats-officedocument.presentationml.tags+xml"/>
  <Override PartName="/ppt/tags/tag2378.xml" ContentType="application/vnd.openxmlformats-officedocument.presentationml.tags+xml"/>
  <Override PartName="/ppt/tags/tag2379.xml" ContentType="application/vnd.openxmlformats-officedocument.presentationml.tags+xml"/>
  <Override PartName="/ppt/tags/tag2380.xml" ContentType="application/vnd.openxmlformats-officedocument.presentationml.tags+xml"/>
  <Override PartName="/ppt/tags/tag2381.xml" ContentType="application/vnd.openxmlformats-officedocument.presentationml.tags+xml"/>
  <Override PartName="/ppt/tags/tag2382.xml" ContentType="application/vnd.openxmlformats-officedocument.presentationml.tags+xml"/>
  <Override PartName="/ppt/tags/tag2383.xml" ContentType="application/vnd.openxmlformats-officedocument.presentationml.tags+xml"/>
  <Override PartName="/ppt/tags/tag2384.xml" ContentType="application/vnd.openxmlformats-officedocument.presentationml.tags+xml"/>
  <Override PartName="/ppt/tags/tag2385.xml" ContentType="application/vnd.openxmlformats-officedocument.presentationml.tags+xml"/>
  <Override PartName="/ppt/tags/tag2386.xml" ContentType="application/vnd.openxmlformats-officedocument.presentationml.tags+xml"/>
  <Override PartName="/ppt/tags/tag2387.xml" ContentType="application/vnd.openxmlformats-officedocument.presentationml.tags+xml"/>
  <Override PartName="/ppt/tags/tag2388.xml" ContentType="application/vnd.openxmlformats-officedocument.presentationml.tags+xml"/>
  <Override PartName="/ppt/tags/tag2389.xml" ContentType="application/vnd.openxmlformats-officedocument.presentationml.tags+xml"/>
  <Override PartName="/ppt/tags/tag2390.xml" ContentType="application/vnd.openxmlformats-officedocument.presentationml.tags+xml"/>
  <Override PartName="/ppt/tags/tag2391.xml" ContentType="application/vnd.openxmlformats-officedocument.presentationml.tags+xml"/>
  <Override PartName="/ppt/tags/tag2392.xml" ContentType="application/vnd.openxmlformats-officedocument.presentationml.tags+xml"/>
  <Override PartName="/ppt/tags/tag2393.xml" ContentType="application/vnd.openxmlformats-officedocument.presentationml.tags+xml"/>
  <Override PartName="/ppt/tags/tag2394.xml" ContentType="application/vnd.openxmlformats-officedocument.presentationml.tags+xml"/>
  <Override PartName="/ppt/tags/tag2395.xml" ContentType="application/vnd.openxmlformats-officedocument.presentationml.tags+xml"/>
  <Override PartName="/ppt/tags/tag2396.xml" ContentType="application/vnd.openxmlformats-officedocument.presentationml.tags+xml"/>
  <Override PartName="/ppt/tags/tag2397.xml" ContentType="application/vnd.openxmlformats-officedocument.presentationml.tags+xml"/>
  <Override PartName="/ppt/tags/tag2398.xml" ContentType="application/vnd.openxmlformats-officedocument.presentationml.tags+xml"/>
  <Override PartName="/ppt/tags/tag2399.xml" ContentType="application/vnd.openxmlformats-officedocument.presentationml.tags+xml"/>
  <Override PartName="/ppt/tags/tag2400.xml" ContentType="application/vnd.openxmlformats-officedocument.presentationml.tags+xml"/>
  <Override PartName="/ppt/tags/tag2401.xml" ContentType="application/vnd.openxmlformats-officedocument.presentationml.tags+xml"/>
  <Override PartName="/ppt/tags/tag2402.xml" ContentType="application/vnd.openxmlformats-officedocument.presentationml.tags+xml"/>
  <Override PartName="/ppt/tags/tag2403.xml" ContentType="application/vnd.openxmlformats-officedocument.presentationml.tags+xml"/>
  <Override PartName="/ppt/tags/tag2404.xml" ContentType="application/vnd.openxmlformats-officedocument.presentationml.tags+xml"/>
  <Override PartName="/ppt/tags/tag2405.xml" ContentType="application/vnd.openxmlformats-officedocument.presentationml.tags+xml"/>
  <Override PartName="/ppt/tags/tag2406.xml" ContentType="application/vnd.openxmlformats-officedocument.presentationml.tags+xml"/>
  <Override PartName="/ppt/tags/tag2407.xml" ContentType="application/vnd.openxmlformats-officedocument.presentationml.tags+xml"/>
  <Override PartName="/ppt/tags/tag2408.xml" ContentType="application/vnd.openxmlformats-officedocument.presentationml.tags+xml"/>
  <Override PartName="/ppt/tags/tag2409.xml" ContentType="application/vnd.openxmlformats-officedocument.presentationml.tags+xml"/>
  <Override PartName="/ppt/tags/tag2410.xml" ContentType="application/vnd.openxmlformats-officedocument.presentationml.tags+xml"/>
  <Override PartName="/ppt/tags/tag2411.xml" ContentType="application/vnd.openxmlformats-officedocument.presentationml.tags+xml"/>
  <Override PartName="/ppt/tags/tag2412.xml" ContentType="application/vnd.openxmlformats-officedocument.presentationml.tags+xml"/>
  <Override PartName="/ppt/tags/tag2413.xml" ContentType="application/vnd.openxmlformats-officedocument.presentationml.tags+xml"/>
  <Override PartName="/ppt/tags/tag2414.xml" ContentType="application/vnd.openxmlformats-officedocument.presentationml.tags+xml"/>
  <Override PartName="/ppt/tags/tag2415.xml" ContentType="application/vnd.openxmlformats-officedocument.presentationml.tags+xml"/>
  <Override PartName="/ppt/tags/tag2416.xml" ContentType="application/vnd.openxmlformats-officedocument.presentationml.tags+xml"/>
  <Override PartName="/ppt/tags/tag2417.xml" ContentType="application/vnd.openxmlformats-officedocument.presentationml.tags+xml"/>
  <Override PartName="/ppt/tags/tag2418.xml" ContentType="application/vnd.openxmlformats-officedocument.presentationml.tags+xml"/>
  <Override PartName="/ppt/tags/tag2419.xml" ContentType="application/vnd.openxmlformats-officedocument.presentationml.tags+xml"/>
  <Override PartName="/ppt/tags/tag2420.xml" ContentType="application/vnd.openxmlformats-officedocument.presentationml.tags+xml"/>
  <Override PartName="/ppt/tags/tag2421.xml" ContentType="application/vnd.openxmlformats-officedocument.presentationml.tags+xml"/>
  <Override PartName="/ppt/tags/tag2422.xml" ContentType="application/vnd.openxmlformats-officedocument.presentationml.tags+xml"/>
  <Override PartName="/ppt/tags/tag2423.xml" ContentType="application/vnd.openxmlformats-officedocument.presentationml.tags+xml"/>
  <Override PartName="/ppt/tags/tag2424.xml" ContentType="application/vnd.openxmlformats-officedocument.presentationml.tags+xml"/>
  <Override PartName="/ppt/tags/tag2425.xml" ContentType="application/vnd.openxmlformats-officedocument.presentationml.tags+xml"/>
  <Override PartName="/ppt/tags/tag2426.xml" ContentType="application/vnd.openxmlformats-officedocument.presentationml.tags+xml"/>
  <Override PartName="/ppt/notesSlides/notesSlide35.xml" ContentType="application/vnd.openxmlformats-officedocument.presentationml.notesSlide+xml"/>
  <Override PartName="/ppt/tags/tag2427.xml" ContentType="application/vnd.openxmlformats-officedocument.presentationml.tags+xml"/>
  <Override PartName="/ppt/tags/tag2428.xml" ContentType="application/vnd.openxmlformats-officedocument.presentationml.tags+xml"/>
  <Override PartName="/ppt/tags/tag2429.xml" ContentType="application/vnd.openxmlformats-officedocument.presentationml.tags+xml"/>
  <Override PartName="/ppt/tags/tag2430.xml" ContentType="application/vnd.openxmlformats-officedocument.presentationml.tags+xml"/>
  <Override PartName="/ppt/tags/tag2431.xml" ContentType="application/vnd.openxmlformats-officedocument.presentationml.tags+xml"/>
  <Override PartName="/ppt/tags/tag2432.xml" ContentType="application/vnd.openxmlformats-officedocument.presentationml.tags+xml"/>
  <Override PartName="/ppt/tags/tag2433.xml" ContentType="application/vnd.openxmlformats-officedocument.presentationml.tags+xml"/>
  <Override PartName="/ppt/tags/tag2434.xml" ContentType="application/vnd.openxmlformats-officedocument.presentationml.tags+xml"/>
  <Override PartName="/ppt/tags/tag2435.xml" ContentType="application/vnd.openxmlformats-officedocument.presentationml.tags+xml"/>
  <Override PartName="/ppt/tags/tag2436.xml" ContentType="application/vnd.openxmlformats-officedocument.presentationml.tags+xml"/>
  <Override PartName="/ppt/tags/tag2437.xml" ContentType="application/vnd.openxmlformats-officedocument.presentationml.tags+xml"/>
  <Override PartName="/ppt/tags/tag2438.xml" ContentType="application/vnd.openxmlformats-officedocument.presentationml.tags+xml"/>
  <Override PartName="/ppt/tags/tag2439.xml" ContentType="application/vnd.openxmlformats-officedocument.presentationml.tags+xml"/>
  <Override PartName="/ppt/tags/tag2440.xml" ContentType="application/vnd.openxmlformats-officedocument.presentationml.tags+xml"/>
  <Override PartName="/ppt/tags/tag2441.xml" ContentType="application/vnd.openxmlformats-officedocument.presentationml.tags+xml"/>
  <Override PartName="/ppt/tags/tag2442.xml" ContentType="application/vnd.openxmlformats-officedocument.presentationml.tags+xml"/>
  <Override PartName="/ppt/tags/tag2443.xml" ContentType="application/vnd.openxmlformats-officedocument.presentationml.tags+xml"/>
  <Override PartName="/ppt/tags/tag2444.xml" ContentType="application/vnd.openxmlformats-officedocument.presentationml.tags+xml"/>
  <Override PartName="/ppt/tags/tag2445.xml" ContentType="application/vnd.openxmlformats-officedocument.presentationml.tags+xml"/>
  <Override PartName="/ppt/tags/tag2446.xml" ContentType="application/vnd.openxmlformats-officedocument.presentationml.tags+xml"/>
  <Override PartName="/ppt/tags/tag2447.xml" ContentType="application/vnd.openxmlformats-officedocument.presentationml.tags+xml"/>
  <Override PartName="/ppt/tags/tag2448.xml" ContentType="application/vnd.openxmlformats-officedocument.presentationml.tags+xml"/>
  <Override PartName="/ppt/tags/tag2449.xml" ContentType="application/vnd.openxmlformats-officedocument.presentationml.tags+xml"/>
  <Override PartName="/ppt/tags/tag2450.xml" ContentType="application/vnd.openxmlformats-officedocument.presentationml.tags+xml"/>
  <Override PartName="/ppt/tags/tag2451.xml" ContentType="application/vnd.openxmlformats-officedocument.presentationml.tags+xml"/>
  <Override PartName="/ppt/tags/tag2452.xml" ContentType="application/vnd.openxmlformats-officedocument.presentationml.tags+xml"/>
  <Override PartName="/ppt/tags/tag2453.xml" ContentType="application/vnd.openxmlformats-officedocument.presentationml.tags+xml"/>
  <Override PartName="/ppt/tags/tag2454.xml" ContentType="application/vnd.openxmlformats-officedocument.presentationml.tags+xml"/>
  <Override PartName="/ppt/tags/tag2455.xml" ContentType="application/vnd.openxmlformats-officedocument.presentationml.tags+xml"/>
  <Override PartName="/ppt/tags/tag2456.xml" ContentType="application/vnd.openxmlformats-officedocument.presentationml.tags+xml"/>
  <Override PartName="/ppt/tags/tag2457.xml" ContentType="application/vnd.openxmlformats-officedocument.presentationml.tags+xml"/>
  <Override PartName="/ppt/tags/tag2458.xml" ContentType="application/vnd.openxmlformats-officedocument.presentationml.tags+xml"/>
  <Override PartName="/ppt/tags/tag2459.xml" ContentType="application/vnd.openxmlformats-officedocument.presentationml.tags+xml"/>
  <Override PartName="/ppt/notesSlides/notesSlide36.xml" ContentType="application/vnd.openxmlformats-officedocument.presentationml.notesSlide+xml"/>
  <Override PartName="/ppt/tags/tag2460.xml" ContentType="application/vnd.openxmlformats-officedocument.presentationml.tags+xml"/>
  <Override PartName="/ppt/tags/tag2461.xml" ContentType="application/vnd.openxmlformats-officedocument.presentationml.tags+xml"/>
  <Override PartName="/ppt/tags/tag2462.xml" ContentType="application/vnd.openxmlformats-officedocument.presentationml.tags+xml"/>
  <Override PartName="/ppt/notesSlides/notesSlide37.xml" ContentType="application/vnd.openxmlformats-officedocument.presentationml.notesSlide+xml"/>
  <Override PartName="/ppt/tags/tag2463.xml" ContentType="application/vnd.openxmlformats-officedocument.presentationml.tags+xml"/>
  <Override PartName="/ppt/tags/tag2464.xml" ContentType="application/vnd.openxmlformats-officedocument.presentationml.tags+xml"/>
  <Override PartName="/ppt/tags/tag2465.xml" ContentType="application/vnd.openxmlformats-officedocument.presentationml.tags+xml"/>
  <Override PartName="/ppt/tags/tag2466.xml" ContentType="application/vnd.openxmlformats-officedocument.presentationml.tags+xml"/>
  <Override PartName="/ppt/tags/tag2467.xml" ContentType="application/vnd.openxmlformats-officedocument.presentationml.tags+xml"/>
  <Override PartName="/ppt/tags/tag2468.xml" ContentType="application/vnd.openxmlformats-officedocument.presentationml.tags+xml"/>
  <Override PartName="/ppt/tags/tag2469.xml" ContentType="application/vnd.openxmlformats-officedocument.presentationml.tags+xml"/>
  <Override PartName="/ppt/tags/tag2470.xml" ContentType="application/vnd.openxmlformats-officedocument.presentationml.tags+xml"/>
  <Override PartName="/ppt/notesSlides/notesSlide38.xml" ContentType="application/vnd.openxmlformats-officedocument.presentationml.notesSlide+xml"/>
  <Override PartName="/ppt/tags/tag2471.xml" ContentType="application/vnd.openxmlformats-officedocument.presentationml.tags+xml"/>
  <Override PartName="/ppt/tags/tag2472.xml" ContentType="application/vnd.openxmlformats-officedocument.presentationml.tags+xml"/>
  <Override PartName="/ppt/tags/tag2473.xml" ContentType="application/vnd.openxmlformats-officedocument.presentationml.tags+xml"/>
  <Override PartName="/ppt/tags/tag2474.xml" ContentType="application/vnd.openxmlformats-officedocument.presentationml.tags+xml"/>
  <Override PartName="/ppt/tags/tag2475.xml" ContentType="application/vnd.openxmlformats-officedocument.presentationml.tags+xml"/>
  <Override PartName="/ppt/tags/tag2476.xml" ContentType="application/vnd.openxmlformats-officedocument.presentationml.tags+xml"/>
  <Override PartName="/ppt/tags/tag2477.xml" ContentType="application/vnd.openxmlformats-officedocument.presentationml.tags+xml"/>
  <Override PartName="/ppt/tags/tag2478.xml" ContentType="application/vnd.openxmlformats-officedocument.presentationml.tags+xml"/>
  <Override PartName="/ppt/notesSlides/notesSlide39.xml" ContentType="application/vnd.openxmlformats-officedocument.presentationml.notesSlide+xml"/>
  <Override PartName="/ppt/tags/tag2479.xml" ContentType="application/vnd.openxmlformats-officedocument.presentationml.tags+xml"/>
  <Override PartName="/ppt/tags/tag2480.xml" ContentType="application/vnd.openxmlformats-officedocument.presentationml.tags+xml"/>
  <Override PartName="/ppt/notesSlides/notesSlide40.xml" ContentType="application/vnd.openxmlformats-officedocument.presentationml.notesSlide+xml"/>
  <Override PartName="/ppt/tags/tag2481.xml" ContentType="application/vnd.openxmlformats-officedocument.presentationml.tags+xml"/>
  <Override PartName="/ppt/tags/tag2482.xml" ContentType="application/vnd.openxmlformats-officedocument.presentationml.tags+xml"/>
  <Override PartName="/ppt/tags/tag2483.xml" ContentType="application/vnd.openxmlformats-officedocument.presentationml.tags+xml"/>
  <Override PartName="/ppt/tags/tag2484.xml" ContentType="application/vnd.openxmlformats-officedocument.presentationml.tags+xml"/>
  <Override PartName="/ppt/tags/tag2485.xml" ContentType="application/vnd.openxmlformats-officedocument.presentationml.tags+xml"/>
  <Override PartName="/ppt/notesSlides/notesSlide41.xml" ContentType="application/vnd.openxmlformats-officedocument.presentationml.notesSlide+xml"/>
  <Override PartName="/ppt/tags/tag2486.xml" ContentType="application/vnd.openxmlformats-officedocument.presentationml.tags+xml"/>
  <Override PartName="/ppt/tags/tag2487.xml" ContentType="application/vnd.openxmlformats-officedocument.presentationml.tags+xml"/>
  <Override PartName="/ppt/notesSlides/notesSlide42.xml" ContentType="application/vnd.openxmlformats-officedocument.presentationml.notesSlide+xml"/>
  <Override PartName="/ppt/tags/tag2488.xml" ContentType="application/vnd.openxmlformats-officedocument.presentationml.tags+xml"/>
  <Override PartName="/ppt/tags/tag2489.xml" ContentType="application/vnd.openxmlformats-officedocument.presentationml.tags+xml"/>
  <Override PartName="/ppt/tags/tag2490.xml" ContentType="application/vnd.openxmlformats-officedocument.presentationml.tags+xml"/>
  <Override PartName="/ppt/tags/tag2491.xml" ContentType="application/vnd.openxmlformats-officedocument.presentationml.tags+xml"/>
  <Override PartName="/ppt/tags/tag2492.xml" ContentType="application/vnd.openxmlformats-officedocument.presentationml.tags+xml"/>
  <Override PartName="/ppt/tags/tag2493.xml" ContentType="application/vnd.openxmlformats-officedocument.presentationml.tags+xml"/>
  <Override PartName="/ppt/tags/tag2494.xml" ContentType="application/vnd.openxmlformats-officedocument.presentationml.tags+xml"/>
  <Override PartName="/ppt/tags/tag2495.xml" ContentType="application/vnd.openxmlformats-officedocument.presentationml.tags+xml"/>
  <Override PartName="/ppt/notesSlides/notesSlide43.xml" ContentType="application/vnd.openxmlformats-officedocument.presentationml.notesSlide+xml"/>
  <Override PartName="/ppt/tags/tag2496.xml" ContentType="application/vnd.openxmlformats-officedocument.presentationml.tags+xml"/>
  <Override PartName="/ppt/tags/tag2497.xml" ContentType="application/vnd.openxmlformats-officedocument.presentationml.tags+xml"/>
  <Override PartName="/ppt/tags/tag2498.xml" ContentType="application/vnd.openxmlformats-officedocument.presentationml.tags+xml"/>
  <Override PartName="/ppt/tags/tag2499.xml" ContentType="application/vnd.openxmlformats-officedocument.presentationml.tags+xml"/>
  <Override PartName="/ppt/tags/tag2500.xml" ContentType="application/vnd.openxmlformats-officedocument.presentationml.tags+xml"/>
  <Override PartName="/ppt/notesSlides/notesSlide44.xml" ContentType="application/vnd.openxmlformats-officedocument.presentationml.notesSlide+xml"/>
  <Override PartName="/ppt/tags/tag2501.xml" ContentType="application/vnd.openxmlformats-officedocument.presentationml.tags+xml"/>
  <Override PartName="/ppt/tags/tag2502.xml" ContentType="application/vnd.openxmlformats-officedocument.presentationml.tags+xml"/>
  <Override PartName="/ppt/tags/tag2503.xml" ContentType="application/vnd.openxmlformats-officedocument.presentationml.tags+xml"/>
  <Override PartName="/ppt/tags/tag2504.xml" ContentType="application/vnd.openxmlformats-officedocument.presentationml.tags+xml"/>
  <Override PartName="/ppt/tags/tag2505.xml" ContentType="application/vnd.openxmlformats-officedocument.presentationml.tags+xml"/>
  <Override PartName="/ppt/notesSlides/notesSlide45.xml" ContentType="application/vnd.openxmlformats-officedocument.presentationml.notesSlide+xml"/>
  <Override PartName="/ppt/tags/tag2506.xml" ContentType="application/vnd.openxmlformats-officedocument.presentationml.tags+xml"/>
  <Override PartName="/ppt/notesSlides/notesSlide46.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0" r:id="rId1"/>
    <p:sldMasterId id="2147483675" r:id="rId2"/>
    <p:sldMasterId id="2147483680" r:id="rId3"/>
    <p:sldMasterId id="2147483685" r:id="rId4"/>
    <p:sldMasterId id="2147483690" r:id="rId5"/>
    <p:sldMasterId id="2147483695" r:id="rId6"/>
    <p:sldMasterId id="2147483700" r:id="rId7"/>
    <p:sldMasterId id="2147483705" r:id="rId8"/>
    <p:sldMasterId id="2147483710" r:id="rId9"/>
    <p:sldMasterId id="2147483715" r:id="rId10"/>
    <p:sldMasterId id="2147483720" r:id="rId11"/>
    <p:sldMasterId id="2147483725" r:id="rId12"/>
    <p:sldMasterId id="2147483730" r:id="rId13"/>
    <p:sldMasterId id="2147483735" r:id="rId14"/>
    <p:sldMasterId id="2147483740" r:id="rId15"/>
    <p:sldMasterId id="2147483745" r:id="rId16"/>
    <p:sldMasterId id="2147483750" r:id="rId17"/>
    <p:sldMasterId id="2147483755" r:id="rId18"/>
    <p:sldMasterId id="2147483760" r:id="rId19"/>
    <p:sldMasterId id="2147483765" r:id="rId20"/>
    <p:sldMasterId id="2147483770" r:id="rId21"/>
    <p:sldMasterId id="2147483775" r:id="rId22"/>
    <p:sldMasterId id="2147483780" r:id="rId23"/>
    <p:sldMasterId id="2147483785" r:id="rId24"/>
    <p:sldMasterId id="2147483790" r:id="rId25"/>
    <p:sldMasterId id="2147483795" r:id="rId26"/>
    <p:sldMasterId id="2147483800" r:id="rId27"/>
    <p:sldMasterId id="2147483805" r:id="rId28"/>
    <p:sldMasterId id="2147483810" r:id="rId29"/>
    <p:sldMasterId id="2147483815" r:id="rId30"/>
    <p:sldMasterId id="2147483820" r:id="rId31"/>
    <p:sldMasterId id="2147483825" r:id="rId32"/>
    <p:sldMasterId id="2147483830" r:id="rId33"/>
    <p:sldMasterId id="2147483835" r:id="rId34"/>
    <p:sldMasterId id="2147483840" r:id="rId35"/>
    <p:sldMasterId id="2147483845" r:id="rId36"/>
    <p:sldMasterId id="2147483850" r:id="rId37"/>
    <p:sldMasterId id="2147483855" r:id="rId38"/>
    <p:sldMasterId id="2147483860" r:id="rId39"/>
    <p:sldMasterId id="2147483865" r:id="rId40"/>
    <p:sldMasterId id="2147483870" r:id="rId41"/>
    <p:sldMasterId id="2147483875" r:id="rId42"/>
    <p:sldMasterId id="2147483880" r:id="rId43"/>
    <p:sldMasterId id="2147483885" r:id="rId44"/>
    <p:sldMasterId id="2147483890" r:id="rId45"/>
    <p:sldMasterId id="2147483895" r:id="rId46"/>
    <p:sldMasterId id="2147483900" r:id="rId47"/>
    <p:sldMasterId id="2147483905" r:id="rId48"/>
    <p:sldMasterId id="2147483910" r:id="rId49"/>
    <p:sldMasterId id="2147483915" r:id="rId50"/>
    <p:sldMasterId id="2147483920" r:id="rId51"/>
    <p:sldMasterId id="2147483925" r:id="rId52"/>
  </p:sldMasterIdLst>
  <p:notesMasterIdLst>
    <p:notesMasterId r:id="rId111"/>
  </p:notesMasterIdLst>
  <p:sldIdLst>
    <p:sldId id="256" r:id="rId53"/>
    <p:sldId id="344" r:id="rId54"/>
    <p:sldId id="338" r:id="rId55"/>
    <p:sldId id="321" r:id="rId56"/>
    <p:sldId id="261" r:id="rId57"/>
    <p:sldId id="350" r:id="rId58"/>
    <p:sldId id="259" r:id="rId59"/>
    <p:sldId id="260" r:id="rId60"/>
    <p:sldId id="262" r:id="rId61"/>
    <p:sldId id="322" r:id="rId62"/>
    <p:sldId id="264" r:id="rId63"/>
    <p:sldId id="265" r:id="rId64"/>
    <p:sldId id="323" r:id="rId65"/>
    <p:sldId id="268" r:id="rId66"/>
    <p:sldId id="269" r:id="rId67"/>
    <p:sldId id="270" r:id="rId68"/>
    <p:sldId id="271" r:id="rId69"/>
    <p:sldId id="324" r:id="rId70"/>
    <p:sldId id="312" r:id="rId71"/>
    <p:sldId id="290" r:id="rId72"/>
    <p:sldId id="314" r:id="rId73"/>
    <p:sldId id="319" r:id="rId74"/>
    <p:sldId id="315" r:id="rId75"/>
    <p:sldId id="318" r:id="rId76"/>
    <p:sldId id="304" r:id="rId77"/>
    <p:sldId id="292" r:id="rId78"/>
    <p:sldId id="293" r:id="rId79"/>
    <p:sldId id="294" r:id="rId80"/>
    <p:sldId id="295" r:id="rId81"/>
    <p:sldId id="299" r:id="rId82"/>
    <p:sldId id="300" r:id="rId83"/>
    <p:sldId id="301" r:id="rId84"/>
    <p:sldId id="303" r:id="rId85"/>
    <p:sldId id="305" r:id="rId86"/>
    <p:sldId id="306" r:id="rId87"/>
    <p:sldId id="307" r:id="rId88"/>
    <p:sldId id="308" r:id="rId89"/>
    <p:sldId id="309" r:id="rId90"/>
    <p:sldId id="331" r:id="rId91"/>
    <p:sldId id="333" r:id="rId92"/>
    <p:sldId id="347" r:id="rId93"/>
    <p:sldId id="349" r:id="rId94"/>
    <p:sldId id="348" r:id="rId95"/>
    <p:sldId id="336" r:id="rId96"/>
    <p:sldId id="342" r:id="rId97"/>
    <p:sldId id="343" r:id="rId98"/>
    <p:sldId id="341" r:id="rId99"/>
    <p:sldId id="274" r:id="rId100"/>
    <p:sldId id="325" r:id="rId101"/>
    <p:sldId id="326" r:id="rId102"/>
    <p:sldId id="327" r:id="rId103"/>
    <p:sldId id="328" r:id="rId104"/>
    <p:sldId id="282" r:id="rId105"/>
    <p:sldId id="283" r:id="rId106"/>
    <p:sldId id="284" r:id="rId107"/>
    <p:sldId id="285" r:id="rId108"/>
    <p:sldId id="286" r:id="rId109"/>
    <p:sldId id="329" r:id="rId110"/>
  </p:sldIdLst>
  <p:sldSz cx="8961438" cy="6721475"/>
  <p:notesSz cx="6858000" cy="9144000"/>
  <p:custDataLst>
    <p:tags r:id="rId112"/>
  </p:custDataLst>
  <p:defaultTextStyle>
    <a:defPPr>
      <a:defRPr lang="en-US"/>
    </a:defPPr>
    <a:lvl1pPr algn="l" rtl="0" fontAlgn="base">
      <a:spcBef>
        <a:spcPct val="0"/>
      </a:spcBef>
      <a:spcAft>
        <a:spcPct val="0"/>
      </a:spcAft>
      <a:defRPr sz="1600" kern="1200">
        <a:solidFill>
          <a:schemeClr val="tx1"/>
        </a:solidFill>
        <a:latin typeface="Arial" charset="0"/>
        <a:ea typeface="+mn-ea"/>
        <a:cs typeface="+mn-cs"/>
      </a:defRPr>
    </a:lvl1pPr>
    <a:lvl2pPr marL="457200" algn="l" rtl="0" fontAlgn="base">
      <a:spcBef>
        <a:spcPct val="0"/>
      </a:spcBef>
      <a:spcAft>
        <a:spcPct val="0"/>
      </a:spcAft>
      <a:defRPr sz="1600" kern="1200">
        <a:solidFill>
          <a:schemeClr val="tx1"/>
        </a:solidFill>
        <a:latin typeface="Arial" charset="0"/>
        <a:ea typeface="+mn-ea"/>
        <a:cs typeface="+mn-cs"/>
      </a:defRPr>
    </a:lvl2pPr>
    <a:lvl3pPr marL="914400" algn="l" rtl="0" fontAlgn="base">
      <a:spcBef>
        <a:spcPct val="0"/>
      </a:spcBef>
      <a:spcAft>
        <a:spcPct val="0"/>
      </a:spcAft>
      <a:defRPr sz="1600" kern="1200">
        <a:solidFill>
          <a:schemeClr val="tx1"/>
        </a:solidFill>
        <a:latin typeface="Arial" charset="0"/>
        <a:ea typeface="+mn-ea"/>
        <a:cs typeface="+mn-cs"/>
      </a:defRPr>
    </a:lvl3pPr>
    <a:lvl4pPr marL="1371600" algn="l" rtl="0" fontAlgn="base">
      <a:spcBef>
        <a:spcPct val="0"/>
      </a:spcBef>
      <a:spcAft>
        <a:spcPct val="0"/>
      </a:spcAft>
      <a:defRPr sz="1600" kern="1200">
        <a:solidFill>
          <a:schemeClr val="tx1"/>
        </a:solidFill>
        <a:latin typeface="Arial" charset="0"/>
        <a:ea typeface="+mn-ea"/>
        <a:cs typeface="+mn-cs"/>
      </a:defRPr>
    </a:lvl4pPr>
    <a:lvl5pPr marL="1828800" algn="l" rtl="0" fontAlgn="base">
      <a:spcBef>
        <a:spcPct val="0"/>
      </a:spcBef>
      <a:spcAft>
        <a:spcPct val="0"/>
      </a:spcAft>
      <a:defRPr sz="1600" kern="1200">
        <a:solidFill>
          <a:schemeClr val="tx1"/>
        </a:solidFill>
        <a:latin typeface="Arial" charset="0"/>
        <a:ea typeface="+mn-ea"/>
        <a:cs typeface="+mn-cs"/>
      </a:defRPr>
    </a:lvl5pPr>
    <a:lvl6pPr marL="2286000" algn="l" defTabSz="914400" rtl="0" eaLnBrk="1" latinLnBrk="0" hangingPunct="1">
      <a:defRPr sz="1600" kern="1200">
        <a:solidFill>
          <a:schemeClr val="tx1"/>
        </a:solidFill>
        <a:latin typeface="Arial" charset="0"/>
        <a:ea typeface="+mn-ea"/>
        <a:cs typeface="+mn-cs"/>
      </a:defRPr>
    </a:lvl6pPr>
    <a:lvl7pPr marL="2743200" algn="l" defTabSz="914400" rtl="0" eaLnBrk="1" latinLnBrk="0" hangingPunct="1">
      <a:defRPr sz="1600" kern="1200">
        <a:solidFill>
          <a:schemeClr val="tx1"/>
        </a:solidFill>
        <a:latin typeface="Arial" charset="0"/>
        <a:ea typeface="+mn-ea"/>
        <a:cs typeface="+mn-cs"/>
      </a:defRPr>
    </a:lvl7pPr>
    <a:lvl8pPr marL="3200400" algn="l" defTabSz="914400" rtl="0" eaLnBrk="1" latinLnBrk="0" hangingPunct="1">
      <a:defRPr sz="1600" kern="1200">
        <a:solidFill>
          <a:schemeClr val="tx1"/>
        </a:solidFill>
        <a:latin typeface="Arial" charset="0"/>
        <a:ea typeface="+mn-ea"/>
        <a:cs typeface="+mn-cs"/>
      </a:defRPr>
    </a:lvl8pPr>
    <a:lvl9pPr marL="3657600" algn="l" defTabSz="914400" rtl="0" eaLnBrk="1" latinLnBrk="0" hangingPunct="1">
      <a:defRPr sz="1600" kern="1200">
        <a:solidFill>
          <a:schemeClr val="tx1"/>
        </a:solidFill>
        <a:latin typeface="Arial" charset="0"/>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620"/>
    <p:restoredTop sz="93886" autoAdjust="0"/>
  </p:normalViewPr>
  <p:slideViewPr>
    <p:cSldViewPr snapToGrid="0">
      <p:cViewPr varScale="1">
        <p:scale>
          <a:sx n="81" d="100"/>
          <a:sy n="81" d="100"/>
        </p:scale>
        <p:origin x="909" y="41"/>
      </p:cViewPr>
      <p:guideLst/>
    </p:cSldViewPr>
  </p:slideViewPr>
  <p:notesTextViewPr>
    <p:cViewPr>
      <p:scale>
        <a:sx n="1" d="1"/>
        <a:sy n="1" d="1"/>
      </p:scale>
      <p:origin x="0" y="0"/>
    </p:cViewPr>
  </p:notesTextViewPr>
  <p:sorterViewPr>
    <p:cViewPr varScale="1">
      <p:scale>
        <a:sx n="1" d="1"/>
        <a:sy n="1" d="1"/>
      </p:scale>
      <p:origin x="0" y="0"/>
    </p:cViewPr>
  </p:sorter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Master" Target="slideMasters/slideMaster26.xml"/><Relationship Id="rId117" Type="http://schemas.microsoft.com/office/2015/10/relationships/revisionInfo" Target="revisionInfo.xml"/><Relationship Id="rId21" Type="http://schemas.openxmlformats.org/officeDocument/2006/relationships/slideMaster" Target="slideMasters/slideMaster21.xml"/><Relationship Id="rId42" Type="http://schemas.openxmlformats.org/officeDocument/2006/relationships/slideMaster" Target="slideMasters/slideMaster42.xml"/><Relationship Id="rId47" Type="http://schemas.openxmlformats.org/officeDocument/2006/relationships/slideMaster" Target="slideMasters/slideMaster47.xml"/><Relationship Id="rId63" Type="http://schemas.openxmlformats.org/officeDocument/2006/relationships/slide" Target="slides/slide11.xml"/><Relationship Id="rId68" Type="http://schemas.openxmlformats.org/officeDocument/2006/relationships/slide" Target="slides/slide16.xml"/><Relationship Id="rId84" Type="http://schemas.openxmlformats.org/officeDocument/2006/relationships/slide" Target="slides/slide32.xml"/><Relationship Id="rId89" Type="http://schemas.openxmlformats.org/officeDocument/2006/relationships/slide" Target="slides/slide37.xml"/><Relationship Id="rId112" Type="http://schemas.openxmlformats.org/officeDocument/2006/relationships/tags" Target="tags/tag1.xml"/><Relationship Id="rId16" Type="http://schemas.openxmlformats.org/officeDocument/2006/relationships/slideMaster" Target="slideMasters/slideMaster16.xml"/><Relationship Id="rId107" Type="http://schemas.openxmlformats.org/officeDocument/2006/relationships/slide" Target="slides/slide55.xml"/><Relationship Id="rId11" Type="http://schemas.openxmlformats.org/officeDocument/2006/relationships/slideMaster" Target="slideMasters/slideMaster11.xml"/><Relationship Id="rId32" Type="http://schemas.openxmlformats.org/officeDocument/2006/relationships/slideMaster" Target="slideMasters/slideMaster32.xml"/><Relationship Id="rId37" Type="http://schemas.openxmlformats.org/officeDocument/2006/relationships/slideMaster" Target="slideMasters/slideMaster37.xml"/><Relationship Id="rId53" Type="http://schemas.openxmlformats.org/officeDocument/2006/relationships/slide" Target="slides/slide1.xml"/><Relationship Id="rId58" Type="http://schemas.openxmlformats.org/officeDocument/2006/relationships/slide" Target="slides/slide6.xml"/><Relationship Id="rId74" Type="http://schemas.openxmlformats.org/officeDocument/2006/relationships/slide" Target="slides/slide22.xml"/><Relationship Id="rId79" Type="http://schemas.openxmlformats.org/officeDocument/2006/relationships/slide" Target="slides/slide27.xml"/><Relationship Id="rId102" Type="http://schemas.openxmlformats.org/officeDocument/2006/relationships/slide" Target="slides/slide50.xml"/><Relationship Id="rId5" Type="http://schemas.openxmlformats.org/officeDocument/2006/relationships/slideMaster" Target="slideMasters/slideMaster5.xml"/><Relationship Id="rId90" Type="http://schemas.openxmlformats.org/officeDocument/2006/relationships/slide" Target="slides/slide38.xml"/><Relationship Id="rId95" Type="http://schemas.openxmlformats.org/officeDocument/2006/relationships/slide" Target="slides/slide43.xml"/><Relationship Id="rId22" Type="http://schemas.openxmlformats.org/officeDocument/2006/relationships/slideMaster" Target="slideMasters/slideMaster22.xml"/><Relationship Id="rId27" Type="http://schemas.openxmlformats.org/officeDocument/2006/relationships/slideMaster" Target="slideMasters/slideMaster27.xml"/><Relationship Id="rId43" Type="http://schemas.openxmlformats.org/officeDocument/2006/relationships/slideMaster" Target="slideMasters/slideMaster43.xml"/><Relationship Id="rId48" Type="http://schemas.openxmlformats.org/officeDocument/2006/relationships/slideMaster" Target="slideMasters/slideMaster48.xml"/><Relationship Id="rId64" Type="http://schemas.openxmlformats.org/officeDocument/2006/relationships/slide" Target="slides/slide12.xml"/><Relationship Id="rId69" Type="http://schemas.openxmlformats.org/officeDocument/2006/relationships/slide" Target="slides/slide17.xml"/><Relationship Id="rId113" Type="http://schemas.openxmlformats.org/officeDocument/2006/relationships/presProps" Target="presProps.xml"/><Relationship Id="rId80" Type="http://schemas.openxmlformats.org/officeDocument/2006/relationships/slide" Target="slides/slide28.xml"/><Relationship Id="rId85" Type="http://schemas.openxmlformats.org/officeDocument/2006/relationships/slide" Target="slides/slide33.xml"/><Relationship Id="rId12" Type="http://schemas.openxmlformats.org/officeDocument/2006/relationships/slideMaster" Target="slideMasters/slideMaster12.xml"/><Relationship Id="rId17" Type="http://schemas.openxmlformats.org/officeDocument/2006/relationships/slideMaster" Target="slideMasters/slideMaster17.xml"/><Relationship Id="rId33" Type="http://schemas.openxmlformats.org/officeDocument/2006/relationships/slideMaster" Target="slideMasters/slideMaster33.xml"/><Relationship Id="rId38" Type="http://schemas.openxmlformats.org/officeDocument/2006/relationships/slideMaster" Target="slideMasters/slideMaster38.xml"/><Relationship Id="rId59" Type="http://schemas.openxmlformats.org/officeDocument/2006/relationships/slide" Target="slides/slide7.xml"/><Relationship Id="rId103" Type="http://schemas.openxmlformats.org/officeDocument/2006/relationships/slide" Target="slides/slide51.xml"/><Relationship Id="rId108" Type="http://schemas.openxmlformats.org/officeDocument/2006/relationships/slide" Target="slides/slide56.xml"/><Relationship Id="rId54" Type="http://schemas.openxmlformats.org/officeDocument/2006/relationships/slide" Target="slides/slide2.xml"/><Relationship Id="rId70" Type="http://schemas.openxmlformats.org/officeDocument/2006/relationships/slide" Target="slides/slide18.xml"/><Relationship Id="rId75" Type="http://schemas.openxmlformats.org/officeDocument/2006/relationships/slide" Target="slides/slide23.xml"/><Relationship Id="rId91" Type="http://schemas.openxmlformats.org/officeDocument/2006/relationships/slide" Target="slides/slide39.xml"/><Relationship Id="rId96" Type="http://schemas.openxmlformats.org/officeDocument/2006/relationships/slide" Target="slides/slide44.xml"/><Relationship Id="rId1" Type="http://schemas.openxmlformats.org/officeDocument/2006/relationships/slideMaster" Target="slideMasters/slideMaster1.xml"/><Relationship Id="rId6" Type="http://schemas.openxmlformats.org/officeDocument/2006/relationships/slideMaster" Target="slideMasters/slideMaster6.xml"/><Relationship Id="rId23" Type="http://schemas.openxmlformats.org/officeDocument/2006/relationships/slideMaster" Target="slideMasters/slideMaster23.xml"/><Relationship Id="rId28" Type="http://schemas.openxmlformats.org/officeDocument/2006/relationships/slideMaster" Target="slideMasters/slideMaster28.xml"/><Relationship Id="rId49" Type="http://schemas.openxmlformats.org/officeDocument/2006/relationships/slideMaster" Target="slideMasters/slideMaster49.xml"/><Relationship Id="rId114" Type="http://schemas.openxmlformats.org/officeDocument/2006/relationships/viewProps" Target="viewProps.xml"/><Relationship Id="rId10" Type="http://schemas.openxmlformats.org/officeDocument/2006/relationships/slideMaster" Target="slideMasters/slideMaster10.xml"/><Relationship Id="rId31" Type="http://schemas.openxmlformats.org/officeDocument/2006/relationships/slideMaster" Target="slideMasters/slideMaster31.xml"/><Relationship Id="rId44" Type="http://schemas.openxmlformats.org/officeDocument/2006/relationships/slideMaster" Target="slideMasters/slideMaster44.xml"/><Relationship Id="rId52" Type="http://schemas.openxmlformats.org/officeDocument/2006/relationships/slideMaster" Target="slideMasters/slideMaster52.xml"/><Relationship Id="rId60" Type="http://schemas.openxmlformats.org/officeDocument/2006/relationships/slide" Target="slides/slide8.xml"/><Relationship Id="rId65" Type="http://schemas.openxmlformats.org/officeDocument/2006/relationships/slide" Target="slides/slide13.xml"/><Relationship Id="rId73" Type="http://schemas.openxmlformats.org/officeDocument/2006/relationships/slide" Target="slides/slide21.xml"/><Relationship Id="rId78" Type="http://schemas.openxmlformats.org/officeDocument/2006/relationships/slide" Target="slides/slide26.xml"/><Relationship Id="rId81" Type="http://schemas.openxmlformats.org/officeDocument/2006/relationships/slide" Target="slides/slide29.xml"/><Relationship Id="rId86" Type="http://schemas.openxmlformats.org/officeDocument/2006/relationships/slide" Target="slides/slide34.xml"/><Relationship Id="rId94" Type="http://schemas.openxmlformats.org/officeDocument/2006/relationships/slide" Target="slides/slide42.xml"/><Relationship Id="rId99" Type="http://schemas.openxmlformats.org/officeDocument/2006/relationships/slide" Target="slides/slide47.xml"/><Relationship Id="rId101" Type="http://schemas.openxmlformats.org/officeDocument/2006/relationships/slide" Target="slides/slide49.xml"/><Relationship Id="rId4" Type="http://schemas.openxmlformats.org/officeDocument/2006/relationships/slideMaster" Target="slideMasters/slideMaster4.xml"/><Relationship Id="rId9" Type="http://schemas.openxmlformats.org/officeDocument/2006/relationships/slideMaster" Target="slideMasters/slideMaster9.xml"/><Relationship Id="rId13" Type="http://schemas.openxmlformats.org/officeDocument/2006/relationships/slideMaster" Target="slideMasters/slideMaster13.xml"/><Relationship Id="rId18" Type="http://schemas.openxmlformats.org/officeDocument/2006/relationships/slideMaster" Target="slideMasters/slideMaster18.xml"/><Relationship Id="rId39" Type="http://schemas.openxmlformats.org/officeDocument/2006/relationships/slideMaster" Target="slideMasters/slideMaster39.xml"/><Relationship Id="rId109" Type="http://schemas.openxmlformats.org/officeDocument/2006/relationships/slide" Target="slides/slide57.xml"/><Relationship Id="rId34" Type="http://schemas.openxmlformats.org/officeDocument/2006/relationships/slideMaster" Target="slideMasters/slideMaster34.xml"/><Relationship Id="rId50" Type="http://schemas.openxmlformats.org/officeDocument/2006/relationships/slideMaster" Target="slideMasters/slideMaster50.xml"/><Relationship Id="rId55" Type="http://schemas.openxmlformats.org/officeDocument/2006/relationships/slide" Target="slides/slide3.xml"/><Relationship Id="rId76" Type="http://schemas.openxmlformats.org/officeDocument/2006/relationships/slide" Target="slides/slide24.xml"/><Relationship Id="rId97" Type="http://schemas.openxmlformats.org/officeDocument/2006/relationships/slide" Target="slides/slide45.xml"/><Relationship Id="rId104" Type="http://schemas.openxmlformats.org/officeDocument/2006/relationships/slide" Target="slides/slide52.xml"/><Relationship Id="rId7" Type="http://schemas.openxmlformats.org/officeDocument/2006/relationships/slideMaster" Target="slideMasters/slideMaster7.xml"/><Relationship Id="rId71" Type="http://schemas.openxmlformats.org/officeDocument/2006/relationships/slide" Target="slides/slide19.xml"/><Relationship Id="rId92" Type="http://schemas.openxmlformats.org/officeDocument/2006/relationships/slide" Target="slides/slide40.xml"/><Relationship Id="rId2" Type="http://schemas.openxmlformats.org/officeDocument/2006/relationships/slideMaster" Target="slideMasters/slideMaster2.xml"/><Relationship Id="rId29" Type="http://schemas.openxmlformats.org/officeDocument/2006/relationships/slideMaster" Target="slideMasters/slideMaster29.xml"/><Relationship Id="rId24" Type="http://schemas.openxmlformats.org/officeDocument/2006/relationships/slideMaster" Target="slideMasters/slideMaster24.xml"/><Relationship Id="rId40" Type="http://schemas.openxmlformats.org/officeDocument/2006/relationships/slideMaster" Target="slideMasters/slideMaster40.xml"/><Relationship Id="rId45" Type="http://schemas.openxmlformats.org/officeDocument/2006/relationships/slideMaster" Target="slideMasters/slideMaster45.xml"/><Relationship Id="rId66" Type="http://schemas.openxmlformats.org/officeDocument/2006/relationships/slide" Target="slides/slide14.xml"/><Relationship Id="rId87" Type="http://schemas.openxmlformats.org/officeDocument/2006/relationships/slide" Target="slides/slide35.xml"/><Relationship Id="rId110" Type="http://schemas.openxmlformats.org/officeDocument/2006/relationships/slide" Target="slides/slide58.xml"/><Relationship Id="rId115" Type="http://schemas.openxmlformats.org/officeDocument/2006/relationships/theme" Target="theme/theme1.xml"/><Relationship Id="rId61" Type="http://schemas.openxmlformats.org/officeDocument/2006/relationships/slide" Target="slides/slide9.xml"/><Relationship Id="rId82" Type="http://schemas.openxmlformats.org/officeDocument/2006/relationships/slide" Target="slides/slide30.xml"/><Relationship Id="rId19" Type="http://schemas.openxmlformats.org/officeDocument/2006/relationships/slideMaster" Target="slideMasters/slideMaster19.xml"/><Relationship Id="rId14" Type="http://schemas.openxmlformats.org/officeDocument/2006/relationships/slideMaster" Target="slideMasters/slideMaster14.xml"/><Relationship Id="rId30" Type="http://schemas.openxmlformats.org/officeDocument/2006/relationships/slideMaster" Target="slideMasters/slideMaster30.xml"/><Relationship Id="rId35" Type="http://schemas.openxmlformats.org/officeDocument/2006/relationships/slideMaster" Target="slideMasters/slideMaster35.xml"/><Relationship Id="rId56" Type="http://schemas.openxmlformats.org/officeDocument/2006/relationships/slide" Target="slides/slide4.xml"/><Relationship Id="rId77" Type="http://schemas.openxmlformats.org/officeDocument/2006/relationships/slide" Target="slides/slide25.xml"/><Relationship Id="rId100" Type="http://schemas.openxmlformats.org/officeDocument/2006/relationships/slide" Target="slides/slide48.xml"/><Relationship Id="rId105" Type="http://schemas.openxmlformats.org/officeDocument/2006/relationships/slide" Target="slides/slide53.xml"/><Relationship Id="rId8" Type="http://schemas.openxmlformats.org/officeDocument/2006/relationships/slideMaster" Target="slideMasters/slideMaster8.xml"/><Relationship Id="rId51" Type="http://schemas.openxmlformats.org/officeDocument/2006/relationships/slideMaster" Target="slideMasters/slideMaster51.xml"/><Relationship Id="rId72" Type="http://schemas.openxmlformats.org/officeDocument/2006/relationships/slide" Target="slides/slide20.xml"/><Relationship Id="rId93" Type="http://schemas.openxmlformats.org/officeDocument/2006/relationships/slide" Target="slides/slide41.xml"/><Relationship Id="rId98" Type="http://schemas.openxmlformats.org/officeDocument/2006/relationships/slide" Target="slides/slide46.xml"/><Relationship Id="rId3" Type="http://schemas.openxmlformats.org/officeDocument/2006/relationships/slideMaster" Target="slideMasters/slideMaster3.xml"/><Relationship Id="rId25" Type="http://schemas.openxmlformats.org/officeDocument/2006/relationships/slideMaster" Target="slideMasters/slideMaster25.xml"/><Relationship Id="rId46" Type="http://schemas.openxmlformats.org/officeDocument/2006/relationships/slideMaster" Target="slideMasters/slideMaster46.xml"/><Relationship Id="rId67" Type="http://schemas.openxmlformats.org/officeDocument/2006/relationships/slide" Target="slides/slide15.xml"/><Relationship Id="rId116" Type="http://schemas.openxmlformats.org/officeDocument/2006/relationships/tableStyles" Target="tableStyles.xml"/><Relationship Id="rId20" Type="http://schemas.openxmlformats.org/officeDocument/2006/relationships/slideMaster" Target="slideMasters/slideMaster20.xml"/><Relationship Id="rId41" Type="http://schemas.openxmlformats.org/officeDocument/2006/relationships/slideMaster" Target="slideMasters/slideMaster41.xml"/><Relationship Id="rId62" Type="http://schemas.openxmlformats.org/officeDocument/2006/relationships/slide" Target="slides/slide10.xml"/><Relationship Id="rId83" Type="http://schemas.openxmlformats.org/officeDocument/2006/relationships/slide" Target="slides/slide31.xml"/><Relationship Id="rId88" Type="http://schemas.openxmlformats.org/officeDocument/2006/relationships/slide" Target="slides/slide36.xml"/><Relationship Id="rId111" Type="http://schemas.openxmlformats.org/officeDocument/2006/relationships/notesMaster" Target="notesMasters/notesMaster1.xml"/><Relationship Id="rId15" Type="http://schemas.openxmlformats.org/officeDocument/2006/relationships/slideMaster" Target="slideMasters/slideMaster15.xml"/><Relationship Id="rId36" Type="http://schemas.openxmlformats.org/officeDocument/2006/relationships/slideMaster" Target="slideMasters/slideMaster36.xml"/><Relationship Id="rId57" Type="http://schemas.openxmlformats.org/officeDocument/2006/relationships/slide" Target="slides/slide5.xml"/><Relationship Id="rId106" Type="http://schemas.openxmlformats.org/officeDocument/2006/relationships/slide" Target="slides/slide54.xml"/></Relationships>
</file>

<file path=ppt/charts/_rels/chart1.xml.rels><?xml version="1.0" encoding="UTF-8" standalone="yes"?>
<Relationships xmlns="http://schemas.openxmlformats.org/package/2006/relationships"><Relationship Id="rId1" Type="http://schemas.openxmlformats.org/officeDocument/2006/relationships/oleObject" Target="file:///C:\Users\Rhagav%20Dubey\Documents\RTS-Core\Impact\20141215%20Impact%20Analysis-Datav9.xlsx" TargetMode="Externa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6.2771337610576461E-2"/>
          <c:y val="3.0821768087552003E-2"/>
          <c:w val="0.67367519848726787"/>
          <c:h val="0.84211273479207982"/>
        </c:manualLayout>
      </c:layout>
      <c:lineChart>
        <c:grouping val="standard"/>
        <c:varyColors val="0"/>
        <c:ser>
          <c:idx val="0"/>
          <c:order val="0"/>
          <c:tx>
            <c:strRef>
              <c:f>'Average returns'!$B$3</c:f>
              <c:strCache>
                <c:ptCount val="1"/>
                <c:pt idx="0">
                  <c:v>RTS-Core</c:v>
                </c:pt>
              </c:strCache>
            </c:strRef>
          </c:tx>
          <c:spPr>
            <a:ln w="34925">
              <a:solidFill>
                <a:schemeClr val="accent1"/>
              </a:solidFill>
            </a:ln>
          </c:spPr>
          <c:marker>
            <c:symbol val="none"/>
          </c:marker>
          <c:cat>
            <c:strRef>
              <c:f>'Average returns'!$A$4:$A$384</c:f>
              <c:strCache>
                <c:ptCount val="381"/>
                <c:pt idx="0">
                  <c:v>Month 0</c:v>
                </c:pt>
                <c:pt idx="1">
                  <c:v>Month 0</c:v>
                </c:pt>
                <c:pt idx="2">
                  <c:v>Month 0</c:v>
                </c:pt>
                <c:pt idx="3">
                  <c:v>Month 0</c:v>
                </c:pt>
                <c:pt idx="4">
                  <c:v>Month 0</c:v>
                </c:pt>
                <c:pt idx="5">
                  <c:v>Month 0</c:v>
                </c:pt>
                <c:pt idx="6">
                  <c:v>Month 0</c:v>
                </c:pt>
                <c:pt idx="7">
                  <c:v>Month 0</c:v>
                </c:pt>
                <c:pt idx="8">
                  <c:v>Month 0</c:v>
                </c:pt>
                <c:pt idx="9">
                  <c:v>Month 0</c:v>
                </c:pt>
                <c:pt idx="10">
                  <c:v>Month 0</c:v>
                </c:pt>
                <c:pt idx="11">
                  <c:v>Month 0</c:v>
                </c:pt>
                <c:pt idx="12">
                  <c:v>Month 0</c:v>
                </c:pt>
                <c:pt idx="13">
                  <c:v>Month 0</c:v>
                </c:pt>
                <c:pt idx="14">
                  <c:v>Month 0</c:v>
                </c:pt>
                <c:pt idx="15">
                  <c:v>Month 0</c:v>
                </c:pt>
                <c:pt idx="16">
                  <c:v>Month 0</c:v>
                </c:pt>
                <c:pt idx="17">
                  <c:v>Month 0</c:v>
                </c:pt>
                <c:pt idx="18">
                  <c:v>Month 0</c:v>
                </c:pt>
                <c:pt idx="19">
                  <c:v>Month 0</c:v>
                </c:pt>
                <c:pt idx="20">
                  <c:v>Month 0</c:v>
                </c:pt>
                <c:pt idx="21">
                  <c:v>Month 1</c:v>
                </c:pt>
                <c:pt idx="22">
                  <c:v>Month 1</c:v>
                </c:pt>
                <c:pt idx="23">
                  <c:v>Month 1</c:v>
                </c:pt>
                <c:pt idx="24">
                  <c:v>Month 1</c:v>
                </c:pt>
                <c:pt idx="25">
                  <c:v>Month 1</c:v>
                </c:pt>
                <c:pt idx="26">
                  <c:v>Month 1</c:v>
                </c:pt>
                <c:pt idx="27">
                  <c:v>Month 1</c:v>
                </c:pt>
                <c:pt idx="28">
                  <c:v>Month 1</c:v>
                </c:pt>
                <c:pt idx="29">
                  <c:v>Month 1</c:v>
                </c:pt>
                <c:pt idx="30">
                  <c:v>Month 1</c:v>
                </c:pt>
                <c:pt idx="31">
                  <c:v>Month 1</c:v>
                </c:pt>
                <c:pt idx="32">
                  <c:v>Month 1</c:v>
                </c:pt>
                <c:pt idx="33">
                  <c:v>Month 1</c:v>
                </c:pt>
                <c:pt idx="34">
                  <c:v>Month 1</c:v>
                </c:pt>
                <c:pt idx="35">
                  <c:v>Month 1</c:v>
                </c:pt>
                <c:pt idx="36">
                  <c:v>Month 1</c:v>
                </c:pt>
                <c:pt idx="37">
                  <c:v>Month 1</c:v>
                </c:pt>
                <c:pt idx="38">
                  <c:v>Month 1</c:v>
                </c:pt>
                <c:pt idx="39">
                  <c:v>Month 1</c:v>
                </c:pt>
                <c:pt idx="40">
                  <c:v>Month 1</c:v>
                </c:pt>
                <c:pt idx="41">
                  <c:v>Month 1</c:v>
                </c:pt>
                <c:pt idx="42">
                  <c:v>Month 2</c:v>
                </c:pt>
                <c:pt idx="43">
                  <c:v>Month 2</c:v>
                </c:pt>
                <c:pt idx="44">
                  <c:v>Month 2</c:v>
                </c:pt>
                <c:pt idx="45">
                  <c:v>Month 2</c:v>
                </c:pt>
                <c:pt idx="46">
                  <c:v>Month 2</c:v>
                </c:pt>
                <c:pt idx="47">
                  <c:v>Month 2</c:v>
                </c:pt>
                <c:pt idx="48">
                  <c:v>Month 2</c:v>
                </c:pt>
                <c:pt idx="49">
                  <c:v>Month 2</c:v>
                </c:pt>
                <c:pt idx="50">
                  <c:v>Month 2</c:v>
                </c:pt>
                <c:pt idx="51">
                  <c:v>Month 2</c:v>
                </c:pt>
                <c:pt idx="52">
                  <c:v>Month 2</c:v>
                </c:pt>
                <c:pt idx="53">
                  <c:v>Month 2</c:v>
                </c:pt>
                <c:pt idx="54">
                  <c:v>Month 2</c:v>
                </c:pt>
                <c:pt idx="55">
                  <c:v>Month 2</c:v>
                </c:pt>
                <c:pt idx="56">
                  <c:v>Month 2</c:v>
                </c:pt>
                <c:pt idx="57">
                  <c:v>Month 2</c:v>
                </c:pt>
                <c:pt idx="58">
                  <c:v>Month 2</c:v>
                </c:pt>
                <c:pt idx="59">
                  <c:v>Month 2</c:v>
                </c:pt>
                <c:pt idx="60">
                  <c:v>Month 2</c:v>
                </c:pt>
                <c:pt idx="61">
                  <c:v>Month 2</c:v>
                </c:pt>
                <c:pt idx="62">
                  <c:v>Month 2</c:v>
                </c:pt>
                <c:pt idx="63">
                  <c:v>Month 3</c:v>
                </c:pt>
                <c:pt idx="64">
                  <c:v>Month 3</c:v>
                </c:pt>
                <c:pt idx="65">
                  <c:v>Month 3</c:v>
                </c:pt>
                <c:pt idx="66">
                  <c:v>Month 3</c:v>
                </c:pt>
                <c:pt idx="67">
                  <c:v>Month 3</c:v>
                </c:pt>
                <c:pt idx="68">
                  <c:v>Month 3</c:v>
                </c:pt>
                <c:pt idx="69">
                  <c:v>Month 3</c:v>
                </c:pt>
                <c:pt idx="70">
                  <c:v>Month 3</c:v>
                </c:pt>
                <c:pt idx="71">
                  <c:v>Month 3</c:v>
                </c:pt>
                <c:pt idx="72">
                  <c:v>Month 3</c:v>
                </c:pt>
                <c:pt idx="73">
                  <c:v>Month 3</c:v>
                </c:pt>
                <c:pt idx="74">
                  <c:v>Month 3</c:v>
                </c:pt>
                <c:pt idx="75">
                  <c:v>Month 3</c:v>
                </c:pt>
                <c:pt idx="76">
                  <c:v>Month 3</c:v>
                </c:pt>
                <c:pt idx="77">
                  <c:v>Month 3</c:v>
                </c:pt>
                <c:pt idx="78">
                  <c:v>Month 3</c:v>
                </c:pt>
                <c:pt idx="79">
                  <c:v>Month 3</c:v>
                </c:pt>
                <c:pt idx="80">
                  <c:v>Month 3</c:v>
                </c:pt>
                <c:pt idx="81">
                  <c:v>Month 3</c:v>
                </c:pt>
                <c:pt idx="82">
                  <c:v>Month 3</c:v>
                </c:pt>
                <c:pt idx="83">
                  <c:v>Month 3</c:v>
                </c:pt>
                <c:pt idx="84">
                  <c:v>Month 4</c:v>
                </c:pt>
                <c:pt idx="85">
                  <c:v>Month 4</c:v>
                </c:pt>
                <c:pt idx="86">
                  <c:v>Month 4</c:v>
                </c:pt>
                <c:pt idx="87">
                  <c:v>Month 4</c:v>
                </c:pt>
                <c:pt idx="88">
                  <c:v>Month 4</c:v>
                </c:pt>
                <c:pt idx="89">
                  <c:v>Month 4</c:v>
                </c:pt>
                <c:pt idx="90">
                  <c:v>Month 4</c:v>
                </c:pt>
                <c:pt idx="91">
                  <c:v>Month 4</c:v>
                </c:pt>
                <c:pt idx="92">
                  <c:v>Month 4</c:v>
                </c:pt>
                <c:pt idx="93">
                  <c:v>Month 4</c:v>
                </c:pt>
                <c:pt idx="94">
                  <c:v>Month 4</c:v>
                </c:pt>
                <c:pt idx="95">
                  <c:v>Month 4</c:v>
                </c:pt>
                <c:pt idx="96">
                  <c:v>Month 4</c:v>
                </c:pt>
                <c:pt idx="97">
                  <c:v>Month 4</c:v>
                </c:pt>
                <c:pt idx="98">
                  <c:v>Month 4</c:v>
                </c:pt>
                <c:pt idx="99">
                  <c:v>Month 4</c:v>
                </c:pt>
                <c:pt idx="100">
                  <c:v>Month 4</c:v>
                </c:pt>
                <c:pt idx="101">
                  <c:v>Month 4</c:v>
                </c:pt>
                <c:pt idx="102">
                  <c:v>Month 4</c:v>
                </c:pt>
                <c:pt idx="103">
                  <c:v>Month 4</c:v>
                </c:pt>
                <c:pt idx="104">
                  <c:v>Month 5</c:v>
                </c:pt>
                <c:pt idx="105">
                  <c:v>Month 5</c:v>
                </c:pt>
                <c:pt idx="106">
                  <c:v>Month 5</c:v>
                </c:pt>
                <c:pt idx="107">
                  <c:v>Month 5</c:v>
                </c:pt>
                <c:pt idx="108">
                  <c:v>Month 5</c:v>
                </c:pt>
                <c:pt idx="109">
                  <c:v>Month 5</c:v>
                </c:pt>
                <c:pt idx="110">
                  <c:v>Month 5</c:v>
                </c:pt>
                <c:pt idx="111">
                  <c:v>Month 5</c:v>
                </c:pt>
                <c:pt idx="112">
                  <c:v>Month 5</c:v>
                </c:pt>
                <c:pt idx="113">
                  <c:v>Month 5</c:v>
                </c:pt>
                <c:pt idx="114">
                  <c:v>Month 5</c:v>
                </c:pt>
                <c:pt idx="115">
                  <c:v>Month 5</c:v>
                </c:pt>
                <c:pt idx="116">
                  <c:v>Month 5</c:v>
                </c:pt>
                <c:pt idx="117">
                  <c:v>Month 5</c:v>
                </c:pt>
                <c:pt idx="118">
                  <c:v>Month 5</c:v>
                </c:pt>
                <c:pt idx="119">
                  <c:v>Month 5</c:v>
                </c:pt>
                <c:pt idx="120">
                  <c:v>Month 5</c:v>
                </c:pt>
                <c:pt idx="121">
                  <c:v>Month 5</c:v>
                </c:pt>
                <c:pt idx="122">
                  <c:v>Month 5</c:v>
                </c:pt>
                <c:pt idx="123">
                  <c:v>Month 5</c:v>
                </c:pt>
                <c:pt idx="124">
                  <c:v>Month 5</c:v>
                </c:pt>
                <c:pt idx="125">
                  <c:v>Month 6</c:v>
                </c:pt>
                <c:pt idx="126">
                  <c:v>Month 6</c:v>
                </c:pt>
                <c:pt idx="127">
                  <c:v>Month 6</c:v>
                </c:pt>
                <c:pt idx="128">
                  <c:v>Month 6</c:v>
                </c:pt>
                <c:pt idx="129">
                  <c:v>Month 6</c:v>
                </c:pt>
                <c:pt idx="130">
                  <c:v>Month 6</c:v>
                </c:pt>
                <c:pt idx="131">
                  <c:v>Month 6</c:v>
                </c:pt>
                <c:pt idx="132">
                  <c:v>Month 6</c:v>
                </c:pt>
                <c:pt idx="133">
                  <c:v>Month 6</c:v>
                </c:pt>
                <c:pt idx="134">
                  <c:v>Month 6</c:v>
                </c:pt>
                <c:pt idx="135">
                  <c:v>Month 6</c:v>
                </c:pt>
                <c:pt idx="136">
                  <c:v>Month 6</c:v>
                </c:pt>
                <c:pt idx="137">
                  <c:v>Month 6</c:v>
                </c:pt>
                <c:pt idx="138">
                  <c:v>Month 6</c:v>
                </c:pt>
                <c:pt idx="139">
                  <c:v>Month 6</c:v>
                </c:pt>
                <c:pt idx="140">
                  <c:v>Month 6</c:v>
                </c:pt>
                <c:pt idx="141">
                  <c:v>Month 6</c:v>
                </c:pt>
                <c:pt idx="142">
                  <c:v>Month 6</c:v>
                </c:pt>
                <c:pt idx="143">
                  <c:v>Month 6</c:v>
                </c:pt>
                <c:pt idx="144">
                  <c:v>Month 6</c:v>
                </c:pt>
                <c:pt idx="145">
                  <c:v>Month 6</c:v>
                </c:pt>
                <c:pt idx="146">
                  <c:v>Month 7</c:v>
                </c:pt>
                <c:pt idx="147">
                  <c:v>Month 7</c:v>
                </c:pt>
                <c:pt idx="148">
                  <c:v>Month 7</c:v>
                </c:pt>
                <c:pt idx="149">
                  <c:v>Month 7</c:v>
                </c:pt>
                <c:pt idx="150">
                  <c:v>Month 7</c:v>
                </c:pt>
                <c:pt idx="151">
                  <c:v>Month 7</c:v>
                </c:pt>
                <c:pt idx="152">
                  <c:v>Month 7</c:v>
                </c:pt>
                <c:pt idx="153">
                  <c:v>Month 7</c:v>
                </c:pt>
                <c:pt idx="154">
                  <c:v>Month 7</c:v>
                </c:pt>
                <c:pt idx="155">
                  <c:v>Month 7</c:v>
                </c:pt>
                <c:pt idx="156">
                  <c:v>Month 7</c:v>
                </c:pt>
                <c:pt idx="157">
                  <c:v>Month 7</c:v>
                </c:pt>
                <c:pt idx="158">
                  <c:v>Month 7</c:v>
                </c:pt>
                <c:pt idx="159">
                  <c:v>Month 7</c:v>
                </c:pt>
                <c:pt idx="160">
                  <c:v>Month 7</c:v>
                </c:pt>
                <c:pt idx="161">
                  <c:v>Month 7</c:v>
                </c:pt>
                <c:pt idx="162">
                  <c:v>Month 7</c:v>
                </c:pt>
                <c:pt idx="163">
                  <c:v>Month 7</c:v>
                </c:pt>
                <c:pt idx="164">
                  <c:v>Month 7</c:v>
                </c:pt>
                <c:pt idx="165">
                  <c:v>Month 7</c:v>
                </c:pt>
                <c:pt idx="166">
                  <c:v>Month 7</c:v>
                </c:pt>
                <c:pt idx="167">
                  <c:v>Month 8</c:v>
                </c:pt>
                <c:pt idx="168">
                  <c:v>Month 8</c:v>
                </c:pt>
                <c:pt idx="169">
                  <c:v>Month 8</c:v>
                </c:pt>
                <c:pt idx="170">
                  <c:v>Month 8</c:v>
                </c:pt>
                <c:pt idx="171">
                  <c:v>Month 8</c:v>
                </c:pt>
                <c:pt idx="172">
                  <c:v>Month 8</c:v>
                </c:pt>
                <c:pt idx="173">
                  <c:v>Month 8</c:v>
                </c:pt>
                <c:pt idx="174">
                  <c:v>Month 8</c:v>
                </c:pt>
                <c:pt idx="175">
                  <c:v>Month 8</c:v>
                </c:pt>
                <c:pt idx="176">
                  <c:v>Month 8</c:v>
                </c:pt>
                <c:pt idx="177">
                  <c:v>Month 8</c:v>
                </c:pt>
                <c:pt idx="178">
                  <c:v>Month 8</c:v>
                </c:pt>
                <c:pt idx="179">
                  <c:v>Month 8</c:v>
                </c:pt>
                <c:pt idx="180">
                  <c:v>Month 8</c:v>
                </c:pt>
                <c:pt idx="181">
                  <c:v>Month 8</c:v>
                </c:pt>
                <c:pt idx="182">
                  <c:v>Month 8</c:v>
                </c:pt>
                <c:pt idx="183">
                  <c:v>Month 8</c:v>
                </c:pt>
                <c:pt idx="184">
                  <c:v>Month 8</c:v>
                </c:pt>
                <c:pt idx="185">
                  <c:v>Month 8</c:v>
                </c:pt>
                <c:pt idx="186">
                  <c:v>Month 8</c:v>
                </c:pt>
                <c:pt idx="187">
                  <c:v>Month 8</c:v>
                </c:pt>
                <c:pt idx="188">
                  <c:v>Month 9</c:v>
                </c:pt>
                <c:pt idx="189">
                  <c:v>Month 9</c:v>
                </c:pt>
                <c:pt idx="190">
                  <c:v>Month 9</c:v>
                </c:pt>
                <c:pt idx="191">
                  <c:v>Month 9</c:v>
                </c:pt>
                <c:pt idx="192">
                  <c:v>Month 9</c:v>
                </c:pt>
                <c:pt idx="193">
                  <c:v>Month 9</c:v>
                </c:pt>
                <c:pt idx="194">
                  <c:v>Month 9</c:v>
                </c:pt>
                <c:pt idx="195">
                  <c:v>Month 9</c:v>
                </c:pt>
                <c:pt idx="196">
                  <c:v>Month 9</c:v>
                </c:pt>
                <c:pt idx="197">
                  <c:v>Month 9</c:v>
                </c:pt>
                <c:pt idx="198">
                  <c:v>Month 9</c:v>
                </c:pt>
                <c:pt idx="199">
                  <c:v>Month 9</c:v>
                </c:pt>
                <c:pt idx="200">
                  <c:v>Month 9</c:v>
                </c:pt>
                <c:pt idx="201">
                  <c:v>Month 9</c:v>
                </c:pt>
                <c:pt idx="202">
                  <c:v>Month 9</c:v>
                </c:pt>
                <c:pt idx="203">
                  <c:v>Month 9</c:v>
                </c:pt>
                <c:pt idx="204">
                  <c:v>Month 9</c:v>
                </c:pt>
                <c:pt idx="205">
                  <c:v>Month 9</c:v>
                </c:pt>
                <c:pt idx="206">
                  <c:v>Month 9</c:v>
                </c:pt>
                <c:pt idx="207">
                  <c:v>Month 9</c:v>
                </c:pt>
                <c:pt idx="208">
                  <c:v>Month 10</c:v>
                </c:pt>
                <c:pt idx="209">
                  <c:v>Month 10</c:v>
                </c:pt>
                <c:pt idx="210">
                  <c:v>Month 10</c:v>
                </c:pt>
                <c:pt idx="211">
                  <c:v>Month 10</c:v>
                </c:pt>
                <c:pt idx="212">
                  <c:v>Month 10</c:v>
                </c:pt>
                <c:pt idx="213">
                  <c:v>Month 10</c:v>
                </c:pt>
                <c:pt idx="214">
                  <c:v>Month 10</c:v>
                </c:pt>
                <c:pt idx="215">
                  <c:v>Month 10</c:v>
                </c:pt>
                <c:pt idx="216">
                  <c:v>Month 10</c:v>
                </c:pt>
                <c:pt idx="217">
                  <c:v>Month 10</c:v>
                </c:pt>
                <c:pt idx="218">
                  <c:v>Month 10</c:v>
                </c:pt>
                <c:pt idx="219">
                  <c:v>Month 10</c:v>
                </c:pt>
                <c:pt idx="220">
                  <c:v>Month 10</c:v>
                </c:pt>
                <c:pt idx="221">
                  <c:v>Month 10</c:v>
                </c:pt>
                <c:pt idx="222">
                  <c:v>Month 10</c:v>
                </c:pt>
                <c:pt idx="223">
                  <c:v>Month 10</c:v>
                </c:pt>
                <c:pt idx="224">
                  <c:v>Month 10</c:v>
                </c:pt>
                <c:pt idx="225">
                  <c:v>Month 10</c:v>
                </c:pt>
                <c:pt idx="226">
                  <c:v>Month 10</c:v>
                </c:pt>
                <c:pt idx="227">
                  <c:v>Month 10</c:v>
                </c:pt>
                <c:pt idx="228">
                  <c:v>Month 10</c:v>
                </c:pt>
                <c:pt idx="229">
                  <c:v>Month 11</c:v>
                </c:pt>
                <c:pt idx="230">
                  <c:v>Month 11</c:v>
                </c:pt>
                <c:pt idx="231">
                  <c:v>Month 11</c:v>
                </c:pt>
                <c:pt idx="232">
                  <c:v>Month 11</c:v>
                </c:pt>
                <c:pt idx="233">
                  <c:v>Month 11</c:v>
                </c:pt>
                <c:pt idx="234">
                  <c:v>Month 11</c:v>
                </c:pt>
                <c:pt idx="235">
                  <c:v>Month 11</c:v>
                </c:pt>
                <c:pt idx="236">
                  <c:v>Month 11</c:v>
                </c:pt>
                <c:pt idx="237">
                  <c:v>Month 11</c:v>
                </c:pt>
                <c:pt idx="238">
                  <c:v>Month 11</c:v>
                </c:pt>
                <c:pt idx="239">
                  <c:v>Month 11</c:v>
                </c:pt>
                <c:pt idx="240">
                  <c:v>Month 11</c:v>
                </c:pt>
                <c:pt idx="241">
                  <c:v>Month 11</c:v>
                </c:pt>
                <c:pt idx="242">
                  <c:v>Month 11</c:v>
                </c:pt>
                <c:pt idx="243">
                  <c:v>Month 11</c:v>
                </c:pt>
                <c:pt idx="244">
                  <c:v>Month 11</c:v>
                </c:pt>
                <c:pt idx="245">
                  <c:v>Month 11</c:v>
                </c:pt>
                <c:pt idx="246">
                  <c:v>Month 11</c:v>
                </c:pt>
                <c:pt idx="247">
                  <c:v>Month 11</c:v>
                </c:pt>
                <c:pt idx="248">
                  <c:v>Month 11</c:v>
                </c:pt>
                <c:pt idx="249">
                  <c:v>Month 11</c:v>
                </c:pt>
                <c:pt idx="250">
                  <c:v>Month 12</c:v>
                </c:pt>
                <c:pt idx="251">
                  <c:v>Month 12</c:v>
                </c:pt>
                <c:pt idx="252">
                  <c:v>Month 12</c:v>
                </c:pt>
                <c:pt idx="253">
                  <c:v>Month 12</c:v>
                </c:pt>
                <c:pt idx="254">
                  <c:v>Month 12</c:v>
                </c:pt>
                <c:pt idx="255">
                  <c:v>Month 12</c:v>
                </c:pt>
                <c:pt idx="256">
                  <c:v>Month 12</c:v>
                </c:pt>
                <c:pt idx="257">
                  <c:v>Month 12</c:v>
                </c:pt>
                <c:pt idx="258">
                  <c:v>Month 12</c:v>
                </c:pt>
                <c:pt idx="259">
                  <c:v>Month 12</c:v>
                </c:pt>
                <c:pt idx="260">
                  <c:v>Month 12</c:v>
                </c:pt>
                <c:pt idx="261">
                  <c:v>Month 12</c:v>
                </c:pt>
                <c:pt idx="262">
                  <c:v>Month 12</c:v>
                </c:pt>
                <c:pt idx="263">
                  <c:v>Month 12</c:v>
                </c:pt>
                <c:pt idx="264">
                  <c:v>Month 12</c:v>
                </c:pt>
                <c:pt idx="265">
                  <c:v>Month 12</c:v>
                </c:pt>
                <c:pt idx="266">
                  <c:v>Month 12</c:v>
                </c:pt>
                <c:pt idx="267">
                  <c:v>Month 12</c:v>
                </c:pt>
                <c:pt idx="268">
                  <c:v>Month 12</c:v>
                </c:pt>
                <c:pt idx="269">
                  <c:v>Month 12</c:v>
                </c:pt>
                <c:pt idx="270">
                  <c:v>Month 12</c:v>
                </c:pt>
                <c:pt idx="271">
                  <c:v>Month 13</c:v>
                </c:pt>
                <c:pt idx="272">
                  <c:v>Month 13</c:v>
                </c:pt>
                <c:pt idx="273">
                  <c:v>Month 13</c:v>
                </c:pt>
                <c:pt idx="274">
                  <c:v>Month 13</c:v>
                </c:pt>
                <c:pt idx="275">
                  <c:v>Month 13</c:v>
                </c:pt>
                <c:pt idx="276">
                  <c:v>Month 13</c:v>
                </c:pt>
                <c:pt idx="277">
                  <c:v>Month 13</c:v>
                </c:pt>
                <c:pt idx="278">
                  <c:v>Month 13</c:v>
                </c:pt>
                <c:pt idx="279">
                  <c:v>Month 13</c:v>
                </c:pt>
                <c:pt idx="280">
                  <c:v>Month 13</c:v>
                </c:pt>
                <c:pt idx="281">
                  <c:v>Month 13</c:v>
                </c:pt>
                <c:pt idx="282">
                  <c:v>Month 13</c:v>
                </c:pt>
                <c:pt idx="283">
                  <c:v>Month 13</c:v>
                </c:pt>
                <c:pt idx="284">
                  <c:v>Month 13</c:v>
                </c:pt>
                <c:pt idx="285">
                  <c:v>Month 13</c:v>
                </c:pt>
                <c:pt idx="286">
                  <c:v>Month 13</c:v>
                </c:pt>
                <c:pt idx="287">
                  <c:v>Month 13</c:v>
                </c:pt>
                <c:pt idx="288">
                  <c:v>Month 13</c:v>
                </c:pt>
                <c:pt idx="289">
                  <c:v>Month 13</c:v>
                </c:pt>
                <c:pt idx="290">
                  <c:v>Month 13</c:v>
                </c:pt>
                <c:pt idx="291">
                  <c:v>Month 13</c:v>
                </c:pt>
                <c:pt idx="292">
                  <c:v>Month 14</c:v>
                </c:pt>
                <c:pt idx="293">
                  <c:v>Month 14</c:v>
                </c:pt>
                <c:pt idx="294">
                  <c:v>Month 14</c:v>
                </c:pt>
                <c:pt idx="295">
                  <c:v>Month 14</c:v>
                </c:pt>
                <c:pt idx="296">
                  <c:v>Month 14</c:v>
                </c:pt>
                <c:pt idx="297">
                  <c:v>Month 14</c:v>
                </c:pt>
                <c:pt idx="298">
                  <c:v>Month 14</c:v>
                </c:pt>
                <c:pt idx="299">
                  <c:v>Month 14</c:v>
                </c:pt>
                <c:pt idx="300">
                  <c:v>Month 14</c:v>
                </c:pt>
                <c:pt idx="301">
                  <c:v>Month 14</c:v>
                </c:pt>
                <c:pt idx="302">
                  <c:v>Month 14</c:v>
                </c:pt>
                <c:pt idx="303">
                  <c:v>Month 14</c:v>
                </c:pt>
                <c:pt idx="304">
                  <c:v>Month 14</c:v>
                </c:pt>
                <c:pt idx="305">
                  <c:v>Month 14</c:v>
                </c:pt>
                <c:pt idx="306">
                  <c:v>Month 14</c:v>
                </c:pt>
                <c:pt idx="307">
                  <c:v>Month 14</c:v>
                </c:pt>
                <c:pt idx="308">
                  <c:v>Month 14</c:v>
                </c:pt>
                <c:pt idx="309">
                  <c:v>Month 14</c:v>
                </c:pt>
                <c:pt idx="310">
                  <c:v>Month 14</c:v>
                </c:pt>
                <c:pt idx="311">
                  <c:v>Month 14</c:v>
                </c:pt>
                <c:pt idx="312">
                  <c:v>Month 15</c:v>
                </c:pt>
                <c:pt idx="313">
                  <c:v>Month 15</c:v>
                </c:pt>
                <c:pt idx="314">
                  <c:v>Month 15</c:v>
                </c:pt>
                <c:pt idx="315">
                  <c:v>Month 15</c:v>
                </c:pt>
                <c:pt idx="316">
                  <c:v>Month 15</c:v>
                </c:pt>
                <c:pt idx="317">
                  <c:v>Month 15</c:v>
                </c:pt>
                <c:pt idx="318">
                  <c:v>Month 15</c:v>
                </c:pt>
                <c:pt idx="319">
                  <c:v>Month 15</c:v>
                </c:pt>
                <c:pt idx="320">
                  <c:v>Month 15</c:v>
                </c:pt>
                <c:pt idx="321">
                  <c:v>Month 15</c:v>
                </c:pt>
                <c:pt idx="322">
                  <c:v>Month 15</c:v>
                </c:pt>
                <c:pt idx="323">
                  <c:v>Month 15</c:v>
                </c:pt>
                <c:pt idx="324">
                  <c:v>Month 15</c:v>
                </c:pt>
                <c:pt idx="325">
                  <c:v>Month 15</c:v>
                </c:pt>
                <c:pt idx="326">
                  <c:v>Month 15</c:v>
                </c:pt>
                <c:pt idx="327">
                  <c:v>Month 15</c:v>
                </c:pt>
                <c:pt idx="328">
                  <c:v>Month 15</c:v>
                </c:pt>
                <c:pt idx="329">
                  <c:v>Month 15</c:v>
                </c:pt>
                <c:pt idx="330">
                  <c:v>Month 15</c:v>
                </c:pt>
                <c:pt idx="331">
                  <c:v>Month 15</c:v>
                </c:pt>
                <c:pt idx="332">
                  <c:v>Month 15</c:v>
                </c:pt>
                <c:pt idx="333">
                  <c:v>Month 16</c:v>
                </c:pt>
                <c:pt idx="334">
                  <c:v>Month 16</c:v>
                </c:pt>
                <c:pt idx="335">
                  <c:v>Month 16</c:v>
                </c:pt>
                <c:pt idx="336">
                  <c:v>Month 16</c:v>
                </c:pt>
                <c:pt idx="337">
                  <c:v>Month 16</c:v>
                </c:pt>
                <c:pt idx="338">
                  <c:v>Month 16</c:v>
                </c:pt>
                <c:pt idx="339">
                  <c:v>Month 16</c:v>
                </c:pt>
                <c:pt idx="340">
                  <c:v>Month 16</c:v>
                </c:pt>
                <c:pt idx="341">
                  <c:v>Month 16</c:v>
                </c:pt>
                <c:pt idx="342">
                  <c:v>Month 16</c:v>
                </c:pt>
                <c:pt idx="343">
                  <c:v>Month 16</c:v>
                </c:pt>
                <c:pt idx="344">
                  <c:v>Month 16</c:v>
                </c:pt>
                <c:pt idx="345">
                  <c:v>Month 16</c:v>
                </c:pt>
                <c:pt idx="346">
                  <c:v>Month 16</c:v>
                </c:pt>
                <c:pt idx="347">
                  <c:v>Month 16</c:v>
                </c:pt>
                <c:pt idx="348">
                  <c:v>Month 16</c:v>
                </c:pt>
                <c:pt idx="349">
                  <c:v>Month 16</c:v>
                </c:pt>
                <c:pt idx="350">
                  <c:v>Month 16</c:v>
                </c:pt>
                <c:pt idx="351">
                  <c:v>Month 16</c:v>
                </c:pt>
                <c:pt idx="352">
                  <c:v>Month 16</c:v>
                </c:pt>
                <c:pt idx="353">
                  <c:v>Month 16</c:v>
                </c:pt>
                <c:pt idx="354">
                  <c:v>Month 17</c:v>
                </c:pt>
                <c:pt idx="355">
                  <c:v>Month 17</c:v>
                </c:pt>
                <c:pt idx="356">
                  <c:v>Month 17</c:v>
                </c:pt>
                <c:pt idx="357">
                  <c:v>Month 17</c:v>
                </c:pt>
                <c:pt idx="358">
                  <c:v>Month 17</c:v>
                </c:pt>
                <c:pt idx="359">
                  <c:v>Month 17</c:v>
                </c:pt>
                <c:pt idx="360">
                  <c:v>Month 17</c:v>
                </c:pt>
                <c:pt idx="361">
                  <c:v>Month 17</c:v>
                </c:pt>
                <c:pt idx="362">
                  <c:v>Month 17</c:v>
                </c:pt>
                <c:pt idx="363">
                  <c:v>Month 17</c:v>
                </c:pt>
                <c:pt idx="364">
                  <c:v>Month 17</c:v>
                </c:pt>
                <c:pt idx="365">
                  <c:v>Month 17</c:v>
                </c:pt>
                <c:pt idx="366">
                  <c:v>Month 17</c:v>
                </c:pt>
                <c:pt idx="367">
                  <c:v>Month 17</c:v>
                </c:pt>
                <c:pt idx="368">
                  <c:v>Month 17</c:v>
                </c:pt>
                <c:pt idx="369">
                  <c:v>Month 17</c:v>
                </c:pt>
                <c:pt idx="370">
                  <c:v>Month 17</c:v>
                </c:pt>
                <c:pt idx="371">
                  <c:v>Month 17</c:v>
                </c:pt>
                <c:pt idx="372">
                  <c:v>Month 17</c:v>
                </c:pt>
                <c:pt idx="373">
                  <c:v>Month 17</c:v>
                </c:pt>
                <c:pt idx="374">
                  <c:v>Month 17</c:v>
                </c:pt>
                <c:pt idx="375">
                  <c:v>Month 18</c:v>
                </c:pt>
                <c:pt idx="376">
                  <c:v>Month 18</c:v>
                </c:pt>
                <c:pt idx="377">
                  <c:v>Month 18</c:v>
                </c:pt>
                <c:pt idx="378">
                  <c:v>Month 18</c:v>
                </c:pt>
                <c:pt idx="379">
                  <c:v>Month 18</c:v>
                </c:pt>
                <c:pt idx="380">
                  <c:v>Month 18</c:v>
                </c:pt>
              </c:strCache>
            </c:strRef>
          </c:cat>
          <c:val>
            <c:numRef>
              <c:f>'Average returns'!$B$4:$B$384</c:f>
              <c:numCache>
                <c:formatCode>0%</c:formatCode>
                <c:ptCount val="381"/>
                <c:pt idx="0">
                  <c:v>1</c:v>
                </c:pt>
                <c:pt idx="1">
                  <c:v>0.98943196342238027</c:v>
                </c:pt>
                <c:pt idx="2">
                  <c:v>1.0051328966758739</c:v>
                </c:pt>
                <c:pt idx="3">
                  <c:v>1.0018297691350666</c:v>
                </c:pt>
                <c:pt idx="4">
                  <c:v>1.0140754624101764</c:v>
                </c:pt>
                <c:pt idx="5">
                  <c:v>1.0037300374772806</c:v>
                </c:pt>
                <c:pt idx="6">
                  <c:v>1.0072459946878185</c:v>
                </c:pt>
                <c:pt idx="7">
                  <c:v>1.0030025053352107</c:v>
                </c:pt>
                <c:pt idx="8">
                  <c:v>0.99929835789739629</c:v>
                </c:pt>
                <c:pt idx="9">
                  <c:v>0.99454032574958695</c:v>
                </c:pt>
                <c:pt idx="10">
                  <c:v>1.0025882149271577</c:v>
                </c:pt>
                <c:pt idx="11">
                  <c:v>1.0068039831131037</c:v>
                </c:pt>
                <c:pt idx="12">
                  <c:v>1.0160104509848438</c:v>
                </c:pt>
                <c:pt idx="13">
                  <c:v>1.016192066813425</c:v>
                </c:pt>
                <c:pt idx="14">
                  <c:v>1.0257609567555839</c:v>
                </c:pt>
                <c:pt idx="15">
                  <c:v>1.0234777696033648</c:v>
                </c:pt>
                <c:pt idx="16">
                  <c:v>1.0100948483796912</c:v>
                </c:pt>
                <c:pt idx="17">
                  <c:v>1.0237110955299344</c:v>
                </c:pt>
                <c:pt idx="18">
                  <c:v>1.0332483725619801</c:v>
                </c:pt>
                <c:pt idx="19">
                  <c:v>1.0397302734937188</c:v>
                </c:pt>
                <c:pt idx="20">
                  <c:v>1.0417703039031403</c:v>
                </c:pt>
                <c:pt idx="21">
                  <c:v>1.0437677380473354</c:v>
                </c:pt>
                <c:pt idx="22">
                  <c:v>1.0479076870646435</c:v>
                </c:pt>
                <c:pt idx="23">
                  <c:v>1.047528237678701</c:v>
                </c:pt>
                <c:pt idx="24">
                  <c:v>1.0465657358974609</c:v>
                </c:pt>
                <c:pt idx="25">
                  <c:v>1.0456429646770777</c:v>
                </c:pt>
                <c:pt idx="26">
                  <c:v>1.0495275755123736</c:v>
                </c:pt>
                <c:pt idx="27">
                  <c:v>1.0692222535928015</c:v>
                </c:pt>
                <c:pt idx="28">
                  <c:v>1.0747852855747018</c:v>
                </c:pt>
                <c:pt idx="29">
                  <c:v>1.080647636563445</c:v>
                </c:pt>
                <c:pt idx="30">
                  <c:v>1.0757186803501597</c:v>
                </c:pt>
                <c:pt idx="31">
                  <c:v>1.0708382523450737</c:v>
                </c:pt>
                <c:pt idx="32">
                  <c:v>1.0829452436322862</c:v>
                </c:pt>
                <c:pt idx="33">
                  <c:v>1.0907190502096888</c:v>
                </c:pt>
                <c:pt idx="34">
                  <c:v>1.097834205153464</c:v>
                </c:pt>
                <c:pt idx="35">
                  <c:v>1.0926857338486857</c:v>
                </c:pt>
                <c:pt idx="36">
                  <c:v>1.1029307585626151</c:v>
                </c:pt>
                <c:pt idx="37">
                  <c:v>1.0966291407860072</c:v>
                </c:pt>
                <c:pt idx="38">
                  <c:v>1.092893288956142</c:v>
                </c:pt>
                <c:pt idx="39">
                  <c:v>1.0970508770298311</c:v>
                </c:pt>
                <c:pt idx="40">
                  <c:v>1.10089017033109</c:v>
                </c:pt>
                <c:pt idx="41">
                  <c:v>1.1040824091581602</c:v>
                </c:pt>
                <c:pt idx="42">
                  <c:v>1.097620070496458</c:v>
                </c:pt>
                <c:pt idx="43">
                  <c:v>1.0977582556740164</c:v>
                </c:pt>
                <c:pt idx="44">
                  <c:v>1.1036747395358897</c:v>
                </c:pt>
                <c:pt idx="45">
                  <c:v>1.1036504372998084</c:v>
                </c:pt>
                <c:pt idx="46">
                  <c:v>1.0988339542065026</c:v>
                </c:pt>
                <c:pt idx="47">
                  <c:v>1.0881337077944029</c:v>
                </c:pt>
                <c:pt idx="48">
                  <c:v>1.0789422375173301</c:v>
                </c:pt>
                <c:pt idx="49">
                  <c:v>1.0890980488605961</c:v>
                </c:pt>
                <c:pt idx="50">
                  <c:v>1.0926036824621193</c:v>
                </c:pt>
                <c:pt idx="51">
                  <c:v>1.089871085808287</c:v>
                </c:pt>
                <c:pt idx="52">
                  <c:v>1.0946601732003345</c:v>
                </c:pt>
                <c:pt idx="53">
                  <c:v>1.1087773093807951</c:v>
                </c:pt>
                <c:pt idx="54">
                  <c:v>1.0993047783700591</c:v>
                </c:pt>
                <c:pt idx="55">
                  <c:v>1.0882064249548131</c:v>
                </c:pt>
                <c:pt idx="56">
                  <c:v>1.1000712069942111</c:v>
                </c:pt>
                <c:pt idx="57">
                  <c:v>1.1023065326850019</c:v>
                </c:pt>
                <c:pt idx="58">
                  <c:v>1.1150589221042717</c:v>
                </c:pt>
                <c:pt idx="59">
                  <c:v>1.107425390711843</c:v>
                </c:pt>
                <c:pt idx="60">
                  <c:v>1.1142064461331322</c:v>
                </c:pt>
                <c:pt idx="61">
                  <c:v>1.1176702763493147</c:v>
                </c:pt>
                <c:pt idx="62">
                  <c:v>1.1283784174076781</c:v>
                </c:pt>
                <c:pt idx="63">
                  <c:v>1.1206622559085668</c:v>
                </c:pt>
                <c:pt idx="64">
                  <c:v>1.1213152370084798</c:v>
                </c:pt>
                <c:pt idx="65">
                  <c:v>1.125302995893469</c:v>
                </c:pt>
                <c:pt idx="66">
                  <c:v>1.1156006960147311</c:v>
                </c:pt>
                <c:pt idx="67">
                  <c:v>1.1075982744208024</c:v>
                </c:pt>
                <c:pt idx="68">
                  <c:v>1.1085403822342781</c:v>
                </c:pt>
                <c:pt idx="69">
                  <c:v>1.1130939929773853</c:v>
                </c:pt>
                <c:pt idx="70">
                  <c:v>1.1205993775819942</c:v>
                </c:pt>
                <c:pt idx="71">
                  <c:v>1.1294422686170704</c:v>
                </c:pt>
                <c:pt idx="72">
                  <c:v>1.1300503368975485</c:v>
                </c:pt>
                <c:pt idx="73">
                  <c:v>1.1230434764987054</c:v>
                </c:pt>
                <c:pt idx="74">
                  <c:v>1.0963137612174569</c:v>
                </c:pt>
                <c:pt idx="75">
                  <c:v>1.0965358974191095</c:v>
                </c:pt>
                <c:pt idx="76">
                  <c:v>1.0867222178891713</c:v>
                </c:pt>
                <c:pt idx="77">
                  <c:v>1.0807976175026459</c:v>
                </c:pt>
                <c:pt idx="78">
                  <c:v>1.0781276718917525</c:v>
                </c:pt>
                <c:pt idx="79">
                  <c:v>1.0657238019808715</c:v>
                </c:pt>
                <c:pt idx="80">
                  <c:v>1.0753450993678064</c:v>
                </c:pt>
                <c:pt idx="81">
                  <c:v>1.0783328291068734</c:v>
                </c:pt>
                <c:pt idx="82">
                  <c:v>1.0793898707726322</c:v>
                </c:pt>
                <c:pt idx="83">
                  <c:v>1.0894938774436989</c:v>
                </c:pt>
                <c:pt idx="84">
                  <c:v>1.0847994865470418</c:v>
                </c:pt>
                <c:pt idx="85">
                  <c:v>1.0758537015048451</c:v>
                </c:pt>
                <c:pt idx="86">
                  <c:v>1.0962514854451955</c:v>
                </c:pt>
                <c:pt idx="87">
                  <c:v>1.0841615670485569</c:v>
                </c:pt>
                <c:pt idx="88">
                  <c:v>1.0818807606642726</c:v>
                </c:pt>
                <c:pt idx="89">
                  <c:v>1.0811156152168597</c:v>
                </c:pt>
                <c:pt idx="90">
                  <c:v>1.0777783382153878</c:v>
                </c:pt>
                <c:pt idx="91">
                  <c:v>1.0808035660459929</c:v>
                </c:pt>
                <c:pt idx="92">
                  <c:v>1.0808307587626576</c:v>
                </c:pt>
                <c:pt idx="93">
                  <c:v>1.0876688230029545</c:v>
                </c:pt>
                <c:pt idx="94">
                  <c:v>1.0881746405191011</c:v>
                </c:pt>
                <c:pt idx="95">
                  <c:v>1.0951424406961447</c:v>
                </c:pt>
                <c:pt idx="96">
                  <c:v>1.0935958595449888</c:v>
                </c:pt>
                <c:pt idx="97">
                  <c:v>1.0906278341933158</c:v>
                </c:pt>
                <c:pt idx="98">
                  <c:v>1.0879548914356123</c:v>
                </c:pt>
                <c:pt idx="99">
                  <c:v>1.0861704927474962</c:v>
                </c:pt>
                <c:pt idx="100">
                  <c:v>1.0851578166618634</c:v>
                </c:pt>
                <c:pt idx="101">
                  <c:v>1.1031604449796959</c:v>
                </c:pt>
                <c:pt idx="102">
                  <c:v>1.1178065970933002</c:v>
                </c:pt>
                <c:pt idx="103">
                  <c:v>1.1178604072224785</c:v>
                </c:pt>
                <c:pt idx="104">
                  <c:v>1.1126758375103494</c:v>
                </c:pt>
                <c:pt idx="105">
                  <c:v>1.1162558936714191</c:v>
                </c:pt>
                <c:pt idx="106">
                  <c:v>1.1002863280457196</c:v>
                </c:pt>
                <c:pt idx="107">
                  <c:v>1.1125265328690723</c:v>
                </c:pt>
                <c:pt idx="108">
                  <c:v>1.1220600868533579</c:v>
                </c:pt>
                <c:pt idx="109">
                  <c:v>1.1214356414418505</c:v>
                </c:pt>
                <c:pt idx="110">
                  <c:v>1.1214794119486178</c:v>
                </c:pt>
                <c:pt idx="111">
                  <c:v>1.146846209314011</c:v>
                </c:pt>
                <c:pt idx="112">
                  <c:v>1.1456020223639389</c:v>
                </c:pt>
                <c:pt idx="113">
                  <c:v>1.1513193768010275</c:v>
                </c:pt>
                <c:pt idx="114">
                  <c:v>1.1549424618534936</c:v>
                </c:pt>
                <c:pt idx="115">
                  <c:v>1.167742233860932</c:v>
                </c:pt>
                <c:pt idx="116">
                  <c:v>1.1411014811390399</c:v>
                </c:pt>
                <c:pt idx="117">
                  <c:v>1.1278053335651121</c:v>
                </c:pt>
                <c:pt idx="118">
                  <c:v>1.1476584736369895</c:v>
                </c:pt>
                <c:pt idx="119">
                  <c:v>1.1463541200226885</c:v>
                </c:pt>
                <c:pt idx="120">
                  <c:v>1.1412239834352864</c:v>
                </c:pt>
                <c:pt idx="121">
                  <c:v>1.1601024062254972</c:v>
                </c:pt>
                <c:pt idx="122">
                  <c:v>1.144956020743009</c:v>
                </c:pt>
                <c:pt idx="123">
                  <c:v>1.1500702736049002</c:v>
                </c:pt>
                <c:pt idx="124">
                  <c:v>1.1619444405955457</c:v>
                </c:pt>
                <c:pt idx="125">
                  <c:v>1.1719383500289626</c:v>
                </c:pt>
                <c:pt idx="126">
                  <c:v>1.1622549392991135</c:v>
                </c:pt>
                <c:pt idx="127">
                  <c:v>1.1686715496114792</c:v>
                </c:pt>
                <c:pt idx="128">
                  <c:v>1.1736645727216353</c:v>
                </c:pt>
                <c:pt idx="129">
                  <c:v>1.1757079470855725</c:v>
                </c:pt>
                <c:pt idx="130">
                  <c:v>1.1836100939379302</c:v>
                </c:pt>
                <c:pt idx="131">
                  <c:v>1.1829115101384149</c:v>
                </c:pt>
                <c:pt idx="132">
                  <c:v>1.1686568026985187</c:v>
                </c:pt>
                <c:pt idx="133">
                  <c:v>1.1648853613745316</c:v>
                </c:pt>
                <c:pt idx="134">
                  <c:v>1.1699088391287569</c:v>
                </c:pt>
                <c:pt idx="135">
                  <c:v>1.177042412599129</c:v>
                </c:pt>
                <c:pt idx="136">
                  <c:v>1.1792015017586119</c:v>
                </c:pt>
                <c:pt idx="137">
                  <c:v>1.1849344357030351</c:v>
                </c:pt>
                <c:pt idx="138">
                  <c:v>1.1766558399894516</c:v>
                </c:pt>
                <c:pt idx="139">
                  <c:v>1.1788773710460418</c:v>
                </c:pt>
                <c:pt idx="140">
                  <c:v>1.1802231971060813</c:v>
                </c:pt>
                <c:pt idx="141">
                  <c:v>1.1733365712384769</c:v>
                </c:pt>
                <c:pt idx="142">
                  <c:v>1.1805140357306674</c:v>
                </c:pt>
                <c:pt idx="143">
                  <c:v>1.1845648998588687</c:v>
                </c:pt>
                <c:pt idx="144">
                  <c:v>1.1949025909630515</c:v>
                </c:pt>
                <c:pt idx="145">
                  <c:v>1.2129327006029131</c:v>
                </c:pt>
                <c:pt idx="146">
                  <c:v>1.2234120300233329</c:v>
                </c:pt>
                <c:pt idx="147">
                  <c:v>1.2361419309466382</c:v>
                </c:pt>
                <c:pt idx="148">
                  <c:v>1.227691798707359</c:v>
                </c:pt>
                <c:pt idx="149">
                  <c:v>1.2184004288722114</c:v>
                </c:pt>
                <c:pt idx="150">
                  <c:v>1.2007221399560719</c:v>
                </c:pt>
                <c:pt idx="151">
                  <c:v>1.1893752526736956</c:v>
                </c:pt>
                <c:pt idx="152">
                  <c:v>1.1927046167542394</c:v>
                </c:pt>
                <c:pt idx="153">
                  <c:v>1.1935887654988437</c:v>
                </c:pt>
                <c:pt idx="154">
                  <c:v>1.1931638532152045</c:v>
                </c:pt>
                <c:pt idx="155">
                  <c:v>1.1953912207341884</c:v>
                </c:pt>
                <c:pt idx="156">
                  <c:v>1.1885048287711484</c:v>
                </c:pt>
                <c:pt idx="157">
                  <c:v>1.1927595607043671</c:v>
                </c:pt>
                <c:pt idx="158">
                  <c:v>1.1934432332407925</c:v>
                </c:pt>
                <c:pt idx="159">
                  <c:v>1.1809914539685606</c:v>
                </c:pt>
                <c:pt idx="160">
                  <c:v>1.1806747909182691</c:v>
                </c:pt>
                <c:pt idx="161">
                  <c:v>1.1703142452023632</c:v>
                </c:pt>
                <c:pt idx="162">
                  <c:v>1.1592788739385154</c:v>
                </c:pt>
                <c:pt idx="163">
                  <c:v>1.1668775883634452</c:v>
                </c:pt>
                <c:pt idx="164">
                  <c:v>1.1499822099134585</c:v>
                </c:pt>
                <c:pt idx="165">
                  <c:v>1.1545734468205311</c:v>
                </c:pt>
                <c:pt idx="166">
                  <c:v>1.1573373139790601</c:v>
                </c:pt>
                <c:pt idx="167">
                  <c:v>1.1560574350137789</c:v>
                </c:pt>
                <c:pt idx="168">
                  <c:v>1.1464768418958897</c:v>
                </c:pt>
                <c:pt idx="169">
                  <c:v>1.1444428798591983</c:v>
                </c:pt>
                <c:pt idx="170">
                  <c:v>1.133631362973248</c:v>
                </c:pt>
                <c:pt idx="171">
                  <c:v>1.1406718922324355</c:v>
                </c:pt>
                <c:pt idx="172">
                  <c:v>1.1472859317962525</c:v>
                </c:pt>
                <c:pt idx="173">
                  <c:v>1.1487458467479832</c:v>
                </c:pt>
                <c:pt idx="174">
                  <c:v>1.1520301067768197</c:v>
                </c:pt>
                <c:pt idx="175">
                  <c:v>1.1452492402099104</c:v>
                </c:pt>
                <c:pt idx="176">
                  <c:v>1.1466347680120847</c:v>
                </c:pt>
                <c:pt idx="177">
                  <c:v>1.1385194095881852</c:v>
                </c:pt>
                <c:pt idx="178">
                  <c:v>1.1406260582673797</c:v>
                </c:pt>
                <c:pt idx="179">
                  <c:v>1.1468933122572778</c:v>
                </c:pt>
                <c:pt idx="180">
                  <c:v>1.1489178115045628</c:v>
                </c:pt>
                <c:pt idx="181">
                  <c:v>1.1426815063928826</c:v>
                </c:pt>
                <c:pt idx="182">
                  <c:v>1.1526147931030752</c:v>
                </c:pt>
                <c:pt idx="183">
                  <c:v>1.1507568229561369</c:v>
                </c:pt>
                <c:pt idx="184">
                  <c:v>1.1684414883555392</c:v>
                </c:pt>
                <c:pt idx="185">
                  <c:v>1.1656480749300711</c:v>
                </c:pt>
                <c:pt idx="186">
                  <c:v>1.1618059144337853</c:v>
                </c:pt>
                <c:pt idx="187">
                  <c:v>1.1608280913816047</c:v>
                </c:pt>
                <c:pt idx="188">
                  <c:v>1.1521965373894285</c:v>
                </c:pt>
                <c:pt idx="189">
                  <c:v>1.1420287991974241</c:v>
                </c:pt>
                <c:pt idx="190">
                  <c:v>1.1343891462901241</c:v>
                </c:pt>
                <c:pt idx="191">
                  <c:v>1.1280280084518788</c:v>
                </c:pt>
                <c:pt idx="192">
                  <c:v>1.1329136425799822</c:v>
                </c:pt>
                <c:pt idx="193">
                  <c:v>1.1308448668131417</c:v>
                </c:pt>
                <c:pt idx="194">
                  <c:v>1.1304366839189701</c:v>
                </c:pt>
                <c:pt idx="195">
                  <c:v>1.1270411398803755</c:v>
                </c:pt>
                <c:pt idx="196">
                  <c:v>1.1212874957756598</c:v>
                </c:pt>
                <c:pt idx="197">
                  <c:v>1.1251677600334469</c:v>
                </c:pt>
                <c:pt idx="198">
                  <c:v>1.1134185142275228</c:v>
                </c:pt>
                <c:pt idx="199">
                  <c:v>1.1190779841072469</c:v>
                </c:pt>
                <c:pt idx="200">
                  <c:v>1.1295908688217586</c:v>
                </c:pt>
                <c:pt idx="201">
                  <c:v>1.1238816674109771</c:v>
                </c:pt>
                <c:pt idx="202">
                  <c:v>1.1399614541384517</c:v>
                </c:pt>
                <c:pt idx="203">
                  <c:v>1.1302397517512923</c:v>
                </c:pt>
                <c:pt idx="204">
                  <c:v>1.1285868940610031</c:v>
                </c:pt>
                <c:pt idx="205">
                  <c:v>1.1260549852131909</c:v>
                </c:pt>
                <c:pt idx="206">
                  <c:v>1.1246160903283218</c:v>
                </c:pt>
                <c:pt idx="207">
                  <c:v>1.1287877367795274</c:v>
                </c:pt>
                <c:pt idx="208">
                  <c:v>1.1481894580036915</c:v>
                </c:pt>
                <c:pt idx="209">
                  <c:v>1.1534198263401132</c:v>
                </c:pt>
                <c:pt idx="210">
                  <c:v>1.15427727686454</c:v>
                </c:pt>
                <c:pt idx="211">
                  <c:v>1.1514704428023939</c:v>
                </c:pt>
                <c:pt idx="212">
                  <c:v>1.1515407997629483</c:v>
                </c:pt>
                <c:pt idx="213">
                  <c:v>1.1509118557315845</c:v>
                </c:pt>
                <c:pt idx="214">
                  <c:v>1.1481124025112295</c:v>
                </c:pt>
                <c:pt idx="215">
                  <c:v>1.1585382791136487</c:v>
                </c:pt>
                <c:pt idx="216">
                  <c:v>1.1577481168626116</c:v>
                </c:pt>
                <c:pt idx="217">
                  <c:v>1.1635712990616065</c:v>
                </c:pt>
                <c:pt idx="218">
                  <c:v>1.1643842525224919</c:v>
                </c:pt>
                <c:pt idx="219">
                  <c:v>1.167429528850134</c:v>
                </c:pt>
                <c:pt idx="220">
                  <c:v>1.166082931990748</c:v>
                </c:pt>
                <c:pt idx="221">
                  <c:v>1.1750423380698958</c:v>
                </c:pt>
                <c:pt idx="222">
                  <c:v>1.1655043901416156</c:v>
                </c:pt>
                <c:pt idx="223">
                  <c:v>1.1813874457561675</c:v>
                </c:pt>
                <c:pt idx="224">
                  <c:v>1.1808768822171607</c:v>
                </c:pt>
                <c:pt idx="225">
                  <c:v>1.1923632254574101</c:v>
                </c:pt>
                <c:pt idx="226">
                  <c:v>1.2021252490839949</c:v>
                </c:pt>
                <c:pt idx="227">
                  <c:v>1.1946792802116566</c:v>
                </c:pt>
                <c:pt idx="228">
                  <c:v>1.1911430435628128</c:v>
                </c:pt>
                <c:pt idx="229">
                  <c:v>1.1888408128923671</c:v>
                </c:pt>
                <c:pt idx="230">
                  <c:v>1.1906529227260991</c:v>
                </c:pt>
                <c:pt idx="231">
                  <c:v>1.1969213630593265</c:v>
                </c:pt>
                <c:pt idx="232">
                  <c:v>1.1968302612069452</c:v>
                </c:pt>
                <c:pt idx="233">
                  <c:v>1.2061880451620193</c:v>
                </c:pt>
                <c:pt idx="234">
                  <c:v>1.2172240075241949</c:v>
                </c:pt>
                <c:pt idx="235">
                  <c:v>1.2143641527104845</c:v>
                </c:pt>
                <c:pt idx="236">
                  <c:v>1.210117369491599</c:v>
                </c:pt>
                <c:pt idx="237">
                  <c:v>1.2162451808984291</c:v>
                </c:pt>
                <c:pt idx="238">
                  <c:v>1.2202395281501306</c:v>
                </c:pt>
                <c:pt idx="239">
                  <c:v>1.2203401203246633</c:v>
                </c:pt>
                <c:pt idx="240">
                  <c:v>1.2179373171247905</c:v>
                </c:pt>
                <c:pt idx="241">
                  <c:v>1.2245642988013621</c:v>
                </c:pt>
                <c:pt idx="242">
                  <c:v>1.2391340128305728</c:v>
                </c:pt>
                <c:pt idx="243">
                  <c:v>1.2416257755330393</c:v>
                </c:pt>
                <c:pt idx="244">
                  <c:v>1.2342966642718216</c:v>
                </c:pt>
                <c:pt idx="245">
                  <c:v>1.232938522569212</c:v>
                </c:pt>
                <c:pt idx="246">
                  <c:v>1.2314412299675257</c:v>
                </c:pt>
                <c:pt idx="247">
                  <c:v>1.2315061554748217</c:v>
                </c:pt>
                <c:pt idx="248">
                  <c:v>1.2241755256507398</c:v>
                </c:pt>
                <c:pt idx="249">
                  <c:v>1.2228442470470873</c:v>
                </c:pt>
                <c:pt idx="250">
                  <c:v>1.2264324944341556</c:v>
                </c:pt>
                <c:pt idx="251">
                  <c:v>1.2242170964769776</c:v>
                </c:pt>
                <c:pt idx="252">
                  <c:v>1.215036825307962</c:v>
                </c:pt>
                <c:pt idx="253">
                  <c:v>1.2244459281812834</c:v>
                </c:pt>
                <c:pt idx="254">
                  <c:v>1.2254390218165521</c:v>
                </c:pt>
                <c:pt idx="255">
                  <c:v>1.2185692432011261</c:v>
                </c:pt>
                <c:pt idx="256">
                  <c:v>1.213722681159751</c:v>
                </c:pt>
                <c:pt idx="257">
                  <c:v>1.2150899173931446</c:v>
                </c:pt>
                <c:pt idx="258">
                  <c:v>1.1988116973258613</c:v>
                </c:pt>
                <c:pt idx="259">
                  <c:v>1.1994612791663437</c:v>
                </c:pt>
                <c:pt idx="260">
                  <c:v>1.1967645199967314</c:v>
                </c:pt>
                <c:pt idx="261">
                  <c:v>1.2060338557230887</c:v>
                </c:pt>
                <c:pt idx="262">
                  <c:v>1.207363650667806</c:v>
                </c:pt>
                <c:pt idx="263">
                  <c:v>1.1991890391835676</c:v>
                </c:pt>
                <c:pt idx="264">
                  <c:v>1.2119084052338571</c:v>
                </c:pt>
                <c:pt idx="265">
                  <c:v>1.2141779519484208</c:v>
                </c:pt>
                <c:pt idx="266">
                  <c:v>1.2262685483724165</c:v>
                </c:pt>
                <c:pt idx="267">
                  <c:v>1.2275699386426431</c:v>
                </c:pt>
                <c:pt idx="268">
                  <c:v>1.2248229634450696</c:v>
                </c:pt>
                <c:pt idx="269">
                  <c:v>1.2288538552324013</c:v>
                </c:pt>
                <c:pt idx="270">
                  <c:v>1.2305558977492161</c:v>
                </c:pt>
                <c:pt idx="271">
                  <c:v>1.2302153719253326</c:v>
                </c:pt>
                <c:pt idx="272">
                  <c:v>1.2432253623900631</c:v>
                </c:pt>
                <c:pt idx="273">
                  <c:v>1.2422261064136262</c:v>
                </c:pt>
                <c:pt idx="274">
                  <c:v>1.2456568346458698</c:v>
                </c:pt>
                <c:pt idx="275">
                  <c:v>1.2492862240539155</c:v>
                </c:pt>
                <c:pt idx="276">
                  <c:v>1.23344264329755</c:v>
                </c:pt>
                <c:pt idx="277">
                  <c:v>1.230334731816469</c:v>
                </c:pt>
                <c:pt idx="278">
                  <c:v>1.2368548682852609</c:v>
                </c:pt>
                <c:pt idx="279">
                  <c:v>1.255517331274502</c:v>
                </c:pt>
                <c:pt idx="280">
                  <c:v>1.2386735050402833</c:v>
                </c:pt>
                <c:pt idx="281">
                  <c:v>1.2355946977063277</c:v>
                </c:pt>
                <c:pt idx="282">
                  <c:v>1.2362009890715171</c:v>
                </c:pt>
                <c:pt idx="283">
                  <c:v>1.2502485901460767</c:v>
                </c:pt>
                <c:pt idx="284">
                  <c:v>1.2485190229448846</c:v>
                </c:pt>
                <c:pt idx="285">
                  <c:v>1.2360736573610254</c:v>
                </c:pt>
                <c:pt idx="286">
                  <c:v>1.2261229912210163</c:v>
                </c:pt>
                <c:pt idx="287">
                  <c:v>1.2363244165505249</c:v>
                </c:pt>
                <c:pt idx="288">
                  <c:v>1.2291663601494007</c:v>
                </c:pt>
                <c:pt idx="289">
                  <c:v>1.2268346882806831</c:v>
                </c:pt>
                <c:pt idx="290">
                  <c:v>1.218298438278161</c:v>
                </c:pt>
                <c:pt idx="291">
                  <c:v>1.2280919524054168</c:v>
                </c:pt>
                <c:pt idx="292">
                  <c:v>1.2288627371753109</c:v>
                </c:pt>
                <c:pt idx="293">
                  <c:v>1.2234967630569868</c:v>
                </c:pt>
                <c:pt idx="294">
                  <c:v>1.2080491074021344</c:v>
                </c:pt>
                <c:pt idx="295">
                  <c:v>1.1979776428415034</c:v>
                </c:pt>
                <c:pt idx="296">
                  <c:v>1.2054718008084784</c:v>
                </c:pt>
                <c:pt idx="297">
                  <c:v>1.2167915683061683</c:v>
                </c:pt>
                <c:pt idx="298">
                  <c:v>1.2119090690111574</c:v>
                </c:pt>
                <c:pt idx="299">
                  <c:v>1.2190752868730192</c:v>
                </c:pt>
                <c:pt idx="300">
                  <c:v>1.229898052527254</c:v>
                </c:pt>
                <c:pt idx="301">
                  <c:v>1.2296394924766871</c:v>
                </c:pt>
                <c:pt idx="302">
                  <c:v>1.2284086192832431</c:v>
                </c:pt>
                <c:pt idx="303">
                  <c:v>1.2216581722060802</c:v>
                </c:pt>
                <c:pt idx="304">
                  <c:v>1.2250319654877864</c:v>
                </c:pt>
                <c:pt idx="305">
                  <c:v>1.2319558851419903</c:v>
                </c:pt>
                <c:pt idx="306">
                  <c:v>1.2317431886895578</c:v>
                </c:pt>
                <c:pt idx="307">
                  <c:v>1.2254574287016582</c:v>
                </c:pt>
                <c:pt idx="308">
                  <c:v>1.2283295782113879</c:v>
                </c:pt>
                <c:pt idx="309">
                  <c:v>1.2359793141132669</c:v>
                </c:pt>
                <c:pt idx="310">
                  <c:v>1.2493522734475087</c:v>
                </c:pt>
                <c:pt idx="311">
                  <c:v>1.2601118762005263</c:v>
                </c:pt>
                <c:pt idx="312">
                  <c:v>1.2713721401211986</c:v>
                </c:pt>
                <c:pt idx="313">
                  <c:v>1.2806979337565496</c:v>
                </c:pt>
                <c:pt idx="314">
                  <c:v>1.2810796269020548</c:v>
                </c:pt>
                <c:pt idx="315">
                  <c:v>1.2887309067400861</c:v>
                </c:pt>
                <c:pt idx="316">
                  <c:v>1.2774507019211796</c:v>
                </c:pt>
                <c:pt idx="317">
                  <c:v>1.2827220067089304</c:v>
                </c:pt>
                <c:pt idx="318">
                  <c:v>1.2829095528115815</c:v>
                </c:pt>
                <c:pt idx="319">
                  <c:v>1.2801485308957126</c:v>
                </c:pt>
                <c:pt idx="320">
                  <c:v>1.2798537454862222</c:v>
                </c:pt>
                <c:pt idx="321">
                  <c:v>1.279886113614811</c:v>
                </c:pt>
                <c:pt idx="322">
                  <c:v>1.2834109950228976</c:v>
                </c:pt>
                <c:pt idx="323">
                  <c:v>1.2706446357389261</c:v>
                </c:pt>
                <c:pt idx="324">
                  <c:v>1.2660851143911587</c:v>
                </c:pt>
                <c:pt idx="325">
                  <c:v>1.270925995646071</c:v>
                </c:pt>
                <c:pt idx="326">
                  <c:v>1.2697157893310596</c:v>
                </c:pt>
                <c:pt idx="327">
                  <c:v>1.2711067987448581</c:v>
                </c:pt>
                <c:pt idx="328">
                  <c:v>1.2696673306614092</c:v>
                </c:pt>
                <c:pt idx="329">
                  <c:v>1.2751102253837767</c:v>
                </c:pt>
                <c:pt idx="330">
                  <c:v>1.2772845660571692</c:v>
                </c:pt>
                <c:pt idx="331">
                  <c:v>1.2764270763697401</c:v>
                </c:pt>
                <c:pt idx="332">
                  <c:v>1.275768211949285</c:v>
                </c:pt>
                <c:pt idx="333">
                  <c:v>1.2908723201728791</c:v>
                </c:pt>
                <c:pt idx="334">
                  <c:v>1.2797458156357149</c:v>
                </c:pt>
                <c:pt idx="335">
                  <c:v>1.2869742541774905</c:v>
                </c:pt>
                <c:pt idx="336">
                  <c:v>1.2883016918103651</c:v>
                </c:pt>
                <c:pt idx="337">
                  <c:v>1.2924398297774207</c:v>
                </c:pt>
                <c:pt idx="338">
                  <c:v>1.2976975237888668</c:v>
                </c:pt>
                <c:pt idx="339">
                  <c:v>1.3048859115616565</c:v>
                </c:pt>
                <c:pt idx="340">
                  <c:v>1.3058824807425304</c:v>
                </c:pt>
                <c:pt idx="341">
                  <c:v>1.3114212404833716</c:v>
                </c:pt>
                <c:pt idx="342">
                  <c:v>1.3135567807879727</c:v>
                </c:pt>
                <c:pt idx="343">
                  <c:v>1.3158544025427747</c:v>
                </c:pt>
                <c:pt idx="344">
                  <c:v>1.309465586512748</c:v>
                </c:pt>
                <c:pt idx="345">
                  <c:v>1.3190809547293372</c:v>
                </c:pt>
                <c:pt idx="346">
                  <c:v>1.3110471897602176</c:v>
                </c:pt>
                <c:pt idx="347">
                  <c:v>1.3122482749908513</c:v>
                </c:pt>
                <c:pt idx="348">
                  <c:v>1.3149276922584907</c:v>
                </c:pt>
                <c:pt idx="349">
                  <c:v>1.3158607925839965</c:v>
                </c:pt>
                <c:pt idx="350">
                  <c:v>1.3188969315281822</c:v>
                </c:pt>
                <c:pt idx="351">
                  <c:v>1.3229942757066699</c:v>
                </c:pt>
                <c:pt idx="352">
                  <c:v>1.3185159972672313</c:v>
                </c:pt>
                <c:pt idx="353">
                  <c:v>1.319633140726894</c:v>
                </c:pt>
                <c:pt idx="354">
                  <c:v>1.3284014515783393</c:v>
                </c:pt>
                <c:pt idx="355">
                  <c:v>1.3370851745972885</c:v>
                </c:pt>
                <c:pt idx="356">
                  <c:v>1.3295446624036784</c:v>
                </c:pt>
                <c:pt idx="357">
                  <c:v>1.3233272388408175</c:v>
                </c:pt>
                <c:pt idx="358">
                  <c:v>1.3076977802021952</c:v>
                </c:pt>
                <c:pt idx="359">
                  <c:v>1.3002500485369852</c:v>
                </c:pt>
                <c:pt idx="360">
                  <c:v>1.3124036870598053</c:v>
                </c:pt>
                <c:pt idx="361">
                  <c:v>1.3115392613846031</c:v>
                </c:pt>
                <c:pt idx="362">
                  <c:v>1.3094717549522452</c:v>
                </c:pt>
                <c:pt idx="363">
                  <c:v>1.3024428982071805</c:v>
                </c:pt>
                <c:pt idx="364">
                  <c:v>1.3015723284414031</c:v>
                </c:pt>
                <c:pt idx="365">
                  <c:v>1.3045110596186753</c:v>
                </c:pt>
                <c:pt idx="366">
                  <c:v>1.2865050334506358</c:v>
                </c:pt>
                <c:pt idx="367">
                  <c:v>1.2950911719910922</c:v>
                </c:pt>
                <c:pt idx="368">
                  <c:v>1.2812617165308076</c:v>
                </c:pt>
                <c:pt idx="369">
                  <c:v>1.2800510480520495</c:v>
                </c:pt>
                <c:pt idx="370">
                  <c:v>1.280792452520211</c:v>
                </c:pt>
                <c:pt idx="371">
                  <c:v>1.2805960833688224</c:v>
                </c:pt>
                <c:pt idx="372">
                  <c:v>1.2795238046797086</c:v>
                </c:pt>
                <c:pt idx="373">
                  <c:v>1.2785063802185226</c:v>
                </c:pt>
                <c:pt idx="374">
                  <c:v>1.2825904433787139</c:v>
                </c:pt>
              </c:numCache>
            </c:numRef>
          </c:val>
          <c:smooth val="1"/>
          <c:extLst>
            <c:ext xmlns:c16="http://schemas.microsoft.com/office/drawing/2014/chart" uri="{C3380CC4-5D6E-409C-BE32-E72D297353CC}">
              <c16:uniqueId val="{00000000-53EE-47DB-9DEB-94BA42B73EDD}"/>
            </c:ext>
          </c:extLst>
        </c:ser>
        <c:ser>
          <c:idx val="1"/>
          <c:order val="1"/>
          <c:tx>
            <c:strRef>
              <c:f>'Average returns'!$C$3</c:f>
              <c:strCache>
                <c:ptCount val="1"/>
                <c:pt idx="0">
                  <c:v>Market equity index</c:v>
                </c:pt>
              </c:strCache>
            </c:strRef>
          </c:tx>
          <c:spPr>
            <a:ln w="31750">
              <a:solidFill>
                <a:schemeClr val="accent4"/>
              </a:solidFill>
              <a:prstDash val="sysDash"/>
            </a:ln>
          </c:spPr>
          <c:marker>
            <c:symbol val="none"/>
          </c:marker>
          <c:cat>
            <c:strRef>
              <c:f>'Average returns'!$A$4:$A$384</c:f>
              <c:strCache>
                <c:ptCount val="381"/>
                <c:pt idx="0">
                  <c:v>Month 0</c:v>
                </c:pt>
                <c:pt idx="1">
                  <c:v>Month 0</c:v>
                </c:pt>
                <c:pt idx="2">
                  <c:v>Month 0</c:v>
                </c:pt>
                <c:pt idx="3">
                  <c:v>Month 0</c:v>
                </c:pt>
                <c:pt idx="4">
                  <c:v>Month 0</c:v>
                </c:pt>
                <c:pt idx="5">
                  <c:v>Month 0</c:v>
                </c:pt>
                <c:pt idx="6">
                  <c:v>Month 0</c:v>
                </c:pt>
                <c:pt idx="7">
                  <c:v>Month 0</c:v>
                </c:pt>
                <c:pt idx="8">
                  <c:v>Month 0</c:v>
                </c:pt>
                <c:pt idx="9">
                  <c:v>Month 0</c:v>
                </c:pt>
                <c:pt idx="10">
                  <c:v>Month 0</c:v>
                </c:pt>
                <c:pt idx="11">
                  <c:v>Month 0</c:v>
                </c:pt>
                <c:pt idx="12">
                  <c:v>Month 0</c:v>
                </c:pt>
                <c:pt idx="13">
                  <c:v>Month 0</c:v>
                </c:pt>
                <c:pt idx="14">
                  <c:v>Month 0</c:v>
                </c:pt>
                <c:pt idx="15">
                  <c:v>Month 0</c:v>
                </c:pt>
                <c:pt idx="16">
                  <c:v>Month 0</c:v>
                </c:pt>
                <c:pt idx="17">
                  <c:v>Month 0</c:v>
                </c:pt>
                <c:pt idx="18">
                  <c:v>Month 0</c:v>
                </c:pt>
                <c:pt idx="19">
                  <c:v>Month 0</c:v>
                </c:pt>
                <c:pt idx="20">
                  <c:v>Month 0</c:v>
                </c:pt>
                <c:pt idx="21">
                  <c:v>Month 1</c:v>
                </c:pt>
                <c:pt idx="22">
                  <c:v>Month 1</c:v>
                </c:pt>
                <c:pt idx="23">
                  <c:v>Month 1</c:v>
                </c:pt>
                <c:pt idx="24">
                  <c:v>Month 1</c:v>
                </c:pt>
                <c:pt idx="25">
                  <c:v>Month 1</c:v>
                </c:pt>
                <c:pt idx="26">
                  <c:v>Month 1</c:v>
                </c:pt>
                <c:pt idx="27">
                  <c:v>Month 1</c:v>
                </c:pt>
                <c:pt idx="28">
                  <c:v>Month 1</c:v>
                </c:pt>
                <c:pt idx="29">
                  <c:v>Month 1</c:v>
                </c:pt>
                <c:pt idx="30">
                  <c:v>Month 1</c:v>
                </c:pt>
                <c:pt idx="31">
                  <c:v>Month 1</c:v>
                </c:pt>
                <c:pt idx="32">
                  <c:v>Month 1</c:v>
                </c:pt>
                <c:pt idx="33">
                  <c:v>Month 1</c:v>
                </c:pt>
                <c:pt idx="34">
                  <c:v>Month 1</c:v>
                </c:pt>
                <c:pt idx="35">
                  <c:v>Month 1</c:v>
                </c:pt>
                <c:pt idx="36">
                  <c:v>Month 1</c:v>
                </c:pt>
                <c:pt idx="37">
                  <c:v>Month 1</c:v>
                </c:pt>
                <c:pt idx="38">
                  <c:v>Month 1</c:v>
                </c:pt>
                <c:pt idx="39">
                  <c:v>Month 1</c:v>
                </c:pt>
                <c:pt idx="40">
                  <c:v>Month 1</c:v>
                </c:pt>
                <c:pt idx="41">
                  <c:v>Month 1</c:v>
                </c:pt>
                <c:pt idx="42">
                  <c:v>Month 2</c:v>
                </c:pt>
                <c:pt idx="43">
                  <c:v>Month 2</c:v>
                </c:pt>
                <c:pt idx="44">
                  <c:v>Month 2</c:v>
                </c:pt>
                <c:pt idx="45">
                  <c:v>Month 2</c:v>
                </c:pt>
                <c:pt idx="46">
                  <c:v>Month 2</c:v>
                </c:pt>
                <c:pt idx="47">
                  <c:v>Month 2</c:v>
                </c:pt>
                <c:pt idx="48">
                  <c:v>Month 2</c:v>
                </c:pt>
                <c:pt idx="49">
                  <c:v>Month 2</c:v>
                </c:pt>
                <c:pt idx="50">
                  <c:v>Month 2</c:v>
                </c:pt>
                <c:pt idx="51">
                  <c:v>Month 2</c:v>
                </c:pt>
                <c:pt idx="52">
                  <c:v>Month 2</c:v>
                </c:pt>
                <c:pt idx="53">
                  <c:v>Month 2</c:v>
                </c:pt>
                <c:pt idx="54">
                  <c:v>Month 2</c:v>
                </c:pt>
                <c:pt idx="55">
                  <c:v>Month 2</c:v>
                </c:pt>
                <c:pt idx="56">
                  <c:v>Month 2</c:v>
                </c:pt>
                <c:pt idx="57">
                  <c:v>Month 2</c:v>
                </c:pt>
                <c:pt idx="58">
                  <c:v>Month 2</c:v>
                </c:pt>
                <c:pt idx="59">
                  <c:v>Month 2</c:v>
                </c:pt>
                <c:pt idx="60">
                  <c:v>Month 2</c:v>
                </c:pt>
                <c:pt idx="61">
                  <c:v>Month 2</c:v>
                </c:pt>
                <c:pt idx="62">
                  <c:v>Month 2</c:v>
                </c:pt>
                <c:pt idx="63">
                  <c:v>Month 3</c:v>
                </c:pt>
                <c:pt idx="64">
                  <c:v>Month 3</c:v>
                </c:pt>
                <c:pt idx="65">
                  <c:v>Month 3</c:v>
                </c:pt>
                <c:pt idx="66">
                  <c:v>Month 3</c:v>
                </c:pt>
                <c:pt idx="67">
                  <c:v>Month 3</c:v>
                </c:pt>
                <c:pt idx="68">
                  <c:v>Month 3</c:v>
                </c:pt>
                <c:pt idx="69">
                  <c:v>Month 3</c:v>
                </c:pt>
                <c:pt idx="70">
                  <c:v>Month 3</c:v>
                </c:pt>
                <c:pt idx="71">
                  <c:v>Month 3</c:v>
                </c:pt>
                <c:pt idx="72">
                  <c:v>Month 3</c:v>
                </c:pt>
                <c:pt idx="73">
                  <c:v>Month 3</c:v>
                </c:pt>
                <c:pt idx="74">
                  <c:v>Month 3</c:v>
                </c:pt>
                <c:pt idx="75">
                  <c:v>Month 3</c:v>
                </c:pt>
                <c:pt idx="76">
                  <c:v>Month 3</c:v>
                </c:pt>
                <c:pt idx="77">
                  <c:v>Month 3</c:v>
                </c:pt>
                <c:pt idx="78">
                  <c:v>Month 3</c:v>
                </c:pt>
                <c:pt idx="79">
                  <c:v>Month 3</c:v>
                </c:pt>
                <c:pt idx="80">
                  <c:v>Month 3</c:v>
                </c:pt>
                <c:pt idx="81">
                  <c:v>Month 3</c:v>
                </c:pt>
                <c:pt idx="82">
                  <c:v>Month 3</c:v>
                </c:pt>
                <c:pt idx="83">
                  <c:v>Month 3</c:v>
                </c:pt>
                <c:pt idx="84">
                  <c:v>Month 4</c:v>
                </c:pt>
                <c:pt idx="85">
                  <c:v>Month 4</c:v>
                </c:pt>
                <c:pt idx="86">
                  <c:v>Month 4</c:v>
                </c:pt>
                <c:pt idx="87">
                  <c:v>Month 4</c:v>
                </c:pt>
                <c:pt idx="88">
                  <c:v>Month 4</c:v>
                </c:pt>
                <c:pt idx="89">
                  <c:v>Month 4</c:v>
                </c:pt>
                <c:pt idx="90">
                  <c:v>Month 4</c:v>
                </c:pt>
                <c:pt idx="91">
                  <c:v>Month 4</c:v>
                </c:pt>
                <c:pt idx="92">
                  <c:v>Month 4</c:v>
                </c:pt>
                <c:pt idx="93">
                  <c:v>Month 4</c:v>
                </c:pt>
                <c:pt idx="94">
                  <c:v>Month 4</c:v>
                </c:pt>
                <c:pt idx="95">
                  <c:v>Month 4</c:v>
                </c:pt>
                <c:pt idx="96">
                  <c:v>Month 4</c:v>
                </c:pt>
                <c:pt idx="97">
                  <c:v>Month 4</c:v>
                </c:pt>
                <c:pt idx="98">
                  <c:v>Month 4</c:v>
                </c:pt>
                <c:pt idx="99">
                  <c:v>Month 4</c:v>
                </c:pt>
                <c:pt idx="100">
                  <c:v>Month 4</c:v>
                </c:pt>
                <c:pt idx="101">
                  <c:v>Month 4</c:v>
                </c:pt>
                <c:pt idx="102">
                  <c:v>Month 4</c:v>
                </c:pt>
                <c:pt idx="103">
                  <c:v>Month 4</c:v>
                </c:pt>
                <c:pt idx="104">
                  <c:v>Month 5</c:v>
                </c:pt>
                <c:pt idx="105">
                  <c:v>Month 5</c:v>
                </c:pt>
                <c:pt idx="106">
                  <c:v>Month 5</c:v>
                </c:pt>
                <c:pt idx="107">
                  <c:v>Month 5</c:v>
                </c:pt>
                <c:pt idx="108">
                  <c:v>Month 5</c:v>
                </c:pt>
                <c:pt idx="109">
                  <c:v>Month 5</c:v>
                </c:pt>
                <c:pt idx="110">
                  <c:v>Month 5</c:v>
                </c:pt>
                <c:pt idx="111">
                  <c:v>Month 5</c:v>
                </c:pt>
                <c:pt idx="112">
                  <c:v>Month 5</c:v>
                </c:pt>
                <c:pt idx="113">
                  <c:v>Month 5</c:v>
                </c:pt>
                <c:pt idx="114">
                  <c:v>Month 5</c:v>
                </c:pt>
                <c:pt idx="115">
                  <c:v>Month 5</c:v>
                </c:pt>
                <c:pt idx="116">
                  <c:v>Month 5</c:v>
                </c:pt>
                <c:pt idx="117">
                  <c:v>Month 5</c:v>
                </c:pt>
                <c:pt idx="118">
                  <c:v>Month 5</c:v>
                </c:pt>
                <c:pt idx="119">
                  <c:v>Month 5</c:v>
                </c:pt>
                <c:pt idx="120">
                  <c:v>Month 5</c:v>
                </c:pt>
                <c:pt idx="121">
                  <c:v>Month 5</c:v>
                </c:pt>
                <c:pt idx="122">
                  <c:v>Month 5</c:v>
                </c:pt>
                <c:pt idx="123">
                  <c:v>Month 5</c:v>
                </c:pt>
                <c:pt idx="124">
                  <c:v>Month 5</c:v>
                </c:pt>
                <c:pt idx="125">
                  <c:v>Month 6</c:v>
                </c:pt>
                <c:pt idx="126">
                  <c:v>Month 6</c:v>
                </c:pt>
                <c:pt idx="127">
                  <c:v>Month 6</c:v>
                </c:pt>
                <c:pt idx="128">
                  <c:v>Month 6</c:v>
                </c:pt>
                <c:pt idx="129">
                  <c:v>Month 6</c:v>
                </c:pt>
                <c:pt idx="130">
                  <c:v>Month 6</c:v>
                </c:pt>
                <c:pt idx="131">
                  <c:v>Month 6</c:v>
                </c:pt>
                <c:pt idx="132">
                  <c:v>Month 6</c:v>
                </c:pt>
                <c:pt idx="133">
                  <c:v>Month 6</c:v>
                </c:pt>
                <c:pt idx="134">
                  <c:v>Month 6</c:v>
                </c:pt>
                <c:pt idx="135">
                  <c:v>Month 6</c:v>
                </c:pt>
                <c:pt idx="136">
                  <c:v>Month 6</c:v>
                </c:pt>
                <c:pt idx="137">
                  <c:v>Month 6</c:v>
                </c:pt>
                <c:pt idx="138">
                  <c:v>Month 6</c:v>
                </c:pt>
                <c:pt idx="139">
                  <c:v>Month 6</c:v>
                </c:pt>
                <c:pt idx="140">
                  <c:v>Month 6</c:v>
                </c:pt>
                <c:pt idx="141">
                  <c:v>Month 6</c:v>
                </c:pt>
                <c:pt idx="142">
                  <c:v>Month 6</c:v>
                </c:pt>
                <c:pt idx="143">
                  <c:v>Month 6</c:v>
                </c:pt>
                <c:pt idx="144">
                  <c:v>Month 6</c:v>
                </c:pt>
                <c:pt idx="145">
                  <c:v>Month 6</c:v>
                </c:pt>
                <c:pt idx="146">
                  <c:v>Month 7</c:v>
                </c:pt>
                <c:pt idx="147">
                  <c:v>Month 7</c:v>
                </c:pt>
                <c:pt idx="148">
                  <c:v>Month 7</c:v>
                </c:pt>
                <c:pt idx="149">
                  <c:v>Month 7</c:v>
                </c:pt>
                <c:pt idx="150">
                  <c:v>Month 7</c:v>
                </c:pt>
                <c:pt idx="151">
                  <c:v>Month 7</c:v>
                </c:pt>
                <c:pt idx="152">
                  <c:v>Month 7</c:v>
                </c:pt>
                <c:pt idx="153">
                  <c:v>Month 7</c:v>
                </c:pt>
                <c:pt idx="154">
                  <c:v>Month 7</c:v>
                </c:pt>
                <c:pt idx="155">
                  <c:v>Month 7</c:v>
                </c:pt>
                <c:pt idx="156">
                  <c:v>Month 7</c:v>
                </c:pt>
                <c:pt idx="157">
                  <c:v>Month 7</c:v>
                </c:pt>
                <c:pt idx="158">
                  <c:v>Month 7</c:v>
                </c:pt>
                <c:pt idx="159">
                  <c:v>Month 7</c:v>
                </c:pt>
                <c:pt idx="160">
                  <c:v>Month 7</c:v>
                </c:pt>
                <c:pt idx="161">
                  <c:v>Month 7</c:v>
                </c:pt>
                <c:pt idx="162">
                  <c:v>Month 7</c:v>
                </c:pt>
                <c:pt idx="163">
                  <c:v>Month 7</c:v>
                </c:pt>
                <c:pt idx="164">
                  <c:v>Month 7</c:v>
                </c:pt>
                <c:pt idx="165">
                  <c:v>Month 7</c:v>
                </c:pt>
                <c:pt idx="166">
                  <c:v>Month 7</c:v>
                </c:pt>
                <c:pt idx="167">
                  <c:v>Month 8</c:v>
                </c:pt>
                <c:pt idx="168">
                  <c:v>Month 8</c:v>
                </c:pt>
                <c:pt idx="169">
                  <c:v>Month 8</c:v>
                </c:pt>
                <c:pt idx="170">
                  <c:v>Month 8</c:v>
                </c:pt>
                <c:pt idx="171">
                  <c:v>Month 8</c:v>
                </c:pt>
                <c:pt idx="172">
                  <c:v>Month 8</c:v>
                </c:pt>
                <c:pt idx="173">
                  <c:v>Month 8</c:v>
                </c:pt>
                <c:pt idx="174">
                  <c:v>Month 8</c:v>
                </c:pt>
                <c:pt idx="175">
                  <c:v>Month 8</c:v>
                </c:pt>
                <c:pt idx="176">
                  <c:v>Month 8</c:v>
                </c:pt>
                <c:pt idx="177">
                  <c:v>Month 8</c:v>
                </c:pt>
                <c:pt idx="178">
                  <c:v>Month 8</c:v>
                </c:pt>
                <c:pt idx="179">
                  <c:v>Month 8</c:v>
                </c:pt>
                <c:pt idx="180">
                  <c:v>Month 8</c:v>
                </c:pt>
                <c:pt idx="181">
                  <c:v>Month 8</c:v>
                </c:pt>
                <c:pt idx="182">
                  <c:v>Month 8</c:v>
                </c:pt>
                <c:pt idx="183">
                  <c:v>Month 8</c:v>
                </c:pt>
                <c:pt idx="184">
                  <c:v>Month 8</c:v>
                </c:pt>
                <c:pt idx="185">
                  <c:v>Month 8</c:v>
                </c:pt>
                <c:pt idx="186">
                  <c:v>Month 8</c:v>
                </c:pt>
                <c:pt idx="187">
                  <c:v>Month 8</c:v>
                </c:pt>
                <c:pt idx="188">
                  <c:v>Month 9</c:v>
                </c:pt>
                <c:pt idx="189">
                  <c:v>Month 9</c:v>
                </c:pt>
                <c:pt idx="190">
                  <c:v>Month 9</c:v>
                </c:pt>
                <c:pt idx="191">
                  <c:v>Month 9</c:v>
                </c:pt>
                <c:pt idx="192">
                  <c:v>Month 9</c:v>
                </c:pt>
                <c:pt idx="193">
                  <c:v>Month 9</c:v>
                </c:pt>
                <c:pt idx="194">
                  <c:v>Month 9</c:v>
                </c:pt>
                <c:pt idx="195">
                  <c:v>Month 9</c:v>
                </c:pt>
                <c:pt idx="196">
                  <c:v>Month 9</c:v>
                </c:pt>
                <c:pt idx="197">
                  <c:v>Month 9</c:v>
                </c:pt>
                <c:pt idx="198">
                  <c:v>Month 9</c:v>
                </c:pt>
                <c:pt idx="199">
                  <c:v>Month 9</c:v>
                </c:pt>
                <c:pt idx="200">
                  <c:v>Month 9</c:v>
                </c:pt>
                <c:pt idx="201">
                  <c:v>Month 9</c:v>
                </c:pt>
                <c:pt idx="202">
                  <c:v>Month 9</c:v>
                </c:pt>
                <c:pt idx="203">
                  <c:v>Month 9</c:v>
                </c:pt>
                <c:pt idx="204">
                  <c:v>Month 9</c:v>
                </c:pt>
                <c:pt idx="205">
                  <c:v>Month 9</c:v>
                </c:pt>
                <c:pt idx="206">
                  <c:v>Month 9</c:v>
                </c:pt>
                <c:pt idx="207">
                  <c:v>Month 9</c:v>
                </c:pt>
                <c:pt idx="208">
                  <c:v>Month 10</c:v>
                </c:pt>
                <c:pt idx="209">
                  <c:v>Month 10</c:v>
                </c:pt>
                <c:pt idx="210">
                  <c:v>Month 10</c:v>
                </c:pt>
                <c:pt idx="211">
                  <c:v>Month 10</c:v>
                </c:pt>
                <c:pt idx="212">
                  <c:v>Month 10</c:v>
                </c:pt>
                <c:pt idx="213">
                  <c:v>Month 10</c:v>
                </c:pt>
                <c:pt idx="214">
                  <c:v>Month 10</c:v>
                </c:pt>
                <c:pt idx="215">
                  <c:v>Month 10</c:v>
                </c:pt>
                <c:pt idx="216">
                  <c:v>Month 10</c:v>
                </c:pt>
                <c:pt idx="217">
                  <c:v>Month 10</c:v>
                </c:pt>
                <c:pt idx="218">
                  <c:v>Month 10</c:v>
                </c:pt>
                <c:pt idx="219">
                  <c:v>Month 10</c:v>
                </c:pt>
                <c:pt idx="220">
                  <c:v>Month 10</c:v>
                </c:pt>
                <c:pt idx="221">
                  <c:v>Month 10</c:v>
                </c:pt>
                <c:pt idx="222">
                  <c:v>Month 10</c:v>
                </c:pt>
                <c:pt idx="223">
                  <c:v>Month 10</c:v>
                </c:pt>
                <c:pt idx="224">
                  <c:v>Month 10</c:v>
                </c:pt>
                <c:pt idx="225">
                  <c:v>Month 10</c:v>
                </c:pt>
                <c:pt idx="226">
                  <c:v>Month 10</c:v>
                </c:pt>
                <c:pt idx="227">
                  <c:v>Month 10</c:v>
                </c:pt>
                <c:pt idx="228">
                  <c:v>Month 10</c:v>
                </c:pt>
                <c:pt idx="229">
                  <c:v>Month 11</c:v>
                </c:pt>
                <c:pt idx="230">
                  <c:v>Month 11</c:v>
                </c:pt>
                <c:pt idx="231">
                  <c:v>Month 11</c:v>
                </c:pt>
                <c:pt idx="232">
                  <c:v>Month 11</c:v>
                </c:pt>
                <c:pt idx="233">
                  <c:v>Month 11</c:v>
                </c:pt>
                <c:pt idx="234">
                  <c:v>Month 11</c:v>
                </c:pt>
                <c:pt idx="235">
                  <c:v>Month 11</c:v>
                </c:pt>
                <c:pt idx="236">
                  <c:v>Month 11</c:v>
                </c:pt>
                <c:pt idx="237">
                  <c:v>Month 11</c:v>
                </c:pt>
                <c:pt idx="238">
                  <c:v>Month 11</c:v>
                </c:pt>
                <c:pt idx="239">
                  <c:v>Month 11</c:v>
                </c:pt>
                <c:pt idx="240">
                  <c:v>Month 11</c:v>
                </c:pt>
                <c:pt idx="241">
                  <c:v>Month 11</c:v>
                </c:pt>
                <c:pt idx="242">
                  <c:v>Month 11</c:v>
                </c:pt>
                <c:pt idx="243">
                  <c:v>Month 11</c:v>
                </c:pt>
                <c:pt idx="244">
                  <c:v>Month 11</c:v>
                </c:pt>
                <c:pt idx="245">
                  <c:v>Month 11</c:v>
                </c:pt>
                <c:pt idx="246">
                  <c:v>Month 11</c:v>
                </c:pt>
                <c:pt idx="247">
                  <c:v>Month 11</c:v>
                </c:pt>
                <c:pt idx="248">
                  <c:v>Month 11</c:v>
                </c:pt>
                <c:pt idx="249">
                  <c:v>Month 11</c:v>
                </c:pt>
                <c:pt idx="250">
                  <c:v>Month 12</c:v>
                </c:pt>
                <c:pt idx="251">
                  <c:v>Month 12</c:v>
                </c:pt>
                <c:pt idx="252">
                  <c:v>Month 12</c:v>
                </c:pt>
                <c:pt idx="253">
                  <c:v>Month 12</c:v>
                </c:pt>
                <c:pt idx="254">
                  <c:v>Month 12</c:v>
                </c:pt>
                <c:pt idx="255">
                  <c:v>Month 12</c:v>
                </c:pt>
                <c:pt idx="256">
                  <c:v>Month 12</c:v>
                </c:pt>
                <c:pt idx="257">
                  <c:v>Month 12</c:v>
                </c:pt>
                <c:pt idx="258">
                  <c:v>Month 12</c:v>
                </c:pt>
                <c:pt idx="259">
                  <c:v>Month 12</c:v>
                </c:pt>
                <c:pt idx="260">
                  <c:v>Month 12</c:v>
                </c:pt>
                <c:pt idx="261">
                  <c:v>Month 12</c:v>
                </c:pt>
                <c:pt idx="262">
                  <c:v>Month 12</c:v>
                </c:pt>
                <c:pt idx="263">
                  <c:v>Month 12</c:v>
                </c:pt>
                <c:pt idx="264">
                  <c:v>Month 12</c:v>
                </c:pt>
                <c:pt idx="265">
                  <c:v>Month 12</c:v>
                </c:pt>
                <c:pt idx="266">
                  <c:v>Month 12</c:v>
                </c:pt>
                <c:pt idx="267">
                  <c:v>Month 12</c:v>
                </c:pt>
                <c:pt idx="268">
                  <c:v>Month 12</c:v>
                </c:pt>
                <c:pt idx="269">
                  <c:v>Month 12</c:v>
                </c:pt>
                <c:pt idx="270">
                  <c:v>Month 12</c:v>
                </c:pt>
                <c:pt idx="271">
                  <c:v>Month 13</c:v>
                </c:pt>
                <c:pt idx="272">
                  <c:v>Month 13</c:v>
                </c:pt>
                <c:pt idx="273">
                  <c:v>Month 13</c:v>
                </c:pt>
                <c:pt idx="274">
                  <c:v>Month 13</c:v>
                </c:pt>
                <c:pt idx="275">
                  <c:v>Month 13</c:v>
                </c:pt>
                <c:pt idx="276">
                  <c:v>Month 13</c:v>
                </c:pt>
                <c:pt idx="277">
                  <c:v>Month 13</c:v>
                </c:pt>
                <c:pt idx="278">
                  <c:v>Month 13</c:v>
                </c:pt>
                <c:pt idx="279">
                  <c:v>Month 13</c:v>
                </c:pt>
                <c:pt idx="280">
                  <c:v>Month 13</c:v>
                </c:pt>
                <c:pt idx="281">
                  <c:v>Month 13</c:v>
                </c:pt>
                <c:pt idx="282">
                  <c:v>Month 13</c:v>
                </c:pt>
                <c:pt idx="283">
                  <c:v>Month 13</c:v>
                </c:pt>
                <c:pt idx="284">
                  <c:v>Month 13</c:v>
                </c:pt>
                <c:pt idx="285">
                  <c:v>Month 13</c:v>
                </c:pt>
                <c:pt idx="286">
                  <c:v>Month 13</c:v>
                </c:pt>
                <c:pt idx="287">
                  <c:v>Month 13</c:v>
                </c:pt>
                <c:pt idx="288">
                  <c:v>Month 13</c:v>
                </c:pt>
                <c:pt idx="289">
                  <c:v>Month 13</c:v>
                </c:pt>
                <c:pt idx="290">
                  <c:v>Month 13</c:v>
                </c:pt>
                <c:pt idx="291">
                  <c:v>Month 13</c:v>
                </c:pt>
                <c:pt idx="292">
                  <c:v>Month 14</c:v>
                </c:pt>
                <c:pt idx="293">
                  <c:v>Month 14</c:v>
                </c:pt>
                <c:pt idx="294">
                  <c:v>Month 14</c:v>
                </c:pt>
                <c:pt idx="295">
                  <c:v>Month 14</c:v>
                </c:pt>
                <c:pt idx="296">
                  <c:v>Month 14</c:v>
                </c:pt>
                <c:pt idx="297">
                  <c:v>Month 14</c:v>
                </c:pt>
                <c:pt idx="298">
                  <c:v>Month 14</c:v>
                </c:pt>
                <c:pt idx="299">
                  <c:v>Month 14</c:v>
                </c:pt>
                <c:pt idx="300">
                  <c:v>Month 14</c:v>
                </c:pt>
                <c:pt idx="301">
                  <c:v>Month 14</c:v>
                </c:pt>
                <c:pt idx="302">
                  <c:v>Month 14</c:v>
                </c:pt>
                <c:pt idx="303">
                  <c:v>Month 14</c:v>
                </c:pt>
                <c:pt idx="304">
                  <c:v>Month 14</c:v>
                </c:pt>
                <c:pt idx="305">
                  <c:v>Month 14</c:v>
                </c:pt>
                <c:pt idx="306">
                  <c:v>Month 14</c:v>
                </c:pt>
                <c:pt idx="307">
                  <c:v>Month 14</c:v>
                </c:pt>
                <c:pt idx="308">
                  <c:v>Month 14</c:v>
                </c:pt>
                <c:pt idx="309">
                  <c:v>Month 14</c:v>
                </c:pt>
                <c:pt idx="310">
                  <c:v>Month 14</c:v>
                </c:pt>
                <c:pt idx="311">
                  <c:v>Month 14</c:v>
                </c:pt>
                <c:pt idx="312">
                  <c:v>Month 15</c:v>
                </c:pt>
                <c:pt idx="313">
                  <c:v>Month 15</c:v>
                </c:pt>
                <c:pt idx="314">
                  <c:v>Month 15</c:v>
                </c:pt>
                <c:pt idx="315">
                  <c:v>Month 15</c:v>
                </c:pt>
                <c:pt idx="316">
                  <c:v>Month 15</c:v>
                </c:pt>
                <c:pt idx="317">
                  <c:v>Month 15</c:v>
                </c:pt>
                <c:pt idx="318">
                  <c:v>Month 15</c:v>
                </c:pt>
                <c:pt idx="319">
                  <c:v>Month 15</c:v>
                </c:pt>
                <c:pt idx="320">
                  <c:v>Month 15</c:v>
                </c:pt>
                <c:pt idx="321">
                  <c:v>Month 15</c:v>
                </c:pt>
                <c:pt idx="322">
                  <c:v>Month 15</c:v>
                </c:pt>
                <c:pt idx="323">
                  <c:v>Month 15</c:v>
                </c:pt>
                <c:pt idx="324">
                  <c:v>Month 15</c:v>
                </c:pt>
                <c:pt idx="325">
                  <c:v>Month 15</c:v>
                </c:pt>
                <c:pt idx="326">
                  <c:v>Month 15</c:v>
                </c:pt>
                <c:pt idx="327">
                  <c:v>Month 15</c:v>
                </c:pt>
                <c:pt idx="328">
                  <c:v>Month 15</c:v>
                </c:pt>
                <c:pt idx="329">
                  <c:v>Month 15</c:v>
                </c:pt>
                <c:pt idx="330">
                  <c:v>Month 15</c:v>
                </c:pt>
                <c:pt idx="331">
                  <c:v>Month 15</c:v>
                </c:pt>
                <c:pt idx="332">
                  <c:v>Month 15</c:v>
                </c:pt>
                <c:pt idx="333">
                  <c:v>Month 16</c:v>
                </c:pt>
                <c:pt idx="334">
                  <c:v>Month 16</c:v>
                </c:pt>
                <c:pt idx="335">
                  <c:v>Month 16</c:v>
                </c:pt>
                <c:pt idx="336">
                  <c:v>Month 16</c:v>
                </c:pt>
                <c:pt idx="337">
                  <c:v>Month 16</c:v>
                </c:pt>
                <c:pt idx="338">
                  <c:v>Month 16</c:v>
                </c:pt>
                <c:pt idx="339">
                  <c:v>Month 16</c:v>
                </c:pt>
                <c:pt idx="340">
                  <c:v>Month 16</c:v>
                </c:pt>
                <c:pt idx="341">
                  <c:v>Month 16</c:v>
                </c:pt>
                <c:pt idx="342">
                  <c:v>Month 16</c:v>
                </c:pt>
                <c:pt idx="343">
                  <c:v>Month 16</c:v>
                </c:pt>
                <c:pt idx="344">
                  <c:v>Month 16</c:v>
                </c:pt>
                <c:pt idx="345">
                  <c:v>Month 16</c:v>
                </c:pt>
                <c:pt idx="346">
                  <c:v>Month 16</c:v>
                </c:pt>
                <c:pt idx="347">
                  <c:v>Month 16</c:v>
                </c:pt>
                <c:pt idx="348">
                  <c:v>Month 16</c:v>
                </c:pt>
                <c:pt idx="349">
                  <c:v>Month 16</c:v>
                </c:pt>
                <c:pt idx="350">
                  <c:v>Month 16</c:v>
                </c:pt>
                <c:pt idx="351">
                  <c:v>Month 16</c:v>
                </c:pt>
                <c:pt idx="352">
                  <c:v>Month 16</c:v>
                </c:pt>
                <c:pt idx="353">
                  <c:v>Month 16</c:v>
                </c:pt>
                <c:pt idx="354">
                  <c:v>Month 17</c:v>
                </c:pt>
                <c:pt idx="355">
                  <c:v>Month 17</c:v>
                </c:pt>
                <c:pt idx="356">
                  <c:v>Month 17</c:v>
                </c:pt>
                <c:pt idx="357">
                  <c:v>Month 17</c:v>
                </c:pt>
                <c:pt idx="358">
                  <c:v>Month 17</c:v>
                </c:pt>
                <c:pt idx="359">
                  <c:v>Month 17</c:v>
                </c:pt>
                <c:pt idx="360">
                  <c:v>Month 17</c:v>
                </c:pt>
                <c:pt idx="361">
                  <c:v>Month 17</c:v>
                </c:pt>
                <c:pt idx="362">
                  <c:v>Month 17</c:v>
                </c:pt>
                <c:pt idx="363">
                  <c:v>Month 17</c:v>
                </c:pt>
                <c:pt idx="364">
                  <c:v>Month 17</c:v>
                </c:pt>
                <c:pt idx="365">
                  <c:v>Month 17</c:v>
                </c:pt>
                <c:pt idx="366">
                  <c:v>Month 17</c:v>
                </c:pt>
                <c:pt idx="367">
                  <c:v>Month 17</c:v>
                </c:pt>
                <c:pt idx="368">
                  <c:v>Month 17</c:v>
                </c:pt>
                <c:pt idx="369">
                  <c:v>Month 17</c:v>
                </c:pt>
                <c:pt idx="370">
                  <c:v>Month 17</c:v>
                </c:pt>
                <c:pt idx="371">
                  <c:v>Month 17</c:v>
                </c:pt>
                <c:pt idx="372">
                  <c:v>Month 17</c:v>
                </c:pt>
                <c:pt idx="373">
                  <c:v>Month 17</c:v>
                </c:pt>
                <c:pt idx="374">
                  <c:v>Month 17</c:v>
                </c:pt>
                <c:pt idx="375">
                  <c:v>Month 18</c:v>
                </c:pt>
                <c:pt idx="376">
                  <c:v>Month 18</c:v>
                </c:pt>
                <c:pt idx="377">
                  <c:v>Month 18</c:v>
                </c:pt>
                <c:pt idx="378">
                  <c:v>Month 18</c:v>
                </c:pt>
                <c:pt idx="379">
                  <c:v>Month 18</c:v>
                </c:pt>
                <c:pt idx="380">
                  <c:v>Month 18</c:v>
                </c:pt>
              </c:strCache>
            </c:strRef>
          </c:cat>
          <c:val>
            <c:numRef>
              <c:f>'Average returns'!$C$4:$C$384</c:f>
              <c:numCache>
                <c:formatCode>0%</c:formatCode>
                <c:ptCount val="381"/>
                <c:pt idx="0">
                  <c:v>1</c:v>
                </c:pt>
                <c:pt idx="1">
                  <c:v>0.99903969262772163</c:v>
                </c:pt>
                <c:pt idx="2">
                  <c:v>0.9983713988479338</c:v>
                </c:pt>
                <c:pt idx="3">
                  <c:v>0.99838384110757972</c:v>
                </c:pt>
                <c:pt idx="4">
                  <c:v>1.0010933790354422</c:v>
                </c:pt>
                <c:pt idx="5">
                  <c:v>0.99998438325234329</c:v>
                </c:pt>
                <c:pt idx="6">
                  <c:v>0.99832687512433371</c:v>
                </c:pt>
                <c:pt idx="7">
                  <c:v>1.0005882679843976</c:v>
                </c:pt>
                <c:pt idx="8">
                  <c:v>0.99872579054880695</c:v>
                </c:pt>
                <c:pt idx="9">
                  <c:v>0.99686397353552691</c:v>
                </c:pt>
                <c:pt idx="10">
                  <c:v>1.0036050952024609</c:v>
                </c:pt>
                <c:pt idx="11">
                  <c:v>1.0049857398639628</c:v>
                </c:pt>
                <c:pt idx="12">
                  <c:v>1.0095587191307982</c:v>
                </c:pt>
                <c:pt idx="13">
                  <c:v>1.0083478464443436</c:v>
                </c:pt>
                <c:pt idx="14">
                  <c:v>1.0100981739169266</c:v>
                </c:pt>
                <c:pt idx="15">
                  <c:v>1.0091419091418432</c:v>
                </c:pt>
                <c:pt idx="16">
                  <c:v>1.0084412575966228</c:v>
                </c:pt>
                <c:pt idx="17">
                  <c:v>1.01119833607951</c:v>
                </c:pt>
                <c:pt idx="18">
                  <c:v>1.0106039193875771</c:v>
                </c:pt>
                <c:pt idx="19">
                  <c:v>1.01303796873162</c:v>
                </c:pt>
                <c:pt idx="20">
                  <c:v>1.0171715672118766</c:v>
                </c:pt>
                <c:pt idx="21">
                  <c:v>1.0166111841707057</c:v>
                </c:pt>
                <c:pt idx="22">
                  <c:v>1.0134380013999986</c:v>
                </c:pt>
                <c:pt idx="23">
                  <c:v>1.0138723354404937</c:v>
                </c:pt>
                <c:pt idx="24">
                  <c:v>1.0149438770573957</c:v>
                </c:pt>
                <c:pt idx="25">
                  <c:v>1.0145825098148173</c:v>
                </c:pt>
                <c:pt idx="26">
                  <c:v>1.0152651434763518</c:v>
                </c:pt>
                <c:pt idx="27">
                  <c:v>1.0165536329890115</c:v>
                </c:pt>
                <c:pt idx="28">
                  <c:v>1.0166753857529458</c:v>
                </c:pt>
                <c:pt idx="29">
                  <c:v>1.0174523140806788</c:v>
                </c:pt>
                <c:pt idx="30">
                  <c:v>1.0149901239090144</c:v>
                </c:pt>
                <c:pt idx="31">
                  <c:v>1.0127432233822715</c:v>
                </c:pt>
                <c:pt idx="32">
                  <c:v>1.0158786303370826</c:v>
                </c:pt>
                <c:pt idx="33">
                  <c:v>1.0186226056472376</c:v>
                </c:pt>
                <c:pt idx="34">
                  <c:v>1.0203147495360367</c:v>
                </c:pt>
                <c:pt idx="35">
                  <c:v>1.0176612139035672</c:v>
                </c:pt>
                <c:pt idx="36">
                  <c:v>1.0212153437544178</c:v>
                </c:pt>
                <c:pt idx="37">
                  <c:v>1.0210467779565333</c:v>
                </c:pt>
                <c:pt idx="38">
                  <c:v>1.0221950233554871</c:v>
                </c:pt>
                <c:pt idx="39">
                  <c:v>1.0229487327496107</c:v>
                </c:pt>
                <c:pt idx="40">
                  <c:v>1.0251360503121003</c:v>
                </c:pt>
                <c:pt idx="41">
                  <c:v>1.0249091175984213</c:v>
                </c:pt>
                <c:pt idx="42">
                  <c:v>1.023510536643387</c:v>
                </c:pt>
                <c:pt idx="43">
                  <c:v>1.0269626588008056</c:v>
                </c:pt>
                <c:pt idx="44">
                  <c:v>1.0278488088537774</c:v>
                </c:pt>
                <c:pt idx="45">
                  <c:v>1.0296817536581824</c:v>
                </c:pt>
                <c:pt idx="46">
                  <c:v>1.0292543723103311</c:v>
                </c:pt>
                <c:pt idx="47">
                  <c:v>1.0289524328092263</c:v>
                </c:pt>
                <c:pt idx="48">
                  <c:v>1.0280536634029918</c:v>
                </c:pt>
                <c:pt idx="49">
                  <c:v>1.0314084248634912</c:v>
                </c:pt>
                <c:pt idx="50">
                  <c:v>1.0292046053915962</c:v>
                </c:pt>
                <c:pt idx="51">
                  <c:v>1.0294314305266459</c:v>
                </c:pt>
                <c:pt idx="52">
                  <c:v>1.0330326915825829</c:v>
                </c:pt>
                <c:pt idx="53">
                  <c:v>1.0355752827947278</c:v>
                </c:pt>
                <c:pt idx="54">
                  <c:v>1.0347101897480468</c:v>
                </c:pt>
                <c:pt idx="55">
                  <c:v>1.0339988190538423</c:v>
                </c:pt>
                <c:pt idx="56">
                  <c:v>1.0380980584436161</c:v>
                </c:pt>
                <c:pt idx="57">
                  <c:v>1.0414272646514506</c:v>
                </c:pt>
                <c:pt idx="58">
                  <c:v>1.0395805433883207</c:v>
                </c:pt>
                <c:pt idx="59">
                  <c:v>1.0381649955713146</c:v>
                </c:pt>
                <c:pt idx="60">
                  <c:v>1.0389892661846627</c:v>
                </c:pt>
                <c:pt idx="61">
                  <c:v>1.040478549466209</c:v>
                </c:pt>
                <c:pt idx="62">
                  <c:v>1.0428308688889874</c:v>
                </c:pt>
                <c:pt idx="63">
                  <c:v>1.0459838551815193</c:v>
                </c:pt>
                <c:pt idx="64">
                  <c:v>1.048489931827244</c:v>
                </c:pt>
                <c:pt idx="65">
                  <c:v>1.0482278642650604</c:v>
                </c:pt>
                <c:pt idx="66">
                  <c:v>1.0498019538380536</c:v>
                </c:pt>
                <c:pt idx="67">
                  <c:v>1.0494280654797359</c:v>
                </c:pt>
                <c:pt idx="68">
                  <c:v>1.0500459849511048</c:v>
                </c:pt>
                <c:pt idx="69">
                  <c:v>1.0541122565480723</c:v>
                </c:pt>
                <c:pt idx="70">
                  <c:v>1.0545887392675377</c:v>
                </c:pt>
                <c:pt idx="71">
                  <c:v>1.054379523519007</c:v>
                </c:pt>
                <c:pt idx="72">
                  <c:v>1.0555255736923645</c:v>
                </c:pt>
                <c:pt idx="73">
                  <c:v>1.0545084263482782</c:v>
                </c:pt>
                <c:pt idx="74">
                  <c:v>1.0521766996137818</c:v>
                </c:pt>
                <c:pt idx="75">
                  <c:v>1.0505235828830026</c:v>
                </c:pt>
                <c:pt idx="76">
                  <c:v>1.0490212825937792</c:v>
                </c:pt>
                <c:pt idx="77">
                  <c:v>1.0515456226382127</c:v>
                </c:pt>
                <c:pt idx="78">
                  <c:v>1.0528196648724344</c:v>
                </c:pt>
                <c:pt idx="79">
                  <c:v>1.0558644898895824</c:v>
                </c:pt>
                <c:pt idx="80">
                  <c:v>1.0570998792949016</c:v>
                </c:pt>
                <c:pt idx="81">
                  <c:v>1.0603115862657584</c:v>
                </c:pt>
                <c:pt idx="82">
                  <c:v>1.0600913569772772</c:v>
                </c:pt>
                <c:pt idx="83">
                  <c:v>1.0635074672177531</c:v>
                </c:pt>
                <c:pt idx="84">
                  <c:v>1.062450758310906</c:v>
                </c:pt>
                <c:pt idx="85">
                  <c:v>1.060121340634036</c:v>
                </c:pt>
                <c:pt idx="86">
                  <c:v>1.0631314381925379</c:v>
                </c:pt>
                <c:pt idx="87">
                  <c:v>1.0625276423899481</c:v>
                </c:pt>
                <c:pt idx="88">
                  <c:v>1.0624387649704523</c:v>
                </c:pt>
                <c:pt idx="89">
                  <c:v>1.0622761928542002</c:v>
                </c:pt>
                <c:pt idx="90">
                  <c:v>1.0637822624807094</c:v>
                </c:pt>
                <c:pt idx="91">
                  <c:v>1.0676736862291807</c:v>
                </c:pt>
                <c:pt idx="92">
                  <c:v>1.0684789105195529</c:v>
                </c:pt>
                <c:pt idx="93">
                  <c:v>1.0692705337659063</c:v>
                </c:pt>
                <c:pt idx="94">
                  <c:v>1.0704338430520854</c:v>
                </c:pt>
                <c:pt idx="95">
                  <c:v>1.0706163037389225</c:v>
                </c:pt>
                <c:pt idx="96">
                  <c:v>1.0689868612283282</c:v>
                </c:pt>
                <c:pt idx="97">
                  <c:v>1.0671475286041041</c:v>
                </c:pt>
                <c:pt idx="98">
                  <c:v>1.0680569684619394</c:v>
                </c:pt>
                <c:pt idx="99">
                  <c:v>1.0695056021232738</c:v>
                </c:pt>
                <c:pt idx="100">
                  <c:v>1.0693026255736517</c:v>
                </c:pt>
                <c:pt idx="101">
                  <c:v>1.072505681915253</c:v>
                </c:pt>
                <c:pt idx="102">
                  <c:v>1.0726934900899832</c:v>
                </c:pt>
                <c:pt idx="103">
                  <c:v>1.0714940219954405</c:v>
                </c:pt>
                <c:pt idx="104">
                  <c:v>1.0702180176091893</c:v>
                </c:pt>
                <c:pt idx="105">
                  <c:v>1.0731057984695611</c:v>
                </c:pt>
                <c:pt idx="106">
                  <c:v>1.072763792417345</c:v>
                </c:pt>
                <c:pt idx="107">
                  <c:v>1.0721807530782543</c:v>
                </c:pt>
                <c:pt idx="108">
                  <c:v>1.0756840241943055</c:v>
                </c:pt>
                <c:pt idx="109">
                  <c:v>1.0780489765083203</c:v>
                </c:pt>
                <c:pt idx="110">
                  <c:v>1.0796251212342274</c:v>
                </c:pt>
                <c:pt idx="111">
                  <c:v>1.0812989393999655</c:v>
                </c:pt>
                <c:pt idx="112">
                  <c:v>1.0818980902028101</c:v>
                </c:pt>
                <c:pt idx="113">
                  <c:v>1.0838340849011887</c:v>
                </c:pt>
                <c:pt idx="114">
                  <c:v>1.0824584552098182</c:v>
                </c:pt>
                <c:pt idx="115">
                  <c:v>1.0806800000070809</c:v>
                </c:pt>
                <c:pt idx="116">
                  <c:v>1.0788121106661113</c:v>
                </c:pt>
                <c:pt idx="117">
                  <c:v>1.0792173878479374</c:v>
                </c:pt>
                <c:pt idx="118">
                  <c:v>1.0799785206825827</c:v>
                </c:pt>
                <c:pt idx="119">
                  <c:v>1.0795604401616963</c:v>
                </c:pt>
                <c:pt idx="120">
                  <c:v>1.0797541547608516</c:v>
                </c:pt>
                <c:pt idx="121">
                  <c:v>1.0801421601982553</c:v>
                </c:pt>
                <c:pt idx="122">
                  <c:v>1.0779444024916072</c:v>
                </c:pt>
                <c:pt idx="123">
                  <c:v>1.078964522778763</c:v>
                </c:pt>
                <c:pt idx="124">
                  <c:v>1.0793592399914516</c:v>
                </c:pt>
                <c:pt idx="125">
                  <c:v>1.0794208731404573</c:v>
                </c:pt>
                <c:pt idx="126">
                  <c:v>1.0798948096176375</c:v>
                </c:pt>
                <c:pt idx="127">
                  <c:v>1.0811803652187009</c:v>
                </c:pt>
                <c:pt idx="128">
                  <c:v>1.0821759136056182</c:v>
                </c:pt>
                <c:pt idx="129">
                  <c:v>1.0811688202673213</c:v>
                </c:pt>
                <c:pt idx="130">
                  <c:v>1.0816004324437116</c:v>
                </c:pt>
                <c:pt idx="131">
                  <c:v>1.082111665183082</c:v>
                </c:pt>
                <c:pt idx="132">
                  <c:v>1.0819620697792915</c:v>
                </c:pt>
                <c:pt idx="133">
                  <c:v>1.0777382615812336</c:v>
                </c:pt>
                <c:pt idx="134">
                  <c:v>1.0786095828053903</c:v>
                </c:pt>
                <c:pt idx="135">
                  <c:v>1.0782343675792787</c:v>
                </c:pt>
                <c:pt idx="136">
                  <c:v>1.0811012421249597</c:v>
                </c:pt>
                <c:pt idx="137">
                  <c:v>1.0821990597037296</c:v>
                </c:pt>
                <c:pt idx="138">
                  <c:v>1.0837753338984111</c:v>
                </c:pt>
                <c:pt idx="139">
                  <c:v>1.081549148388832</c:v>
                </c:pt>
                <c:pt idx="140">
                  <c:v>1.0787129071182973</c:v>
                </c:pt>
                <c:pt idx="141">
                  <c:v>1.0773046480649244</c:v>
                </c:pt>
                <c:pt idx="142">
                  <c:v>1.0783922982170409</c:v>
                </c:pt>
                <c:pt idx="143">
                  <c:v>1.0772214737408101</c:v>
                </c:pt>
                <c:pt idx="144">
                  <c:v>1.0769212639168915</c:v>
                </c:pt>
                <c:pt idx="145">
                  <c:v>1.0786991903066041</c:v>
                </c:pt>
                <c:pt idx="146">
                  <c:v>1.085263059447704</c:v>
                </c:pt>
                <c:pt idx="147">
                  <c:v>1.0898894454558803</c:v>
                </c:pt>
                <c:pt idx="148">
                  <c:v>1.0918722950054309</c:v>
                </c:pt>
                <c:pt idx="149">
                  <c:v>1.0913650492252194</c:v>
                </c:pt>
                <c:pt idx="150">
                  <c:v>1.0874770885422067</c:v>
                </c:pt>
                <c:pt idx="151">
                  <c:v>1.0863052762836145</c:v>
                </c:pt>
                <c:pt idx="152">
                  <c:v>1.0842352774792838</c:v>
                </c:pt>
                <c:pt idx="153">
                  <c:v>1.0841366747841472</c:v>
                </c:pt>
                <c:pt idx="154">
                  <c:v>1.0894845960722226</c:v>
                </c:pt>
                <c:pt idx="155">
                  <c:v>1.0942628612990979</c:v>
                </c:pt>
                <c:pt idx="156">
                  <c:v>1.0920896296161799</c:v>
                </c:pt>
                <c:pt idx="157">
                  <c:v>1.091380949506749</c:v>
                </c:pt>
                <c:pt idx="158">
                  <c:v>1.0947308509425988</c:v>
                </c:pt>
                <c:pt idx="159">
                  <c:v>1.0926824785635045</c:v>
                </c:pt>
                <c:pt idx="160">
                  <c:v>1.0969027736368318</c:v>
                </c:pt>
                <c:pt idx="161">
                  <c:v>1.0955401403856018</c:v>
                </c:pt>
                <c:pt idx="162">
                  <c:v>1.1005516434188405</c:v>
                </c:pt>
                <c:pt idx="163">
                  <c:v>1.1043818530026273</c:v>
                </c:pt>
                <c:pt idx="164">
                  <c:v>1.1052510597607881</c:v>
                </c:pt>
                <c:pt idx="165">
                  <c:v>1.1079992792287816</c:v>
                </c:pt>
                <c:pt idx="166">
                  <c:v>1.1076372467644577</c:v>
                </c:pt>
                <c:pt idx="167">
                  <c:v>1.105722687830583</c:v>
                </c:pt>
                <c:pt idx="168">
                  <c:v>1.1050610982086282</c:v>
                </c:pt>
                <c:pt idx="169">
                  <c:v>1.1085632410387232</c:v>
                </c:pt>
                <c:pt idx="170">
                  <c:v>1.1096610194195038</c:v>
                </c:pt>
                <c:pt idx="171">
                  <c:v>1.1120128901591855</c:v>
                </c:pt>
                <c:pt idx="172">
                  <c:v>1.1111553623280486</c:v>
                </c:pt>
                <c:pt idx="173">
                  <c:v>1.1123723235835528</c:v>
                </c:pt>
                <c:pt idx="174">
                  <c:v>1.1124342913189544</c:v>
                </c:pt>
                <c:pt idx="175">
                  <c:v>1.1111017295006875</c:v>
                </c:pt>
                <c:pt idx="176">
                  <c:v>1.1111673759803993</c:v>
                </c:pt>
                <c:pt idx="177">
                  <c:v>1.1081571077543835</c:v>
                </c:pt>
                <c:pt idx="178">
                  <c:v>1.1084803554074893</c:v>
                </c:pt>
                <c:pt idx="179">
                  <c:v>1.1109479884256552</c:v>
                </c:pt>
                <c:pt idx="180">
                  <c:v>1.1137103078717312</c:v>
                </c:pt>
                <c:pt idx="181">
                  <c:v>1.112385335631084</c:v>
                </c:pt>
                <c:pt idx="182">
                  <c:v>1.1087449152930389</c:v>
                </c:pt>
                <c:pt idx="183">
                  <c:v>1.1095413631810958</c:v>
                </c:pt>
                <c:pt idx="184">
                  <c:v>1.1078678527595827</c:v>
                </c:pt>
                <c:pt idx="185">
                  <c:v>1.1095319302753288</c:v>
                </c:pt>
                <c:pt idx="186">
                  <c:v>1.1077625893449516</c:v>
                </c:pt>
                <c:pt idx="187">
                  <c:v>1.1054008061153737</c:v>
                </c:pt>
                <c:pt idx="188">
                  <c:v>1.1061652705981784</c:v>
                </c:pt>
                <c:pt idx="189">
                  <c:v>1.107388428363925</c:v>
                </c:pt>
                <c:pt idx="190">
                  <c:v>1.1042173671256674</c:v>
                </c:pt>
                <c:pt idx="191">
                  <c:v>1.1066129094684343</c:v>
                </c:pt>
                <c:pt idx="192">
                  <c:v>1.1065317911968569</c:v>
                </c:pt>
                <c:pt idx="193">
                  <c:v>1.1095794524920728</c:v>
                </c:pt>
                <c:pt idx="194">
                  <c:v>1.1100973940737016</c:v>
                </c:pt>
                <c:pt idx="195">
                  <c:v>1.1080181153794648</c:v>
                </c:pt>
                <c:pt idx="196">
                  <c:v>1.106610014515151</c:v>
                </c:pt>
                <c:pt idx="197">
                  <c:v>1.1101238644539799</c:v>
                </c:pt>
                <c:pt idx="198">
                  <c:v>1.1103224239284339</c:v>
                </c:pt>
                <c:pt idx="199">
                  <c:v>1.1129528189684821</c:v>
                </c:pt>
                <c:pt idx="200">
                  <c:v>1.1155554896883304</c:v>
                </c:pt>
                <c:pt idx="201">
                  <c:v>1.1164898753777626</c:v>
                </c:pt>
                <c:pt idx="202">
                  <c:v>1.1206897928975867</c:v>
                </c:pt>
                <c:pt idx="203">
                  <c:v>1.1196328690712274</c:v>
                </c:pt>
                <c:pt idx="204">
                  <c:v>1.1187259761634123</c:v>
                </c:pt>
                <c:pt idx="205">
                  <c:v>1.1168295833085589</c:v>
                </c:pt>
                <c:pt idx="206">
                  <c:v>1.1174352760892023</c:v>
                </c:pt>
                <c:pt idx="207">
                  <c:v>1.1192580232558329</c:v>
                </c:pt>
                <c:pt idx="208">
                  <c:v>1.1236361895341607</c:v>
                </c:pt>
                <c:pt idx="209">
                  <c:v>1.1228404770634428</c:v>
                </c:pt>
                <c:pt idx="210">
                  <c:v>1.1242925664165577</c:v>
                </c:pt>
                <c:pt idx="211">
                  <c:v>1.1253907695597989</c:v>
                </c:pt>
                <c:pt idx="212">
                  <c:v>1.1277116578393902</c:v>
                </c:pt>
                <c:pt idx="213">
                  <c:v>1.1264599047121238</c:v>
                </c:pt>
                <c:pt idx="214">
                  <c:v>1.1263600864330268</c:v>
                </c:pt>
                <c:pt idx="215">
                  <c:v>1.1279213009100177</c:v>
                </c:pt>
                <c:pt idx="216">
                  <c:v>1.1268554494116887</c:v>
                </c:pt>
                <c:pt idx="217">
                  <c:v>1.1292591511981911</c:v>
                </c:pt>
                <c:pt idx="218">
                  <c:v>1.13027253963662</c:v>
                </c:pt>
                <c:pt idx="219">
                  <c:v>1.127276868723657</c:v>
                </c:pt>
                <c:pt idx="220">
                  <c:v>1.1266994553363761</c:v>
                </c:pt>
                <c:pt idx="221">
                  <c:v>1.1251973304384864</c:v>
                </c:pt>
                <c:pt idx="222">
                  <c:v>1.1245054470419333</c:v>
                </c:pt>
                <c:pt idx="223">
                  <c:v>1.1261961279997228</c:v>
                </c:pt>
                <c:pt idx="224">
                  <c:v>1.1277429105624885</c:v>
                </c:pt>
                <c:pt idx="225">
                  <c:v>1.1282678889116373</c:v>
                </c:pt>
                <c:pt idx="226">
                  <c:v>1.1284509129758531</c:v>
                </c:pt>
                <c:pt idx="227">
                  <c:v>1.1273561472015481</c:v>
                </c:pt>
                <c:pt idx="228">
                  <c:v>1.1259536361308311</c:v>
                </c:pt>
                <c:pt idx="229">
                  <c:v>1.1226944604198286</c:v>
                </c:pt>
                <c:pt idx="230">
                  <c:v>1.1210324729214127</c:v>
                </c:pt>
                <c:pt idx="231">
                  <c:v>1.120309062930364</c:v>
                </c:pt>
                <c:pt idx="232">
                  <c:v>1.1225584697073032</c:v>
                </c:pt>
                <c:pt idx="233">
                  <c:v>1.1252284979356328</c:v>
                </c:pt>
                <c:pt idx="234">
                  <c:v>1.1284388484837946</c:v>
                </c:pt>
                <c:pt idx="235">
                  <c:v>1.1262744376311056</c:v>
                </c:pt>
                <c:pt idx="236">
                  <c:v>1.1280084088260873</c:v>
                </c:pt>
                <c:pt idx="237">
                  <c:v>1.1283093383815483</c:v>
                </c:pt>
                <c:pt idx="238">
                  <c:v>1.1291380922494805</c:v>
                </c:pt>
                <c:pt idx="239">
                  <c:v>1.127083715235021</c:v>
                </c:pt>
                <c:pt idx="240">
                  <c:v>1.1278553732046706</c:v>
                </c:pt>
                <c:pt idx="241">
                  <c:v>1.127799851042979</c:v>
                </c:pt>
                <c:pt idx="242">
                  <c:v>1.1295406450688026</c:v>
                </c:pt>
                <c:pt idx="243">
                  <c:v>1.1316054107161202</c:v>
                </c:pt>
                <c:pt idx="244">
                  <c:v>1.1353087942736599</c:v>
                </c:pt>
                <c:pt idx="245">
                  <c:v>1.134427696848608</c:v>
                </c:pt>
                <c:pt idx="246">
                  <c:v>1.1327647030798902</c:v>
                </c:pt>
                <c:pt idx="247">
                  <c:v>1.1346059645838387</c:v>
                </c:pt>
                <c:pt idx="248">
                  <c:v>1.1310124657237857</c:v>
                </c:pt>
                <c:pt idx="249">
                  <c:v>1.1345708329401007</c:v>
                </c:pt>
                <c:pt idx="250">
                  <c:v>1.1349945360023166</c:v>
                </c:pt>
                <c:pt idx="251">
                  <c:v>1.1356624056217293</c:v>
                </c:pt>
                <c:pt idx="252">
                  <c:v>1.135329067577552</c:v>
                </c:pt>
                <c:pt idx="253">
                  <c:v>1.1380461987957429</c:v>
                </c:pt>
                <c:pt idx="254">
                  <c:v>1.1388447977621867</c:v>
                </c:pt>
                <c:pt idx="255">
                  <c:v>1.138242908657308</c:v>
                </c:pt>
                <c:pt idx="256">
                  <c:v>1.1355477875337625</c:v>
                </c:pt>
                <c:pt idx="257">
                  <c:v>1.1369206951103041</c:v>
                </c:pt>
                <c:pt idx="258">
                  <c:v>1.1340479721273147</c:v>
                </c:pt>
                <c:pt idx="259">
                  <c:v>1.1355570956685568</c:v>
                </c:pt>
                <c:pt idx="260">
                  <c:v>1.1329513326875726</c:v>
                </c:pt>
                <c:pt idx="261">
                  <c:v>1.1332859421269765</c:v>
                </c:pt>
                <c:pt idx="262">
                  <c:v>1.1330086285581491</c:v>
                </c:pt>
                <c:pt idx="263">
                  <c:v>1.1268094911892648</c:v>
                </c:pt>
                <c:pt idx="264">
                  <c:v>1.1290477721170462</c:v>
                </c:pt>
                <c:pt idx="265">
                  <c:v>1.1289463568341529</c:v>
                </c:pt>
                <c:pt idx="266">
                  <c:v>1.1288110756330538</c:v>
                </c:pt>
                <c:pt idx="267">
                  <c:v>1.1291454542365356</c:v>
                </c:pt>
                <c:pt idx="268">
                  <c:v>1.1292737313439851</c:v>
                </c:pt>
                <c:pt idx="269">
                  <c:v>1.1293543687305865</c:v>
                </c:pt>
                <c:pt idx="270">
                  <c:v>1.1314815121422754</c:v>
                </c:pt>
                <c:pt idx="271">
                  <c:v>1.1315549921925256</c:v>
                </c:pt>
                <c:pt idx="272">
                  <c:v>1.1312201871133136</c:v>
                </c:pt>
                <c:pt idx="273">
                  <c:v>1.1338926111762075</c:v>
                </c:pt>
                <c:pt idx="274">
                  <c:v>1.137446772308542</c:v>
                </c:pt>
                <c:pt idx="275">
                  <c:v>1.1401953132297882</c:v>
                </c:pt>
                <c:pt idx="276">
                  <c:v>1.1431909500562896</c:v>
                </c:pt>
                <c:pt idx="277">
                  <c:v>1.1478816944291661</c:v>
                </c:pt>
                <c:pt idx="278">
                  <c:v>1.1514150383310173</c:v>
                </c:pt>
                <c:pt idx="279">
                  <c:v>1.1526270245301764</c:v>
                </c:pt>
                <c:pt idx="280">
                  <c:v>1.1514430227082084</c:v>
                </c:pt>
                <c:pt idx="281">
                  <c:v>1.1517008044869954</c:v>
                </c:pt>
                <c:pt idx="282">
                  <c:v>1.1523143573826899</c:v>
                </c:pt>
                <c:pt idx="283">
                  <c:v>1.1530634807426969</c:v>
                </c:pt>
                <c:pt idx="284">
                  <c:v>1.1522292194464276</c:v>
                </c:pt>
                <c:pt idx="285">
                  <c:v>1.1507801807940197</c:v>
                </c:pt>
                <c:pt idx="286">
                  <c:v>1.1486721862869742</c:v>
                </c:pt>
                <c:pt idx="287">
                  <c:v>1.1527186387857165</c:v>
                </c:pt>
                <c:pt idx="288">
                  <c:v>1.1511985275466294</c:v>
                </c:pt>
                <c:pt idx="289">
                  <c:v>1.1513772766923873</c:v>
                </c:pt>
                <c:pt idx="290">
                  <c:v>1.1546015366519464</c:v>
                </c:pt>
                <c:pt idx="291">
                  <c:v>1.155765762300492</c:v>
                </c:pt>
                <c:pt idx="292">
                  <c:v>1.1578068401643464</c:v>
                </c:pt>
                <c:pt idx="293">
                  <c:v>1.1568448683977799</c:v>
                </c:pt>
                <c:pt idx="294">
                  <c:v>1.1554961626231899</c:v>
                </c:pt>
                <c:pt idx="295">
                  <c:v>1.1575989546616876</c:v>
                </c:pt>
                <c:pt idx="296">
                  <c:v>1.158999204565901</c:v>
                </c:pt>
                <c:pt idx="297">
                  <c:v>1.16067078432907</c:v>
                </c:pt>
                <c:pt idx="298">
                  <c:v>1.1614136379325994</c:v>
                </c:pt>
                <c:pt idx="299">
                  <c:v>1.1621677615184807</c:v>
                </c:pt>
                <c:pt idx="300">
                  <c:v>1.1633041865741187</c:v>
                </c:pt>
                <c:pt idx="301">
                  <c:v>1.1603719594722779</c:v>
                </c:pt>
                <c:pt idx="302">
                  <c:v>1.1598838960776057</c:v>
                </c:pt>
                <c:pt idx="303">
                  <c:v>1.1599042355695317</c:v>
                </c:pt>
                <c:pt idx="304">
                  <c:v>1.1610005773364318</c:v>
                </c:pt>
                <c:pt idx="305">
                  <c:v>1.1592652199189923</c:v>
                </c:pt>
                <c:pt idx="306">
                  <c:v>1.1601289940215902</c:v>
                </c:pt>
                <c:pt idx="307">
                  <c:v>1.1567448130020423</c:v>
                </c:pt>
                <c:pt idx="308">
                  <c:v>1.1573343129447806</c:v>
                </c:pt>
                <c:pt idx="309">
                  <c:v>1.1555137577449406</c:v>
                </c:pt>
                <c:pt idx="310">
                  <c:v>1.1538972576053816</c:v>
                </c:pt>
                <c:pt idx="311">
                  <c:v>1.1546760337165678</c:v>
                </c:pt>
                <c:pt idx="312">
                  <c:v>1.1535986407760275</c:v>
                </c:pt>
                <c:pt idx="313">
                  <c:v>1.1524369478616616</c:v>
                </c:pt>
                <c:pt idx="314">
                  <c:v>1.1526640985780894</c:v>
                </c:pt>
                <c:pt idx="315">
                  <c:v>1.1524698211480302</c:v>
                </c:pt>
                <c:pt idx="316">
                  <c:v>1.1516678381049337</c:v>
                </c:pt>
                <c:pt idx="317">
                  <c:v>1.1526769002587456</c:v>
                </c:pt>
                <c:pt idx="318">
                  <c:v>1.1523846012717796</c:v>
                </c:pt>
                <c:pt idx="319">
                  <c:v>1.1538268661900566</c:v>
                </c:pt>
                <c:pt idx="320">
                  <c:v>1.1573656029273167</c:v>
                </c:pt>
                <c:pt idx="321">
                  <c:v>1.1565141193326147</c:v>
                </c:pt>
                <c:pt idx="322">
                  <c:v>1.1592269219654801</c:v>
                </c:pt>
                <c:pt idx="323">
                  <c:v>1.1595958110253048</c:v>
                </c:pt>
                <c:pt idx="324">
                  <c:v>1.1581261114432797</c:v>
                </c:pt>
                <c:pt idx="325">
                  <c:v>1.1613185116530991</c:v>
                </c:pt>
                <c:pt idx="326">
                  <c:v>1.1620372304099207</c:v>
                </c:pt>
                <c:pt idx="327">
                  <c:v>1.1634705965393097</c:v>
                </c:pt>
                <c:pt idx="328">
                  <c:v>1.1639085704261787</c:v>
                </c:pt>
                <c:pt idx="329">
                  <c:v>1.1651470300474458</c:v>
                </c:pt>
                <c:pt idx="330">
                  <c:v>1.1610633417434368</c:v>
                </c:pt>
                <c:pt idx="331">
                  <c:v>1.163176613668919</c:v>
                </c:pt>
                <c:pt idx="332">
                  <c:v>1.1581854702177163</c:v>
                </c:pt>
                <c:pt idx="333">
                  <c:v>1.1563110721725911</c:v>
                </c:pt>
                <c:pt idx="334">
                  <c:v>1.1546508285645578</c:v>
                </c:pt>
                <c:pt idx="335">
                  <c:v>1.1572634655154415</c:v>
                </c:pt>
                <c:pt idx="336">
                  <c:v>1.1581817537691259</c:v>
                </c:pt>
                <c:pt idx="337">
                  <c:v>1.1610861965916184</c:v>
                </c:pt>
                <c:pt idx="338">
                  <c:v>1.1592999914683662</c:v>
                </c:pt>
                <c:pt idx="339">
                  <c:v>1.1615341816980893</c:v>
                </c:pt>
                <c:pt idx="340">
                  <c:v>1.1630983129910968</c:v>
                </c:pt>
                <c:pt idx="341">
                  <c:v>1.1626553352724582</c:v>
                </c:pt>
                <c:pt idx="342">
                  <c:v>1.1665018369623705</c:v>
                </c:pt>
                <c:pt idx="343">
                  <c:v>1.1656241490965367</c:v>
                </c:pt>
                <c:pt idx="344">
                  <c:v>1.1641492904887418</c:v>
                </c:pt>
                <c:pt idx="345">
                  <c:v>1.1656778694858232</c:v>
                </c:pt>
                <c:pt idx="346">
                  <c:v>1.164489362428329</c:v>
                </c:pt>
                <c:pt idx="347">
                  <c:v>1.1659688596018292</c:v>
                </c:pt>
                <c:pt idx="348">
                  <c:v>1.1677858269080954</c:v>
                </c:pt>
                <c:pt idx="349">
                  <c:v>1.1681965366497844</c:v>
                </c:pt>
                <c:pt idx="350">
                  <c:v>1.1695695311511178</c:v>
                </c:pt>
                <c:pt idx="351">
                  <c:v>1.1713777820283262</c:v>
                </c:pt>
                <c:pt idx="352">
                  <c:v>1.1700232224251368</c:v>
                </c:pt>
                <c:pt idx="353">
                  <c:v>1.1716523759957347</c:v>
                </c:pt>
                <c:pt idx="354">
                  <c:v>1.1697604535488031</c:v>
                </c:pt>
                <c:pt idx="355">
                  <c:v>1.1664184083147013</c:v>
                </c:pt>
                <c:pt idx="356">
                  <c:v>1.1706737935194513</c:v>
                </c:pt>
                <c:pt idx="357">
                  <c:v>1.1718160998871601</c:v>
                </c:pt>
                <c:pt idx="358">
                  <c:v>1.1746658697164645</c:v>
                </c:pt>
                <c:pt idx="359">
                  <c:v>1.1736016424419689</c:v>
                </c:pt>
                <c:pt idx="360">
                  <c:v>1.1752220030906537</c:v>
                </c:pt>
                <c:pt idx="361">
                  <c:v>1.1764117538415058</c:v>
                </c:pt>
                <c:pt idx="362">
                  <c:v>1.178974729058212</c:v>
                </c:pt>
                <c:pt idx="363">
                  <c:v>1.1779383463990913</c:v>
                </c:pt>
                <c:pt idx="364">
                  <c:v>1.1796666662002155</c:v>
                </c:pt>
                <c:pt idx="365">
                  <c:v>1.1779954566464401</c:v>
                </c:pt>
                <c:pt idx="366">
                  <c:v>1.1789613160666892</c:v>
                </c:pt>
                <c:pt idx="367">
                  <c:v>1.1769953630593055</c:v>
                </c:pt>
                <c:pt idx="368">
                  <c:v>1.1764963241004081</c:v>
                </c:pt>
                <c:pt idx="369">
                  <c:v>1.1797180787120618</c:v>
                </c:pt>
                <c:pt idx="370">
                  <c:v>1.1812922942323734</c:v>
                </c:pt>
                <c:pt idx="371">
                  <c:v>1.1764112639396607</c:v>
                </c:pt>
                <c:pt idx="372">
                  <c:v>1.1783565251239476</c:v>
                </c:pt>
                <c:pt idx="373">
                  <c:v>1.1755153673560153</c:v>
                </c:pt>
                <c:pt idx="374">
                  <c:v>1.1754215657949376</c:v>
                </c:pt>
              </c:numCache>
            </c:numRef>
          </c:val>
          <c:smooth val="1"/>
          <c:extLst>
            <c:ext xmlns:c16="http://schemas.microsoft.com/office/drawing/2014/chart" uri="{C3380CC4-5D6E-409C-BE32-E72D297353CC}">
              <c16:uniqueId val="{00000001-53EE-47DB-9DEB-94BA42B73EDD}"/>
            </c:ext>
          </c:extLst>
        </c:ser>
        <c:ser>
          <c:idx val="4"/>
          <c:order val="2"/>
          <c:tx>
            <c:strRef>
              <c:f>'Average returns'!$D$3</c:f>
              <c:strCache>
                <c:ptCount val="1"/>
                <c:pt idx="0">
                  <c:v>Industry sub-index</c:v>
                </c:pt>
              </c:strCache>
            </c:strRef>
          </c:tx>
          <c:spPr>
            <a:ln>
              <a:solidFill>
                <a:schemeClr val="tx2"/>
              </a:solidFill>
              <a:prstDash val="sysDash"/>
            </a:ln>
          </c:spPr>
          <c:marker>
            <c:symbol val="none"/>
          </c:marker>
          <c:cat>
            <c:strRef>
              <c:f>'Average returns'!$A$4:$A$384</c:f>
              <c:strCache>
                <c:ptCount val="381"/>
                <c:pt idx="0">
                  <c:v>Month 0</c:v>
                </c:pt>
                <c:pt idx="1">
                  <c:v>Month 0</c:v>
                </c:pt>
                <c:pt idx="2">
                  <c:v>Month 0</c:v>
                </c:pt>
                <c:pt idx="3">
                  <c:v>Month 0</c:v>
                </c:pt>
                <c:pt idx="4">
                  <c:v>Month 0</c:v>
                </c:pt>
                <c:pt idx="5">
                  <c:v>Month 0</c:v>
                </c:pt>
                <c:pt idx="6">
                  <c:v>Month 0</c:v>
                </c:pt>
                <c:pt idx="7">
                  <c:v>Month 0</c:v>
                </c:pt>
                <c:pt idx="8">
                  <c:v>Month 0</c:v>
                </c:pt>
                <c:pt idx="9">
                  <c:v>Month 0</c:v>
                </c:pt>
                <c:pt idx="10">
                  <c:v>Month 0</c:v>
                </c:pt>
                <c:pt idx="11">
                  <c:v>Month 0</c:v>
                </c:pt>
                <c:pt idx="12">
                  <c:v>Month 0</c:v>
                </c:pt>
                <c:pt idx="13">
                  <c:v>Month 0</c:v>
                </c:pt>
                <c:pt idx="14">
                  <c:v>Month 0</c:v>
                </c:pt>
                <c:pt idx="15">
                  <c:v>Month 0</c:v>
                </c:pt>
                <c:pt idx="16">
                  <c:v>Month 0</c:v>
                </c:pt>
                <c:pt idx="17">
                  <c:v>Month 0</c:v>
                </c:pt>
                <c:pt idx="18">
                  <c:v>Month 0</c:v>
                </c:pt>
                <c:pt idx="19">
                  <c:v>Month 0</c:v>
                </c:pt>
                <c:pt idx="20">
                  <c:v>Month 0</c:v>
                </c:pt>
                <c:pt idx="21">
                  <c:v>Month 1</c:v>
                </c:pt>
                <c:pt idx="22">
                  <c:v>Month 1</c:v>
                </c:pt>
                <c:pt idx="23">
                  <c:v>Month 1</c:v>
                </c:pt>
                <c:pt idx="24">
                  <c:v>Month 1</c:v>
                </c:pt>
                <c:pt idx="25">
                  <c:v>Month 1</c:v>
                </c:pt>
                <c:pt idx="26">
                  <c:v>Month 1</c:v>
                </c:pt>
                <c:pt idx="27">
                  <c:v>Month 1</c:v>
                </c:pt>
                <c:pt idx="28">
                  <c:v>Month 1</c:v>
                </c:pt>
                <c:pt idx="29">
                  <c:v>Month 1</c:v>
                </c:pt>
                <c:pt idx="30">
                  <c:v>Month 1</c:v>
                </c:pt>
                <c:pt idx="31">
                  <c:v>Month 1</c:v>
                </c:pt>
                <c:pt idx="32">
                  <c:v>Month 1</c:v>
                </c:pt>
                <c:pt idx="33">
                  <c:v>Month 1</c:v>
                </c:pt>
                <c:pt idx="34">
                  <c:v>Month 1</c:v>
                </c:pt>
                <c:pt idx="35">
                  <c:v>Month 1</c:v>
                </c:pt>
                <c:pt idx="36">
                  <c:v>Month 1</c:v>
                </c:pt>
                <c:pt idx="37">
                  <c:v>Month 1</c:v>
                </c:pt>
                <c:pt idx="38">
                  <c:v>Month 1</c:v>
                </c:pt>
                <c:pt idx="39">
                  <c:v>Month 1</c:v>
                </c:pt>
                <c:pt idx="40">
                  <c:v>Month 1</c:v>
                </c:pt>
                <c:pt idx="41">
                  <c:v>Month 1</c:v>
                </c:pt>
                <c:pt idx="42">
                  <c:v>Month 2</c:v>
                </c:pt>
                <c:pt idx="43">
                  <c:v>Month 2</c:v>
                </c:pt>
                <c:pt idx="44">
                  <c:v>Month 2</c:v>
                </c:pt>
                <c:pt idx="45">
                  <c:v>Month 2</c:v>
                </c:pt>
                <c:pt idx="46">
                  <c:v>Month 2</c:v>
                </c:pt>
                <c:pt idx="47">
                  <c:v>Month 2</c:v>
                </c:pt>
                <c:pt idx="48">
                  <c:v>Month 2</c:v>
                </c:pt>
                <c:pt idx="49">
                  <c:v>Month 2</c:v>
                </c:pt>
                <c:pt idx="50">
                  <c:v>Month 2</c:v>
                </c:pt>
                <c:pt idx="51">
                  <c:v>Month 2</c:v>
                </c:pt>
                <c:pt idx="52">
                  <c:v>Month 2</c:v>
                </c:pt>
                <c:pt idx="53">
                  <c:v>Month 2</c:v>
                </c:pt>
                <c:pt idx="54">
                  <c:v>Month 2</c:v>
                </c:pt>
                <c:pt idx="55">
                  <c:v>Month 2</c:v>
                </c:pt>
                <c:pt idx="56">
                  <c:v>Month 2</c:v>
                </c:pt>
                <c:pt idx="57">
                  <c:v>Month 2</c:v>
                </c:pt>
                <c:pt idx="58">
                  <c:v>Month 2</c:v>
                </c:pt>
                <c:pt idx="59">
                  <c:v>Month 2</c:v>
                </c:pt>
                <c:pt idx="60">
                  <c:v>Month 2</c:v>
                </c:pt>
                <c:pt idx="61">
                  <c:v>Month 2</c:v>
                </c:pt>
                <c:pt idx="62">
                  <c:v>Month 2</c:v>
                </c:pt>
                <c:pt idx="63">
                  <c:v>Month 3</c:v>
                </c:pt>
                <c:pt idx="64">
                  <c:v>Month 3</c:v>
                </c:pt>
                <c:pt idx="65">
                  <c:v>Month 3</c:v>
                </c:pt>
                <c:pt idx="66">
                  <c:v>Month 3</c:v>
                </c:pt>
                <c:pt idx="67">
                  <c:v>Month 3</c:v>
                </c:pt>
                <c:pt idx="68">
                  <c:v>Month 3</c:v>
                </c:pt>
                <c:pt idx="69">
                  <c:v>Month 3</c:v>
                </c:pt>
                <c:pt idx="70">
                  <c:v>Month 3</c:v>
                </c:pt>
                <c:pt idx="71">
                  <c:v>Month 3</c:v>
                </c:pt>
                <c:pt idx="72">
                  <c:v>Month 3</c:v>
                </c:pt>
                <c:pt idx="73">
                  <c:v>Month 3</c:v>
                </c:pt>
                <c:pt idx="74">
                  <c:v>Month 3</c:v>
                </c:pt>
                <c:pt idx="75">
                  <c:v>Month 3</c:v>
                </c:pt>
                <c:pt idx="76">
                  <c:v>Month 3</c:v>
                </c:pt>
                <c:pt idx="77">
                  <c:v>Month 3</c:v>
                </c:pt>
                <c:pt idx="78">
                  <c:v>Month 3</c:v>
                </c:pt>
                <c:pt idx="79">
                  <c:v>Month 3</c:v>
                </c:pt>
                <c:pt idx="80">
                  <c:v>Month 3</c:v>
                </c:pt>
                <c:pt idx="81">
                  <c:v>Month 3</c:v>
                </c:pt>
                <c:pt idx="82">
                  <c:v>Month 3</c:v>
                </c:pt>
                <c:pt idx="83">
                  <c:v>Month 3</c:v>
                </c:pt>
                <c:pt idx="84">
                  <c:v>Month 4</c:v>
                </c:pt>
                <c:pt idx="85">
                  <c:v>Month 4</c:v>
                </c:pt>
                <c:pt idx="86">
                  <c:v>Month 4</c:v>
                </c:pt>
                <c:pt idx="87">
                  <c:v>Month 4</c:v>
                </c:pt>
                <c:pt idx="88">
                  <c:v>Month 4</c:v>
                </c:pt>
                <c:pt idx="89">
                  <c:v>Month 4</c:v>
                </c:pt>
                <c:pt idx="90">
                  <c:v>Month 4</c:v>
                </c:pt>
                <c:pt idx="91">
                  <c:v>Month 4</c:v>
                </c:pt>
                <c:pt idx="92">
                  <c:v>Month 4</c:v>
                </c:pt>
                <c:pt idx="93">
                  <c:v>Month 4</c:v>
                </c:pt>
                <c:pt idx="94">
                  <c:v>Month 4</c:v>
                </c:pt>
                <c:pt idx="95">
                  <c:v>Month 4</c:v>
                </c:pt>
                <c:pt idx="96">
                  <c:v>Month 4</c:v>
                </c:pt>
                <c:pt idx="97">
                  <c:v>Month 4</c:v>
                </c:pt>
                <c:pt idx="98">
                  <c:v>Month 4</c:v>
                </c:pt>
                <c:pt idx="99">
                  <c:v>Month 4</c:v>
                </c:pt>
                <c:pt idx="100">
                  <c:v>Month 4</c:v>
                </c:pt>
                <c:pt idx="101">
                  <c:v>Month 4</c:v>
                </c:pt>
                <c:pt idx="102">
                  <c:v>Month 4</c:v>
                </c:pt>
                <c:pt idx="103">
                  <c:v>Month 4</c:v>
                </c:pt>
                <c:pt idx="104">
                  <c:v>Month 5</c:v>
                </c:pt>
                <c:pt idx="105">
                  <c:v>Month 5</c:v>
                </c:pt>
                <c:pt idx="106">
                  <c:v>Month 5</c:v>
                </c:pt>
                <c:pt idx="107">
                  <c:v>Month 5</c:v>
                </c:pt>
                <c:pt idx="108">
                  <c:v>Month 5</c:v>
                </c:pt>
                <c:pt idx="109">
                  <c:v>Month 5</c:v>
                </c:pt>
                <c:pt idx="110">
                  <c:v>Month 5</c:v>
                </c:pt>
                <c:pt idx="111">
                  <c:v>Month 5</c:v>
                </c:pt>
                <c:pt idx="112">
                  <c:v>Month 5</c:v>
                </c:pt>
                <c:pt idx="113">
                  <c:v>Month 5</c:v>
                </c:pt>
                <c:pt idx="114">
                  <c:v>Month 5</c:v>
                </c:pt>
                <c:pt idx="115">
                  <c:v>Month 5</c:v>
                </c:pt>
                <c:pt idx="116">
                  <c:v>Month 5</c:v>
                </c:pt>
                <c:pt idx="117">
                  <c:v>Month 5</c:v>
                </c:pt>
                <c:pt idx="118">
                  <c:v>Month 5</c:v>
                </c:pt>
                <c:pt idx="119">
                  <c:v>Month 5</c:v>
                </c:pt>
                <c:pt idx="120">
                  <c:v>Month 5</c:v>
                </c:pt>
                <c:pt idx="121">
                  <c:v>Month 5</c:v>
                </c:pt>
                <c:pt idx="122">
                  <c:v>Month 5</c:v>
                </c:pt>
                <c:pt idx="123">
                  <c:v>Month 5</c:v>
                </c:pt>
                <c:pt idx="124">
                  <c:v>Month 5</c:v>
                </c:pt>
                <c:pt idx="125">
                  <c:v>Month 6</c:v>
                </c:pt>
                <c:pt idx="126">
                  <c:v>Month 6</c:v>
                </c:pt>
                <c:pt idx="127">
                  <c:v>Month 6</c:v>
                </c:pt>
                <c:pt idx="128">
                  <c:v>Month 6</c:v>
                </c:pt>
                <c:pt idx="129">
                  <c:v>Month 6</c:v>
                </c:pt>
                <c:pt idx="130">
                  <c:v>Month 6</c:v>
                </c:pt>
                <c:pt idx="131">
                  <c:v>Month 6</c:v>
                </c:pt>
                <c:pt idx="132">
                  <c:v>Month 6</c:v>
                </c:pt>
                <c:pt idx="133">
                  <c:v>Month 6</c:v>
                </c:pt>
                <c:pt idx="134">
                  <c:v>Month 6</c:v>
                </c:pt>
                <c:pt idx="135">
                  <c:v>Month 6</c:v>
                </c:pt>
                <c:pt idx="136">
                  <c:v>Month 6</c:v>
                </c:pt>
                <c:pt idx="137">
                  <c:v>Month 6</c:v>
                </c:pt>
                <c:pt idx="138">
                  <c:v>Month 6</c:v>
                </c:pt>
                <c:pt idx="139">
                  <c:v>Month 6</c:v>
                </c:pt>
                <c:pt idx="140">
                  <c:v>Month 6</c:v>
                </c:pt>
                <c:pt idx="141">
                  <c:v>Month 6</c:v>
                </c:pt>
                <c:pt idx="142">
                  <c:v>Month 6</c:v>
                </c:pt>
                <c:pt idx="143">
                  <c:v>Month 6</c:v>
                </c:pt>
                <c:pt idx="144">
                  <c:v>Month 6</c:v>
                </c:pt>
                <c:pt idx="145">
                  <c:v>Month 6</c:v>
                </c:pt>
                <c:pt idx="146">
                  <c:v>Month 7</c:v>
                </c:pt>
                <c:pt idx="147">
                  <c:v>Month 7</c:v>
                </c:pt>
                <c:pt idx="148">
                  <c:v>Month 7</c:v>
                </c:pt>
                <c:pt idx="149">
                  <c:v>Month 7</c:v>
                </c:pt>
                <c:pt idx="150">
                  <c:v>Month 7</c:v>
                </c:pt>
                <c:pt idx="151">
                  <c:v>Month 7</c:v>
                </c:pt>
                <c:pt idx="152">
                  <c:v>Month 7</c:v>
                </c:pt>
                <c:pt idx="153">
                  <c:v>Month 7</c:v>
                </c:pt>
                <c:pt idx="154">
                  <c:v>Month 7</c:v>
                </c:pt>
                <c:pt idx="155">
                  <c:v>Month 7</c:v>
                </c:pt>
                <c:pt idx="156">
                  <c:v>Month 7</c:v>
                </c:pt>
                <c:pt idx="157">
                  <c:v>Month 7</c:v>
                </c:pt>
                <c:pt idx="158">
                  <c:v>Month 7</c:v>
                </c:pt>
                <c:pt idx="159">
                  <c:v>Month 7</c:v>
                </c:pt>
                <c:pt idx="160">
                  <c:v>Month 7</c:v>
                </c:pt>
                <c:pt idx="161">
                  <c:v>Month 7</c:v>
                </c:pt>
                <c:pt idx="162">
                  <c:v>Month 7</c:v>
                </c:pt>
                <c:pt idx="163">
                  <c:v>Month 7</c:v>
                </c:pt>
                <c:pt idx="164">
                  <c:v>Month 7</c:v>
                </c:pt>
                <c:pt idx="165">
                  <c:v>Month 7</c:v>
                </c:pt>
                <c:pt idx="166">
                  <c:v>Month 7</c:v>
                </c:pt>
                <c:pt idx="167">
                  <c:v>Month 8</c:v>
                </c:pt>
                <c:pt idx="168">
                  <c:v>Month 8</c:v>
                </c:pt>
                <c:pt idx="169">
                  <c:v>Month 8</c:v>
                </c:pt>
                <c:pt idx="170">
                  <c:v>Month 8</c:v>
                </c:pt>
                <c:pt idx="171">
                  <c:v>Month 8</c:v>
                </c:pt>
                <c:pt idx="172">
                  <c:v>Month 8</c:v>
                </c:pt>
                <c:pt idx="173">
                  <c:v>Month 8</c:v>
                </c:pt>
                <c:pt idx="174">
                  <c:v>Month 8</c:v>
                </c:pt>
                <c:pt idx="175">
                  <c:v>Month 8</c:v>
                </c:pt>
                <c:pt idx="176">
                  <c:v>Month 8</c:v>
                </c:pt>
                <c:pt idx="177">
                  <c:v>Month 8</c:v>
                </c:pt>
                <c:pt idx="178">
                  <c:v>Month 8</c:v>
                </c:pt>
                <c:pt idx="179">
                  <c:v>Month 8</c:v>
                </c:pt>
                <c:pt idx="180">
                  <c:v>Month 8</c:v>
                </c:pt>
                <c:pt idx="181">
                  <c:v>Month 8</c:v>
                </c:pt>
                <c:pt idx="182">
                  <c:v>Month 8</c:v>
                </c:pt>
                <c:pt idx="183">
                  <c:v>Month 8</c:v>
                </c:pt>
                <c:pt idx="184">
                  <c:v>Month 8</c:v>
                </c:pt>
                <c:pt idx="185">
                  <c:v>Month 8</c:v>
                </c:pt>
                <c:pt idx="186">
                  <c:v>Month 8</c:v>
                </c:pt>
                <c:pt idx="187">
                  <c:v>Month 8</c:v>
                </c:pt>
                <c:pt idx="188">
                  <c:v>Month 9</c:v>
                </c:pt>
                <c:pt idx="189">
                  <c:v>Month 9</c:v>
                </c:pt>
                <c:pt idx="190">
                  <c:v>Month 9</c:v>
                </c:pt>
                <c:pt idx="191">
                  <c:v>Month 9</c:v>
                </c:pt>
                <c:pt idx="192">
                  <c:v>Month 9</c:v>
                </c:pt>
                <c:pt idx="193">
                  <c:v>Month 9</c:v>
                </c:pt>
                <c:pt idx="194">
                  <c:v>Month 9</c:v>
                </c:pt>
                <c:pt idx="195">
                  <c:v>Month 9</c:v>
                </c:pt>
                <c:pt idx="196">
                  <c:v>Month 9</c:v>
                </c:pt>
                <c:pt idx="197">
                  <c:v>Month 9</c:v>
                </c:pt>
                <c:pt idx="198">
                  <c:v>Month 9</c:v>
                </c:pt>
                <c:pt idx="199">
                  <c:v>Month 9</c:v>
                </c:pt>
                <c:pt idx="200">
                  <c:v>Month 9</c:v>
                </c:pt>
                <c:pt idx="201">
                  <c:v>Month 9</c:v>
                </c:pt>
                <c:pt idx="202">
                  <c:v>Month 9</c:v>
                </c:pt>
                <c:pt idx="203">
                  <c:v>Month 9</c:v>
                </c:pt>
                <c:pt idx="204">
                  <c:v>Month 9</c:v>
                </c:pt>
                <c:pt idx="205">
                  <c:v>Month 9</c:v>
                </c:pt>
                <c:pt idx="206">
                  <c:v>Month 9</c:v>
                </c:pt>
                <c:pt idx="207">
                  <c:v>Month 9</c:v>
                </c:pt>
                <c:pt idx="208">
                  <c:v>Month 10</c:v>
                </c:pt>
                <c:pt idx="209">
                  <c:v>Month 10</c:v>
                </c:pt>
                <c:pt idx="210">
                  <c:v>Month 10</c:v>
                </c:pt>
                <c:pt idx="211">
                  <c:v>Month 10</c:v>
                </c:pt>
                <c:pt idx="212">
                  <c:v>Month 10</c:v>
                </c:pt>
                <c:pt idx="213">
                  <c:v>Month 10</c:v>
                </c:pt>
                <c:pt idx="214">
                  <c:v>Month 10</c:v>
                </c:pt>
                <c:pt idx="215">
                  <c:v>Month 10</c:v>
                </c:pt>
                <c:pt idx="216">
                  <c:v>Month 10</c:v>
                </c:pt>
                <c:pt idx="217">
                  <c:v>Month 10</c:v>
                </c:pt>
                <c:pt idx="218">
                  <c:v>Month 10</c:v>
                </c:pt>
                <c:pt idx="219">
                  <c:v>Month 10</c:v>
                </c:pt>
                <c:pt idx="220">
                  <c:v>Month 10</c:v>
                </c:pt>
                <c:pt idx="221">
                  <c:v>Month 10</c:v>
                </c:pt>
                <c:pt idx="222">
                  <c:v>Month 10</c:v>
                </c:pt>
                <c:pt idx="223">
                  <c:v>Month 10</c:v>
                </c:pt>
                <c:pt idx="224">
                  <c:v>Month 10</c:v>
                </c:pt>
                <c:pt idx="225">
                  <c:v>Month 10</c:v>
                </c:pt>
                <c:pt idx="226">
                  <c:v>Month 10</c:v>
                </c:pt>
                <c:pt idx="227">
                  <c:v>Month 10</c:v>
                </c:pt>
                <c:pt idx="228">
                  <c:v>Month 10</c:v>
                </c:pt>
                <c:pt idx="229">
                  <c:v>Month 11</c:v>
                </c:pt>
                <c:pt idx="230">
                  <c:v>Month 11</c:v>
                </c:pt>
                <c:pt idx="231">
                  <c:v>Month 11</c:v>
                </c:pt>
                <c:pt idx="232">
                  <c:v>Month 11</c:v>
                </c:pt>
                <c:pt idx="233">
                  <c:v>Month 11</c:v>
                </c:pt>
                <c:pt idx="234">
                  <c:v>Month 11</c:v>
                </c:pt>
                <c:pt idx="235">
                  <c:v>Month 11</c:v>
                </c:pt>
                <c:pt idx="236">
                  <c:v>Month 11</c:v>
                </c:pt>
                <c:pt idx="237">
                  <c:v>Month 11</c:v>
                </c:pt>
                <c:pt idx="238">
                  <c:v>Month 11</c:v>
                </c:pt>
                <c:pt idx="239">
                  <c:v>Month 11</c:v>
                </c:pt>
                <c:pt idx="240">
                  <c:v>Month 11</c:v>
                </c:pt>
                <c:pt idx="241">
                  <c:v>Month 11</c:v>
                </c:pt>
                <c:pt idx="242">
                  <c:v>Month 11</c:v>
                </c:pt>
                <c:pt idx="243">
                  <c:v>Month 11</c:v>
                </c:pt>
                <c:pt idx="244">
                  <c:v>Month 11</c:v>
                </c:pt>
                <c:pt idx="245">
                  <c:v>Month 11</c:v>
                </c:pt>
                <c:pt idx="246">
                  <c:v>Month 11</c:v>
                </c:pt>
                <c:pt idx="247">
                  <c:v>Month 11</c:v>
                </c:pt>
                <c:pt idx="248">
                  <c:v>Month 11</c:v>
                </c:pt>
                <c:pt idx="249">
                  <c:v>Month 11</c:v>
                </c:pt>
                <c:pt idx="250">
                  <c:v>Month 12</c:v>
                </c:pt>
                <c:pt idx="251">
                  <c:v>Month 12</c:v>
                </c:pt>
                <c:pt idx="252">
                  <c:v>Month 12</c:v>
                </c:pt>
                <c:pt idx="253">
                  <c:v>Month 12</c:v>
                </c:pt>
                <c:pt idx="254">
                  <c:v>Month 12</c:v>
                </c:pt>
                <c:pt idx="255">
                  <c:v>Month 12</c:v>
                </c:pt>
                <c:pt idx="256">
                  <c:v>Month 12</c:v>
                </c:pt>
                <c:pt idx="257">
                  <c:v>Month 12</c:v>
                </c:pt>
                <c:pt idx="258">
                  <c:v>Month 12</c:v>
                </c:pt>
                <c:pt idx="259">
                  <c:v>Month 12</c:v>
                </c:pt>
                <c:pt idx="260">
                  <c:v>Month 12</c:v>
                </c:pt>
                <c:pt idx="261">
                  <c:v>Month 12</c:v>
                </c:pt>
                <c:pt idx="262">
                  <c:v>Month 12</c:v>
                </c:pt>
                <c:pt idx="263">
                  <c:v>Month 12</c:v>
                </c:pt>
                <c:pt idx="264">
                  <c:v>Month 12</c:v>
                </c:pt>
                <c:pt idx="265">
                  <c:v>Month 12</c:v>
                </c:pt>
                <c:pt idx="266">
                  <c:v>Month 12</c:v>
                </c:pt>
                <c:pt idx="267">
                  <c:v>Month 12</c:v>
                </c:pt>
                <c:pt idx="268">
                  <c:v>Month 12</c:v>
                </c:pt>
                <c:pt idx="269">
                  <c:v>Month 12</c:v>
                </c:pt>
                <c:pt idx="270">
                  <c:v>Month 12</c:v>
                </c:pt>
                <c:pt idx="271">
                  <c:v>Month 13</c:v>
                </c:pt>
                <c:pt idx="272">
                  <c:v>Month 13</c:v>
                </c:pt>
                <c:pt idx="273">
                  <c:v>Month 13</c:v>
                </c:pt>
                <c:pt idx="274">
                  <c:v>Month 13</c:v>
                </c:pt>
                <c:pt idx="275">
                  <c:v>Month 13</c:v>
                </c:pt>
                <c:pt idx="276">
                  <c:v>Month 13</c:v>
                </c:pt>
                <c:pt idx="277">
                  <c:v>Month 13</c:v>
                </c:pt>
                <c:pt idx="278">
                  <c:v>Month 13</c:v>
                </c:pt>
                <c:pt idx="279">
                  <c:v>Month 13</c:v>
                </c:pt>
                <c:pt idx="280">
                  <c:v>Month 13</c:v>
                </c:pt>
                <c:pt idx="281">
                  <c:v>Month 13</c:v>
                </c:pt>
                <c:pt idx="282">
                  <c:v>Month 13</c:v>
                </c:pt>
                <c:pt idx="283">
                  <c:v>Month 13</c:v>
                </c:pt>
                <c:pt idx="284">
                  <c:v>Month 13</c:v>
                </c:pt>
                <c:pt idx="285">
                  <c:v>Month 13</c:v>
                </c:pt>
                <c:pt idx="286">
                  <c:v>Month 13</c:v>
                </c:pt>
                <c:pt idx="287">
                  <c:v>Month 13</c:v>
                </c:pt>
                <c:pt idx="288">
                  <c:v>Month 13</c:v>
                </c:pt>
                <c:pt idx="289">
                  <c:v>Month 13</c:v>
                </c:pt>
                <c:pt idx="290">
                  <c:v>Month 13</c:v>
                </c:pt>
                <c:pt idx="291">
                  <c:v>Month 13</c:v>
                </c:pt>
                <c:pt idx="292">
                  <c:v>Month 14</c:v>
                </c:pt>
                <c:pt idx="293">
                  <c:v>Month 14</c:v>
                </c:pt>
                <c:pt idx="294">
                  <c:v>Month 14</c:v>
                </c:pt>
                <c:pt idx="295">
                  <c:v>Month 14</c:v>
                </c:pt>
                <c:pt idx="296">
                  <c:v>Month 14</c:v>
                </c:pt>
                <c:pt idx="297">
                  <c:v>Month 14</c:v>
                </c:pt>
                <c:pt idx="298">
                  <c:v>Month 14</c:v>
                </c:pt>
                <c:pt idx="299">
                  <c:v>Month 14</c:v>
                </c:pt>
                <c:pt idx="300">
                  <c:v>Month 14</c:v>
                </c:pt>
                <c:pt idx="301">
                  <c:v>Month 14</c:v>
                </c:pt>
                <c:pt idx="302">
                  <c:v>Month 14</c:v>
                </c:pt>
                <c:pt idx="303">
                  <c:v>Month 14</c:v>
                </c:pt>
                <c:pt idx="304">
                  <c:v>Month 14</c:v>
                </c:pt>
                <c:pt idx="305">
                  <c:v>Month 14</c:v>
                </c:pt>
                <c:pt idx="306">
                  <c:v>Month 14</c:v>
                </c:pt>
                <c:pt idx="307">
                  <c:v>Month 14</c:v>
                </c:pt>
                <c:pt idx="308">
                  <c:v>Month 14</c:v>
                </c:pt>
                <c:pt idx="309">
                  <c:v>Month 14</c:v>
                </c:pt>
                <c:pt idx="310">
                  <c:v>Month 14</c:v>
                </c:pt>
                <c:pt idx="311">
                  <c:v>Month 14</c:v>
                </c:pt>
                <c:pt idx="312">
                  <c:v>Month 15</c:v>
                </c:pt>
                <c:pt idx="313">
                  <c:v>Month 15</c:v>
                </c:pt>
                <c:pt idx="314">
                  <c:v>Month 15</c:v>
                </c:pt>
                <c:pt idx="315">
                  <c:v>Month 15</c:v>
                </c:pt>
                <c:pt idx="316">
                  <c:v>Month 15</c:v>
                </c:pt>
                <c:pt idx="317">
                  <c:v>Month 15</c:v>
                </c:pt>
                <c:pt idx="318">
                  <c:v>Month 15</c:v>
                </c:pt>
                <c:pt idx="319">
                  <c:v>Month 15</c:v>
                </c:pt>
                <c:pt idx="320">
                  <c:v>Month 15</c:v>
                </c:pt>
                <c:pt idx="321">
                  <c:v>Month 15</c:v>
                </c:pt>
                <c:pt idx="322">
                  <c:v>Month 15</c:v>
                </c:pt>
                <c:pt idx="323">
                  <c:v>Month 15</c:v>
                </c:pt>
                <c:pt idx="324">
                  <c:v>Month 15</c:v>
                </c:pt>
                <c:pt idx="325">
                  <c:v>Month 15</c:v>
                </c:pt>
                <c:pt idx="326">
                  <c:v>Month 15</c:v>
                </c:pt>
                <c:pt idx="327">
                  <c:v>Month 15</c:v>
                </c:pt>
                <c:pt idx="328">
                  <c:v>Month 15</c:v>
                </c:pt>
                <c:pt idx="329">
                  <c:v>Month 15</c:v>
                </c:pt>
                <c:pt idx="330">
                  <c:v>Month 15</c:v>
                </c:pt>
                <c:pt idx="331">
                  <c:v>Month 15</c:v>
                </c:pt>
                <c:pt idx="332">
                  <c:v>Month 15</c:v>
                </c:pt>
                <c:pt idx="333">
                  <c:v>Month 16</c:v>
                </c:pt>
                <c:pt idx="334">
                  <c:v>Month 16</c:v>
                </c:pt>
                <c:pt idx="335">
                  <c:v>Month 16</c:v>
                </c:pt>
                <c:pt idx="336">
                  <c:v>Month 16</c:v>
                </c:pt>
                <c:pt idx="337">
                  <c:v>Month 16</c:v>
                </c:pt>
                <c:pt idx="338">
                  <c:v>Month 16</c:v>
                </c:pt>
                <c:pt idx="339">
                  <c:v>Month 16</c:v>
                </c:pt>
                <c:pt idx="340">
                  <c:v>Month 16</c:v>
                </c:pt>
                <c:pt idx="341">
                  <c:v>Month 16</c:v>
                </c:pt>
                <c:pt idx="342">
                  <c:v>Month 16</c:v>
                </c:pt>
                <c:pt idx="343">
                  <c:v>Month 16</c:v>
                </c:pt>
                <c:pt idx="344">
                  <c:v>Month 16</c:v>
                </c:pt>
                <c:pt idx="345">
                  <c:v>Month 16</c:v>
                </c:pt>
                <c:pt idx="346">
                  <c:v>Month 16</c:v>
                </c:pt>
                <c:pt idx="347">
                  <c:v>Month 16</c:v>
                </c:pt>
                <c:pt idx="348">
                  <c:v>Month 16</c:v>
                </c:pt>
                <c:pt idx="349">
                  <c:v>Month 16</c:v>
                </c:pt>
                <c:pt idx="350">
                  <c:v>Month 16</c:v>
                </c:pt>
                <c:pt idx="351">
                  <c:v>Month 16</c:v>
                </c:pt>
                <c:pt idx="352">
                  <c:v>Month 16</c:v>
                </c:pt>
                <c:pt idx="353">
                  <c:v>Month 16</c:v>
                </c:pt>
                <c:pt idx="354">
                  <c:v>Month 17</c:v>
                </c:pt>
                <c:pt idx="355">
                  <c:v>Month 17</c:v>
                </c:pt>
                <c:pt idx="356">
                  <c:v>Month 17</c:v>
                </c:pt>
                <c:pt idx="357">
                  <c:v>Month 17</c:v>
                </c:pt>
                <c:pt idx="358">
                  <c:v>Month 17</c:v>
                </c:pt>
                <c:pt idx="359">
                  <c:v>Month 17</c:v>
                </c:pt>
                <c:pt idx="360">
                  <c:v>Month 17</c:v>
                </c:pt>
                <c:pt idx="361">
                  <c:v>Month 17</c:v>
                </c:pt>
                <c:pt idx="362">
                  <c:v>Month 17</c:v>
                </c:pt>
                <c:pt idx="363">
                  <c:v>Month 17</c:v>
                </c:pt>
                <c:pt idx="364">
                  <c:v>Month 17</c:v>
                </c:pt>
                <c:pt idx="365">
                  <c:v>Month 17</c:v>
                </c:pt>
                <c:pt idx="366">
                  <c:v>Month 17</c:v>
                </c:pt>
                <c:pt idx="367">
                  <c:v>Month 17</c:v>
                </c:pt>
                <c:pt idx="368">
                  <c:v>Month 17</c:v>
                </c:pt>
                <c:pt idx="369">
                  <c:v>Month 17</c:v>
                </c:pt>
                <c:pt idx="370">
                  <c:v>Month 17</c:v>
                </c:pt>
                <c:pt idx="371">
                  <c:v>Month 17</c:v>
                </c:pt>
                <c:pt idx="372">
                  <c:v>Month 17</c:v>
                </c:pt>
                <c:pt idx="373">
                  <c:v>Month 17</c:v>
                </c:pt>
                <c:pt idx="374">
                  <c:v>Month 17</c:v>
                </c:pt>
                <c:pt idx="375">
                  <c:v>Month 18</c:v>
                </c:pt>
                <c:pt idx="376">
                  <c:v>Month 18</c:v>
                </c:pt>
                <c:pt idx="377">
                  <c:v>Month 18</c:v>
                </c:pt>
                <c:pt idx="378">
                  <c:v>Month 18</c:v>
                </c:pt>
                <c:pt idx="379">
                  <c:v>Month 18</c:v>
                </c:pt>
                <c:pt idx="380">
                  <c:v>Month 18</c:v>
                </c:pt>
              </c:strCache>
            </c:strRef>
          </c:cat>
          <c:val>
            <c:numRef>
              <c:f>'Average returns'!$D$4:$D$384</c:f>
              <c:numCache>
                <c:formatCode>0%</c:formatCode>
                <c:ptCount val="381"/>
                <c:pt idx="0">
                  <c:v>1</c:v>
                </c:pt>
                <c:pt idx="1">
                  <c:v>0.99717332717161566</c:v>
                </c:pt>
                <c:pt idx="2">
                  <c:v>0.99881786651445703</c:v>
                </c:pt>
                <c:pt idx="3">
                  <c:v>0.9941423257250056</c:v>
                </c:pt>
                <c:pt idx="4">
                  <c:v>0.99780710470884126</c:v>
                </c:pt>
                <c:pt idx="5">
                  <c:v>0.9950673143130413</c:v>
                </c:pt>
                <c:pt idx="6">
                  <c:v>0.99015384992594957</c:v>
                </c:pt>
                <c:pt idx="7">
                  <c:v>0.99226802424183258</c:v>
                </c:pt>
                <c:pt idx="8">
                  <c:v>0.9877987660140638</c:v>
                </c:pt>
                <c:pt idx="9">
                  <c:v>0.9835164203163137</c:v>
                </c:pt>
                <c:pt idx="10">
                  <c:v>0.99009663914519541</c:v>
                </c:pt>
                <c:pt idx="11">
                  <c:v>0.98879521563652306</c:v>
                </c:pt>
                <c:pt idx="12">
                  <c:v>0.99780111830853246</c:v>
                </c:pt>
                <c:pt idx="13">
                  <c:v>0.99631661335212329</c:v>
                </c:pt>
                <c:pt idx="14">
                  <c:v>1.0006105520832034</c:v>
                </c:pt>
                <c:pt idx="15">
                  <c:v>0.99588576964110309</c:v>
                </c:pt>
                <c:pt idx="16">
                  <c:v>0.99340811045694477</c:v>
                </c:pt>
                <c:pt idx="17">
                  <c:v>0.9968149314626138</c:v>
                </c:pt>
                <c:pt idx="18">
                  <c:v>0.99853042746420428</c:v>
                </c:pt>
                <c:pt idx="19">
                  <c:v>1.0013227522431245</c:v>
                </c:pt>
                <c:pt idx="20">
                  <c:v>1.0061047579302378</c:v>
                </c:pt>
                <c:pt idx="21">
                  <c:v>1.0057872999803126</c:v>
                </c:pt>
                <c:pt idx="22">
                  <c:v>1.005911926912409</c:v>
                </c:pt>
                <c:pt idx="23">
                  <c:v>1.0103199781248347</c:v>
                </c:pt>
                <c:pt idx="24">
                  <c:v>1.0132994375789004</c:v>
                </c:pt>
                <c:pt idx="25">
                  <c:v>1.0112164320171062</c:v>
                </c:pt>
                <c:pt idx="26">
                  <c:v>1.0103775413816203</c:v>
                </c:pt>
                <c:pt idx="27">
                  <c:v>1.0149547540221533</c:v>
                </c:pt>
                <c:pt idx="28">
                  <c:v>1.0181316914488703</c:v>
                </c:pt>
                <c:pt idx="29">
                  <c:v>1.0245396861012825</c:v>
                </c:pt>
                <c:pt idx="30">
                  <c:v>1.0217744746930755</c:v>
                </c:pt>
                <c:pt idx="31">
                  <c:v>1.01840482024505</c:v>
                </c:pt>
                <c:pt idx="32">
                  <c:v>1.0220091111249556</c:v>
                </c:pt>
                <c:pt idx="33">
                  <c:v>1.0297414360144026</c:v>
                </c:pt>
                <c:pt idx="34">
                  <c:v>1.0330762751332798</c:v>
                </c:pt>
                <c:pt idx="35">
                  <c:v>1.0283471155529245</c:v>
                </c:pt>
                <c:pt idx="36">
                  <c:v>1.0336488709641529</c:v>
                </c:pt>
                <c:pt idx="37">
                  <c:v>1.0295704952105913</c:v>
                </c:pt>
                <c:pt idx="38">
                  <c:v>1.0265337052839854</c:v>
                </c:pt>
                <c:pt idx="39">
                  <c:v>1.0264582917541392</c:v>
                </c:pt>
                <c:pt idx="40">
                  <c:v>1.0289210185409696</c:v>
                </c:pt>
                <c:pt idx="41">
                  <c:v>1.0284024809183654</c:v>
                </c:pt>
                <c:pt idx="42">
                  <c:v>1.0249815853904458</c:v>
                </c:pt>
                <c:pt idx="43">
                  <c:v>1.0268670529968646</c:v>
                </c:pt>
                <c:pt idx="44">
                  <c:v>1.0302551716703476</c:v>
                </c:pt>
                <c:pt idx="45">
                  <c:v>1.0286425629727085</c:v>
                </c:pt>
                <c:pt idx="46">
                  <c:v>1.024110989475628</c:v>
                </c:pt>
                <c:pt idx="47">
                  <c:v>1.0184973434623197</c:v>
                </c:pt>
                <c:pt idx="48">
                  <c:v>1.0149057870362574</c:v>
                </c:pt>
                <c:pt idx="49">
                  <c:v>1.0203209729895493</c:v>
                </c:pt>
                <c:pt idx="50">
                  <c:v>1.0159367993360129</c:v>
                </c:pt>
                <c:pt idx="51">
                  <c:v>1.0144248505442828</c:v>
                </c:pt>
                <c:pt idx="52">
                  <c:v>1.0173812856560909</c:v>
                </c:pt>
                <c:pt idx="53">
                  <c:v>1.0218160137759764</c:v>
                </c:pt>
                <c:pt idx="54">
                  <c:v>1.0188241425294278</c:v>
                </c:pt>
                <c:pt idx="55">
                  <c:v>1.0181171842361734</c:v>
                </c:pt>
                <c:pt idx="56">
                  <c:v>1.0274976697632583</c:v>
                </c:pt>
                <c:pt idx="57">
                  <c:v>1.0300331371445604</c:v>
                </c:pt>
                <c:pt idx="58">
                  <c:v>1.0281472999999397</c:v>
                </c:pt>
                <c:pt idx="59">
                  <c:v>1.0227459641061145</c:v>
                </c:pt>
                <c:pt idx="60">
                  <c:v>1.0257397068861527</c:v>
                </c:pt>
                <c:pt idx="61">
                  <c:v>1.0283721796037595</c:v>
                </c:pt>
                <c:pt idx="62">
                  <c:v>1.0333552286224095</c:v>
                </c:pt>
                <c:pt idx="63">
                  <c:v>1.0323732810891029</c:v>
                </c:pt>
                <c:pt idx="64">
                  <c:v>1.0399037557196078</c:v>
                </c:pt>
                <c:pt idx="65">
                  <c:v>1.0372117448762208</c:v>
                </c:pt>
                <c:pt idx="66">
                  <c:v>1.0392967124846491</c:v>
                </c:pt>
                <c:pt idx="67">
                  <c:v>1.0388335391168277</c:v>
                </c:pt>
                <c:pt idx="68">
                  <c:v>1.0383995551820269</c:v>
                </c:pt>
                <c:pt idx="69">
                  <c:v>1.0420795490938104</c:v>
                </c:pt>
                <c:pt idx="70">
                  <c:v>1.0439420312070944</c:v>
                </c:pt>
                <c:pt idx="71">
                  <c:v>1.0477449334933178</c:v>
                </c:pt>
                <c:pt idx="72">
                  <c:v>1.0525485874031053</c:v>
                </c:pt>
                <c:pt idx="73">
                  <c:v>1.0490300693862111</c:v>
                </c:pt>
                <c:pt idx="74">
                  <c:v>1.0434377650633799</c:v>
                </c:pt>
                <c:pt idx="75">
                  <c:v>1.0429333278202348</c:v>
                </c:pt>
                <c:pt idx="76">
                  <c:v>1.0357574346498974</c:v>
                </c:pt>
                <c:pt idx="77">
                  <c:v>1.0372264894672709</c:v>
                </c:pt>
                <c:pt idx="78">
                  <c:v>1.0397265199749497</c:v>
                </c:pt>
                <c:pt idx="79">
                  <c:v>1.0435547550699094</c:v>
                </c:pt>
                <c:pt idx="80">
                  <c:v>1.0465965369475319</c:v>
                </c:pt>
                <c:pt idx="81">
                  <c:v>1.0469440351356449</c:v>
                </c:pt>
                <c:pt idx="82">
                  <c:v>1.0534556513867313</c:v>
                </c:pt>
                <c:pt idx="83">
                  <c:v>1.0577937650403453</c:v>
                </c:pt>
                <c:pt idx="84">
                  <c:v>1.0566668389819653</c:v>
                </c:pt>
                <c:pt idx="85">
                  <c:v>1.0501028641134829</c:v>
                </c:pt>
                <c:pt idx="86">
                  <c:v>1.0584967137511156</c:v>
                </c:pt>
                <c:pt idx="87">
                  <c:v>1.0526379944088029</c:v>
                </c:pt>
                <c:pt idx="88">
                  <c:v>1.050113330831145</c:v>
                </c:pt>
                <c:pt idx="89">
                  <c:v>1.0494714062832322</c:v>
                </c:pt>
                <c:pt idx="90">
                  <c:v>1.0497387022384104</c:v>
                </c:pt>
                <c:pt idx="91">
                  <c:v>1.054730950080097</c:v>
                </c:pt>
                <c:pt idx="92">
                  <c:v>1.0578953482664135</c:v>
                </c:pt>
                <c:pt idx="93">
                  <c:v>1.0581299477905226</c:v>
                </c:pt>
                <c:pt idx="94">
                  <c:v>1.0593547775985381</c:v>
                </c:pt>
                <c:pt idx="95">
                  <c:v>1.0571241110725267</c:v>
                </c:pt>
                <c:pt idx="96">
                  <c:v>1.0566013557562899</c:v>
                </c:pt>
                <c:pt idx="97">
                  <c:v>1.0537121258783919</c:v>
                </c:pt>
                <c:pt idx="98">
                  <c:v>1.0564128016818313</c:v>
                </c:pt>
                <c:pt idx="99">
                  <c:v>1.0598425007575187</c:v>
                </c:pt>
                <c:pt idx="100">
                  <c:v>1.0585634426778838</c:v>
                </c:pt>
                <c:pt idx="101">
                  <c:v>1.0641607574567618</c:v>
                </c:pt>
                <c:pt idx="102">
                  <c:v>1.068273249109585</c:v>
                </c:pt>
                <c:pt idx="103">
                  <c:v>1.0657033750912364</c:v>
                </c:pt>
                <c:pt idx="104">
                  <c:v>1.0607850001867583</c:v>
                </c:pt>
                <c:pt idx="105">
                  <c:v>1.0603596466418768</c:v>
                </c:pt>
                <c:pt idx="106">
                  <c:v>1.055750727817734</c:v>
                </c:pt>
                <c:pt idx="107">
                  <c:v>1.0549426345157893</c:v>
                </c:pt>
                <c:pt idx="108">
                  <c:v>1.0590644709537949</c:v>
                </c:pt>
                <c:pt idx="109">
                  <c:v>1.0589783541336362</c:v>
                </c:pt>
                <c:pt idx="110">
                  <c:v>1.0588289115842462</c:v>
                </c:pt>
                <c:pt idx="111">
                  <c:v>1.0630790019249228</c:v>
                </c:pt>
                <c:pt idx="112">
                  <c:v>1.0623450813519624</c:v>
                </c:pt>
                <c:pt idx="113">
                  <c:v>1.0672551548202982</c:v>
                </c:pt>
                <c:pt idx="114">
                  <c:v>1.069888666466319</c:v>
                </c:pt>
                <c:pt idx="115">
                  <c:v>1.073813961793721</c:v>
                </c:pt>
                <c:pt idx="116">
                  <c:v>1.069411018948174</c:v>
                </c:pt>
                <c:pt idx="117">
                  <c:v>1.0638820279420789</c:v>
                </c:pt>
                <c:pt idx="118">
                  <c:v>1.0723737293288669</c:v>
                </c:pt>
                <c:pt idx="119">
                  <c:v>1.0682642863610998</c:v>
                </c:pt>
                <c:pt idx="120">
                  <c:v>1.0683640124445166</c:v>
                </c:pt>
                <c:pt idx="121">
                  <c:v>1.0709799988952458</c:v>
                </c:pt>
                <c:pt idx="122">
                  <c:v>1.0661152089711945</c:v>
                </c:pt>
                <c:pt idx="123">
                  <c:v>1.0640683662286685</c:v>
                </c:pt>
                <c:pt idx="124">
                  <c:v>1.0660347168921205</c:v>
                </c:pt>
                <c:pt idx="125">
                  <c:v>1.0674462417153465</c:v>
                </c:pt>
                <c:pt idx="126">
                  <c:v>1.0672992949303248</c:v>
                </c:pt>
                <c:pt idx="127">
                  <c:v>1.0715654768288738</c:v>
                </c:pt>
                <c:pt idx="128">
                  <c:v>1.0734643933535237</c:v>
                </c:pt>
                <c:pt idx="129">
                  <c:v>1.0750413164600638</c:v>
                </c:pt>
                <c:pt idx="130">
                  <c:v>1.0748892361299773</c:v>
                </c:pt>
                <c:pt idx="131">
                  <c:v>1.0732210522591858</c:v>
                </c:pt>
                <c:pt idx="132">
                  <c:v>1.0701997004708204</c:v>
                </c:pt>
                <c:pt idx="133">
                  <c:v>1.0686510290085505</c:v>
                </c:pt>
                <c:pt idx="134">
                  <c:v>1.0693338861186403</c:v>
                </c:pt>
                <c:pt idx="135">
                  <c:v>1.068509957799497</c:v>
                </c:pt>
                <c:pt idx="136">
                  <c:v>1.0678284530559417</c:v>
                </c:pt>
                <c:pt idx="137">
                  <c:v>1.0698423636805892</c:v>
                </c:pt>
                <c:pt idx="138">
                  <c:v>1.0674752820150983</c:v>
                </c:pt>
                <c:pt idx="139">
                  <c:v>1.0610162180889924</c:v>
                </c:pt>
                <c:pt idx="140">
                  <c:v>1.063644856299957</c:v>
                </c:pt>
                <c:pt idx="141">
                  <c:v>1.0657350744542697</c:v>
                </c:pt>
                <c:pt idx="142">
                  <c:v>1.0649986667421742</c:v>
                </c:pt>
                <c:pt idx="143">
                  <c:v>1.0661010546732583</c:v>
                </c:pt>
                <c:pt idx="144">
                  <c:v>1.0657970325120516</c:v>
                </c:pt>
                <c:pt idx="145">
                  <c:v>1.0719414680984991</c:v>
                </c:pt>
                <c:pt idx="146">
                  <c:v>1.0780204259968129</c:v>
                </c:pt>
                <c:pt idx="147">
                  <c:v>1.0818928555028682</c:v>
                </c:pt>
                <c:pt idx="148">
                  <c:v>1.0830584972394868</c:v>
                </c:pt>
                <c:pt idx="149">
                  <c:v>1.0788993267542351</c:v>
                </c:pt>
                <c:pt idx="150">
                  <c:v>1.0720925224817044</c:v>
                </c:pt>
                <c:pt idx="151">
                  <c:v>1.0726018262651391</c:v>
                </c:pt>
                <c:pt idx="152">
                  <c:v>1.0666617198799706</c:v>
                </c:pt>
                <c:pt idx="153">
                  <c:v>1.0652198163408495</c:v>
                </c:pt>
                <c:pt idx="154">
                  <c:v>1.0657828929686348</c:v>
                </c:pt>
                <c:pt idx="155">
                  <c:v>1.0706121167885729</c:v>
                </c:pt>
                <c:pt idx="156">
                  <c:v>1.0662814742149396</c:v>
                </c:pt>
                <c:pt idx="157">
                  <c:v>1.068349988699143</c:v>
                </c:pt>
                <c:pt idx="158">
                  <c:v>1.0698595103709969</c:v>
                </c:pt>
                <c:pt idx="159">
                  <c:v>1.0645084477116404</c:v>
                </c:pt>
                <c:pt idx="160">
                  <c:v>1.0670039214751721</c:v>
                </c:pt>
                <c:pt idx="161">
                  <c:v>1.0629768985272974</c:v>
                </c:pt>
                <c:pt idx="162">
                  <c:v>1.0634094690460691</c:v>
                </c:pt>
                <c:pt idx="163">
                  <c:v>1.0646528135598137</c:v>
                </c:pt>
                <c:pt idx="164">
                  <c:v>1.0612564236894886</c:v>
                </c:pt>
                <c:pt idx="165">
                  <c:v>1.0632430698501536</c:v>
                </c:pt>
                <c:pt idx="166">
                  <c:v>1.0638663644900519</c:v>
                </c:pt>
                <c:pt idx="167">
                  <c:v>1.0585614884505705</c:v>
                </c:pt>
                <c:pt idx="168">
                  <c:v>1.0601885250869425</c:v>
                </c:pt>
                <c:pt idx="169">
                  <c:v>1.0620628260621212</c:v>
                </c:pt>
                <c:pt idx="170">
                  <c:v>1.064158216840716</c:v>
                </c:pt>
                <c:pt idx="171">
                  <c:v>1.0670859330289166</c:v>
                </c:pt>
                <c:pt idx="172">
                  <c:v>1.0692677262897874</c:v>
                </c:pt>
                <c:pt idx="173">
                  <c:v>1.0676714811746715</c:v>
                </c:pt>
                <c:pt idx="174">
                  <c:v>1.0694164357457521</c:v>
                </c:pt>
                <c:pt idx="175">
                  <c:v>1.0675992508624939</c:v>
                </c:pt>
                <c:pt idx="176">
                  <c:v>1.0667483441201879</c:v>
                </c:pt>
                <c:pt idx="177">
                  <c:v>1.0617079284257405</c:v>
                </c:pt>
                <c:pt idx="178">
                  <c:v>1.0649588810629611</c:v>
                </c:pt>
                <c:pt idx="179">
                  <c:v>1.0680866030464278</c:v>
                </c:pt>
                <c:pt idx="180">
                  <c:v>1.0692431865228962</c:v>
                </c:pt>
                <c:pt idx="181">
                  <c:v>1.0627799626778449</c:v>
                </c:pt>
                <c:pt idx="182">
                  <c:v>1.0605327148905104</c:v>
                </c:pt>
                <c:pt idx="183">
                  <c:v>1.0633825082859305</c:v>
                </c:pt>
                <c:pt idx="184">
                  <c:v>1.0651127274486905</c:v>
                </c:pt>
                <c:pt idx="185">
                  <c:v>1.067384308764731</c:v>
                </c:pt>
                <c:pt idx="186">
                  <c:v>1.0642704484633179</c:v>
                </c:pt>
                <c:pt idx="187">
                  <c:v>1.06217153821514</c:v>
                </c:pt>
                <c:pt idx="188">
                  <c:v>1.0634877721817382</c:v>
                </c:pt>
                <c:pt idx="189">
                  <c:v>1.0620213730403172</c:v>
                </c:pt>
                <c:pt idx="190">
                  <c:v>1.0600914372830246</c:v>
                </c:pt>
                <c:pt idx="191">
                  <c:v>1.0565082856695571</c:v>
                </c:pt>
                <c:pt idx="192">
                  <c:v>1.0558115800517238</c:v>
                </c:pt>
                <c:pt idx="193">
                  <c:v>1.0572692383701896</c:v>
                </c:pt>
                <c:pt idx="194">
                  <c:v>1.0593549828088875</c:v>
                </c:pt>
                <c:pt idx="195">
                  <c:v>1.0564406307183434</c:v>
                </c:pt>
                <c:pt idx="196">
                  <c:v>1.0525700224578958</c:v>
                </c:pt>
                <c:pt idx="197">
                  <c:v>1.0517873972760579</c:v>
                </c:pt>
                <c:pt idx="198">
                  <c:v>1.0521024227636249</c:v>
                </c:pt>
                <c:pt idx="199">
                  <c:v>1.0514598245040307</c:v>
                </c:pt>
                <c:pt idx="200">
                  <c:v>1.0546182484079933</c:v>
                </c:pt>
                <c:pt idx="201">
                  <c:v>1.0539640927026048</c:v>
                </c:pt>
                <c:pt idx="202">
                  <c:v>1.0626178316328334</c:v>
                </c:pt>
                <c:pt idx="203">
                  <c:v>1.0581169425085075</c:v>
                </c:pt>
                <c:pt idx="204">
                  <c:v>1.0562297044971904</c:v>
                </c:pt>
                <c:pt idx="205">
                  <c:v>1.0516934936200035</c:v>
                </c:pt>
                <c:pt idx="206">
                  <c:v>1.0500263482129633</c:v>
                </c:pt>
                <c:pt idx="207">
                  <c:v>1.0569464964129536</c:v>
                </c:pt>
                <c:pt idx="208">
                  <c:v>1.0593068284149147</c:v>
                </c:pt>
                <c:pt idx="209">
                  <c:v>1.0593875702464028</c:v>
                </c:pt>
                <c:pt idx="210">
                  <c:v>1.062941660707581</c:v>
                </c:pt>
                <c:pt idx="211">
                  <c:v>1.0617231706173764</c:v>
                </c:pt>
                <c:pt idx="212">
                  <c:v>1.0637890789891531</c:v>
                </c:pt>
                <c:pt idx="213">
                  <c:v>1.0618190715765017</c:v>
                </c:pt>
                <c:pt idx="214">
                  <c:v>1.0585304624427265</c:v>
                </c:pt>
                <c:pt idx="215">
                  <c:v>1.0587166261480743</c:v>
                </c:pt>
                <c:pt idx="216">
                  <c:v>1.0579166724050142</c:v>
                </c:pt>
                <c:pt idx="217">
                  <c:v>1.0585917057598575</c:v>
                </c:pt>
                <c:pt idx="218">
                  <c:v>1.0615750805931061</c:v>
                </c:pt>
                <c:pt idx="219">
                  <c:v>1.0557239140595081</c:v>
                </c:pt>
                <c:pt idx="220">
                  <c:v>1.0573081551087584</c:v>
                </c:pt>
                <c:pt idx="221">
                  <c:v>1.0566864175020092</c:v>
                </c:pt>
                <c:pt idx="222">
                  <c:v>1.0530431517743781</c:v>
                </c:pt>
                <c:pt idx="223">
                  <c:v>1.0577779466841077</c:v>
                </c:pt>
                <c:pt idx="224">
                  <c:v>1.0588913900004397</c:v>
                </c:pt>
                <c:pt idx="225">
                  <c:v>1.0608206989690829</c:v>
                </c:pt>
                <c:pt idx="226">
                  <c:v>1.0613124491409029</c:v>
                </c:pt>
                <c:pt idx="227">
                  <c:v>1.0585355590325101</c:v>
                </c:pt>
                <c:pt idx="228">
                  <c:v>1.0570402124288165</c:v>
                </c:pt>
                <c:pt idx="229">
                  <c:v>1.0534453084650706</c:v>
                </c:pt>
                <c:pt idx="230">
                  <c:v>1.0494417001581713</c:v>
                </c:pt>
                <c:pt idx="231">
                  <c:v>1.0456319529291329</c:v>
                </c:pt>
                <c:pt idx="232">
                  <c:v>1.05068930330748</c:v>
                </c:pt>
                <c:pt idx="233">
                  <c:v>1.0573280945679591</c:v>
                </c:pt>
                <c:pt idx="234">
                  <c:v>1.0615443847900268</c:v>
                </c:pt>
                <c:pt idx="235">
                  <c:v>1.0583309494458915</c:v>
                </c:pt>
                <c:pt idx="236">
                  <c:v>1.0596369402096804</c:v>
                </c:pt>
                <c:pt idx="237">
                  <c:v>1.0555943094990679</c:v>
                </c:pt>
                <c:pt idx="238">
                  <c:v>1.0576035143504752</c:v>
                </c:pt>
                <c:pt idx="239">
                  <c:v>1.0560282988678813</c:v>
                </c:pt>
                <c:pt idx="240">
                  <c:v>1.0569062482385372</c:v>
                </c:pt>
                <c:pt idx="241">
                  <c:v>1.0603958762997734</c:v>
                </c:pt>
                <c:pt idx="242">
                  <c:v>1.0644420137804818</c:v>
                </c:pt>
                <c:pt idx="243">
                  <c:v>1.0686033089885381</c:v>
                </c:pt>
                <c:pt idx="244">
                  <c:v>1.0710183856865811</c:v>
                </c:pt>
                <c:pt idx="245">
                  <c:v>1.0703487184225935</c:v>
                </c:pt>
                <c:pt idx="246">
                  <c:v>1.0670032546387997</c:v>
                </c:pt>
                <c:pt idx="247">
                  <c:v>1.0676278980920173</c:v>
                </c:pt>
                <c:pt idx="248">
                  <c:v>1.0616279030555069</c:v>
                </c:pt>
                <c:pt idx="249">
                  <c:v>1.0658431225813028</c:v>
                </c:pt>
                <c:pt idx="250">
                  <c:v>1.0698750224940383</c:v>
                </c:pt>
                <c:pt idx="251">
                  <c:v>1.0670497326921775</c:v>
                </c:pt>
                <c:pt idx="252">
                  <c:v>1.0688927065319327</c:v>
                </c:pt>
                <c:pt idx="253">
                  <c:v>1.0686865941892032</c:v>
                </c:pt>
                <c:pt idx="254">
                  <c:v>1.0678923344266971</c:v>
                </c:pt>
                <c:pt idx="255">
                  <c:v>1.0674204273133379</c:v>
                </c:pt>
                <c:pt idx="256">
                  <c:v>1.0644847921422114</c:v>
                </c:pt>
                <c:pt idx="257">
                  <c:v>1.0638771418806821</c:v>
                </c:pt>
                <c:pt idx="258">
                  <c:v>1.0606408094173858</c:v>
                </c:pt>
                <c:pt idx="259">
                  <c:v>1.06192776960746</c:v>
                </c:pt>
                <c:pt idx="260">
                  <c:v>1.0602094182350226</c:v>
                </c:pt>
                <c:pt idx="261">
                  <c:v>1.0617468652080444</c:v>
                </c:pt>
                <c:pt idx="262">
                  <c:v>1.0614396544003075</c:v>
                </c:pt>
                <c:pt idx="263">
                  <c:v>1.0600920147533606</c:v>
                </c:pt>
                <c:pt idx="264">
                  <c:v>1.0657031941382897</c:v>
                </c:pt>
                <c:pt idx="265">
                  <c:v>1.0671573577276807</c:v>
                </c:pt>
                <c:pt idx="266">
                  <c:v>1.0679814240817762</c:v>
                </c:pt>
                <c:pt idx="267">
                  <c:v>1.0699940552814133</c:v>
                </c:pt>
                <c:pt idx="268">
                  <c:v>1.0692101047758287</c:v>
                </c:pt>
                <c:pt idx="269">
                  <c:v>1.071997159720016</c:v>
                </c:pt>
                <c:pt idx="270">
                  <c:v>1.0736401016796315</c:v>
                </c:pt>
                <c:pt idx="271">
                  <c:v>1.0757443972142049</c:v>
                </c:pt>
                <c:pt idx="272">
                  <c:v>1.0815304629121829</c:v>
                </c:pt>
                <c:pt idx="273">
                  <c:v>1.0817312203353751</c:v>
                </c:pt>
                <c:pt idx="274">
                  <c:v>1.0844913353269143</c:v>
                </c:pt>
                <c:pt idx="275">
                  <c:v>1.0881073048799388</c:v>
                </c:pt>
                <c:pt idx="276">
                  <c:v>1.0891806596927034</c:v>
                </c:pt>
                <c:pt idx="277">
                  <c:v>1.0925978599095012</c:v>
                </c:pt>
                <c:pt idx="278">
                  <c:v>1.0967979359174502</c:v>
                </c:pt>
                <c:pt idx="279">
                  <c:v>1.0977661103155063</c:v>
                </c:pt>
                <c:pt idx="280">
                  <c:v>1.0902847116257135</c:v>
                </c:pt>
                <c:pt idx="281">
                  <c:v>1.0928875430278007</c:v>
                </c:pt>
                <c:pt idx="282">
                  <c:v>1.0934357717598806</c:v>
                </c:pt>
                <c:pt idx="283">
                  <c:v>1.0949071512243451</c:v>
                </c:pt>
                <c:pt idx="284">
                  <c:v>1.0949447225860622</c:v>
                </c:pt>
                <c:pt idx="285">
                  <c:v>1.0914553207567697</c:v>
                </c:pt>
                <c:pt idx="286">
                  <c:v>1.0893319100535668</c:v>
                </c:pt>
                <c:pt idx="287">
                  <c:v>1.0936813708983211</c:v>
                </c:pt>
                <c:pt idx="288">
                  <c:v>1.0925177288737544</c:v>
                </c:pt>
                <c:pt idx="289">
                  <c:v>1.0924405587548951</c:v>
                </c:pt>
                <c:pt idx="290">
                  <c:v>1.092503655595811</c:v>
                </c:pt>
                <c:pt idx="291">
                  <c:v>1.0947048722698041</c:v>
                </c:pt>
                <c:pt idx="292">
                  <c:v>1.0951659684581152</c:v>
                </c:pt>
                <c:pt idx="293">
                  <c:v>1.0966234456047883</c:v>
                </c:pt>
                <c:pt idx="294">
                  <c:v>1.0975594894436105</c:v>
                </c:pt>
                <c:pt idx="295">
                  <c:v>1.0938661786931598</c:v>
                </c:pt>
                <c:pt idx="296">
                  <c:v>1.0984994094708871</c:v>
                </c:pt>
                <c:pt idx="297">
                  <c:v>1.1013923592063237</c:v>
                </c:pt>
                <c:pt idx="298">
                  <c:v>1.1007258814796863</c:v>
                </c:pt>
                <c:pt idx="299">
                  <c:v>1.0958811981879879</c:v>
                </c:pt>
                <c:pt idx="300">
                  <c:v>1.0975352849273434</c:v>
                </c:pt>
                <c:pt idx="301">
                  <c:v>1.0928508252340485</c:v>
                </c:pt>
                <c:pt idx="302">
                  <c:v>1.0939734653595008</c:v>
                </c:pt>
                <c:pt idx="303">
                  <c:v>1.0959937759377096</c:v>
                </c:pt>
                <c:pt idx="304">
                  <c:v>1.0978779100342944</c:v>
                </c:pt>
                <c:pt idx="305">
                  <c:v>1.0956779452633656</c:v>
                </c:pt>
                <c:pt idx="306">
                  <c:v>1.0927680532587625</c:v>
                </c:pt>
                <c:pt idx="307">
                  <c:v>1.0940286028228199</c:v>
                </c:pt>
                <c:pt idx="308">
                  <c:v>1.0917369621351405</c:v>
                </c:pt>
                <c:pt idx="309">
                  <c:v>1.0898093384665679</c:v>
                </c:pt>
                <c:pt idx="310">
                  <c:v>1.094263469435691</c:v>
                </c:pt>
                <c:pt idx="311">
                  <c:v>1.0980580003950731</c:v>
                </c:pt>
                <c:pt idx="312">
                  <c:v>1.0950114930133905</c:v>
                </c:pt>
                <c:pt idx="313">
                  <c:v>1.0943716237997163</c:v>
                </c:pt>
                <c:pt idx="314">
                  <c:v>1.0935571961065464</c:v>
                </c:pt>
                <c:pt idx="315">
                  <c:v>1.0951505046723535</c:v>
                </c:pt>
                <c:pt idx="316">
                  <c:v>1.0922978846376348</c:v>
                </c:pt>
                <c:pt idx="317">
                  <c:v>1.0933223099397895</c:v>
                </c:pt>
                <c:pt idx="318">
                  <c:v>1.0914418824785437</c:v>
                </c:pt>
                <c:pt idx="319">
                  <c:v>1.092131641598141</c:v>
                </c:pt>
                <c:pt idx="320">
                  <c:v>1.1008243791600054</c:v>
                </c:pt>
                <c:pt idx="321">
                  <c:v>1.0978325378236802</c:v>
                </c:pt>
                <c:pt idx="322">
                  <c:v>1.0957722502401031</c:v>
                </c:pt>
                <c:pt idx="323">
                  <c:v>1.0879979973713521</c:v>
                </c:pt>
                <c:pt idx="324">
                  <c:v>1.0871063991196495</c:v>
                </c:pt>
                <c:pt idx="325">
                  <c:v>1.090089290867883</c:v>
                </c:pt>
                <c:pt idx="326">
                  <c:v>1.089759203677134</c:v>
                </c:pt>
                <c:pt idx="327">
                  <c:v>1.0916038223989566</c:v>
                </c:pt>
                <c:pt idx="328">
                  <c:v>1.091290408858574</c:v>
                </c:pt>
                <c:pt idx="329">
                  <c:v>1.0867555516845651</c:v>
                </c:pt>
                <c:pt idx="330">
                  <c:v>1.0839668450897793</c:v>
                </c:pt>
                <c:pt idx="331">
                  <c:v>1.0819256605500462</c:v>
                </c:pt>
                <c:pt idx="332">
                  <c:v>1.077318673690473</c:v>
                </c:pt>
                <c:pt idx="333">
                  <c:v>1.0886311525734909</c:v>
                </c:pt>
                <c:pt idx="334">
                  <c:v>1.0888822946323802</c:v>
                </c:pt>
                <c:pt idx="335">
                  <c:v>1.0974016754329272</c:v>
                </c:pt>
                <c:pt idx="336">
                  <c:v>1.1008965332570468</c:v>
                </c:pt>
                <c:pt idx="337">
                  <c:v>1.0991089193350996</c:v>
                </c:pt>
                <c:pt idx="338">
                  <c:v>1.0994378800490063</c:v>
                </c:pt>
                <c:pt idx="339">
                  <c:v>1.1043460808590164</c:v>
                </c:pt>
                <c:pt idx="340">
                  <c:v>1.1037588327717331</c:v>
                </c:pt>
                <c:pt idx="341">
                  <c:v>1.1082311166741334</c:v>
                </c:pt>
                <c:pt idx="342">
                  <c:v>1.1133547529326739</c:v>
                </c:pt>
                <c:pt idx="343">
                  <c:v>1.1119718272211527</c:v>
                </c:pt>
                <c:pt idx="344">
                  <c:v>1.1097306205126136</c:v>
                </c:pt>
                <c:pt idx="345">
                  <c:v>1.1175081387166172</c:v>
                </c:pt>
                <c:pt idx="346">
                  <c:v>1.1164947810177714</c:v>
                </c:pt>
                <c:pt idx="347">
                  <c:v>1.1162812837736322</c:v>
                </c:pt>
                <c:pt idx="348">
                  <c:v>1.1178428523306847</c:v>
                </c:pt>
                <c:pt idx="349">
                  <c:v>1.1163342248927119</c:v>
                </c:pt>
                <c:pt idx="350">
                  <c:v>1.1154463175579652</c:v>
                </c:pt>
                <c:pt idx="351">
                  <c:v>1.118477939881406</c:v>
                </c:pt>
                <c:pt idx="352">
                  <c:v>1.1169580662932341</c:v>
                </c:pt>
                <c:pt idx="353">
                  <c:v>1.1149041469223944</c:v>
                </c:pt>
                <c:pt idx="354">
                  <c:v>1.1143467579326429</c:v>
                </c:pt>
                <c:pt idx="355">
                  <c:v>1.1146473381086561</c:v>
                </c:pt>
                <c:pt idx="356">
                  <c:v>1.1151987009052058</c:v>
                </c:pt>
                <c:pt idx="357">
                  <c:v>1.1153264458959442</c:v>
                </c:pt>
                <c:pt idx="358">
                  <c:v>1.1134513116178655</c:v>
                </c:pt>
                <c:pt idx="359">
                  <c:v>1.1133887438327288</c:v>
                </c:pt>
                <c:pt idx="360">
                  <c:v>1.1221362686207099</c:v>
                </c:pt>
                <c:pt idx="361">
                  <c:v>1.1207929155882235</c:v>
                </c:pt>
                <c:pt idx="362">
                  <c:v>1.1166308549089843</c:v>
                </c:pt>
                <c:pt idx="363">
                  <c:v>1.1097212643828729</c:v>
                </c:pt>
                <c:pt idx="364">
                  <c:v>1.1061969513908503</c:v>
                </c:pt>
                <c:pt idx="365">
                  <c:v>1.1064024416132907</c:v>
                </c:pt>
                <c:pt idx="366">
                  <c:v>1.1097627433015831</c:v>
                </c:pt>
                <c:pt idx="367">
                  <c:v>1.112382683512706</c:v>
                </c:pt>
                <c:pt idx="368">
                  <c:v>1.1068783278991439</c:v>
                </c:pt>
                <c:pt idx="369">
                  <c:v>1.109005497737257</c:v>
                </c:pt>
                <c:pt idx="370">
                  <c:v>1.1123031248401973</c:v>
                </c:pt>
                <c:pt idx="371">
                  <c:v>1.1112676859349706</c:v>
                </c:pt>
                <c:pt idx="372">
                  <c:v>1.109406276405233</c:v>
                </c:pt>
                <c:pt idx="373">
                  <c:v>1.1058662310840746</c:v>
                </c:pt>
                <c:pt idx="374">
                  <c:v>1.1076612812671973</c:v>
                </c:pt>
              </c:numCache>
            </c:numRef>
          </c:val>
          <c:smooth val="1"/>
          <c:extLst>
            <c:ext xmlns:c16="http://schemas.microsoft.com/office/drawing/2014/chart" uri="{C3380CC4-5D6E-409C-BE32-E72D297353CC}">
              <c16:uniqueId val="{00000002-53EE-47DB-9DEB-94BA42B73EDD}"/>
            </c:ext>
          </c:extLst>
        </c:ser>
        <c:ser>
          <c:idx val="3"/>
          <c:order val="3"/>
          <c:tx>
            <c:strRef>
              <c:f>'Average returns'!$E$3</c:f>
              <c:strCache>
                <c:ptCount val="1"/>
                <c:pt idx="0">
                  <c:v>Reference line</c:v>
                </c:pt>
              </c:strCache>
            </c:strRef>
          </c:tx>
          <c:spPr>
            <a:ln w="15875">
              <a:solidFill>
                <a:schemeClr val="tx1"/>
              </a:solidFill>
              <a:prstDash val="lgDash"/>
            </a:ln>
          </c:spPr>
          <c:marker>
            <c:symbol val="none"/>
          </c:marker>
          <c:cat>
            <c:strRef>
              <c:f>'Average returns'!$A$4:$A$384</c:f>
              <c:strCache>
                <c:ptCount val="381"/>
                <c:pt idx="0">
                  <c:v>Month 0</c:v>
                </c:pt>
                <c:pt idx="1">
                  <c:v>Month 0</c:v>
                </c:pt>
                <c:pt idx="2">
                  <c:v>Month 0</c:v>
                </c:pt>
                <c:pt idx="3">
                  <c:v>Month 0</c:v>
                </c:pt>
                <c:pt idx="4">
                  <c:v>Month 0</c:v>
                </c:pt>
                <c:pt idx="5">
                  <c:v>Month 0</c:v>
                </c:pt>
                <c:pt idx="6">
                  <c:v>Month 0</c:v>
                </c:pt>
                <c:pt idx="7">
                  <c:v>Month 0</c:v>
                </c:pt>
                <c:pt idx="8">
                  <c:v>Month 0</c:v>
                </c:pt>
                <c:pt idx="9">
                  <c:v>Month 0</c:v>
                </c:pt>
                <c:pt idx="10">
                  <c:v>Month 0</c:v>
                </c:pt>
                <c:pt idx="11">
                  <c:v>Month 0</c:v>
                </c:pt>
                <c:pt idx="12">
                  <c:v>Month 0</c:v>
                </c:pt>
                <c:pt idx="13">
                  <c:v>Month 0</c:v>
                </c:pt>
                <c:pt idx="14">
                  <c:v>Month 0</c:v>
                </c:pt>
                <c:pt idx="15">
                  <c:v>Month 0</c:v>
                </c:pt>
                <c:pt idx="16">
                  <c:v>Month 0</c:v>
                </c:pt>
                <c:pt idx="17">
                  <c:v>Month 0</c:v>
                </c:pt>
                <c:pt idx="18">
                  <c:v>Month 0</c:v>
                </c:pt>
                <c:pt idx="19">
                  <c:v>Month 0</c:v>
                </c:pt>
                <c:pt idx="20">
                  <c:v>Month 0</c:v>
                </c:pt>
                <c:pt idx="21">
                  <c:v>Month 1</c:v>
                </c:pt>
                <c:pt idx="22">
                  <c:v>Month 1</c:v>
                </c:pt>
                <c:pt idx="23">
                  <c:v>Month 1</c:v>
                </c:pt>
                <c:pt idx="24">
                  <c:v>Month 1</c:v>
                </c:pt>
                <c:pt idx="25">
                  <c:v>Month 1</c:v>
                </c:pt>
                <c:pt idx="26">
                  <c:v>Month 1</c:v>
                </c:pt>
                <c:pt idx="27">
                  <c:v>Month 1</c:v>
                </c:pt>
                <c:pt idx="28">
                  <c:v>Month 1</c:v>
                </c:pt>
                <c:pt idx="29">
                  <c:v>Month 1</c:v>
                </c:pt>
                <c:pt idx="30">
                  <c:v>Month 1</c:v>
                </c:pt>
                <c:pt idx="31">
                  <c:v>Month 1</c:v>
                </c:pt>
                <c:pt idx="32">
                  <c:v>Month 1</c:v>
                </c:pt>
                <c:pt idx="33">
                  <c:v>Month 1</c:v>
                </c:pt>
                <c:pt idx="34">
                  <c:v>Month 1</c:v>
                </c:pt>
                <c:pt idx="35">
                  <c:v>Month 1</c:v>
                </c:pt>
                <c:pt idx="36">
                  <c:v>Month 1</c:v>
                </c:pt>
                <c:pt idx="37">
                  <c:v>Month 1</c:v>
                </c:pt>
                <c:pt idx="38">
                  <c:v>Month 1</c:v>
                </c:pt>
                <c:pt idx="39">
                  <c:v>Month 1</c:v>
                </c:pt>
                <c:pt idx="40">
                  <c:v>Month 1</c:v>
                </c:pt>
                <c:pt idx="41">
                  <c:v>Month 1</c:v>
                </c:pt>
                <c:pt idx="42">
                  <c:v>Month 2</c:v>
                </c:pt>
                <c:pt idx="43">
                  <c:v>Month 2</c:v>
                </c:pt>
                <c:pt idx="44">
                  <c:v>Month 2</c:v>
                </c:pt>
                <c:pt idx="45">
                  <c:v>Month 2</c:v>
                </c:pt>
                <c:pt idx="46">
                  <c:v>Month 2</c:v>
                </c:pt>
                <c:pt idx="47">
                  <c:v>Month 2</c:v>
                </c:pt>
                <c:pt idx="48">
                  <c:v>Month 2</c:v>
                </c:pt>
                <c:pt idx="49">
                  <c:v>Month 2</c:v>
                </c:pt>
                <c:pt idx="50">
                  <c:v>Month 2</c:v>
                </c:pt>
                <c:pt idx="51">
                  <c:v>Month 2</c:v>
                </c:pt>
                <c:pt idx="52">
                  <c:v>Month 2</c:v>
                </c:pt>
                <c:pt idx="53">
                  <c:v>Month 2</c:v>
                </c:pt>
                <c:pt idx="54">
                  <c:v>Month 2</c:v>
                </c:pt>
                <c:pt idx="55">
                  <c:v>Month 2</c:v>
                </c:pt>
                <c:pt idx="56">
                  <c:v>Month 2</c:v>
                </c:pt>
                <c:pt idx="57">
                  <c:v>Month 2</c:v>
                </c:pt>
                <c:pt idx="58">
                  <c:v>Month 2</c:v>
                </c:pt>
                <c:pt idx="59">
                  <c:v>Month 2</c:v>
                </c:pt>
                <c:pt idx="60">
                  <c:v>Month 2</c:v>
                </c:pt>
                <c:pt idx="61">
                  <c:v>Month 2</c:v>
                </c:pt>
                <c:pt idx="62">
                  <c:v>Month 2</c:v>
                </c:pt>
                <c:pt idx="63">
                  <c:v>Month 3</c:v>
                </c:pt>
                <c:pt idx="64">
                  <c:v>Month 3</c:v>
                </c:pt>
                <c:pt idx="65">
                  <c:v>Month 3</c:v>
                </c:pt>
                <c:pt idx="66">
                  <c:v>Month 3</c:v>
                </c:pt>
                <c:pt idx="67">
                  <c:v>Month 3</c:v>
                </c:pt>
                <c:pt idx="68">
                  <c:v>Month 3</c:v>
                </c:pt>
                <c:pt idx="69">
                  <c:v>Month 3</c:v>
                </c:pt>
                <c:pt idx="70">
                  <c:v>Month 3</c:v>
                </c:pt>
                <c:pt idx="71">
                  <c:v>Month 3</c:v>
                </c:pt>
                <c:pt idx="72">
                  <c:v>Month 3</c:v>
                </c:pt>
                <c:pt idx="73">
                  <c:v>Month 3</c:v>
                </c:pt>
                <c:pt idx="74">
                  <c:v>Month 3</c:v>
                </c:pt>
                <c:pt idx="75">
                  <c:v>Month 3</c:v>
                </c:pt>
                <c:pt idx="76">
                  <c:v>Month 3</c:v>
                </c:pt>
                <c:pt idx="77">
                  <c:v>Month 3</c:v>
                </c:pt>
                <c:pt idx="78">
                  <c:v>Month 3</c:v>
                </c:pt>
                <c:pt idx="79">
                  <c:v>Month 3</c:v>
                </c:pt>
                <c:pt idx="80">
                  <c:v>Month 3</c:v>
                </c:pt>
                <c:pt idx="81">
                  <c:v>Month 3</c:v>
                </c:pt>
                <c:pt idx="82">
                  <c:v>Month 3</c:v>
                </c:pt>
                <c:pt idx="83">
                  <c:v>Month 3</c:v>
                </c:pt>
                <c:pt idx="84">
                  <c:v>Month 4</c:v>
                </c:pt>
                <c:pt idx="85">
                  <c:v>Month 4</c:v>
                </c:pt>
                <c:pt idx="86">
                  <c:v>Month 4</c:v>
                </c:pt>
                <c:pt idx="87">
                  <c:v>Month 4</c:v>
                </c:pt>
                <c:pt idx="88">
                  <c:v>Month 4</c:v>
                </c:pt>
                <c:pt idx="89">
                  <c:v>Month 4</c:v>
                </c:pt>
                <c:pt idx="90">
                  <c:v>Month 4</c:v>
                </c:pt>
                <c:pt idx="91">
                  <c:v>Month 4</c:v>
                </c:pt>
                <c:pt idx="92">
                  <c:v>Month 4</c:v>
                </c:pt>
                <c:pt idx="93">
                  <c:v>Month 4</c:v>
                </c:pt>
                <c:pt idx="94">
                  <c:v>Month 4</c:v>
                </c:pt>
                <c:pt idx="95">
                  <c:v>Month 4</c:v>
                </c:pt>
                <c:pt idx="96">
                  <c:v>Month 4</c:v>
                </c:pt>
                <c:pt idx="97">
                  <c:v>Month 4</c:v>
                </c:pt>
                <c:pt idx="98">
                  <c:v>Month 4</c:v>
                </c:pt>
                <c:pt idx="99">
                  <c:v>Month 4</c:v>
                </c:pt>
                <c:pt idx="100">
                  <c:v>Month 4</c:v>
                </c:pt>
                <c:pt idx="101">
                  <c:v>Month 4</c:v>
                </c:pt>
                <c:pt idx="102">
                  <c:v>Month 4</c:v>
                </c:pt>
                <c:pt idx="103">
                  <c:v>Month 4</c:v>
                </c:pt>
                <c:pt idx="104">
                  <c:v>Month 5</c:v>
                </c:pt>
                <c:pt idx="105">
                  <c:v>Month 5</c:v>
                </c:pt>
                <c:pt idx="106">
                  <c:v>Month 5</c:v>
                </c:pt>
                <c:pt idx="107">
                  <c:v>Month 5</c:v>
                </c:pt>
                <c:pt idx="108">
                  <c:v>Month 5</c:v>
                </c:pt>
                <c:pt idx="109">
                  <c:v>Month 5</c:v>
                </c:pt>
                <c:pt idx="110">
                  <c:v>Month 5</c:v>
                </c:pt>
                <c:pt idx="111">
                  <c:v>Month 5</c:v>
                </c:pt>
                <c:pt idx="112">
                  <c:v>Month 5</c:v>
                </c:pt>
                <c:pt idx="113">
                  <c:v>Month 5</c:v>
                </c:pt>
                <c:pt idx="114">
                  <c:v>Month 5</c:v>
                </c:pt>
                <c:pt idx="115">
                  <c:v>Month 5</c:v>
                </c:pt>
                <c:pt idx="116">
                  <c:v>Month 5</c:v>
                </c:pt>
                <c:pt idx="117">
                  <c:v>Month 5</c:v>
                </c:pt>
                <c:pt idx="118">
                  <c:v>Month 5</c:v>
                </c:pt>
                <c:pt idx="119">
                  <c:v>Month 5</c:v>
                </c:pt>
                <c:pt idx="120">
                  <c:v>Month 5</c:v>
                </c:pt>
                <c:pt idx="121">
                  <c:v>Month 5</c:v>
                </c:pt>
                <c:pt idx="122">
                  <c:v>Month 5</c:v>
                </c:pt>
                <c:pt idx="123">
                  <c:v>Month 5</c:v>
                </c:pt>
                <c:pt idx="124">
                  <c:v>Month 5</c:v>
                </c:pt>
                <c:pt idx="125">
                  <c:v>Month 6</c:v>
                </c:pt>
                <c:pt idx="126">
                  <c:v>Month 6</c:v>
                </c:pt>
                <c:pt idx="127">
                  <c:v>Month 6</c:v>
                </c:pt>
                <c:pt idx="128">
                  <c:v>Month 6</c:v>
                </c:pt>
                <c:pt idx="129">
                  <c:v>Month 6</c:v>
                </c:pt>
                <c:pt idx="130">
                  <c:v>Month 6</c:v>
                </c:pt>
                <c:pt idx="131">
                  <c:v>Month 6</c:v>
                </c:pt>
                <c:pt idx="132">
                  <c:v>Month 6</c:v>
                </c:pt>
                <c:pt idx="133">
                  <c:v>Month 6</c:v>
                </c:pt>
                <c:pt idx="134">
                  <c:v>Month 6</c:v>
                </c:pt>
                <c:pt idx="135">
                  <c:v>Month 6</c:v>
                </c:pt>
                <c:pt idx="136">
                  <c:v>Month 6</c:v>
                </c:pt>
                <c:pt idx="137">
                  <c:v>Month 6</c:v>
                </c:pt>
                <c:pt idx="138">
                  <c:v>Month 6</c:v>
                </c:pt>
                <c:pt idx="139">
                  <c:v>Month 6</c:v>
                </c:pt>
                <c:pt idx="140">
                  <c:v>Month 6</c:v>
                </c:pt>
                <c:pt idx="141">
                  <c:v>Month 6</c:v>
                </c:pt>
                <c:pt idx="142">
                  <c:v>Month 6</c:v>
                </c:pt>
                <c:pt idx="143">
                  <c:v>Month 6</c:v>
                </c:pt>
                <c:pt idx="144">
                  <c:v>Month 6</c:v>
                </c:pt>
                <c:pt idx="145">
                  <c:v>Month 6</c:v>
                </c:pt>
                <c:pt idx="146">
                  <c:v>Month 7</c:v>
                </c:pt>
                <c:pt idx="147">
                  <c:v>Month 7</c:v>
                </c:pt>
                <c:pt idx="148">
                  <c:v>Month 7</c:v>
                </c:pt>
                <c:pt idx="149">
                  <c:v>Month 7</c:v>
                </c:pt>
                <c:pt idx="150">
                  <c:v>Month 7</c:v>
                </c:pt>
                <c:pt idx="151">
                  <c:v>Month 7</c:v>
                </c:pt>
                <c:pt idx="152">
                  <c:v>Month 7</c:v>
                </c:pt>
                <c:pt idx="153">
                  <c:v>Month 7</c:v>
                </c:pt>
                <c:pt idx="154">
                  <c:v>Month 7</c:v>
                </c:pt>
                <c:pt idx="155">
                  <c:v>Month 7</c:v>
                </c:pt>
                <c:pt idx="156">
                  <c:v>Month 7</c:v>
                </c:pt>
                <c:pt idx="157">
                  <c:v>Month 7</c:v>
                </c:pt>
                <c:pt idx="158">
                  <c:v>Month 7</c:v>
                </c:pt>
                <c:pt idx="159">
                  <c:v>Month 7</c:v>
                </c:pt>
                <c:pt idx="160">
                  <c:v>Month 7</c:v>
                </c:pt>
                <c:pt idx="161">
                  <c:v>Month 7</c:v>
                </c:pt>
                <c:pt idx="162">
                  <c:v>Month 7</c:v>
                </c:pt>
                <c:pt idx="163">
                  <c:v>Month 7</c:v>
                </c:pt>
                <c:pt idx="164">
                  <c:v>Month 7</c:v>
                </c:pt>
                <c:pt idx="165">
                  <c:v>Month 7</c:v>
                </c:pt>
                <c:pt idx="166">
                  <c:v>Month 7</c:v>
                </c:pt>
                <c:pt idx="167">
                  <c:v>Month 8</c:v>
                </c:pt>
                <c:pt idx="168">
                  <c:v>Month 8</c:v>
                </c:pt>
                <c:pt idx="169">
                  <c:v>Month 8</c:v>
                </c:pt>
                <c:pt idx="170">
                  <c:v>Month 8</c:v>
                </c:pt>
                <c:pt idx="171">
                  <c:v>Month 8</c:v>
                </c:pt>
                <c:pt idx="172">
                  <c:v>Month 8</c:v>
                </c:pt>
                <c:pt idx="173">
                  <c:v>Month 8</c:v>
                </c:pt>
                <c:pt idx="174">
                  <c:v>Month 8</c:v>
                </c:pt>
                <c:pt idx="175">
                  <c:v>Month 8</c:v>
                </c:pt>
                <c:pt idx="176">
                  <c:v>Month 8</c:v>
                </c:pt>
                <c:pt idx="177">
                  <c:v>Month 8</c:v>
                </c:pt>
                <c:pt idx="178">
                  <c:v>Month 8</c:v>
                </c:pt>
                <c:pt idx="179">
                  <c:v>Month 8</c:v>
                </c:pt>
                <c:pt idx="180">
                  <c:v>Month 8</c:v>
                </c:pt>
                <c:pt idx="181">
                  <c:v>Month 8</c:v>
                </c:pt>
                <c:pt idx="182">
                  <c:v>Month 8</c:v>
                </c:pt>
                <c:pt idx="183">
                  <c:v>Month 8</c:v>
                </c:pt>
                <c:pt idx="184">
                  <c:v>Month 8</c:v>
                </c:pt>
                <c:pt idx="185">
                  <c:v>Month 8</c:v>
                </c:pt>
                <c:pt idx="186">
                  <c:v>Month 8</c:v>
                </c:pt>
                <c:pt idx="187">
                  <c:v>Month 8</c:v>
                </c:pt>
                <c:pt idx="188">
                  <c:v>Month 9</c:v>
                </c:pt>
                <c:pt idx="189">
                  <c:v>Month 9</c:v>
                </c:pt>
                <c:pt idx="190">
                  <c:v>Month 9</c:v>
                </c:pt>
                <c:pt idx="191">
                  <c:v>Month 9</c:v>
                </c:pt>
                <c:pt idx="192">
                  <c:v>Month 9</c:v>
                </c:pt>
                <c:pt idx="193">
                  <c:v>Month 9</c:v>
                </c:pt>
                <c:pt idx="194">
                  <c:v>Month 9</c:v>
                </c:pt>
                <c:pt idx="195">
                  <c:v>Month 9</c:v>
                </c:pt>
                <c:pt idx="196">
                  <c:v>Month 9</c:v>
                </c:pt>
                <c:pt idx="197">
                  <c:v>Month 9</c:v>
                </c:pt>
                <c:pt idx="198">
                  <c:v>Month 9</c:v>
                </c:pt>
                <c:pt idx="199">
                  <c:v>Month 9</c:v>
                </c:pt>
                <c:pt idx="200">
                  <c:v>Month 9</c:v>
                </c:pt>
                <c:pt idx="201">
                  <c:v>Month 9</c:v>
                </c:pt>
                <c:pt idx="202">
                  <c:v>Month 9</c:v>
                </c:pt>
                <c:pt idx="203">
                  <c:v>Month 9</c:v>
                </c:pt>
                <c:pt idx="204">
                  <c:v>Month 9</c:v>
                </c:pt>
                <c:pt idx="205">
                  <c:v>Month 9</c:v>
                </c:pt>
                <c:pt idx="206">
                  <c:v>Month 9</c:v>
                </c:pt>
                <c:pt idx="207">
                  <c:v>Month 9</c:v>
                </c:pt>
                <c:pt idx="208">
                  <c:v>Month 10</c:v>
                </c:pt>
                <c:pt idx="209">
                  <c:v>Month 10</c:v>
                </c:pt>
                <c:pt idx="210">
                  <c:v>Month 10</c:v>
                </c:pt>
                <c:pt idx="211">
                  <c:v>Month 10</c:v>
                </c:pt>
                <c:pt idx="212">
                  <c:v>Month 10</c:v>
                </c:pt>
                <c:pt idx="213">
                  <c:v>Month 10</c:v>
                </c:pt>
                <c:pt idx="214">
                  <c:v>Month 10</c:v>
                </c:pt>
                <c:pt idx="215">
                  <c:v>Month 10</c:v>
                </c:pt>
                <c:pt idx="216">
                  <c:v>Month 10</c:v>
                </c:pt>
                <c:pt idx="217">
                  <c:v>Month 10</c:v>
                </c:pt>
                <c:pt idx="218">
                  <c:v>Month 10</c:v>
                </c:pt>
                <c:pt idx="219">
                  <c:v>Month 10</c:v>
                </c:pt>
                <c:pt idx="220">
                  <c:v>Month 10</c:v>
                </c:pt>
                <c:pt idx="221">
                  <c:v>Month 10</c:v>
                </c:pt>
                <c:pt idx="222">
                  <c:v>Month 10</c:v>
                </c:pt>
                <c:pt idx="223">
                  <c:v>Month 10</c:v>
                </c:pt>
                <c:pt idx="224">
                  <c:v>Month 10</c:v>
                </c:pt>
                <c:pt idx="225">
                  <c:v>Month 10</c:v>
                </c:pt>
                <c:pt idx="226">
                  <c:v>Month 10</c:v>
                </c:pt>
                <c:pt idx="227">
                  <c:v>Month 10</c:v>
                </c:pt>
                <c:pt idx="228">
                  <c:v>Month 10</c:v>
                </c:pt>
                <c:pt idx="229">
                  <c:v>Month 11</c:v>
                </c:pt>
                <c:pt idx="230">
                  <c:v>Month 11</c:v>
                </c:pt>
                <c:pt idx="231">
                  <c:v>Month 11</c:v>
                </c:pt>
                <c:pt idx="232">
                  <c:v>Month 11</c:v>
                </c:pt>
                <c:pt idx="233">
                  <c:v>Month 11</c:v>
                </c:pt>
                <c:pt idx="234">
                  <c:v>Month 11</c:v>
                </c:pt>
                <c:pt idx="235">
                  <c:v>Month 11</c:v>
                </c:pt>
                <c:pt idx="236">
                  <c:v>Month 11</c:v>
                </c:pt>
                <c:pt idx="237">
                  <c:v>Month 11</c:v>
                </c:pt>
                <c:pt idx="238">
                  <c:v>Month 11</c:v>
                </c:pt>
                <c:pt idx="239">
                  <c:v>Month 11</c:v>
                </c:pt>
                <c:pt idx="240">
                  <c:v>Month 11</c:v>
                </c:pt>
                <c:pt idx="241">
                  <c:v>Month 11</c:v>
                </c:pt>
                <c:pt idx="242">
                  <c:v>Month 11</c:v>
                </c:pt>
                <c:pt idx="243">
                  <c:v>Month 11</c:v>
                </c:pt>
                <c:pt idx="244">
                  <c:v>Month 11</c:v>
                </c:pt>
                <c:pt idx="245">
                  <c:v>Month 11</c:v>
                </c:pt>
                <c:pt idx="246">
                  <c:v>Month 11</c:v>
                </c:pt>
                <c:pt idx="247">
                  <c:v>Month 11</c:v>
                </c:pt>
                <c:pt idx="248">
                  <c:v>Month 11</c:v>
                </c:pt>
                <c:pt idx="249">
                  <c:v>Month 11</c:v>
                </c:pt>
                <c:pt idx="250">
                  <c:v>Month 12</c:v>
                </c:pt>
                <c:pt idx="251">
                  <c:v>Month 12</c:v>
                </c:pt>
                <c:pt idx="252">
                  <c:v>Month 12</c:v>
                </c:pt>
                <c:pt idx="253">
                  <c:v>Month 12</c:v>
                </c:pt>
                <c:pt idx="254">
                  <c:v>Month 12</c:v>
                </c:pt>
                <c:pt idx="255">
                  <c:v>Month 12</c:v>
                </c:pt>
                <c:pt idx="256">
                  <c:v>Month 12</c:v>
                </c:pt>
                <c:pt idx="257">
                  <c:v>Month 12</c:v>
                </c:pt>
                <c:pt idx="258">
                  <c:v>Month 12</c:v>
                </c:pt>
                <c:pt idx="259">
                  <c:v>Month 12</c:v>
                </c:pt>
                <c:pt idx="260">
                  <c:v>Month 12</c:v>
                </c:pt>
                <c:pt idx="261">
                  <c:v>Month 12</c:v>
                </c:pt>
                <c:pt idx="262">
                  <c:v>Month 12</c:v>
                </c:pt>
                <c:pt idx="263">
                  <c:v>Month 12</c:v>
                </c:pt>
                <c:pt idx="264">
                  <c:v>Month 12</c:v>
                </c:pt>
                <c:pt idx="265">
                  <c:v>Month 12</c:v>
                </c:pt>
                <c:pt idx="266">
                  <c:v>Month 12</c:v>
                </c:pt>
                <c:pt idx="267">
                  <c:v>Month 12</c:v>
                </c:pt>
                <c:pt idx="268">
                  <c:v>Month 12</c:v>
                </c:pt>
                <c:pt idx="269">
                  <c:v>Month 12</c:v>
                </c:pt>
                <c:pt idx="270">
                  <c:v>Month 12</c:v>
                </c:pt>
                <c:pt idx="271">
                  <c:v>Month 13</c:v>
                </c:pt>
                <c:pt idx="272">
                  <c:v>Month 13</c:v>
                </c:pt>
                <c:pt idx="273">
                  <c:v>Month 13</c:v>
                </c:pt>
                <c:pt idx="274">
                  <c:v>Month 13</c:v>
                </c:pt>
                <c:pt idx="275">
                  <c:v>Month 13</c:v>
                </c:pt>
                <c:pt idx="276">
                  <c:v>Month 13</c:v>
                </c:pt>
                <c:pt idx="277">
                  <c:v>Month 13</c:v>
                </c:pt>
                <c:pt idx="278">
                  <c:v>Month 13</c:v>
                </c:pt>
                <c:pt idx="279">
                  <c:v>Month 13</c:v>
                </c:pt>
                <c:pt idx="280">
                  <c:v>Month 13</c:v>
                </c:pt>
                <c:pt idx="281">
                  <c:v>Month 13</c:v>
                </c:pt>
                <c:pt idx="282">
                  <c:v>Month 13</c:v>
                </c:pt>
                <c:pt idx="283">
                  <c:v>Month 13</c:v>
                </c:pt>
                <c:pt idx="284">
                  <c:v>Month 13</c:v>
                </c:pt>
                <c:pt idx="285">
                  <c:v>Month 13</c:v>
                </c:pt>
                <c:pt idx="286">
                  <c:v>Month 13</c:v>
                </c:pt>
                <c:pt idx="287">
                  <c:v>Month 13</c:v>
                </c:pt>
                <c:pt idx="288">
                  <c:v>Month 13</c:v>
                </c:pt>
                <c:pt idx="289">
                  <c:v>Month 13</c:v>
                </c:pt>
                <c:pt idx="290">
                  <c:v>Month 13</c:v>
                </c:pt>
                <c:pt idx="291">
                  <c:v>Month 13</c:v>
                </c:pt>
                <c:pt idx="292">
                  <c:v>Month 14</c:v>
                </c:pt>
                <c:pt idx="293">
                  <c:v>Month 14</c:v>
                </c:pt>
                <c:pt idx="294">
                  <c:v>Month 14</c:v>
                </c:pt>
                <c:pt idx="295">
                  <c:v>Month 14</c:v>
                </c:pt>
                <c:pt idx="296">
                  <c:v>Month 14</c:v>
                </c:pt>
                <c:pt idx="297">
                  <c:v>Month 14</c:v>
                </c:pt>
                <c:pt idx="298">
                  <c:v>Month 14</c:v>
                </c:pt>
                <c:pt idx="299">
                  <c:v>Month 14</c:v>
                </c:pt>
                <c:pt idx="300">
                  <c:v>Month 14</c:v>
                </c:pt>
                <c:pt idx="301">
                  <c:v>Month 14</c:v>
                </c:pt>
                <c:pt idx="302">
                  <c:v>Month 14</c:v>
                </c:pt>
                <c:pt idx="303">
                  <c:v>Month 14</c:v>
                </c:pt>
                <c:pt idx="304">
                  <c:v>Month 14</c:v>
                </c:pt>
                <c:pt idx="305">
                  <c:v>Month 14</c:v>
                </c:pt>
                <c:pt idx="306">
                  <c:v>Month 14</c:v>
                </c:pt>
                <c:pt idx="307">
                  <c:v>Month 14</c:v>
                </c:pt>
                <c:pt idx="308">
                  <c:v>Month 14</c:v>
                </c:pt>
                <c:pt idx="309">
                  <c:v>Month 14</c:v>
                </c:pt>
                <c:pt idx="310">
                  <c:v>Month 14</c:v>
                </c:pt>
                <c:pt idx="311">
                  <c:v>Month 14</c:v>
                </c:pt>
                <c:pt idx="312">
                  <c:v>Month 15</c:v>
                </c:pt>
                <c:pt idx="313">
                  <c:v>Month 15</c:v>
                </c:pt>
                <c:pt idx="314">
                  <c:v>Month 15</c:v>
                </c:pt>
                <c:pt idx="315">
                  <c:v>Month 15</c:v>
                </c:pt>
                <c:pt idx="316">
                  <c:v>Month 15</c:v>
                </c:pt>
                <c:pt idx="317">
                  <c:v>Month 15</c:v>
                </c:pt>
                <c:pt idx="318">
                  <c:v>Month 15</c:v>
                </c:pt>
                <c:pt idx="319">
                  <c:v>Month 15</c:v>
                </c:pt>
                <c:pt idx="320">
                  <c:v>Month 15</c:v>
                </c:pt>
                <c:pt idx="321">
                  <c:v>Month 15</c:v>
                </c:pt>
                <c:pt idx="322">
                  <c:v>Month 15</c:v>
                </c:pt>
                <c:pt idx="323">
                  <c:v>Month 15</c:v>
                </c:pt>
                <c:pt idx="324">
                  <c:v>Month 15</c:v>
                </c:pt>
                <c:pt idx="325">
                  <c:v>Month 15</c:v>
                </c:pt>
                <c:pt idx="326">
                  <c:v>Month 15</c:v>
                </c:pt>
                <c:pt idx="327">
                  <c:v>Month 15</c:v>
                </c:pt>
                <c:pt idx="328">
                  <c:v>Month 15</c:v>
                </c:pt>
                <c:pt idx="329">
                  <c:v>Month 15</c:v>
                </c:pt>
                <c:pt idx="330">
                  <c:v>Month 15</c:v>
                </c:pt>
                <c:pt idx="331">
                  <c:v>Month 15</c:v>
                </c:pt>
                <c:pt idx="332">
                  <c:v>Month 15</c:v>
                </c:pt>
                <c:pt idx="333">
                  <c:v>Month 16</c:v>
                </c:pt>
                <c:pt idx="334">
                  <c:v>Month 16</c:v>
                </c:pt>
                <c:pt idx="335">
                  <c:v>Month 16</c:v>
                </c:pt>
                <c:pt idx="336">
                  <c:v>Month 16</c:v>
                </c:pt>
                <c:pt idx="337">
                  <c:v>Month 16</c:v>
                </c:pt>
                <c:pt idx="338">
                  <c:v>Month 16</c:v>
                </c:pt>
                <c:pt idx="339">
                  <c:v>Month 16</c:v>
                </c:pt>
                <c:pt idx="340">
                  <c:v>Month 16</c:v>
                </c:pt>
                <c:pt idx="341">
                  <c:v>Month 16</c:v>
                </c:pt>
                <c:pt idx="342">
                  <c:v>Month 16</c:v>
                </c:pt>
                <c:pt idx="343">
                  <c:v>Month 16</c:v>
                </c:pt>
                <c:pt idx="344">
                  <c:v>Month 16</c:v>
                </c:pt>
                <c:pt idx="345">
                  <c:v>Month 16</c:v>
                </c:pt>
                <c:pt idx="346">
                  <c:v>Month 16</c:v>
                </c:pt>
                <c:pt idx="347">
                  <c:v>Month 16</c:v>
                </c:pt>
                <c:pt idx="348">
                  <c:v>Month 16</c:v>
                </c:pt>
                <c:pt idx="349">
                  <c:v>Month 16</c:v>
                </c:pt>
                <c:pt idx="350">
                  <c:v>Month 16</c:v>
                </c:pt>
                <c:pt idx="351">
                  <c:v>Month 16</c:v>
                </c:pt>
                <c:pt idx="352">
                  <c:v>Month 16</c:v>
                </c:pt>
                <c:pt idx="353">
                  <c:v>Month 16</c:v>
                </c:pt>
                <c:pt idx="354">
                  <c:v>Month 17</c:v>
                </c:pt>
                <c:pt idx="355">
                  <c:v>Month 17</c:v>
                </c:pt>
                <c:pt idx="356">
                  <c:v>Month 17</c:v>
                </c:pt>
                <c:pt idx="357">
                  <c:v>Month 17</c:v>
                </c:pt>
                <c:pt idx="358">
                  <c:v>Month 17</c:v>
                </c:pt>
                <c:pt idx="359">
                  <c:v>Month 17</c:v>
                </c:pt>
                <c:pt idx="360">
                  <c:v>Month 17</c:v>
                </c:pt>
                <c:pt idx="361">
                  <c:v>Month 17</c:v>
                </c:pt>
                <c:pt idx="362">
                  <c:v>Month 17</c:v>
                </c:pt>
                <c:pt idx="363">
                  <c:v>Month 17</c:v>
                </c:pt>
                <c:pt idx="364">
                  <c:v>Month 17</c:v>
                </c:pt>
                <c:pt idx="365">
                  <c:v>Month 17</c:v>
                </c:pt>
                <c:pt idx="366">
                  <c:v>Month 17</c:v>
                </c:pt>
                <c:pt idx="367">
                  <c:v>Month 17</c:v>
                </c:pt>
                <c:pt idx="368">
                  <c:v>Month 17</c:v>
                </c:pt>
                <c:pt idx="369">
                  <c:v>Month 17</c:v>
                </c:pt>
                <c:pt idx="370">
                  <c:v>Month 17</c:v>
                </c:pt>
                <c:pt idx="371">
                  <c:v>Month 17</c:v>
                </c:pt>
                <c:pt idx="372">
                  <c:v>Month 17</c:v>
                </c:pt>
                <c:pt idx="373">
                  <c:v>Month 17</c:v>
                </c:pt>
                <c:pt idx="374">
                  <c:v>Month 17</c:v>
                </c:pt>
                <c:pt idx="375">
                  <c:v>Month 18</c:v>
                </c:pt>
                <c:pt idx="376">
                  <c:v>Month 18</c:v>
                </c:pt>
                <c:pt idx="377">
                  <c:v>Month 18</c:v>
                </c:pt>
                <c:pt idx="378">
                  <c:v>Month 18</c:v>
                </c:pt>
                <c:pt idx="379">
                  <c:v>Month 18</c:v>
                </c:pt>
                <c:pt idx="380">
                  <c:v>Month 18</c:v>
                </c:pt>
              </c:strCache>
            </c:strRef>
          </c:cat>
          <c:val>
            <c:numRef>
              <c:f>'Average returns'!$E$4:$E$384</c:f>
              <c:numCache>
                <c:formatCode>0%</c:formatCode>
                <c:ptCount val="381"/>
                <c:pt idx="0">
                  <c:v>1</c:v>
                </c:pt>
                <c:pt idx="1">
                  <c:v>1</c:v>
                </c:pt>
                <c:pt idx="2">
                  <c:v>1</c:v>
                </c:pt>
                <c:pt idx="3">
                  <c:v>1</c:v>
                </c:pt>
                <c:pt idx="4">
                  <c:v>1</c:v>
                </c:pt>
                <c:pt idx="5">
                  <c:v>1</c:v>
                </c:pt>
                <c:pt idx="6">
                  <c:v>1</c:v>
                </c:pt>
                <c:pt idx="7">
                  <c:v>1</c:v>
                </c:pt>
                <c:pt idx="8">
                  <c:v>1</c:v>
                </c:pt>
                <c:pt idx="9">
                  <c:v>1</c:v>
                </c:pt>
                <c:pt idx="10">
                  <c:v>1</c:v>
                </c:pt>
                <c:pt idx="11">
                  <c:v>1</c:v>
                </c:pt>
                <c:pt idx="12">
                  <c:v>1</c:v>
                </c:pt>
                <c:pt idx="13">
                  <c:v>1</c:v>
                </c:pt>
                <c:pt idx="14">
                  <c:v>1</c:v>
                </c:pt>
                <c:pt idx="15">
                  <c:v>1</c:v>
                </c:pt>
                <c:pt idx="16">
                  <c:v>1</c:v>
                </c:pt>
                <c:pt idx="17">
                  <c:v>1</c:v>
                </c:pt>
                <c:pt idx="18">
                  <c:v>1</c:v>
                </c:pt>
                <c:pt idx="19">
                  <c:v>1</c:v>
                </c:pt>
                <c:pt idx="20">
                  <c:v>1</c:v>
                </c:pt>
                <c:pt idx="21">
                  <c:v>1</c:v>
                </c:pt>
                <c:pt idx="22">
                  <c:v>1</c:v>
                </c:pt>
                <c:pt idx="23">
                  <c:v>1</c:v>
                </c:pt>
                <c:pt idx="24">
                  <c:v>1</c:v>
                </c:pt>
                <c:pt idx="25">
                  <c:v>1</c:v>
                </c:pt>
                <c:pt idx="26">
                  <c:v>1</c:v>
                </c:pt>
                <c:pt idx="27">
                  <c:v>1</c:v>
                </c:pt>
                <c:pt idx="28">
                  <c:v>1</c:v>
                </c:pt>
                <c:pt idx="29">
                  <c:v>1</c:v>
                </c:pt>
                <c:pt idx="30">
                  <c:v>1</c:v>
                </c:pt>
                <c:pt idx="31">
                  <c:v>1</c:v>
                </c:pt>
                <c:pt idx="32">
                  <c:v>1</c:v>
                </c:pt>
                <c:pt idx="33">
                  <c:v>1</c:v>
                </c:pt>
                <c:pt idx="34">
                  <c:v>1</c:v>
                </c:pt>
                <c:pt idx="35">
                  <c:v>1</c:v>
                </c:pt>
                <c:pt idx="36">
                  <c:v>1</c:v>
                </c:pt>
                <c:pt idx="37">
                  <c:v>1</c:v>
                </c:pt>
                <c:pt idx="38">
                  <c:v>1</c:v>
                </c:pt>
                <c:pt idx="39">
                  <c:v>1</c:v>
                </c:pt>
                <c:pt idx="40">
                  <c:v>1</c:v>
                </c:pt>
                <c:pt idx="41">
                  <c:v>1</c:v>
                </c:pt>
                <c:pt idx="42">
                  <c:v>1</c:v>
                </c:pt>
                <c:pt idx="43">
                  <c:v>1</c:v>
                </c:pt>
                <c:pt idx="44">
                  <c:v>1</c:v>
                </c:pt>
                <c:pt idx="45">
                  <c:v>1</c:v>
                </c:pt>
                <c:pt idx="46">
                  <c:v>1</c:v>
                </c:pt>
                <c:pt idx="47">
                  <c:v>1</c:v>
                </c:pt>
                <c:pt idx="48">
                  <c:v>1</c:v>
                </c:pt>
                <c:pt idx="49">
                  <c:v>1</c:v>
                </c:pt>
                <c:pt idx="50">
                  <c:v>1</c:v>
                </c:pt>
                <c:pt idx="51">
                  <c:v>1</c:v>
                </c:pt>
                <c:pt idx="52">
                  <c:v>1</c:v>
                </c:pt>
                <c:pt idx="53">
                  <c:v>1</c:v>
                </c:pt>
                <c:pt idx="54">
                  <c:v>1</c:v>
                </c:pt>
                <c:pt idx="55">
                  <c:v>1</c:v>
                </c:pt>
                <c:pt idx="56">
                  <c:v>1</c:v>
                </c:pt>
                <c:pt idx="57">
                  <c:v>1</c:v>
                </c:pt>
                <c:pt idx="58">
                  <c:v>1</c:v>
                </c:pt>
                <c:pt idx="59">
                  <c:v>1</c:v>
                </c:pt>
                <c:pt idx="60">
                  <c:v>1</c:v>
                </c:pt>
                <c:pt idx="61">
                  <c:v>1</c:v>
                </c:pt>
                <c:pt idx="62">
                  <c:v>1</c:v>
                </c:pt>
                <c:pt idx="63">
                  <c:v>1</c:v>
                </c:pt>
                <c:pt idx="64">
                  <c:v>1</c:v>
                </c:pt>
                <c:pt idx="65">
                  <c:v>1</c:v>
                </c:pt>
                <c:pt idx="66">
                  <c:v>1</c:v>
                </c:pt>
                <c:pt idx="67">
                  <c:v>1</c:v>
                </c:pt>
                <c:pt idx="68">
                  <c:v>1</c:v>
                </c:pt>
                <c:pt idx="69">
                  <c:v>1</c:v>
                </c:pt>
                <c:pt idx="70">
                  <c:v>1</c:v>
                </c:pt>
                <c:pt idx="71">
                  <c:v>1</c:v>
                </c:pt>
                <c:pt idx="72">
                  <c:v>1</c:v>
                </c:pt>
                <c:pt idx="73">
                  <c:v>1</c:v>
                </c:pt>
                <c:pt idx="74">
                  <c:v>1</c:v>
                </c:pt>
                <c:pt idx="75">
                  <c:v>1</c:v>
                </c:pt>
                <c:pt idx="76">
                  <c:v>1</c:v>
                </c:pt>
                <c:pt idx="77">
                  <c:v>1</c:v>
                </c:pt>
                <c:pt idx="78">
                  <c:v>1</c:v>
                </c:pt>
                <c:pt idx="79">
                  <c:v>1</c:v>
                </c:pt>
                <c:pt idx="80">
                  <c:v>1</c:v>
                </c:pt>
                <c:pt idx="81">
                  <c:v>1</c:v>
                </c:pt>
                <c:pt idx="82">
                  <c:v>1</c:v>
                </c:pt>
                <c:pt idx="83">
                  <c:v>1</c:v>
                </c:pt>
                <c:pt idx="84">
                  <c:v>1</c:v>
                </c:pt>
                <c:pt idx="85">
                  <c:v>1</c:v>
                </c:pt>
                <c:pt idx="86">
                  <c:v>1</c:v>
                </c:pt>
                <c:pt idx="87">
                  <c:v>1</c:v>
                </c:pt>
                <c:pt idx="88">
                  <c:v>1</c:v>
                </c:pt>
                <c:pt idx="89">
                  <c:v>1</c:v>
                </c:pt>
                <c:pt idx="90">
                  <c:v>1</c:v>
                </c:pt>
                <c:pt idx="91">
                  <c:v>1</c:v>
                </c:pt>
                <c:pt idx="92">
                  <c:v>1</c:v>
                </c:pt>
                <c:pt idx="93">
                  <c:v>1</c:v>
                </c:pt>
                <c:pt idx="94">
                  <c:v>1</c:v>
                </c:pt>
                <c:pt idx="95">
                  <c:v>1</c:v>
                </c:pt>
                <c:pt idx="96">
                  <c:v>1</c:v>
                </c:pt>
                <c:pt idx="97">
                  <c:v>1</c:v>
                </c:pt>
                <c:pt idx="98">
                  <c:v>1</c:v>
                </c:pt>
                <c:pt idx="99">
                  <c:v>1</c:v>
                </c:pt>
                <c:pt idx="100">
                  <c:v>1</c:v>
                </c:pt>
                <c:pt idx="101">
                  <c:v>1</c:v>
                </c:pt>
                <c:pt idx="102">
                  <c:v>1</c:v>
                </c:pt>
                <c:pt idx="103">
                  <c:v>1</c:v>
                </c:pt>
                <c:pt idx="104">
                  <c:v>1</c:v>
                </c:pt>
                <c:pt idx="105">
                  <c:v>1</c:v>
                </c:pt>
                <c:pt idx="106">
                  <c:v>1</c:v>
                </c:pt>
                <c:pt idx="107">
                  <c:v>1</c:v>
                </c:pt>
                <c:pt idx="108">
                  <c:v>1</c:v>
                </c:pt>
                <c:pt idx="109">
                  <c:v>1</c:v>
                </c:pt>
                <c:pt idx="110">
                  <c:v>1</c:v>
                </c:pt>
                <c:pt idx="111">
                  <c:v>1</c:v>
                </c:pt>
                <c:pt idx="112">
                  <c:v>1</c:v>
                </c:pt>
                <c:pt idx="113">
                  <c:v>1</c:v>
                </c:pt>
                <c:pt idx="114">
                  <c:v>1</c:v>
                </c:pt>
                <c:pt idx="115">
                  <c:v>1</c:v>
                </c:pt>
                <c:pt idx="116">
                  <c:v>1</c:v>
                </c:pt>
                <c:pt idx="117">
                  <c:v>1</c:v>
                </c:pt>
                <c:pt idx="118">
                  <c:v>1</c:v>
                </c:pt>
                <c:pt idx="119">
                  <c:v>1</c:v>
                </c:pt>
                <c:pt idx="120">
                  <c:v>1</c:v>
                </c:pt>
                <c:pt idx="121">
                  <c:v>1</c:v>
                </c:pt>
                <c:pt idx="122">
                  <c:v>1</c:v>
                </c:pt>
                <c:pt idx="123">
                  <c:v>1</c:v>
                </c:pt>
                <c:pt idx="124">
                  <c:v>1</c:v>
                </c:pt>
                <c:pt idx="125">
                  <c:v>1</c:v>
                </c:pt>
                <c:pt idx="126">
                  <c:v>1</c:v>
                </c:pt>
                <c:pt idx="127">
                  <c:v>1</c:v>
                </c:pt>
                <c:pt idx="128">
                  <c:v>1</c:v>
                </c:pt>
                <c:pt idx="129">
                  <c:v>1</c:v>
                </c:pt>
                <c:pt idx="130">
                  <c:v>1</c:v>
                </c:pt>
                <c:pt idx="131">
                  <c:v>1</c:v>
                </c:pt>
                <c:pt idx="132">
                  <c:v>1</c:v>
                </c:pt>
                <c:pt idx="133">
                  <c:v>1</c:v>
                </c:pt>
                <c:pt idx="134">
                  <c:v>1</c:v>
                </c:pt>
                <c:pt idx="135">
                  <c:v>1</c:v>
                </c:pt>
                <c:pt idx="136">
                  <c:v>1</c:v>
                </c:pt>
                <c:pt idx="137">
                  <c:v>1</c:v>
                </c:pt>
                <c:pt idx="138">
                  <c:v>1</c:v>
                </c:pt>
                <c:pt idx="139">
                  <c:v>1</c:v>
                </c:pt>
                <c:pt idx="140">
                  <c:v>1</c:v>
                </c:pt>
                <c:pt idx="141">
                  <c:v>1</c:v>
                </c:pt>
                <c:pt idx="142">
                  <c:v>1</c:v>
                </c:pt>
                <c:pt idx="143">
                  <c:v>1</c:v>
                </c:pt>
                <c:pt idx="144">
                  <c:v>1</c:v>
                </c:pt>
                <c:pt idx="145">
                  <c:v>1</c:v>
                </c:pt>
                <c:pt idx="146">
                  <c:v>1</c:v>
                </c:pt>
                <c:pt idx="147">
                  <c:v>1</c:v>
                </c:pt>
                <c:pt idx="148">
                  <c:v>1</c:v>
                </c:pt>
                <c:pt idx="149">
                  <c:v>1</c:v>
                </c:pt>
                <c:pt idx="150">
                  <c:v>1</c:v>
                </c:pt>
                <c:pt idx="151">
                  <c:v>1</c:v>
                </c:pt>
                <c:pt idx="152">
                  <c:v>1</c:v>
                </c:pt>
                <c:pt idx="153">
                  <c:v>1</c:v>
                </c:pt>
                <c:pt idx="154">
                  <c:v>1</c:v>
                </c:pt>
                <c:pt idx="155">
                  <c:v>1</c:v>
                </c:pt>
                <c:pt idx="156">
                  <c:v>1</c:v>
                </c:pt>
                <c:pt idx="157">
                  <c:v>1</c:v>
                </c:pt>
                <c:pt idx="158">
                  <c:v>1</c:v>
                </c:pt>
                <c:pt idx="159">
                  <c:v>1</c:v>
                </c:pt>
                <c:pt idx="160">
                  <c:v>1</c:v>
                </c:pt>
                <c:pt idx="161">
                  <c:v>1</c:v>
                </c:pt>
                <c:pt idx="162">
                  <c:v>1</c:v>
                </c:pt>
                <c:pt idx="163">
                  <c:v>1</c:v>
                </c:pt>
                <c:pt idx="164">
                  <c:v>1</c:v>
                </c:pt>
                <c:pt idx="165">
                  <c:v>1</c:v>
                </c:pt>
                <c:pt idx="166">
                  <c:v>1</c:v>
                </c:pt>
                <c:pt idx="167">
                  <c:v>1</c:v>
                </c:pt>
                <c:pt idx="168">
                  <c:v>1</c:v>
                </c:pt>
                <c:pt idx="169">
                  <c:v>1</c:v>
                </c:pt>
                <c:pt idx="170">
                  <c:v>1</c:v>
                </c:pt>
                <c:pt idx="171">
                  <c:v>1</c:v>
                </c:pt>
                <c:pt idx="172">
                  <c:v>1</c:v>
                </c:pt>
                <c:pt idx="173">
                  <c:v>1</c:v>
                </c:pt>
                <c:pt idx="174">
                  <c:v>1</c:v>
                </c:pt>
                <c:pt idx="175">
                  <c:v>1</c:v>
                </c:pt>
                <c:pt idx="176">
                  <c:v>1</c:v>
                </c:pt>
                <c:pt idx="177">
                  <c:v>1</c:v>
                </c:pt>
                <c:pt idx="178">
                  <c:v>1</c:v>
                </c:pt>
                <c:pt idx="179">
                  <c:v>1</c:v>
                </c:pt>
                <c:pt idx="180">
                  <c:v>1</c:v>
                </c:pt>
                <c:pt idx="181">
                  <c:v>1</c:v>
                </c:pt>
                <c:pt idx="182">
                  <c:v>1</c:v>
                </c:pt>
                <c:pt idx="183">
                  <c:v>1</c:v>
                </c:pt>
                <c:pt idx="184">
                  <c:v>1</c:v>
                </c:pt>
                <c:pt idx="185">
                  <c:v>1</c:v>
                </c:pt>
                <c:pt idx="186">
                  <c:v>1</c:v>
                </c:pt>
                <c:pt idx="187">
                  <c:v>1</c:v>
                </c:pt>
                <c:pt idx="188">
                  <c:v>1</c:v>
                </c:pt>
                <c:pt idx="189">
                  <c:v>1</c:v>
                </c:pt>
                <c:pt idx="190">
                  <c:v>1</c:v>
                </c:pt>
                <c:pt idx="191">
                  <c:v>1</c:v>
                </c:pt>
                <c:pt idx="192">
                  <c:v>1</c:v>
                </c:pt>
                <c:pt idx="193">
                  <c:v>1</c:v>
                </c:pt>
                <c:pt idx="194">
                  <c:v>1</c:v>
                </c:pt>
                <c:pt idx="195">
                  <c:v>1</c:v>
                </c:pt>
                <c:pt idx="196">
                  <c:v>1</c:v>
                </c:pt>
                <c:pt idx="197">
                  <c:v>1</c:v>
                </c:pt>
                <c:pt idx="198">
                  <c:v>1</c:v>
                </c:pt>
                <c:pt idx="199">
                  <c:v>1</c:v>
                </c:pt>
                <c:pt idx="200">
                  <c:v>1</c:v>
                </c:pt>
                <c:pt idx="201">
                  <c:v>1</c:v>
                </c:pt>
                <c:pt idx="202">
                  <c:v>1</c:v>
                </c:pt>
                <c:pt idx="203">
                  <c:v>1</c:v>
                </c:pt>
                <c:pt idx="204">
                  <c:v>1</c:v>
                </c:pt>
                <c:pt idx="205">
                  <c:v>1</c:v>
                </c:pt>
                <c:pt idx="206">
                  <c:v>1</c:v>
                </c:pt>
                <c:pt idx="207">
                  <c:v>1</c:v>
                </c:pt>
                <c:pt idx="208">
                  <c:v>1</c:v>
                </c:pt>
                <c:pt idx="209">
                  <c:v>1</c:v>
                </c:pt>
                <c:pt idx="210">
                  <c:v>1</c:v>
                </c:pt>
                <c:pt idx="211">
                  <c:v>1</c:v>
                </c:pt>
                <c:pt idx="212">
                  <c:v>1</c:v>
                </c:pt>
                <c:pt idx="213">
                  <c:v>1</c:v>
                </c:pt>
                <c:pt idx="214">
                  <c:v>1</c:v>
                </c:pt>
                <c:pt idx="215">
                  <c:v>1</c:v>
                </c:pt>
                <c:pt idx="216">
                  <c:v>1</c:v>
                </c:pt>
                <c:pt idx="217">
                  <c:v>1</c:v>
                </c:pt>
                <c:pt idx="218">
                  <c:v>1</c:v>
                </c:pt>
                <c:pt idx="219">
                  <c:v>1</c:v>
                </c:pt>
                <c:pt idx="220">
                  <c:v>1</c:v>
                </c:pt>
                <c:pt idx="221">
                  <c:v>1</c:v>
                </c:pt>
                <c:pt idx="222">
                  <c:v>1</c:v>
                </c:pt>
                <c:pt idx="223">
                  <c:v>1</c:v>
                </c:pt>
                <c:pt idx="224">
                  <c:v>1</c:v>
                </c:pt>
                <c:pt idx="225">
                  <c:v>1</c:v>
                </c:pt>
                <c:pt idx="226">
                  <c:v>1</c:v>
                </c:pt>
                <c:pt idx="227">
                  <c:v>1</c:v>
                </c:pt>
                <c:pt idx="228">
                  <c:v>1</c:v>
                </c:pt>
                <c:pt idx="229">
                  <c:v>1</c:v>
                </c:pt>
                <c:pt idx="230">
                  <c:v>1</c:v>
                </c:pt>
                <c:pt idx="231">
                  <c:v>1</c:v>
                </c:pt>
                <c:pt idx="232">
                  <c:v>1</c:v>
                </c:pt>
                <c:pt idx="233">
                  <c:v>1</c:v>
                </c:pt>
                <c:pt idx="234">
                  <c:v>1</c:v>
                </c:pt>
                <c:pt idx="235">
                  <c:v>1</c:v>
                </c:pt>
                <c:pt idx="236">
                  <c:v>1</c:v>
                </c:pt>
                <c:pt idx="237">
                  <c:v>1</c:v>
                </c:pt>
                <c:pt idx="238">
                  <c:v>1</c:v>
                </c:pt>
                <c:pt idx="239">
                  <c:v>1</c:v>
                </c:pt>
                <c:pt idx="240">
                  <c:v>1</c:v>
                </c:pt>
                <c:pt idx="241">
                  <c:v>1</c:v>
                </c:pt>
                <c:pt idx="242">
                  <c:v>1</c:v>
                </c:pt>
                <c:pt idx="243">
                  <c:v>1</c:v>
                </c:pt>
                <c:pt idx="244">
                  <c:v>1</c:v>
                </c:pt>
                <c:pt idx="245">
                  <c:v>1</c:v>
                </c:pt>
                <c:pt idx="246">
                  <c:v>1</c:v>
                </c:pt>
                <c:pt idx="247">
                  <c:v>1</c:v>
                </c:pt>
                <c:pt idx="248">
                  <c:v>1</c:v>
                </c:pt>
                <c:pt idx="249">
                  <c:v>1</c:v>
                </c:pt>
                <c:pt idx="250">
                  <c:v>1</c:v>
                </c:pt>
                <c:pt idx="251">
                  <c:v>1</c:v>
                </c:pt>
                <c:pt idx="252">
                  <c:v>1</c:v>
                </c:pt>
                <c:pt idx="253">
                  <c:v>1</c:v>
                </c:pt>
                <c:pt idx="254">
                  <c:v>1</c:v>
                </c:pt>
                <c:pt idx="255">
                  <c:v>1</c:v>
                </c:pt>
                <c:pt idx="256">
                  <c:v>1</c:v>
                </c:pt>
                <c:pt idx="257">
                  <c:v>1</c:v>
                </c:pt>
                <c:pt idx="258">
                  <c:v>1</c:v>
                </c:pt>
                <c:pt idx="259">
                  <c:v>1</c:v>
                </c:pt>
                <c:pt idx="260">
                  <c:v>1</c:v>
                </c:pt>
                <c:pt idx="261">
                  <c:v>1</c:v>
                </c:pt>
                <c:pt idx="262">
                  <c:v>1</c:v>
                </c:pt>
                <c:pt idx="263">
                  <c:v>1</c:v>
                </c:pt>
                <c:pt idx="264">
                  <c:v>1</c:v>
                </c:pt>
                <c:pt idx="265">
                  <c:v>1</c:v>
                </c:pt>
                <c:pt idx="266">
                  <c:v>1</c:v>
                </c:pt>
                <c:pt idx="267">
                  <c:v>1</c:v>
                </c:pt>
                <c:pt idx="268">
                  <c:v>1</c:v>
                </c:pt>
                <c:pt idx="269">
                  <c:v>1</c:v>
                </c:pt>
                <c:pt idx="270">
                  <c:v>1</c:v>
                </c:pt>
                <c:pt idx="271">
                  <c:v>1</c:v>
                </c:pt>
                <c:pt idx="272">
                  <c:v>1</c:v>
                </c:pt>
                <c:pt idx="273">
                  <c:v>1</c:v>
                </c:pt>
                <c:pt idx="274">
                  <c:v>1</c:v>
                </c:pt>
                <c:pt idx="275">
                  <c:v>1</c:v>
                </c:pt>
                <c:pt idx="276">
                  <c:v>1</c:v>
                </c:pt>
                <c:pt idx="277">
                  <c:v>1</c:v>
                </c:pt>
                <c:pt idx="278">
                  <c:v>1</c:v>
                </c:pt>
                <c:pt idx="279">
                  <c:v>1</c:v>
                </c:pt>
                <c:pt idx="280">
                  <c:v>1</c:v>
                </c:pt>
                <c:pt idx="281">
                  <c:v>1</c:v>
                </c:pt>
                <c:pt idx="282">
                  <c:v>1</c:v>
                </c:pt>
                <c:pt idx="283">
                  <c:v>1</c:v>
                </c:pt>
                <c:pt idx="284">
                  <c:v>1</c:v>
                </c:pt>
                <c:pt idx="285">
                  <c:v>1</c:v>
                </c:pt>
                <c:pt idx="286">
                  <c:v>1</c:v>
                </c:pt>
                <c:pt idx="287">
                  <c:v>1</c:v>
                </c:pt>
                <c:pt idx="288">
                  <c:v>1</c:v>
                </c:pt>
                <c:pt idx="289">
                  <c:v>1</c:v>
                </c:pt>
                <c:pt idx="290">
                  <c:v>1</c:v>
                </c:pt>
                <c:pt idx="291">
                  <c:v>1</c:v>
                </c:pt>
                <c:pt idx="292">
                  <c:v>1</c:v>
                </c:pt>
                <c:pt idx="293">
                  <c:v>1</c:v>
                </c:pt>
                <c:pt idx="294">
                  <c:v>1</c:v>
                </c:pt>
                <c:pt idx="295">
                  <c:v>1</c:v>
                </c:pt>
                <c:pt idx="296">
                  <c:v>1</c:v>
                </c:pt>
                <c:pt idx="297">
                  <c:v>1</c:v>
                </c:pt>
                <c:pt idx="298">
                  <c:v>1</c:v>
                </c:pt>
                <c:pt idx="299">
                  <c:v>1</c:v>
                </c:pt>
                <c:pt idx="300">
                  <c:v>1</c:v>
                </c:pt>
                <c:pt idx="301">
                  <c:v>1</c:v>
                </c:pt>
                <c:pt idx="302">
                  <c:v>1</c:v>
                </c:pt>
                <c:pt idx="303">
                  <c:v>1</c:v>
                </c:pt>
                <c:pt idx="304">
                  <c:v>1</c:v>
                </c:pt>
                <c:pt idx="305">
                  <c:v>1</c:v>
                </c:pt>
                <c:pt idx="306">
                  <c:v>1</c:v>
                </c:pt>
                <c:pt idx="307">
                  <c:v>1</c:v>
                </c:pt>
                <c:pt idx="308">
                  <c:v>1</c:v>
                </c:pt>
                <c:pt idx="309">
                  <c:v>1</c:v>
                </c:pt>
                <c:pt idx="310">
                  <c:v>1</c:v>
                </c:pt>
                <c:pt idx="311">
                  <c:v>1</c:v>
                </c:pt>
                <c:pt idx="312">
                  <c:v>1</c:v>
                </c:pt>
                <c:pt idx="313">
                  <c:v>1</c:v>
                </c:pt>
                <c:pt idx="314">
                  <c:v>1</c:v>
                </c:pt>
                <c:pt idx="315">
                  <c:v>1</c:v>
                </c:pt>
                <c:pt idx="316">
                  <c:v>1</c:v>
                </c:pt>
                <c:pt idx="317">
                  <c:v>1</c:v>
                </c:pt>
                <c:pt idx="318">
                  <c:v>1</c:v>
                </c:pt>
                <c:pt idx="319">
                  <c:v>1</c:v>
                </c:pt>
                <c:pt idx="320">
                  <c:v>1</c:v>
                </c:pt>
                <c:pt idx="321">
                  <c:v>1</c:v>
                </c:pt>
                <c:pt idx="322">
                  <c:v>1</c:v>
                </c:pt>
                <c:pt idx="323">
                  <c:v>1</c:v>
                </c:pt>
                <c:pt idx="324">
                  <c:v>1</c:v>
                </c:pt>
                <c:pt idx="325">
                  <c:v>1</c:v>
                </c:pt>
                <c:pt idx="326">
                  <c:v>1</c:v>
                </c:pt>
                <c:pt idx="327">
                  <c:v>1</c:v>
                </c:pt>
                <c:pt idx="328">
                  <c:v>1</c:v>
                </c:pt>
                <c:pt idx="329">
                  <c:v>1</c:v>
                </c:pt>
                <c:pt idx="330">
                  <c:v>1</c:v>
                </c:pt>
                <c:pt idx="331">
                  <c:v>1</c:v>
                </c:pt>
                <c:pt idx="332">
                  <c:v>1</c:v>
                </c:pt>
                <c:pt idx="333">
                  <c:v>1</c:v>
                </c:pt>
                <c:pt idx="334">
                  <c:v>1</c:v>
                </c:pt>
                <c:pt idx="335">
                  <c:v>1</c:v>
                </c:pt>
                <c:pt idx="336">
                  <c:v>1</c:v>
                </c:pt>
                <c:pt idx="337">
                  <c:v>1</c:v>
                </c:pt>
                <c:pt idx="338">
                  <c:v>1</c:v>
                </c:pt>
                <c:pt idx="339">
                  <c:v>1</c:v>
                </c:pt>
                <c:pt idx="340">
                  <c:v>1</c:v>
                </c:pt>
                <c:pt idx="341">
                  <c:v>1</c:v>
                </c:pt>
                <c:pt idx="342">
                  <c:v>1</c:v>
                </c:pt>
                <c:pt idx="343">
                  <c:v>1</c:v>
                </c:pt>
                <c:pt idx="344">
                  <c:v>1</c:v>
                </c:pt>
                <c:pt idx="345">
                  <c:v>1</c:v>
                </c:pt>
                <c:pt idx="346">
                  <c:v>1</c:v>
                </c:pt>
                <c:pt idx="347">
                  <c:v>1</c:v>
                </c:pt>
                <c:pt idx="348">
                  <c:v>1</c:v>
                </c:pt>
                <c:pt idx="349">
                  <c:v>1</c:v>
                </c:pt>
                <c:pt idx="350">
                  <c:v>1</c:v>
                </c:pt>
                <c:pt idx="351">
                  <c:v>1</c:v>
                </c:pt>
                <c:pt idx="352">
                  <c:v>1</c:v>
                </c:pt>
                <c:pt idx="353">
                  <c:v>1</c:v>
                </c:pt>
                <c:pt idx="354">
                  <c:v>1</c:v>
                </c:pt>
                <c:pt idx="355">
                  <c:v>1</c:v>
                </c:pt>
                <c:pt idx="356">
                  <c:v>1</c:v>
                </c:pt>
                <c:pt idx="357">
                  <c:v>1</c:v>
                </c:pt>
                <c:pt idx="358">
                  <c:v>1</c:v>
                </c:pt>
                <c:pt idx="359">
                  <c:v>1</c:v>
                </c:pt>
                <c:pt idx="360">
                  <c:v>1</c:v>
                </c:pt>
                <c:pt idx="361">
                  <c:v>1</c:v>
                </c:pt>
                <c:pt idx="362">
                  <c:v>1</c:v>
                </c:pt>
                <c:pt idx="363">
                  <c:v>1</c:v>
                </c:pt>
                <c:pt idx="364">
                  <c:v>1</c:v>
                </c:pt>
                <c:pt idx="365">
                  <c:v>1</c:v>
                </c:pt>
                <c:pt idx="366">
                  <c:v>1</c:v>
                </c:pt>
                <c:pt idx="367">
                  <c:v>1</c:v>
                </c:pt>
                <c:pt idx="368">
                  <c:v>1</c:v>
                </c:pt>
                <c:pt idx="369">
                  <c:v>1</c:v>
                </c:pt>
                <c:pt idx="370">
                  <c:v>1</c:v>
                </c:pt>
                <c:pt idx="371">
                  <c:v>1</c:v>
                </c:pt>
                <c:pt idx="372">
                  <c:v>1</c:v>
                </c:pt>
                <c:pt idx="373">
                  <c:v>1</c:v>
                </c:pt>
                <c:pt idx="374">
                  <c:v>1</c:v>
                </c:pt>
              </c:numCache>
            </c:numRef>
          </c:val>
          <c:smooth val="0"/>
          <c:extLst>
            <c:ext xmlns:c16="http://schemas.microsoft.com/office/drawing/2014/chart" uri="{C3380CC4-5D6E-409C-BE32-E72D297353CC}">
              <c16:uniqueId val="{00000003-53EE-47DB-9DEB-94BA42B73EDD}"/>
            </c:ext>
          </c:extLst>
        </c:ser>
        <c:dLbls>
          <c:showLegendKey val="0"/>
          <c:showVal val="0"/>
          <c:showCatName val="0"/>
          <c:showSerName val="0"/>
          <c:showPercent val="0"/>
          <c:showBubbleSize val="0"/>
        </c:dLbls>
        <c:smooth val="0"/>
        <c:axId val="-1181435680"/>
        <c:axId val="-1181435136"/>
      </c:lineChart>
      <c:dateAx>
        <c:axId val="-1181435680"/>
        <c:scaling>
          <c:orientation val="minMax"/>
        </c:scaling>
        <c:delete val="0"/>
        <c:axPos val="b"/>
        <c:numFmt formatCode="General" sourceLinked="0"/>
        <c:majorTickMark val="in"/>
        <c:minorTickMark val="none"/>
        <c:tickLblPos val="nextTo"/>
        <c:txPr>
          <a:bodyPr/>
          <a:lstStyle/>
          <a:p>
            <a:pPr>
              <a:defRPr sz="1600">
                <a:latin typeface="Arial" pitchFamily="34" charset="0"/>
                <a:cs typeface="Arial" pitchFamily="34" charset="0"/>
              </a:defRPr>
            </a:pPr>
            <a:endParaRPr lang="en-US"/>
          </a:p>
        </c:txPr>
        <c:crossAx val="-1181435136"/>
        <c:crosses val="autoZero"/>
        <c:auto val="0"/>
        <c:lblOffset val="100"/>
        <c:baseTimeUnit val="days"/>
        <c:majorUnit val="63"/>
        <c:minorUnit val="21"/>
      </c:dateAx>
      <c:valAx>
        <c:axId val="-1181435136"/>
        <c:scaling>
          <c:orientation val="minMax"/>
          <c:max val="1.5"/>
          <c:min val="0.9"/>
        </c:scaling>
        <c:delete val="0"/>
        <c:axPos val="l"/>
        <c:numFmt formatCode="0%" sourceLinked="0"/>
        <c:majorTickMark val="in"/>
        <c:minorTickMark val="none"/>
        <c:tickLblPos val="nextTo"/>
        <c:txPr>
          <a:bodyPr/>
          <a:lstStyle/>
          <a:p>
            <a:pPr>
              <a:defRPr sz="1600">
                <a:latin typeface="+mn-lt"/>
                <a:cs typeface="Arial" pitchFamily="34" charset="0"/>
              </a:defRPr>
            </a:pPr>
            <a:endParaRPr lang="en-US"/>
          </a:p>
        </c:txPr>
        <c:crossAx val="-1181435680"/>
        <c:crosses val="autoZero"/>
        <c:crossBetween val="midCat"/>
        <c:majorUnit val="0.1"/>
        <c:minorUnit val="0.1"/>
      </c:valAx>
    </c:plotArea>
    <c:legend>
      <c:legendPos val="t"/>
      <c:legendEntry>
        <c:idx val="3"/>
        <c:delete val="1"/>
      </c:legendEntry>
      <c:layout>
        <c:manualLayout>
          <c:xMode val="edge"/>
          <c:yMode val="edge"/>
          <c:x val="0.1364529924320054"/>
          <c:y val="3.956157027905155E-2"/>
          <c:w val="0.29928743855524265"/>
          <c:h val="0.16809877208268462"/>
        </c:manualLayout>
      </c:layout>
      <c:overlay val="0"/>
      <c:txPr>
        <a:bodyPr/>
        <a:lstStyle/>
        <a:p>
          <a:pPr>
            <a:defRPr sz="1200">
              <a:latin typeface="Arial" pitchFamily="34" charset="0"/>
              <a:cs typeface="Arial" pitchFamily="34" charset="0"/>
            </a:defRPr>
          </a:pPr>
          <a:endParaRPr lang="en-US"/>
        </a:p>
      </c:txPr>
    </c:legend>
    <c:plotVisOnly val="1"/>
    <c:dispBlanksAs val="gap"/>
    <c:showDLblsOverMax val="0"/>
  </c:chart>
  <c:spPr>
    <a:ln>
      <a:noFill/>
    </a:ln>
  </c:spPr>
  <c:externalData r:id="rId1">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0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0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0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0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0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0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08.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0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1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1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8.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1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2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2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8.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2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3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3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3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8.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3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4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4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4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4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8.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4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5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5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5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5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5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5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58.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5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6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6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6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6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67.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6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6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7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7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7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7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7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77.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7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7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8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8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8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8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8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87.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8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8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9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9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9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9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9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97.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9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9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0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0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0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0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0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07.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0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0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1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1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1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17.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1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1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2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2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2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27.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2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2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3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3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3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37.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3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3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4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4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4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47.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4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4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5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5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5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5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5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5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5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59.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0.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6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64.vml.rels><?xml version="1.0" encoding="UTF-8" standalone="yes"?>
<Relationships xmlns="http://schemas.openxmlformats.org/package/2006/relationships"><Relationship Id="rId1" Type="http://schemas.openxmlformats.org/officeDocument/2006/relationships/image" Target="../media/image54.emf"/></Relationships>
</file>

<file path=ppt/drawings/_rels/vmlDrawing26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66.vml.rels><?xml version="1.0" encoding="UTF-8" standalone="yes"?>
<Relationships xmlns="http://schemas.openxmlformats.org/package/2006/relationships"><Relationship Id="rId1" Type="http://schemas.openxmlformats.org/officeDocument/2006/relationships/image" Target="../media/image60.emf"/></Relationships>
</file>

<file path=ppt/drawings/_rels/vmlDrawing267.vml.rels><?xml version="1.0" encoding="UTF-8" standalone="yes"?>
<Relationships xmlns="http://schemas.openxmlformats.org/package/2006/relationships"><Relationship Id="rId1" Type="http://schemas.openxmlformats.org/officeDocument/2006/relationships/image" Target="../media/image70.emf"/></Relationships>
</file>

<file path=ppt/drawings/_rels/vmlDrawing269.vml.rels><?xml version="1.0" encoding="UTF-8" standalone="yes"?>
<Relationships xmlns="http://schemas.openxmlformats.org/package/2006/relationships"><Relationship Id="rId3" Type="http://schemas.openxmlformats.org/officeDocument/2006/relationships/image" Target="../media/image73.emf"/><Relationship Id="rId2" Type="http://schemas.openxmlformats.org/officeDocument/2006/relationships/image" Target="../media/image72.emf"/><Relationship Id="rId1" Type="http://schemas.openxmlformats.org/officeDocument/2006/relationships/image" Target="../media/image7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70.vml.rels><?xml version="1.0" encoding="UTF-8" standalone="yes"?>
<Relationships xmlns="http://schemas.openxmlformats.org/package/2006/relationships"><Relationship Id="rId1" Type="http://schemas.openxmlformats.org/officeDocument/2006/relationships/image" Target="../media/image74.emf"/></Relationships>
</file>

<file path=ppt/drawings/_rels/vmlDrawing27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5.vml.rels><?xml version="1.0" encoding="UTF-8" standalone="yes"?>
<Relationships xmlns="http://schemas.openxmlformats.org/package/2006/relationships"><Relationship Id="rId1" Type="http://schemas.openxmlformats.org/officeDocument/2006/relationships/image" Target="../media/image70.emf"/></Relationships>
</file>

<file path=ppt/drawings/_rels/vmlDrawing278.vml.rels><?xml version="1.0" encoding="UTF-8" standalone="yes"?>
<Relationships xmlns="http://schemas.openxmlformats.org/package/2006/relationships"><Relationship Id="rId1" Type="http://schemas.openxmlformats.org/officeDocument/2006/relationships/image" Target="../media/image76.emf"/></Relationships>
</file>

<file path=ppt/drawings/_rels/vmlDrawing279.vml.rels><?xml version="1.0" encoding="UTF-8" standalone="yes"?>
<Relationships xmlns="http://schemas.openxmlformats.org/package/2006/relationships"><Relationship Id="rId1" Type="http://schemas.openxmlformats.org/officeDocument/2006/relationships/image" Target="../media/image77.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80.vml.rels><?xml version="1.0" encoding="UTF-8" standalone="yes"?>
<Relationships xmlns="http://schemas.openxmlformats.org/package/2006/relationships"><Relationship Id="rId3" Type="http://schemas.openxmlformats.org/officeDocument/2006/relationships/image" Target="../media/image80.emf"/><Relationship Id="rId2" Type="http://schemas.openxmlformats.org/officeDocument/2006/relationships/image" Target="../media/image79.emf"/><Relationship Id="rId1" Type="http://schemas.openxmlformats.org/officeDocument/2006/relationships/image" Target="../media/image78.emf"/></Relationships>
</file>

<file path=ppt/drawings/_rels/vmlDrawing282.vml.rels><?xml version="1.0" encoding="UTF-8" standalone="yes"?>
<Relationships xmlns="http://schemas.openxmlformats.org/package/2006/relationships"><Relationship Id="rId1" Type="http://schemas.openxmlformats.org/officeDocument/2006/relationships/image" Target="../media/image81.emf"/></Relationships>
</file>

<file path=ppt/drawings/_rels/vmlDrawing285.vml.rels><?xml version="1.0" encoding="UTF-8" standalone="yes"?>
<Relationships xmlns="http://schemas.openxmlformats.org/package/2006/relationships"><Relationship Id="rId1" Type="http://schemas.openxmlformats.org/officeDocument/2006/relationships/image" Target="../media/image97.emf"/></Relationships>
</file>

<file path=ppt/drawings/_rels/vmlDrawing286.vml.rels><?xml version="1.0" encoding="UTF-8" standalone="yes"?>
<Relationships xmlns="http://schemas.openxmlformats.org/package/2006/relationships"><Relationship Id="rId1" Type="http://schemas.openxmlformats.org/officeDocument/2006/relationships/image" Target="../media/image101.emf"/></Relationships>
</file>

<file path=ppt/drawings/_rels/vmlDrawing288.vml.rels><?xml version="1.0" encoding="UTF-8" standalone="yes"?>
<Relationships xmlns="http://schemas.openxmlformats.org/package/2006/relationships"><Relationship Id="rId1" Type="http://schemas.openxmlformats.org/officeDocument/2006/relationships/image" Target="../media/image114.emf"/></Relationships>
</file>

<file path=ppt/drawings/_rels/vmlDrawing289.vml.rels><?xml version="1.0" encoding="UTF-8" standalone="yes"?>
<Relationships xmlns="http://schemas.openxmlformats.org/package/2006/relationships"><Relationship Id="rId3" Type="http://schemas.openxmlformats.org/officeDocument/2006/relationships/image" Target="../media/image121.emf"/><Relationship Id="rId2" Type="http://schemas.openxmlformats.org/officeDocument/2006/relationships/image" Target="../media/image120.wmf"/><Relationship Id="rId1" Type="http://schemas.openxmlformats.org/officeDocument/2006/relationships/image" Target="../media/image119.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91.vml.rels><?xml version="1.0" encoding="UTF-8" standalone="yes"?>
<Relationships xmlns="http://schemas.openxmlformats.org/package/2006/relationships"><Relationship Id="rId1" Type="http://schemas.openxmlformats.org/officeDocument/2006/relationships/image" Target="../media/image70.emf"/></Relationships>
</file>

<file path=ppt/drawings/_rels/vmlDrawing29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9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94.vml.rels><?xml version="1.0" encoding="UTF-8" standalone="yes"?>
<Relationships xmlns="http://schemas.openxmlformats.org/package/2006/relationships"><Relationship Id="rId1" Type="http://schemas.openxmlformats.org/officeDocument/2006/relationships/image" Target="../media/image70.emf"/></Relationships>
</file>

<file path=ppt/drawings/_rels/vmlDrawing295.vml.rels><?xml version="1.0" encoding="UTF-8" standalone="yes"?>
<Relationships xmlns="http://schemas.openxmlformats.org/package/2006/relationships"><Relationship Id="rId1" Type="http://schemas.openxmlformats.org/officeDocument/2006/relationships/image" Target="../media/image151.emf"/></Relationships>
</file>

<file path=ppt/drawings/_rels/vmlDrawing29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97.vml.rels><?xml version="1.0" encoding="UTF-8" standalone="yes"?>
<Relationships xmlns="http://schemas.openxmlformats.org/package/2006/relationships"><Relationship Id="rId3" Type="http://schemas.openxmlformats.org/officeDocument/2006/relationships/image" Target="../media/image153.emf"/><Relationship Id="rId2" Type="http://schemas.openxmlformats.org/officeDocument/2006/relationships/image" Target="../media/image152.emf"/><Relationship Id="rId1" Type="http://schemas.openxmlformats.org/officeDocument/2006/relationships/image" Target="../media/image2.emf"/></Relationships>
</file>

<file path=ppt/drawings/_rels/vmlDrawing298.vml.rels><?xml version="1.0" encoding="UTF-8" standalone="yes"?>
<Relationships xmlns="http://schemas.openxmlformats.org/package/2006/relationships"><Relationship Id="rId1" Type="http://schemas.openxmlformats.org/officeDocument/2006/relationships/image" Target="../media/image162.emf"/></Relationships>
</file>

<file path=ppt/drawings/_rels/vmlDrawing299.vml.rels><?xml version="1.0" encoding="UTF-8" standalone="yes"?>
<Relationships xmlns="http://schemas.openxmlformats.org/package/2006/relationships"><Relationship Id="rId1" Type="http://schemas.openxmlformats.org/officeDocument/2006/relationships/image" Target="../media/image163.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0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01.vml.rels><?xml version="1.0" encoding="UTF-8" standalone="yes"?>
<Relationships xmlns="http://schemas.openxmlformats.org/package/2006/relationships"><Relationship Id="rId2" Type="http://schemas.openxmlformats.org/officeDocument/2006/relationships/image" Target="../media/image165.emf"/><Relationship Id="rId1" Type="http://schemas.openxmlformats.org/officeDocument/2006/relationships/image" Target="../media/image164.emf"/></Relationships>
</file>

<file path=ppt/drawings/_rels/vmlDrawing30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03.vml.rels><?xml version="1.0" encoding="UTF-8" standalone="yes"?>
<Relationships xmlns="http://schemas.openxmlformats.org/package/2006/relationships"><Relationship Id="rId1" Type="http://schemas.openxmlformats.org/officeDocument/2006/relationships/image" Target="../media/image70.emf"/></Relationships>
</file>

<file path=ppt/drawings/_rels/vmlDrawing304.vml.rels><?xml version="1.0" encoding="UTF-8" standalone="yes"?>
<Relationships xmlns="http://schemas.openxmlformats.org/package/2006/relationships"><Relationship Id="rId1" Type="http://schemas.openxmlformats.org/officeDocument/2006/relationships/image" Target="../media/image166.emf"/></Relationships>
</file>

<file path=ppt/drawings/_rels/vmlDrawing30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08.vml.rels><?xml version="1.0" encoding="UTF-8" standalone="yes"?>
<Relationships xmlns="http://schemas.openxmlformats.org/package/2006/relationships"><Relationship Id="rId1" Type="http://schemas.openxmlformats.org/officeDocument/2006/relationships/image" Target="../media/image70.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0.vml.rels><?xml version="1.0" encoding="UTF-8" standalone="yes"?>
<Relationships xmlns="http://schemas.openxmlformats.org/package/2006/relationships"><Relationship Id="rId1" Type="http://schemas.openxmlformats.org/officeDocument/2006/relationships/image" Target="../media/image54.emf"/></Relationships>
</file>

<file path=ppt/drawings/_rels/vmlDrawing312.vml.rels><?xml version="1.0" encoding="UTF-8" standalone="yes"?>
<Relationships xmlns="http://schemas.openxmlformats.org/package/2006/relationships"><Relationship Id="rId1" Type="http://schemas.openxmlformats.org/officeDocument/2006/relationships/image" Target="../media/image196.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6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6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6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6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8.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6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7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7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7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7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8.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7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8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8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8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8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8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8.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8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9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9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9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9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9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8.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99.vml.rels><?xml version="1.0" encoding="UTF-8" standalone="yes"?>
<Relationships xmlns="http://schemas.openxmlformats.org/package/2006/relationships"><Relationship Id="rId1" Type="http://schemas.openxmlformats.org/officeDocument/2006/relationships/image" Target="../media/image5.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5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76F8C2D-EB9F-4EE7-919A-6EAE1CAFF993}" type="datetimeFigureOut">
              <a:rPr lang="en-GB" smtClean="0"/>
              <a:t>21/05/2018</a:t>
            </a:fld>
            <a:endParaRPr lang="en-GB"/>
          </a:p>
        </p:txBody>
      </p:sp>
      <p:sp>
        <p:nvSpPr>
          <p:cNvPr id="4" name="Slide Image Placeholder 3"/>
          <p:cNvSpPr>
            <a:spLocks noGrp="1" noRot="1" noChangeAspect="1"/>
          </p:cNvSpPr>
          <p:nvPr>
            <p:ph type="sldImg" idx="2"/>
          </p:nvPr>
        </p:nvSpPr>
        <p:spPr>
          <a:xfrm>
            <a:off x="1371600" y="1143000"/>
            <a:ext cx="41148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B7FDE490-17BD-4717-B1B4-C221C62D9744}" type="slidenum">
              <a:rPr lang="en-GB" smtClean="0"/>
              <a:t>‹#›</a:t>
            </a:fld>
            <a:endParaRPr lang="en-GB"/>
          </a:p>
        </p:txBody>
      </p:sp>
    </p:spTree>
    <p:extLst>
      <p:ext uri="{BB962C8B-B14F-4D97-AF65-F5344CB8AC3E}">
        <p14:creationId xmlns:p14="http://schemas.microsoft.com/office/powerpoint/2010/main" val="184963051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3C3A632B-FBDE-46D4-BF6F-6D14421E6342}" type="slidenum">
              <a:rPr lang="en-US" smtClean="0"/>
              <a:pPr>
                <a:defRPr/>
              </a:pPr>
              <a:t>1</a:t>
            </a:fld>
            <a:endParaRPr lang="en-US" dirty="0"/>
          </a:p>
        </p:txBody>
      </p:sp>
    </p:spTree>
    <p:extLst>
      <p:ext uri="{BB962C8B-B14F-4D97-AF65-F5344CB8AC3E}">
        <p14:creationId xmlns:p14="http://schemas.microsoft.com/office/powerpoint/2010/main" val="17140427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23906" name="Rectangle 7"/>
          <p:cNvSpPr txBox="1">
            <a:spLocks noGrp="1" noChangeArrowheads="1"/>
          </p:cNvSpPr>
          <p:nvPr/>
        </p:nvSpPr>
        <p:spPr bwMode="gray">
          <a:xfrm>
            <a:off x="6258341" y="8873302"/>
            <a:ext cx="551622" cy="183155"/>
          </a:xfrm>
          <a:prstGeom prst="rect">
            <a:avLst/>
          </a:prstGeom>
          <a:noFill/>
          <a:ln w="9525">
            <a:noFill/>
            <a:miter lim="800000"/>
            <a:headEnd/>
            <a:tailEnd/>
          </a:ln>
        </p:spPr>
        <p:txBody>
          <a:bodyPr lIns="0" tIns="0" rIns="0" bIns="0" anchor="b">
            <a:spAutoFit/>
          </a:bodyPr>
          <a:lstStyle/>
          <a:p>
            <a:pPr algn="r" defTabSz="903491"/>
            <a:fld id="{B2F18A42-AEE4-4DF0-BD76-8930D06E8701}" type="slidenum">
              <a:rPr lang="en-US" sz="1200">
                <a:solidFill>
                  <a:srgbClr val="000000"/>
                </a:solidFill>
              </a:rPr>
              <a:pPr algn="r" defTabSz="903491"/>
              <a:t>12</a:t>
            </a:fld>
            <a:endParaRPr lang="en-US" sz="1200" dirty="0">
              <a:solidFill>
                <a:srgbClr val="000000"/>
              </a:solidFill>
            </a:endParaRPr>
          </a:p>
        </p:txBody>
      </p:sp>
      <p:sp>
        <p:nvSpPr>
          <p:cNvPr id="3323907" name="Rectangle 2"/>
          <p:cNvSpPr>
            <a:spLocks noGrp="1" noRot="1" noChangeAspect="1" noChangeArrowheads="1" noTextEdit="1"/>
          </p:cNvSpPr>
          <p:nvPr>
            <p:ph type="sldImg"/>
          </p:nvPr>
        </p:nvSpPr>
        <p:spPr>
          <a:xfrm>
            <a:off x="800100" y="581025"/>
            <a:ext cx="5416550" cy="4062413"/>
          </a:xfrm>
          <a:ln/>
        </p:spPr>
      </p:sp>
      <p:sp>
        <p:nvSpPr>
          <p:cNvPr id="3323908" name="Rectangle 3"/>
          <p:cNvSpPr>
            <a:spLocks noGrp="1" noChangeArrowheads="1"/>
          </p:cNvSpPr>
          <p:nvPr>
            <p:ph type="body" idx="1"/>
          </p:nvPr>
        </p:nvSpPr>
        <p:spPr>
          <a:xfrm>
            <a:off x="568191" y="4961357"/>
            <a:ext cx="5971760" cy="244206"/>
          </a:xfrm>
          <a:noFill/>
        </p:spPr>
        <p:txBody>
          <a:bodyPr/>
          <a:lstStyle/>
          <a:p>
            <a:pPr eaLnBrk="1" hangingPunct="1"/>
            <a:endParaRPr lang="en-US" dirty="0"/>
          </a:p>
        </p:txBody>
      </p:sp>
      <p:sp>
        <p:nvSpPr>
          <p:cNvPr id="2" name="Footer Placeholder 1"/>
          <p:cNvSpPr>
            <a:spLocks noGrp="1"/>
          </p:cNvSpPr>
          <p:nvPr>
            <p:ph type="ftr" sz="quarter" idx="10"/>
          </p:nvPr>
        </p:nvSpPr>
        <p:spPr/>
        <p:txBody>
          <a:bodyPr/>
          <a:lstStyle/>
          <a:p>
            <a:pPr>
              <a:defRPr/>
            </a:pPr>
            <a:endParaRPr lang="en-US" dirty="0">
              <a:solidFill>
                <a:srgbClr val="000000"/>
              </a:solidFill>
            </a:endParaRPr>
          </a:p>
        </p:txBody>
      </p:sp>
    </p:spTree>
    <p:extLst>
      <p:ext uri="{BB962C8B-B14F-4D97-AF65-F5344CB8AC3E}">
        <p14:creationId xmlns:p14="http://schemas.microsoft.com/office/powerpoint/2010/main" val="345265396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Rectangle 7"/>
          <p:cNvSpPr txBox="1">
            <a:spLocks noGrp="1" noChangeArrowheads="1"/>
          </p:cNvSpPr>
          <p:nvPr/>
        </p:nvSpPr>
        <p:spPr bwMode="auto">
          <a:xfrm>
            <a:off x="5546839" y="9796162"/>
            <a:ext cx="492615" cy="189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defTabSz="895350" eaLnBrk="0" hangingPunct="0">
              <a:buClr>
                <a:schemeClr val="tx2"/>
              </a:buClr>
              <a:defRPr sz="1600">
                <a:solidFill>
                  <a:schemeClr val="tx1"/>
                </a:solidFill>
                <a:latin typeface="Arial" charset="0"/>
              </a:defRPr>
            </a:lvl1pPr>
            <a:lvl2pPr marL="742950" indent="-741363" defTabSz="895350" eaLnBrk="0" hangingPunct="0">
              <a:buClr>
                <a:schemeClr val="tx2"/>
              </a:buClr>
              <a:buSzPct val="120000"/>
              <a:buFont typeface="Arial" charset="0"/>
              <a:buChar char="▪"/>
              <a:defRPr sz="1600">
                <a:solidFill>
                  <a:schemeClr val="tx1"/>
                </a:solidFill>
                <a:latin typeface="Arial" charset="0"/>
              </a:defRPr>
            </a:lvl2pPr>
            <a:lvl3pPr marL="1143000" indent="-1023938" defTabSz="895350" eaLnBrk="0" hangingPunct="0">
              <a:buClr>
                <a:schemeClr val="tx2"/>
              </a:buClr>
              <a:buSzPct val="120000"/>
              <a:buFont typeface="Arial" charset="0"/>
              <a:buChar char="–"/>
              <a:defRPr sz="1600">
                <a:solidFill>
                  <a:schemeClr val="tx1"/>
                </a:solidFill>
                <a:latin typeface="Arial" charset="0"/>
              </a:defRPr>
            </a:lvl3pPr>
            <a:lvl4pPr marL="1600200" indent="-1298575" defTabSz="895350" eaLnBrk="0" hangingPunct="0">
              <a:buClr>
                <a:schemeClr val="tx2"/>
              </a:buClr>
              <a:buFont typeface="Arial" charset="0"/>
              <a:buChar char="▫"/>
              <a:defRPr sz="1600">
                <a:solidFill>
                  <a:schemeClr val="tx1"/>
                </a:solidFill>
                <a:latin typeface="Arial" charset="0"/>
              </a:defRPr>
            </a:lvl4pPr>
            <a:lvl5pPr marL="2057400" indent="-1628775" defTabSz="895350" eaLnBrk="0" hangingPunct="0">
              <a:buClr>
                <a:schemeClr val="tx2"/>
              </a:buClr>
              <a:buSzPct val="89000"/>
              <a:buFont typeface="Arial" charset="0"/>
              <a:buChar char="-"/>
              <a:defRPr sz="1600">
                <a:solidFill>
                  <a:schemeClr val="tx1"/>
                </a:solidFill>
                <a:latin typeface="Arial" charset="0"/>
              </a:defRPr>
            </a:lvl5pPr>
            <a:lvl6pPr marL="2514600" indent="-1628775"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6pPr>
            <a:lvl7pPr marL="2971800" indent="-1628775"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7pPr>
            <a:lvl8pPr marL="3429000" indent="-1628775"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8pPr>
            <a:lvl9pPr marL="3886200" indent="-1628775"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9pPr>
          </a:lstStyle>
          <a:p>
            <a:pPr algn="r" eaLnBrk="1" hangingPunct="1">
              <a:buClrTx/>
            </a:pPr>
            <a:fld id="{3131F8CC-0893-4DEF-9CCE-C389AD18988C}" type="slidenum">
              <a:rPr lang="en-US" sz="1200">
                <a:solidFill>
                  <a:srgbClr val="000000"/>
                </a:solidFill>
              </a:rPr>
              <a:pPr algn="r" eaLnBrk="1" hangingPunct="1">
                <a:buClrTx/>
              </a:pPr>
              <a:t>14</a:t>
            </a:fld>
            <a:endParaRPr lang="en-US" sz="1200" dirty="0">
              <a:solidFill>
                <a:srgbClr val="000000"/>
              </a:solidFill>
            </a:endParaRPr>
          </a:p>
        </p:txBody>
      </p:sp>
      <p:sp>
        <p:nvSpPr>
          <p:cNvPr id="12291" name="Rectangle 2"/>
          <p:cNvSpPr>
            <a:spLocks noGrp="1" noRot="1" noChangeAspect="1" noChangeArrowheads="1" noTextEdit="1"/>
          </p:cNvSpPr>
          <p:nvPr>
            <p:ph type="sldImg"/>
          </p:nvPr>
        </p:nvSpPr>
        <p:spPr>
          <a:xfrm>
            <a:off x="-2711450" y="1314450"/>
            <a:ext cx="11599863" cy="8699500"/>
          </a:xfrm>
          <a:ln/>
        </p:spPr>
      </p:sp>
      <p:sp>
        <p:nvSpPr>
          <p:cNvPr id="12292" name="Rectangle 3"/>
          <p:cNvSpPr>
            <a:spLocks noGrp="1" noChangeArrowheads="1"/>
          </p:cNvSpPr>
          <p:nvPr>
            <p:ph type="body" idx="1"/>
          </p:nvPr>
        </p:nvSpPr>
        <p:spPr>
          <a:xfrm>
            <a:off x="741737" y="377457"/>
            <a:ext cx="5296307" cy="253183"/>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dirty="0"/>
          </a:p>
        </p:txBody>
      </p:sp>
    </p:spTree>
    <p:extLst>
      <p:ext uri="{BB962C8B-B14F-4D97-AF65-F5344CB8AC3E}">
        <p14:creationId xmlns:p14="http://schemas.microsoft.com/office/powerpoint/2010/main" val="77015449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Rectangle 7"/>
          <p:cNvSpPr txBox="1">
            <a:spLocks noGrp="1" noChangeArrowheads="1"/>
          </p:cNvSpPr>
          <p:nvPr/>
        </p:nvSpPr>
        <p:spPr bwMode="auto">
          <a:xfrm>
            <a:off x="5546839" y="9796162"/>
            <a:ext cx="492615" cy="189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defTabSz="895350" eaLnBrk="0" hangingPunct="0">
              <a:buClr>
                <a:schemeClr val="tx2"/>
              </a:buClr>
              <a:defRPr sz="1600">
                <a:solidFill>
                  <a:schemeClr val="tx1"/>
                </a:solidFill>
                <a:latin typeface="Arial" charset="0"/>
              </a:defRPr>
            </a:lvl1pPr>
            <a:lvl2pPr marL="742950" indent="-741363" defTabSz="895350" eaLnBrk="0" hangingPunct="0">
              <a:buClr>
                <a:schemeClr val="tx2"/>
              </a:buClr>
              <a:buSzPct val="120000"/>
              <a:buFont typeface="Arial" charset="0"/>
              <a:buChar char="▪"/>
              <a:defRPr sz="1600">
                <a:solidFill>
                  <a:schemeClr val="tx1"/>
                </a:solidFill>
                <a:latin typeface="Arial" charset="0"/>
              </a:defRPr>
            </a:lvl2pPr>
            <a:lvl3pPr marL="1143000" indent="-1023938" defTabSz="895350" eaLnBrk="0" hangingPunct="0">
              <a:buClr>
                <a:schemeClr val="tx2"/>
              </a:buClr>
              <a:buSzPct val="120000"/>
              <a:buFont typeface="Arial" charset="0"/>
              <a:buChar char="–"/>
              <a:defRPr sz="1600">
                <a:solidFill>
                  <a:schemeClr val="tx1"/>
                </a:solidFill>
                <a:latin typeface="Arial" charset="0"/>
              </a:defRPr>
            </a:lvl3pPr>
            <a:lvl4pPr marL="1600200" indent="-1298575" defTabSz="895350" eaLnBrk="0" hangingPunct="0">
              <a:buClr>
                <a:schemeClr val="tx2"/>
              </a:buClr>
              <a:buFont typeface="Arial" charset="0"/>
              <a:buChar char="▫"/>
              <a:defRPr sz="1600">
                <a:solidFill>
                  <a:schemeClr val="tx1"/>
                </a:solidFill>
                <a:latin typeface="Arial" charset="0"/>
              </a:defRPr>
            </a:lvl4pPr>
            <a:lvl5pPr marL="2057400" indent="-1628775" defTabSz="895350" eaLnBrk="0" hangingPunct="0">
              <a:buClr>
                <a:schemeClr val="tx2"/>
              </a:buClr>
              <a:buSzPct val="89000"/>
              <a:buFont typeface="Arial" charset="0"/>
              <a:buChar char="-"/>
              <a:defRPr sz="1600">
                <a:solidFill>
                  <a:schemeClr val="tx1"/>
                </a:solidFill>
                <a:latin typeface="Arial" charset="0"/>
              </a:defRPr>
            </a:lvl5pPr>
            <a:lvl6pPr marL="2514600" indent="-1628775"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6pPr>
            <a:lvl7pPr marL="2971800" indent="-1628775"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7pPr>
            <a:lvl8pPr marL="3429000" indent="-1628775"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8pPr>
            <a:lvl9pPr marL="3886200" indent="-1628775"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9pPr>
          </a:lstStyle>
          <a:p>
            <a:pPr algn="r" eaLnBrk="1" hangingPunct="1">
              <a:buClrTx/>
            </a:pPr>
            <a:fld id="{3131F8CC-0893-4DEF-9CCE-C389AD18988C}" type="slidenum">
              <a:rPr lang="en-US" sz="1200">
                <a:solidFill>
                  <a:srgbClr val="000000"/>
                </a:solidFill>
              </a:rPr>
              <a:pPr algn="r" eaLnBrk="1" hangingPunct="1">
                <a:buClrTx/>
              </a:pPr>
              <a:t>15</a:t>
            </a:fld>
            <a:endParaRPr lang="en-US" sz="1200" dirty="0">
              <a:solidFill>
                <a:srgbClr val="000000"/>
              </a:solidFill>
            </a:endParaRPr>
          </a:p>
        </p:txBody>
      </p:sp>
      <p:sp>
        <p:nvSpPr>
          <p:cNvPr id="12291" name="Rectangle 2"/>
          <p:cNvSpPr>
            <a:spLocks noGrp="1" noRot="1" noChangeAspect="1" noChangeArrowheads="1" noTextEdit="1"/>
          </p:cNvSpPr>
          <p:nvPr>
            <p:ph type="sldImg"/>
          </p:nvPr>
        </p:nvSpPr>
        <p:spPr>
          <a:xfrm>
            <a:off x="-2711450" y="1314450"/>
            <a:ext cx="11599863" cy="8699500"/>
          </a:xfrm>
          <a:ln/>
        </p:spPr>
      </p:sp>
      <p:sp>
        <p:nvSpPr>
          <p:cNvPr id="12292" name="Rectangle 3"/>
          <p:cNvSpPr>
            <a:spLocks noGrp="1" noChangeArrowheads="1"/>
          </p:cNvSpPr>
          <p:nvPr>
            <p:ph type="body" idx="1"/>
          </p:nvPr>
        </p:nvSpPr>
        <p:spPr>
          <a:xfrm>
            <a:off x="741737" y="377457"/>
            <a:ext cx="5296307" cy="253183"/>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dirty="0"/>
          </a:p>
        </p:txBody>
      </p:sp>
    </p:spTree>
    <p:extLst>
      <p:ext uri="{BB962C8B-B14F-4D97-AF65-F5344CB8AC3E}">
        <p14:creationId xmlns:p14="http://schemas.microsoft.com/office/powerpoint/2010/main" val="55694576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Rectangle 7"/>
          <p:cNvSpPr txBox="1">
            <a:spLocks noGrp="1" noChangeArrowheads="1"/>
          </p:cNvSpPr>
          <p:nvPr/>
        </p:nvSpPr>
        <p:spPr bwMode="auto">
          <a:xfrm>
            <a:off x="5546839" y="9796162"/>
            <a:ext cx="492615" cy="189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defTabSz="895350" eaLnBrk="0" hangingPunct="0">
              <a:buClr>
                <a:schemeClr val="tx2"/>
              </a:buClr>
              <a:defRPr sz="1600">
                <a:solidFill>
                  <a:schemeClr val="tx1"/>
                </a:solidFill>
                <a:latin typeface="Arial" charset="0"/>
              </a:defRPr>
            </a:lvl1pPr>
            <a:lvl2pPr marL="742950" indent="-741363" defTabSz="895350" eaLnBrk="0" hangingPunct="0">
              <a:buClr>
                <a:schemeClr val="tx2"/>
              </a:buClr>
              <a:buSzPct val="120000"/>
              <a:buFont typeface="Arial" charset="0"/>
              <a:buChar char="▪"/>
              <a:defRPr sz="1600">
                <a:solidFill>
                  <a:schemeClr val="tx1"/>
                </a:solidFill>
                <a:latin typeface="Arial" charset="0"/>
              </a:defRPr>
            </a:lvl2pPr>
            <a:lvl3pPr marL="1143000" indent="-1023938" defTabSz="895350" eaLnBrk="0" hangingPunct="0">
              <a:buClr>
                <a:schemeClr val="tx2"/>
              </a:buClr>
              <a:buSzPct val="120000"/>
              <a:buFont typeface="Arial" charset="0"/>
              <a:buChar char="–"/>
              <a:defRPr sz="1600">
                <a:solidFill>
                  <a:schemeClr val="tx1"/>
                </a:solidFill>
                <a:latin typeface="Arial" charset="0"/>
              </a:defRPr>
            </a:lvl3pPr>
            <a:lvl4pPr marL="1600200" indent="-1298575" defTabSz="895350" eaLnBrk="0" hangingPunct="0">
              <a:buClr>
                <a:schemeClr val="tx2"/>
              </a:buClr>
              <a:buFont typeface="Arial" charset="0"/>
              <a:buChar char="▫"/>
              <a:defRPr sz="1600">
                <a:solidFill>
                  <a:schemeClr val="tx1"/>
                </a:solidFill>
                <a:latin typeface="Arial" charset="0"/>
              </a:defRPr>
            </a:lvl4pPr>
            <a:lvl5pPr marL="2057400" indent="-1628775" defTabSz="895350" eaLnBrk="0" hangingPunct="0">
              <a:buClr>
                <a:schemeClr val="tx2"/>
              </a:buClr>
              <a:buSzPct val="89000"/>
              <a:buFont typeface="Arial" charset="0"/>
              <a:buChar char="-"/>
              <a:defRPr sz="1600">
                <a:solidFill>
                  <a:schemeClr val="tx1"/>
                </a:solidFill>
                <a:latin typeface="Arial" charset="0"/>
              </a:defRPr>
            </a:lvl5pPr>
            <a:lvl6pPr marL="2514600" indent="-1628775"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6pPr>
            <a:lvl7pPr marL="2971800" indent="-1628775"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7pPr>
            <a:lvl8pPr marL="3429000" indent="-1628775"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8pPr>
            <a:lvl9pPr marL="3886200" indent="-1628775"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9pPr>
          </a:lstStyle>
          <a:p>
            <a:pPr algn="r" eaLnBrk="1" hangingPunct="1">
              <a:buClrTx/>
            </a:pPr>
            <a:fld id="{3131F8CC-0893-4DEF-9CCE-C389AD18988C}" type="slidenum">
              <a:rPr lang="en-US" sz="1200">
                <a:solidFill>
                  <a:srgbClr val="000000"/>
                </a:solidFill>
              </a:rPr>
              <a:pPr algn="r" eaLnBrk="1" hangingPunct="1">
                <a:buClrTx/>
              </a:pPr>
              <a:t>16</a:t>
            </a:fld>
            <a:endParaRPr lang="en-US" sz="1200" dirty="0">
              <a:solidFill>
                <a:srgbClr val="000000"/>
              </a:solidFill>
            </a:endParaRPr>
          </a:p>
        </p:txBody>
      </p:sp>
      <p:sp>
        <p:nvSpPr>
          <p:cNvPr id="12291" name="Rectangle 2"/>
          <p:cNvSpPr>
            <a:spLocks noGrp="1" noRot="1" noChangeAspect="1" noChangeArrowheads="1" noTextEdit="1"/>
          </p:cNvSpPr>
          <p:nvPr>
            <p:ph type="sldImg"/>
          </p:nvPr>
        </p:nvSpPr>
        <p:spPr>
          <a:xfrm>
            <a:off x="-2711450" y="1314450"/>
            <a:ext cx="11599863" cy="8699500"/>
          </a:xfrm>
          <a:ln/>
        </p:spPr>
      </p:sp>
      <p:sp>
        <p:nvSpPr>
          <p:cNvPr id="12292" name="Rectangle 3"/>
          <p:cNvSpPr>
            <a:spLocks noGrp="1" noChangeArrowheads="1"/>
          </p:cNvSpPr>
          <p:nvPr>
            <p:ph type="body" idx="1"/>
          </p:nvPr>
        </p:nvSpPr>
        <p:spPr>
          <a:xfrm>
            <a:off x="741737" y="377457"/>
            <a:ext cx="5296307" cy="253183"/>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dirty="0"/>
          </a:p>
        </p:txBody>
      </p:sp>
    </p:spTree>
    <p:extLst>
      <p:ext uri="{BB962C8B-B14F-4D97-AF65-F5344CB8AC3E}">
        <p14:creationId xmlns:p14="http://schemas.microsoft.com/office/powerpoint/2010/main" val="39552070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Rectangle 7"/>
          <p:cNvSpPr>
            <a:spLocks noGrp="1" noChangeArrowheads="1"/>
          </p:cNvSpPr>
          <p:nvPr>
            <p:ph type="sldNum" sz="quarter" idx="5"/>
          </p:nvPr>
        </p:nvSpPr>
        <p:spPr>
          <a:xfrm>
            <a:off x="6066383" y="9494690"/>
            <a:ext cx="539269" cy="183369"/>
          </a:xfrm>
          <a:noFill/>
        </p:spPr>
        <p:txBody>
          <a:bodyPr/>
          <a:lstStyle>
            <a:lvl1pPr eaLnBrk="0" hangingPunct="0">
              <a:defRPr sz="1600">
                <a:solidFill>
                  <a:schemeClr val="tx1"/>
                </a:solidFill>
                <a:latin typeface="Arial" charset="0"/>
              </a:defRPr>
            </a:lvl1pPr>
            <a:lvl2pPr marL="735892" indent="-283035" eaLnBrk="0" hangingPunct="0">
              <a:defRPr sz="1600">
                <a:solidFill>
                  <a:schemeClr val="tx1"/>
                </a:solidFill>
                <a:latin typeface="Arial" charset="0"/>
              </a:defRPr>
            </a:lvl2pPr>
            <a:lvl3pPr marL="1132142" indent="-226428" eaLnBrk="0" hangingPunct="0">
              <a:defRPr sz="1600">
                <a:solidFill>
                  <a:schemeClr val="tx1"/>
                </a:solidFill>
                <a:latin typeface="Arial" charset="0"/>
              </a:defRPr>
            </a:lvl3pPr>
            <a:lvl4pPr marL="1584998" indent="-226428" eaLnBrk="0" hangingPunct="0">
              <a:defRPr sz="1600">
                <a:solidFill>
                  <a:schemeClr val="tx1"/>
                </a:solidFill>
                <a:latin typeface="Arial" charset="0"/>
              </a:defRPr>
            </a:lvl4pPr>
            <a:lvl5pPr marL="2037855" indent="-226428" eaLnBrk="0" hangingPunct="0">
              <a:defRPr sz="1600">
                <a:solidFill>
                  <a:schemeClr val="tx1"/>
                </a:solidFill>
                <a:latin typeface="Arial" charset="0"/>
              </a:defRPr>
            </a:lvl5pPr>
            <a:lvl6pPr marL="2490711" indent="-226428" eaLnBrk="0" fontAlgn="base" hangingPunct="0">
              <a:spcBef>
                <a:spcPct val="0"/>
              </a:spcBef>
              <a:spcAft>
                <a:spcPct val="0"/>
              </a:spcAft>
              <a:defRPr sz="1600">
                <a:solidFill>
                  <a:schemeClr val="tx1"/>
                </a:solidFill>
                <a:latin typeface="Arial" charset="0"/>
              </a:defRPr>
            </a:lvl6pPr>
            <a:lvl7pPr marL="2943568" indent="-226428" eaLnBrk="0" fontAlgn="base" hangingPunct="0">
              <a:spcBef>
                <a:spcPct val="0"/>
              </a:spcBef>
              <a:spcAft>
                <a:spcPct val="0"/>
              </a:spcAft>
              <a:defRPr sz="1600">
                <a:solidFill>
                  <a:schemeClr val="tx1"/>
                </a:solidFill>
                <a:latin typeface="Arial" charset="0"/>
              </a:defRPr>
            </a:lvl7pPr>
            <a:lvl8pPr marL="3396425" indent="-226428" eaLnBrk="0" fontAlgn="base" hangingPunct="0">
              <a:spcBef>
                <a:spcPct val="0"/>
              </a:spcBef>
              <a:spcAft>
                <a:spcPct val="0"/>
              </a:spcAft>
              <a:defRPr sz="1600">
                <a:solidFill>
                  <a:schemeClr val="tx1"/>
                </a:solidFill>
                <a:latin typeface="Arial" charset="0"/>
              </a:defRPr>
            </a:lvl8pPr>
            <a:lvl9pPr marL="3849281" indent="-226428" eaLnBrk="0" fontAlgn="base" hangingPunct="0">
              <a:spcBef>
                <a:spcPct val="0"/>
              </a:spcBef>
              <a:spcAft>
                <a:spcPct val="0"/>
              </a:spcAft>
              <a:defRPr sz="1600">
                <a:solidFill>
                  <a:schemeClr val="tx1"/>
                </a:solidFill>
                <a:latin typeface="Arial" charset="0"/>
              </a:defRPr>
            </a:lvl9pPr>
          </a:lstStyle>
          <a:p>
            <a:pPr eaLnBrk="1" hangingPunct="1"/>
            <a:fld id="{A32C2DEB-D949-4B45-BBCA-1A46194AA2CB}" type="slidenum">
              <a:rPr lang="en-GB" sz="1200"/>
              <a:pPr eaLnBrk="1" hangingPunct="1"/>
              <a:t>18</a:t>
            </a:fld>
            <a:endParaRPr lang="en-GB" sz="1200" dirty="0"/>
          </a:p>
        </p:txBody>
      </p:sp>
      <p:sp>
        <p:nvSpPr>
          <p:cNvPr id="12291" name="Rectangle 2"/>
          <p:cNvSpPr>
            <a:spLocks noGrp="1" noRot="1" noChangeAspect="1" noChangeArrowheads="1" noTextEdit="1"/>
          </p:cNvSpPr>
          <p:nvPr>
            <p:ph type="sldImg"/>
          </p:nvPr>
        </p:nvSpPr>
        <p:spPr>
          <a:ln/>
        </p:spPr>
      </p:sp>
      <p:sp>
        <p:nvSpPr>
          <p:cNvPr id="12292" name="Rectangle 3"/>
          <p:cNvSpPr>
            <a:spLocks noGrp="1" noChangeArrowheads="1"/>
          </p:cNvSpPr>
          <p:nvPr>
            <p:ph type="body" idx="1"/>
          </p:nvPr>
        </p:nvSpPr>
        <p:spPr>
          <a:xfrm>
            <a:off x="529529" y="5689764"/>
            <a:ext cx="5572370" cy="244491"/>
          </a:xfrm>
          <a:noFill/>
        </p:spPr>
        <p:txBody>
          <a:bodyPr/>
          <a:lstStyle/>
          <a:p>
            <a:pPr eaLnBrk="1" hangingPunct="1"/>
            <a:endParaRPr lang="en-GB" dirty="0"/>
          </a:p>
        </p:txBody>
      </p:sp>
    </p:spTree>
    <p:extLst>
      <p:ext uri="{BB962C8B-B14F-4D97-AF65-F5344CB8AC3E}">
        <p14:creationId xmlns:p14="http://schemas.microsoft.com/office/powerpoint/2010/main" val="341185022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3C3A632B-FBDE-46D4-BF6F-6D14421E6342}" type="slidenum">
              <a:rPr lang="en-US" smtClean="0"/>
              <a:pPr>
                <a:defRPr/>
              </a:pPr>
              <a:t>19</a:t>
            </a:fld>
            <a:endParaRPr lang="en-US" dirty="0"/>
          </a:p>
        </p:txBody>
      </p:sp>
    </p:spTree>
    <p:extLst>
      <p:ext uri="{BB962C8B-B14F-4D97-AF65-F5344CB8AC3E}">
        <p14:creationId xmlns:p14="http://schemas.microsoft.com/office/powerpoint/2010/main" val="202059554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3778" name="Rectangle 7"/>
          <p:cNvSpPr txBox="1">
            <a:spLocks noGrp="1" noChangeArrowheads="1"/>
          </p:cNvSpPr>
          <p:nvPr/>
        </p:nvSpPr>
        <p:spPr bwMode="gray">
          <a:xfrm>
            <a:off x="6018657" y="9527129"/>
            <a:ext cx="53382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defTabSz="909638" eaLnBrk="0" hangingPunct="0">
              <a:defRPr b="1">
                <a:solidFill>
                  <a:schemeClr val="tx1"/>
                </a:solidFill>
                <a:latin typeface="Arial" charset="0"/>
                <a:cs typeface="Arial" charset="0"/>
              </a:defRPr>
            </a:lvl1pPr>
            <a:lvl2pPr marL="735013" indent="-282575" defTabSz="909638" eaLnBrk="0" hangingPunct="0">
              <a:defRPr b="1">
                <a:solidFill>
                  <a:schemeClr val="tx1"/>
                </a:solidFill>
                <a:latin typeface="Arial" charset="0"/>
                <a:cs typeface="Arial" charset="0"/>
              </a:defRPr>
            </a:lvl2pPr>
            <a:lvl3pPr marL="1131888" indent="-225425" defTabSz="909638" eaLnBrk="0" hangingPunct="0">
              <a:defRPr b="1">
                <a:solidFill>
                  <a:schemeClr val="tx1"/>
                </a:solidFill>
                <a:latin typeface="Arial" charset="0"/>
                <a:cs typeface="Arial" charset="0"/>
              </a:defRPr>
            </a:lvl3pPr>
            <a:lvl4pPr marL="1584325" indent="-225425" defTabSz="909638" eaLnBrk="0" hangingPunct="0">
              <a:defRPr b="1">
                <a:solidFill>
                  <a:schemeClr val="tx1"/>
                </a:solidFill>
                <a:latin typeface="Arial" charset="0"/>
                <a:cs typeface="Arial" charset="0"/>
              </a:defRPr>
            </a:lvl4pPr>
            <a:lvl5pPr marL="2036763" indent="-225425" defTabSz="909638" eaLnBrk="0" hangingPunct="0">
              <a:defRPr b="1">
                <a:solidFill>
                  <a:schemeClr val="tx1"/>
                </a:solidFill>
                <a:latin typeface="Arial" charset="0"/>
                <a:cs typeface="Arial" charset="0"/>
              </a:defRPr>
            </a:lvl5pPr>
            <a:lvl6pPr marL="2493963" indent="-225425" defTabSz="909638" eaLnBrk="0" fontAlgn="base" hangingPunct="0">
              <a:spcBef>
                <a:spcPct val="0"/>
              </a:spcBef>
              <a:spcAft>
                <a:spcPct val="0"/>
              </a:spcAft>
              <a:defRPr b="1">
                <a:solidFill>
                  <a:schemeClr val="tx1"/>
                </a:solidFill>
                <a:latin typeface="Arial" charset="0"/>
                <a:cs typeface="Arial" charset="0"/>
              </a:defRPr>
            </a:lvl6pPr>
            <a:lvl7pPr marL="2951163" indent="-225425" defTabSz="909638" eaLnBrk="0" fontAlgn="base" hangingPunct="0">
              <a:spcBef>
                <a:spcPct val="0"/>
              </a:spcBef>
              <a:spcAft>
                <a:spcPct val="0"/>
              </a:spcAft>
              <a:defRPr b="1">
                <a:solidFill>
                  <a:schemeClr val="tx1"/>
                </a:solidFill>
                <a:latin typeface="Arial" charset="0"/>
                <a:cs typeface="Arial" charset="0"/>
              </a:defRPr>
            </a:lvl7pPr>
            <a:lvl8pPr marL="3408363" indent="-225425" defTabSz="909638" eaLnBrk="0" fontAlgn="base" hangingPunct="0">
              <a:spcBef>
                <a:spcPct val="0"/>
              </a:spcBef>
              <a:spcAft>
                <a:spcPct val="0"/>
              </a:spcAft>
              <a:defRPr b="1">
                <a:solidFill>
                  <a:schemeClr val="tx1"/>
                </a:solidFill>
                <a:latin typeface="Arial" charset="0"/>
                <a:cs typeface="Arial" charset="0"/>
              </a:defRPr>
            </a:lvl8pPr>
            <a:lvl9pPr marL="3865563" indent="-225425" defTabSz="909638" eaLnBrk="0" fontAlgn="base" hangingPunct="0">
              <a:spcBef>
                <a:spcPct val="0"/>
              </a:spcBef>
              <a:spcAft>
                <a:spcPct val="0"/>
              </a:spcAft>
              <a:defRPr b="1">
                <a:solidFill>
                  <a:schemeClr val="tx1"/>
                </a:solidFill>
                <a:latin typeface="Arial" charset="0"/>
                <a:cs typeface="Arial" charset="0"/>
              </a:defRPr>
            </a:lvl9pPr>
          </a:lstStyle>
          <a:p>
            <a:pPr algn="r" eaLnBrk="1" hangingPunct="1"/>
            <a:fld id="{86BD7F55-48EE-4E11-99AB-B84FEA3483F4}" type="slidenum">
              <a:rPr lang="en-US" sz="1200" b="0"/>
              <a:pPr algn="r" eaLnBrk="1" hangingPunct="1"/>
              <a:t>20</a:t>
            </a:fld>
            <a:endParaRPr lang="en-US" sz="1200" b="0"/>
          </a:p>
        </p:txBody>
      </p:sp>
      <p:sp>
        <p:nvSpPr>
          <p:cNvPr id="203779" name="Rectangle 7"/>
          <p:cNvSpPr txBox="1">
            <a:spLocks noGrp="1" noChangeArrowheads="1"/>
          </p:cNvSpPr>
          <p:nvPr/>
        </p:nvSpPr>
        <p:spPr bwMode="auto">
          <a:xfrm>
            <a:off x="6018657" y="9527129"/>
            <a:ext cx="535417"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defTabSz="909638" eaLnBrk="0" hangingPunct="0">
              <a:defRPr b="1">
                <a:solidFill>
                  <a:schemeClr val="tx1"/>
                </a:solidFill>
                <a:latin typeface="Arial" charset="0"/>
                <a:cs typeface="Arial" charset="0"/>
              </a:defRPr>
            </a:lvl1pPr>
            <a:lvl2pPr marL="735013" indent="-282575" defTabSz="909638" eaLnBrk="0" hangingPunct="0">
              <a:defRPr b="1">
                <a:solidFill>
                  <a:schemeClr val="tx1"/>
                </a:solidFill>
                <a:latin typeface="Arial" charset="0"/>
                <a:cs typeface="Arial" charset="0"/>
              </a:defRPr>
            </a:lvl2pPr>
            <a:lvl3pPr marL="1131888" indent="-225425" defTabSz="909638" eaLnBrk="0" hangingPunct="0">
              <a:defRPr b="1">
                <a:solidFill>
                  <a:schemeClr val="tx1"/>
                </a:solidFill>
                <a:latin typeface="Arial" charset="0"/>
                <a:cs typeface="Arial" charset="0"/>
              </a:defRPr>
            </a:lvl3pPr>
            <a:lvl4pPr marL="1584325" indent="-225425" defTabSz="909638" eaLnBrk="0" hangingPunct="0">
              <a:defRPr b="1">
                <a:solidFill>
                  <a:schemeClr val="tx1"/>
                </a:solidFill>
                <a:latin typeface="Arial" charset="0"/>
                <a:cs typeface="Arial" charset="0"/>
              </a:defRPr>
            </a:lvl4pPr>
            <a:lvl5pPr marL="2036763" indent="-225425" defTabSz="909638" eaLnBrk="0" hangingPunct="0">
              <a:defRPr b="1">
                <a:solidFill>
                  <a:schemeClr val="tx1"/>
                </a:solidFill>
                <a:latin typeface="Arial" charset="0"/>
                <a:cs typeface="Arial" charset="0"/>
              </a:defRPr>
            </a:lvl5pPr>
            <a:lvl6pPr marL="2493963" indent="-225425" defTabSz="909638" eaLnBrk="0" fontAlgn="base" hangingPunct="0">
              <a:spcBef>
                <a:spcPct val="0"/>
              </a:spcBef>
              <a:spcAft>
                <a:spcPct val="0"/>
              </a:spcAft>
              <a:defRPr b="1">
                <a:solidFill>
                  <a:schemeClr val="tx1"/>
                </a:solidFill>
                <a:latin typeface="Arial" charset="0"/>
                <a:cs typeface="Arial" charset="0"/>
              </a:defRPr>
            </a:lvl6pPr>
            <a:lvl7pPr marL="2951163" indent="-225425" defTabSz="909638" eaLnBrk="0" fontAlgn="base" hangingPunct="0">
              <a:spcBef>
                <a:spcPct val="0"/>
              </a:spcBef>
              <a:spcAft>
                <a:spcPct val="0"/>
              </a:spcAft>
              <a:defRPr b="1">
                <a:solidFill>
                  <a:schemeClr val="tx1"/>
                </a:solidFill>
                <a:latin typeface="Arial" charset="0"/>
                <a:cs typeface="Arial" charset="0"/>
              </a:defRPr>
            </a:lvl7pPr>
            <a:lvl8pPr marL="3408363" indent="-225425" defTabSz="909638" eaLnBrk="0" fontAlgn="base" hangingPunct="0">
              <a:spcBef>
                <a:spcPct val="0"/>
              </a:spcBef>
              <a:spcAft>
                <a:spcPct val="0"/>
              </a:spcAft>
              <a:defRPr b="1">
                <a:solidFill>
                  <a:schemeClr val="tx1"/>
                </a:solidFill>
                <a:latin typeface="Arial" charset="0"/>
                <a:cs typeface="Arial" charset="0"/>
              </a:defRPr>
            </a:lvl8pPr>
            <a:lvl9pPr marL="3865563" indent="-225425" defTabSz="909638" eaLnBrk="0" fontAlgn="base" hangingPunct="0">
              <a:spcBef>
                <a:spcPct val="0"/>
              </a:spcBef>
              <a:spcAft>
                <a:spcPct val="0"/>
              </a:spcAft>
              <a:defRPr b="1">
                <a:solidFill>
                  <a:schemeClr val="tx1"/>
                </a:solidFill>
                <a:latin typeface="Arial" charset="0"/>
                <a:cs typeface="Arial" charset="0"/>
              </a:defRPr>
            </a:lvl9pPr>
          </a:lstStyle>
          <a:p>
            <a:pPr algn="r" eaLnBrk="1" hangingPunct="1"/>
            <a:fld id="{D02A33CE-324C-43F6-BED4-4DBDF0488422}" type="slidenum">
              <a:rPr lang="en-US" sz="1200" b="0"/>
              <a:pPr algn="r" eaLnBrk="1" hangingPunct="1"/>
              <a:t>20</a:t>
            </a:fld>
            <a:endParaRPr lang="en-US" sz="1200" b="0"/>
          </a:p>
        </p:txBody>
      </p:sp>
      <p:sp>
        <p:nvSpPr>
          <p:cNvPr id="203780" name="Rectangle 2"/>
          <p:cNvSpPr>
            <a:spLocks noGrp="1" noRot="1" noChangeAspect="1" noChangeArrowheads="1" noTextEdit="1"/>
          </p:cNvSpPr>
          <p:nvPr>
            <p:ph type="sldImg"/>
          </p:nvPr>
        </p:nvSpPr>
        <p:spPr>
          <a:xfrm>
            <a:off x="-2292350" y="1276350"/>
            <a:ext cx="11283950" cy="8462963"/>
          </a:xfrm>
          <a:ln/>
        </p:spPr>
      </p:sp>
      <p:sp>
        <p:nvSpPr>
          <p:cNvPr id="203781" name="Rectangle 3"/>
          <p:cNvSpPr>
            <a:spLocks noGrp="1" noChangeArrowheads="1"/>
          </p:cNvSpPr>
          <p:nvPr>
            <p:ph type="body" idx="1"/>
          </p:nvPr>
        </p:nvSpPr>
        <p:spPr>
          <a:xfrm>
            <a:off x="537011" y="355784"/>
            <a:ext cx="3996503" cy="246221"/>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0" indent="0">
              <a:buNone/>
            </a:pPr>
            <a:endParaRPr lang="en-US" sz="1600" dirty="0"/>
          </a:p>
        </p:txBody>
      </p:sp>
      <p:sp>
        <p:nvSpPr>
          <p:cNvPr id="203782" name="McK Separator"/>
          <p:cNvSpPr>
            <a:spLocks noChangeShapeType="1"/>
          </p:cNvSpPr>
          <p:nvPr/>
        </p:nvSpPr>
        <p:spPr bwMode="auto">
          <a:xfrm>
            <a:off x="554538" y="1511691"/>
            <a:ext cx="5502363"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Tree>
    <p:extLst>
      <p:ext uri="{BB962C8B-B14F-4D97-AF65-F5344CB8AC3E}">
        <p14:creationId xmlns:p14="http://schemas.microsoft.com/office/powerpoint/2010/main" val="131755708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6" name="Rectangle 7"/>
          <p:cNvSpPr txBox="1">
            <a:spLocks noGrp="1" noChangeArrowheads="1"/>
          </p:cNvSpPr>
          <p:nvPr/>
        </p:nvSpPr>
        <p:spPr bwMode="gray">
          <a:xfrm>
            <a:off x="7296684" y="6698283"/>
            <a:ext cx="646540" cy="18961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defTabSz="917575" eaLnBrk="0" hangingPunct="0">
              <a:defRPr sz="1600" baseline="30000">
                <a:solidFill>
                  <a:schemeClr val="tx1"/>
                </a:solidFill>
                <a:latin typeface="Arial" charset="0"/>
                <a:cs typeface="Arial" charset="0"/>
              </a:defRPr>
            </a:lvl1pPr>
            <a:lvl2pPr marL="742950" indent="-285750" defTabSz="917575" eaLnBrk="0" hangingPunct="0">
              <a:defRPr sz="1600" baseline="30000">
                <a:solidFill>
                  <a:schemeClr val="tx1"/>
                </a:solidFill>
                <a:latin typeface="Arial" charset="0"/>
                <a:cs typeface="Arial" charset="0"/>
              </a:defRPr>
            </a:lvl2pPr>
            <a:lvl3pPr marL="1143000" indent="-228600" defTabSz="917575" eaLnBrk="0" hangingPunct="0">
              <a:defRPr sz="1600" baseline="30000">
                <a:solidFill>
                  <a:schemeClr val="tx1"/>
                </a:solidFill>
                <a:latin typeface="Arial" charset="0"/>
                <a:cs typeface="Arial" charset="0"/>
              </a:defRPr>
            </a:lvl3pPr>
            <a:lvl4pPr marL="1600200" indent="-228600" defTabSz="917575" eaLnBrk="0" hangingPunct="0">
              <a:defRPr sz="1600" baseline="30000">
                <a:solidFill>
                  <a:schemeClr val="tx1"/>
                </a:solidFill>
                <a:latin typeface="Arial" charset="0"/>
                <a:cs typeface="Arial" charset="0"/>
              </a:defRPr>
            </a:lvl4pPr>
            <a:lvl5pPr marL="2057400" indent="-228600" defTabSz="917575" eaLnBrk="0" hangingPunct="0">
              <a:defRPr sz="1600" baseline="30000">
                <a:solidFill>
                  <a:schemeClr val="tx1"/>
                </a:solidFill>
                <a:latin typeface="Arial" charset="0"/>
                <a:cs typeface="Arial" charset="0"/>
              </a:defRPr>
            </a:lvl5pPr>
            <a:lvl6pPr marL="2514600" indent="-228600" defTabSz="917575" eaLnBrk="0" fontAlgn="base" hangingPunct="0">
              <a:spcBef>
                <a:spcPct val="0"/>
              </a:spcBef>
              <a:spcAft>
                <a:spcPct val="0"/>
              </a:spcAft>
              <a:defRPr sz="1600" baseline="30000">
                <a:solidFill>
                  <a:schemeClr val="tx1"/>
                </a:solidFill>
                <a:latin typeface="Arial" charset="0"/>
                <a:cs typeface="Arial" charset="0"/>
              </a:defRPr>
            </a:lvl6pPr>
            <a:lvl7pPr marL="2971800" indent="-228600" defTabSz="917575" eaLnBrk="0" fontAlgn="base" hangingPunct="0">
              <a:spcBef>
                <a:spcPct val="0"/>
              </a:spcBef>
              <a:spcAft>
                <a:spcPct val="0"/>
              </a:spcAft>
              <a:defRPr sz="1600" baseline="30000">
                <a:solidFill>
                  <a:schemeClr val="tx1"/>
                </a:solidFill>
                <a:latin typeface="Arial" charset="0"/>
                <a:cs typeface="Arial" charset="0"/>
              </a:defRPr>
            </a:lvl7pPr>
            <a:lvl8pPr marL="3429000" indent="-228600" defTabSz="917575" eaLnBrk="0" fontAlgn="base" hangingPunct="0">
              <a:spcBef>
                <a:spcPct val="0"/>
              </a:spcBef>
              <a:spcAft>
                <a:spcPct val="0"/>
              </a:spcAft>
              <a:defRPr sz="1600" baseline="30000">
                <a:solidFill>
                  <a:schemeClr val="tx1"/>
                </a:solidFill>
                <a:latin typeface="Arial" charset="0"/>
                <a:cs typeface="Arial" charset="0"/>
              </a:defRPr>
            </a:lvl8pPr>
            <a:lvl9pPr marL="3886200" indent="-228600" defTabSz="917575" eaLnBrk="0" fontAlgn="base" hangingPunct="0">
              <a:spcBef>
                <a:spcPct val="0"/>
              </a:spcBef>
              <a:spcAft>
                <a:spcPct val="0"/>
              </a:spcAft>
              <a:defRPr sz="1600" baseline="30000">
                <a:solidFill>
                  <a:schemeClr val="tx1"/>
                </a:solidFill>
                <a:latin typeface="Arial" charset="0"/>
                <a:cs typeface="Arial" charset="0"/>
              </a:defRPr>
            </a:lvl9pPr>
          </a:lstStyle>
          <a:p>
            <a:pPr algn="r" eaLnBrk="1" hangingPunct="1"/>
            <a:fld id="{62604411-4E05-4436-88BB-FA616B8F14C6}" type="slidenum">
              <a:rPr lang="en-US" sz="1200" baseline="0">
                <a:solidFill>
                  <a:prstClr val="black"/>
                </a:solidFill>
              </a:rPr>
              <a:pPr algn="r" eaLnBrk="1" hangingPunct="1"/>
              <a:t>21</a:t>
            </a:fld>
            <a:endParaRPr lang="en-US" sz="1200" baseline="0" dirty="0">
              <a:solidFill>
                <a:prstClr val="black"/>
              </a:solidFill>
            </a:endParaRPr>
          </a:p>
        </p:txBody>
      </p:sp>
      <p:sp>
        <p:nvSpPr>
          <p:cNvPr id="36867" name="Rectangle 7"/>
          <p:cNvSpPr txBox="1">
            <a:spLocks noGrp="1" noChangeArrowheads="1"/>
          </p:cNvSpPr>
          <p:nvPr/>
        </p:nvSpPr>
        <p:spPr bwMode="auto">
          <a:xfrm>
            <a:off x="7296684" y="6698283"/>
            <a:ext cx="646540" cy="1896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defTabSz="925513" eaLnBrk="0" hangingPunct="0">
              <a:defRPr sz="1600" baseline="30000">
                <a:solidFill>
                  <a:schemeClr val="tx1"/>
                </a:solidFill>
                <a:latin typeface="Arial" charset="0"/>
                <a:cs typeface="Arial" charset="0"/>
              </a:defRPr>
            </a:lvl1pPr>
            <a:lvl2pPr marL="742950" indent="-285750" defTabSz="925513" eaLnBrk="0" hangingPunct="0">
              <a:defRPr sz="1600" baseline="30000">
                <a:solidFill>
                  <a:schemeClr val="tx1"/>
                </a:solidFill>
                <a:latin typeface="Arial" charset="0"/>
                <a:cs typeface="Arial" charset="0"/>
              </a:defRPr>
            </a:lvl2pPr>
            <a:lvl3pPr marL="1143000" indent="-228600" defTabSz="925513" eaLnBrk="0" hangingPunct="0">
              <a:defRPr sz="1600" baseline="30000">
                <a:solidFill>
                  <a:schemeClr val="tx1"/>
                </a:solidFill>
                <a:latin typeface="Arial" charset="0"/>
                <a:cs typeface="Arial" charset="0"/>
              </a:defRPr>
            </a:lvl3pPr>
            <a:lvl4pPr marL="1600200" indent="-228600" defTabSz="925513" eaLnBrk="0" hangingPunct="0">
              <a:defRPr sz="1600" baseline="30000">
                <a:solidFill>
                  <a:schemeClr val="tx1"/>
                </a:solidFill>
                <a:latin typeface="Arial" charset="0"/>
                <a:cs typeface="Arial" charset="0"/>
              </a:defRPr>
            </a:lvl4pPr>
            <a:lvl5pPr marL="2057400" indent="-228600" defTabSz="925513" eaLnBrk="0" hangingPunct="0">
              <a:defRPr sz="1600" baseline="30000">
                <a:solidFill>
                  <a:schemeClr val="tx1"/>
                </a:solidFill>
                <a:latin typeface="Arial" charset="0"/>
                <a:cs typeface="Arial" charset="0"/>
              </a:defRPr>
            </a:lvl5pPr>
            <a:lvl6pPr marL="2514600" indent="-228600" defTabSz="925513" eaLnBrk="0" fontAlgn="base" hangingPunct="0">
              <a:spcBef>
                <a:spcPct val="0"/>
              </a:spcBef>
              <a:spcAft>
                <a:spcPct val="0"/>
              </a:spcAft>
              <a:defRPr sz="1600" baseline="30000">
                <a:solidFill>
                  <a:schemeClr val="tx1"/>
                </a:solidFill>
                <a:latin typeface="Arial" charset="0"/>
                <a:cs typeface="Arial" charset="0"/>
              </a:defRPr>
            </a:lvl6pPr>
            <a:lvl7pPr marL="2971800" indent="-228600" defTabSz="925513" eaLnBrk="0" fontAlgn="base" hangingPunct="0">
              <a:spcBef>
                <a:spcPct val="0"/>
              </a:spcBef>
              <a:spcAft>
                <a:spcPct val="0"/>
              </a:spcAft>
              <a:defRPr sz="1600" baseline="30000">
                <a:solidFill>
                  <a:schemeClr val="tx1"/>
                </a:solidFill>
                <a:latin typeface="Arial" charset="0"/>
                <a:cs typeface="Arial" charset="0"/>
              </a:defRPr>
            </a:lvl7pPr>
            <a:lvl8pPr marL="3429000" indent="-228600" defTabSz="925513" eaLnBrk="0" fontAlgn="base" hangingPunct="0">
              <a:spcBef>
                <a:spcPct val="0"/>
              </a:spcBef>
              <a:spcAft>
                <a:spcPct val="0"/>
              </a:spcAft>
              <a:defRPr sz="1600" baseline="30000">
                <a:solidFill>
                  <a:schemeClr val="tx1"/>
                </a:solidFill>
                <a:latin typeface="Arial" charset="0"/>
                <a:cs typeface="Arial" charset="0"/>
              </a:defRPr>
            </a:lvl8pPr>
            <a:lvl9pPr marL="3886200" indent="-228600" defTabSz="925513" eaLnBrk="0" fontAlgn="base" hangingPunct="0">
              <a:spcBef>
                <a:spcPct val="0"/>
              </a:spcBef>
              <a:spcAft>
                <a:spcPct val="0"/>
              </a:spcAft>
              <a:defRPr sz="1600" baseline="30000">
                <a:solidFill>
                  <a:schemeClr val="tx1"/>
                </a:solidFill>
                <a:latin typeface="Arial" charset="0"/>
                <a:cs typeface="Arial" charset="0"/>
              </a:defRPr>
            </a:lvl9pPr>
          </a:lstStyle>
          <a:p>
            <a:pPr algn="r" eaLnBrk="1" hangingPunct="1"/>
            <a:fld id="{F64C8B41-129D-4DE9-A8A3-AF5B479D86CF}" type="slidenum">
              <a:rPr lang="en-US" sz="1200" baseline="0">
                <a:solidFill>
                  <a:prstClr val="black"/>
                </a:solidFill>
              </a:rPr>
              <a:pPr algn="r" eaLnBrk="1" hangingPunct="1"/>
              <a:t>21</a:t>
            </a:fld>
            <a:endParaRPr lang="en-US" sz="1200" baseline="0" dirty="0">
              <a:solidFill>
                <a:prstClr val="black"/>
              </a:solidFill>
            </a:endParaRPr>
          </a:p>
        </p:txBody>
      </p:sp>
      <p:sp>
        <p:nvSpPr>
          <p:cNvPr id="36868" name="Rectangle 2"/>
          <p:cNvSpPr>
            <a:spLocks noGrp="1" noRot="1" noChangeAspect="1" noChangeArrowheads="1" noTextEdit="1"/>
          </p:cNvSpPr>
          <p:nvPr>
            <p:ph type="sldImg"/>
          </p:nvPr>
        </p:nvSpPr>
        <p:spPr>
          <a:xfrm>
            <a:off x="2033588" y="444500"/>
            <a:ext cx="4116387" cy="3089275"/>
          </a:xfrm>
          <a:ln/>
        </p:spPr>
      </p:sp>
      <p:sp>
        <p:nvSpPr>
          <p:cNvPr id="36869" name="Rectangle 3"/>
          <p:cNvSpPr>
            <a:spLocks noGrp="1" noChangeArrowheads="1"/>
          </p:cNvSpPr>
          <p:nvPr>
            <p:ph type="body" idx="1"/>
          </p:nvPr>
        </p:nvSpPr>
        <p:spPr>
          <a:xfrm>
            <a:off x="663175" y="3772717"/>
            <a:ext cx="6966015" cy="252819"/>
          </a:xfrm>
          <a:noFill/>
        </p:spPr>
        <p:txBody>
          <a:bodyPr/>
          <a:lstStyle/>
          <a:p>
            <a:endParaRPr lang="en-US" dirty="0"/>
          </a:p>
        </p:txBody>
      </p:sp>
    </p:spTree>
    <p:extLst>
      <p:ext uri="{BB962C8B-B14F-4D97-AF65-F5344CB8AC3E}">
        <p14:creationId xmlns:p14="http://schemas.microsoft.com/office/powerpoint/2010/main" val="392720028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563199" y="4962910"/>
            <a:ext cx="5926675" cy="246221"/>
          </a:xfrm>
        </p:spPr>
        <p:txBody>
          <a:bodyPr/>
          <a:lstStyle/>
          <a:p>
            <a:endParaRPr lang="en-US" dirty="0"/>
          </a:p>
        </p:txBody>
      </p:sp>
      <p:sp>
        <p:nvSpPr>
          <p:cNvPr id="4" name="Slide Number Placeholder 3"/>
          <p:cNvSpPr>
            <a:spLocks noGrp="1"/>
          </p:cNvSpPr>
          <p:nvPr>
            <p:ph type="sldNum" sz="quarter" idx="10"/>
          </p:nvPr>
        </p:nvSpPr>
        <p:spPr/>
        <p:txBody>
          <a:bodyPr/>
          <a:lstStyle/>
          <a:p>
            <a:pPr>
              <a:defRPr/>
            </a:pPr>
            <a:fld id="{3C3A632B-FBDE-46D4-BF6F-6D14421E6342}" type="slidenum">
              <a:rPr lang="en-US" smtClean="0"/>
              <a:pPr>
                <a:defRPr/>
              </a:pPr>
              <a:t>22</a:t>
            </a:fld>
            <a:endParaRPr lang="en-US" dirty="0"/>
          </a:p>
        </p:txBody>
      </p:sp>
    </p:spTree>
    <p:extLst>
      <p:ext uri="{BB962C8B-B14F-4D97-AF65-F5344CB8AC3E}">
        <p14:creationId xmlns:p14="http://schemas.microsoft.com/office/powerpoint/2010/main" val="74055308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563199" y="4962910"/>
            <a:ext cx="5926675" cy="246221"/>
          </a:xfrm>
        </p:spPr>
        <p:txBody>
          <a:bodyPr/>
          <a:lstStyle/>
          <a:p>
            <a:endParaRPr lang="en-US" dirty="0"/>
          </a:p>
        </p:txBody>
      </p:sp>
      <p:sp>
        <p:nvSpPr>
          <p:cNvPr id="4" name="Slide Number Placeholder 3"/>
          <p:cNvSpPr>
            <a:spLocks noGrp="1"/>
          </p:cNvSpPr>
          <p:nvPr>
            <p:ph type="sldNum" sz="quarter" idx="10"/>
          </p:nvPr>
        </p:nvSpPr>
        <p:spPr/>
        <p:txBody>
          <a:bodyPr/>
          <a:lstStyle/>
          <a:p>
            <a:pPr>
              <a:defRPr/>
            </a:pPr>
            <a:fld id="{3C3A632B-FBDE-46D4-BF6F-6D14421E6342}" type="slidenum">
              <a:rPr lang="en-US" smtClean="0"/>
              <a:pPr>
                <a:defRPr/>
              </a:pPr>
              <a:t>23</a:t>
            </a:fld>
            <a:endParaRPr lang="en-US" dirty="0"/>
          </a:p>
        </p:txBody>
      </p:sp>
    </p:spTree>
    <p:extLst>
      <p:ext uri="{BB962C8B-B14F-4D97-AF65-F5344CB8AC3E}">
        <p14:creationId xmlns:p14="http://schemas.microsoft.com/office/powerpoint/2010/main" val="371171795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02420" y="4812687"/>
            <a:ext cx="6339420" cy="246221"/>
          </a:xfrm>
        </p:spPr>
        <p:txBody>
          <a:bodyPr/>
          <a:lstStyle/>
          <a:p>
            <a:endParaRPr lang="en-US" dirty="0"/>
          </a:p>
        </p:txBody>
      </p:sp>
      <p:sp>
        <p:nvSpPr>
          <p:cNvPr id="4" name="Slide Number Placeholder 3"/>
          <p:cNvSpPr>
            <a:spLocks noGrp="1"/>
          </p:cNvSpPr>
          <p:nvPr>
            <p:ph type="sldNum" sz="quarter" idx="10"/>
          </p:nvPr>
        </p:nvSpPr>
        <p:spPr/>
        <p:txBody>
          <a:bodyPr/>
          <a:lstStyle/>
          <a:p>
            <a:pPr>
              <a:defRPr/>
            </a:pPr>
            <a:fld id="{3C3A632B-FBDE-46D4-BF6F-6D14421E6342}" type="slidenum">
              <a:rPr lang="en-US" smtClean="0"/>
              <a:pPr>
                <a:defRPr/>
              </a:pPr>
              <a:t>2</a:t>
            </a:fld>
            <a:endParaRPr lang="en-US" dirty="0"/>
          </a:p>
        </p:txBody>
      </p:sp>
    </p:spTree>
    <p:extLst>
      <p:ext uri="{BB962C8B-B14F-4D97-AF65-F5344CB8AC3E}">
        <p14:creationId xmlns:p14="http://schemas.microsoft.com/office/powerpoint/2010/main" val="75434667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pg num"/>
          <p:cNvSpPr>
            <a:spLocks noGrp="1" noChangeArrowheads="1"/>
          </p:cNvSpPr>
          <p:nvPr>
            <p:ph type="sldNum" sz="quarter" idx="5"/>
          </p:nvPr>
        </p:nvSpPr>
        <p:spPr>
          <a:ln/>
        </p:spPr>
        <p:txBody>
          <a:bodyPr/>
          <a:lstStyle/>
          <a:p>
            <a:fld id="{FC4B9913-0652-4750-9BE7-06EAD43DD158}" type="slidenum">
              <a:rPr lang="en-US"/>
              <a:pPr/>
              <a:t>24</a:t>
            </a:fld>
            <a:endParaRPr lang="en-US" dirty="0"/>
          </a:p>
        </p:txBody>
      </p:sp>
      <p:sp>
        <p:nvSpPr>
          <p:cNvPr id="4917250" name="Rectangle 2"/>
          <p:cNvSpPr>
            <a:spLocks noGrp="1" noRot="1" noChangeAspect="1" noChangeArrowheads="1" noTextEdit="1"/>
          </p:cNvSpPr>
          <p:nvPr>
            <p:ph type="sldImg"/>
          </p:nvPr>
        </p:nvSpPr>
        <p:spPr bwMode="auto">
          <a:xfrm>
            <a:off x="1062038" y="876300"/>
            <a:ext cx="7723187" cy="5794375"/>
          </a:xfrm>
          <a:prstGeom prst="rect">
            <a:avLst/>
          </a:prstGeom>
          <a:solidFill>
            <a:srgbClr val="FFFFFF"/>
          </a:solidFill>
          <a:ln>
            <a:solidFill>
              <a:srgbClr val="000000"/>
            </a:solidFill>
            <a:miter lim="800000"/>
            <a:headEnd/>
            <a:tailEnd/>
          </a:ln>
        </p:spPr>
      </p:sp>
      <p:sp>
        <p:nvSpPr>
          <p:cNvPr id="4917251" name="Rectangle 3"/>
          <p:cNvSpPr>
            <a:spLocks noGrp="1" noChangeArrowheads="1"/>
          </p:cNvSpPr>
          <p:nvPr>
            <p:ph type="body" idx="1"/>
          </p:nvPr>
        </p:nvSpPr>
        <p:spPr>
          <a:xfrm>
            <a:off x="1184392" y="251495"/>
            <a:ext cx="8230173" cy="246221"/>
          </a:xfrm>
        </p:spPr>
        <p:txBody>
          <a:bodyPr/>
          <a:lstStyle/>
          <a:p>
            <a:endParaRPr lang="en-US" dirty="0"/>
          </a:p>
        </p:txBody>
      </p:sp>
    </p:spTree>
    <p:extLst>
      <p:ext uri="{BB962C8B-B14F-4D97-AF65-F5344CB8AC3E}">
        <p14:creationId xmlns:p14="http://schemas.microsoft.com/office/powerpoint/2010/main" val="78256532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7"/>
          <p:cNvSpPr>
            <a:spLocks noGrp="1" noChangeArrowheads="1"/>
          </p:cNvSpPr>
          <p:nvPr>
            <p:ph type="sldNum" sz="quarter" idx="5"/>
          </p:nvPr>
        </p:nvSpPr>
        <p:spPr>
          <a:ln/>
        </p:spPr>
        <p:txBody>
          <a:bodyPr/>
          <a:lstStyle/>
          <a:p>
            <a:fld id="{23A20E0D-1E7B-434B-98D7-6DA28DCFE617}" type="slidenum">
              <a:rPr lang="en-US">
                <a:solidFill>
                  <a:prstClr val="black"/>
                </a:solidFill>
              </a:rPr>
              <a:pPr/>
              <a:t>25</a:t>
            </a:fld>
            <a:endParaRPr lang="en-US">
              <a:solidFill>
                <a:prstClr val="black"/>
              </a:solidFill>
            </a:endParaRPr>
          </a:p>
        </p:txBody>
      </p:sp>
      <p:sp>
        <p:nvSpPr>
          <p:cNvPr id="407554" name="Rectangle 2"/>
          <p:cNvSpPr>
            <a:spLocks noGrp="1" noRot="1" noChangeAspect="1" noChangeArrowheads="1" noTextEdit="1"/>
          </p:cNvSpPr>
          <p:nvPr>
            <p:ph type="sldImg"/>
          </p:nvPr>
        </p:nvSpPr>
        <p:spPr>
          <a:xfrm>
            <a:off x="660400" y="493713"/>
            <a:ext cx="5565775" cy="4175125"/>
          </a:xfrm>
          <a:ln/>
        </p:spPr>
      </p:sp>
      <p:sp>
        <p:nvSpPr>
          <p:cNvPr id="407555" name="Rectangle 3"/>
          <p:cNvSpPr>
            <a:spLocks noGrp="1" noChangeArrowheads="1"/>
          </p:cNvSpPr>
          <p:nvPr>
            <p:ph type="body" idx="1"/>
          </p:nvPr>
        </p:nvSpPr>
        <p:spPr>
          <a:xfrm>
            <a:off x="692658" y="5485315"/>
            <a:ext cx="3898071" cy="254294"/>
          </a:xfrm>
        </p:spPr>
        <p:txBody>
          <a:bodyPr/>
          <a:lstStyle/>
          <a:p>
            <a:endParaRPr lang="en-US" dirty="0"/>
          </a:p>
        </p:txBody>
      </p:sp>
      <p:sp>
        <p:nvSpPr>
          <p:cNvPr id="407556" name="McK Separator"/>
          <p:cNvSpPr>
            <a:spLocks noChangeShapeType="1"/>
          </p:cNvSpPr>
          <p:nvPr/>
        </p:nvSpPr>
        <p:spPr bwMode="gray">
          <a:xfrm>
            <a:off x="843049" y="1554085"/>
            <a:ext cx="5382032" cy="0"/>
          </a:xfrm>
          <a:prstGeom prst="line">
            <a:avLst/>
          </a:prstGeom>
          <a:noFill/>
          <a:ln w="9525">
            <a:solidFill>
              <a:schemeClr val="tx1"/>
            </a:solidFill>
            <a:round/>
            <a:headEnd/>
            <a:tailEnd/>
          </a:ln>
          <a:effectLst/>
        </p:spPr>
        <p:txBody>
          <a:bodyPr lIns="95305" tIns="47650" rIns="95305" bIns="47650"/>
          <a:lstStyle/>
          <a:p>
            <a:endParaRPr lang="en-US">
              <a:solidFill>
                <a:prstClr val="black"/>
              </a:solidFill>
            </a:endParaRPr>
          </a:p>
        </p:txBody>
      </p:sp>
    </p:spTree>
    <p:extLst>
      <p:ext uri="{BB962C8B-B14F-4D97-AF65-F5344CB8AC3E}">
        <p14:creationId xmlns:p14="http://schemas.microsoft.com/office/powerpoint/2010/main" val="405109111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7"/>
          <p:cNvSpPr txBox="1">
            <a:spLocks noGrp="1" noChangeArrowheads="1"/>
          </p:cNvSpPr>
          <p:nvPr/>
        </p:nvSpPr>
        <p:spPr bwMode="auto">
          <a:xfrm>
            <a:off x="6255809" y="8928818"/>
            <a:ext cx="556816" cy="184666"/>
          </a:xfrm>
          <a:prstGeom prst="rect">
            <a:avLst/>
          </a:prstGeom>
          <a:noFill/>
          <a:extLst/>
        </p:spPr>
        <p:txBody>
          <a:bodyPr lIns="0" tIns="0" rIns="0" bIns="0" anchor="b">
            <a:spAutoFit/>
          </a:bodyPr>
          <a:lstStyle/>
          <a:p>
            <a:pPr algn="r">
              <a:defRPr/>
            </a:pPr>
            <a:fld id="{030B8476-B013-40D9-B317-8176F97E0B5E}" type="slidenum">
              <a:rPr lang="en-US" altLang="ja-JP" sz="1200">
                <a:solidFill>
                  <a:prstClr val="black"/>
                </a:solidFill>
                <a:cs typeface="Arial" charset="0"/>
              </a:rPr>
              <a:pPr algn="r">
                <a:defRPr/>
              </a:pPr>
              <a:t>27</a:t>
            </a:fld>
            <a:endParaRPr lang="en-US" altLang="ja-JP" sz="1200" dirty="0">
              <a:solidFill>
                <a:prstClr val="black"/>
              </a:solidFill>
              <a:cs typeface="Arial" charset="0"/>
            </a:endParaRPr>
          </a:p>
        </p:txBody>
      </p:sp>
      <p:sp>
        <p:nvSpPr>
          <p:cNvPr id="953346" name="Rectangle 2"/>
          <p:cNvSpPr>
            <a:spLocks noGrp="1" noRot="1" noChangeAspect="1" noChangeArrowheads="1" noTextEdit="1"/>
          </p:cNvSpPr>
          <p:nvPr>
            <p:ph type="sldImg"/>
          </p:nvPr>
        </p:nvSpPr>
        <p:spPr>
          <a:xfrm>
            <a:off x="782638" y="582613"/>
            <a:ext cx="5454650" cy="4090987"/>
          </a:xfrm>
          <a:ln/>
        </p:spPr>
      </p:sp>
      <p:sp>
        <p:nvSpPr>
          <p:cNvPr id="953347" name="Rectangle 3"/>
          <p:cNvSpPr>
            <a:spLocks noGrp="1" noChangeArrowheads="1"/>
          </p:cNvSpPr>
          <p:nvPr>
            <p:ph type="body" idx="1"/>
          </p:nvPr>
        </p:nvSpPr>
        <p:spPr>
          <a:xfrm>
            <a:off x="568987" y="4995586"/>
            <a:ext cx="5972836" cy="246221"/>
          </a:xfrm>
          <a:noFill/>
        </p:spPr>
        <p:txBody>
          <a:bodyPr/>
          <a:lstStyle/>
          <a:p>
            <a:endParaRPr lang="en-US" altLang="ja-JP" dirty="0"/>
          </a:p>
        </p:txBody>
      </p:sp>
      <p:sp>
        <p:nvSpPr>
          <p:cNvPr id="2" name="Footer Placeholder 1"/>
          <p:cNvSpPr>
            <a:spLocks noGrp="1"/>
          </p:cNvSpPr>
          <p:nvPr>
            <p:ph type="ftr" sz="quarter" idx="10"/>
          </p:nvPr>
        </p:nvSpPr>
        <p:spPr/>
        <p:txBody>
          <a:bodyPr/>
          <a:lstStyle/>
          <a:p>
            <a:pPr>
              <a:defRPr/>
            </a:pPr>
            <a:endParaRPr lang="en-US" dirty="0">
              <a:solidFill>
                <a:srgbClr val="000000"/>
              </a:solidFill>
            </a:endParaRPr>
          </a:p>
        </p:txBody>
      </p:sp>
    </p:spTree>
    <p:extLst>
      <p:ext uri="{BB962C8B-B14F-4D97-AF65-F5344CB8AC3E}">
        <p14:creationId xmlns:p14="http://schemas.microsoft.com/office/powerpoint/2010/main" val="59563948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7"/>
          <p:cNvSpPr txBox="1">
            <a:spLocks noGrp="1" noChangeArrowheads="1"/>
          </p:cNvSpPr>
          <p:nvPr/>
        </p:nvSpPr>
        <p:spPr bwMode="auto">
          <a:xfrm>
            <a:off x="6255809" y="8928818"/>
            <a:ext cx="556816" cy="184666"/>
          </a:xfrm>
          <a:prstGeom prst="rect">
            <a:avLst/>
          </a:prstGeom>
          <a:noFill/>
          <a:extLst/>
        </p:spPr>
        <p:txBody>
          <a:bodyPr lIns="0" tIns="0" rIns="0" bIns="0" anchor="b">
            <a:spAutoFit/>
          </a:bodyPr>
          <a:lstStyle/>
          <a:p>
            <a:pPr algn="r">
              <a:defRPr/>
            </a:pPr>
            <a:fld id="{6BBACE6F-868C-44A8-AF4E-059C7ED1E62F}" type="slidenum">
              <a:rPr lang="en-US" altLang="ja-JP" sz="1200">
                <a:solidFill>
                  <a:prstClr val="black"/>
                </a:solidFill>
                <a:cs typeface="Arial" charset="0"/>
              </a:rPr>
              <a:pPr algn="r">
                <a:defRPr/>
              </a:pPr>
              <a:t>28</a:t>
            </a:fld>
            <a:endParaRPr lang="en-US" altLang="ja-JP" sz="1200" dirty="0">
              <a:solidFill>
                <a:prstClr val="black"/>
              </a:solidFill>
              <a:cs typeface="Arial" charset="0"/>
            </a:endParaRPr>
          </a:p>
        </p:txBody>
      </p:sp>
      <p:sp>
        <p:nvSpPr>
          <p:cNvPr id="955394" name="Rectangle 2"/>
          <p:cNvSpPr>
            <a:spLocks noGrp="1" noRot="1" noChangeAspect="1" noChangeArrowheads="1" noTextEdit="1"/>
          </p:cNvSpPr>
          <p:nvPr>
            <p:ph type="sldImg"/>
          </p:nvPr>
        </p:nvSpPr>
        <p:spPr>
          <a:xfrm>
            <a:off x="782638" y="579438"/>
            <a:ext cx="5459412" cy="4095750"/>
          </a:xfrm>
          <a:ln/>
        </p:spPr>
      </p:sp>
      <p:sp>
        <p:nvSpPr>
          <p:cNvPr id="955395" name="Rectangle 3"/>
          <p:cNvSpPr>
            <a:spLocks noGrp="1" noChangeArrowheads="1"/>
          </p:cNvSpPr>
          <p:nvPr>
            <p:ph type="body" idx="1"/>
          </p:nvPr>
        </p:nvSpPr>
        <p:spPr>
          <a:xfrm>
            <a:off x="568987" y="4992512"/>
            <a:ext cx="5972836" cy="246221"/>
          </a:xfrm>
          <a:noFill/>
        </p:spPr>
        <p:txBody>
          <a:bodyPr/>
          <a:lstStyle/>
          <a:p>
            <a:endParaRPr lang="nl-NL" dirty="0"/>
          </a:p>
        </p:txBody>
      </p:sp>
      <p:sp>
        <p:nvSpPr>
          <p:cNvPr id="2" name="Footer Placeholder 1"/>
          <p:cNvSpPr>
            <a:spLocks noGrp="1"/>
          </p:cNvSpPr>
          <p:nvPr>
            <p:ph type="ftr" sz="quarter" idx="10"/>
          </p:nvPr>
        </p:nvSpPr>
        <p:spPr/>
        <p:txBody>
          <a:bodyPr/>
          <a:lstStyle/>
          <a:p>
            <a:pPr>
              <a:defRPr/>
            </a:pPr>
            <a:endParaRPr lang="en-US" dirty="0">
              <a:solidFill>
                <a:srgbClr val="000000"/>
              </a:solidFill>
            </a:endParaRPr>
          </a:p>
        </p:txBody>
      </p:sp>
    </p:spTree>
    <p:extLst>
      <p:ext uri="{BB962C8B-B14F-4D97-AF65-F5344CB8AC3E}">
        <p14:creationId xmlns:p14="http://schemas.microsoft.com/office/powerpoint/2010/main" val="405686409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pg num"/>
          <p:cNvSpPr>
            <a:spLocks noGrp="1" noChangeArrowheads="1"/>
          </p:cNvSpPr>
          <p:nvPr>
            <p:ph type="sldNum" sz="quarter" idx="5"/>
          </p:nvPr>
        </p:nvSpPr>
        <p:spPr>
          <a:ln/>
        </p:spPr>
        <p:txBody>
          <a:bodyPr/>
          <a:lstStyle/>
          <a:p>
            <a:fld id="{B337B04E-6149-49C2-9D8A-F2EA874F4C3F}" type="slidenum">
              <a:rPr lang="en-US">
                <a:solidFill>
                  <a:srgbClr val="000000"/>
                </a:solidFill>
              </a:rPr>
              <a:pPr/>
              <a:t>29</a:t>
            </a:fld>
            <a:endParaRPr lang="en-US" dirty="0">
              <a:solidFill>
                <a:srgbClr val="000000"/>
              </a:solidFill>
            </a:endParaRPr>
          </a:p>
        </p:txBody>
      </p:sp>
      <p:sp>
        <p:nvSpPr>
          <p:cNvPr id="392198" name="Rectangle 6"/>
          <p:cNvSpPr>
            <a:spLocks noGrp="1" noRot="1" noChangeAspect="1" noChangeArrowheads="1" noTextEdit="1"/>
          </p:cNvSpPr>
          <p:nvPr>
            <p:ph type="sldImg"/>
          </p:nvPr>
        </p:nvSpPr>
        <p:spPr>
          <a:ln/>
        </p:spPr>
      </p:sp>
      <p:sp>
        <p:nvSpPr>
          <p:cNvPr id="392199" name="Rectangle 7"/>
          <p:cNvSpPr>
            <a:spLocks noGrp="1" noChangeArrowheads="1"/>
          </p:cNvSpPr>
          <p:nvPr>
            <p:ph type="body" idx="1"/>
          </p:nvPr>
        </p:nvSpPr>
        <p:spPr/>
        <p:txBody>
          <a:bodyPr/>
          <a:lstStyle/>
          <a:p>
            <a:endParaRPr lang="en-GB" dirty="0"/>
          </a:p>
        </p:txBody>
      </p:sp>
    </p:spTree>
    <p:extLst>
      <p:ext uri="{BB962C8B-B14F-4D97-AF65-F5344CB8AC3E}">
        <p14:creationId xmlns:p14="http://schemas.microsoft.com/office/powerpoint/2010/main" val="104624171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Rectangle 7"/>
          <p:cNvSpPr>
            <a:spLocks noGrp="1" noChangeArrowheads="1"/>
          </p:cNvSpPr>
          <p:nvPr>
            <p:ph type="sldNum" sz="quarter" idx="5"/>
          </p:nvPr>
        </p:nvSpPr>
        <p:spPr>
          <a:xfrm>
            <a:off x="6256559" y="8928922"/>
            <a:ext cx="555044" cy="184666"/>
          </a:xfrm>
          <a:noFill/>
        </p:spPr>
        <p:txBody>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fld id="{A32C2DEB-D949-4B45-BBCA-1A46194AA2CB}" type="slidenum">
              <a:rPr lang="en-US" sz="1200" smtClean="0">
                <a:solidFill>
                  <a:srgbClr val="000000"/>
                </a:solidFill>
              </a:rPr>
              <a:pPr eaLnBrk="1" hangingPunct="1"/>
              <a:t>30</a:t>
            </a:fld>
            <a:endParaRPr lang="en-US" sz="1200" dirty="0">
              <a:solidFill>
                <a:srgbClr val="000000"/>
              </a:solidFill>
            </a:endParaRPr>
          </a:p>
        </p:txBody>
      </p:sp>
      <p:sp>
        <p:nvSpPr>
          <p:cNvPr id="12291" name="Rectangle 2"/>
          <p:cNvSpPr>
            <a:spLocks noGrp="1" noRot="1" noChangeAspect="1" noChangeArrowheads="1" noTextEdit="1"/>
          </p:cNvSpPr>
          <p:nvPr>
            <p:ph type="sldImg"/>
          </p:nvPr>
        </p:nvSpPr>
        <p:spPr>
          <a:ln/>
        </p:spPr>
      </p:sp>
      <p:sp>
        <p:nvSpPr>
          <p:cNvPr id="12292" name="Rectangle 3"/>
          <p:cNvSpPr>
            <a:spLocks noGrp="1" noChangeArrowheads="1"/>
          </p:cNvSpPr>
          <p:nvPr>
            <p:ph type="body" idx="1"/>
          </p:nvPr>
        </p:nvSpPr>
        <p:spPr>
          <a:xfrm>
            <a:off x="567697" y="4995327"/>
            <a:ext cx="5974023" cy="246221"/>
          </a:xfrm>
          <a:noFill/>
        </p:spPr>
        <p:txBody>
          <a:bodyPr/>
          <a:lstStyle/>
          <a:p>
            <a:pPr eaLnBrk="1" hangingPunct="1"/>
            <a:endParaRPr lang="en-US" dirty="0"/>
          </a:p>
        </p:txBody>
      </p:sp>
      <p:sp>
        <p:nvSpPr>
          <p:cNvPr id="2" name="Footer Placeholder 1"/>
          <p:cNvSpPr>
            <a:spLocks noGrp="1"/>
          </p:cNvSpPr>
          <p:nvPr>
            <p:ph type="ftr" sz="quarter" idx="10"/>
          </p:nvPr>
        </p:nvSpPr>
        <p:spPr/>
        <p:txBody>
          <a:bodyPr/>
          <a:lstStyle/>
          <a:p>
            <a:pPr>
              <a:defRPr/>
            </a:pPr>
            <a:endParaRPr lang="en-US" dirty="0">
              <a:solidFill>
                <a:srgbClr val="000000"/>
              </a:solidFill>
            </a:endParaRPr>
          </a:p>
        </p:txBody>
      </p:sp>
    </p:spTree>
    <p:extLst>
      <p:ext uri="{BB962C8B-B14F-4D97-AF65-F5344CB8AC3E}">
        <p14:creationId xmlns:p14="http://schemas.microsoft.com/office/powerpoint/2010/main" val="227351021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7"/>
          <p:cNvSpPr txBox="1">
            <a:spLocks noGrp="1" noChangeArrowheads="1"/>
          </p:cNvSpPr>
          <p:nvPr/>
        </p:nvSpPr>
        <p:spPr bwMode="auto">
          <a:xfrm>
            <a:off x="6255809" y="8928818"/>
            <a:ext cx="556816" cy="184666"/>
          </a:xfrm>
          <a:prstGeom prst="rect">
            <a:avLst/>
          </a:prstGeom>
          <a:noFill/>
          <a:extLst/>
        </p:spPr>
        <p:txBody>
          <a:bodyPr lIns="0" tIns="0" rIns="0" bIns="0" anchor="b">
            <a:spAutoFit/>
          </a:bodyPr>
          <a:lstStyle/>
          <a:p>
            <a:pPr algn="r">
              <a:defRPr/>
            </a:pPr>
            <a:fld id="{3FBCC18A-2295-4A26-A215-077E1737550A}" type="slidenum">
              <a:rPr lang="en-US" altLang="ja-JP" sz="1200">
                <a:solidFill>
                  <a:prstClr val="black"/>
                </a:solidFill>
                <a:cs typeface="Arial" charset="0"/>
              </a:rPr>
              <a:pPr algn="r">
                <a:defRPr/>
              </a:pPr>
              <a:t>31</a:t>
            </a:fld>
            <a:endParaRPr lang="en-US" altLang="ja-JP" sz="1200" dirty="0">
              <a:solidFill>
                <a:prstClr val="black"/>
              </a:solidFill>
              <a:cs typeface="Arial" charset="0"/>
            </a:endParaRPr>
          </a:p>
        </p:txBody>
      </p:sp>
      <p:sp>
        <p:nvSpPr>
          <p:cNvPr id="966658" name="Rectangle 2"/>
          <p:cNvSpPr>
            <a:spLocks noGrp="1" noRot="1" noChangeAspect="1" noChangeArrowheads="1" noTextEdit="1"/>
          </p:cNvSpPr>
          <p:nvPr>
            <p:ph type="sldImg"/>
          </p:nvPr>
        </p:nvSpPr>
        <p:spPr>
          <a:xfrm>
            <a:off x="781050" y="582613"/>
            <a:ext cx="5454650" cy="4090987"/>
          </a:xfrm>
          <a:ln/>
        </p:spPr>
      </p:sp>
      <p:sp>
        <p:nvSpPr>
          <p:cNvPr id="966659" name="Rectangle 3"/>
          <p:cNvSpPr>
            <a:spLocks noGrp="1" noChangeArrowheads="1"/>
          </p:cNvSpPr>
          <p:nvPr>
            <p:ph type="body" idx="1"/>
          </p:nvPr>
        </p:nvSpPr>
        <p:spPr>
          <a:xfrm>
            <a:off x="568987" y="4995586"/>
            <a:ext cx="5972836" cy="246221"/>
          </a:xfrm>
          <a:noFill/>
        </p:spPr>
        <p:txBody>
          <a:bodyPr/>
          <a:lstStyle/>
          <a:p>
            <a:endParaRPr lang="nl-NL" dirty="0"/>
          </a:p>
        </p:txBody>
      </p:sp>
      <p:sp>
        <p:nvSpPr>
          <p:cNvPr id="2" name="Footer Placeholder 1"/>
          <p:cNvSpPr>
            <a:spLocks noGrp="1"/>
          </p:cNvSpPr>
          <p:nvPr>
            <p:ph type="ftr" sz="quarter" idx="10"/>
          </p:nvPr>
        </p:nvSpPr>
        <p:spPr/>
        <p:txBody>
          <a:bodyPr/>
          <a:lstStyle/>
          <a:p>
            <a:pPr>
              <a:defRPr/>
            </a:pPr>
            <a:endParaRPr lang="en-US" dirty="0">
              <a:solidFill>
                <a:srgbClr val="000000"/>
              </a:solidFill>
            </a:endParaRPr>
          </a:p>
        </p:txBody>
      </p:sp>
    </p:spTree>
    <p:extLst>
      <p:ext uri="{BB962C8B-B14F-4D97-AF65-F5344CB8AC3E}">
        <p14:creationId xmlns:p14="http://schemas.microsoft.com/office/powerpoint/2010/main" val="282195316"/>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7"/>
          <p:cNvSpPr txBox="1">
            <a:spLocks noGrp="1" noChangeArrowheads="1"/>
          </p:cNvSpPr>
          <p:nvPr/>
        </p:nvSpPr>
        <p:spPr bwMode="auto">
          <a:xfrm>
            <a:off x="6255809" y="8928818"/>
            <a:ext cx="556816" cy="184666"/>
          </a:xfrm>
          <a:prstGeom prst="rect">
            <a:avLst/>
          </a:prstGeom>
          <a:noFill/>
          <a:extLst/>
        </p:spPr>
        <p:txBody>
          <a:bodyPr lIns="0" tIns="0" rIns="0" bIns="0" anchor="b">
            <a:spAutoFit/>
          </a:bodyPr>
          <a:lstStyle/>
          <a:p>
            <a:pPr algn="r">
              <a:defRPr/>
            </a:pPr>
            <a:fld id="{3DEB3DD8-91C3-4901-9EBF-2A7BE8F646BC}" type="slidenum">
              <a:rPr lang="en-US" altLang="ja-JP" sz="1200">
                <a:solidFill>
                  <a:prstClr val="black"/>
                </a:solidFill>
                <a:cs typeface="Arial" charset="0"/>
              </a:rPr>
              <a:pPr algn="r">
                <a:defRPr/>
              </a:pPr>
              <a:t>32</a:t>
            </a:fld>
            <a:endParaRPr lang="en-US" altLang="ja-JP" sz="1200" dirty="0">
              <a:solidFill>
                <a:prstClr val="black"/>
              </a:solidFill>
              <a:cs typeface="Arial" charset="0"/>
            </a:endParaRPr>
          </a:p>
        </p:txBody>
      </p:sp>
      <p:sp>
        <p:nvSpPr>
          <p:cNvPr id="970754" name="Rectangle 2"/>
          <p:cNvSpPr>
            <a:spLocks noGrp="1" noRot="1" noChangeAspect="1" noChangeArrowheads="1" noTextEdit="1"/>
          </p:cNvSpPr>
          <p:nvPr>
            <p:ph type="sldImg"/>
          </p:nvPr>
        </p:nvSpPr>
        <p:spPr>
          <a:xfrm>
            <a:off x="781050" y="582613"/>
            <a:ext cx="5454650" cy="4090987"/>
          </a:xfrm>
          <a:ln/>
        </p:spPr>
      </p:sp>
      <p:sp>
        <p:nvSpPr>
          <p:cNvPr id="970755" name="Rectangle 3"/>
          <p:cNvSpPr>
            <a:spLocks noGrp="1" noChangeArrowheads="1"/>
          </p:cNvSpPr>
          <p:nvPr>
            <p:ph type="body" idx="1"/>
          </p:nvPr>
        </p:nvSpPr>
        <p:spPr>
          <a:xfrm>
            <a:off x="568987" y="4995586"/>
            <a:ext cx="5972836" cy="246221"/>
          </a:xfrm>
          <a:noFill/>
        </p:spPr>
        <p:txBody>
          <a:bodyPr/>
          <a:lstStyle/>
          <a:p>
            <a:endParaRPr lang="nl-NL" dirty="0"/>
          </a:p>
        </p:txBody>
      </p:sp>
      <p:sp>
        <p:nvSpPr>
          <p:cNvPr id="2" name="Footer Placeholder 1"/>
          <p:cNvSpPr>
            <a:spLocks noGrp="1"/>
          </p:cNvSpPr>
          <p:nvPr>
            <p:ph type="ftr" sz="quarter" idx="10"/>
          </p:nvPr>
        </p:nvSpPr>
        <p:spPr/>
        <p:txBody>
          <a:bodyPr/>
          <a:lstStyle/>
          <a:p>
            <a:pPr>
              <a:defRPr/>
            </a:pPr>
            <a:endParaRPr lang="en-US" dirty="0">
              <a:solidFill>
                <a:srgbClr val="000000"/>
              </a:solidFill>
            </a:endParaRPr>
          </a:p>
        </p:txBody>
      </p:sp>
    </p:spTree>
    <p:extLst>
      <p:ext uri="{BB962C8B-B14F-4D97-AF65-F5344CB8AC3E}">
        <p14:creationId xmlns:p14="http://schemas.microsoft.com/office/powerpoint/2010/main" val="772126086"/>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7"/>
          <p:cNvSpPr txBox="1">
            <a:spLocks noGrp="1" noChangeArrowheads="1"/>
          </p:cNvSpPr>
          <p:nvPr/>
        </p:nvSpPr>
        <p:spPr bwMode="auto">
          <a:xfrm>
            <a:off x="6255809" y="8928818"/>
            <a:ext cx="556816" cy="184666"/>
          </a:xfrm>
          <a:prstGeom prst="rect">
            <a:avLst/>
          </a:prstGeom>
          <a:noFill/>
          <a:extLst/>
        </p:spPr>
        <p:txBody>
          <a:bodyPr lIns="0" tIns="0" rIns="0" bIns="0" anchor="b">
            <a:spAutoFit/>
          </a:bodyPr>
          <a:lstStyle/>
          <a:p>
            <a:pPr algn="r">
              <a:defRPr/>
            </a:pPr>
            <a:fld id="{66F85C4D-F148-439F-BAE8-652EAA40D213}" type="slidenum">
              <a:rPr lang="en-US" altLang="ja-JP" sz="1200">
                <a:solidFill>
                  <a:prstClr val="black"/>
                </a:solidFill>
                <a:cs typeface="Arial" charset="0"/>
              </a:rPr>
              <a:pPr algn="r">
                <a:defRPr/>
              </a:pPr>
              <a:t>34</a:t>
            </a:fld>
            <a:endParaRPr lang="en-US" altLang="ja-JP" sz="1200" dirty="0">
              <a:solidFill>
                <a:prstClr val="black"/>
              </a:solidFill>
              <a:cs typeface="Arial" charset="0"/>
            </a:endParaRPr>
          </a:p>
        </p:txBody>
      </p:sp>
      <p:sp>
        <p:nvSpPr>
          <p:cNvPr id="978946" name="Rectangle 2"/>
          <p:cNvSpPr>
            <a:spLocks noGrp="1" noRot="1" noChangeAspect="1" noChangeArrowheads="1" noTextEdit="1"/>
          </p:cNvSpPr>
          <p:nvPr>
            <p:ph type="sldImg"/>
          </p:nvPr>
        </p:nvSpPr>
        <p:spPr>
          <a:xfrm>
            <a:off x="-1804988" y="1198563"/>
            <a:ext cx="10587038" cy="7940675"/>
          </a:xfrm>
          <a:ln/>
        </p:spPr>
      </p:sp>
      <p:sp>
        <p:nvSpPr>
          <p:cNvPr id="978947" name="Rectangle 3"/>
          <p:cNvSpPr>
            <a:spLocks noGrp="1" noChangeArrowheads="1"/>
          </p:cNvSpPr>
          <p:nvPr>
            <p:ph type="body" idx="1"/>
          </p:nvPr>
        </p:nvSpPr>
        <p:spPr>
          <a:xfrm>
            <a:off x="839789" y="347386"/>
            <a:ext cx="3880975" cy="246221"/>
          </a:xfrm>
          <a:noFill/>
        </p:spPr>
        <p:txBody>
          <a:bodyPr/>
          <a:lstStyle/>
          <a:p>
            <a:endParaRPr lang="en-GB" dirty="0"/>
          </a:p>
        </p:txBody>
      </p:sp>
      <p:sp>
        <p:nvSpPr>
          <p:cNvPr id="978948" name="McK Separator"/>
          <p:cNvSpPr>
            <a:spLocks noChangeShapeType="1"/>
          </p:cNvSpPr>
          <p:nvPr/>
        </p:nvSpPr>
        <p:spPr bwMode="gray">
          <a:xfrm>
            <a:off x="841309" y="1409524"/>
            <a:ext cx="5359731" cy="0"/>
          </a:xfrm>
          <a:prstGeom prst="line">
            <a:avLst/>
          </a:prstGeom>
          <a:noFill/>
          <a:ln w="9525">
            <a:solidFill>
              <a:schemeClr val="tx1"/>
            </a:solidFill>
            <a:round/>
            <a:headEnd/>
            <a:tailEnd/>
          </a:ln>
        </p:spPr>
        <p:txBody>
          <a:bodyPr lIns="91285" tIns="45642" rIns="91285" bIns="45642"/>
          <a:lstStyle/>
          <a:p>
            <a:endParaRPr lang="en-US" sz="1500" dirty="0">
              <a:solidFill>
                <a:prstClr val="black"/>
              </a:solidFill>
              <a:ea typeface="ＭＳ Ｐゴシック" pitchFamily="34" charset="-128"/>
              <a:cs typeface="Arial" charset="0"/>
            </a:endParaRPr>
          </a:p>
        </p:txBody>
      </p:sp>
      <p:sp>
        <p:nvSpPr>
          <p:cNvPr id="2" name="Footer Placeholder 1"/>
          <p:cNvSpPr>
            <a:spLocks noGrp="1"/>
          </p:cNvSpPr>
          <p:nvPr>
            <p:ph type="ftr" sz="quarter" idx="10"/>
          </p:nvPr>
        </p:nvSpPr>
        <p:spPr/>
        <p:txBody>
          <a:bodyPr/>
          <a:lstStyle/>
          <a:p>
            <a:pPr>
              <a:defRPr/>
            </a:pPr>
            <a:endParaRPr lang="en-US" dirty="0">
              <a:solidFill>
                <a:srgbClr val="000000"/>
              </a:solidFill>
            </a:endParaRPr>
          </a:p>
        </p:txBody>
      </p:sp>
    </p:spTree>
    <p:extLst>
      <p:ext uri="{BB962C8B-B14F-4D97-AF65-F5344CB8AC3E}">
        <p14:creationId xmlns:p14="http://schemas.microsoft.com/office/powerpoint/2010/main" val="1668995267"/>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7"/>
          <p:cNvSpPr txBox="1">
            <a:spLocks noGrp="1" noChangeArrowheads="1"/>
          </p:cNvSpPr>
          <p:nvPr/>
        </p:nvSpPr>
        <p:spPr bwMode="auto">
          <a:xfrm>
            <a:off x="6255809" y="8928818"/>
            <a:ext cx="556816" cy="184666"/>
          </a:xfrm>
          <a:prstGeom prst="rect">
            <a:avLst/>
          </a:prstGeom>
          <a:noFill/>
          <a:extLst/>
        </p:spPr>
        <p:txBody>
          <a:bodyPr lIns="0" tIns="0" rIns="0" bIns="0" anchor="b">
            <a:spAutoFit/>
          </a:bodyPr>
          <a:lstStyle/>
          <a:p>
            <a:pPr algn="r">
              <a:defRPr/>
            </a:pPr>
            <a:fld id="{A5CE0778-E66F-45B4-84B2-A6F441E66CF9}" type="slidenum">
              <a:rPr lang="en-US" altLang="ja-JP" sz="1200">
                <a:solidFill>
                  <a:prstClr val="black"/>
                </a:solidFill>
                <a:cs typeface="Arial" charset="0"/>
              </a:rPr>
              <a:pPr algn="r">
                <a:defRPr/>
              </a:pPr>
              <a:t>35</a:t>
            </a:fld>
            <a:endParaRPr lang="en-US" altLang="ja-JP" sz="1200" dirty="0">
              <a:solidFill>
                <a:prstClr val="black"/>
              </a:solidFill>
              <a:cs typeface="Arial" charset="0"/>
            </a:endParaRPr>
          </a:p>
        </p:txBody>
      </p:sp>
      <p:sp>
        <p:nvSpPr>
          <p:cNvPr id="985090" name="Rectangle 2"/>
          <p:cNvSpPr>
            <a:spLocks noGrp="1" noRot="1" noChangeAspect="1" noChangeArrowheads="1" noTextEdit="1"/>
          </p:cNvSpPr>
          <p:nvPr>
            <p:ph type="sldImg"/>
          </p:nvPr>
        </p:nvSpPr>
        <p:spPr>
          <a:xfrm>
            <a:off x="1176338" y="714375"/>
            <a:ext cx="4683125" cy="3513138"/>
          </a:xfrm>
          <a:ln/>
        </p:spPr>
      </p:sp>
      <p:sp>
        <p:nvSpPr>
          <p:cNvPr id="985091" name="Rectangle 3"/>
          <p:cNvSpPr>
            <a:spLocks noGrp="1" noChangeArrowheads="1"/>
          </p:cNvSpPr>
          <p:nvPr>
            <p:ph type="body" idx="1"/>
          </p:nvPr>
        </p:nvSpPr>
        <p:spPr>
          <a:xfrm>
            <a:off x="946282" y="4376134"/>
            <a:ext cx="5137614" cy="246221"/>
          </a:xfrm>
          <a:noFill/>
        </p:spPr>
        <p:txBody>
          <a:bodyPr/>
          <a:lstStyle/>
          <a:p>
            <a:endParaRPr lang="nl-NL" dirty="0"/>
          </a:p>
        </p:txBody>
      </p:sp>
      <p:sp>
        <p:nvSpPr>
          <p:cNvPr id="2" name="Footer Placeholder 1"/>
          <p:cNvSpPr>
            <a:spLocks noGrp="1"/>
          </p:cNvSpPr>
          <p:nvPr>
            <p:ph type="ftr" sz="quarter" idx="10"/>
          </p:nvPr>
        </p:nvSpPr>
        <p:spPr/>
        <p:txBody>
          <a:bodyPr/>
          <a:lstStyle/>
          <a:p>
            <a:pPr>
              <a:defRPr/>
            </a:pPr>
            <a:endParaRPr lang="en-US" dirty="0">
              <a:solidFill>
                <a:srgbClr val="000000"/>
              </a:solidFill>
            </a:endParaRPr>
          </a:p>
        </p:txBody>
      </p:sp>
    </p:spTree>
    <p:extLst>
      <p:ext uri="{BB962C8B-B14F-4D97-AF65-F5344CB8AC3E}">
        <p14:creationId xmlns:p14="http://schemas.microsoft.com/office/powerpoint/2010/main" val="54675697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23906" name="Rectangle 7"/>
          <p:cNvSpPr txBox="1">
            <a:spLocks noGrp="1" noChangeArrowheads="1"/>
          </p:cNvSpPr>
          <p:nvPr/>
        </p:nvSpPr>
        <p:spPr bwMode="gray">
          <a:xfrm>
            <a:off x="6520600" y="8322626"/>
            <a:ext cx="574736" cy="246641"/>
          </a:xfrm>
          <a:prstGeom prst="rect">
            <a:avLst/>
          </a:prstGeom>
          <a:noFill/>
          <a:ln w="9525">
            <a:noFill/>
            <a:miter lim="800000"/>
            <a:headEnd/>
            <a:tailEnd/>
          </a:ln>
        </p:spPr>
        <p:txBody>
          <a:bodyPr lIns="0" tIns="0" rIns="0" bIns="0" anchor="b">
            <a:spAutoFit/>
          </a:bodyPr>
          <a:lstStyle/>
          <a:p>
            <a:pPr algn="r" defTabSz="905768"/>
            <a:fld id="{B2F18A42-AEE4-4DF0-BD76-8930D06E8701}" type="slidenum">
              <a:rPr lang="en-US"/>
              <a:pPr algn="r" defTabSz="905768"/>
              <a:t>3</a:t>
            </a:fld>
            <a:endParaRPr lang="en-US" dirty="0"/>
          </a:p>
        </p:txBody>
      </p:sp>
      <p:sp>
        <p:nvSpPr>
          <p:cNvPr id="3323907" name="Rectangle 2"/>
          <p:cNvSpPr>
            <a:spLocks noGrp="1" noRot="1" noChangeAspect="1" noChangeArrowheads="1" noTextEdit="1"/>
          </p:cNvSpPr>
          <p:nvPr>
            <p:ph type="sldImg"/>
          </p:nvPr>
        </p:nvSpPr>
        <p:spPr>
          <a:xfrm>
            <a:off x="1089025" y="547688"/>
            <a:ext cx="5132388" cy="3849687"/>
          </a:xfrm>
          <a:ln/>
        </p:spPr>
      </p:sp>
      <p:sp>
        <p:nvSpPr>
          <p:cNvPr id="3323908" name="Rectangle 3"/>
          <p:cNvSpPr>
            <a:spLocks noGrp="1" noChangeArrowheads="1"/>
          </p:cNvSpPr>
          <p:nvPr>
            <p:ph type="body" idx="1"/>
          </p:nvPr>
        </p:nvSpPr>
        <p:spPr>
          <a:xfrm>
            <a:off x="592015" y="4694470"/>
            <a:ext cx="6221987" cy="246641"/>
          </a:xfrm>
          <a:noFill/>
        </p:spPr>
        <p:txBody>
          <a:bodyPr/>
          <a:lstStyle/>
          <a:p>
            <a:pPr eaLnBrk="1" hangingPunct="1"/>
            <a:endParaRPr lang="en-US" dirty="0"/>
          </a:p>
        </p:txBody>
      </p:sp>
    </p:spTree>
    <p:extLst>
      <p:ext uri="{BB962C8B-B14F-4D97-AF65-F5344CB8AC3E}">
        <p14:creationId xmlns:p14="http://schemas.microsoft.com/office/powerpoint/2010/main" val="782968192"/>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3C3A632B-FBDE-46D4-BF6F-6D14421E6342}" type="slidenum">
              <a:rPr lang="en-US" smtClean="0"/>
              <a:pPr>
                <a:defRPr/>
              </a:pPr>
              <a:t>36</a:t>
            </a:fld>
            <a:endParaRPr lang="en-US" dirty="0"/>
          </a:p>
        </p:txBody>
      </p:sp>
    </p:spTree>
    <p:extLst>
      <p:ext uri="{BB962C8B-B14F-4D97-AF65-F5344CB8AC3E}">
        <p14:creationId xmlns:p14="http://schemas.microsoft.com/office/powerpoint/2010/main" val="3571565783"/>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555356" y="4965470"/>
            <a:ext cx="5844153" cy="246221"/>
          </a:xfrm>
        </p:spPr>
        <p:txBody>
          <a:bodyPr/>
          <a:lstStyle/>
          <a:p>
            <a:endParaRPr lang="en-US" dirty="0"/>
          </a:p>
        </p:txBody>
      </p:sp>
      <p:sp>
        <p:nvSpPr>
          <p:cNvPr id="4" name="Slide Number Placeholder 3"/>
          <p:cNvSpPr>
            <a:spLocks noGrp="1"/>
          </p:cNvSpPr>
          <p:nvPr>
            <p:ph type="sldNum" sz="quarter" idx="10"/>
          </p:nvPr>
        </p:nvSpPr>
        <p:spPr/>
        <p:txBody>
          <a:bodyPr/>
          <a:lstStyle/>
          <a:p>
            <a:pPr>
              <a:defRPr/>
            </a:pPr>
            <a:fld id="{3C3A632B-FBDE-46D4-BF6F-6D14421E6342}" type="slidenum">
              <a:rPr lang="en-US" smtClean="0"/>
              <a:pPr>
                <a:defRPr/>
              </a:pPr>
              <a:t>37</a:t>
            </a:fld>
            <a:endParaRPr lang="en-US" dirty="0"/>
          </a:p>
        </p:txBody>
      </p:sp>
    </p:spTree>
    <p:extLst>
      <p:ext uri="{BB962C8B-B14F-4D97-AF65-F5344CB8AC3E}">
        <p14:creationId xmlns:p14="http://schemas.microsoft.com/office/powerpoint/2010/main" val="2748511189"/>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555356" y="4965470"/>
            <a:ext cx="5844153" cy="246221"/>
          </a:xfrm>
        </p:spPr>
        <p:txBody>
          <a:bodyPr/>
          <a:lstStyle/>
          <a:p>
            <a:endParaRPr lang="en-US" dirty="0"/>
          </a:p>
        </p:txBody>
      </p:sp>
      <p:sp>
        <p:nvSpPr>
          <p:cNvPr id="4" name="Slide Number Placeholder 3"/>
          <p:cNvSpPr>
            <a:spLocks noGrp="1"/>
          </p:cNvSpPr>
          <p:nvPr>
            <p:ph type="sldNum" sz="quarter" idx="10"/>
          </p:nvPr>
        </p:nvSpPr>
        <p:spPr/>
        <p:txBody>
          <a:bodyPr/>
          <a:lstStyle/>
          <a:p>
            <a:pPr>
              <a:defRPr/>
            </a:pPr>
            <a:fld id="{3C3A632B-FBDE-46D4-BF6F-6D14421E6342}" type="slidenum">
              <a:rPr lang="en-US" smtClean="0"/>
              <a:pPr>
                <a:defRPr/>
              </a:pPr>
              <a:t>38</a:t>
            </a:fld>
            <a:endParaRPr lang="en-US" dirty="0"/>
          </a:p>
        </p:txBody>
      </p:sp>
    </p:spTree>
    <p:extLst>
      <p:ext uri="{BB962C8B-B14F-4D97-AF65-F5344CB8AC3E}">
        <p14:creationId xmlns:p14="http://schemas.microsoft.com/office/powerpoint/2010/main" val="2310309622"/>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3C3A632B-FBDE-46D4-BF6F-6D14421E6342}" type="slidenum">
              <a:rPr lang="en-US" smtClean="0"/>
              <a:pPr>
                <a:defRPr/>
              </a:pPr>
              <a:t>39</a:t>
            </a:fld>
            <a:endParaRPr lang="en-US" dirty="0"/>
          </a:p>
        </p:txBody>
      </p:sp>
    </p:spTree>
    <p:extLst>
      <p:ext uri="{BB962C8B-B14F-4D97-AF65-F5344CB8AC3E}">
        <p14:creationId xmlns:p14="http://schemas.microsoft.com/office/powerpoint/2010/main" val="839100753"/>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66763" y="690563"/>
            <a:ext cx="4605337" cy="3454400"/>
          </a:xfrm>
          <a:prstGeom prst="rect">
            <a:avLst/>
          </a:prstGeom>
        </p:spPr>
      </p:sp>
      <p:sp>
        <p:nvSpPr>
          <p:cNvPr id="3" name="Notes Placeholder 2"/>
          <p:cNvSpPr>
            <a:spLocks noGrp="1"/>
          </p:cNvSpPr>
          <p:nvPr>
            <p:ph type="body" idx="1"/>
          </p:nvPr>
        </p:nvSpPr>
        <p:spPr>
          <a:xfrm>
            <a:off x="497025" y="4950471"/>
            <a:ext cx="5230290" cy="246221"/>
          </a:xfrm>
        </p:spPr>
        <p:txBody>
          <a:bodyPr/>
          <a:lstStyle/>
          <a:p>
            <a:endParaRPr lang="en-US" dirty="0"/>
          </a:p>
        </p:txBody>
      </p:sp>
      <p:sp>
        <p:nvSpPr>
          <p:cNvPr id="4" name="Slide Number Placeholder 3"/>
          <p:cNvSpPr>
            <a:spLocks noGrp="1"/>
          </p:cNvSpPr>
          <p:nvPr>
            <p:ph type="sldNum" sz="quarter" idx="10"/>
          </p:nvPr>
        </p:nvSpPr>
        <p:spPr>
          <a:xfrm>
            <a:off x="2945996" y="8949364"/>
            <a:ext cx="149191" cy="169277"/>
          </a:xfrm>
        </p:spPr>
        <p:txBody>
          <a:bodyPr/>
          <a:lstStyle/>
          <a:p>
            <a:pPr>
              <a:defRPr/>
            </a:pPr>
            <a:fld id="{3C3A632B-FBDE-46D4-BF6F-6D14421E6342}" type="slidenum">
              <a:rPr lang="en-US" smtClean="0"/>
              <a:pPr>
                <a:defRPr/>
              </a:pPr>
              <a:t>40</a:t>
            </a:fld>
            <a:endParaRPr lang="en-US" dirty="0"/>
          </a:p>
        </p:txBody>
      </p:sp>
    </p:spTree>
    <p:extLst>
      <p:ext uri="{BB962C8B-B14F-4D97-AF65-F5344CB8AC3E}">
        <p14:creationId xmlns:p14="http://schemas.microsoft.com/office/powerpoint/2010/main" val="1656365956"/>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3905" name="Rectangle 7"/>
          <p:cNvSpPr txBox="1">
            <a:spLocks noGrp="1" noChangeArrowheads="1"/>
          </p:cNvSpPr>
          <p:nvPr/>
        </p:nvSpPr>
        <p:spPr bwMode="gray">
          <a:xfrm>
            <a:off x="6453116" y="9944059"/>
            <a:ext cx="574217" cy="184666"/>
          </a:xfrm>
          <a:prstGeom prst="rect">
            <a:avLst/>
          </a:prstGeom>
          <a:noFill/>
          <a:ln>
            <a:miter lim="800000"/>
            <a:headEnd/>
            <a:tailEnd/>
          </a:ln>
          <a:extLst/>
        </p:spPr>
        <p:txBody>
          <a:bodyPr lIns="0" tIns="0" rIns="0" bIns="0" anchor="b">
            <a:spAutoFit/>
          </a:bodyPr>
          <a:lstStyle/>
          <a:p>
            <a:pPr algn="r" fontAlgn="auto">
              <a:spcBef>
                <a:spcPts val="0"/>
              </a:spcBef>
              <a:spcAft>
                <a:spcPts val="0"/>
              </a:spcAft>
              <a:defRPr/>
            </a:pPr>
            <a:fld id="{7791C9D9-E9DD-4346-884C-57BD361EFF84}" type="slidenum">
              <a:rPr lang="en-US" sz="1200" kern="0">
                <a:solidFill>
                  <a:prstClr val="black"/>
                </a:solidFill>
              </a:rPr>
              <a:pPr algn="r" fontAlgn="auto">
                <a:spcBef>
                  <a:spcPts val="0"/>
                </a:spcBef>
                <a:spcAft>
                  <a:spcPts val="0"/>
                </a:spcAft>
                <a:defRPr/>
              </a:pPr>
              <a:t>43</a:t>
            </a:fld>
            <a:endParaRPr lang="en-US" sz="1200" kern="0">
              <a:solidFill>
                <a:prstClr val="black"/>
              </a:solidFill>
            </a:endParaRPr>
          </a:p>
        </p:txBody>
      </p:sp>
      <p:sp>
        <p:nvSpPr>
          <p:cNvPr id="214019" name="Rectangle 2"/>
          <p:cNvSpPr>
            <a:spLocks noGrp="1" noRot="1" noChangeAspect="1" noChangeArrowheads="1" noTextEdit="1"/>
          </p:cNvSpPr>
          <p:nvPr>
            <p:ph type="sldImg"/>
          </p:nvPr>
        </p:nvSpPr>
        <p:spPr>
          <a:ln/>
        </p:spPr>
      </p:sp>
      <p:sp>
        <p:nvSpPr>
          <p:cNvPr id="214020" name="Rectangle 3"/>
          <p:cNvSpPr>
            <a:spLocks noGrp="1" noChangeArrowheads="1"/>
          </p:cNvSpPr>
          <p:nvPr>
            <p:ph type="body" idx="1"/>
          </p:nvPr>
        </p:nvSpPr>
        <p:spPr>
          <a:xfrm>
            <a:off x="587899" y="5554678"/>
            <a:ext cx="6160871" cy="246221"/>
          </a:xfrm>
          <a:noFill/>
        </p:spPr>
        <p:txBody>
          <a:bodyPr/>
          <a:lstStyle/>
          <a:p>
            <a:endParaRPr lang="de-DE" dirty="0"/>
          </a:p>
        </p:txBody>
      </p:sp>
    </p:spTree>
    <p:extLst>
      <p:ext uri="{BB962C8B-B14F-4D97-AF65-F5344CB8AC3E}">
        <p14:creationId xmlns:p14="http://schemas.microsoft.com/office/powerpoint/2010/main" val="2425598276"/>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Rectangle 7"/>
          <p:cNvSpPr>
            <a:spLocks noGrp="1" noChangeArrowheads="1"/>
          </p:cNvSpPr>
          <p:nvPr>
            <p:ph type="sldNum" sz="quarter" idx="5"/>
          </p:nvPr>
        </p:nvSpPr>
        <p:spPr>
          <a:noFill/>
        </p:spPr>
        <p:txBody>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fld id="{A32C2DEB-D949-4B45-BBCA-1A46194AA2CB}" type="slidenum">
              <a:rPr lang="en-US" sz="1200" smtClean="0"/>
              <a:pPr eaLnBrk="1" hangingPunct="1"/>
              <a:t>46</a:t>
            </a:fld>
            <a:endParaRPr lang="en-US" sz="1200" dirty="0"/>
          </a:p>
        </p:txBody>
      </p:sp>
      <p:sp>
        <p:nvSpPr>
          <p:cNvPr id="12291" name="Rectangle 2"/>
          <p:cNvSpPr>
            <a:spLocks noGrp="1" noRot="1" noChangeAspect="1" noChangeArrowheads="1" noTextEdit="1"/>
          </p:cNvSpPr>
          <p:nvPr>
            <p:ph type="sldImg"/>
          </p:nvPr>
        </p:nvSpPr>
        <p:spPr>
          <a:ln/>
        </p:spPr>
      </p:sp>
      <p:sp>
        <p:nvSpPr>
          <p:cNvPr id="12292" name="Rectangle 3"/>
          <p:cNvSpPr>
            <a:spLocks noGrp="1" noChangeArrowheads="1"/>
          </p:cNvSpPr>
          <p:nvPr>
            <p:ph type="body" idx="1"/>
          </p:nvPr>
        </p:nvSpPr>
        <p:spPr>
          <a:xfrm>
            <a:off x="546100" y="5322888"/>
            <a:ext cx="5746750" cy="244475"/>
          </a:xfrm>
          <a:noFill/>
        </p:spPr>
        <p:txBody>
          <a:bodyPr/>
          <a:lstStyle/>
          <a:p>
            <a:pPr eaLnBrk="1" hangingPunct="1"/>
            <a:endParaRPr lang="en-US" dirty="0"/>
          </a:p>
        </p:txBody>
      </p:sp>
    </p:spTree>
    <p:extLst>
      <p:ext uri="{BB962C8B-B14F-4D97-AF65-F5344CB8AC3E}">
        <p14:creationId xmlns:p14="http://schemas.microsoft.com/office/powerpoint/2010/main" val="691281594"/>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Rectangle 7"/>
          <p:cNvSpPr>
            <a:spLocks noGrp="1" noChangeArrowheads="1"/>
          </p:cNvSpPr>
          <p:nvPr>
            <p:ph type="sldNum" sz="quarter" idx="5"/>
          </p:nvPr>
        </p:nvSpPr>
        <p:spPr>
          <a:noFill/>
        </p:spPr>
        <p:txBody>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fld id="{A32C2DEB-D949-4B45-BBCA-1A46194AA2CB}" type="slidenum">
              <a:rPr lang="en-US" sz="1200" smtClean="0"/>
              <a:pPr eaLnBrk="1" hangingPunct="1"/>
              <a:t>47</a:t>
            </a:fld>
            <a:endParaRPr lang="en-US" sz="1200" dirty="0"/>
          </a:p>
        </p:txBody>
      </p:sp>
      <p:sp>
        <p:nvSpPr>
          <p:cNvPr id="12291" name="Rectangle 2"/>
          <p:cNvSpPr>
            <a:spLocks noGrp="1" noRot="1" noChangeAspect="1" noChangeArrowheads="1" noTextEdit="1"/>
          </p:cNvSpPr>
          <p:nvPr>
            <p:ph type="sldImg"/>
          </p:nvPr>
        </p:nvSpPr>
        <p:spPr>
          <a:ln/>
        </p:spPr>
      </p:sp>
      <p:sp>
        <p:nvSpPr>
          <p:cNvPr id="12292" name="Rectangle 3"/>
          <p:cNvSpPr>
            <a:spLocks noGrp="1" noChangeArrowheads="1"/>
          </p:cNvSpPr>
          <p:nvPr>
            <p:ph type="body" idx="1"/>
          </p:nvPr>
        </p:nvSpPr>
        <p:spPr>
          <a:xfrm>
            <a:off x="546100" y="5322888"/>
            <a:ext cx="5746750" cy="244475"/>
          </a:xfrm>
          <a:noFill/>
        </p:spPr>
        <p:txBody>
          <a:bodyPr/>
          <a:lstStyle/>
          <a:p>
            <a:pPr eaLnBrk="1" hangingPunct="1"/>
            <a:endParaRPr lang="en-US" dirty="0"/>
          </a:p>
        </p:txBody>
      </p:sp>
    </p:spTree>
    <p:extLst>
      <p:ext uri="{BB962C8B-B14F-4D97-AF65-F5344CB8AC3E}">
        <p14:creationId xmlns:p14="http://schemas.microsoft.com/office/powerpoint/2010/main" val="2703390324"/>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3C3A632B-FBDE-46D4-BF6F-6D14421E6342}" type="slidenum">
              <a:rPr lang="en-US" smtClean="0"/>
              <a:pPr>
                <a:defRPr/>
              </a:pPr>
              <a:t>48</a:t>
            </a:fld>
            <a:endParaRPr lang="en-US" dirty="0"/>
          </a:p>
        </p:txBody>
      </p:sp>
    </p:spTree>
    <p:extLst>
      <p:ext uri="{BB962C8B-B14F-4D97-AF65-F5344CB8AC3E}">
        <p14:creationId xmlns:p14="http://schemas.microsoft.com/office/powerpoint/2010/main" val="1560279565"/>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435600" y="4823124"/>
            <a:ext cx="6484095" cy="246221"/>
          </a:xfrm>
        </p:spPr>
        <p:txBody>
          <a:bodyPr/>
          <a:lstStyle/>
          <a:p>
            <a:endParaRPr lang="en-US" dirty="0"/>
          </a:p>
        </p:txBody>
      </p:sp>
      <p:sp>
        <p:nvSpPr>
          <p:cNvPr id="4" name="Slide Number Placeholder 3"/>
          <p:cNvSpPr>
            <a:spLocks noGrp="1"/>
          </p:cNvSpPr>
          <p:nvPr>
            <p:ph type="sldNum" sz="quarter" idx="10"/>
          </p:nvPr>
        </p:nvSpPr>
        <p:spPr/>
        <p:txBody>
          <a:bodyPr/>
          <a:lstStyle/>
          <a:p>
            <a:fld id="{D592A91E-F04C-4415-AB95-3E699AC3F8C0}" type="slidenum">
              <a:rPr lang="en-US" smtClean="0">
                <a:solidFill>
                  <a:srgbClr val="000000"/>
                </a:solidFill>
              </a:rPr>
              <a:pPr/>
              <a:t>49</a:t>
            </a:fld>
            <a:endParaRPr lang="en-US" dirty="0">
              <a:solidFill>
                <a:srgbClr val="000000"/>
              </a:solidFill>
            </a:endParaRPr>
          </a:p>
        </p:txBody>
      </p:sp>
    </p:spTree>
    <p:extLst>
      <p:ext uri="{BB962C8B-B14F-4D97-AF65-F5344CB8AC3E}">
        <p14:creationId xmlns:p14="http://schemas.microsoft.com/office/powerpoint/2010/main" val="216982526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23906" name="Rectangle 7"/>
          <p:cNvSpPr txBox="1">
            <a:spLocks noGrp="1" noChangeArrowheads="1"/>
          </p:cNvSpPr>
          <p:nvPr/>
        </p:nvSpPr>
        <p:spPr bwMode="gray">
          <a:xfrm>
            <a:off x="6520600" y="8322626"/>
            <a:ext cx="574736" cy="246641"/>
          </a:xfrm>
          <a:prstGeom prst="rect">
            <a:avLst/>
          </a:prstGeom>
          <a:noFill/>
          <a:ln w="9525">
            <a:noFill/>
            <a:miter lim="800000"/>
            <a:headEnd/>
            <a:tailEnd/>
          </a:ln>
        </p:spPr>
        <p:txBody>
          <a:bodyPr lIns="0" tIns="0" rIns="0" bIns="0" anchor="b">
            <a:spAutoFit/>
          </a:bodyPr>
          <a:lstStyle/>
          <a:p>
            <a:pPr algn="r" defTabSz="905768"/>
            <a:fld id="{B2F18A42-AEE4-4DF0-BD76-8930D06E8701}" type="slidenum">
              <a:rPr lang="en-US"/>
              <a:pPr algn="r" defTabSz="905768"/>
              <a:t>4</a:t>
            </a:fld>
            <a:endParaRPr lang="en-US" dirty="0"/>
          </a:p>
        </p:txBody>
      </p:sp>
      <p:sp>
        <p:nvSpPr>
          <p:cNvPr id="3323907" name="Rectangle 2"/>
          <p:cNvSpPr>
            <a:spLocks noGrp="1" noRot="1" noChangeAspect="1" noChangeArrowheads="1" noTextEdit="1"/>
          </p:cNvSpPr>
          <p:nvPr>
            <p:ph type="sldImg"/>
          </p:nvPr>
        </p:nvSpPr>
        <p:spPr>
          <a:xfrm>
            <a:off x="1089025" y="547688"/>
            <a:ext cx="5132388" cy="3849687"/>
          </a:xfrm>
          <a:ln/>
        </p:spPr>
      </p:sp>
      <p:sp>
        <p:nvSpPr>
          <p:cNvPr id="3323908" name="Rectangle 3"/>
          <p:cNvSpPr>
            <a:spLocks noGrp="1" noChangeArrowheads="1"/>
          </p:cNvSpPr>
          <p:nvPr>
            <p:ph type="body" idx="1"/>
          </p:nvPr>
        </p:nvSpPr>
        <p:spPr>
          <a:xfrm>
            <a:off x="592015" y="4694470"/>
            <a:ext cx="6221987" cy="246641"/>
          </a:xfrm>
          <a:noFill/>
        </p:spPr>
        <p:txBody>
          <a:bodyPr/>
          <a:lstStyle/>
          <a:p>
            <a:pPr eaLnBrk="1" hangingPunct="1"/>
            <a:endParaRPr lang="en-US" dirty="0"/>
          </a:p>
        </p:txBody>
      </p:sp>
    </p:spTree>
    <p:extLst>
      <p:ext uri="{BB962C8B-B14F-4D97-AF65-F5344CB8AC3E}">
        <p14:creationId xmlns:p14="http://schemas.microsoft.com/office/powerpoint/2010/main" val="2327656095"/>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7"/>
          <p:cNvSpPr>
            <a:spLocks noGrp="1" noChangeArrowheads="1"/>
          </p:cNvSpPr>
          <p:nvPr>
            <p:ph type="sldNum" sz="quarter" idx="5"/>
          </p:nvPr>
        </p:nvSpPr>
        <p:spPr>
          <a:ln/>
        </p:spPr>
        <p:txBody>
          <a:bodyPr/>
          <a:lstStyle/>
          <a:p>
            <a:fld id="{497C127B-A6DE-4ABE-A7D7-9CE36E910392}" type="slidenum">
              <a:rPr lang="en-US"/>
              <a:pPr/>
              <a:t>50</a:t>
            </a:fld>
            <a:endParaRPr lang="en-US" dirty="0"/>
          </a:p>
        </p:txBody>
      </p:sp>
      <p:sp>
        <p:nvSpPr>
          <p:cNvPr id="5" name="doc id"/>
          <p:cNvSpPr>
            <a:spLocks noGrp="1" noChangeArrowheads="1"/>
          </p:cNvSpPr>
          <p:nvPr>
            <p:ph type="ftr" sz="quarter" idx="4"/>
          </p:nvPr>
        </p:nvSpPr>
        <p:spPr>
          <a:xfrm>
            <a:off x="5699695" y="80628"/>
            <a:ext cx="1165383" cy="123111"/>
          </a:xfrm>
          <a:ln/>
        </p:spPr>
        <p:txBody>
          <a:bodyPr/>
          <a:lstStyle/>
          <a:p>
            <a:r>
              <a:rPr lang="en-US" dirty="0"/>
              <a:t>NYO-AAA123-20090206-</a:t>
            </a:r>
          </a:p>
        </p:txBody>
      </p:sp>
      <p:sp>
        <p:nvSpPr>
          <p:cNvPr id="735234" name="Rectangle 2"/>
          <p:cNvSpPr>
            <a:spLocks noGrp="1" noRot="1" noChangeAspect="1" noChangeArrowheads="1" noTextEdit="1"/>
          </p:cNvSpPr>
          <p:nvPr>
            <p:ph type="sldImg"/>
          </p:nvPr>
        </p:nvSpPr>
        <p:spPr>
          <a:xfrm>
            <a:off x="-1408113" y="1112838"/>
            <a:ext cx="9848851" cy="7386637"/>
          </a:xfrm>
          <a:ln/>
        </p:spPr>
      </p:sp>
      <p:sp>
        <p:nvSpPr>
          <p:cNvPr id="735235" name="Rectangle 3"/>
          <p:cNvSpPr>
            <a:spLocks noGrp="1" noChangeArrowheads="1"/>
          </p:cNvSpPr>
          <p:nvPr>
            <p:ph type="body" idx="1"/>
          </p:nvPr>
        </p:nvSpPr>
        <p:spPr>
          <a:xfrm>
            <a:off x="846495" y="321547"/>
            <a:ext cx="5863921" cy="246221"/>
          </a:xfrm>
        </p:spPr>
        <p:txBody>
          <a:bodyPr/>
          <a:lstStyle/>
          <a:p>
            <a:endParaRPr lang="en-US" dirty="0"/>
          </a:p>
        </p:txBody>
      </p:sp>
    </p:spTree>
    <p:extLst>
      <p:ext uri="{BB962C8B-B14F-4D97-AF65-F5344CB8AC3E}">
        <p14:creationId xmlns:p14="http://schemas.microsoft.com/office/powerpoint/2010/main" val="3541805480"/>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555356" y="4965470"/>
            <a:ext cx="5844153" cy="246221"/>
          </a:xfrm>
        </p:spPr>
        <p:txBody>
          <a:bodyPr/>
          <a:lstStyle/>
          <a:p>
            <a:endParaRPr lang="en-US" dirty="0"/>
          </a:p>
        </p:txBody>
      </p:sp>
      <p:sp>
        <p:nvSpPr>
          <p:cNvPr id="4" name="Slide Number Placeholder 3"/>
          <p:cNvSpPr>
            <a:spLocks noGrp="1"/>
          </p:cNvSpPr>
          <p:nvPr>
            <p:ph type="sldNum" sz="quarter" idx="10"/>
          </p:nvPr>
        </p:nvSpPr>
        <p:spPr/>
        <p:txBody>
          <a:bodyPr/>
          <a:lstStyle/>
          <a:p>
            <a:pPr>
              <a:defRPr/>
            </a:pPr>
            <a:fld id="{3C3A632B-FBDE-46D4-BF6F-6D14421E6342}" type="slidenum">
              <a:rPr lang="en-US" smtClean="0"/>
              <a:pPr>
                <a:defRPr/>
              </a:pPr>
              <a:t>51</a:t>
            </a:fld>
            <a:endParaRPr lang="en-US" dirty="0"/>
          </a:p>
        </p:txBody>
      </p:sp>
    </p:spTree>
    <p:extLst>
      <p:ext uri="{BB962C8B-B14F-4D97-AF65-F5344CB8AC3E}">
        <p14:creationId xmlns:p14="http://schemas.microsoft.com/office/powerpoint/2010/main" val="1250074911"/>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7"/>
          <p:cNvSpPr>
            <a:spLocks noGrp="1" noChangeArrowheads="1"/>
          </p:cNvSpPr>
          <p:nvPr>
            <p:ph type="sldNum" sz="quarter" idx="5"/>
          </p:nvPr>
        </p:nvSpPr>
        <p:spPr>
          <a:ln/>
        </p:spPr>
        <p:txBody>
          <a:bodyPr/>
          <a:lstStyle/>
          <a:p>
            <a:fld id="{497C127B-A6DE-4ABE-A7D7-9CE36E910392}" type="slidenum">
              <a:rPr lang="en-US"/>
              <a:pPr/>
              <a:t>52</a:t>
            </a:fld>
            <a:endParaRPr lang="en-US" dirty="0"/>
          </a:p>
        </p:txBody>
      </p:sp>
      <p:sp>
        <p:nvSpPr>
          <p:cNvPr id="5" name="doc id"/>
          <p:cNvSpPr>
            <a:spLocks noGrp="1" noChangeArrowheads="1"/>
          </p:cNvSpPr>
          <p:nvPr>
            <p:ph type="ftr" sz="quarter" idx="4"/>
          </p:nvPr>
        </p:nvSpPr>
        <p:spPr>
          <a:xfrm>
            <a:off x="5699695" y="80628"/>
            <a:ext cx="1165383" cy="123111"/>
          </a:xfrm>
          <a:ln/>
        </p:spPr>
        <p:txBody>
          <a:bodyPr/>
          <a:lstStyle/>
          <a:p>
            <a:r>
              <a:rPr lang="en-US" dirty="0"/>
              <a:t>NYO-AAA123-20090206-</a:t>
            </a:r>
          </a:p>
        </p:txBody>
      </p:sp>
      <p:sp>
        <p:nvSpPr>
          <p:cNvPr id="735234" name="Rectangle 2"/>
          <p:cNvSpPr>
            <a:spLocks noGrp="1" noRot="1" noChangeAspect="1" noChangeArrowheads="1" noTextEdit="1"/>
          </p:cNvSpPr>
          <p:nvPr>
            <p:ph type="sldImg"/>
          </p:nvPr>
        </p:nvSpPr>
        <p:spPr>
          <a:xfrm>
            <a:off x="-1408113" y="1112838"/>
            <a:ext cx="9848851" cy="7386637"/>
          </a:xfrm>
          <a:ln/>
        </p:spPr>
      </p:sp>
      <p:sp>
        <p:nvSpPr>
          <p:cNvPr id="735235" name="Rectangle 3"/>
          <p:cNvSpPr>
            <a:spLocks noGrp="1" noChangeArrowheads="1"/>
          </p:cNvSpPr>
          <p:nvPr>
            <p:ph type="body" idx="1"/>
          </p:nvPr>
        </p:nvSpPr>
        <p:spPr>
          <a:xfrm>
            <a:off x="846495" y="321547"/>
            <a:ext cx="5863921" cy="246221"/>
          </a:xfrm>
        </p:spPr>
        <p:txBody>
          <a:bodyPr/>
          <a:lstStyle/>
          <a:p>
            <a:endParaRPr lang="en-US" dirty="0"/>
          </a:p>
        </p:txBody>
      </p:sp>
    </p:spTree>
    <p:extLst>
      <p:ext uri="{BB962C8B-B14F-4D97-AF65-F5344CB8AC3E}">
        <p14:creationId xmlns:p14="http://schemas.microsoft.com/office/powerpoint/2010/main" val="1897589920"/>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3C3A632B-FBDE-46D4-BF6F-6D14421E6342}" type="slidenum">
              <a:rPr lang="en-US" smtClean="0"/>
              <a:pPr>
                <a:defRPr/>
              </a:pPr>
              <a:t>53</a:t>
            </a:fld>
            <a:endParaRPr lang="en-US" dirty="0"/>
          </a:p>
        </p:txBody>
      </p:sp>
    </p:spTree>
    <p:extLst>
      <p:ext uri="{BB962C8B-B14F-4D97-AF65-F5344CB8AC3E}">
        <p14:creationId xmlns:p14="http://schemas.microsoft.com/office/powerpoint/2010/main" val="1320122626"/>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7"/>
          <p:cNvSpPr>
            <a:spLocks noGrp="1" noChangeArrowheads="1"/>
          </p:cNvSpPr>
          <p:nvPr>
            <p:ph type="sldNum" sz="quarter" idx="5"/>
          </p:nvPr>
        </p:nvSpPr>
        <p:spPr>
          <a:ln/>
        </p:spPr>
        <p:txBody>
          <a:bodyPr/>
          <a:lstStyle/>
          <a:p>
            <a:fld id="{F9FDA346-948E-48FC-94E2-013FD1A76F47}" type="slidenum">
              <a:rPr lang="en-US"/>
              <a:pPr/>
              <a:t>54</a:t>
            </a:fld>
            <a:endParaRPr lang="en-US"/>
          </a:p>
        </p:txBody>
      </p:sp>
      <p:sp>
        <p:nvSpPr>
          <p:cNvPr id="1996802" name="Rectangle 2"/>
          <p:cNvSpPr>
            <a:spLocks noGrp="1" noRot="1" noChangeAspect="1" noChangeArrowheads="1" noTextEdit="1"/>
          </p:cNvSpPr>
          <p:nvPr>
            <p:ph type="sldImg"/>
          </p:nvPr>
        </p:nvSpPr>
        <p:spPr>
          <a:xfrm>
            <a:off x="-2266950" y="1274763"/>
            <a:ext cx="11282363" cy="8462962"/>
          </a:xfrm>
          <a:ln/>
        </p:spPr>
      </p:sp>
      <p:sp>
        <p:nvSpPr>
          <p:cNvPr id="1996803" name="Rectangle 3"/>
          <p:cNvSpPr>
            <a:spLocks noGrp="1" noChangeArrowheads="1"/>
          </p:cNvSpPr>
          <p:nvPr>
            <p:ph type="body" idx="1"/>
          </p:nvPr>
        </p:nvSpPr>
        <p:spPr>
          <a:xfrm>
            <a:off x="816302" y="607481"/>
            <a:ext cx="5612065" cy="254038"/>
          </a:xfrm>
        </p:spPr>
        <p:txBody>
          <a:bodyPr/>
          <a:lstStyle/>
          <a:p>
            <a:endParaRPr lang="en-US" dirty="0"/>
          </a:p>
        </p:txBody>
      </p:sp>
    </p:spTree>
    <p:extLst>
      <p:ext uri="{BB962C8B-B14F-4D97-AF65-F5344CB8AC3E}">
        <p14:creationId xmlns:p14="http://schemas.microsoft.com/office/powerpoint/2010/main" val="1677603629"/>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7"/>
          <p:cNvSpPr>
            <a:spLocks noGrp="1" noChangeArrowheads="1"/>
          </p:cNvSpPr>
          <p:nvPr>
            <p:ph type="sldNum" sz="quarter" idx="5"/>
          </p:nvPr>
        </p:nvSpPr>
        <p:spPr>
          <a:ln/>
        </p:spPr>
        <p:txBody>
          <a:bodyPr/>
          <a:lstStyle/>
          <a:p>
            <a:fld id="{6431152C-4879-4DD6-94B7-BD6DC41863FE}" type="slidenum">
              <a:rPr lang="en-GB" smtClean="0"/>
              <a:pPr/>
              <a:t>57</a:t>
            </a:fld>
            <a:endParaRPr lang="en-GB" dirty="0"/>
          </a:p>
        </p:txBody>
      </p:sp>
      <p:sp>
        <p:nvSpPr>
          <p:cNvPr id="5" name="doc id"/>
          <p:cNvSpPr>
            <a:spLocks noGrp="1" noChangeArrowheads="1"/>
          </p:cNvSpPr>
          <p:nvPr>
            <p:ph type="ftr" sz="quarter" idx="4"/>
          </p:nvPr>
        </p:nvSpPr>
        <p:spPr>
          <a:xfrm>
            <a:off x="5490175" y="103077"/>
            <a:ext cx="1671933" cy="123111"/>
          </a:xfrm>
          <a:ln/>
        </p:spPr>
        <p:txBody>
          <a:bodyPr/>
          <a:lstStyle/>
          <a:p>
            <a:r>
              <a:rPr lang="en-GB" dirty="0"/>
              <a:t>BVA-262606-241-20090807-GE3-v6</a:t>
            </a:r>
          </a:p>
        </p:txBody>
      </p:sp>
      <p:sp>
        <p:nvSpPr>
          <p:cNvPr id="1334274" name="Rectangle 2"/>
          <p:cNvSpPr>
            <a:spLocks noGrp="1" noRot="1" noChangeAspect="1" noChangeArrowheads="1" noTextEdit="1"/>
          </p:cNvSpPr>
          <p:nvPr>
            <p:ph type="sldImg"/>
          </p:nvPr>
        </p:nvSpPr>
        <p:spPr>
          <a:xfrm>
            <a:off x="1298575" y="738188"/>
            <a:ext cx="4818063" cy="3614737"/>
          </a:xfrm>
          <a:ln/>
        </p:spPr>
      </p:sp>
      <p:sp>
        <p:nvSpPr>
          <p:cNvPr id="1334275" name="Rectangle 3"/>
          <p:cNvSpPr>
            <a:spLocks noGrp="1" noChangeArrowheads="1"/>
          </p:cNvSpPr>
          <p:nvPr>
            <p:ph type="body" idx="1"/>
          </p:nvPr>
        </p:nvSpPr>
        <p:spPr>
          <a:xfrm>
            <a:off x="998792" y="4502472"/>
            <a:ext cx="5418591" cy="246221"/>
          </a:xfrm>
        </p:spPr>
        <p:txBody>
          <a:bodyPr/>
          <a:lstStyle/>
          <a:p>
            <a:endParaRPr lang="en-GB" dirty="0"/>
          </a:p>
        </p:txBody>
      </p:sp>
    </p:spTree>
    <p:extLst>
      <p:ext uri="{BB962C8B-B14F-4D97-AF65-F5344CB8AC3E}">
        <p14:creationId xmlns:p14="http://schemas.microsoft.com/office/powerpoint/2010/main" val="494588835"/>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250" name="Rectangle 7"/>
          <p:cNvSpPr>
            <a:spLocks noGrp="1" noChangeArrowheads="1"/>
          </p:cNvSpPr>
          <p:nvPr>
            <p:ph type="sldNum" sz="quarter" idx="5"/>
          </p:nvPr>
        </p:nvSpPr>
        <p:spPr>
          <a:xfrm>
            <a:off x="6577409" y="9258058"/>
            <a:ext cx="584696" cy="153888"/>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19163" eaLnBrk="0" hangingPunct="0">
              <a:defRPr sz="1600" b="1">
                <a:solidFill>
                  <a:schemeClr val="tx1"/>
                </a:solidFill>
                <a:latin typeface="Arial" charset="0"/>
              </a:defRPr>
            </a:lvl1pPr>
            <a:lvl2pPr marL="742950" indent="-285750" defTabSz="919163" eaLnBrk="0" hangingPunct="0">
              <a:defRPr sz="1600" b="1">
                <a:solidFill>
                  <a:schemeClr val="tx1"/>
                </a:solidFill>
                <a:latin typeface="Arial" charset="0"/>
              </a:defRPr>
            </a:lvl2pPr>
            <a:lvl3pPr marL="1143000" indent="-228600" defTabSz="919163" eaLnBrk="0" hangingPunct="0">
              <a:defRPr sz="1600" b="1">
                <a:solidFill>
                  <a:schemeClr val="tx1"/>
                </a:solidFill>
                <a:latin typeface="Arial" charset="0"/>
              </a:defRPr>
            </a:lvl3pPr>
            <a:lvl4pPr marL="1600200" indent="-228600" defTabSz="919163" eaLnBrk="0" hangingPunct="0">
              <a:defRPr sz="1600" b="1">
                <a:solidFill>
                  <a:schemeClr val="tx1"/>
                </a:solidFill>
                <a:latin typeface="Arial" charset="0"/>
              </a:defRPr>
            </a:lvl4pPr>
            <a:lvl5pPr marL="2057400" indent="-228600" defTabSz="919163" eaLnBrk="0" hangingPunct="0">
              <a:defRPr sz="1600" b="1">
                <a:solidFill>
                  <a:schemeClr val="tx1"/>
                </a:solidFill>
                <a:latin typeface="Arial" charset="0"/>
              </a:defRPr>
            </a:lvl5pPr>
            <a:lvl6pPr marL="2514600" indent="-228600" defTabSz="919163" eaLnBrk="0" fontAlgn="base" hangingPunct="0">
              <a:spcBef>
                <a:spcPct val="0"/>
              </a:spcBef>
              <a:spcAft>
                <a:spcPct val="0"/>
              </a:spcAft>
              <a:defRPr sz="1600" b="1">
                <a:solidFill>
                  <a:schemeClr val="tx1"/>
                </a:solidFill>
                <a:latin typeface="Arial" charset="0"/>
              </a:defRPr>
            </a:lvl6pPr>
            <a:lvl7pPr marL="2971800" indent="-228600" defTabSz="919163" eaLnBrk="0" fontAlgn="base" hangingPunct="0">
              <a:spcBef>
                <a:spcPct val="0"/>
              </a:spcBef>
              <a:spcAft>
                <a:spcPct val="0"/>
              </a:spcAft>
              <a:defRPr sz="1600" b="1">
                <a:solidFill>
                  <a:schemeClr val="tx1"/>
                </a:solidFill>
                <a:latin typeface="Arial" charset="0"/>
              </a:defRPr>
            </a:lvl7pPr>
            <a:lvl8pPr marL="3429000" indent="-228600" defTabSz="919163" eaLnBrk="0" fontAlgn="base" hangingPunct="0">
              <a:spcBef>
                <a:spcPct val="0"/>
              </a:spcBef>
              <a:spcAft>
                <a:spcPct val="0"/>
              </a:spcAft>
              <a:defRPr sz="1600" b="1">
                <a:solidFill>
                  <a:schemeClr val="tx1"/>
                </a:solidFill>
                <a:latin typeface="Arial" charset="0"/>
              </a:defRPr>
            </a:lvl8pPr>
            <a:lvl9pPr marL="3886200" indent="-228600" defTabSz="919163" eaLnBrk="0" fontAlgn="base" hangingPunct="0">
              <a:spcBef>
                <a:spcPct val="0"/>
              </a:spcBef>
              <a:spcAft>
                <a:spcPct val="0"/>
              </a:spcAft>
              <a:defRPr sz="1600" b="1">
                <a:solidFill>
                  <a:schemeClr val="tx1"/>
                </a:solidFill>
                <a:latin typeface="Arial" charset="0"/>
              </a:defRPr>
            </a:lvl9pPr>
          </a:lstStyle>
          <a:p>
            <a:pPr eaLnBrk="1" hangingPunct="1"/>
            <a:fld id="{92020F99-A4EC-4E4E-911B-A1CCF479C54F}" type="slidenum">
              <a:rPr lang="en-GB" sz="1000" b="0" smtClean="0">
                <a:latin typeface="Times New Roman" pitchFamily="18" charset="0"/>
              </a:rPr>
              <a:pPr eaLnBrk="1" hangingPunct="1"/>
              <a:t>58</a:t>
            </a:fld>
            <a:endParaRPr lang="en-GB" sz="1000" b="0" dirty="0">
              <a:latin typeface="Times New Roman" pitchFamily="18" charset="0"/>
            </a:endParaRPr>
          </a:p>
        </p:txBody>
      </p:sp>
      <p:sp>
        <p:nvSpPr>
          <p:cNvPr id="53251" name="Rectangle 6"/>
          <p:cNvSpPr>
            <a:spLocks noGrp="1" noRot="1" noChangeAspect="1" noChangeArrowheads="1" noTextEdit="1"/>
          </p:cNvSpPr>
          <p:nvPr>
            <p:ph type="sldImg"/>
          </p:nvPr>
        </p:nvSpPr>
        <p:spPr bwMode="auto">
          <a:xfrm>
            <a:off x="1279525" y="722313"/>
            <a:ext cx="4811713" cy="3608387"/>
          </a:xfrm>
          <a:prstGeom prst="rect">
            <a:avLst/>
          </a:prstGeom>
          <a:solidFill>
            <a:srgbClr val="FFFFFF"/>
          </a:solidFill>
          <a:ln>
            <a:solidFill>
              <a:srgbClr val="000000"/>
            </a:solidFill>
            <a:miter lim="800000"/>
            <a:headEnd/>
            <a:tailEnd/>
          </a:ln>
        </p:spPr>
      </p:sp>
      <p:sp>
        <p:nvSpPr>
          <p:cNvPr id="53252" name="Rectangle 7"/>
          <p:cNvSpPr>
            <a:spLocks noGrp="1" noChangeArrowheads="1"/>
          </p:cNvSpPr>
          <p:nvPr>
            <p:ph type="body" idx="1"/>
          </p:nvPr>
        </p:nvSpPr>
        <p:spPr>
          <a:xfrm>
            <a:off x="596842" y="5159108"/>
            <a:ext cx="6280721" cy="246221"/>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GB" dirty="0"/>
          </a:p>
        </p:txBody>
      </p:sp>
    </p:spTree>
    <p:extLst>
      <p:ext uri="{BB962C8B-B14F-4D97-AF65-F5344CB8AC3E}">
        <p14:creationId xmlns:p14="http://schemas.microsoft.com/office/powerpoint/2010/main" val="196502540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7"/>
          <p:cNvSpPr>
            <a:spLocks noGrp="1" noChangeArrowheads="1"/>
          </p:cNvSpPr>
          <p:nvPr>
            <p:ph type="sldNum" sz="quarter" idx="5"/>
          </p:nvPr>
        </p:nvSpPr>
        <p:spPr>
          <a:ln/>
        </p:spPr>
        <p:txBody>
          <a:bodyPr/>
          <a:lstStyle/>
          <a:p>
            <a:fld id="{4FFB3D68-9699-48BC-ADA4-9C82B506525E}" type="slidenum">
              <a:rPr lang="en-US">
                <a:solidFill>
                  <a:srgbClr val="000000"/>
                </a:solidFill>
              </a:rPr>
              <a:pPr/>
              <a:t>5</a:t>
            </a:fld>
            <a:endParaRPr lang="en-US" dirty="0">
              <a:solidFill>
                <a:srgbClr val="000000"/>
              </a:solidFill>
            </a:endParaRPr>
          </a:p>
        </p:txBody>
      </p:sp>
      <p:sp>
        <p:nvSpPr>
          <p:cNvPr id="1240066" name="Rectangle 7"/>
          <p:cNvSpPr txBox="1">
            <a:spLocks noGrp="1" noChangeArrowheads="1"/>
          </p:cNvSpPr>
          <p:nvPr/>
        </p:nvSpPr>
        <p:spPr bwMode="gray">
          <a:xfrm>
            <a:off x="3300987" y="8332918"/>
            <a:ext cx="56606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defTabSz="912813">
              <a:defRPr sz="2400">
                <a:solidFill>
                  <a:schemeClr val="tx1"/>
                </a:solidFill>
                <a:latin typeface="Arial" pitchFamily="34" charset="0"/>
              </a:defRPr>
            </a:lvl1pPr>
            <a:lvl2pPr marL="741363" indent="-284163" defTabSz="912813">
              <a:defRPr sz="2400">
                <a:solidFill>
                  <a:schemeClr val="tx1"/>
                </a:solidFill>
                <a:latin typeface="Arial" pitchFamily="34" charset="0"/>
              </a:defRPr>
            </a:lvl2pPr>
            <a:lvl3pPr marL="1143000" indent="-230188" defTabSz="912813">
              <a:defRPr sz="2400">
                <a:solidFill>
                  <a:schemeClr val="tx1"/>
                </a:solidFill>
                <a:latin typeface="Arial" pitchFamily="34" charset="0"/>
              </a:defRPr>
            </a:lvl3pPr>
            <a:lvl4pPr marL="1598613" indent="-227013" defTabSz="912813">
              <a:defRPr sz="2400">
                <a:solidFill>
                  <a:schemeClr val="tx1"/>
                </a:solidFill>
                <a:latin typeface="Arial" pitchFamily="34" charset="0"/>
              </a:defRPr>
            </a:lvl4pPr>
            <a:lvl5pPr marL="2055813" indent="-230188" defTabSz="912813">
              <a:defRPr sz="2400">
                <a:solidFill>
                  <a:schemeClr val="tx1"/>
                </a:solidFill>
                <a:latin typeface="Arial" pitchFamily="34" charset="0"/>
              </a:defRPr>
            </a:lvl5pPr>
            <a:lvl6pPr marL="2513013" indent="-230188" defTabSz="912813" fontAlgn="base">
              <a:spcBef>
                <a:spcPct val="0"/>
              </a:spcBef>
              <a:spcAft>
                <a:spcPct val="0"/>
              </a:spcAft>
              <a:defRPr sz="2400">
                <a:solidFill>
                  <a:schemeClr val="tx1"/>
                </a:solidFill>
                <a:latin typeface="Arial" pitchFamily="34" charset="0"/>
              </a:defRPr>
            </a:lvl6pPr>
            <a:lvl7pPr marL="2970213" indent="-230188" defTabSz="912813" fontAlgn="base">
              <a:spcBef>
                <a:spcPct val="0"/>
              </a:spcBef>
              <a:spcAft>
                <a:spcPct val="0"/>
              </a:spcAft>
              <a:defRPr sz="2400">
                <a:solidFill>
                  <a:schemeClr val="tx1"/>
                </a:solidFill>
                <a:latin typeface="Arial" pitchFamily="34" charset="0"/>
              </a:defRPr>
            </a:lvl7pPr>
            <a:lvl8pPr marL="3427413" indent="-230188" defTabSz="912813" fontAlgn="base">
              <a:spcBef>
                <a:spcPct val="0"/>
              </a:spcBef>
              <a:spcAft>
                <a:spcPct val="0"/>
              </a:spcAft>
              <a:defRPr sz="2400">
                <a:solidFill>
                  <a:schemeClr val="tx1"/>
                </a:solidFill>
                <a:latin typeface="Arial" pitchFamily="34" charset="0"/>
              </a:defRPr>
            </a:lvl8pPr>
            <a:lvl9pPr marL="3884613" indent="-230188" defTabSz="912813" fontAlgn="base">
              <a:spcBef>
                <a:spcPct val="0"/>
              </a:spcBef>
              <a:spcAft>
                <a:spcPct val="0"/>
              </a:spcAft>
              <a:defRPr sz="2400">
                <a:solidFill>
                  <a:schemeClr val="tx1"/>
                </a:solidFill>
                <a:latin typeface="Arial" pitchFamily="34" charset="0"/>
              </a:defRPr>
            </a:lvl9pPr>
          </a:lstStyle>
          <a:p>
            <a:pPr algn="ctr"/>
            <a:fld id="{B3B0765D-4B50-4801-A939-72DF0B9DF277}" type="slidenum">
              <a:rPr lang="en-US" sz="1000">
                <a:solidFill>
                  <a:srgbClr val="000000"/>
                </a:solidFill>
                <a:latin typeface="Times New Roman" pitchFamily="18" charset="0"/>
              </a:rPr>
              <a:pPr algn="ctr"/>
              <a:t>5</a:t>
            </a:fld>
            <a:endParaRPr lang="en-US" sz="1000" dirty="0">
              <a:solidFill>
                <a:srgbClr val="000000"/>
              </a:solidFill>
              <a:latin typeface="Times New Roman" pitchFamily="18" charset="0"/>
            </a:endParaRPr>
          </a:p>
        </p:txBody>
      </p:sp>
      <p:sp>
        <p:nvSpPr>
          <p:cNvPr id="1240067" name="Rectangle 6"/>
          <p:cNvSpPr>
            <a:spLocks noGrp="1" noRot="1" noChangeAspect="1" noChangeArrowheads="1" noTextEdit="1"/>
          </p:cNvSpPr>
          <p:nvPr>
            <p:ph type="sldImg"/>
          </p:nvPr>
        </p:nvSpPr>
        <p:spPr>
          <a:xfrm>
            <a:off x="1398588" y="649288"/>
            <a:ext cx="4332287" cy="3249612"/>
          </a:xfrm>
          <a:ln/>
          <a:extLst>
            <a:ext uri="{909E8E84-426E-40DD-AFC4-6F175D3DCCD1}">
              <a14:hiddenFill xmlns:a14="http://schemas.microsoft.com/office/drawing/2010/main">
                <a:solidFill>
                  <a:srgbClr val="FFFFFF"/>
                </a:solidFill>
              </a14:hiddenFill>
            </a:ext>
          </a:extLst>
        </p:spPr>
      </p:sp>
      <p:sp>
        <p:nvSpPr>
          <p:cNvPr id="1240068" name="Rectangle 7"/>
          <p:cNvSpPr>
            <a:spLocks noGrp="1" noChangeArrowheads="1"/>
          </p:cNvSpPr>
          <p:nvPr>
            <p:ph type="body" idx="1"/>
          </p:nvPr>
        </p:nvSpPr>
        <p:spPr>
          <a:xfrm>
            <a:off x="947761" y="4190760"/>
            <a:ext cx="5238554" cy="246221"/>
          </a:xfrm>
        </p:spPr>
        <p:txBody>
          <a:bodyPr/>
          <a:lstStyle/>
          <a:p>
            <a:endParaRPr lang="en-US" dirty="0"/>
          </a:p>
        </p:txBody>
      </p:sp>
      <p:sp>
        <p:nvSpPr>
          <p:cNvPr id="2" name="Footer Placeholder 1"/>
          <p:cNvSpPr>
            <a:spLocks noGrp="1"/>
          </p:cNvSpPr>
          <p:nvPr>
            <p:ph type="ftr" sz="quarter" idx="10"/>
          </p:nvPr>
        </p:nvSpPr>
        <p:spPr>
          <a:xfrm>
            <a:off x="6664207" y="94583"/>
            <a:ext cx="65" cy="123111"/>
          </a:xfrm>
        </p:spPr>
        <p:txBody>
          <a:bodyPr/>
          <a:lstStyle/>
          <a:p>
            <a:pPr>
              <a:defRPr/>
            </a:pPr>
            <a:endParaRPr lang="en-US" dirty="0">
              <a:solidFill>
                <a:srgbClr val="000000"/>
              </a:solidFill>
            </a:endParaRPr>
          </a:p>
        </p:txBody>
      </p:sp>
    </p:spTree>
    <p:extLst>
      <p:ext uri="{BB962C8B-B14F-4D97-AF65-F5344CB8AC3E}">
        <p14:creationId xmlns:p14="http://schemas.microsoft.com/office/powerpoint/2010/main" val="57310850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555356" y="4965470"/>
            <a:ext cx="5844153" cy="246221"/>
          </a:xfrm>
        </p:spPr>
        <p:txBody>
          <a:bodyPr/>
          <a:lstStyle/>
          <a:p>
            <a:endParaRPr lang="en-US" dirty="0"/>
          </a:p>
        </p:txBody>
      </p:sp>
      <p:sp>
        <p:nvSpPr>
          <p:cNvPr id="4" name="Slide Number Placeholder 3"/>
          <p:cNvSpPr>
            <a:spLocks noGrp="1"/>
          </p:cNvSpPr>
          <p:nvPr>
            <p:ph type="sldNum" sz="quarter" idx="10"/>
          </p:nvPr>
        </p:nvSpPr>
        <p:spPr/>
        <p:txBody>
          <a:bodyPr/>
          <a:lstStyle/>
          <a:p>
            <a:pPr>
              <a:defRPr/>
            </a:pPr>
            <a:fld id="{3C3A632B-FBDE-46D4-BF6F-6D14421E6342}" type="slidenum">
              <a:rPr lang="en-US" smtClean="0"/>
              <a:pPr>
                <a:defRPr/>
              </a:pPr>
              <a:t>7</a:t>
            </a:fld>
            <a:endParaRPr lang="en-US" dirty="0"/>
          </a:p>
        </p:txBody>
      </p:sp>
    </p:spTree>
    <p:extLst>
      <p:ext uri="{BB962C8B-B14F-4D97-AF65-F5344CB8AC3E}">
        <p14:creationId xmlns:p14="http://schemas.microsoft.com/office/powerpoint/2010/main" val="149344702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3C3A632B-FBDE-46D4-BF6F-6D14421E6342}" type="slidenum">
              <a:rPr lang="en-US" smtClean="0"/>
              <a:pPr>
                <a:defRPr/>
              </a:pPr>
              <a:t>8</a:t>
            </a:fld>
            <a:endParaRPr lang="en-US" dirty="0"/>
          </a:p>
        </p:txBody>
      </p:sp>
    </p:spTree>
    <p:extLst>
      <p:ext uri="{BB962C8B-B14F-4D97-AF65-F5344CB8AC3E}">
        <p14:creationId xmlns:p14="http://schemas.microsoft.com/office/powerpoint/2010/main" val="347201515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3C3A632B-FBDE-46D4-BF6F-6D14421E6342}" type="slidenum">
              <a:rPr lang="en-US" smtClean="0"/>
              <a:pPr>
                <a:defRPr/>
              </a:pPr>
              <a:t>9</a:t>
            </a:fld>
            <a:endParaRPr lang="en-US" dirty="0"/>
          </a:p>
        </p:txBody>
      </p:sp>
    </p:spTree>
    <p:extLst>
      <p:ext uri="{BB962C8B-B14F-4D97-AF65-F5344CB8AC3E}">
        <p14:creationId xmlns:p14="http://schemas.microsoft.com/office/powerpoint/2010/main" val="422860358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7"/>
          <p:cNvSpPr>
            <a:spLocks noGrp="1" noChangeArrowheads="1"/>
          </p:cNvSpPr>
          <p:nvPr>
            <p:ph type="sldNum" sz="quarter" idx="5"/>
          </p:nvPr>
        </p:nvSpPr>
        <p:spPr>
          <a:ln/>
        </p:spPr>
        <p:txBody>
          <a:bodyPr/>
          <a:lstStyle/>
          <a:p>
            <a:fld id="{6C58216F-DBA5-46BB-9A0A-B8E8F8B90678}" type="slidenum">
              <a:rPr lang="en-US"/>
              <a:pPr/>
              <a:t>11</a:t>
            </a:fld>
            <a:endParaRPr lang="en-US" dirty="0"/>
          </a:p>
        </p:txBody>
      </p:sp>
      <p:sp>
        <p:nvSpPr>
          <p:cNvPr id="1137666" name="Rectangle 2"/>
          <p:cNvSpPr>
            <a:spLocks noGrp="1" noRot="1" noChangeAspect="1" noChangeArrowheads="1" noTextEdit="1"/>
          </p:cNvSpPr>
          <p:nvPr>
            <p:ph type="sldImg"/>
          </p:nvPr>
        </p:nvSpPr>
        <p:spPr>
          <a:xfrm>
            <a:off x="652463" y="592138"/>
            <a:ext cx="5540375" cy="4154487"/>
          </a:xfrm>
          <a:ln/>
        </p:spPr>
      </p:sp>
      <p:sp>
        <p:nvSpPr>
          <p:cNvPr id="1137667" name="Rectangle 3"/>
          <p:cNvSpPr>
            <a:spLocks noGrp="1" noChangeArrowheads="1"/>
          </p:cNvSpPr>
          <p:nvPr>
            <p:ph type="body" idx="1"/>
          </p:nvPr>
        </p:nvSpPr>
        <p:spPr>
          <a:xfrm>
            <a:off x="604932" y="5108098"/>
            <a:ext cx="5749172" cy="246221"/>
          </a:xfrm>
        </p:spPr>
        <p:txBody>
          <a:bodyPr/>
          <a:lstStyle/>
          <a:p>
            <a:endParaRPr lang="en-US" dirty="0"/>
          </a:p>
        </p:txBody>
      </p:sp>
    </p:spTree>
    <p:extLst>
      <p:ext uri="{BB962C8B-B14F-4D97-AF65-F5344CB8AC3E}">
        <p14:creationId xmlns:p14="http://schemas.microsoft.com/office/powerpoint/2010/main" val="162362256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1.xml"/><Relationship Id="rId1" Type="http://schemas.openxmlformats.org/officeDocument/2006/relationships/vmlDrawing" Target="../drawings/vmlDrawing2.vml"/><Relationship Id="rId6" Type="http://schemas.openxmlformats.org/officeDocument/2006/relationships/image" Target="../media/image2.emf"/><Relationship Id="rId5" Type="http://schemas.openxmlformats.org/officeDocument/2006/relationships/oleObject" Target="../embeddings/oleObject2.bin"/><Relationship Id="rId4" Type="http://schemas.openxmlformats.org/officeDocument/2006/relationships/image" Target="../media/image3.jpg"/></Relationships>
</file>

<file path=ppt/slideLayouts/_rels/slideLayout10.xml.rels><?xml version="1.0" encoding="UTF-8" standalone="yes"?>
<Relationships xmlns="http://schemas.openxmlformats.org/package/2006/relationships"><Relationship Id="rId3" Type="http://schemas.openxmlformats.org/officeDocument/2006/relationships/tags" Target="../tags/tag103.xml"/><Relationship Id="rId2" Type="http://schemas.openxmlformats.org/officeDocument/2006/relationships/tags" Target="../tags/tag102.xml"/><Relationship Id="rId1" Type="http://schemas.openxmlformats.org/officeDocument/2006/relationships/vmlDrawing" Target="../drawings/vmlDrawing13.vml"/><Relationship Id="rId6" Type="http://schemas.openxmlformats.org/officeDocument/2006/relationships/image" Target="../media/image4.emf"/><Relationship Id="rId5" Type="http://schemas.openxmlformats.org/officeDocument/2006/relationships/oleObject" Target="../embeddings/oleObject13.bin"/><Relationship Id="rId4" Type="http://schemas.openxmlformats.org/officeDocument/2006/relationships/slideMaster" Target="../slideMasters/slideMaster3.xml"/></Relationships>
</file>

<file path=ppt/slideLayouts/_rels/slideLayout100.xml.rels><?xml version="1.0" encoding="UTF-8" standalone="yes"?>
<Relationships xmlns="http://schemas.openxmlformats.org/package/2006/relationships"><Relationship Id="rId3" Type="http://schemas.openxmlformats.org/officeDocument/2006/relationships/slideMaster" Target="../slideMasters/slideMaster25.xml"/><Relationship Id="rId2" Type="http://schemas.openxmlformats.org/officeDocument/2006/relationships/tags" Target="../tags/tag876.xml"/><Relationship Id="rId1" Type="http://schemas.openxmlformats.org/officeDocument/2006/relationships/vmlDrawing" Target="../drawings/vmlDrawing125.vml"/><Relationship Id="rId5" Type="http://schemas.openxmlformats.org/officeDocument/2006/relationships/image" Target="../media/image5.emf"/><Relationship Id="rId4" Type="http://schemas.openxmlformats.org/officeDocument/2006/relationships/oleObject" Target="../embeddings/oleObject125.bin"/></Relationships>
</file>

<file path=ppt/slideLayouts/_rels/slideLayout101.xml.rels><?xml version="1.0" encoding="UTF-8" standalone="yes"?>
<Relationships xmlns="http://schemas.openxmlformats.org/package/2006/relationships"><Relationship Id="rId3" Type="http://schemas.openxmlformats.org/officeDocument/2006/relationships/slideMaster" Target="../slideMasters/slideMaster26.xml"/><Relationship Id="rId2" Type="http://schemas.openxmlformats.org/officeDocument/2006/relationships/tags" Target="../tags/tag906.xml"/><Relationship Id="rId1" Type="http://schemas.openxmlformats.org/officeDocument/2006/relationships/vmlDrawing" Target="../drawings/vmlDrawing127.vml"/><Relationship Id="rId6" Type="http://schemas.openxmlformats.org/officeDocument/2006/relationships/image" Target="../media/image2.emf"/><Relationship Id="rId5" Type="http://schemas.openxmlformats.org/officeDocument/2006/relationships/oleObject" Target="../embeddings/oleObject127.bin"/><Relationship Id="rId4" Type="http://schemas.openxmlformats.org/officeDocument/2006/relationships/image" Target="../media/image3.jpg"/></Relationships>
</file>

<file path=ppt/slideLayouts/_rels/slideLayout102.xml.rels><?xml version="1.0" encoding="UTF-8" standalone="yes"?>
<Relationships xmlns="http://schemas.openxmlformats.org/package/2006/relationships"><Relationship Id="rId3" Type="http://schemas.openxmlformats.org/officeDocument/2006/relationships/tags" Target="../tags/tag908.xml"/><Relationship Id="rId2" Type="http://schemas.openxmlformats.org/officeDocument/2006/relationships/tags" Target="../tags/tag907.xml"/><Relationship Id="rId1" Type="http://schemas.openxmlformats.org/officeDocument/2006/relationships/vmlDrawing" Target="../drawings/vmlDrawing128.vml"/><Relationship Id="rId6" Type="http://schemas.openxmlformats.org/officeDocument/2006/relationships/image" Target="../media/image4.emf"/><Relationship Id="rId5" Type="http://schemas.openxmlformats.org/officeDocument/2006/relationships/oleObject" Target="../embeddings/oleObject128.bin"/><Relationship Id="rId4" Type="http://schemas.openxmlformats.org/officeDocument/2006/relationships/slideMaster" Target="../slideMasters/slideMaster26.xml"/></Relationships>
</file>

<file path=ppt/slideLayouts/_rels/slideLayout103.xml.rels><?xml version="1.0" encoding="UTF-8" standalone="yes"?>
<Relationships xmlns="http://schemas.openxmlformats.org/package/2006/relationships"><Relationship Id="rId3" Type="http://schemas.openxmlformats.org/officeDocument/2006/relationships/tags" Target="../tags/tag910.xml"/><Relationship Id="rId2" Type="http://schemas.openxmlformats.org/officeDocument/2006/relationships/tags" Target="../tags/tag909.xml"/><Relationship Id="rId1" Type="http://schemas.openxmlformats.org/officeDocument/2006/relationships/vmlDrawing" Target="../drawings/vmlDrawing129.vml"/><Relationship Id="rId6" Type="http://schemas.openxmlformats.org/officeDocument/2006/relationships/image" Target="../media/image5.emf"/><Relationship Id="rId5" Type="http://schemas.openxmlformats.org/officeDocument/2006/relationships/oleObject" Target="../embeddings/oleObject129.bin"/><Relationship Id="rId4" Type="http://schemas.openxmlformats.org/officeDocument/2006/relationships/slideMaster" Target="../slideMasters/slideMaster26.xml"/></Relationships>
</file>

<file path=ppt/slideLayouts/_rels/slideLayout104.xml.rels><?xml version="1.0" encoding="UTF-8" standalone="yes"?>
<Relationships xmlns="http://schemas.openxmlformats.org/package/2006/relationships"><Relationship Id="rId3" Type="http://schemas.openxmlformats.org/officeDocument/2006/relationships/slideMaster" Target="../slideMasters/slideMaster26.xml"/><Relationship Id="rId2" Type="http://schemas.openxmlformats.org/officeDocument/2006/relationships/tags" Target="../tags/tag911.xml"/><Relationship Id="rId1" Type="http://schemas.openxmlformats.org/officeDocument/2006/relationships/vmlDrawing" Target="../drawings/vmlDrawing130.vml"/><Relationship Id="rId5" Type="http://schemas.openxmlformats.org/officeDocument/2006/relationships/image" Target="../media/image5.emf"/><Relationship Id="rId4" Type="http://schemas.openxmlformats.org/officeDocument/2006/relationships/oleObject" Target="../embeddings/oleObject130.bin"/></Relationships>
</file>

<file path=ppt/slideLayouts/_rels/slideLayout105.xml.rels><?xml version="1.0" encoding="UTF-8" standalone="yes"?>
<Relationships xmlns="http://schemas.openxmlformats.org/package/2006/relationships"><Relationship Id="rId3" Type="http://schemas.openxmlformats.org/officeDocument/2006/relationships/slideMaster" Target="../slideMasters/slideMaster27.xml"/><Relationship Id="rId2" Type="http://schemas.openxmlformats.org/officeDocument/2006/relationships/tags" Target="../tags/tag941.xml"/><Relationship Id="rId1" Type="http://schemas.openxmlformats.org/officeDocument/2006/relationships/vmlDrawing" Target="../drawings/vmlDrawing132.vml"/><Relationship Id="rId6" Type="http://schemas.openxmlformats.org/officeDocument/2006/relationships/image" Target="../media/image2.emf"/><Relationship Id="rId5" Type="http://schemas.openxmlformats.org/officeDocument/2006/relationships/oleObject" Target="../embeddings/oleObject132.bin"/><Relationship Id="rId4" Type="http://schemas.openxmlformats.org/officeDocument/2006/relationships/image" Target="../media/image3.jpg"/></Relationships>
</file>

<file path=ppt/slideLayouts/_rels/slideLayout106.xml.rels><?xml version="1.0" encoding="UTF-8" standalone="yes"?>
<Relationships xmlns="http://schemas.openxmlformats.org/package/2006/relationships"><Relationship Id="rId3" Type="http://schemas.openxmlformats.org/officeDocument/2006/relationships/tags" Target="../tags/tag943.xml"/><Relationship Id="rId2" Type="http://schemas.openxmlformats.org/officeDocument/2006/relationships/tags" Target="../tags/tag942.xml"/><Relationship Id="rId1" Type="http://schemas.openxmlformats.org/officeDocument/2006/relationships/vmlDrawing" Target="../drawings/vmlDrawing133.vml"/><Relationship Id="rId6" Type="http://schemas.openxmlformats.org/officeDocument/2006/relationships/image" Target="../media/image4.emf"/><Relationship Id="rId5" Type="http://schemas.openxmlformats.org/officeDocument/2006/relationships/oleObject" Target="../embeddings/oleObject133.bin"/><Relationship Id="rId4" Type="http://schemas.openxmlformats.org/officeDocument/2006/relationships/slideMaster" Target="../slideMasters/slideMaster27.xml"/></Relationships>
</file>

<file path=ppt/slideLayouts/_rels/slideLayout107.xml.rels><?xml version="1.0" encoding="UTF-8" standalone="yes"?>
<Relationships xmlns="http://schemas.openxmlformats.org/package/2006/relationships"><Relationship Id="rId3" Type="http://schemas.openxmlformats.org/officeDocument/2006/relationships/tags" Target="../tags/tag945.xml"/><Relationship Id="rId2" Type="http://schemas.openxmlformats.org/officeDocument/2006/relationships/tags" Target="../tags/tag944.xml"/><Relationship Id="rId1" Type="http://schemas.openxmlformats.org/officeDocument/2006/relationships/vmlDrawing" Target="../drawings/vmlDrawing134.vml"/><Relationship Id="rId6" Type="http://schemas.openxmlformats.org/officeDocument/2006/relationships/image" Target="../media/image5.emf"/><Relationship Id="rId5" Type="http://schemas.openxmlformats.org/officeDocument/2006/relationships/oleObject" Target="../embeddings/oleObject134.bin"/><Relationship Id="rId4" Type="http://schemas.openxmlformats.org/officeDocument/2006/relationships/slideMaster" Target="../slideMasters/slideMaster27.xml"/></Relationships>
</file>

<file path=ppt/slideLayouts/_rels/slideLayout108.xml.rels><?xml version="1.0" encoding="UTF-8" standalone="yes"?>
<Relationships xmlns="http://schemas.openxmlformats.org/package/2006/relationships"><Relationship Id="rId3" Type="http://schemas.openxmlformats.org/officeDocument/2006/relationships/slideMaster" Target="../slideMasters/slideMaster27.xml"/><Relationship Id="rId2" Type="http://schemas.openxmlformats.org/officeDocument/2006/relationships/tags" Target="../tags/tag946.xml"/><Relationship Id="rId1" Type="http://schemas.openxmlformats.org/officeDocument/2006/relationships/vmlDrawing" Target="../drawings/vmlDrawing135.vml"/><Relationship Id="rId5" Type="http://schemas.openxmlformats.org/officeDocument/2006/relationships/image" Target="../media/image5.emf"/><Relationship Id="rId4" Type="http://schemas.openxmlformats.org/officeDocument/2006/relationships/oleObject" Target="../embeddings/oleObject135.bin"/></Relationships>
</file>

<file path=ppt/slideLayouts/_rels/slideLayout109.xml.rels><?xml version="1.0" encoding="UTF-8" standalone="yes"?>
<Relationships xmlns="http://schemas.openxmlformats.org/package/2006/relationships"><Relationship Id="rId3" Type="http://schemas.openxmlformats.org/officeDocument/2006/relationships/slideMaster" Target="../slideMasters/slideMaster28.xml"/><Relationship Id="rId2" Type="http://schemas.openxmlformats.org/officeDocument/2006/relationships/tags" Target="../tags/tag976.xml"/><Relationship Id="rId1" Type="http://schemas.openxmlformats.org/officeDocument/2006/relationships/vmlDrawing" Target="../drawings/vmlDrawing137.vml"/><Relationship Id="rId6" Type="http://schemas.openxmlformats.org/officeDocument/2006/relationships/image" Target="../media/image2.emf"/><Relationship Id="rId5" Type="http://schemas.openxmlformats.org/officeDocument/2006/relationships/oleObject" Target="../embeddings/oleObject137.bin"/><Relationship Id="rId4" Type="http://schemas.openxmlformats.org/officeDocument/2006/relationships/image" Target="../media/image3.jpg"/></Relationships>
</file>

<file path=ppt/slideLayouts/_rels/slideLayout11.xml.rels><?xml version="1.0" encoding="UTF-8" standalone="yes"?>
<Relationships xmlns="http://schemas.openxmlformats.org/package/2006/relationships"><Relationship Id="rId3" Type="http://schemas.openxmlformats.org/officeDocument/2006/relationships/tags" Target="../tags/tag105.xml"/><Relationship Id="rId2" Type="http://schemas.openxmlformats.org/officeDocument/2006/relationships/tags" Target="../tags/tag104.xml"/><Relationship Id="rId1" Type="http://schemas.openxmlformats.org/officeDocument/2006/relationships/vmlDrawing" Target="../drawings/vmlDrawing14.vml"/><Relationship Id="rId6" Type="http://schemas.openxmlformats.org/officeDocument/2006/relationships/image" Target="../media/image5.emf"/><Relationship Id="rId5" Type="http://schemas.openxmlformats.org/officeDocument/2006/relationships/oleObject" Target="../embeddings/oleObject14.bin"/><Relationship Id="rId4" Type="http://schemas.openxmlformats.org/officeDocument/2006/relationships/slideMaster" Target="../slideMasters/slideMaster3.xml"/></Relationships>
</file>

<file path=ppt/slideLayouts/_rels/slideLayout110.xml.rels><?xml version="1.0" encoding="UTF-8" standalone="yes"?>
<Relationships xmlns="http://schemas.openxmlformats.org/package/2006/relationships"><Relationship Id="rId3" Type="http://schemas.openxmlformats.org/officeDocument/2006/relationships/tags" Target="../tags/tag978.xml"/><Relationship Id="rId2" Type="http://schemas.openxmlformats.org/officeDocument/2006/relationships/tags" Target="../tags/tag977.xml"/><Relationship Id="rId1" Type="http://schemas.openxmlformats.org/officeDocument/2006/relationships/vmlDrawing" Target="../drawings/vmlDrawing138.vml"/><Relationship Id="rId6" Type="http://schemas.openxmlformats.org/officeDocument/2006/relationships/image" Target="../media/image4.emf"/><Relationship Id="rId5" Type="http://schemas.openxmlformats.org/officeDocument/2006/relationships/oleObject" Target="../embeddings/oleObject138.bin"/><Relationship Id="rId4" Type="http://schemas.openxmlformats.org/officeDocument/2006/relationships/slideMaster" Target="../slideMasters/slideMaster28.xml"/></Relationships>
</file>

<file path=ppt/slideLayouts/_rels/slideLayout111.xml.rels><?xml version="1.0" encoding="UTF-8" standalone="yes"?>
<Relationships xmlns="http://schemas.openxmlformats.org/package/2006/relationships"><Relationship Id="rId3" Type="http://schemas.openxmlformats.org/officeDocument/2006/relationships/tags" Target="../tags/tag980.xml"/><Relationship Id="rId2" Type="http://schemas.openxmlformats.org/officeDocument/2006/relationships/tags" Target="../tags/tag979.xml"/><Relationship Id="rId1" Type="http://schemas.openxmlformats.org/officeDocument/2006/relationships/vmlDrawing" Target="../drawings/vmlDrawing139.vml"/><Relationship Id="rId6" Type="http://schemas.openxmlformats.org/officeDocument/2006/relationships/image" Target="../media/image5.emf"/><Relationship Id="rId5" Type="http://schemas.openxmlformats.org/officeDocument/2006/relationships/oleObject" Target="../embeddings/oleObject139.bin"/><Relationship Id="rId4" Type="http://schemas.openxmlformats.org/officeDocument/2006/relationships/slideMaster" Target="../slideMasters/slideMaster28.xml"/></Relationships>
</file>

<file path=ppt/slideLayouts/_rels/slideLayout112.xml.rels><?xml version="1.0" encoding="UTF-8" standalone="yes"?>
<Relationships xmlns="http://schemas.openxmlformats.org/package/2006/relationships"><Relationship Id="rId3" Type="http://schemas.openxmlformats.org/officeDocument/2006/relationships/slideMaster" Target="../slideMasters/slideMaster28.xml"/><Relationship Id="rId2" Type="http://schemas.openxmlformats.org/officeDocument/2006/relationships/tags" Target="../tags/tag981.xml"/><Relationship Id="rId1" Type="http://schemas.openxmlformats.org/officeDocument/2006/relationships/vmlDrawing" Target="../drawings/vmlDrawing140.vml"/><Relationship Id="rId5" Type="http://schemas.openxmlformats.org/officeDocument/2006/relationships/image" Target="../media/image5.emf"/><Relationship Id="rId4" Type="http://schemas.openxmlformats.org/officeDocument/2006/relationships/oleObject" Target="../embeddings/oleObject140.bin"/></Relationships>
</file>

<file path=ppt/slideLayouts/_rels/slideLayout113.xml.rels><?xml version="1.0" encoding="UTF-8" standalone="yes"?>
<Relationships xmlns="http://schemas.openxmlformats.org/package/2006/relationships"><Relationship Id="rId3" Type="http://schemas.openxmlformats.org/officeDocument/2006/relationships/slideMaster" Target="../slideMasters/slideMaster29.xml"/><Relationship Id="rId2" Type="http://schemas.openxmlformats.org/officeDocument/2006/relationships/tags" Target="../tags/tag1011.xml"/><Relationship Id="rId1" Type="http://schemas.openxmlformats.org/officeDocument/2006/relationships/vmlDrawing" Target="../drawings/vmlDrawing142.vml"/><Relationship Id="rId6" Type="http://schemas.openxmlformats.org/officeDocument/2006/relationships/image" Target="../media/image2.emf"/><Relationship Id="rId5" Type="http://schemas.openxmlformats.org/officeDocument/2006/relationships/oleObject" Target="../embeddings/oleObject142.bin"/><Relationship Id="rId4" Type="http://schemas.openxmlformats.org/officeDocument/2006/relationships/image" Target="../media/image3.jpg"/></Relationships>
</file>

<file path=ppt/slideLayouts/_rels/slideLayout114.xml.rels><?xml version="1.0" encoding="UTF-8" standalone="yes"?>
<Relationships xmlns="http://schemas.openxmlformats.org/package/2006/relationships"><Relationship Id="rId3" Type="http://schemas.openxmlformats.org/officeDocument/2006/relationships/tags" Target="../tags/tag1013.xml"/><Relationship Id="rId2" Type="http://schemas.openxmlformats.org/officeDocument/2006/relationships/tags" Target="../tags/tag1012.xml"/><Relationship Id="rId1" Type="http://schemas.openxmlformats.org/officeDocument/2006/relationships/vmlDrawing" Target="../drawings/vmlDrawing143.vml"/><Relationship Id="rId6" Type="http://schemas.openxmlformats.org/officeDocument/2006/relationships/image" Target="../media/image4.emf"/><Relationship Id="rId5" Type="http://schemas.openxmlformats.org/officeDocument/2006/relationships/oleObject" Target="../embeddings/oleObject143.bin"/><Relationship Id="rId4" Type="http://schemas.openxmlformats.org/officeDocument/2006/relationships/slideMaster" Target="../slideMasters/slideMaster29.xml"/></Relationships>
</file>

<file path=ppt/slideLayouts/_rels/slideLayout115.xml.rels><?xml version="1.0" encoding="UTF-8" standalone="yes"?>
<Relationships xmlns="http://schemas.openxmlformats.org/package/2006/relationships"><Relationship Id="rId3" Type="http://schemas.openxmlformats.org/officeDocument/2006/relationships/tags" Target="../tags/tag1015.xml"/><Relationship Id="rId2" Type="http://schemas.openxmlformats.org/officeDocument/2006/relationships/tags" Target="../tags/tag1014.xml"/><Relationship Id="rId1" Type="http://schemas.openxmlformats.org/officeDocument/2006/relationships/vmlDrawing" Target="../drawings/vmlDrawing144.vml"/><Relationship Id="rId6" Type="http://schemas.openxmlformats.org/officeDocument/2006/relationships/image" Target="../media/image5.emf"/><Relationship Id="rId5" Type="http://schemas.openxmlformats.org/officeDocument/2006/relationships/oleObject" Target="../embeddings/oleObject144.bin"/><Relationship Id="rId4" Type="http://schemas.openxmlformats.org/officeDocument/2006/relationships/slideMaster" Target="../slideMasters/slideMaster29.xml"/></Relationships>
</file>

<file path=ppt/slideLayouts/_rels/slideLayout116.xml.rels><?xml version="1.0" encoding="UTF-8" standalone="yes"?>
<Relationships xmlns="http://schemas.openxmlformats.org/package/2006/relationships"><Relationship Id="rId3" Type="http://schemas.openxmlformats.org/officeDocument/2006/relationships/slideMaster" Target="../slideMasters/slideMaster29.xml"/><Relationship Id="rId2" Type="http://schemas.openxmlformats.org/officeDocument/2006/relationships/tags" Target="../tags/tag1016.xml"/><Relationship Id="rId1" Type="http://schemas.openxmlformats.org/officeDocument/2006/relationships/vmlDrawing" Target="../drawings/vmlDrawing145.vml"/><Relationship Id="rId5" Type="http://schemas.openxmlformats.org/officeDocument/2006/relationships/image" Target="../media/image5.emf"/><Relationship Id="rId4" Type="http://schemas.openxmlformats.org/officeDocument/2006/relationships/oleObject" Target="../embeddings/oleObject145.bin"/></Relationships>
</file>

<file path=ppt/slideLayouts/_rels/slideLayout117.xml.rels><?xml version="1.0" encoding="UTF-8" standalone="yes"?>
<Relationships xmlns="http://schemas.openxmlformats.org/package/2006/relationships"><Relationship Id="rId3" Type="http://schemas.openxmlformats.org/officeDocument/2006/relationships/slideMaster" Target="../slideMasters/slideMaster30.xml"/><Relationship Id="rId2" Type="http://schemas.openxmlformats.org/officeDocument/2006/relationships/tags" Target="../tags/tag1046.xml"/><Relationship Id="rId1" Type="http://schemas.openxmlformats.org/officeDocument/2006/relationships/vmlDrawing" Target="../drawings/vmlDrawing147.vml"/><Relationship Id="rId6" Type="http://schemas.openxmlformats.org/officeDocument/2006/relationships/image" Target="../media/image2.emf"/><Relationship Id="rId5" Type="http://schemas.openxmlformats.org/officeDocument/2006/relationships/oleObject" Target="../embeddings/oleObject147.bin"/><Relationship Id="rId4" Type="http://schemas.openxmlformats.org/officeDocument/2006/relationships/image" Target="../media/image3.jpg"/></Relationships>
</file>

<file path=ppt/slideLayouts/_rels/slideLayout118.xml.rels><?xml version="1.0" encoding="UTF-8" standalone="yes"?>
<Relationships xmlns="http://schemas.openxmlformats.org/package/2006/relationships"><Relationship Id="rId3" Type="http://schemas.openxmlformats.org/officeDocument/2006/relationships/tags" Target="../tags/tag1048.xml"/><Relationship Id="rId2" Type="http://schemas.openxmlformats.org/officeDocument/2006/relationships/tags" Target="../tags/tag1047.xml"/><Relationship Id="rId1" Type="http://schemas.openxmlformats.org/officeDocument/2006/relationships/vmlDrawing" Target="../drawings/vmlDrawing148.vml"/><Relationship Id="rId6" Type="http://schemas.openxmlformats.org/officeDocument/2006/relationships/image" Target="../media/image4.emf"/><Relationship Id="rId5" Type="http://schemas.openxmlformats.org/officeDocument/2006/relationships/oleObject" Target="../embeddings/oleObject148.bin"/><Relationship Id="rId4" Type="http://schemas.openxmlformats.org/officeDocument/2006/relationships/slideMaster" Target="../slideMasters/slideMaster30.xml"/></Relationships>
</file>

<file path=ppt/slideLayouts/_rels/slideLayout119.xml.rels><?xml version="1.0" encoding="UTF-8" standalone="yes"?>
<Relationships xmlns="http://schemas.openxmlformats.org/package/2006/relationships"><Relationship Id="rId3" Type="http://schemas.openxmlformats.org/officeDocument/2006/relationships/tags" Target="../tags/tag1050.xml"/><Relationship Id="rId2" Type="http://schemas.openxmlformats.org/officeDocument/2006/relationships/tags" Target="../tags/tag1049.xml"/><Relationship Id="rId1" Type="http://schemas.openxmlformats.org/officeDocument/2006/relationships/vmlDrawing" Target="../drawings/vmlDrawing149.vml"/><Relationship Id="rId6" Type="http://schemas.openxmlformats.org/officeDocument/2006/relationships/image" Target="../media/image5.emf"/><Relationship Id="rId5" Type="http://schemas.openxmlformats.org/officeDocument/2006/relationships/oleObject" Target="../embeddings/oleObject149.bin"/><Relationship Id="rId4" Type="http://schemas.openxmlformats.org/officeDocument/2006/relationships/slideMaster" Target="../slideMasters/slideMaster30.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06.xml"/><Relationship Id="rId1" Type="http://schemas.openxmlformats.org/officeDocument/2006/relationships/vmlDrawing" Target="../drawings/vmlDrawing15.vml"/><Relationship Id="rId5" Type="http://schemas.openxmlformats.org/officeDocument/2006/relationships/image" Target="../media/image5.emf"/><Relationship Id="rId4" Type="http://schemas.openxmlformats.org/officeDocument/2006/relationships/oleObject" Target="../embeddings/oleObject15.bin"/></Relationships>
</file>

<file path=ppt/slideLayouts/_rels/slideLayout120.xml.rels><?xml version="1.0" encoding="UTF-8" standalone="yes"?>
<Relationships xmlns="http://schemas.openxmlformats.org/package/2006/relationships"><Relationship Id="rId3" Type="http://schemas.openxmlformats.org/officeDocument/2006/relationships/slideMaster" Target="../slideMasters/slideMaster30.xml"/><Relationship Id="rId2" Type="http://schemas.openxmlformats.org/officeDocument/2006/relationships/tags" Target="../tags/tag1051.xml"/><Relationship Id="rId1" Type="http://schemas.openxmlformats.org/officeDocument/2006/relationships/vmlDrawing" Target="../drawings/vmlDrawing150.vml"/><Relationship Id="rId5" Type="http://schemas.openxmlformats.org/officeDocument/2006/relationships/image" Target="../media/image5.emf"/><Relationship Id="rId4" Type="http://schemas.openxmlformats.org/officeDocument/2006/relationships/oleObject" Target="../embeddings/oleObject150.bin"/></Relationships>
</file>

<file path=ppt/slideLayouts/_rels/slideLayout121.xml.rels><?xml version="1.0" encoding="UTF-8" standalone="yes"?>
<Relationships xmlns="http://schemas.openxmlformats.org/package/2006/relationships"><Relationship Id="rId3" Type="http://schemas.openxmlformats.org/officeDocument/2006/relationships/slideMaster" Target="../slideMasters/slideMaster31.xml"/><Relationship Id="rId2" Type="http://schemas.openxmlformats.org/officeDocument/2006/relationships/tags" Target="../tags/tag1081.xml"/><Relationship Id="rId1" Type="http://schemas.openxmlformats.org/officeDocument/2006/relationships/vmlDrawing" Target="../drawings/vmlDrawing152.vml"/><Relationship Id="rId6" Type="http://schemas.openxmlformats.org/officeDocument/2006/relationships/image" Target="../media/image2.emf"/><Relationship Id="rId5" Type="http://schemas.openxmlformats.org/officeDocument/2006/relationships/oleObject" Target="../embeddings/oleObject152.bin"/><Relationship Id="rId4" Type="http://schemas.openxmlformats.org/officeDocument/2006/relationships/image" Target="../media/image3.jpg"/></Relationships>
</file>

<file path=ppt/slideLayouts/_rels/slideLayout122.xml.rels><?xml version="1.0" encoding="UTF-8" standalone="yes"?>
<Relationships xmlns="http://schemas.openxmlformats.org/package/2006/relationships"><Relationship Id="rId3" Type="http://schemas.openxmlformats.org/officeDocument/2006/relationships/tags" Target="../tags/tag1083.xml"/><Relationship Id="rId2" Type="http://schemas.openxmlformats.org/officeDocument/2006/relationships/tags" Target="../tags/tag1082.xml"/><Relationship Id="rId1" Type="http://schemas.openxmlformats.org/officeDocument/2006/relationships/vmlDrawing" Target="../drawings/vmlDrawing153.vml"/><Relationship Id="rId6" Type="http://schemas.openxmlformats.org/officeDocument/2006/relationships/image" Target="../media/image4.emf"/><Relationship Id="rId5" Type="http://schemas.openxmlformats.org/officeDocument/2006/relationships/oleObject" Target="../embeddings/oleObject153.bin"/><Relationship Id="rId4" Type="http://schemas.openxmlformats.org/officeDocument/2006/relationships/slideMaster" Target="../slideMasters/slideMaster31.xml"/></Relationships>
</file>

<file path=ppt/slideLayouts/_rels/slideLayout123.xml.rels><?xml version="1.0" encoding="UTF-8" standalone="yes"?>
<Relationships xmlns="http://schemas.openxmlformats.org/package/2006/relationships"><Relationship Id="rId3" Type="http://schemas.openxmlformats.org/officeDocument/2006/relationships/tags" Target="../tags/tag1085.xml"/><Relationship Id="rId2" Type="http://schemas.openxmlformats.org/officeDocument/2006/relationships/tags" Target="../tags/tag1084.xml"/><Relationship Id="rId1" Type="http://schemas.openxmlformats.org/officeDocument/2006/relationships/vmlDrawing" Target="../drawings/vmlDrawing154.vml"/><Relationship Id="rId6" Type="http://schemas.openxmlformats.org/officeDocument/2006/relationships/image" Target="../media/image5.emf"/><Relationship Id="rId5" Type="http://schemas.openxmlformats.org/officeDocument/2006/relationships/oleObject" Target="../embeddings/oleObject154.bin"/><Relationship Id="rId4" Type="http://schemas.openxmlformats.org/officeDocument/2006/relationships/slideMaster" Target="../slideMasters/slideMaster31.xml"/></Relationships>
</file>

<file path=ppt/slideLayouts/_rels/slideLayout124.xml.rels><?xml version="1.0" encoding="UTF-8" standalone="yes"?>
<Relationships xmlns="http://schemas.openxmlformats.org/package/2006/relationships"><Relationship Id="rId3" Type="http://schemas.openxmlformats.org/officeDocument/2006/relationships/slideMaster" Target="../slideMasters/slideMaster31.xml"/><Relationship Id="rId2" Type="http://schemas.openxmlformats.org/officeDocument/2006/relationships/tags" Target="../tags/tag1086.xml"/><Relationship Id="rId1" Type="http://schemas.openxmlformats.org/officeDocument/2006/relationships/vmlDrawing" Target="../drawings/vmlDrawing155.vml"/><Relationship Id="rId5" Type="http://schemas.openxmlformats.org/officeDocument/2006/relationships/image" Target="../media/image5.emf"/><Relationship Id="rId4" Type="http://schemas.openxmlformats.org/officeDocument/2006/relationships/oleObject" Target="../embeddings/oleObject155.bin"/></Relationships>
</file>

<file path=ppt/slideLayouts/_rels/slideLayout125.xml.rels><?xml version="1.0" encoding="UTF-8" standalone="yes"?>
<Relationships xmlns="http://schemas.openxmlformats.org/package/2006/relationships"><Relationship Id="rId3" Type="http://schemas.openxmlformats.org/officeDocument/2006/relationships/slideMaster" Target="../slideMasters/slideMaster32.xml"/><Relationship Id="rId2" Type="http://schemas.openxmlformats.org/officeDocument/2006/relationships/tags" Target="../tags/tag1116.xml"/><Relationship Id="rId1" Type="http://schemas.openxmlformats.org/officeDocument/2006/relationships/vmlDrawing" Target="../drawings/vmlDrawing157.vml"/><Relationship Id="rId6" Type="http://schemas.openxmlformats.org/officeDocument/2006/relationships/image" Target="../media/image2.emf"/><Relationship Id="rId5" Type="http://schemas.openxmlformats.org/officeDocument/2006/relationships/oleObject" Target="../embeddings/oleObject157.bin"/><Relationship Id="rId4" Type="http://schemas.openxmlformats.org/officeDocument/2006/relationships/image" Target="../media/image3.jpg"/></Relationships>
</file>

<file path=ppt/slideLayouts/_rels/slideLayout126.xml.rels><?xml version="1.0" encoding="UTF-8" standalone="yes"?>
<Relationships xmlns="http://schemas.openxmlformats.org/package/2006/relationships"><Relationship Id="rId3" Type="http://schemas.openxmlformats.org/officeDocument/2006/relationships/tags" Target="../tags/tag1118.xml"/><Relationship Id="rId2" Type="http://schemas.openxmlformats.org/officeDocument/2006/relationships/tags" Target="../tags/tag1117.xml"/><Relationship Id="rId1" Type="http://schemas.openxmlformats.org/officeDocument/2006/relationships/vmlDrawing" Target="../drawings/vmlDrawing158.vml"/><Relationship Id="rId6" Type="http://schemas.openxmlformats.org/officeDocument/2006/relationships/image" Target="../media/image4.emf"/><Relationship Id="rId5" Type="http://schemas.openxmlformats.org/officeDocument/2006/relationships/oleObject" Target="../embeddings/oleObject158.bin"/><Relationship Id="rId4" Type="http://schemas.openxmlformats.org/officeDocument/2006/relationships/slideMaster" Target="../slideMasters/slideMaster32.xml"/></Relationships>
</file>

<file path=ppt/slideLayouts/_rels/slideLayout127.xml.rels><?xml version="1.0" encoding="UTF-8" standalone="yes"?>
<Relationships xmlns="http://schemas.openxmlformats.org/package/2006/relationships"><Relationship Id="rId3" Type="http://schemas.openxmlformats.org/officeDocument/2006/relationships/tags" Target="../tags/tag1120.xml"/><Relationship Id="rId2" Type="http://schemas.openxmlformats.org/officeDocument/2006/relationships/tags" Target="../tags/tag1119.xml"/><Relationship Id="rId1" Type="http://schemas.openxmlformats.org/officeDocument/2006/relationships/vmlDrawing" Target="../drawings/vmlDrawing159.vml"/><Relationship Id="rId6" Type="http://schemas.openxmlformats.org/officeDocument/2006/relationships/image" Target="../media/image5.emf"/><Relationship Id="rId5" Type="http://schemas.openxmlformats.org/officeDocument/2006/relationships/oleObject" Target="../embeddings/oleObject159.bin"/><Relationship Id="rId4" Type="http://schemas.openxmlformats.org/officeDocument/2006/relationships/slideMaster" Target="../slideMasters/slideMaster32.xml"/></Relationships>
</file>

<file path=ppt/slideLayouts/_rels/slideLayout128.xml.rels><?xml version="1.0" encoding="UTF-8" standalone="yes"?>
<Relationships xmlns="http://schemas.openxmlformats.org/package/2006/relationships"><Relationship Id="rId3" Type="http://schemas.openxmlformats.org/officeDocument/2006/relationships/slideMaster" Target="../slideMasters/slideMaster32.xml"/><Relationship Id="rId2" Type="http://schemas.openxmlformats.org/officeDocument/2006/relationships/tags" Target="../tags/tag1121.xml"/><Relationship Id="rId1" Type="http://schemas.openxmlformats.org/officeDocument/2006/relationships/vmlDrawing" Target="../drawings/vmlDrawing160.vml"/><Relationship Id="rId5" Type="http://schemas.openxmlformats.org/officeDocument/2006/relationships/image" Target="../media/image5.emf"/><Relationship Id="rId4" Type="http://schemas.openxmlformats.org/officeDocument/2006/relationships/oleObject" Target="../embeddings/oleObject160.bin"/></Relationships>
</file>

<file path=ppt/slideLayouts/_rels/slideLayout129.xml.rels><?xml version="1.0" encoding="UTF-8" standalone="yes"?>
<Relationships xmlns="http://schemas.openxmlformats.org/package/2006/relationships"><Relationship Id="rId3" Type="http://schemas.openxmlformats.org/officeDocument/2006/relationships/slideMaster" Target="../slideMasters/slideMaster33.xml"/><Relationship Id="rId2" Type="http://schemas.openxmlformats.org/officeDocument/2006/relationships/tags" Target="../tags/tag1151.xml"/><Relationship Id="rId1" Type="http://schemas.openxmlformats.org/officeDocument/2006/relationships/vmlDrawing" Target="../drawings/vmlDrawing162.vml"/><Relationship Id="rId6" Type="http://schemas.openxmlformats.org/officeDocument/2006/relationships/image" Target="../media/image2.emf"/><Relationship Id="rId5" Type="http://schemas.openxmlformats.org/officeDocument/2006/relationships/oleObject" Target="../embeddings/oleObject162.bin"/><Relationship Id="rId4" Type="http://schemas.openxmlformats.org/officeDocument/2006/relationships/image" Target="../media/image3.jpg"/></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36.xml"/><Relationship Id="rId1" Type="http://schemas.openxmlformats.org/officeDocument/2006/relationships/vmlDrawing" Target="../drawings/vmlDrawing17.vml"/><Relationship Id="rId6" Type="http://schemas.openxmlformats.org/officeDocument/2006/relationships/image" Target="../media/image2.emf"/><Relationship Id="rId5" Type="http://schemas.openxmlformats.org/officeDocument/2006/relationships/oleObject" Target="../embeddings/oleObject17.bin"/><Relationship Id="rId4" Type="http://schemas.openxmlformats.org/officeDocument/2006/relationships/image" Target="../media/image3.jpg"/></Relationships>
</file>

<file path=ppt/slideLayouts/_rels/slideLayout130.xml.rels><?xml version="1.0" encoding="UTF-8" standalone="yes"?>
<Relationships xmlns="http://schemas.openxmlformats.org/package/2006/relationships"><Relationship Id="rId3" Type="http://schemas.openxmlformats.org/officeDocument/2006/relationships/tags" Target="../tags/tag1153.xml"/><Relationship Id="rId2" Type="http://schemas.openxmlformats.org/officeDocument/2006/relationships/tags" Target="../tags/tag1152.xml"/><Relationship Id="rId1" Type="http://schemas.openxmlformats.org/officeDocument/2006/relationships/vmlDrawing" Target="../drawings/vmlDrawing163.vml"/><Relationship Id="rId6" Type="http://schemas.openxmlformats.org/officeDocument/2006/relationships/image" Target="../media/image4.emf"/><Relationship Id="rId5" Type="http://schemas.openxmlformats.org/officeDocument/2006/relationships/oleObject" Target="../embeddings/oleObject163.bin"/><Relationship Id="rId4" Type="http://schemas.openxmlformats.org/officeDocument/2006/relationships/slideMaster" Target="../slideMasters/slideMaster33.xml"/></Relationships>
</file>

<file path=ppt/slideLayouts/_rels/slideLayout131.xml.rels><?xml version="1.0" encoding="UTF-8" standalone="yes"?>
<Relationships xmlns="http://schemas.openxmlformats.org/package/2006/relationships"><Relationship Id="rId3" Type="http://schemas.openxmlformats.org/officeDocument/2006/relationships/tags" Target="../tags/tag1155.xml"/><Relationship Id="rId2" Type="http://schemas.openxmlformats.org/officeDocument/2006/relationships/tags" Target="../tags/tag1154.xml"/><Relationship Id="rId1" Type="http://schemas.openxmlformats.org/officeDocument/2006/relationships/vmlDrawing" Target="../drawings/vmlDrawing164.vml"/><Relationship Id="rId6" Type="http://schemas.openxmlformats.org/officeDocument/2006/relationships/image" Target="../media/image5.emf"/><Relationship Id="rId5" Type="http://schemas.openxmlformats.org/officeDocument/2006/relationships/oleObject" Target="../embeddings/oleObject164.bin"/><Relationship Id="rId4" Type="http://schemas.openxmlformats.org/officeDocument/2006/relationships/slideMaster" Target="../slideMasters/slideMaster33.xml"/></Relationships>
</file>

<file path=ppt/slideLayouts/_rels/slideLayout132.xml.rels><?xml version="1.0" encoding="UTF-8" standalone="yes"?>
<Relationships xmlns="http://schemas.openxmlformats.org/package/2006/relationships"><Relationship Id="rId3" Type="http://schemas.openxmlformats.org/officeDocument/2006/relationships/slideMaster" Target="../slideMasters/slideMaster34.xml"/><Relationship Id="rId2" Type="http://schemas.openxmlformats.org/officeDocument/2006/relationships/tags" Target="../tags/tag1185.xml"/><Relationship Id="rId1" Type="http://schemas.openxmlformats.org/officeDocument/2006/relationships/vmlDrawing" Target="../drawings/vmlDrawing166.vml"/><Relationship Id="rId6" Type="http://schemas.openxmlformats.org/officeDocument/2006/relationships/image" Target="../media/image2.emf"/><Relationship Id="rId5" Type="http://schemas.openxmlformats.org/officeDocument/2006/relationships/oleObject" Target="../embeddings/oleObject166.bin"/><Relationship Id="rId4" Type="http://schemas.openxmlformats.org/officeDocument/2006/relationships/image" Target="../media/image3.jpg"/></Relationships>
</file>

<file path=ppt/slideLayouts/_rels/slideLayout133.xml.rels><?xml version="1.0" encoding="UTF-8" standalone="yes"?>
<Relationships xmlns="http://schemas.openxmlformats.org/package/2006/relationships"><Relationship Id="rId3" Type="http://schemas.openxmlformats.org/officeDocument/2006/relationships/tags" Target="../tags/tag1187.xml"/><Relationship Id="rId2" Type="http://schemas.openxmlformats.org/officeDocument/2006/relationships/tags" Target="../tags/tag1186.xml"/><Relationship Id="rId1" Type="http://schemas.openxmlformats.org/officeDocument/2006/relationships/vmlDrawing" Target="../drawings/vmlDrawing167.vml"/><Relationship Id="rId6" Type="http://schemas.openxmlformats.org/officeDocument/2006/relationships/image" Target="../media/image4.emf"/><Relationship Id="rId5" Type="http://schemas.openxmlformats.org/officeDocument/2006/relationships/oleObject" Target="../embeddings/oleObject167.bin"/><Relationship Id="rId4" Type="http://schemas.openxmlformats.org/officeDocument/2006/relationships/slideMaster" Target="../slideMasters/slideMaster34.xml"/></Relationships>
</file>

<file path=ppt/slideLayouts/_rels/slideLayout134.xml.rels><?xml version="1.0" encoding="UTF-8" standalone="yes"?>
<Relationships xmlns="http://schemas.openxmlformats.org/package/2006/relationships"><Relationship Id="rId3" Type="http://schemas.openxmlformats.org/officeDocument/2006/relationships/tags" Target="../tags/tag1189.xml"/><Relationship Id="rId2" Type="http://schemas.openxmlformats.org/officeDocument/2006/relationships/tags" Target="../tags/tag1188.xml"/><Relationship Id="rId1" Type="http://schemas.openxmlformats.org/officeDocument/2006/relationships/vmlDrawing" Target="../drawings/vmlDrawing168.vml"/><Relationship Id="rId6" Type="http://schemas.openxmlformats.org/officeDocument/2006/relationships/image" Target="../media/image5.emf"/><Relationship Id="rId5" Type="http://schemas.openxmlformats.org/officeDocument/2006/relationships/oleObject" Target="../embeddings/oleObject168.bin"/><Relationship Id="rId4" Type="http://schemas.openxmlformats.org/officeDocument/2006/relationships/slideMaster" Target="../slideMasters/slideMaster34.xml"/></Relationships>
</file>

<file path=ppt/slideLayouts/_rels/slideLayout135.xml.rels><?xml version="1.0" encoding="UTF-8" standalone="yes"?>
<Relationships xmlns="http://schemas.openxmlformats.org/package/2006/relationships"><Relationship Id="rId3" Type="http://schemas.openxmlformats.org/officeDocument/2006/relationships/slideMaster" Target="../slideMasters/slideMaster34.xml"/><Relationship Id="rId2" Type="http://schemas.openxmlformats.org/officeDocument/2006/relationships/tags" Target="../tags/tag1190.xml"/><Relationship Id="rId1" Type="http://schemas.openxmlformats.org/officeDocument/2006/relationships/vmlDrawing" Target="../drawings/vmlDrawing169.vml"/><Relationship Id="rId5" Type="http://schemas.openxmlformats.org/officeDocument/2006/relationships/image" Target="../media/image5.emf"/><Relationship Id="rId4" Type="http://schemas.openxmlformats.org/officeDocument/2006/relationships/oleObject" Target="../embeddings/oleObject169.bin"/></Relationships>
</file>

<file path=ppt/slideLayouts/_rels/slideLayout136.xml.rels><?xml version="1.0" encoding="UTF-8" standalone="yes"?>
<Relationships xmlns="http://schemas.openxmlformats.org/package/2006/relationships"><Relationship Id="rId3" Type="http://schemas.openxmlformats.org/officeDocument/2006/relationships/slideMaster" Target="../slideMasters/slideMaster35.xml"/><Relationship Id="rId2" Type="http://schemas.openxmlformats.org/officeDocument/2006/relationships/tags" Target="../tags/tag1220.xml"/><Relationship Id="rId1" Type="http://schemas.openxmlformats.org/officeDocument/2006/relationships/vmlDrawing" Target="../drawings/vmlDrawing171.vml"/><Relationship Id="rId6" Type="http://schemas.openxmlformats.org/officeDocument/2006/relationships/image" Target="../media/image2.emf"/><Relationship Id="rId5" Type="http://schemas.openxmlformats.org/officeDocument/2006/relationships/oleObject" Target="../embeddings/oleObject171.bin"/><Relationship Id="rId4" Type="http://schemas.openxmlformats.org/officeDocument/2006/relationships/image" Target="../media/image3.jpg"/></Relationships>
</file>

<file path=ppt/slideLayouts/_rels/slideLayout137.xml.rels><?xml version="1.0" encoding="UTF-8" standalone="yes"?>
<Relationships xmlns="http://schemas.openxmlformats.org/package/2006/relationships"><Relationship Id="rId3" Type="http://schemas.openxmlformats.org/officeDocument/2006/relationships/tags" Target="../tags/tag1222.xml"/><Relationship Id="rId2" Type="http://schemas.openxmlformats.org/officeDocument/2006/relationships/tags" Target="../tags/tag1221.xml"/><Relationship Id="rId1" Type="http://schemas.openxmlformats.org/officeDocument/2006/relationships/vmlDrawing" Target="../drawings/vmlDrawing172.vml"/><Relationship Id="rId6" Type="http://schemas.openxmlformats.org/officeDocument/2006/relationships/image" Target="../media/image4.emf"/><Relationship Id="rId5" Type="http://schemas.openxmlformats.org/officeDocument/2006/relationships/oleObject" Target="../embeddings/oleObject172.bin"/><Relationship Id="rId4" Type="http://schemas.openxmlformats.org/officeDocument/2006/relationships/slideMaster" Target="../slideMasters/slideMaster35.xml"/></Relationships>
</file>

<file path=ppt/slideLayouts/_rels/slideLayout138.xml.rels><?xml version="1.0" encoding="UTF-8" standalone="yes"?>
<Relationships xmlns="http://schemas.openxmlformats.org/package/2006/relationships"><Relationship Id="rId3" Type="http://schemas.openxmlformats.org/officeDocument/2006/relationships/tags" Target="../tags/tag1224.xml"/><Relationship Id="rId2" Type="http://schemas.openxmlformats.org/officeDocument/2006/relationships/tags" Target="../tags/tag1223.xml"/><Relationship Id="rId1" Type="http://schemas.openxmlformats.org/officeDocument/2006/relationships/vmlDrawing" Target="../drawings/vmlDrawing173.vml"/><Relationship Id="rId6" Type="http://schemas.openxmlformats.org/officeDocument/2006/relationships/image" Target="../media/image5.emf"/><Relationship Id="rId5" Type="http://schemas.openxmlformats.org/officeDocument/2006/relationships/oleObject" Target="../embeddings/oleObject173.bin"/><Relationship Id="rId4" Type="http://schemas.openxmlformats.org/officeDocument/2006/relationships/slideMaster" Target="../slideMasters/slideMaster35.xml"/></Relationships>
</file>

<file path=ppt/slideLayouts/_rels/slideLayout139.xml.rels><?xml version="1.0" encoding="UTF-8" standalone="yes"?>
<Relationships xmlns="http://schemas.openxmlformats.org/package/2006/relationships"><Relationship Id="rId3" Type="http://schemas.openxmlformats.org/officeDocument/2006/relationships/slideMaster" Target="../slideMasters/slideMaster35.xml"/><Relationship Id="rId2" Type="http://schemas.openxmlformats.org/officeDocument/2006/relationships/tags" Target="../tags/tag1225.xml"/><Relationship Id="rId1" Type="http://schemas.openxmlformats.org/officeDocument/2006/relationships/vmlDrawing" Target="../drawings/vmlDrawing174.vml"/><Relationship Id="rId5" Type="http://schemas.openxmlformats.org/officeDocument/2006/relationships/image" Target="../media/image5.emf"/><Relationship Id="rId4" Type="http://schemas.openxmlformats.org/officeDocument/2006/relationships/oleObject" Target="../embeddings/oleObject174.bin"/></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138.xml"/><Relationship Id="rId2" Type="http://schemas.openxmlformats.org/officeDocument/2006/relationships/tags" Target="../tags/tag137.xml"/><Relationship Id="rId1" Type="http://schemas.openxmlformats.org/officeDocument/2006/relationships/vmlDrawing" Target="../drawings/vmlDrawing18.vml"/><Relationship Id="rId6" Type="http://schemas.openxmlformats.org/officeDocument/2006/relationships/image" Target="../media/image4.emf"/><Relationship Id="rId5" Type="http://schemas.openxmlformats.org/officeDocument/2006/relationships/oleObject" Target="../embeddings/oleObject18.bin"/><Relationship Id="rId4" Type="http://schemas.openxmlformats.org/officeDocument/2006/relationships/slideMaster" Target="../slideMasters/slideMaster4.xml"/></Relationships>
</file>

<file path=ppt/slideLayouts/_rels/slideLayout140.xml.rels><?xml version="1.0" encoding="UTF-8" standalone="yes"?>
<Relationships xmlns="http://schemas.openxmlformats.org/package/2006/relationships"><Relationship Id="rId3" Type="http://schemas.openxmlformats.org/officeDocument/2006/relationships/slideMaster" Target="../slideMasters/slideMaster36.xml"/><Relationship Id="rId2" Type="http://schemas.openxmlformats.org/officeDocument/2006/relationships/tags" Target="../tags/tag1255.xml"/><Relationship Id="rId1" Type="http://schemas.openxmlformats.org/officeDocument/2006/relationships/vmlDrawing" Target="../drawings/vmlDrawing176.vml"/><Relationship Id="rId6" Type="http://schemas.openxmlformats.org/officeDocument/2006/relationships/image" Target="../media/image2.emf"/><Relationship Id="rId5" Type="http://schemas.openxmlformats.org/officeDocument/2006/relationships/oleObject" Target="../embeddings/oleObject176.bin"/><Relationship Id="rId4" Type="http://schemas.openxmlformats.org/officeDocument/2006/relationships/image" Target="../media/image3.jpg"/></Relationships>
</file>

<file path=ppt/slideLayouts/_rels/slideLayout141.xml.rels><?xml version="1.0" encoding="UTF-8" standalone="yes"?>
<Relationships xmlns="http://schemas.openxmlformats.org/package/2006/relationships"><Relationship Id="rId3" Type="http://schemas.openxmlformats.org/officeDocument/2006/relationships/tags" Target="../tags/tag1257.xml"/><Relationship Id="rId2" Type="http://schemas.openxmlformats.org/officeDocument/2006/relationships/tags" Target="../tags/tag1256.xml"/><Relationship Id="rId1" Type="http://schemas.openxmlformats.org/officeDocument/2006/relationships/vmlDrawing" Target="../drawings/vmlDrawing177.vml"/><Relationship Id="rId6" Type="http://schemas.openxmlformats.org/officeDocument/2006/relationships/image" Target="../media/image4.emf"/><Relationship Id="rId5" Type="http://schemas.openxmlformats.org/officeDocument/2006/relationships/oleObject" Target="../embeddings/oleObject177.bin"/><Relationship Id="rId4" Type="http://schemas.openxmlformats.org/officeDocument/2006/relationships/slideMaster" Target="../slideMasters/slideMaster36.xml"/></Relationships>
</file>

<file path=ppt/slideLayouts/_rels/slideLayout142.xml.rels><?xml version="1.0" encoding="UTF-8" standalone="yes"?>
<Relationships xmlns="http://schemas.openxmlformats.org/package/2006/relationships"><Relationship Id="rId3" Type="http://schemas.openxmlformats.org/officeDocument/2006/relationships/tags" Target="../tags/tag1259.xml"/><Relationship Id="rId2" Type="http://schemas.openxmlformats.org/officeDocument/2006/relationships/tags" Target="../tags/tag1258.xml"/><Relationship Id="rId1" Type="http://schemas.openxmlformats.org/officeDocument/2006/relationships/vmlDrawing" Target="../drawings/vmlDrawing178.vml"/><Relationship Id="rId6" Type="http://schemas.openxmlformats.org/officeDocument/2006/relationships/image" Target="../media/image5.emf"/><Relationship Id="rId5" Type="http://schemas.openxmlformats.org/officeDocument/2006/relationships/oleObject" Target="../embeddings/oleObject178.bin"/><Relationship Id="rId4" Type="http://schemas.openxmlformats.org/officeDocument/2006/relationships/slideMaster" Target="../slideMasters/slideMaster36.xml"/></Relationships>
</file>

<file path=ppt/slideLayouts/_rels/slideLayout143.xml.rels><?xml version="1.0" encoding="UTF-8" standalone="yes"?>
<Relationships xmlns="http://schemas.openxmlformats.org/package/2006/relationships"><Relationship Id="rId3" Type="http://schemas.openxmlformats.org/officeDocument/2006/relationships/slideMaster" Target="../slideMasters/slideMaster36.xml"/><Relationship Id="rId2" Type="http://schemas.openxmlformats.org/officeDocument/2006/relationships/tags" Target="../tags/tag1260.xml"/><Relationship Id="rId1" Type="http://schemas.openxmlformats.org/officeDocument/2006/relationships/vmlDrawing" Target="../drawings/vmlDrawing179.vml"/><Relationship Id="rId5" Type="http://schemas.openxmlformats.org/officeDocument/2006/relationships/image" Target="../media/image5.emf"/><Relationship Id="rId4" Type="http://schemas.openxmlformats.org/officeDocument/2006/relationships/oleObject" Target="../embeddings/oleObject179.bin"/></Relationships>
</file>

<file path=ppt/slideLayouts/_rels/slideLayout144.xml.rels><?xml version="1.0" encoding="UTF-8" standalone="yes"?>
<Relationships xmlns="http://schemas.openxmlformats.org/package/2006/relationships"><Relationship Id="rId3" Type="http://schemas.openxmlformats.org/officeDocument/2006/relationships/slideMaster" Target="../slideMasters/slideMaster37.xml"/><Relationship Id="rId2" Type="http://schemas.openxmlformats.org/officeDocument/2006/relationships/tags" Target="../tags/tag1290.xml"/><Relationship Id="rId1" Type="http://schemas.openxmlformats.org/officeDocument/2006/relationships/vmlDrawing" Target="../drawings/vmlDrawing181.vml"/><Relationship Id="rId6" Type="http://schemas.openxmlformats.org/officeDocument/2006/relationships/image" Target="../media/image2.emf"/><Relationship Id="rId5" Type="http://schemas.openxmlformats.org/officeDocument/2006/relationships/oleObject" Target="../embeddings/oleObject181.bin"/><Relationship Id="rId4" Type="http://schemas.openxmlformats.org/officeDocument/2006/relationships/image" Target="../media/image3.jpg"/></Relationships>
</file>

<file path=ppt/slideLayouts/_rels/slideLayout145.xml.rels><?xml version="1.0" encoding="UTF-8" standalone="yes"?>
<Relationships xmlns="http://schemas.openxmlformats.org/package/2006/relationships"><Relationship Id="rId3" Type="http://schemas.openxmlformats.org/officeDocument/2006/relationships/tags" Target="../tags/tag1292.xml"/><Relationship Id="rId2" Type="http://schemas.openxmlformats.org/officeDocument/2006/relationships/tags" Target="../tags/tag1291.xml"/><Relationship Id="rId1" Type="http://schemas.openxmlformats.org/officeDocument/2006/relationships/vmlDrawing" Target="../drawings/vmlDrawing182.vml"/><Relationship Id="rId6" Type="http://schemas.openxmlformats.org/officeDocument/2006/relationships/image" Target="../media/image4.emf"/><Relationship Id="rId5" Type="http://schemas.openxmlformats.org/officeDocument/2006/relationships/oleObject" Target="../embeddings/oleObject182.bin"/><Relationship Id="rId4" Type="http://schemas.openxmlformats.org/officeDocument/2006/relationships/slideMaster" Target="../slideMasters/slideMaster37.xml"/></Relationships>
</file>

<file path=ppt/slideLayouts/_rels/slideLayout146.xml.rels><?xml version="1.0" encoding="UTF-8" standalone="yes"?>
<Relationships xmlns="http://schemas.openxmlformats.org/package/2006/relationships"><Relationship Id="rId3" Type="http://schemas.openxmlformats.org/officeDocument/2006/relationships/tags" Target="../tags/tag1294.xml"/><Relationship Id="rId2" Type="http://schemas.openxmlformats.org/officeDocument/2006/relationships/tags" Target="../tags/tag1293.xml"/><Relationship Id="rId1" Type="http://schemas.openxmlformats.org/officeDocument/2006/relationships/vmlDrawing" Target="../drawings/vmlDrawing183.vml"/><Relationship Id="rId6" Type="http://schemas.openxmlformats.org/officeDocument/2006/relationships/image" Target="../media/image5.emf"/><Relationship Id="rId5" Type="http://schemas.openxmlformats.org/officeDocument/2006/relationships/oleObject" Target="../embeddings/oleObject183.bin"/><Relationship Id="rId4" Type="http://schemas.openxmlformats.org/officeDocument/2006/relationships/slideMaster" Target="../slideMasters/slideMaster37.xml"/></Relationships>
</file>

<file path=ppt/slideLayouts/_rels/slideLayout147.xml.rels><?xml version="1.0" encoding="UTF-8" standalone="yes"?>
<Relationships xmlns="http://schemas.openxmlformats.org/package/2006/relationships"><Relationship Id="rId3" Type="http://schemas.openxmlformats.org/officeDocument/2006/relationships/slideMaster" Target="../slideMasters/slideMaster37.xml"/><Relationship Id="rId2" Type="http://schemas.openxmlformats.org/officeDocument/2006/relationships/tags" Target="../tags/tag1295.xml"/><Relationship Id="rId1" Type="http://schemas.openxmlformats.org/officeDocument/2006/relationships/vmlDrawing" Target="../drawings/vmlDrawing184.vml"/><Relationship Id="rId5" Type="http://schemas.openxmlformats.org/officeDocument/2006/relationships/image" Target="../media/image5.emf"/><Relationship Id="rId4" Type="http://schemas.openxmlformats.org/officeDocument/2006/relationships/oleObject" Target="../embeddings/oleObject184.bin"/></Relationships>
</file>

<file path=ppt/slideLayouts/_rels/slideLayout148.xml.rels><?xml version="1.0" encoding="UTF-8" standalone="yes"?>
<Relationships xmlns="http://schemas.openxmlformats.org/package/2006/relationships"><Relationship Id="rId3" Type="http://schemas.openxmlformats.org/officeDocument/2006/relationships/slideMaster" Target="../slideMasters/slideMaster38.xml"/><Relationship Id="rId2" Type="http://schemas.openxmlformats.org/officeDocument/2006/relationships/tags" Target="../tags/tag1325.xml"/><Relationship Id="rId1" Type="http://schemas.openxmlformats.org/officeDocument/2006/relationships/vmlDrawing" Target="../drawings/vmlDrawing186.vml"/><Relationship Id="rId6" Type="http://schemas.openxmlformats.org/officeDocument/2006/relationships/image" Target="../media/image2.emf"/><Relationship Id="rId5" Type="http://schemas.openxmlformats.org/officeDocument/2006/relationships/oleObject" Target="../embeddings/oleObject186.bin"/><Relationship Id="rId4" Type="http://schemas.openxmlformats.org/officeDocument/2006/relationships/image" Target="../media/image3.jpg"/></Relationships>
</file>

<file path=ppt/slideLayouts/_rels/slideLayout149.xml.rels><?xml version="1.0" encoding="UTF-8" standalone="yes"?>
<Relationships xmlns="http://schemas.openxmlformats.org/package/2006/relationships"><Relationship Id="rId3" Type="http://schemas.openxmlformats.org/officeDocument/2006/relationships/tags" Target="../tags/tag1327.xml"/><Relationship Id="rId2" Type="http://schemas.openxmlformats.org/officeDocument/2006/relationships/tags" Target="../tags/tag1326.xml"/><Relationship Id="rId1" Type="http://schemas.openxmlformats.org/officeDocument/2006/relationships/vmlDrawing" Target="../drawings/vmlDrawing187.vml"/><Relationship Id="rId6" Type="http://schemas.openxmlformats.org/officeDocument/2006/relationships/image" Target="../media/image4.emf"/><Relationship Id="rId5" Type="http://schemas.openxmlformats.org/officeDocument/2006/relationships/oleObject" Target="../embeddings/oleObject187.bin"/><Relationship Id="rId4" Type="http://schemas.openxmlformats.org/officeDocument/2006/relationships/slideMaster" Target="../slideMasters/slideMaster38.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140.xml"/><Relationship Id="rId2" Type="http://schemas.openxmlformats.org/officeDocument/2006/relationships/tags" Target="../tags/tag139.xml"/><Relationship Id="rId1" Type="http://schemas.openxmlformats.org/officeDocument/2006/relationships/vmlDrawing" Target="../drawings/vmlDrawing19.vml"/><Relationship Id="rId6" Type="http://schemas.openxmlformats.org/officeDocument/2006/relationships/image" Target="../media/image5.emf"/><Relationship Id="rId5" Type="http://schemas.openxmlformats.org/officeDocument/2006/relationships/oleObject" Target="../embeddings/oleObject19.bin"/><Relationship Id="rId4" Type="http://schemas.openxmlformats.org/officeDocument/2006/relationships/slideMaster" Target="../slideMasters/slideMaster4.xml"/></Relationships>
</file>

<file path=ppt/slideLayouts/_rels/slideLayout150.xml.rels><?xml version="1.0" encoding="UTF-8" standalone="yes"?>
<Relationships xmlns="http://schemas.openxmlformats.org/package/2006/relationships"><Relationship Id="rId3" Type="http://schemas.openxmlformats.org/officeDocument/2006/relationships/tags" Target="../tags/tag1329.xml"/><Relationship Id="rId2" Type="http://schemas.openxmlformats.org/officeDocument/2006/relationships/tags" Target="../tags/tag1328.xml"/><Relationship Id="rId1" Type="http://schemas.openxmlformats.org/officeDocument/2006/relationships/vmlDrawing" Target="../drawings/vmlDrawing188.vml"/><Relationship Id="rId6" Type="http://schemas.openxmlformats.org/officeDocument/2006/relationships/image" Target="../media/image5.emf"/><Relationship Id="rId5" Type="http://schemas.openxmlformats.org/officeDocument/2006/relationships/oleObject" Target="../embeddings/oleObject188.bin"/><Relationship Id="rId4" Type="http://schemas.openxmlformats.org/officeDocument/2006/relationships/slideMaster" Target="../slideMasters/slideMaster38.xml"/></Relationships>
</file>

<file path=ppt/slideLayouts/_rels/slideLayout151.xml.rels><?xml version="1.0" encoding="UTF-8" standalone="yes"?>
<Relationships xmlns="http://schemas.openxmlformats.org/package/2006/relationships"><Relationship Id="rId3" Type="http://schemas.openxmlformats.org/officeDocument/2006/relationships/slideMaster" Target="../slideMasters/slideMaster38.xml"/><Relationship Id="rId2" Type="http://schemas.openxmlformats.org/officeDocument/2006/relationships/tags" Target="../tags/tag1330.xml"/><Relationship Id="rId1" Type="http://schemas.openxmlformats.org/officeDocument/2006/relationships/vmlDrawing" Target="../drawings/vmlDrawing189.vml"/><Relationship Id="rId5" Type="http://schemas.openxmlformats.org/officeDocument/2006/relationships/image" Target="../media/image5.emf"/><Relationship Id="rId4" Type="http://schemas.openxmlformats.org/officeDocument/2006/relationships/oleObject" Target="../embeddings/oleObject189.bin"/></Relationships>
</file>

<file path=ppt/slideLayouts/_rels/slideLayout152.xml.rels><?xml version="1.0" encoding="UTF-8" standalone="yes"?>
<Relationships xmlns="http://schemas.openxmlformats.org/package/2006/relationships"><Relationship Id="rId3" Type="http://schemas.openxmlformats.org/officeDocument/2006/relationships/slideMaster" Target="../slideMasters/slideMaster39.xml"/><Relationship Id="rId2" Type="http://schemas.openxmlformats.org/officeDocument/2006/relationships/tags" Target="../tags/tag1360.xml"/><Relationship Id="rId1" Type="http://schemas.openxmlformats.org/officeDocument/2006/relationships/vmlDrawing" Target="../drawings/vmlDrawing191.vml"/><Relationship Id="rId6" Type="http://schemas.openxmlformats.org/officeDocument/2006/relationships/image" Target="../media/image2.emf"/><Relationship Id="rId5" Type="http://schemas.openxmlformats.org/officeDocument/2006/relationships/oleObject" Target="../embeddings/oleObject191.bin"/><Relationship Id="rId4" Type="http://schemas.openxmlformats.org/officeDocument/2006/relationships/image" Target="../media/image3.jpg"/></Relationships>
</file>

<file path=ppt/slideLayouts/_rels/slideLayout153.xml.rels><?xml version="1.0" encoding="UTF-8" standalone="yes"?>
<Relationships xmlns="http://schemas.openxmlformats.org/package/2006/relationships"><Relationship Id="rId3" Type="http://schemas.openxmlformats.org/officeDocument/2006/relationships/tags" Target="../tags/tag1362.xml"/><Relationship Id="rId2" Type="http://schemas.openxmlformats.org/officeDocument/2006/relationships/tags" Target="../tags/tag1361.xml"/><Relationship Id="rId1" Type="http://schemas.openxmlformats.org/officeDocument/2006/relationships/vmlDrawing" Target="../drawings/vmlDrawing192.vml"/><Relationship Id="rId6" Type="http://schemas.openxmlformats.org/officeDocument/2006/relationships/image" Target="../media/image4.emf"/><Relationship Id="rId5" Type="http://schemas.openxmlformats.org/officeDocument/2006/relationships/oleObject" Target="../embeddings/oleObject192.bin"/><Relationship Id="rId4" Type="http://schemas.openxmlformats.org/officeDocument/2006/relationships/slideMaster" Target="../slideMasters/slideMaster39.xml"/></Relationships>
</file>

<file path=ppt/slideLayouts/_rels/slideLayout154.xml.rels><?xml version="1.0" encoding="UTF-8" standalone="yes"?>
<Relationships xmlns="http://schemas.openxmlformats.org/package/2006/relationships"><Relationship Id="rId3" Type="http://schemas.openxmlformats.org/officeDocument/2006/relationships/tags" Target="../tags/tag1364.xml"/><Relationship Id="rId2" Type="http://schemas.openxmlformats.org/officeDocument/2006/relationships/tags" Target="../tags/tag1363.xml"/><Relationship Id="rId1" Type="http://schemas.openxmlformats.org/officeDocument/2006/relationships/vmlDrawing" Target="../drawings/vmlDrawing193.vml"/><Relationship Id="rId6" Type="http://schemas.openxmlformats.org/officeDocument/2006/relationships/image" Target="../media/image5.emf"/><Relationship Id="rId5" Type="http://schemas.openxmlformats.org/officeDocument/2006/relationships/oleObject" Target="../embeddings/oleObject193.bin"/><Relationship Id="rId4" Type="http://schemas.openxmlformats.org/officeDocument/2006/relationships/slideMaster" Target="../slideMasters/slideMaster39.xml"/></Relationships>
</file>

<file path=ppt/slideLayouts/_rels/slideLayout155.xml.rels><?xml version="1.0" encoding="UTF-8" standalone="yes"?>
<Relationships xmlns="http://schemas.openxmlformats.org/package/2006/relationships"><Relationship Id="rId3" Type="http://schemas.openxmlformats.org/officeDocument/2006/relationships/slideMaster" Target="../slideMasters/slideMaster39.xml"/><Relationship Id="rId2" Type="http://schemas.openxmlformats.org/officeDocument/2006/relationships/tags" Target="../tags/tag1365.xml"/><Relationship Id="rId1" Type="http://schemas.openxmlformats.org/officeDocument/2006/relationships/vmlDrawing" Target="../drawings/vmlDrawing194.vml"/><Relationship Id="rId5" Type="http://schemas.openxmlformats.org/officeDocument/2006/relationships/image" Target="../media/image5.emf"/><Relationship Id="rId4" Type="http://schemas.openxmlformats.org/officeDocument/2006/relationships/oleObject" Target="../embeddings/oleObject194.bin"/></Relationships>
</file>

<file path=ppt/slideLayouts/_rels/slideLayout156.xml.rels><?xml version="1.0" encoding="UTF-8" standalone="yes"?>
<Relationships xmlns="http://schemas.openxmlformats.org/package/2006/relationships"><Relationship Id="rId3" Type="http://schemas.openxmlformats.org/officeDocument/2006/relationships/slideMaster" Target="../slideMasters/slideMaster40.xml"/><Relationship Id="rId2" Type="http://schemas.openxmlformats.org/officeDocument/2006/relationships/tags" Target="../tags/tag1395.xml"/><Relationship Id="rId1" Type="http://schemas.openxmlformats.org/officeDocument/2006/relationships/vmlDrawing" Target="../drawings/vmlDrawing196.vml"/><Relationship Id="rId6" Type="http://schemas.openxmlformats.org/officeDocument/2006/relationships/image" Target="../media/image2.emf"/><Relationship Id="rId5" Type="http://schemas.openxmlformats.org/officeDocument/2006/relationships/oleObject" Target="../embeddings/oleObject196.bin"/><Relationship Id="rId4" Type="http://schemas.openxmlformats.org/officeDocument/2006/relationships/image" Target="../media/image3.jpg"/></Relationships>
</file>

<file path=ppt/slideLayouts/_rels/slideLayout157.xml.rels><?xml version="1.0" encoding="UTF-8" standalone="yes"?>
<Relationships xmlns="http://schemas.openxmlformats.org/package/2006/relationships"><Relationship Id="rId3" Type="http://schemas.openxmlformats.org/officeDocument/2006/relationships/tags" Target="../tags/tag1397.xml"/><Relationship Id="rId2" Type="http://schemas.openxmlformats.org/officeDocument/2006/relationships/tags" Target="../tags/tag1396.xml"/><Relationship Id="rId1" Type="http://schemas.openxmlformats.org/officeDocument/2006/relationships/vmlDrawing" Target="../drawings/vmlDrawing197.vml"/><Relationship Id="rId6" Type="http://schemas.openxmlformats.org/officeDocument/2006/relationships/image" Target="../media/image4.emf"/><Relationship Id="rId5" Type="http://schemas.openxmlformats.org/officeDocument/2006/relationships/oleObject" Target="../embeddings/oleObject197.bin"/><Relationship Id="rId4" Type="http://schemas.openxmlformats.org/officeDocument/2006/relationships/slideMaster" Target="../slideMasters/slideMaster40.xml"/></Relationships>
</file>

<file path=ppt/slideLayouts/_rels/slideLayout158.xml.rels><?xml version="1.0" encoding="UTF-8" standalone="yes"?>
<Relationships xmlns="http://schemas.openxmlformats.org/package/2006/relationships"><Relationship Id="rId3" Type="http://schemas.openxmlformats.org/officeDocument/2006/relationships/tags" Target="../tags/tag1399.xml"/><Relationship Id="rId2" Type="http://schemas.openxmlformats.org/officeDocument/2006/relationships/tags" Target="../tags/tag1398.xml"/><Relationship Id="rId1" Type="http://schemas.openxmlformats.org/officeDocument/2006/relationships/vmlDrawing" Target="../drawings/vmlDrawing198.vml"/><Relationship Id="rId6" Type="http://schemas.openxmlformats.org/officeDocument/2006/relationships/image" Target="../media/image5.emf"/><Relationship Id="rId5" Type="http://schemas.openxmlformats.org/officeDocument/2006/relationships/oleObject" Target="../embeddings/oleObject198.bin"/><Relationship Id="rId4" Type="http://schemas.openxmlformats.org/officeDocument/2006/relationships/slideMaster" Target="../slideMasters/slideMaster40.xml"/></Relationships>
</file>

<file path=ppt/slideLayouts/_rels/slideLayout159.xml.rels><?xml version="1.0" encoding="UTF-8" standalone="yes"?>
<Relationships xmlns="http://schemas.openxmlformats.org/package/2006/relationships"><Relationship Id="rId3" Type="http://schemas.openxmlformats.org/officeDocument/2006/relationships/slideMaster" Target="../slideMasters/slideMaster40.xml"/><Relationship Id="rId2" Type="http://schemas.openxmlformats.org/officeDocument/2006/relationships/tags" Target="../tags/tag1400.xml"/><Relationship Id="rId1" Type="http://schemas.openxmlformats.org/officeDocument/2006/relationships/vmlDrawing" Target="../drawings/vmlDrawing199.vml"/><Relationship Id="rId5" Type="http://schemas.openxmlformats.org/officeDocument/2006/relationships/image" Target="../media/image5.emf"/><Relationship Id="rId4" Type="http://schemas.openxmlformats.org/officeDocument/2006/relationships/oleObject" Target="../embeddings/oleObject199.bin"/></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41.xml"/><Relationship Id="rId1" Type="http://schemas.openxmlformats.org/officeDocument/2006/relationships/vmlDrawing" Target="../drawings/vmlDrawing20.vml"/><Relationship Id="rId5" Type="http://schemas.openxmlformats.org/officeDocument/2006/relationships/image" Target="../media/image5.emf"/><Relationship Id="rId4" Type="http://schemas.openxmlformats.org/officeDocument/2006/relationships/oleObject" Target="../embeddings/oleObject20.bin"/></Relationships>
</file>

<file path=ppt/slideLayouts/_rels/slideLayout160.xml.rels><?xml version="1.0" encoding="UTF-8" standalone="yes"?>
<Relationships xmlns="http://schemas.openxmlformats.org/package/2006/relationships"><Relationship Id="rId3" Type="http://schemas.openxmlformats.org/officeDocument/2006/relationships/slideMaster" Target="../slideMasters/slideMaster41.xml"/><Relationship Id="rId2" Type="http://schemas.openxmlformats.org/officeDocument/2006/relationships/tags" Target="../tags/tag1430.xml"/><Relationship Id="rId1" Type="http://schemas.openxmlformats.org/officeDocument/2006/relationships/vmlDrawing" Target="../drawings/vmlDrawing201.vml"/><Relationship Id="rId6" Type="http://schemas.openxmlformats.org/officeDocument/2006/relationships/image" Target="../media/image2.emf"/><Relationship Id="rId5" Type="http://schemas.openxmlformats.org/officeDocument/2006/relationships/oleObject" Target="../embeddings/oleObject201.bin"/><Relationship Id="rId4" Type="http://schemas.openxmlformats.org/officeDocument/2006/relationships/image" Target="../media/image3.jpg"/></Relationships>
</file>

<file path=ppt/slideLayouts/_rels/slideLayout161.xml.rels><?xml version="1.0" encoding="UTF-8" standalone="yes"?>
<Relationships xmlns="http://schemas.openxmlformats.org/package/2006/relationships"><Relationship Id="rId3" Type="http://schemas.openxmlformats.org/officeDocument/2006/relationships/tags" Target="../tags/tag1432.xml"/><Relationship Id="rId2" Type="http://schemas.openxmlformats.org/officeDocument/2006/relationships/tags" Target="../tags/tag1431.xml"/><Relationship Id="rId1" Type="http://schemas.openxmlformats.org/officeDocument/2006/relationships/vmlDrawing" Target="../drawings/vmlDrawing202.vml"/><Relationship Id="rId6" Type="http://schemas.openxmlformats.org/officeDocument/2006/relationships/image" Target="../media/image4.emf"/><Relationship Id="rId5" Type="http://schemas.openxmlformats.org/officeDocument/2006/relationships/oleObject" Target="../embeddings/oleObject202.bin"/><Relationship Id="rId4" Type="http://schemas.openxmlformats.org/officeDocument/2006/relationships/slideMaster" Target="../slideMasters/slideMaster41.xml"/></Relationships>
</file>

<file path=ppt/slideLayouts/_rels/slideLayout162.xml.rels><?xml version="1.0" encoding="UTF-8" standalone="yes"?>
<Relationships xmlns="http://schemas.openxmlformats.org/package/2006/relationships"><Relationship Id="rId3" Type="http://schemas.openxmlformats.org/officeDocument/2006/relationships/tags" Target="../tags/tag1434.xml"/><Relationship Id="rId2" Type="http://schemas.openxmlformats.org/officeDocument/2006/relationships/tags" Target="../tags/tag1433.xml"/><Relationship Id="rId1" Type="http://schemas.openxmlformats.org/officeDocument/2006/relationships/vmlDrawing" Target="../drawings/vmlDrawing203.vml"/><Relationship Id="rId6" Type="http://schemas.openxmlformats.org/officeDocument/2006/relationships/image" Target="../media/image5.emf"/><Relationship Id="rId5" Type="http://schemas.openxmlformats.org/officeDocument/2006/relationships/oleObject" Target="../embeddings/oleObject203.bin"/><Relationship Id="rId4" Type="http://schemas.openxmlformats.org/officeDocument/2006/relationships/slideMaster" Target="../slideMasters/slideMaster41.xml"/></Relationships>
</file>

<file path=ppt/slideLayouts/_rels/slideLayout163.xml.rels><?xml version="1.0" encoding="UTF-8" standalone="yes"?>
<Relationships xmlns="http://schemas.openxmlformats.org/package/2006/relationships"><Relationship Id="rId3" Type="http://schemas.openxmlformats.org/officeDocument/2006/relationships/slideMaster" Target="../slideMasters/slideMaster41.xml"/><Relationship Id="rId2" Type="http://schemas.openxmlformats.org/officeDocument/2006/relationships/tags" Target="../tags/tag1435.xml"/><Relationship Id="rId1" Type="http://schemas.openxmlformats.org/officeDocument/2006/relationships/vmlDrawing" Target="../drawings/vmlDrawing204.vml"/><Relationship Id="rId5" Type="http://schemas.openxmlformats.org/officeDocument/2006/relationships/image" Target="../media/image5.emf"/><Relationship Id="rId4" Type="http://schemas.openxmlformats.org/officeDocument/2006/relationships/oleObject" Target="../embeddings/oleObject204.bin"/></Relationships>
</file>

<file path=ppt/slideLayouts/_rels/slideLayout164.xml.rels><?xml version="1.0" encoding="UTF-8" standalone="yes"?>
<Relationships xmlns="http://schemas.openxmlformats.org/package/2006/relationships"><Relationship Id="rId3" Type="http://schemas.openxmlformats.org/officeDocument/2006/relationships/slideMaster" Target="../slideMasters/slideMaster42.xml"/><Relationship Id="rId2" Type="http://schemas.openxmlformats.org/officeDocument/2006/relationships/tags" Target="../tags/tag1465.xml"/><Relationship Id="rId1" Type="http://schemas.openxmlformats.org/officeDocument/2006/relationships/vmlDrawing" Target="../drawings/vmlDrawing206.vml"/><Relationship Id="rId6" Type="http://schemas.openxmlformats.org/officeDocument/2006/relationships/image" Target="../media/image2.emf"/><Relationship Id="rId5" Type="http://schemas.openxmlformats.org/officeDocument/2006/relationships/oleObject" Target="../embeddings/oleObject206.bin"/><Relationship Id="rId4" Type="http://schemas.openxmlformats.org/officeDocument/2006/relationships/image" Target="../media/image3.jpg"/></Relationships>
</file>

<file path=ppt/slideLayouts/_rels/slideLayout165.xml.rels><?xml version="1.0" encoding="UTF-8" standalone="yes"?>
<Relationships xmlns="http://schemas.openxmlformats.org/package/2006/relationships"><Relationship Id="rId3" Type="http://schemas.openxmlformats.org/officeDocument/2006/relationships/tags" Target="../tags/tag1467.xml"/><Relationship Id="rId2" Type="http://schemas.openxmlformats.org/officeDocument/2006/relationships/tags" Target="../tags/tag1466.xml"/><Relationship Id="rId1" Type="http://schemas.openxmlformats.org/officeDocument/2006/relationships/vmlDrawing" Target="../drawings/vmlDrawing207.vml"/><Relationship Id="rId6" Type="http://schemas.openxmlformats.org/officeDocument/2006/relationships/image" Target="../media/image4.emf"/><Relationship Id="rId5" Type="http://schemas.openxmlformats.org/officeDocument/2006/relationships/oleObject" Target="../embeddings/oleObject207.bin"/><Relationship Id="rId4" Type="http://schemas.openxmlformats.org/officeDocument/2006/relationships/slideMaster" Target="../slideMasters/slideMaster42.xml"/></Relationships>
</file>

<file path=ppt/slideLayouts/_rels/slideLayout166.xml.rels><?xml version="1.0" encoding="UTF-8" standalone="yes"?>
<Relationships xmlns="http://schemas.openxmlformats.org/package/2006/relationships"><Relationship Id="rId3" Type="http://schemas.openxmlformats.org/officeDocument/2006/relationships/tags" Target="../tags/tag1469.xml"/><Relationship Id="rId2" Type="http://schemas.openxmlformats.org/officeDocument/2006/relationships/tags" Target="../tags/tag1468.xml"/><Relationship Id="rId1" Type="http://schemas.openxmlformats.org/officeDocument/2006/relationships/vmlDrawing" Target="../drawings/vmlDrawing208.vml"/><Relationship Id="rId6" Type="http://schemas.openxmlformats.org/officeDocument/2006/relationships/image" Target="../media/image5.emf"/><Relationship Id="rId5" Type="http://schemas.openxmlformats.org/officeDocument/2006/relationships/oleObject" Target="../embeddings/oleObject208.bin"/><Relationship Id="rId4" Type="http://schemas.openxmlformats.org/officeDocument/2006/relationships/slideMaster" Target="../slideMasters/slideMaster42.xml"/></Relationships>
</file>

<file path=ppt/slideLayouts/_rels/slideLayout167.xml.rels><?xml version="1.0" encoding="UTF-8" standalone="yes"?>
<Relationships xmlns="http://schemas.openxmlformats.org/package/2006/relationships"><Relationship Id="rId3" Type="http://schemas.openxmlformats.org/officeDocument/2006/relationships/slideMaster" Target="../slideMasters/slideMaster42.xml"/><Relationship Id="rId2" Type="http://schemas.openxmlformats.org/officeDocument/2006/relationships/tags" Target="../tags/tag1470.xml"/><Relationship Id="rId1" Type="http://schemas.openxmlformats.org/officeDocument/2006/relationships/vmlDrawing" Target="../drawings/vmlDrawing209.vml"/><Relationship Id="rId5" Type="http://schemas.openxmlformats.org/officeDocument/2006/relationships/image" Target="../media/image5.emf"/><Relationship Id="rId4" Type="http://schemas.openxmlformats.org/officeDocument/2006/relationships/oleObject" Target="../embeddings/oleObject209.bin"/></Relationships>
</file>

<file path=ppt/slideLayouts/_rels/slideLayout168.xml.rels><?xml version="1.0" encoding="UTF-8" standalone="yes"?>
<Relationships xmlns="http://schemas.openxmlformats.org/package/2006/relationships"><Relationship Id="rId3" Type="http://schemas.openxmlformats.org/officeDocument/2006/relationships/slideMaster" Target="../slideMasters/slideMaster43.xml"/><Relationship Id="rId2" Type="http://schemas.openxmlformats.org/officeDocument/2006/relationships/tags" Target="../tags/tag1500.xml"/><Relationship Id="rId1" Type="http://schemas.openxmlformats.org/officeDocument/2006/relationships/vmlDrawing" Target="../drawings/vmlDrawing211.vml"/><Relationship Id="rId6" Type="http://schemas.openxmlformats.org/officeDocument/2006/relationships/image" Target="../media/image2.emf"/><Relationship Id="rId5" Type="http://schemas.openxmlformats.org/officeDocument/2006/relationships/oleObject" Target="../embeddings/oleObject211.bin"/><Relationship Id="rId4" Type="http://schemas.openxmlformats.org/officeDocument/2006/relationships/image" Target="../media/image3.jpg"/></Relationships>
</file>

<file path=ppt/slideLayouts/_rels/slideLayout169.xml.rels><?xml version="1.0" encoding="UTF-8" standalone="yes"?>
<Relationships xmlns="http://schemas.openxmlformats.org/package/2006/relationships"><Relationship Id="rId3" Type="http://schemas.openxmlformats.org/officeDocument/2006/relationships/tags" Target="../tags/tag1502.xml"/><Relationship Id="rId2" Type="http://schemas.openxmlformats.org/officeDocument/2006/relationships/tags" Target="../tags/tag1501.xml"/><Relationship Id="rId1" Type="http://schemas.openxmlformats.org/officeDocument/2006/relationships/vmlDrawing" Target="../drawings/vmlDrawing212.vml"/><Relationship Id="rId6" Type="http://schemas.openxmlformats.org/officeDocument/2006/relationships/image" Target="../media/image4.emf"/><Relationship Id="rId5" Type="http://schemas.openxmlformats.org/officeDocument/2006/relationships/oleObject" Target="../embeddings/oleObject212.bin"/><Relationship Id="rId4" Type="http://schemas.openxmlformats.org/officeDocument/2006/relationships/slideMaster" Target="../slideMasters/slideMaster43.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71.xml"/><Relationship Id="rId1" Type="http://schemas.openxmlformats.org/officeDocument/2006/relationships/vmlDrawing" Target="../drawings/vmlDrawing22.vml"/><Relationship Id="rId6" Type="http://schemas.openxmlformats.org/officeDocument/2006/relationships/image" Target="../media/image2.emf"/><Relationship Id="rId5" Type="http://schemas.openxmlformats.org/officeDocument/2006/relationships/oleObject" Target="../embeddings/oleObject22.bin"/><Relationship Id="rId4" Type="http://schemas.openxmlformats.org/officeDocument/2006/relationships/image" Target="../media/image3.jpg"/></Relationships>
</file>

<file path=ppt/slideLayouts/_rels/slideLayout170.xml.rels><?xml version="1.0" encoding="UTF-8" standalone="yes"?>
<Relationships xmlns="http://schemas.openxmlformats.org/package/2006/relationships"><Relationship Id="rId3" Type="http://schemas.openxmlformats.org/officeDocument/2006/relationships/tags" Target="../tags/tag1504.xml"/><Relationship Id="rId2" Type="http://schemas.openxmlformats.org/officeDocument/2006/relationships/tags" Target="../tags/tag1503.xml"/><Relationship Id="rId1" Type="http://schemas.openxmlformats.org/officeDocument/2006/relationships/vmlDrawing" Target="../drawings/vmlDrawing213.vml"/><Relationship Id="rId6" Type="http://schemas.openxmlformats.org/officeDocument/2006/relationships/image" Target="../media/image5.emf"/><Relationship Id="rId5" Type="http://schemas.openxmlformats.org/officeDocument/2006/relationships/oleObject" Target="../embeddings/oleObject213.bin"/><Relationship Id="rId4" Type="http://schemas.openxmlformats.org/officeDocument/2006/relationships/slideMaster" Target="../slideMasters/slideMaster43.xml"/></Relationships>
</file>

<file path=ppt/slideLayouts/_rels/slideLayout171.xml.rels><?xml version="1.0" encoding="UTF-8" standalone="yes"?>
<Relationships xmlns="http://schemas.openxmlformats.org/package/2006/relationships"><Relationship Id="rId3" Type="http://schemas.openxmlformats.org/officeDocument/2006/relationships/slideMaster" Target="../slideMasters/slideMaster43.xml"/><Relationship Id="rId2" Type="http://schemas.openxmlformats.org/officeDocument/2006/relationships/tags" Target="../tags/tag1505.xml"/><Relationship Id="rId1" Type="http://schemas.openxmlformats.org/officeDocument/2006/relationships/vmlDrawing" Target="../drawings/vmlDrawing214.vml"/><Relationship Id="rId5" Type="http://schemas.openxmlformats.org/officeDocument/2006/relationships/image" Target="../media/image5.emf"/><Relationship Id="rId4" Type="http://schemas.openxmlformats.org/officeDocument/2006/relationships/oleObject" Target="../embeddings/oleObject214.bin"/></Relationships>
</file>

<file path=ppt/slideLayouts/_rels/slideLayout172.xml.rels><?xml version="1.0" encoding="UTF-8" standalone="yes"?>
<Relationships xmlns="http://schemas.openxmlformats.org/package/2006/relationships"><Relationship Id="rId3" Type="http://schemas.openxmlformats.org/officeDocument/2006/relationships/slideMaster" Target="../slideMasters/slideMaster44.xml"/><Relationship Id="rId2" Type="http://schemas.openxmlformats.org/officeDocument/2006/relationships/tags" Target="../tags/tag1535.xml"/><Relationship Id="rId1" Type="http://schemas.openxmlformats.org/officeDocument/2006/relationships/vmlDrawing" Target="../drawings/vmlDrawing216.vml"/><Relationship Id="rId6" Type="http://schemas.openxmlformats.org/officeDocument/2006/relationships/image" Target="../media/image2.emf"/><Relationship Id="rId5" Type="http://schemas.openxmlformats.org/officeDocument/2006/relationships/oleObject" Target="../embeddings/oleObject216.bin"/><Relationship Id="rId4" Type="http://schemas.openxmlformats.org/officeDocument/2006/relationships/image" Target="../media/image3.jpg"/></Relationships>
</file>

<file path=ppt/slideLayouts/_rels/slideLayout173.xml.rels><?xml version="1.0" encoding="UTF-8" standalone="yes"?>
<Relationships xmlns="http://schemas.openxmlformats.org/package/2006/relationships"><Relationship Id="rId3" Type="http://schemas.openxmlformats.org/officeDocument/2006/relationships/tags" Target="../tags/tag1537.xml"/><Relationship Id="rId2" Type="http://schemas.openxmlformats.org/officeDocument/2006/relationships/tags" Target="../tags/tag1536.xml"/><Relationship Id="rId1" Type="http://schemas.openxmlformats.org/officeDocument/2006/relationships/vmlDrawing" Target="../drawings/vmlDrawing217.vml"/><Relationship Id="rId6" Type="http://schemas.openxmlformats.org/officeDocument/2006/relationships/image" Target="../media/image4.emf"/><Relationship Id="rId5" Type="http://schemas.openxmlformats.org/officeDocument/2006/relationships/oleObject" Target="../embeddings/oleObject217.bin"/><Relationship Id="rId4" Type="http://schemas.openxmlformats.org/officeDocument/2006/relationships/slideMaster" Target="../slideMasters/slideMaster44.xml"/></Relationships>
</file>

<file path=ppt/slideLayouts/_rels/slideLayout174.xml.rels><?xml version="1.0" encoding="UTF-8" standalone="yes"?>
<Relationships xmlns="http://schemas.openxmlformats.org/package/2006/relationships"><Relationship Id="rId3" Type="http://schemas.openxmlformats.org/officeDocument/2006/relationships/tags" Target="../tags/tag1539.xml"/><Relationship Id="rId2" Type="http://schemas.openxmlformats.org/officeDocument/2006/relationships/tags" Target="../tags/tag1538.xml"/><Relationship Id="rId1" Type="http://schemas.openxmlformats.org/officeDocument/2006/relationships/vmlDrawing" Target="../drawings/vmlDrawing218.vml"/><Relationship Id="rId6" Type="http://schemas.openxmlformats.org/officeDocument/2006/relationships/image" Target="../media/image5.emf"/><Relationship Id="rId5" Type="http://schemas.openxmlformats.org/officeDocument/2006/relationships/oleObject" Target="../embeddings/oleObject218.bin"/><Relationship Id="rId4" Type="http://schemas.openxmlformats.org/officeDocument/2006/relationships/slideMaster" Target="../slideMasters/slideMaster44.xml"/></Relationships>
</file>

<file path=ppt/slideLayouts/_rels/slideLayout175.xml.rels><?xml version="1.0" encoding="UTF-8" standalone="yes"?>
<Relationships xmlns="http://schemas.openxmlformats.org/package/2006/relationships"><Relationship Id="rId3" Type="http://schemas.openxmlformats.org/officeDocument/2006/relationships/slideMaster" Target="../slideMasters/slideMaster44.xml"/><Relationship Id="rId2" Type="http://schemas.openxmlformats.org/officeDocument/2006/relationships/tags" Target="../tags/tag1540.xml"/><Relationship Id="rId1" Type="http://schemas.openxmlformats.org/officeDocument/2006/relationships/vmlDrawing" Target="../drawings/vmlDrawing219.vml"/><Relationship Id="rId5" Type="http://schemas.openxmlformats.org/officeDocument/2006/relationships/image" Target="../media/image5.emf"/><Relationship Id="rId4" Type="http://schemas.openxmlformats.org/officeDocument/2006/relationships/oleObject" Target="../embeddings/oleObject219.bin"/></Relationships>
</file>

<file path=ppt/slideLayouts/_rels/slideLayout176.xml.rels><?xml version="1.0" encoding="UTF-8" standalone="yes"?>
<Relationships xmlns="http://schemas.openxmlformats.org/package/2006/relationships"><Relationship Id="rId3" Type="http://schemas.openxmlformats.org/officeDocument/2006/relationships/slideMaster" Target="../slideMasters/slideMaster45.xml"/><Relationship Id="rId2" Type="http://schemas.openxmlformats.org/officeDocument/2006/relationships/tags" Target="../tags/tag1570.xml"/><Relationship Id="rId1" Type="http://schemas.openxmlformats.org/officeDocument/2006/relationships/vmlDrawing" Target="../drawings/vmlDrawing221.vml"/><Relationship Id="rId6" Type="http://schemas.openxmlformats.org/officeDocument/2006/relationships/image" Target="../media/image2.emf"/><Relationship Id="rId5" Type="http://schemas.openxmlformats.org/officeDocument/2006/relationships/oleObject" Target="../embeddings/oleObject221.bin"/><Relationship Id="rId4" Type="http://schemas.openxmlformats.org/officeDocument/2006/relationships/image" Target="../media/image3.jpg"/></Relationships>
</file>

<file path=ppt/slideLayouts/_rels/slideLayout177.xml.rels><?xml version="1.0" encoding="UTF-8" standalone="yes"?>
<Relationships xmlns="http://schemas.openxmlformats.org/package/2006/relationships"><Relationship Id="rId3" Type="http://schemas.openxmlformats.org/officeDocument/2006/relationships/tags" Target="../tags/tag1572.xml"/><Relationship Id="rId2" Type="http://schemas.openxmlformats.org/officeDocument/2006/relationships/tags" Target="../tags/tag1571.xml"/><Relationship Id="rId1" Type="http://schemas.openxmlformats.org/officeDocument/2006/relationships/vmlDrawing" Target="../drawings/vmlDrawing222.vml"/><Relationship Id="rId6" Type="http://schemas.openxmlformats.org/officeDocument/2006/relationships/image" Target="../media/image4.emf"/><Relationship Id="rId5" Type="http://schemas.openxmlformats.org/officeDocument/2006/relationships/oleObject" Target="../embeddings/oleObject222.bin"/><Relationship Id="rId4" Type="http://schemas.openxmlformats.org/officeDocument/2006/relationships/slideMaster" Target="../slideMasters/slideMaster45.xml"/></Relationships>
</file>

<file path=ppt/slideLayouts/_rels/slideLayout178.xml.rels><?xml version="1.0" encoding="UTF-8" standalone="yes"?>
<Relationships xmlns="http://schemas.openxmlformats.org/package/2006/relationships"><Relationship Id="rId3" Type="http://schemas.openxmlformats.org/officeDocument/2006/relationships/tags" Target="../tags/tag1574.xml"/><Relationship Id="rId2" Type="http://schemas.openxmlformats.org/officeDocument/2006/relationships/tags" Target="../tags/tag1573.xml"/><Relationship Id="rId1" Type="http://schemas.openxmlformats.org/officeDocument/2006/relationships/vmlDrawing" Target="../drawings/vmlDrawing223.vml"/><Relationship Id="rId6" Type="http://schemas.openxmlformats.org/officeDocument/2006/relationships/image" Target="../media/image5.emf"/><Relationship Id="rId5" Type="http://schemas.openxmlformats.org/officeDocument/2006/relationships/oleObject" Target="../embeddings/oleObject223.bin"/><Relationship Id="rId4" Type="http://schemas.openxmlformats.org/officeDocument/2006/relationships/slideMaster" Target="../slideMasters/slideMaster45.xml"/></Relationships>
</file>

<file path=ppt/slideLayouts/_rels/slideLayout179.xml.rels><?xml version="1.0" encoding="UTF-8" standalone="yes"?>
<Relationships xmlns="http://schemas.openxmlformats.org/package/2006/relationships"><Relationship Id="rId3" Type="http://schemas.openxmlformats.org/officeDocument/2006/relationships/slideMaster" Target="../slideMasters/slideMaster45.xml"/><Relationship Id="rId2" Type="http://schemas.openxmlformats.org/officeDocument/2006/relationships/tags" Target="../tags/tag1575.xml"/><Relationship Id="rId1" Type="http://schemas.openxmlformats.org/officeDocument/2006/relationships/vmlDrawing" Target="../drawings/vmlDrawing224.vml"/><Relationship Id="rId5" Type="http://schemas.openxmlformats.org/officeDocument/2006/relationships/image" Target="../media/image5.emf"/><Relationship Id="rId4" Type="http://schemas.openxmlformats.org/officeDocument/2006/relationships/oleObject" Target="../embeddings/oleObject224.bin"/></Relationships>
</file>

<file path=ppt/slideLayouts/_rels/slideLayout18.xml.rels><?xml version="1.0" encoding="UTF-8" standalone="yes"?>
<Relationships xmlns="http://schemas.openxmlformats.org/package/2006/relationships"><Relationship Id="rId3" Type="http://schemas.openxmlformats.org/officeDocument/2006/relationships/tags" Target="../tags/tag173.xml"/><Relationship Id="rId2" Type="http://schemas.openxmlformats.org/officeDocument/2006/relationships/tags" Target="../tags/tag172.xml"/><Relationship Id="rId1" Type="http://schemas.openxmlformats.org/officeDocument/2006/relationships/vmlDrawing" Target="../drawings/vmlDrawing23.vml"/><Relationship Id="rId6" Type="http://schemas.openxmlformats.org/officeDocument/2006/relationships/image" Target="../media/image4.emf"/><Relationship Id="rId5" Type="http://schemas.openxmlformats.org/officeDocument/2006/relationships/oleObject" Target="../embeddings/oleObject23.bin"/><Relationship Id="rId4" Type="http://schemas.openxmlformats.org/officeDocument/2006/relationships/slideMaster" Target="../slideMasters/slideMaster5.xml"/></Relationships>
</file>

<file path=ppt/slideLayouts/_rels/slideLayout180.xml.rels><?xml version="1.0" encoding="UTF-8" standalone="yes"?>
<Relationships xmlns="http://schemas.openxmlformats.org/package/2006/relationships"><Relationship Id="rId3" Type="http://schemas.openxmlformats.org/officeDocument/2006/relationships/slideMaster" Target="../slideMasters/slideMaster46.xml"/><Relationship Id="rId2" Type="http://schemas.openxmlformats.org/officeDocument/2006/relationships/tags" Target="../tags/tag1605.xml"/><Relationship Id="rId1" Type="http://schemas.openxmlformats.org/officeDocument/2006/relationships/vmlDrawing" Target="../drawings/vmlDrawing226.vml"/><Relationship Id="rId6" Type="http://schemas.openxmlformats.org/officeDocument/2006/relationships/image" Target="../media/image2.emf"/><Relationship Id="rId5" Type="http://schemas.openxmlformats.org/officeDocument/2006/relationships/oleObject" Target="../embeddings/oleObject226.bin"/><Relationship Id="rId4" Type="http://schemas.openxmlformats.org/officeDocument/2006/relationships/image" Target="../media/image3.jpg"/></Relationships>
</file>

<file path=ppt/slideLayouts/_rels/slideLayout181.xml.rels><?xml version="1.0" encoding="UTF-8" standalone="yes"?>
<Relationships xmlns="http://schemas.openxmlformats.org/package/2006/relationships"><Relationship Id="rId3" Type="http://schemas.openxmlformats.org/officeDocument/2006/relationships/tags" Target="../tags/tag1607.xml"/><Relationship Id="rId2" Type="http://schemas.openxmlformats.org/officeDocument/2006/relationships/tags" Target="../tags/tag1606.xml"/><Relationship Id="rId1" Type="http://schemas.openxmlformats.org/officeDocument/2006/relationships/vmlDrawing" Target="../drawings/vmlDrawing227.vml"/><Relationship Id="rId6" Type="http://schemas.openxmlformats.org/officeDocument/2006/relationships/image" Target="../media/image4.emf"/><Relationship Id="rId5" Type="http://schemas.openxmlformats.org/officeDocument/2006/relationships/oleObject" Target="../embeddings/oleObject227.bin"/><Relationship Id="rId4" Type="http://schemas.openxmlformats.org/officeDocument/2006/relationships/slideMaster" Target="../slideMasters/slideMaster46.xml"/></Relationships>
</file>

<file path=ppt/slideLayouts/_rels/slideLayout182.xml.rels><?xml version="1.0" encoding="UTF-8" standalone="yes"?>
<Relationships xmlns="http://schemas.openxmlformats.org/package/2006/relationships"><Relationship Id="rId3" Type="http://schemas.openxmlformats.org/officeDocument/2006/relationships/tags" Target="../tags/tag1609.xml"/><Relationship Id="rId2" Type="http://schemas.openxmlformats.org/officeDocument/2006/relationships/tags" Target="../tags/tag1608.xml"/><Relationship Id="rId1" Type="http://schemas.openxmlformats.org/officeDocument/2006/relationships/vmlDrawing" Target="../drawings/vmlDrawing228.vml"/><Relationship Id="rId6" Type="http://schemas.openxmlformats.org/officeDocument/2006/relationships/image" Target="../media/image5.emf"/><Relationship Id="rId5" Type="http://schemas.openxmlformats.org/officeDocument/2006/relationships/oleObject" Target="../embeddings/oleObject228.bin"/><Relationship Id="rId4" Type="http://schemas.openxmlformats.org/officeDocument/2006/relationships/slideMaster" Target="../slideMasters/slideMaster46.xml"/></Relationships>
</file>

<file path=ppt/slideLayouts/_rels/slideLayout183.xml.rels><?xml version="1.0" encoding="UTF-8" standalone="yes"?>
<Relationships xmlns="http://schemas.openxmlformats.org/package/2006/relationships"><Relationship Id="rId3" Type="http://schemas.openxmlformats.org/officeDocument/2006/relationships/slideMaster" Target="../slideMasters/slideMaster46.xml"/><Relationship Id="rId2" Type="http://schemas.openxmlformats.org/officeDocument/2006/relationships/tags" Target="../tags/tag1610.xml"/><Relationship Id="rId1" Type="http://schemas.openxmlformats.org/officeDocument/2006/relationships/vmlDrawing" Target="../drawings/vmlDrawing229.vml"/><Relationship Id="rId5" Type="http://schemas.openxmlformats.org/officeDocument/2006/relationships/image" Target="../media/image5.emf"/><Relationship Id="rId4" Type="http://schemas.openxmlformats.org/officeDocument/2006/relationships/oleObject" Target="../embeddings/oleObject229.bin"/></Relationships>
</file>

<file path=ppt/slideLayouts/_rels/slideLayout184.xml.rels><?xml version="1.0" encoding="UTF-8" standalone="yes"?>
<Relationships xmlns="http://schemas.openxmlformats.org/package/2006/relationships"><Relationship Id="rId3" Type="http://schemas.openxmlformats.org/officeDocument/2006/relationships/slideMaster" Target="../slideMasters/slideMaster47.xml"/><Relationship Id="rId2" Type="http://schemas.openxmlformats.org/officeDocument/2006/relationships/tags" Target="../tags/tag1640.xml"/><Relationship Id="rId1" Type="http://schemas.openxmlformats.org/officeDocument/2006/relationships/vmlDrawing" Target="../drawings/vmlDrawing231.vml"/><Relationship Id="rId6" Type="http://schemas.openxmlformats.org/officeDocument/2006/relationships/image" Target="../media/image2.emf"/><Relationship Id="rId5" Type="http://schemas.openxmlformats.org/officeDocument/2006/relationships/oleObject" Target="../embeddings/oleObject231.bin"/><Relationship Id="rId4" Type="http://schemas.openxmlformats.org/officeDocument/2006/relationships/image" Target="../media/image3.jpg"/></Relationships>
</file>

<file path=ppt/slideLayouts/_rels/slideLayout185.xml.rels><?xml version="1.0" encoding="UTF-8" standalone="yes"?>
<Relationships xmlns="http://schemas.openxmlformats.org/package/2006/relationships"><Relationship Id="rId3" Type="http://schemas.openxmlformats.org/officeDocument/2006/relationships/tags" Target="../tags/tag1642.xml"/><Relationship Id="rId2" Type="http://schemas.openxmlformats.org/officeDocument/2006/relationships/tags" Target="../tags/tag1641.xml"/><Relationship Id="rId1" Type="http://schemas.openxmlformats.org/officeDocument/2006/relationships/vmlDrawing" Target="../drawings/vmlDrawing232.vml"/><Relationship Id="rId6" Type="http://schemas.openxmlformats.org/officeDocument/2006/relationships/image" Target="../media/image4.emf"/><Relationship Id="rId5" Type="http://schemas.openxmlformats.org/officeDocument/2006/relationships/oleObject" Target="../embeddings/oleObject232.bin"/><Relationship Id="rId4" Type="http://schemas.openxmlformats.org/officeDocument/2006/relationships/slideMaster" Target="../slideMasters/slideMaster47.xml"/></Relationships>
</file>

<file path=ppt/slideLayouts/_rels/slideLayout186.xml.rels><?xml version="1.0" encoding="UTF-8" standalone="yes"?>
<Relationships xmlns="http://schemas.openxmlformats.org/package/2006/relationships"><Relationship Id="rId3" Type="http://schemas.openxmlformats.org/officeDocument/2006/relationships/tags" Target="../tags/tag1644.xml"/><Relationship Id="rId2" Type="http://schemas.openxmlformats.org/officeDocument/2006/relationships/tags" Target="../tags/tag1643.xml"/><Relationship Id="rId1" Type="http://schemas.openxmlformats.org/officeDocument/2006/relationships/vmlDrawing" Target="../drawings/vmlDrawing233.vml"/><Relationship Id="rId6" Type="http://schemas.openxmlformats.org/officeDocument/2006/relationships/image" Target="../media/image5.emf"/><Relationship Id="rId5" Type="http://schemas.openxmlformats.org/officeDocument/2006/relationships/oleObject" Target="../embeddings/oleObject233.bin"/><Relationship Id="rId4" Type="http://schemas.openxmlformats.org/officeDocument/2006/relationships/slideMaster" Target="../slideMasters/slideMaster47.xml"/></Relationships>
</file>

<file path=ppt/slideLayouts/_rels/slideLayout187.xml.rels><?xml version="1.0" encoding="UTF-8" standalone="yes"?>
<Relationships xmlns="http://schemas.openxmlformats.org/package/2006/relationships"><Relationship Id="rId3" Type="http://schemas.openxmlformats.org/officeDocument/2006/relationships/slideMaster" Target="../slideMasters/slideMaster47.xml"/><Relationship Id="rId2" Type="http://schemas.openxmlformats.org/officeDocument/2006/relationships/tags" Target="../tags/tag1645.xml"/><Relationship Id="rId1" Type="http://schemas.openxmlformats.org/officeDocument/2006/relationships/vmlDrawing" Target="../drawings/vmlDrawing234.vml"/><Relationship Id="rId5" Type="http://schemas.openxmlformats.org/officeDocument/2006/relationships/image" Target="../media/image5.emf"/><Relationship Id="rId4" Type="http://schemas.openxmlformats.org/officeDocument/2006/relationships/oleObject" Target="../embeddings/oleObject234.bin"/></Relationships>
</file>

<file path=ppt/slideLayouts/_rels/slideLayout188.xml.rels><?xml version="1.0" encoding="UTF-8" standalone="yes"?>
<Relationships xmlns="http://schemas.openxmlformats.org/package/2006/relationships"><Relationship Id="rId3" Type="http://schemas.openxmlformats.org/officeDocument/2006/relationships/slideMaster" Target="../slideMasters/slideMaster48.xml"/><Relationship Id="rId2" Type="http://schemas.openxmlformats.org/officeDocument/2006/relationships/tags" Target="../tags/tag1675.xml"/><Relationship Id="rId1" Type="http://schemas.openxmlformats.org/officeDocument/2006/relationships/vmlDrawing" Target="../drawings/vmlDrawing236.vml"/><Relationship Id="rId6" Type="http://schemas.openxmlformats.org/officeDocument/2006/relationships/image" Target="../media/image2.emf"/><Relationship Id="rId5" Type="http://schemas.openxmlformats.org/officeDocument/2006/relationships/oleObject" Target="../embeddings/oleObject236.bin"/><Relationship Id="rId4" Type="http://schemas.openxmlformats.org/officeDocument/2006/relationships/image" Target="../media/image3.jpg"/></Relationships>
</file>

<file path=ppt/slideLayouts/_rels/slideLayout189.xml.rels><?xml version="1.0" encoding="UTF-8" standalone="yes"?>
<Relationships xmlns="http://schemas.openxmlformats.org/package/2006/relationships"><Relationship Id="rId3" Type="http://schemas.openxmlformats.org/officeDocument/2006/relationships/tags" Target="../tags/tag1677.xml"/><Relationship Id="rId2" Type="http://schemas.openxmlformats.org/officeDocument/2006/relationships/tags" Target="../tags/tag1676.xml"/><Relationship Id="rId1" Type="http://schemas.openxmlformats.org/officeDocument/2006/relationships/vmlDrawing" Target="../drawings/vmlDrawing237.vml"/><Relationship Id="rId6" Type="http://schemas.openxmlformats.org/officeDocument/2006/relationships/image" Target="../media/image4.emf"/><Relationship Id="rId5" Type="http://schemas.openxmlformats.org/officeDocument/2006/relationships/oleObject" Target="../embeddings/oleObject237.bin"/><Relationship Id="rId4" Type="http://schemas.openxmlformats.org/officeDocument/2006/relationships/slideMaster" Target="../slideMasters/slideMaster48.xml"/></Relationships>
</file>

<file path=ppt/slideLayouts/_rels/slideLayout19.xml.rels><?xml version="1.0" encoding="UTF-8" standalone="yes"?>
<Relationships xmlns="http://schemas.openxmlformats.org/package/2006/relationships"><Relationship Id="rId3" Type="http://schemas.openxmlformats.org/officeDocument/2006/relationships/tags" Target="../tags/tag175.xml"/><Relationship Id="rId2" Type="http://schemas.openxmlformats.org/officeDocument/2006/relationships/tags" Target="../tags/tag174.xml"/><Relationship Id="rId1" Type="http://schemas.openxmlformats.org/officeDocument/2006/relationships/vmlDrawing" Target="../drawings/vmlDrawing24.vml"/><Relationship Id="rId6" Type="http://schemas.openxmlformats.org/officeDocument/2006/relationships/image" Target="../media/image5.emf"/><Relationship Id="rId5" Type="http://schemas.openxmlformats.org/officeDocument/2006/relationships/oleObject" Target="../embeddings/oleObject24.bin"/><Relationship Id="rId4" Type="http://schemas.openxmlformats.org/officeDocument/2006/relationships/slideMaster" Target="../slideMasters/slideMaster5.xml"/></Relationships>
</file>

<file path=ppt/slideLayouts/_rels/slideLayout190.xml.rels><?xml version="1.0" encoding="UTF-8" standalone="yes"?>
<Relationships xmlns="http://schemas.openxmlformats.org/package/2006/relationships"><Relationship Id="rId3" Type="http://schemas.openxmlformats.org/officeDocument/2006/relationships/tags" Target="../tags/tag1679.xml"/><Relationship Id="rId2" Type="http://schemas.openxmlformats.org/officeDocument/2006/relationships/tags" Target="../tags/tag1678.xml"/><Relationship Id="rId1" Type="http://schemas.openxmlformats.org/officeDocument/2006/relationships/vmlDrawing" Target="../drawings/vmlDrawing238.vml"/><Relationship Id="rId6" Type="http://schemas.openxmlformats.org/officeDocument/2006/relationships/image" Target="../media/image5.emf"/><Relationship Id="rId5" Type="http://schemas.openxmlformats.org/officeDocument/2006/relationships/oleObject" Target="../embeddings/oleObject238.bin"/><Relationship Id="rId4" Type="http://schemas.openxmlformats.org/officeDocument/2006/relationships/slideMaster" Target="../slideMasters/slideMaster48.xml"/></Relationships>
</file>

<file path=ppt/slideLayouts/_rels/slideLayout191.xml.rels><?xml version="1.0" encoding="UTF-8" standalone="yes"?>
<Relationships xmlns="http://schemas.openxmlformats.org/package/2006/relationships"><Relationship Id="rId3" Type="http://schemas.openxmlformats.org/officeDocument/2006/relationships/slideMaster" Target="../slideMasters/slideMaster48.xml"/><Relationship Id="rId2" Type="http://schemas.openxmlformats.org/officeDocument/2006/relationships/tags" Target="../tags/tag1680.xml"/><Relationship Id="rId1" Type="http://schemas.openxmlformats.org/officeDocument/2006/relationships/vmlDrawing" Target="../drawings/vmlDrawing239.vml"/><Relationship Id="rId5" Type="http://schemas.openxmlformats.org/officeDocument/2006/relationships/image" Target="../media/image5.emf"/><Relationship Id="rId4" Type="http://schemas.openxmlformats.org/officeDocument/2006/relationships/oleObject" Target="../embeddings/oleObject239.bin"/></Relationships>
</file>

<file path=ppt/slideLayouts/_rels/slideLayout192.xml.rels><?xml version="1.0" encoding="UTF-8" standalone="yes"?>
<Relationships xmlns="http://schemas.openxmlformats.org/package/2006/relationships"><Relationship Id="rId3" Type="http://schemas.openxmlformats.org/officeDocument/2006/relationships/slideMaster" Target="../slideMasters/slideMaster49.xml"/><Relationship Id="rId2" Type="http://schemas.openxmlformats.org/officeDocument/2006/relationships/tags" Target="../tags/tag1710.xml"/><Relationship Id="rId1" Type="http://schemas.openxmlformats.org/officeDocument/2006/relationships/vmlDrawing" Target="../drawings/vmlDrawing241.vml"/><Relationship Id="rId6" Type="http://schemas.openxmlformats.org/officeDocument/2006/relationships/image" Target="../media/image2.emf"/><Relationship Id="rId5" Type="http://schemas.openxmlformats.org/officeDocument/2006/relationships/oleObject" Target="../embeddings/oleObject241.bin"/><Relationship Id="rId4" Type="http://schemas.openxmlformats.org/officeDocument/2006/relationships/image" Target="../media/image3.jpg"/></Relationships>
</file>

<file path=ppt/slideLayouts/_rels/slideLayout193.xml.rels><?xml version="1.0" encoding="UTF-8" standalone="yes"?>
<Relationships xmlns="http://schemas.openxmlformats.org/package/2006/relationships"><Relationship Id="rId3" Type="http://schemas.openxmlformats.org/officeDocument/2006/relationships/tags" Target="../tags/tag1712.xml"/><Relationship Id="rId2" Type="http://schemas.openxmlformats.org/officeDocument/2006/relationships/tags" Target="../tags/tag1711.xml"/><Relationship Id="rId1" Type="http://schemas.openxmlformats.org/officeDocument/2006/relationships/vmlDrawing" Target="../drawings/vmlDrawing242.vml"/><Relationship Id="rId6" Type="http://schemas.openxmlformats.org/officeDocument/2006/relationships/image" Target="../media/image4.emf"/><Relationship Id="rId5" Type="http://schemas.openxmlformats.org/officeDocument/2006/relationships/oleObject" Target="../embeddings/oleObject242.bin"/><Relationship Id="rId4" Type="http://schemas.openxmlformats.org/officeDocument/2006/relationships/slideMaster" Target="../slideMasters/slideMaster49.xml"/></Relationships>
</file>

<file path=ppt/slideLayouts/_rels/slideLayout194.xml.rels><?xml version="1.0" encoding="UTF-8" standalone="yes"?>
<Relationships xmlns="http://schemas.openxmlformats.org/package/2006/relationships"><Relationship Id="rId3" Type="http://schemas.openxmlformats.org/officeDocument/2006/relationships/tags" Target="../tags/tag1714.xml"/><Relationship Id="rId2" Type="http://schemas.openxmlformats.org/officeDocument/2006/relationships/tags" Target="../tags/tag1713.xml"/><Relationship Id="rId1" Type="http://schemas.openxmlformats.org/officeDocument/2006/relationships/vmlDrawing" Target="../drawings/vmlDrawing243.vml"/><Relationship Id="rId6" Type="http://schemas.openxmlformats.org/officeDocument/2006/relationships/image" Target="../media/image5.emf"/><Relationship Id="rId5" Type="http://schemas.openxmlformats.org/officeDocument/2006/relationships/oleObject" Target="../embeddings/oleObject243.bin"/><Relationship Id="rId4" Type="http://schemas.openxmlformats.org/officeDocument/2006/relationships/slideMaster" Target="../slideMasters/slideMaster49.xml"/></Relationships>
</file>

<file path=ppt/slideLayouts/_rels/slideLayout195.xml.rels><?xml version="1.0" encoding="UTF-8" standalone="yes"?>
<Relationships xmlns="http://schemas.openxmlformats.org/package/2006/relationships"><Relationship Id="rId3" Type="http://schemas.openxmlformats.org/officeDocument/2006/relationships/slideMaster" Target="../slideMasters/slideMaster49.xml"/><Relationship Id="rId2" Type="http://schemas.openxmlformats.org/officeDocument/2006/relationships/tags" Target="../tags/tag1715.xml"/><Relationship Id="rId1" Type="http://schemas.openxmlformats.org/officeDocument/2006/relationships/vmlDrawing" Target="../drawings/vmlDrawing244.vml"/><Relationship Id="rId5" Type="http://schemas.openxmlformats.org/officeDocument/2006/relationships/image" Target="../media/image5.emf"/><Relationship Id="rId4" Type="http://schemas.openxmlformats.org/officeDocument/2006/relationships/oleObject" Target="../embeddings/oleObject244.bin"/></Relationships>
</file>

<file path=ppt/slideLayouts/_rels/slideLayout196.xml.rels><?xml version="1.0" encoding="UTF-8" standalone="yes"?>
<Relationships xmlns="http://schemas.openxmlformats.org/package/2006/relationships"><Relationship Id="rId3" Type="http://schemas.openxmlformats.org/officeDocument/2006/relationships/slideMaster" Target="../slideMasters/slideMaster50.xml"/><Relationship Id="rId2" Type="http://schemas.openxmlformats.org/officeDocument/2006/relationships/tags" Target="../tags/tag1745.xml"/><Relationship Id="rId1" Type="http://schemas.openxmlformats.org/officeDocument/2006/relationships/vmlDrawing" Target="../drawings/vmlDrawing246.vml"/><Relationship Id="rId6" Type="http://schemas.openxmlformats.org/officeDocument/2006/relationships/image" Target="../media/image2.emf"/><Relationship Id="rId5" Type="http://schemas.openxmlformats.org/officeDocument/2006/relationships/oleObject" Target="../embeddings/oleObject246.bin"/><Relationship Id="rId4" Type="http://schemas.openxmlformats.org/officeDocument/2006/relationships/image" Target="../media/image3.jpg"/></Relationships>
</file>

<file path=ppt/slideLayouts/_rels/slideLayout197.xml.rels><?xml version="1.0" encoding="UTF-8" standalone="yes"?>
<Relationships xmlns="http://schemas.openxmlformats.org/package/2006/relationships"><Relationship Id="rId3" Type="http://schemas.openxmlformats.org/officeDocument/2006/relationships/tags" Target="../tags/tag1747.xml"/><Relationship Id="rId2" Type="http://schemas.openxmlformats.org/officeDocument/2006/relationships/tags" Target="../tags/tag1746.xml"/><Relationship Id="rId1" Type="http://schemas.openxmlformats.org/officeDocument/2006/relationships/vmlDrawing" Target="../drawings/vmlDrawing247.vml"/><Relationship Id="rId6" Type="http://schemas.openxmlformats.org/officeDocument/2006/relationships/image" Target="../media/image4.emf"/><Relationship Id="rId5" Type="http://schemas.openxmlformats.org/officeDocument/2006/relationships/oleObject" Target="../embeddings/oleObject247.bin"/><Relationship Id="rId4" Type="http://schemas.openxmlformats.org/officeDocument/2006/relationships/slideMaster" Target="../slideMasters/slideMaster50.xml"/></Relationships>
</file>

<file path=ppt/slideLayouts/_rels/slideLayout198.xml.rels><?xml version="1.0" encoding="UTF-8" standalone="yes"?>
<Relationships xmlns="http://schemas.openxmlformats.org/package/2006/relationships"><Relationship Id="rId3" Type="http://schemas.openxmlformats.org/officeDocument/2006/relationships/tags" Target="../tags/tag1749.xml"/><Relationship Id="rId2" Type="http://schemas.openxmlformats.org/officeDocument/2006/relationships/tags" Target="../tags/tag1748.xml"/><Relationship Id="rId1" Type="http://schemas.openxmlformats.org/officeDocument/2006/relationships/vmlDrawing" Target="../drawings/vmlDrawing248.vml"/><Relationship Id="rId6" Type="http://schemas.openxmlformats.org/officeDocument/2006/relationships/image" Target="../media/image5.emf"/><Relationship Id="rId5" Type="http://schemas.openxmlformats.org/officeDocument/2006/relationships/oleObject" Target="../embeddings/oleObject248.bin"/><Relationship Id="rId4" Type="http://schemas.openxmlformats.org/officeDocument/2006/relationships/slideMaster" Target="../slideMasters/slideMaster50.xml"/></Relationships>
</file>

<file path=ppt/slideLayouts/_rels/slideLayout199.xml.rels><?xml version="1.0" encoding="UTF-8" standalone="yes"?>
<Relationships xmlns="http://schemas.openxmlformats.org/package/2006/relationships"><Relationship Id="rId3" Type="http://schemas.openxmlformats.org/officeDocument/2006/relationships/slideMaster" Target="../slideMasters/slideMaster50.xml"/><Relationship Id="rId2" Type="http://schemas.openxmlformats.org/officeDocument/2006/relationships/tags" Target="../tags/tag1750.xml"/><Relationship Id="rId1" Type="http://schemas.openxmlformats.org/officeDocument/2006/relationships/vmlDrawing" Target="../drawings/vmlDrawing249.vml"/><Relationship Id="rId5" Type="http://schemas.openxmlformats.org/officeDocument/2006/relationships/image" Target="../media/image5.emf"/><Relationship Id="rId4" Type="http://schemas.openxmlformats.org/officeDocument/2006/relationships/oleObject" Target="../embeddings/oleObject249.bin"/></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33.xml"/><Relationship Id="rId2" Type="http://schemas.openxmlformats.org/officeDocument/2006/relationships/tags" Target="../tags/tag32.xml"/><Relationship Id="rId1" Type="http://schemas.openxmlformats.org/officeDocument/2006/relationships/vmlDrawing" Target="../drawings/vmlDrawing3.vml"/><Relationship Id="rId6" Type="http://schemas.openxmlformats.org/officeDocument/2006/relationships/image" Target="../media/image4.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76.xml"/><Relationship Id="rId1" Type="http://schemas.openxmlformats.org/officeDocument/2006/relationships/vmlDrawing" Target="../drawings/vmlDrawing25.vml"/><Relationship Id="rId5" Type="http://schemas.openxmlformats.org/officeDocument/2006/relationships/image" Target="../media/image5.emf"/><Relationship Id="rId4" Type="http://schemas.openxmlformats.org/officeDocument/2006/relationships/oleObject" Target="../embeddings/oleObject25.bin"/></Relationships>
</file>

<file path=ppt/slideLayouts/_rels/slideLayout200.xml.rels><?xml version="1.0" encoding="UTF-8" standalone="yes"?>
<Relationships xmlns="http://schemas.openxmlformats.org/package/2006/relationships"><Relationship Id="rId3" Type="http://schemas.openxmlformats.org/officeDocument/2006/relationships/slideMaster" Target="../slideMasters/slideMaster51.xml"/><Relationship Id="rId2" Type="http://schemas.openxmlformats.org/officeDocument/2006/relationships/tags" Target="../tags/tag1780.xml"/><Relationship Id="rId1" Type="http://schemas.openxmlformats.org/officeDocument/2006/relationships/vmlDrawing" Target="../drawings/vmlDrawing251.vml"/><Relationship Id="rId6" Type="http://schemas.openxmlformats.org/officeDocument/2006/relationships/image" Target="../media/image2.emf"/><Relationship Id="rId5" Type="http://schemas.openxmlformats.org/officeDocument/2006/relationships/oleObject" Target="../embeddings/oleObject251.bin"/><Relationship Id="rId4" Type="http://schemas.openxmlformats.org/officeDocument/2006/relationships/image" Target="../media/image3.jpg"/></Relationships>
</file>

<file path=ppt/slideLayouts/_rels/slideLayout201.xml.rels><?xml version="1.0" encoding="UTF-8" standalone="yes"?>
<Relationships xmlns="http://schemas.openxmlformats.org/package/2006/relationships"><Relationship Id="rId3" Type="http://schemas.openxmlformats.org/officeDocument/2006/relationships/tags" Target="../tags/tag1782.xml"/><Relationship Id="rId2" Type="http://schemas.openxmlformats.org/officeDocument/2006/relationships/tags" Target="../tags/tag1781.xml"/><Relationship Id="rId1" Type="http://schemas.openxmlformats.org/officeDocument/2006/relationships/vmlDrawing" Target="../drawings/vmlDrawing252.vml"/><Relationship Id="rId6" Type="http://schemas.openxmlformats.org/officeDocument/2006/relationships/image" Target="../media/image4.emf"/><Relationship Id="rId5" Type="http://schemas.openxmlformats.org/officeDocument/2006/relationships/oleObject" Target="../embeddings/oleObject252.bin"/><Relationship Id="rId4" Type="http://schemas.openxmlformats.org/officeDocument/2006/relationships/slideMaster" Target="../slideMasters/slideMaster51.xml"/></Relationships>
</file>

<file path=ppt/slideLayouts/_rels/slideLayout202.xml.rels><?xml version="1.0" encoding="UTF-8" standalone="yes"?>
<Relationships xmlns="http://schemas.openxmlformats.org/package/2006/relationships"><Relationship Id="rId3" Type="http://schemas.openxmlformats.org/officeDocument/2006/relationships/tags" Target="../tags/tag1784.xml"/><Relationship Id="rId2" Type="http://schemas.openxmlformats.org/officeDocument/2006/relationships/tags" Target="../tags/tag1783.xml"/><Relationship Id="rId1" Type="http://schemas.openxmlformats.org/officeDocument/2006/relationships/vmlDrawing" Target="../drawings/vmlDrawing253.vml"/><Relationship Id="rId6" Type="http://schemas.openxmlformats.org/officeDocument/2006/relationships/image" Target="../media/image5.emf"/><Relationship Id="rId5" Type="http://schemas.openxmlformats.org/officeDocument/2006/relationships/oleObject" Target="../embeddings/oleObject253.bin"/><Relationship Id="rId4" Type="http://schemas.openxmlformats.org/officeDocument/2006/relationships/slideMaster" Target="../slideMasters/slideMaster51.xml"/></Relationships>
</file>

<file path=ppt/slideLayouts/_rels/slideLayout203.xml.rels><?xml version="1.0" encoding="UTF-8" standalone="yes"?>
<Relationships xmlns="http://schemas.openxmlformats.org/package/2006/relationships"><Relationship Id="rId3" Type="http://schemas.openxmlformats.org/officeDocument/2006/relationships/slideMaster" Target="../slideMasters/slideMaster52.xml"/><Relationship Id="rId2" Type="http://schemas.openxmlformats.org/officeDocument/2006/relationships/tags" Target="../tags/tag1814.xml"/><Relationship Id="rId1" Type="http://schemas.openxmlformats.org/officeDocument/2006/relationships/vmlDrawing" Target="../drawings/vmlDrawing255.vml"/><Relationship Id="rId6" Type="http://schemas.openxmlformats.org/officeDocument/2006/relationships/image" Target="../media/image2.emf"/><Relationship Id="rId5" Type="http://schemas.openxmlformats.org/officeDocument/2006/relationships/oleObject" Target="../embeddings/oleObject255.bin"/><Relationship Id="rId4" Type="http://schemas.openxmlformats.org/officeDocument/2006/relationships/image" Target="../media/image3.jpg"/></Relationships>
</file>

<file path=ppt/slideLayouts/_rels/slideLayout204.xml.rels><?xml version="1.0" encoding="UTF-8" standalone="yes"?>
<Relationships xmlns="http://schemas.openxmlformats.org/package/2006/relationships"><Relationship Id="rId3" Type="http://schemas.openxmlformats.org/officeDocument/2006/relationships/tags" Target="../tags/tag1816.xml"/><Relationship Id="rId2" Type="http://schemas.openxmlformats.org/officeDocument/2006/relationships/tags" Target="../tags/tag1815.xml"/><Relationship Id="rId1" Type="http://schemas.openxmlformats.org/officeDocument/2006/relationships/vmlDrawing" Target="../drawings/vmlDrawing256.vml"/><Relationship Id="rId6" Type="http://schemas.openxmlformats.org/officeDocument/2006/relationships/image" Target="../media/image4.emf"/><Relationship Id="rId5" Type="http://schemas.openxmlformats.org/officeDocument/2006/relationships/oleObject" Target="../embeddings/oleObject256.bin"/><Relationship Id="rId4" Type="http://schemas.openxmlformats.org/officeDocument/2006/relationships/slideMaster" Target="../slideMasters/slideMaster52.xml"/></Relationships>
</file>

<file path=ppt/slideLayouts/_rels/slideLayout205.xml.rels><?xml version="1.0" encoding="UTF-8" standalone="yes"?>
<Relationships xmlns="http://schemas.openxmlformats.org/package/2006/relationships"><Relationship Id="rId3" Type="http://schemas.openxmlformats.org/officeDocument/2006/relationships/tags" Target="../tags/tag1818.xml"/><Relationship Id="rId2" Type="http://schemas.openxmlformats.org/officeDocument/2006/relationships/tags" Target="../tags/tag1817.xml"/><Relationship Id="rId1" Type="http://schemas.openxmlformats.org/officeDocument/2006/relationships/vmlDrawing" Target="../drawings/vmlDrawing257.vml"/><Relationship Id="rId6" Type="http://schemas.openxmlformats.org/officeDocument/2006/relationships/image" Target="../media/image5.emf"/><Relationship Id="rId5" Type="http://schemas.openxmlformats.org/officeDocument/2006/relationships/oleObject" Target="../embeddings/oleObject257.bin"/><Relationship Id="rId4" Type="http://schemas.openxmlformats.org/officeDocument/2006/relationships/slideMaster" Target="../slideMasters/slideMaster52.xml"/></Relationships>
</file>

<file path=ppt/slideLayouts/_rels/slideLayout206.xml.rels><?xml version="1.0" encoding="UTF-8" standalone="yes"?>
<Relationships xmlns="http://schemas.openxmlformats.org/package/2006/relationships"><Relationship Id="rId3" Type="http://schemas.openxmlformats.org/officeDocument/2006/relationships/slideMaster" Target="../slideMasters/slideMaster52.xml"/><Relationship Id="rId2" Type="http://schemas.openxmlformats.org/officeDocument/2006/relationships/tags" Target="../tags/tag1819.xml"/><Relationship Id="rId1" Type="http://schemas.openxmlformats.org/officeDocument/2006/relationships/vmlDrawing" Target="../drawings/vmlDrawing258.vml"/><Relationship Id="rId5" Type="http://schemas.openxmlformats.org/officeDocument/2006/relationships/image" Target="../media/image5.emf"/><Relationship Id="rId4" Type="http://schemas.openxmlformats.org/officeDocument/2006/relationships/oleObject" Target="../embeddings/oleObject258.bin"/></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06.xml"/><Relationship Id="rId1" Type="http://schemas.openxmlformats.org/officeDocument/2006/relationships/vmlDrawing" Target="../drawings/vmlDrawing27.vml"/><Relationship Id="rId6" Type="http://schemas.openxmlformats.org/officeDocument/2006/relationships/image" Target="../media/image2.emf"/><Relationship Id="rId5" Type="http://schemas.openxmlformats.org/officeDocument/2006/relationships/oleObject" Target="../embeddings/oleObject27.bin"/><Relationship Id="rId4" Type="http://schemas.openxmlformats.org/officeDocument/2006/relationships/image" Target="../media/image3.jpg"/></Relationships>
</file>

<file path=ppt/slideLayouts/_rels/slideLayout22.xml.rels><?xml version="1.0" encoding="UTF-8" standalone="yes"?>
<Relationships xmlns="http://schemas.openxmlformats.org/package/2006/relationships"><Relationship Id="rId3" Type="http://schemas.openxmlformats.org/officeDocument/2006/relationships/tags" Target="../tags/tag208.xml"/><Relationship Id="rId2" Type="http://schemas.openxmlformats.org/officeDocument/2006/relationships/tags" Target="../tags/tag207.xml"/><Relationship Id="rId1" Type="http://schemas.openxmlformats.org/officeDocument/2006/relationships/vmlDrawing" Target="../drawings/vmlDrawing28.vml"/><Relationship Id="rId6" Type="http://schemas.openxmlformats.org/officeDocument/2006/relationships/image" Target="../media/image4.emf"/><Relationship Id="rId5" Type="http://schemas.openxmlformats.org/officeDocument/2006/relationships/oleObject" Target="../embeddings/oleObject28.bin"/><Relationship Id="rId4" Type="http://schemas.openxmlformats.org/officeDocument/2006/relationships/slideMaster" Target="../slideMasters/slideMaster6.xml"/></Relationships>
</file>

<file path=ppt/slideLayouts/_rels/slideLayout23.xml.rels><?xml version="1.0" encoding="UTF-8" standalone="yes"?>
<Relationships xmlns="http://schemas.openxmlformats.org/package/2006/relationships"><Relationship Id="rId3" Type="http://schemas.openxmlformats.org/officeDocument/2006/relationships/tags" Target="../tags/tag210.xml"/><Relationship Id="rId2" Type="http://schemas.openxmlformats.org/officeDocument/2006/relationships/tags" Target="../tags/tag209.xml"/><Relationship Id="rId1" Type="http://schemas.openxmlformats.org/officeDocument/2006/relationships/vmlDrawing" Target="../drawings/vmlDrawing29.vml"/><Relationship Id="rId6" Type="http://schemas.openxmlformats.org/officeDocument/2006/relationships/image" Target="../media/image5.emf"/><Relationship Id="rId5" Type="http://schemas.openxmlformats.org/officeDocument/2006/relationships/oleObject" Target="../embeddings/oleObject29.bin"/><Relationship Id="rId4" Type="http://schemas.openxmlformats.org/officeDocument/2006/relationships/slideMaster" Target="../slideMasters/slideMaster6.xml"/></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11.xml"/><Relationship Id="rId1" Type="http://schemas.openxmlformats.org/officeDocument/2006/relationships/vmlDrawing" Target="../drawings/vmlDrawing30.vml"/><Relationship Id="rId5" Type="http://schemas.openxmlformats.org/officeDocument/2006/relationships/image" Target="../media/image5.emf"/><Relationship Id="rId4" Type="http://schemas.openxmlformats.org/officeDocument/2006/relationships/oleObject" Target="../embeddings/oleObject30.bin"/></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41.xml"/><Relationship Id="rId1" Type="http://schemas.openxmlformats.org/officeDocument/2006/relationships/vmlDrawing" Target="../drawings/vmlDrawing32.vml"/><Relationship Id="rId6" Type="http://schemas.openxmlformats.org/officeDocument/2006/relationships/image" Target="../media/image2.emf"/><Relationship Id="rId5" Type="http://schemas.openxmlformats.org/officeDocument/2006/relationships/oleObject" Target="../embeddings/oleObject32.bin"/><Relationship Id="rId4" Type="http://schemas.openxmlformats.org/officeDocument/2006/relationships/image" Target="../media/image3.jpg"/></Relationships>
</file>

<file path=ppt/slideLayouts/_rels/slideLayout26.xml.rels><?xml version="1.0" encoding="UTF-8" standalone="yes"?>
<Relationships xmlns="http://schemas.openxmlformats.org/package/2006/relationships"><Relationship Id="rId3" Type="http://schemas.openxmlformats.org/officeDocument/2006/relationships/tags" Target="../tags/tag243.xml"/><Relationship Id="rId2" Type="http://schemas.openxmlformats.org/officeDocument/2006/relationships/tags" Target="../tags/tag242.xml"/><Relationship Id="rId1" Type="http://schemas.openxmlformats.org/officeDocument/2006/relationships/vmlDrawing" Target="../drawings/vmlDrawing33.vml"/><Relationship Id="rId6" Type="http://schemas.openxmlformats.org/officeDocument/2006/relationships/image" Target="../media/image4.emf"/><Relationship Id="rId5" Type="http://schemas.openxmlformats.org/officeDocument/2006/relationships/oleObject" Target="../embeddings/oleObject33.bin"/><Relationship Id="rId4" Type="http://schemas.openxmlformats.org/officeDocument/2006/relationships/slideMaster" Target="../slideMasters/slideMaster7.xml"/></Relationships>
</file>

<file path=ppt/slideLayouts/_rels/slideLayout27.xml.rels><?xml version="1.0" encoding="UTF-8" standalone="yes"?>
<Relationships xmlns="http://schemas.openxmlformats.org/package/2006/relationships"><Relationship Id="rId3" Type="http://schemas.openxmlformats.org/officeDocument/2006/relationships/tags" Target="../tags/tag245.xml"/><Relationship Id="rId2" Type="http://schemas.openxmlformats.org/officeDocument/2006/relationships/tags" Target="../tags/tag244.xml"/><Relationship Id="rId1" Type="http://schemas.openxmlformats.org/officeDocument/2006/relationships/vmlDrawing" Target="../drawings/vmlDrawing34.vml"/><Relationship Id="rId6" Type="http://schemas.openxmlformats.org/officeDocument/2006/relationships/image" Target="../media/image5.emf"/><Relationship Id="rId5" Type="http://schemas.openxmlformats.org/officeDocument/2006/relationships/oleObject" Target="../embeddings/oleObject34.bin"/><Relationship Id="rId4" Type="http://schemas.openxmlformats.org/officeDocument/2006/relationships/slideMaster" Target="../slideMasters/slideMaster7.xml"/></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46.xml"/><Relationship Id="rId1" Type="http://schemas.openxmlformats.org/officeDocument/2006/relationships/vmlDrawing" Target="../drawings/vmlDrawing35.vml"/><Relationship Id="rId5" Type="http://schemas.openxmlformats.org/officeDocument/2006/relationships/image" Target="../media/image5.emf"/><Relationship Id="rId4" Type="http://schemas.openxmlformats.org/officeDocument/2006/relationships/oleObject" Target="../embeddings/oleObject35.bin"/></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276.xml"/><Relationship Id="rId1" Type="http://schemas.openxmlformats.org/officeDocument/2006/relationships/vmlDrawing" Target="../drawings/vmlDrawing37.vml"/><Relationship Id="rId6" Type="http://schemas.openxmlformats.org/officeDocument/2006/relationships/image" Target="../media/image2.emf"/><Relationship Id="rId5" Type="http://schemas.openxmlformats.org/officeDocument/2006/relationships/oleObject" Target="../embeddings/oleObject37.bin"/><Relationship Id="rId4" Type="http://schemas.openxmlformats.org/officeDocument/2006/relationships/image" Target="../media/image3.jpg"/></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35.xml"/><Relationship Id="rId2" Type="http://schemas.openxmlformats.org/officeDocument/2006/relationships/tags" Target="../tags/tag34.xml"/><Relationship Id="rId1" Type="http://schemas.openxmlformats.org/officeDocument/2006/relationships/vmlDrawing" Target="../drawings/vmlDrawing4.vml"/><Relationship Id="rId6" Type="http://schemas.openxmlformats.org/officeDocument/2006/relationships/image" Target="../media/image5.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tags" Target="../tags/tag278.xml"/><Relationship Id="rId2" Type="http://schemas.openxmlformats.org/officeDocument/2006/relationships/tags" Target="../tags/tag277.xml"/><Relationship Id="rId1" Type="http://schemas.openxmlformats.org/officeDocument/2006/relationships/vmlDrawing" Target="../drawings/vmlDrawing38.vml"/><Relationship Id="rId6" Type="http://schemas.openxmlformats.org/officeDocument/2006/relationships/image" Target="../media/image4.emf"/><Relationship Id="rId5" Type="http://schemas.openxmlformats.org/officeDocument/2006/relationships/oleObject" Target="../embeddings/oleObject38.bin"/><Relationship Id="rId4" Type="http://schemas.openxmlformats.org/officeDocument/2006/relationships/slideMaster" Target="../slideMasters/slideMaster8.xml"/></Relationships>
</file>

<file path=ppt/slideLayouts/_rels/slideLayout31.xml.rels><?xml version="1.0" encoding="UTF-8" standalone="yes"?>
<Relationships xmlns="http://schemas.openxmlformats.org/package/2006/relationships"><Relationship Id="rId3" Type="http://schemas.openxmlformats.org/officeDocument/2006/relationships/tags" Target="../tags/tag280.xml"/><Relationship Id="rId2" Type="http://schemas.openxmlformats.org/officeDocument/2006/relationships/tags" Target="../tags/tag279.xml"/><Relationship Id="rId1" Type="http://schemas.openxmlformats.org/officeDocument/2006/relationships/vmlDrawing" Target="../drawings/vmlDrawing39.vml"/><Relationship Id="rId6" Type="http://schemas.openxmlformats.org/officeDocument/2006/relationships/image" Target="../media/image5.emf"/><Relationship Id="rId5" Type="http://schemas.openxmlformats.org/officeDocument/2006/relationships/oleObject" Target="../embeddings/oleObject39.bin"/><Relationship Id="rId4" Type="http://schemas.openxmlformats.org/officeDocument/2006/relationships/slideMaster" Target="../slideMasters/slideMaster8.xml"/></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281.xml"/><Relationship Id="rId1" Type="http://schemas.openxmlformats.org/officeDocument/2006/relationships/vmlDrawing" Target="../drawings/vmlDrawing40.vml"/><Relationship Id="rId5" Type="http://schemas.openxmlformats.org/officeDocument/2006/relationships/image" Target="../media/image5.emf"/><Relationship Id="rId4" Type="http://schemas.openxmlformats.org/officeDocument/2006/relationships/oleObject" Target="../embeddings/oleObject40.bin"/></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311.xml"/><Relationship Id="rId1" Type="http://schemas.openxmlformats.org/officeDocument/2006/relationships/vmlDrawing" Target="../drawings/vmlDrawing42.vml"/><Relationship Id="rId6" Type="http://schemas.openxmlformats.org/officeDocument/2006/relationships/image" Target="../media/image2.emf"/><Relationship Id="rId5" Type="http://schemas.openxmlformats.org/officeDocument/2006/relationships/oleObject" Target="../embeddings/oleObject42.bin"/><Relationship Id="rId4" Type="http://schemas.openxmlformats.org/officeDocument/2006/relationships/image" Target="../media/image3.jpg"/></Relationships>
</file>

<file path=ppt/slideLayouts/_rels/slideLayout34.xml.rels><?xml version="1.0" encoding="UTF-8" standalone="yes"?>
<Relationships xmlns="http://schemas.openxmlformats.org/package/2006/relationships"><Relationship Id="rId3" Type="http://schemas.openxmlformats.org/officeDocument/2006/relationships/tags" Target="../tags/tag313.xml"/><Relationship Id="rId2" Type="http://schemas.openxmlformats.org/officeDocument/2006/relationships/tags" Target="../tags/tag312.xml"/><Relationship Id="rId1" Type="http://schemas.openxmlformats.org/officeDocument/2006/relationships/vmlDrawing" Target="../drawings/vmlDrawing43.vml"/><Relationship Id="rId6" Type="http://schemas.openxmlformats.org/officeDocument/2006/relationships/image" Target="../media/image4.emf"/><Relationship Id="rId5" Type="http://schemas.openxmlformats.org/officeDocument/2006/relationships/oleObject" Target="../embeddings/oleObject43.bin"/><Relationship Id="rId4" Type="http://schemas.openxmlformats.org/officeDocument/2006/relationships/slideMaster" Target="../slideMasters/slideMaster9.xml"/></Relationships>
</file>

<file path=ppt/slideLayouts/_rels/slideLayout35.xml.rels><?xml version="1.0" encoding="UTF-8" standalone="yes"?>
<Relationships xmlns="http://schemas.openxmlformats.org/package/2006/relationships"><Relationship Id="rId3" Type="http://schemas.openxmlformats.org/officeDocument/2006/relationships/tags" Target="../tags/tag315.xml"/><Relationship Id="rId2" Type="http://schemas.openxmlformats.org/officeDocument/2006/relationships/tags" Target="../tags/tag314.xml"/><Relationship Id="rId1" Type="http://schemas.openxmlformats.org/officeDocument/2006/relationships/vmlDrawing" Target="../drawings/vmlDrawing44.vml"/><Relationship Id="rId6" Type="http://schemas.openxmlformats.org/officeDocument/2006/relationships/image" Target="../media/image5.emf"/><Relationship Id="rId5" Type="http://schemas.openxmlformats.org/officeDocument/2006/relationships/oleObject" Target="../embeddings/oleObject44.bin"/><Relationship Id="rId4" Type="http://schemas.openxmlformats.org/officeDocument/2006/relationships/slideMaster" Target="../slideMasters/slideMaster9.xml"/></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316.xml"/><Relationship Id="rId1" Type="http://schemas.openxmlformats.org/officeDocument/2006/relationships/vmlDrawing" Target="../drawings/vmlDrawing45.vml"/><Relationship Id="rId5" Type="http://schemas.openxmlformats.org/officeDocument/2006/relationships/image" Target="../media/image5.emf"/><Relationship Id="rId4" Type="http://schemas.openxmlformats.org/officeDocument/2006/relationships/oleObject" Target="../embeddings/oleObject45.bin"/></Relationships>
</file>

<file path=ppt/slideLayouts/_rels/slideLayout37.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346.xml"/><Relationship Id="rId1" Type="http://schemas.openxmlformats.org/officeDocument/2006/relationships/vmlDrawing" Target="../drawings/vmlDrawing47.vml"/><Relationship Id="rId6" Type="http://schemas.openxmlformats.org/officeDocument/2006/relationships/image" Target="../media/image2.emf"/><Relationship Id="rId5" Type="http://schemas.openxmlformats.org/officeDocument/2006/relationships/oleObject" Target="../embeddings/oleObject47.bin"/><Relationship Id="rId4" Type="http://schemas.openxmlformats.org/officeDocument/2006/relationships/image" Target="../media/image3.jpg"/></Relationships>
</file>

<file path=ppt/slideLayouts/_rels/slideLayout38.xml.rels><?xml version="1.0" encoding="UTF-8" standalone="yes"?>
<Relationships xmlns="http://schemas.openxmlformats.org/package/2006/relationships"><Relationship Id="rId3" Type="http://schemas.openxmlformats.org/officeDocument/2006/relationships/tags" Target="../tags/tag348.xml"/><Relationship Id="rId2" Type="http://schemas.openxmlformats.org/officeDocument/2006/relationships/tags" Target="../tags/tag347.xml"/><Relationship Id="rId1" Type="http://schemas.openxmlformats.org/officeDocument/2006/relationships/vmlDrawing" Target="../drawings/vmlDrawing48.vml"/><Relationship Id="rId6" Type="http://schemas.openxmlformats.org/officeDocument/2006/relationships/image" Target="../media/image4.emf"/><Relationship Id="rId5" Type="http://schemas.openxmlformats.org/officeDocument/2006/relationships/oleObject" Target="../embeddings/oleObject48.bin"/><Relationship Id="rId4" Type="http://schemas.openxmlformats.org/officeDocument/2006/relationships/slideMaster" Target="../slideMasters/slideMaster10.xml"/></Relationships>
</file>

<file path=ppt/slideLayouts/_rels/slideLayout39.xml.rels><?xml version="1.0" encoding="UTF-8" standalone="yes"?>
<Relationships xmlns="http://schemas.openxmlformats.org/package/2006/relationships"><Relationship Id="rId3" Type="http://schemas.openxmlformats.org/officeDocument/2006/relationships/tags" Target="../tags/tag350.xml"/><Relationship Id="rId2" Type="http://schemas.openxmlformats.org/officeDocument/2006/relationships/tags" Target="../tags/tag349.xml"/><Relationship Id="rId1" Type="http://schemas.openxmlformats.org/officeDocument/2006/relationships/vmlDrawing" Target="../drawings/vmlDrawing49.vml"/><Relationship Id="rId6" Type="http://schemas.openxmlformats.org/officeDocument/2006/relationships/image" Target="../media/image5.emf"/><Relationship Id="rId5" Type="http://schemas.openxmlformats.org/officeDocument/2006/relationships/oleObject" Target="../embeddings/oleObject49.bin"/><Relationship Id="rId4" Type="http://schemas.openxmlformats.org/officeDocument/2006/relationships/slideMaster" Target="../slideMasters/slideMaster10.xml"/></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6.xml"/><Relationship Id="rId1" Type="http://schemas.openxmlformats.org/officeDocument/2006/relationships/vmlDrawing" Target="../drawings/vmlDrawing5.vml"/><Relationship Id="rId5" Type="http://schemas.openxmlformats.org/officeDocument/2006/relationships/image" Target="../media/image5.emf"/><Relationship Id="rId4" Type="http://schemas.openxmlformats.org/officeDocument/2006/relationships/oleObject" Target="../embeddings/oleObject5.bin"/></Relationships>
</file>

<file path=ppt/slideLayouts/_rels/slideLayout40.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351.xml"/><Relationship Id="rId1" Type="http://schemas.openxmlformats.org/officeDocument/2006/relationships/vmlDrawing" Target="../drawings/vmlDrawing50.vml"/><Relationship Id="rId5" Type="http://schemas.openxmlformats.org/officeDocument/2006/relationships/image" Target="../media/image5.emf"/><Relationship Id="rId4" Type="http://schemas.openxmlformats.org/officeDocument/2006/relationships/oleObject" Target="../embeddings/oleObject50.bin"/></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381.xml"/><Relationship Id="rId1" Type="http://schemas.openxmlformats.org/officeDocument/2006/relationships/vmlDrawing" Target="../drawings/vmlDrawing52.vml"/><Relationship Id="rId6" Type="http://schemas.openxmlformats.org/officeDocument/2006/relationships/image" Target="../media/image2.emf"/><Relationship Id="rId5" Type="http://schemas.openxmlformats.org/officeDocument/2006/relationships/oleObject" Target="../embeddings/oleObject52.bin"/><Relationship Id="rId4" Type="http://schemas.openxmlformats.org/officeDocument/2006/relationships/image" Target="../media/image3.jpg"/></Relationships>
</file>

<file path=ppt/slideLayouts/_rels/slideLayout42.xml.rels><?xml version="1.0" encoding="UTF-8" standalone="yes"?>
<Relationships xmlns="http://schemas.openxmlformats.org/package/2006/relationships"><Relationship Id="rId3" Type="http://schemas.openxmlformats.org/officeDocument/2006/relationships/tags" Target="../tags/tag383.xml"/><Relationship Id="rId2" Type="http://schemas.openxmlformats.org/officeDocument/2006/relationships/tags" Target="../tags/tag382.xml"/><Relationship Id="rId1" Type="http://schemas.openxmlformats.org/officeDocument/2006/relationships/vmlDrawing" Target="../drawings/vmlDrawing53.vml"/><Relationship Id="rId6" Type="http://schemas.openxmlformats.org/officeDocument/2006/relationships/image" Target="../media/image4.emf"/><Relationship Id="rId5" Type="http://schemas.openxmlformats.org/officeDocument/2006/relationships/oleObject" Target="../embeddings/oleObject53.bin"/><Relationship Id="rId4" Type="http://schemas.openxmlformats.org/officeDocument/2006/relationships/slideMaster" Target="../slideMasters/slideMaster11.xml"/></Relationships>
</file>

<file path=ppt/slideLayouts/_rels/slideLayout43.xml.rels><?xml version="1.0" encoding="UTF-8" standalone="yes"?>
<Relationships xmlns="http://schemas.openxmlformats.org/package/2006/relationships"><Relationship Id="rId3" Type="http://schemas.openxmlformats.org/officeDocument/2006/relationships/tags" Target="../tags/tag385.xml"/><Relationship Id="rId2" Type="http://schemas.openxmlformats.org/officeDocument/2006/relationships/tags" Target="../tags/tag384.xml"/><Relationship Id="rId1" Type="http://schemas.openxmlformats.org/officeDocument/2006/relationships/vmlDrawing" Target="../drawings/vmlDrawing54.vml"/><Relationship Id="rId6" Type="http://schemas.openxmlformats.org/officeDocument/2006/relationships/image" Target="../media/image5.emf"/><Relationship Id="rId5" Type="http://schemas.openxmlformats.org/officeDocument/2006/relationships/oleObject" Target="../embeddings/oleObject54.bin"/><Relationship Id="rId4" Type="http://schemas.openxmlformats.org/officeDocument/2006/relationships/slideMaster" Target="../slideMasters/slideMaster11.xml"/></Relationships>
</file>

<file path=ppt/slideLayouts/_rels/slideLayout44.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386.xml"/><Relationship Id="rId1" Type="http://schemas.openxmlformats.org/officeDocument/2006/relationships/vmlDrawing" Target="../drawings/vmlDrawing55.vml"/><Relationship Id="rId5" Type="http://schemas.openxmlformats.org/officeDocument/2006/relationships/image" Target="../media/image5.emf"/><Relationship Id="rId4" Type="http://schemas.openxmlformats.org/officeDocument/2006/relationships/oleObject" Target="../embeddings/oleObject55.bin"/></Relationships>
</file>

<file path=ppt/slideLayouts/_rels/slideLayout45.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416.xml"/><Relationship Id="rId1" Type="http://schemas.openxmlformats.org/officeDocument/2006/relationships/vmlDrawing" Target="../drawings/vmlDrawing57.vml"/><Relationship Id="rId6" Type="http://schemas.openxmlformats.org/officeDocument/2006/relationships/image" Target="../media/image2.emf"/><Relationship Id="rId5" Type="http://schemas.openxmlformats.org/officeDocument/2006/relationships/oleObject" Target="../embeddings/oleObject57.bin"/><Relationship Id="rId4" Type="http://schemas.openxmlformats.org/officeDocument/2006/relationships/image" Target="../media/image3.jpg"/></Relationships>
</file>

<file path=ppt/slideLayouts/_rels/slideLayout46.xml.rels><?xml version="1.0" encoding="UTF-8" standalone="yes"?>
<Relationships xmlns="http://schemas.openxmlformats.org/package/2006/relationships"><Relationship Id="rId3" Type="http://schemas.openxmlformats.org/officeDocument/2006/relationships/tags" Target="../tags/tag418.xml"/><Relationship Id="rId2" Type="http://schemas.openxmlformats.org/officeDocument/2006/relationships/tags" Target="../tags/tag417.xml"/><Relationship Id="rId1" Type="http://schemas.openxmlformats.org/officeDocument/2006/relationships/vmlDrawing" Target="../drawings/vmlDrawing58.vml"/><Relationship Id="rId6" Type="http://schemas.openxmlformats.org/officeDocument/2006/relationships/image" Target="../media/image4.emf"/><Relationship Id="rId5" Type="http://schemas.openxmlformats.org/officeDocument/2006/relationships/oleObject" Target="../embeddings/oleObject58.bin"/><Relationship Id="rId4" Type="http://schemas.openxmlformats.org/officeDocument/2006/relationships/slideMaster" Target="../slideMasters/slideMaster12.xml"/></Relationships>
</file>

<file path=ppt/slideLayouts/_rels/slideLayout47.xml.rels><?xml version="1.0" encoding="UTF-8" standalone="yes"?>
<Relationships xmlns="http://schemas.openxmlformats.org/package/2006/relationships"><Relationship Id="rId3" Type="http://schemas.openxmlformats.org/officeDocument/2006/relationships/tags" Target="../tags/tag420.xml"/><Relationship Id="rId2" Type="http://schemas.openxmlformats.org/officeDocument/2006/relationships/tags" Target="../tags/tag419.xml"/><Relationship Id="rId1" Type="http://schemas.openxmlformats.org/officeDocument/2006/relationships/vmlDrawing" Target="../drawings/vmlDrawing59.vml"/><Relationship Id="rId6" Type="http://schemas.openxmlformats.org/officeDocument/2006/relationships/image" Target="../media/image5.emf"/><Relationship Id="rId5" Type="http://schemas.openxmlformats.org/officeDocument/2006/relationships/oleObject" Target="../embeddings/oleObject59.bin"/><Relationship Id="rId4" Type="http://schemas.openxmlformats.org/officeDocument/2006/relationships/slideMaster" Target="../slideMasters/slideMaster12.xml"/></Relationships>
</file>

<file path=ppt/slideLayouts/_rels/slideLayout48.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421.xml"/><Relationship Id="rId1" Type="http://schemas.openxmlformats.org/officeDocument/2006/relationships/vmlDrawing" Target="../drawings/vmlDrawing60.vml"/><Relationship Id="rId5" Type="http://schemas.openxmlformats.org/officeDocument/2006/relationships/image" Target="../media/image5.emf"/><Relationship Id="rId4" Type="http://schemas.openxmlformats.org/officeDocument/2006/relationships/oleObject" Target="../embeddings/oleObject60.bin"/></Relationships>
</file>

<file path=ppt/slideLayouts/_rels/slideLayout49.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451.xml"/><Relationship Id="rId1" Type="http://schemas.openxmlformats.org/officeDocument/2006/relationships/vmlDrawing" Target="../drawings/vmlDrawing62.vml"/><Relationship Id="rId6" Type="http://schemas.openxmlformats.org/officeDocument/2006/relationships/image" Target="../media/image2.emf"/><Relationship Id="rId5" Type="http://schemas.openxmlformats.org/officeDocument/2006/relationships/oleObject" Target="../embeddings/oleObject62.bin"/><Relationship Id="rId4" Type="http://schemas.openxmlformats.org/officeDocument/2006/relationships/image" Target="../media/image3.jpg"/></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6.xml"/><Relationship Id="rId1" Type="http://schemas.openxmlformats.org/officeDocument/2006/relationships/vmlDrawing" Target="../drawings/vmlDrawing7.vml"/><Relationship Id="rId6" Type="http://schemas.openxmlformats.org/officeDocument/2006/relationships/image" Target="../media/image2.emf"/><Relationship Id="rId5" Type="http://schemas.openxmlformats.org/officeDocument/2006/relationships/oleObject" Target="../embeddings/oleObject7.bin"/><Relationship Id="rId4" Type="http://schemas.openxmlformats.org/officeDocument/2006/relationships/image" Target="../media/image3.jpg"/></Relationships>
</file>

<file path=ppt/slideLayouts/_rels/slideLayout50.xml.rels><?xml version="1.0" encoding="UTF-8" standalone="yes"?>
<Relationships xmlns="http://schemas.openxmlformats.org/package/2006/relationships"><Relationship Id="rId3" Type="http://schemas.openxmlformats.org/officeDocument/2006/relationships/tags" Target="../tags/tag453.xml"/><Relationship Id="rId2" Type="http://schemas.openxmlformats.org/officeDocument/2006/relationships/tags" Target="../tags/tag452.xml"/><Relationship Id="rId1" Type="http://schemas.openxmlformats.org/officeDocument/2006/relationships/vmlDrawing" Target="../drawings/vmlDrawing63.vml"/><Relationship Id="rId6" Type="http://schemas.openxmlformats.org/officeDocument/2006/relationships/image" Target="../media/image4.emf"/><Relationship Id="rId5" Type="http://schemas.openxmlformats.org/officeDocument/2006/relationships/oleObject" Target="../embeddings/oleObject63.bin"/><Relationship Id="rId4" Type="http://schemas.openxmlformats.org/officeDocument/2006/relationships/slideMaster" Target="../slideMasters/slideMaster13.xml"/></Relationships>
</file>

<file path=ppt/slideLayouts/_rels/slideLayout51.xml.rels><?xml version="1.0" encoding="UTF-8" standalone="yes"?>
<Relationships xmlns="http://schemas.openxmlformats.org/package/2006/relationships"><Relationship Id="rId3" Type="http://schemas.openxmlformats.org/officeDocument/2006/relationships/tags" Target="../tags/tag455.xml"/><Relationship Id="rId2" Type="http://schemas.openxmlformats.org/officeDocument/2006/relationships/tags" Target="../tags/tag454.xml"/><Relationship Id="rId1" Type="http://schemas.openxmlformats.org/officeDocument/2006/relationships/vmlDrawing" Target="../drawings/vmlDrawing64.vml"/><Relationship Id="rId6" Type="http://schemas.openxmlformats.org/officeDocument/2006/relationships/image" Target="../media/image5.emf"/><Relationship Id="rId5" Type="http://schemas.openxmlformats.org/officeDocument/2006/relationships/oleObject" Target="../embeddings/oleObject64.bin"/><Relationship Id="rId4" Type="http://schemas.openxmlformats.org/officeDocument/2006/relationships/slideMaster" Target="../slideMasters/slideMaster13.xml"/></Relationships>
</file>

<file path=ppt/slideLayouts/_rels/slideLayout52.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456.xml"/><Relationship Id="rId1" Type="http://schemas.openxmlformats.org/officeDocument/2006/relationships/vmlDrawing" Target="../drawings/vmlDrawing65.vml"/><Relationship Id="rId5" Type="http://schemas.openxmlformats.org/officeDocument/2006/relationships/image" Target="../media/image5.emf"/><Relationship Id="rId4" Type="http://schemas.openxmlformats.org/officeDocument/2006/relationships/oleObject" Target="../embeddings/oleObject65.bin"/></Relationships>
</file>

<file path=ppt/slideLayouts/_rels/slideLayout53.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486.xml"/><Relationship Id="rId1" Type="http://schemas.openxmlformats.org/officeDocument/2006/relationships/vmlDrawing" Target="../drawings/vmlDrawing67.vml"/><Relationship Id="rId6" Type="http://schemas.openxmlformats.org/officeDocument/2006/relationships/image" Target="../media/image2.emf"/><Relationship Id="rId5" Type="http://schemas.openxmlformats.org/officeDocument/2006/relationships/oleObject" Target="../embeddings/oleObject67.bin"/><Relationship Id="rId4" Type="http://schemas.openxmlformats.org/officeDocument/2006/relationships/image" Target="../media/image3.jpg"/></Relationships>
</file>

<file path=ppt/slideLayouts/_rels/slideLayout54.xml.rels><?xml version="1.0" encoding="UTF-8" standalone="yes"?>
<Relationships xmlns="http://schemas.openxmlformats.org/package/2006/relationships"><Relationship Id="rId3" Type="http://schemas.openxmlformats.org/officeDocument/2006/relationships/tags" Target="../tags/tag488.xml"/><Relationship Id="rId2" Type="http://schemas.openxmlformats.org/officeDocument/2006/relationships/tags" Target="../tags/tag487.xml"/><Relationship Id="rId1" Type="http://schemas.openxmlformats.org/officeDocument/2006/relationships/vmlDrawing" Target="../drawings/vmlDrawing68.vml"/><Relationship Id="rId6" Type="http://schemas.openxmlformats.org/officeDocument/2006/relationships/image" Target="../media/image4.emf"/><Relationship Id="rId5" Type="http://schemas.openxmlformats.org/officeDocument/2006/relationships/oleObject" Target="../embeddings/oleObject68.bin"/><Relationship Id="rId4" Type="http://schemas.openxmlformats.org/officeDocument/2006/relationships/slideMaster" Target="../slideMasters/slideMaster14.xml"/></Relationships>
</file>

<file path=ppt/slideLayouts/_rels/slideLayout55.xml.rels><?xml version="1.0" encoding="UTF-8" standalone="yes"?>
<Relationships xmlns="http://schemas.openxmlformats.org/package/2006/relationships"><Relationship Id="rId3" Type="http://schemas.openxmlformats.org/officeDocument/2006/relationships/tags" Target="../tags/tag490.xml"/><Relationship Id="rId2" Type="http://schemas.openxmlformats.org/officeDocument/2006/relationships/tags" Target="../tags/tag489.xml"/><Relationship Id="rId1" Type="http://schemas.openxmlformats.org/officeDocument/2006/relationships/vmlDrawing" Target="../drawings/vmlDrawing69.vml"/><Relationship Id="rId6" Type="http://schemas.openxmlformats.org/officeDocument/2006/relationships/image" Target="../media/image5.emf"/><Relationship Id="rId5" Type="http://schemas.openxmlformats.org/officeDocument/2006/relationships/oleObject" Target="../embeddings/oleObject69.bin"/><Relationship Id="rId4" Type="http://schemas.openxmlformats.org/officeDocument/2006/relationships/slideMaster" Target="../slideMasters/slideMaster14.xml"/></Relationships>
</file>

<file path=ppt/slideLayouts/_rels/slideLayout56.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491.xml"/><Relationship Id="rId1" Type="http://schemas.openxmlformats.org/officeDocument/2006/relationships/vmlDrawing" Target="../drawings/vmlDrawing70.vml"/><Relationship Id="rId5" Type="http://schemas.openxmlformats.org/officeDocument/2006/relationships/image" Target="../media/image5.emf"/><Relationship Id="rId4" Type="http://schemas.openxmlformats.org/officeDocument/2006/relationships/oleObject" Target="../embeddings/oleObject70.bin"/></Relationships>
</file>

<file path=ppt/slideLayouts/_rels/slideLayout57.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521.xml"/><Relationship Id="rId1" Type="http://schemas.openxmlformats.org/officeDocument/2006/relationships/vmlDrawing" Target="../drawings/vmlDrawing72.vml"/><Relationship Id="rId6" Type="http://schemas.openxmlformats.org/officeDocument/2006/relationships/image" Target="../media/image2.emf"/><Relationship Id="rId5" Type="http://schemas.openxmlformats.org/officeDocument/2006/relationships/oleObject" Target="../embeddings/oleObject72.bin"/><Relationship Id="rId4" Type="http://schemas.openxmlformats.org/officeDocument/2006/relationships/image" Target="../media/image3.jpg"/></Relationships>
</file>

<file path=ppt/slideLayouts/_rels/slideLayout58.xml.rels><?xml version="1.0" encoding="UTF-8" standalone="yes"?>
<Relationships xmlns="http://schemas.openxmlformats.org/package/2006/relationships"><Relationship Id="rId3" Type="http://schemas.openxmlformats.org/officeDocument/2006/relationships/tags" Target="../tags/tag523.xml"/><Relationship Id="rId2" Type="http://schemas.openxmlformats.org/officeDocument/2006/relationships/tags" Target="../tags/tag522.xml"/><Relationship Id="rId1" Type="http://schemas.openxmlformats.org/officeDocument/2006/relationships/vmlDrawing" Target="../drawings/vmlDrawing73.vml"/><Relationship Id="rId6" Type="http://schemas.openxmlformats.org/officeDocument/2006/relationships/image" Target="../media/image4.emf"/><Relationship Id="rId5" Type="http://schemas.openxmlformats.org/officeDocument/2006/relationships/oleObject" Target="../embeddings/oleObject73.bin"/><Relationship Id="rId4" Type="http://schemas.openxmlformats.org/officeDocument/2006/relationships/slideMaster" Target="../slideMasters/slideMaster15.xml"/></Relationships>
</file>

<file path=ppt/slideLayouts/_rels/slideLayout59.xml.rels><?xml version="1.0" encoding="UTF-8" standalone="yes"?>
<Relationships xmlns="http://schemas.openxmlformats.org/package/2006/relationships"><Relationship Id="rId3" Type="http://schemas.openxmlformats.org/officeDocument/2006/relationships/tags" Target="../tags/tag525.xml"/><Relationship Id="rId2" Type="http://schemas.openxmlformats.org/officeDocument/2006/relationships/tags" Target="../tags/tag524.xml"/><Relationship Id="rId1" Type="http://schemas.openxmlformats.org/officeDocument/2006/relationships/vmlDrawing" Target="../drawings/vmlDrawing74.vml"/><Relationship Id="rId6" Type="http://schemas.openxmlformats.org/officeDocument/2006/relationships/image" Target="../media/image5.emf"/><Relationship Id="rId5" Type="http://schemas.openxmlformats.org/officeDocument/2006/relationships/oleObject" Target="../embeddings/oleObject74.bin"/><Relationship Id="rId4" Type="http://schemas.openxmlformats.org/officeDocument/2006/relationships/slideMaster" Target="../slideMasters/slideMaster15.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68.xml"/><Relationship Id="rId2" Type="http://schemas.openxmlformats.org/officeDocument/2006/relationships/tags" Target="../tags/tag67.xml"/><Relationship Id="rId1" Type="http://schemas.openxmlformats.org/officeDocument/2006/relationships/vmlDrawing" Target="../drawings/vmlDrawing8.vml"/><Relationship Id="rId6" Type="http://schemas.openxmlformats.org/officeDocument/2006/relationships/image" Target="../media/image4.emf"/><Relationship Id="rId5" Type="http://schemas.openxmlformats.org/officeDocument/2006/relationships/oleObject" Target="../embeddings/oleObject8.bin"/><Relationship Id="rId4" Type="http://schemas.openxmlformats.org/officeDocument/2006/relationships/slideMaster" Target="../slideMasters/slideMaster2.xml"/></Relationships>
</file>

<file path=ppt/slideLayouts/_rels/slideLayout60.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526.xml"/><Relationship Id="rId1" Type="http://schemas.openxmlformats.org/officeDocument/2006/relationships/vmlDrawing" Target="../drawings/vmlDrawing75.vml"/><Relationship Id="rId5" Type="http://schemas.openxmlformats.org/officeDocument/2006/relationships/image" Target="../media/image5.emf"/><Relationship Id="rId4" Type="http://schemas.openxmlformats.org/officeDocument/2006/relationships/oleObject" Target="../embeddings/oleObject75.bin"/></Relationships>
</file>

<file path=ppt/slideLayouts/_rels/slideLayout61.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556.xml"/><Relationship Id="rId1" Type="http://schemas.openxmlformats.org/officeDocument/2006/relationships/vmlDrawing" Target="../drawings/vmlDrawing77.vml"/><Relationship Id="rId6" Type="http://schemas.openxmlformats.org/officeDocument/2006/relationships/image" Target="../media/image2.emf"/><Relationship Id="rId5" Type="http://schemas.openxmlformats.org/officeDocument/2006/relationships/oleObject" Target="../embeddings/oleObject77.bin"/><Relationship Id="rId4" Type="http://schemas.openxmlformats.org/officeDocument/2006/relationships/image" Target="../media/image3.jpg"/></Relationships>
</file>

<file path=ppt/slideLayouts/_rels/slideLayout62.xml.rels><?xml version="1.0" encoding="UTF-8" standalone="yes"?>
<Relationships xmlns="http://schemas.openxmlformats.org/package/2006/relationships"><Relationship Id="rId3" Type="http://schemas.openxmlformats.org/officeDocument/2006/relationships/tags" Target="../tags/tag558.xml"/><Relationship Id="rId2" Type="http://schemas.openxmlformats.org/officeDocument/2006/relationships/tags" Target="../tags/tag557.xml"/><Relationship Id="rId1" Type="http://schemas.openxmlformats.org/officeDocument/2006/relationships/vmlDrawing" Target="../drawings/vmlDrawing78.vml"/><Relationship Id="rId6" Type="http://schemas.openxmlformats.org/officeDocument/2006/relationships/image" Target="../media/image4.emf"/><Relationship Id="rId5" Type="http://schemas.openxmlformats.org/officeDocument/2006/relationships/oleObject" Target="../embeddings/oleObject78.bin"/><Relationship Id="rId4" Type="http://schemas.openxmlformats.org/officeDocument/2006/relationships/slideMaster" Target="../slideMasters/slideMaster16.xml"/></Relationships>
</file>

<file path=ppt/slideLayouts/_rels/slideLayout63.xml.rels><?xml version="1.0" encoding="UTF-8" standalone="yes"?>
<Relationships xmlns="http://schemas.openxmlformats.org/package/2006/relationships"><Relationship Id="rId3" Type="http://schemas.openxmlformats.org/officeDocument/2006/relationships/tags" Target="../tags/tag560.xml"/><Relationship Id="rId2" Type="http://schemas.openxmlformats.org/officeDocument/2006/relationships/tags" Target="../tags/tag559.xml"/><Relationship Id="rId1" Type="http://schemas.openxmlformats.org/officeDocument/2006/relationships/vmlDrawing" Target="../drawings/vmlDrawing79.vml"/><Relationship Id="rId6" Type="http://schemas.openxmlformats.org/officeDocument/2006/relationships/image" Target="../media/image5.emf"/><Relationship Id="rId5" Type="http://schemas.openxmlformats.org/officeDocument/2006/relationships/oleObject" Target="../embeddings/oleObject79.bin"/><Relationship Id="rId4" Type="http://schemas.openxmlformats.org/officeDocument/2006/relationships/slideMaster" Target="../slideMasters/slideMaster16.xml"/></Relationships>
</file>

<file path=ppt/slideLayouts/_rels/slideLayout64.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561.xml"/><Relationship Id="rId1" Type="http://schemas.openxmlformats.org/officeDocument/2006/relationships/vmlDrawing" Target="../drawings/vmlDrawing80.vml"/><Relationship Id="rId5" Type="http://schemas.openxmlformats.org/officeDocument/2006/relationships/image" Target="../media/image5.emf"/><Relationship Id="rId4" Type="http://schemas.openxmlformats.org/officeDocument/2006/relationships/oleObject" Target="../embeddings/oleObject80.bin"/></Relationships>
</file>

<file path=ppt/slideLayouts/_rels/slideLayout65.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591.xml"/><Relationship Id="rId1" Type="http://schemas.openxmlformats.org/officeDocument/2006/relationships/vmlDrawing" Target="../drawings/vmlDrawing82.vml"/><Relationship Id="rId6" Type="http://schemas.openxmlformats.org/officeDocument/2006/relationships/image" Target="../media/image2.emf"/><Relationship Id="rId5" Type="http://schemas.openxmlformats.org/officeDocument/2006/relationships/oleObject" Target="../embeddings/oleObject82.bin"/><Relationship Id="rId4" Type="http://schemas.openxmlformats.org/officeDocument/2006/relationships/image" Target="../media/image3.jpg"/></Relationships>
</file>

<file path=ppt/slideLayouts/_rels/slideLayout66.xml.rels><?xml version="1.0" encoding="UTF-8" standalone="yes"?>
<Relationships xmlns="http://schemas.openxmlformats.org/package/2006/relationships"><Relationship Id="rId3" Type="http://schemas.openxmlformats.org/officeDocument/2006/relationships/tags" Target="../tags/tag593.xml"/><Relationship Id="rId2" Type="http://schemas.openxmlformats.org/officeDocument/2006/relationships/tags" Target="../tags/tag592.xml"/><Relationship Id="rId1" Type="http://schemas.openxmlformats.org/officeDocument/2006/relationships/vmlDrawing" Target="../drawings/vmlDrawing83.vml"/><Relationship Id="rId6" Type="http://schemas.openxmlformats.org/officeDocument/2006/relationships/image" Target="../media/image4.emf"/><Relationship Id="rId5" Type="http://schemas.openxmlformats.org/officeDocument/2006/relationships/oleObject" Target="../embeddings/oleObject83.bin"/><Relationship Id="rId4" Type="http://schemas.openxmlformats.org/officeDocument/2006/relationships/slideMaster" Target="../slideMasters/slideMaster17.xml"/></Relationships>
</file>

<file path=ppt/slideLayouts/_rels/slideLayout67.xml.rels><?xml version="1.0" encoding="UTF-8" standalone="yes"?>
<Relationships xmlns="http://schemas.openxmlformats.org/package/2006/relationships"><Relationship Id="rId3" Type="http://schemas.openxmlformats.org/officeDocument/2006/relationships/tags" Target="../tags/tag595.xml"/><Relationship Id="rId2" Type="http://schemas.openxmlformats.org/officeDocument/2006/relationships/tags" Target="../tags/tag594.xml"/><Relationship Id="rId1" Type="http://schemas.openxmlformats.org/officeDocument/2006/relationships/vmlDrawing" Target="../drawings/vmlDrawing84.vml"/><Relationship Id="rId6" Type="http://schemas.openxmlformats.org/officeDocument/2006/relationships/image" Target="../media/image5.emf"/><Relationship Id="rId5" Type="http://schemas.openxmlformats.org/officeDocument/2006/relationships/oleObject" Target="../embeddings/oleObject84.bin"/><Relationship Id="rId4" Type="http://schemas.openxmlformats.org/officeDocument/2006/relationships/slideMaster" Target="../slideMasters/slideMaster17.xml"/></Relationships>
</file>

<file path=ppt/slideLayouts/_rels/slideLayout68.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596.xml"/><Relationship Id="rId1" Type="http://schemas.openxmlformats.org/officeDocument/2006/relationships/vmlDrawing" Target="../drawings/vmlDrawing85.vml"/><Relationship Id="rId5" Type="http://schemas.openxmlformats.org/officeDocument/2006/relationships/image" Target="../media/image5.emf"/><Relationship Id="rId4" Type="http://schemas.openxmlformats.org/officeDocument/2006/relationships/oleObject" Target="../embeddings/oleObject85.bin"/></Relationships>
</file>

<file path=ppt/slideLayouts/_rels/slideLayout69.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626.xml"/><Relationship Id="rId1" Type="http://schemas.openxmlformats.org/officeDocument/2006/relationships/vmlDrawing" Target="../drawings/vmlDrawing87.vml"/><Relationship Id="rId6" Type="http://schemas.openxmlformats.org/officeDocument/2006/relationships/image" Target="../media/image2.emf"/><Relationship Id="rId5" Type="http://schemas.openxmlformats.org/officeDocument/2006/relationships/oleObject" Target="../embeddings/oleObject87.bin"/><Relationship Id="rId4" Type="http://schemas.openxmlformats.org/officeDocument/2006/relationships/image" Target="../media/image3.jpg"/></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70.xml"/><Relationship Id="rId2" Type="http://schemas.openxmlformats.org/officeDocument/2006/relationships/tags" Target="../tags/tag69.xml"/><Relationship Id="rId1" Type="http://schemas.openxmlformats.org/officeDocument/2006/relationships/vmlDrawing" Target="../drawings/vmlDrawing9.vml"/><Relationship Id="rId6" Type="http://schemas.openxmlformats.org/officeDocument/2006/relationships/image" Target="../media/image5.emf"/><Relationship Id="rId5" Type="http://schemas.openxmlformats.org/officeDocument/2006/relationships/oleObject" Target="../embeddings/oleObject9.bin"/><Relationship Id="rId4" Type="http://schemas.openxmlformats.org/officeDocument/2006/relationships/slideMaster" Target="../slideMasters/slideMaster2.xml"/></Relationships>
</file>

<file path=ppt/slideLayouts/_rels/slideLayout70.xml.rels><?xml version="1.0" encoding="UTF-8" standalone="yes"?>
<Relationships xmlns="http://schemas.openxmlformats.org/package/2006/relationships"><Relationship Id="rId3" Type="http://schemas.openxmlformats.org/officeDocument/2006/relationships/tags" Target="../tags/tag628.xml"/><Relationship Id="rId2" Type="http://schemas.openxmlformats.org/officeDocument/2006/relationships/tags" Target="../tags/tag627.xml"/><Relationship Id="rId1" Type="http://schemas.openxmlformats.org/officeDocument/2006/relationships/vmlDrawing" Target="../drawings/vmlDrawing88.vml"/><Relationship Id="rId6" Type="http://schemas.openxmlformats.org/officeDocument/2006/relationships/image" Target="../media/image4.emf"/><Relationship Id="rId5" Type="http://schemas.openxmlformats.org/officeDocument/2006/relationships/oleObject" Target="../embeddings/oleObject88.bin"/><Relationship Id="rId4" Type="http://schemas.openxmlformats.org/officeDocument/2006/relationships/slideMaster" Target="../slideMasters/slideMaster18.xml"/></Relationships>
</file>

<file path=ppt/slideLayouts/_rels/slideLayout71.xml.rels><?xml version="1.0" encoding="UTF-8" standalone="yes"?>
<Relationships xmlns="http://schemas.openxmlformats.org/package/2006/relationships"><Relationship Id="rId3" Type="http://schemas.openxmlformats.org/officeDocument/2006/relationships/tags" Target="../tags/tag630.xml"/><Relationship Id="rId2" Type="http://schemas.openxmlformats.org/officeDocument/2006/relationships/tags" Target="../tags/tag629.xml"/><Relationship Id="rId1" Type="http://schemas.openxmlformats.org/officeDocument/2006/relationships/vmlDrawing" Target="../drawings/vmlDrawing89.vml"/><Relationship Id="rId6" Type="http://schemas.openxmlformats.org/officeDocument/2006/relationships/image" Target="../media/image5.emf"/><Relationship Id="rId5" Type="http://schemas.openxmlformats.org/officeDocument/2006/relationships/oleObject" Target="../embeddings/oleObject89.bin"/><Relationship Id="rId4" Type="http://schemas.openxmlformats.org/officeDocument/2006/relationships/slideMaster" Target="../slideMasters/slideMaster18.xml"/></Relationships>
</file>

<file path=ppt/slideLayouts/_rels/slideLayout72.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631.xml"/><Relationship Id="rId1" Type="http://schemas.openxmlformats.org/officeDocument/2006/relationships/vmlDrawing" Target="../drawings/vmlDrawing90.vml"/><Relationship Id="rId5" Type="http://schemas.openxmlformats.org/officeDocument/2006/relationships/image" Target="../media/image5.emf"/><Relationship Id="rId4" Type="http://schemas.openxmlformats.org/officeDocument/2006/relationships/oleObject" Target="../embeddings/oleObject90.bin"/></Relationships>
</file>

<file path=ppt/slideLayouts/_rels/slideLayout73.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661.xml"/><Relationship Id="rId1" Type="http://schemas.openxmlformats.org/officeDocument/2006/relationships/vmlDrawing" Target="../drawings/vmlDrawing92.vml"/><Relationship Id="rId6" Type="http://schemas.openxmlformats.org/officeDocument/2006/relationships/image" Target="../media/image2.emf"/><Relationship Id="rId5" Type="http://schemas.openxmlformats.org/officeDocument/2006/relationships/oleObject" Target="../embeddings/oleObject92.bin"/><Relationship Id="rId4" Type="http://schemas.openxmlformats.org/officeDocument/2006/relationships/image" Target="../media/image3.jpg"/></Relationships>
</file>

<file path=ppt/slideLayouts/_rels/slideLayout74.xml.rels><?xml version="1.0" encoding="UTF-8" standalone="yes"?>
<Relationships xmlns="http://schemas.openxmlformats.org/package/2006/relationships"><Relationship Id="rId3" Type="http://schemas.openxmlformats.org/officeDocument/2006/relationships/tags" Target="../tags/tag663.xml"/><Relationship Id="rId2" Type="http://schemas.openxmlformats.org/officeDocument/2006/relationships/tags" Target="../tags/tag662.xml"/><Relationship Id="rId1" Type="http://schemas.openxmlformats.org/officeDocument/2006/relationships/vmlDrawing" Target="../drawings/vmlDrawing93.vml"/><Relationship Id="rId6" Type="http://schemas.openxmlformats.org/officeDocument/2006/relationships/image" Target="../media/image4.emf"/><Relationship Id="rId5" Type="http://schemas.openxmlformats.org/officeDocument/2006/relationships/oleObject" Target="../embeddings/oleObject93.bin"/><Relationship Id="rId4" Type="http://schemas.openxmlformats.org/officeDocument/2006/relationships/slideMaster" Target="../slideMasters/slideMaster19.xml"/></Relationships>
</file>

<file path=ppt/slideLayouts/_rels/slideLayout75.xml.rels><?xml version="1.0" encoding="UTF-8" standalone="yes"?>
<Relationships xmlns="http://schemas.openxmlformats.org/package/2006/relationships"><Relationship Id="rId3" Type="http://schemas.openxmlformats.org/officeDocument/2006/relationships/tags" Target="../tags/tag665.xml"/><Relationship Id="rId2" Type="http://schemas.openxmlformats.org/officeDocument/2006/relationships/tags" Target="../tags/tag664.xml"/><Relationship Id="rId1" Type="http://schemas.openxmlformats.org/officeDocument/2006/relationships/vmlDrawing" Target="../drawings/vmlDrawing94.vml"/><Relationship Id="rId6" Type="http://schemas.openxmlformats.org/officeDocument/2006/relationships/image" Target="../media/image5.emf"/><Relationship Id="rId5" Type="http://schemas.openxmlformats.org/officeDocument/2006/relationships/oleObject" Target="../embeddings/oleObject94.bin"/><Relationship Id="rId4" Type="http://schemas.openxmlformats.org/officeDocument/2006/relationships/slideMaster" Target="../slideMasters/slideMaster19.xml"/></Relationships>
</file>

<file path=ppt/slideLayouts/_rels/slideLayout76.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666.xml"/><Relationship Id="rId1" Type="http://schemas.openxmlformats.org/officeDocument/2006/relationships/vmlDrawing" Target="../drawings/vmlDrawing95.vml"/><Relationship Id="rId5" Type="http://schemas.openxmlformats.org/officeDocument/2006/relationships/image" Target="../media/image5.emf"/><Relationship Id="rId4" Type="http://schemas.openxmlformats.org/officeDocument/2006/relationships/oleObject" Target="../embeddings/oleObject95.bin"/></Relationships>
</file>

<file path=ppt/slideLayouts/_rels/slideLayout77.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696.xml"/><Relationship Id="rId1" Type="http://schemas.openxmlformats.org/officeDocument/2006/relationships/vmlDrawing" Target="../drawings/vmlDrawing97.vml"/><Relationship Id="rId6" Type="http://schemas.openxmlformats.org/officeDocument/2006/relationships/image" Target="../media/image2.emf"/><Relationship Id="rId5" Type="http://schemas.openxmlformats.org/officeDocument/2006/relationships/oleObject" Target="../embeddings/oleObject97.bin"/><Relationship Id="rId4" Type="http://schemas.openxmlformats.org/officeDocument/2006/relationships/image" Target="../media/image3.jpg"/></Relationships>
</file>

<file path=ppt/slideLayouts/_rels/slideLayout78.xml.rels><?xml version="1.0" encoding="UTF-8" standalone="yes"?>
<Relationships xmlns="http://schemas.openxmlformats.org/package/2006/relationships"><Relationship Id="rId3" Type="http://schemas.openxmlformats.org/officeDocument/2006/relationships/tags" Target="../tags/tag698.xml"/><Relationship Id="rId2" Type="http://schemas.openxmlformats.org/officeDocument/2006/relationships/tags" Target="../tags/tag697.xml"/><Relationship Id="rId1" Type="http://schemas.openxmlformats.org/officeDocument/2006/relationships/vmlDrawing" Target="../drawings/vmlDrawing98.vml"/><Relationship Id="rId6" Type="http://schemas.openxmlformats.org/officeDocument/2006/relationships/image" Target="../media/image4.emf"/><Relationship Id="rId5" Type="http://schemas.openxmlformats.org/officeDocument/2006/relationships/oleObject" Target="../embeddings/oleObject98.bin"/><Relationship Id="rId4" Type="http://schemas.openxmlformats.org/officeDocument/2006/relationships/slideMaster" Target="../slideMasters/slideMaster20.xml"/></Relationships>
</file>

<file path=ppt/slideLayouts/_rels/slideLayout79.xml.rels><?xml version="1.0" encoding="UTF-8" standalone="yes"?>
<Relationships xmlns="http://schemas.openxmlformats.org/package/2006/relationships"><Relationship Id="rId3" Type="http://schemas.openxmlformats.org/officeDocument/2006/relationships/tags" Target="../tags/tag700.xml"/><Relationship Id="rId2" Type="http://schemas.openxmlformats.org/officeDocument/2006/relationships/tags" Target="../tags/tag699.xml"/><Relationship Id="rId1" Type="http://schemas.openxmlformats.org/officeDocument/2006/relationships/vmlDrawing" Target="../drawings/vmlDrawing99.vml"/><Relationship Id="rId6" Type="http://schemas.openxmlformats.org/officeDocument/2006/relationships/image" Target="../media/image5.emf"/><Relationship Id="rId5" Type="http://schemas.openxmlformats.org/officeDocument/2006/relationships/oleObject" Target="../embeddings/oleObject99.bin"/><Relationship Id="rId4" Type="http://schemas.openxmlformats.org/officeDocument/2006/relationships/slideMaster" Target="../slideMasters/slideMaster20.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1.xml"/><Relationship Id="rId1" Type="http://schemas.openxmlformats.org/officeDocument/2006/relationships/vmlDrawing" Target="../drawings/vmlDrawing10.vml"/><Relationship Id="rId5" Type="http://schemas.openxmlformats.org/officeDocument/2006/relationships/image" Target="../media/image5.emf"/><Relationship Id="rId4" Type="http://schemas.openxmlformats.org/officeDocument/2006/relationships/oleObject" Target="../embeddings/oleObject10.bin"/></Relationships>
</file>

<file path=ppt/slideLayouts/_rels/slideLayout80.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701.xml"/><Relationship Id="rId1" Type="http://schemas.openxmlformats.org/officeDocument/2006/relationships/vmlDrawing" Target="../drawings/vmlDrawing100.vml"/><Relationship Id="rId5" Type="http://schemas.openxmlformats.org/officeDocument/2006/relationships/image" Target="../media/image5.emf"/><Relationship Id="rId4" Type="http://schemas.openxmlformats.org/officeDocument/2006/relationships/oleObject" Target="../embeddings/oleObject100.bin"/></Relationships>
</file>

<file path=ppt/slideLayouts/_rels/slideLayout81.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731.xml"/><Relationship Id="rId1" Type="http://schemas.openxmlformats.org/officeDocument/2006/relationships/vmlDrawing" Target="../drawings/vmlDrawing102.vml"/><Relationship Id="rId6" Type="http://schemas.openxmlformats.org/officeDocument/2006/relationships/image" Target="../media/image2.emf"/><Relationship Id="rId5" Type="http://schemas.openxmlformats.org/officeDocument/2006/relationships/oleObject" Target="../embeddings/oleObject102.bin"/><Relationship Id="rId4" Type="http://schemas.openxmlformats.org/officeDocument/2006/relationships/image" Target="../media/image3.jpg"/></Relationships>
</file>

<file path=ppt/slideLayouts/_rels/slideLayout82.xml.rels><?xml version="1.0" encoding="UTF-8" standalone="yes"?>
<Relationships xmlns="http://schemas.openxmlformats.org/package/2006/relationships"><Relationship Id="rId3" Type="http://schemas.openxmlformats.org/officeDocument/2006/relationships/tags" Target="../tags/tag733.xml"/><Relationship Id="rId2" Type="http://schemas.openxmlformats.org/officeDocument/2006/relationships/tags" Target="../tags/tag732.xml"/><Relationship Id="rId1" Type="http://schemas.openxmlformats.org/officeDocument/2006/relationships/vmlDrawing" Target="../drawings/vmlDrawing103.vml"/><Relationship Id="rId6" Type="http://schemas.openxmlformats.org/officeDocument/2006/relationships/image" Target="../media/image4.emf"/><Relationship Id="rId5" Type="http://schemas.openxmlformats.org/officeDocument/2006/relationships/oleObject" Target="../embeddings/oleObject103.bin"/><Relationship Id="rId4" Type="http://schemas.openxmlformats.org/officeDocument/2006/relationships/slideMaster" Target="../slideMasters/slideMaster21.xml"/></Relationships>
</file>

<file path=ppt/slideLayouts/_rels/slideLayout83.xml.rels><?xml version="1.0" encoding="UTF-8" standalone="yes"?>
<Relationships xmlns="http://schemas.openxmlformats.org/package/2006/relationships"><Relationship Id="rId3" Type="http://schemas.openxmlformats.org/officeDocument/2006/relationships/tags" Target="../tags/tag735.xml"/><Relationship Id="rId2" Type="http://schemas.openxmlformats.org/officeDocument/2006/relationships/tags" Target="../tags/tag734.xml"/><Relationship Id="rId1" Type="http://schemas.openxmlformats.org/officeDocument/2006/relationships/vmlDrawing" Target="../drawings/vmlDrawing104.vml"/><Relationship Id="rId6" Type="http://schemas.openxmlformats.org/officeDocument/2006/relationships/image" Target="../media/image5.emf"/><Relationship Id="rId5" Type="http://schemas.openxmlformats.org/officeDocument/2006/relationships/oleObject" Target="../embeddings/oleObject104.bin"/><Relationship Id="rId4" Type="http://schemas.openxmlformats.org/officeDocument/2006/relationships/slideMaster" Target="../slideMasters/slideMaster21.xml"/></Relationships>
</file>

<file path=ppt/slideLayouts/_rels/slideLayout84.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736.xml"/><Relationship Id="rId1" Type="http://schemas.openxmlformats.org/officeDocument/2006/relationships/vmlDrawing" Target="../drawings/vmlDrawing105.vml"/><Relationship Id="rId5" Type="http://schemas.openxmlformats.org/officeDocument/2006/relationships/image" Target="../media/image5.emf"/><Relationship Id="rId4" Type="http://schemas.openxmlformats.org/officeDocument/2006/relationships/oleObject" Target="../embeddings/oleObject105.bin"/></Relationships>
</file>

<file path=ppt/slideLayouts/_rels/slideLayout85.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766.xml"/><Relationship Id="rId1" Type="http://schemas.openxmlformats.org/officeDocument/2006/relationships/vmlDrawing" Target="../drawings/vmlDrawing107.vml"/><Relationship Id="rId6" Type="http://schemas.openxmlformats.org/officeDocument/2006/relationships/image" Target="../media/image2.emf"/><Relationship Id="rId5" Type="http://schemas.openxmlformats.org/officeDocument/2006/relationships/oleObject" Target="../embeddings/oleObject107.bin"/><Relationship Id="rId4" Type="http://schemas.openxmlformats.org/officeDocument/2006/relationships/image" Target="../media/image3.jpg"/></Relationships>
</file>

<file path=ppt/slideLayouts/_rels/slideLayout86.xml.rels><?xml version="1.0" encoding="UTF-8" standalone="yes"?>
<Relationships xmlns="http://schemas.openxmlformats.org/package/2006/relationships"><Relationship Id="rId3" Type="http://schemas.openxmlformats.org/officeDocument/2006/relationships/tags" Target="../tags/tag768.xml"/><Relationship Id="rId2" Type="http://schemas.openxmlformats.org/officeDocument/2006/relationships/tags" Target="../tags/tag767.xml"/><Relationship Id="rId1" Type="http://schemas.openxmlformats.org/officeDocument/2006/relationships/vmlDrawing" Target="../drawings/vmlDrawing108.vml"/><Relationship Id="rId6" Type="http://schemas.openxmlformats.org/officeDocument/2006/relationships/image" Target="../media/image4.emf"/><Relationship Id="rId5" Type="http://schemas.openxmlformats.org/officeDocument/2006/relationships/oleObject" Target="../embeddings/oleObject108.bin"/><Relationship Id="rId4" Type="http://schemas.openxmlformats.org/officeDocument/2006/relationships/slideMaster" Target="../slideMasters/slideMaster22.xml"/></Relationships>
</file>

<file path=ppt/slideLayouts/_rels/slideLayout87.xml.rels><?xml version="1.0" encoding="UTF-8" standalone="yes"?>
<Relationships xmlns="http://schemas.openxmlformats.org/package/2006/relationships"><Relationship Id="rId3" Type="http://schemas.openxmlformats.org/officeDocument/2006/relationships/tags" Target="../tags/tag770.xml"/><Relationship Id="rId2" Type="http://schemas.openxmlformats.org/officeDocument/2006/relationships/tags" Target="../tags/tag769.xml"/><Relationship Id="rId1" Type="http://schemas.openxmlformats.org/officeDocument/2006/relationships/vmlDrawing" Target="../drawings/vmlDrawing109.vml"/><Relationship Id="rId6" Type="http://schemas.openxmlformats.org/officeDocument/2006/relationships/image" Target="../media/image5.emf"/><Relationship Id="rId5" Type="http://schemas.openxmlformats.org/officeDocument/2006/relationships/oleObject" Target="../embeddings/oleObject109.bin"/><Relationship Id="rId4" Type="http://schemas.openxmlformats.org/officeDocument/2006/relationships/slideMaster" Target="../slideMasters/slideMaster22.xml"/></Relationships>
</file>

<file path=ppt/slideLayouts/_rels/slideLayout88.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771.xml"/><Relationship Id="rId1" Type="http://schemas.openxmlformats.org/officeDocument/2006/relationships/vmlDrawing" Target="../drawings/vmlDrawing110.vml"/><Relationship Id="rId5" Type="http://schemas.openxmlformats.org/officeDocument/2006/relationships/image" Target="../media/image5.emf"/><Relationship Id="rId4" Type="http://schemas.openxmlformats.org/officeDocument/2006/relationships/oleObject" Target="../embeddings/oleObject110.bin"/></Relationships>
</file>

<file path=ppt/slideLayouts/_rels/slideLayout89.xml.rels><?xml version="1.0" encoding="UTF-8" standalone="yes"?>
<Relationships xmlns="http://schemas.openxmlformats.org/package/2006/relationships"><Relationship Id="rId3" Type="http://schemas.openxmlformats.org/officeDocument/2006/relationships/slideMaster" Target="../slideMasters/slideMaster23.xml"/><Relationship Id="rId2" Type="http://schemas.openxmlformats.org/officeDocument/2006/relationships/tags" Target="../tags/tag801.xml"/><Relationship Id="rId1" Type="http://schemas.openxmlformats.org/officeDocument/2006/relationships/vmlDrawing" Target="../drawings/vmlDrawing112.vml"/><Relationship Id="rId6" Type="http://schemas.openxmlformats.org/officeDocument/2006/relationships/image" Target="../media/image2.emf"/><Relationship Id="rId5" Type="http://schemas.openxmlformats.org/officeDocument/2006/relationships/oleObject" Target="../embeddings/oleObject112.bin"/><Relationship Id="rId4" Type="http://schemas.openxmlformats.org/officeDocument/2006/relationships/image" Target="../media/image3.jpg"/></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01.xml"/><Relationship Id="rId1" Type="http://schemas.openxmlformats.org/officeDocument/2006/relationships/vmlDrawing" Target="../drawings/vmlDrawing12.vml"/><Relationship Id="rId6" Type="http://schemas.openxmlformats.org/officeDocument/2006/relationships/image" Target="../media/image2.emf"/><Relationship Id="rId5" Type="http://schemas.openxmlformats.org/officeDocument/2006/relationships/oleObject" Target="../embeddings/oleObject12.bin"/><Relationship Id="rId4" Type="http://schemas.openxmlformats.org/officeDocument/2006/relationships/image" Target="../media/image3.jpg"/></Relationships>
</file>

<file path=ppt/slideLayouts/_rels/slideLayout90.xml.rels><?xml version="1.0" encoding="UTF-8" standalone="yes"?>
<Relationships xmlns="http://schemas.openxmlformats.org/package/2006/relationships"><Relationship Id="rId3" Type="http://schemas.openxmlformats.org/officeDocument/2006/relationships/tags" Target="../tags/tag803.xml"/><Relationship Id="rId2" Type="http://schemas.openxmlformats.org/officeDocument/2006/relationships/tags" Target="../tags/tag802.xml"/><Relationship Id="rId1" Type="http://schemas.openxmlformats.org/officeDocument/2006/relationships/vmlDrawing" Target="../drawings/vmlDrawing113.vml"/><Relationship Id="rId6" Type="http://schemas.openxmlformats.org/officeDocument/2006/relationships/image" Target="../media/image4.emf"/><Relationship Id="rId5" Type="http://schemas.openxmlformats.org/officeDocument/2006/relationships/oleObject" Target="../embeddings/oleObject113.bin"/><Relationship Id="rId4" Type="http://schemas.openxmlformats.org/officeDocument/2006/relationships/slideMaster" Target="../slideMasters/slideMaster23.xml"/></Relationships>
</file>

<file path=ppt/slideLayouts/_rels/slideLayout91.xml.rels><?xml version="1.0" encoding="UTF-8" standalone="yes"?>
<Relationships xmlns="http://schemas.openxmlformats.org/package/2006/relationships"><Relationship Id="rId3" Type="http://schemas.openxmlformats.org/officeDocument/2006/relationships/tags" Target="../tags/tag805.xml"/><Relationship Id="rId2" Type="http://schemas.openxmlformats.org/officeDocument/2006/relationships/tags" Target="../tags/tag804.xml"/><Relationship Id="rId1" Type="http://schemas.openxmlformats.org/officeDocument/2006/relationships/vmlDrawing" Target="../drawings/vmlDrawing114.vml"/><Relationship Id="rId6" Type="http://schemas.openxmlformats.org/officeDocument/2006/relationships/image" Target="../media/image5.emf"/><Relationship Id="rId5" Type="http://schemas.openxmlformats.org/officeDocument/2006/relationships/oleObject" Target="../embeddings/oleObject114.bin"/><Relationship Id="rId4" Type="http://schemas.openxmlformats.org/officeDocument/2006/relationships/slideMaster" Target="../slideMasters/slideMaster23.xml"/></Relationships>
</file>

<file path=ppt/slideLayouts/_rels/slideLayout92.xml.rels><?xml version="1.0" encoding="UTF-8" standalone="yes"?>
<Relationships xmlns="http://schemas.openxmlformats.org/package/2006/relationships"><Relationship Id="rId3" Type="http://schemas.openxmlformats.org/officeDocument/2006/relationships/slideMaster" Target="../slideMasters/slideMaster23.xml"/><Relationship Id="rId2" Type="http://schemas.openxmlformats.org/officeDocument/2006/relationships/tags" Target="../tags/tag806.xml"/><Relationship Id="rId1" Type="http://schemas.openxmlformats.org/officeDocument/2006/relationships/vmlDrawing" Target="../drawings/vmlDrawing115.vml"/><Relationship Id="rId5" Type="http://schemas.openxmlformats.org/officeDocument/2006/relationships/image" Target="../media/image5.emf"/><Relationship Id="rId4" Type="http://schemas.openxmlformats.org/officeDocument/2006/relationships/oleObject" Target="../embeddings/oleObject115.bin"/></Relationships>
</file>

<file path=ppt/slideLayouts/_rels/slideLayout93.xml.rels><?xml version="1.0" encoding="UTF-8" standalone="yes"?>
<Relationships xmlns="http://schemas.openxmlformats.org/package/2006/relationships"><Relationship Id="rId3" Type="http://schemas.openxmlformats.org/officeDocument/2006/relationships/slideMaster" Target="../slideMasters/slideMaster24.xml"/><Relationship Id="rId2" Type="http://schemas.openxmlformats.org/officeDocument/2006/relationships/tags" Target="../tags/tag836.xml"/><Relationship Id="rId1" Type="http://schemas.openxmlformats.org/officeDocument/2006/relationships/vmlDrawing" Target="../drawings/vmlDrawing117.vml"/><Relationship Id="rId6" Type="http://schemas.openxmlformats.org/officeDocument/2006/relationships/image" Target="../media/image2.emf"/><Relationship Id="rId5" Type="http://schemas.openxmlformats.org/officeDocument/2006/relationships/oleObject" Target="../embeddings/oleObject117.bin"/><Relationship Id="rId4" Type="http://schemas.openxmlformats.org/officeDocument/2006/relationships/image" Target="../media/image3.jpg"/></Relationships>
</file>

<file path=ppt/slideLayouts/_rels/slideLayout94.xml.rels><?xml version="1.0" encoding="UTF-8" standalone="yes"?>
<Relationships xmlns="http://schemas.openxmlformats.org/package/2006/relationships"><Relationship Id="rId3" Type="http://schemas.openxmlformats.org/officeDocument/2006/relationships/tags" Target="../tags/tag838.xml"/><Relationship Id="rId2" Type="http://schemas.openxmlformats.org/officeDocument/2006/relationships/tags" Target="../tags/tag837.xml"/><Relationship Id="rId1" Type="http://schemas.openxmlformats.org/officeDocument/2006/relationships/vmlDrawing" Target="../drawings/vmlDrawing118.vml"/><Relationship Id="rId6" Type="http://schemas.openxmlformats.org/officeDocument/2006/relationships/image" Target="../media/image4.emf"/><Relationship Id="rId5" Type="http://schemas.openxmlformats.org/officeDocument/2006/relationships/oleObject" Target="../embeddings/oleObject118.bin"/><Relationship Id="rId4" Type="http://schemas.openxmlformats.org/officeDocument/2006/relationships/slideMaster" Target="../slideMasters/slideMaster24.xml"/></Relationships>
</file>

<file path=ppt/slideLayouts/_rels/slideLayout95.xml.rels><?xml version="1.0" encoding="UTF-8" standalone="yes"?>
<Relationships xmlns="http://schemas.openxmlformats.org/package/2006/relationships"><Relationship Id="rId3" Type="http://schemas.openxmlformats.org/officeDocument/2006/relationships/tags" Target="../tags/tag840.xml"/><Relationship Id="rId2" Type="http://schemas.openxmlformats.org/officeDocument/2006/relationships/tags" Target="../tags/tag839.xml"/><Relationship Id="rId1" Type="http://schemas.openxmlformats.org/officeDocument/2006/relationships/vmlDrawing" Target="../drawings/vmlDrawing119.vml"/><Relationship Id="rId6" Type="http://schemas.openxmlformats.org/officeDocument/2006/relationships/image" Target="../media/image5.emf"/><Relationship Id="rId5" Type="http://schemas.openxmlformats.org/officeDocument/2006/relationships/oleObject" Target="../embeddings/oleObject119.bin"/><Relationship Id="rId4" Type="http://schemas.openxmlformats.org/officeDocument/2006/relationships/slideMaster" Target="../slideMasters/slideMaster24.xml"/></Relationships>
</file>

<file path=ppt/slideLayouts/_rels/slideLayout96.xml.rels><?xml version="1.0" encoding="UTF-8" standalone="yes"?>
<Relationships xmlns="http://schemas.openxmlformats.org/package/2006/relationships"><Relationship Id="rId3" Type="http://schemas.openxmlformats.org/officeDocument/2006/relationships/slideMaster" Target="../slideMasters/slideMaster24.xml"/><Relationship Id="rId2" Type="http://schemas.openxmlformats.org/officeDocument/2006/relationships/tags" Target="../tags/tag841.xml"/><Relationship Id="rId1" Type="http://schemas.openxmlformats.org/officeDocument/2006/relationships/vmlDrawing" Target="../drawings/vmlDrawing120.vml"/><Relationship Id="rId5" Type="http://schemas.openxmlformats.org/officeDocument/2006/relationships/image" Target="../media/image5.emf"/><Relationship Id="rId4" Type="http://schemas.openxmlformats.org/officeDocument/2006/relationships/oleObject" Target="../embeddings/oleObject120.bin"/></Relationships>
</file>

<file path=ppt/slideLayouts/_rels/slideLayout97.xml.rels><?xml version="1.0" encoding="UTF-8" standalone="yes"?>
<Relationships xmlns="http://schemas.openxmlformats.org/package/2006/relationships"><Relationship Id="rId3" Type="http://schemas.openxmlformats.org/officeDocument/2006/relationships/slideMaster" Target="../slideMasters/slideMaster25.xml"/><Relationship Id="rId2" Type="http://schemas.openxmlformats.org/officeDocument/2006/relationships/tags" Target="../tags/tag871.xml"/><Relationship Id="rId1" Type="http://schemas.openxmlformats.org/officeDocument/2006/relationships/vmlDrawing" Target="../drawings/vmlDrawing122.vml"/><Relationship Id="rId6" Type="http://schemas.openxmlformats.org/officeDocument/2006/relationships/image" Target="../media/image2.emf"/><Relationship Id="rId5" Type="http://schemas.openxmlformats.org/officeDocument/2006/relationships/oleObject" Target="../embeddings/oleObject122.bin"/><Relationship Id="rId4" Type="http://schemas.openxmlformats.org/officeDocument/2006/relationships/image" Target="../media/image3.jpg"/></Relationships>
</file>

<file path=ppt/slideLayouts/_rels/slideLayout98.xml.rels><?xml version="1.0" encoding="UTF-8" standalone="yes"?>
<Relationships xmlns="http://schemas.openxmlformats.org/package/2006/relationships"><Relationship Id="rId3" Type="http://schemas.openxmlformats.org/officeDocument/2006/relationships/tags" Target="../tags/tag873.xml"/><Relationship Id="rId2" Type="http://schemas.openxmlformats.org/officeDocument/2006/relationships/tags" Target="../tags/tag872.xml"/><Relationship Id="rId1" Type="http://schemas.openxmlformats.org/officeDocument/2006/relationships/vmlDrawing" Target="../drawings/vmlDrawing123.vml"/><Relationship Id="rId6" Type="http://schemas.openxmlformats.org/officeDocument/2006/relationships/image" Target="../media/image4.emf"/><Relationship Id="rId5" Type="http://schemas.openxmlformats.org/officeDocument/2006/relationships/oleObject" Target="../embeddings/oleObject123.bin"/><Relationship Id="rId4" Type="http://schemas.openxmlformats.org/officeDocument/2006/relationships/slideMaster" Target="../slideMasters/slideMaster25.xml"/></Relationships>
</file>

<file path=ppt/slideLayouts/_rels/slideLayout99.xml.rels><?xml version="1.0" encoding="UTF-8" standalone="yes"?>
<Relationships xmlns="http://schemas.openxmlformats.org/package/2006/relationships"><Relationship Id="rId3" Type="http://schemas.openxmlformats.org/officeDocument/2006/relationships/tags" Target="../tags/tag875.xml"/><Relationship Id="rId2" Type="http://schemas.openxmlformats.org/officeDocument/2006/relationships/tags" Target="../tags/tag874.xml"/><Relationship Id="rId1" Type="http://schemas.openxmlformats.org/officeDocument/2006/relationships/vmlDrawing" Target="../drawings/vmlDrawing124.vml"/><Relationship Id="rId6" Type="http://schemas.openxmlformats.org/officeDocument/2006/relationships/image" Target="../media/image5.emf"/><Relationship Id="rId5" Type="http://schemas.openxmlformats.org/officeDocument/2006/relationships/oleObject" Target="../embeddings/oleObject124.bin"/><Relationship Id="rId4" Type="http://schemas.openxmlformats.org/officeDocument/2006/relationships/slideMaster" Target="../slideMasters/slideMaster25.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pic>
        <p:nvPicPr>
          <p:cNvPr id="2" name="background"/>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0" y="198"/>
            <a:ext cx="8961438" cy="6721079"/>
          </a:xfrm>
          <a:prstGeom prst="rect">
            <a:avLst/>
          </a:prstGeom>
        </p:spPr>
      </p:pic>
      <p:sp>
        <p:nvSpPr>
          <p:cNvPr id="28" name="TitleRectangle"/>
          <p:cNvSpPr txBox="1">
            <a:spLocks/>
          </p:cNvSpPr>
          <p:nvPr/>
        </p:nvSpPr>
        <p:spPr>
          <a:xfrm>
            <a:off x="2084388" y="0"/>
            <a:ext cx="6875462" cy="3575976"/>
          </a:xfrm>
          <a:prstGeom prst="rect">
            <a:avLst/>
          </a:prstGeom>
          <a:solidFill>
            <a:srgbClr val="002960">
              <a:alpha val="92000"/>
            </a:srgbClr>
          </a:solidFill>
        </p:spPr>
        <p:txBody>
          <a:bodyPr vert="horz" wrap="square" lIns="216000" tIns="1440000" rIns="216000" bIns="108000" rtlCol="0">
            <a:noAutofit/>
          </a:bodyPr>
          <a:lstStyle>
            <a:lvl1pPr marL="0" indent="0" algn="l" defTabSz="914400" rtl="0" eaLnBrk="1" latinLnBrk="0" hangingPunct="1">
              <a:spcBef>
                <a:spcPct val="20000"/>
              </a:spcBef>
              <a:spcAft>
                <a:spcPts val="6000"/>
              </a:spcAft>
              <a:buFont typeface="Arial" pitchFamily="34" charset="0"/>
              <a:buNone/>
              <a:defRPr sz="3200" kern="1200">
                <a:solidFill>
                  <a:schemeClr val="accent1"/>
                </a:solidFill>
                <a:latin typeface="+mn-lt"/>
                <a:ea typeface="+mn-ea"/>
                <a:cs typeface="+mn-cs"/>
              </a:defRPr>
            </a:lvl1pPr>
            <a:lvl2pPr marL="0" indent="0" algn="l" defTabSz="914400" rtl="0" eaLnBrk="1" latinLnBrk="0" hangingPunct="1">
              <a:spcBef>
                <a:spcPct val="20000"/>
              </a:spcBef>
              <a:buFont typeface="Wingdings" charset="2"/>
              <a:buNone/>
              <a:defRPr sz="1400" kern="1200">
                <a:solidFill>
                  <a:schemeClr val="tx1">
                    <a:lumMod val="50000"/>
                    <a:lumOff val="50000"/>
                  </a:schemeClr>
                </a:solidFill>
                <a:latin typeface="+mn-lt"/>
                <a:ea typeface="+mn-ea"/>
                <a:cs typeface="+mn-cs"/>
              </a:defRPr>
            </a:lvl2pPr>
            <a:lvl3pPr marL="1143000" indent="-228600" algn="l" defTabSz="914400" rtl="0" eaLnBrk="1" latinLnBrk="0" hangingPunct="1">
              <a:spcBef>
                <a:spcPct val="20000"/>
              </a:spcBef>
              <a:buFont typeface="Lucida Grande"/>
              <a:buChar char="–"/>
              <a:defRPr sz="16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fontAlgn="auto">
              <a:defRPr/>
            </a:pPr>
            <a:r>
              <a:rPr lang="en-US" baseline="0" dirty="0">
                <a:solidFill>
                  <a:srgbClr val="00ADEF"/>
                </a:solidFill>
                <a:latin typeface="+mn-lt"/>
              </a:rPr>
              <a:t>
              </a:t>
            </a:r>
            <a:br>
              <a:rPr lang="en-US" baseline="0" dirty="0">
                <a:solidFill>
                  <a:srgbClr val="00ADEF"/>
                </a:solidFill>
                <a:latin typeface="+mn-lt"/>
              </a:rPr>
            </a:br>
            <a:endParaRPr lang="en-US" baseline="0" dirty="0">
              <a:solidFill>
                <a:srgbClr val="00ADEF"/>
              </a:solidFill>
              <a:latin typeface="+mn-lt"/>
            </a:endParaRPr>
          </a:p>
        </p:txBody>
      </p:sp>
      <p:graphicFrame>
        <p:nvGraphicFramePr>
          <p:cNvPr id="3" name="Object 2"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68"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Working Draft Text" hidden="1"/>
          <p:cNvSpPr txBox="1">
            <a:spLocks noChangeArrowheads="1"/>
          </p:cNvSpPr>
          <p:nvPr/>
        </p:nvSpPr>
        <p:spPr bwMode="black">
          <a:xfrm>
            <a:off x="5992719" y="6287538"/>
            <a:ext cx="2790000"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800" b="1" baseline="0" dirty="0">
                <a:solidFill>
                  <a:srgbClr val="FFFFFF"/>
                </a:solidFill>
                <a:latin typeface="+mn-lt"/>
              </a:rPr>
              <a:t>WORKING DRAFT</a:t>
            </a:r>
          </a:p>
        </p:txBody>
      </p:sp>
      <p:sp>
        <p:nvSpPr>
          <p:cNvPr id="6" name="Working Draft" hidden="1"/>
          <p:cNvSpPr txBox="1">
            <a:spLocks noChangeArrowheads="1"/>
          </p:cNvSpPr>
          <p:nvPr/>
        </p:nvSpPr>
        <p:spPr bwMode="black">
          <a:xfrm>
            <a:off x="5992718" y="6410648"/>
            <a:ext cx="2968719"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800" baseline="0">
                <a:solidFill>
                  <a:srgbClr val="FFFFFF"/>
                </a:solidFill>
                <a:latin typeface="+mn-lt"/>
              </a:rPr>
              <a:t>Last Modified 21/05/2018 17:44 India Standard Time</a:t>
            </a:r>
            <a:endParaRPr lang="en-US" sz="800" baseline="0" dirty="0">
              <a:solidFill>
                <a:srgbClr val="FFFFFF"/>
              </a:solidFill>
              <a:latin typeface="+mn-lt"/>
            </a:endParaRPr>
          </a:p>
        </p:txBody>
      </p:sp>
      <p:sp>
        <p:nvSpPr>
          <p:cNvPr id="7" name="Printed" hidden="1"/>
          <p:cNvSpPr txBox="1">
            <a:spLocks noChangeArrowheads="1"/>
          </p:cNvSpPr>
          <p:nvPr/>
        </p:nvSpPr>
        <p:spPr bwMode="black">
          <a:xfrm>
            <a:off x="5992719" y="6533759"/>
            <a:ext cx="2790000"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800" baseline="0" dirty="0">
                <a:solidFill>
                  <a:srgbClr val="FFFFFF"/>
                </a:solidFill>
                <a:latin typeface="+mn-lt"/>
              </a:rPr>
              <a:t>Printed</a:t>
            </a:r>
          </a:p>
        </p:txBody>
      </p:sp>
      <p:sp>
        <p:nvSpPr>
          <p:cNvPr id="13314" name="Title"/>
          <p:cNvSpPr>
            <a:spLocks noGrp="1" noChangeArrowheads="1"/>
          </p:cNvSpPr>
          <p:nvPr>
            <p:ph type="ctrTitle"/>
          </p:nvPr>
        </p:nvSpPr>
        <p:spPr>
          <a:xfrm>
            <a:off x="2268266" y="1434419"/>
            <a:ext cx="6231663" cy="492443"/>
          </a:xfrm>
          <a:prstGeom prst="rect">
            <a:avLst/>
          </a:prstGeom>
        </p:spPr>
        <p:txBody>
          <a:bodyPr>
            <a:spAutoFit/>
          </a:bodyPr>
          <a:lstStyle>
            <a:lvl1pPr>
              <a:defRPr sz="3200" b="0" baseline="0">
                <a:solidFill>
                  <a:schemeClr val="accent2"/>
                </a:solidFill>
                <a:latin typeface="+mj-lt"/>
                <a:ea typeface="+mj-ea"/>
              </a:defRPr>
            </a:lvl1pPr>
          </a:lstStyle>
          <a:p>
            <a:pPr lvl="0" latinLnBrk="0"/>
            <a:r>
              <a:rPr lang="en-US" noProof="0"/>
              <a:t>Click to edit Master title style</a:t>
            </a:r>
            <a:endParaRPr lang="en-US" noProof="0" dirty="0"/>
          </a:p>
        </p:txBody>
      </p:sp>
      <p:sp>
        <p:nvSpPr>
          <p:cNvPr id="13315" name="Subtitle"/>
          <p:cNvSpPr>
            <a:spLocks noGrp="1" noChangeArrowheads="1"/>
          </p:cNvSpPr>
          <p:nvPr>
            <p:ph type="subTitle" idx="1"/>
          </p:nvPr>
        </p:nvSpPr>
        <p:spPr>
          <a:xfrm>
            <a:off x="2268266" y="2819401"/>
            <a:ext cx="6231663" cy="215444"/>
          </a:xfrm>
          <a:prstGeom prst="rect">
            <a:avLst/>
          </a:prstGeom>
        </p:spPr>
        <p:txBody>
          <a:bodyPr wrap="square">
            <a:spAutoFit/>
          </a:bodyPr>
          <a:lstStyle>
            <a:lvl1pPr>
              <a:defRPr sz="1400" cap="all" baseline="0">
                <a:solidFill>
                  <a:schemeClr val="bg1"/>
                </a:solidFill>
                <a:latin typeface="+mn-lt"/>
                <a:ea typeface="+mn-ea"/>
              </a:defRPr>
            </a:lvl1pPr>
          </a:lstStyle>
          <a:p>
            <a:pPr lvl="0" latinLnBrk="0"/>
            <a:r>
              <a:rPr lang="en-US" noProof="0"/>
              <a:t>Click to edit Master subtitle style</a:t>
            </a:r>
            <a:endParaRPr lang="en-US" noProof="0" dirty="0"/>
          </a:p>
        </p:txBody>
      </p:sp>
      <p:sp>
        <p:nvSpPr>
          <p:cNvPr id="57" name="Document type" hidden="1"/>
          <p:cNvSpPr txBox="1">
            <a:spLocks noChangeArrowheads="1"/>
          </p:cNvSpPr>
          <p:nvPr/>
        </p:nvSpPr>
        <p:spPr bwMode="gray">
          <a:xfrm>
            <a:off x="2268266" y="3227411"/>
            <a:ext cx="6231663"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00" baseline="0" dirty="0">
                <a:solidFill>
                  <a:schemeClr val="bg1"/>
                </a:solidFill>
                <a:latin typeface="+mn-lt"/>
              </a:rPr>
              <a:t>Document type | Date</a:t>
            </a:r>
          </a:p>
        </p:txBody>
      </p:sp>
      <p:sp>
        <p:nvSpPr>
          <p:cNvPr id="5" name="doc id" hidden="1"/>
          <p:cNvSpPr txBox="1">
            <a:spLocks noChangeArrowheads="1"/>
          </p:cNvSpPr>
          <p:nvPr/>
        </p:nvSpPr>
        <p:spPr bwMode="white">
          <a:xfrm>
            <a:off x="8443913" y="36513"/>
            <a:ext cx="295275" cy="1222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hangingPunct="1">
              <a:defRPr/>
            </a:pPr>
            <a:endParaRPr lang="en-US" sz="800" baseline="0" dirty="0">
              <a:solidFill>
                <a:srgbClr val="FFFFFF"/>
              </a:solidFill>
              <a:latin typeface="+mn-lt"/>
            </a:endParaRPr>
          </a:p>
        </p:txBody>
      </p:sp>
      <p:sp>
        <p:nvSpPr>
          <p:cNvPr id="43" name="LogoImage"/>
          <p:cNvSpPr>
            <a:spLocks noEditPoints="1"/>
          </p:cNvSpPr>
          <p:nvPr/>
        </p:nvSpPr>
        <p:spPr bwMode="white">
          <a:xfrm>
            <a:off x="2269098" y="182925"/>
            <a:ext cx="2176978" cy="238073"/>
          </a:xfrm>
          <a:custGeom>
            <a:avLst/>
            <a:gdLst>
              <a:gd name="T0" fmla="*/ 504 w 5516"/>
              <a:gd name="T1" fmla="*/ 26 h 606"/>
              <a:gd name="T2" fmla="*/ 18 w 5516"/>
              <a:gd name="T3" fmla="*/ 22 h 606"/>
              <a:gd name="T4" fmla="*/ 140 w 5516"/>
              <a:gd name="T5" fmla="*/ 436 h 606"/>
              <a:gd name="T6" fmla="*/ 408 w 5516"/>
              <a:gd name="T7" fmla="*/ 372 h 606"/>
              <a:gd name="T8" fmla="*/ 696 w 5516"/>
              <a:gd name="T9" fmla="*/ 422 h 606"/>
              <a:gd name="T10" fmla="*/ 768 w 5516"/>
              <a:gd name="T11" fmla="*/ 196 h 606"/>
              <a:gd name="T12" fmla="*/ 1272 w 5516"/>
              <a:gd name="T13" fmla="*/ 26 h 606"/>
              <a:gd name="T14" fmla="*/ 1302 w 5516"/>
              <a:gd name="T15" fmla="*/ 338 h 606"/>
              <a:gd name="T16" fmla="*/ 1202 w 5516"/>
              <a:gd name="T17" fmla="*/ 436 h 606"/>
              <a:gd name="T18" fmla="*/ 1030 w 5516"/>
              <a:gd name="T19" fmla="*/ 10 h 606"/>
              <a:gd name="T20" fmla="*/ 960 w 5516"/>
              <a:gd name="T21" fmla="*/ 22 h 606"/>
              <a:gd name="T22" fmla="*/ 804 w 5516"/>
              <a:gd name="T23" fmla="*/ 434 h 606"/>
              <a:gd name="T24" fmla="*/ 930 w 5516"/>
              <a:gd name="T25" fmla="*/ 246 h 606"/>
              <a:gd name="T26" fmla="*/ 1658 w 5516"/>
              <a:gd name="T27" fmla="*/ 342 h 606"/>
              <a:gd name="T28" fmla="*/ 1368 w 5516"/>
              <a:gd name="T29" fmla="*/ 188 h 606"/>
              <a:gd name="T30" fmla="*/ 1514 w 5516"/>
              <a:gd name="T31" fmla="*/ 436 h 606"/>
              <a:gd name="T32" fmla="*/ 1564 w 5516"/>
              <a:gd name="T33" fmla="*/ 434 h 606"/>
              <a:gd name="T34" fmla="*/ 1904 w 5516"/>
              <a:gd name="T35" fmla="*/ 184 h 606"/>
              <a:gd name="T36" fmla="*/ 1728 w 5516"/>
              <a:gd name="T37" fmla="*/ 366 h 606"/>
              <a:gd name="T38" fmla="*/ 2102 w 5516"/>
              <a:gd name="T39" fmla="*/ 192 h 606"/>
              <a:gd name="T40" fmla="*/ 1982 w 5516"/>
              <a:gd name="T41" fmla="*/ 320 h 606"/>
              <a:gd name="T42" fmla="*/ 2478 w 5516"/>
              <a:gd name="T43" fmla="*/ 242 h 606"/>
              <a:gd name="T44" fmla="*/ 2406 w 5516"/>
              <a:gd name="T45" fmla="*/ 390 h 606"/>
              <a:gd name="T46" fmla="*/ 2234 w 5516"/>
              <a:gd name="T47" fmla="*/ 192 h 606"/>
              <a:gd name="T48" fmla="*/ 2478 w 5516"/>
              <a:gd name="T49" fmla="*/ 242 h 606"/>
              <a:gd name="T50" fmla="*/ 2928 w 5516"/>
              <a:gd name="T51" fmla="*/ 448 h 606"/>
              <a:gd name="T52" fmla="*/ 2958 w 5516"/>
              <a:gd name="T53" fmla="*/ 230 h 606"/>
              <a:gd name="T54" fmla="*/ 2716 w 5516"/>
              <a:gd name="T55" fmla="*/ 54 h 606"/>
              <a:gd name="T56" fmla="*/ 2714 w 5516"/>
              <a:gd name="T57" fmla="*/ 36 h 606"/>
              <a:gd name="T58" fmla="*/ 2928 w 5516"/>
              <a:gd name="T59" fmla="*/ 448 h 606"/>
              <a:gd name="T60" fmla="*/ 3388 w 5516"/>
              <a:gd name="T61" fmla="*/ 4 h 606"/>
              <a:gd name="T62" fmla="*/ 3396 w 5516"/>
              <a:gd name="T63" fmla="*/ 366 h 606"/>
              <a:gd name="T64" fmla="*/ 3580 w 5516"/>
              <a:gd name="T65" fmla="*/ 190 h 606"/>
              <a:gd name="T66" fmla="*/ 3502 w 5516"/>
              <a:gd name="T67" fmla="*/ 432 h 606"/>
              <a:gd name="T68" fmla="*/ 4232 w 5516"/>
              <a:gd name="T69" fmla="*/ 348 h 606"/>
              <a:gd name="T70" fmla="*/ 3858 w 5516"/>
              <a:gd name="T71" fmla="*/ 176 h 606"/>
              <a:gd name="T72" fmla="*/ 3758 w 5516"/>
              <a:gd name="T73" fmla="*/ 446 h 606"/>
              <a:gd name="T74" fmla="*/ 3990 w 5516"/>
              <a:gd name="T75" fmla="*/ 282 h 606"/>
              <a:gd name="T76" fmla="*/ 4042 w 5516"/>
              <a:gd name="T77" fmla="*/ 342 h 606"/>
              <a:gd name="T78" fmla="*/ 4134 w 5516"/>
              <a:gd name="T79" fmla="*/ 448 h 606"/>
              <a:gd name="T80" fmla="*/ 4454 w 5516"/>
              <a:gd name="T81" fmla="*/ 202 h 606"/>
              <a:gd name="T82" fmla="*/ 4284 w 5516"/>
              <a:gd name="T83" fmla="*/ 174 h 606"/>
              <a:gd name="T84" fmla="*/ 4432 w 5516"/>
              <a:gd name="T85" fmla="*/ 588 h 606"/>
              <a:gd name="T86" fmla="*/ 4792 w 5516"/>
              <a:gd name="T87" fmla="*/ 382 h 606"/>
              <a:gd name="T88" fmla="*/ 5192 w 5516"/>
              <a:gd name="T89" fmla="*/ 340 h 606"/>
              <a:gd name="T90" fmla="*/ 4902 w 5516"/>
              <a:gd name="T91" fmla="*/ 186 h 606"/>
              <a:gd name="T92" fmla="*/ 4850 w 5516"/>
              <a:gd name="T93" fmla="*/ 274 h 606"/>
              <a:gd name="T94" fmla="*/ 4742 w 5516"/>
              <a:gd name="T95" fmla="*/ 194 h 606"/>
              <a:gd name="T96" fmla="*/ 4794 w 5516"/>
              <a:gd name="T97" fmla="*/ 418 h 606"/>
              <a:gd name="T98" fmla="*/ 5004 w 5516"/>
              <a:gd name="T99" fmla="*/ 338 h 606"/>
              <a:gd name="T100" fmla="*/ 5098 w 5516"/>
              <a:gd name="T101" fmla="*/ 446 h 606"/>
              <a:gd name="T102" fmla="*/ 5418 w 5516"/>
              <a:gd name="T103" fmla="*/ 192 h 606"/>
              <a:gd name="T104" fmla="*/ 5348 w 5516"/>
              <a:gd name="T105" fmla="*/ 180 h 606"/>
              <a:gd name="T106" fmla="*/ 5254 w 5516"/>
              <a:gd name="T107" fmla="*/ 606 h 6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516" h="606">
                <a:moveTo>
                  <a:pt x="366" y="448"/>
                </a:moveTo>
                <a:cubicBezTo>
                  <a:pt x="524" y="448"/>
                  <a:pt x="524" y="448"/>
                  <a:pt x="524" y="448"/>
                </a:cubicBezTo>
                <a:cubicBezTo>
                  <a:pt x="524" y="436"/>
                  <a:pt x="524" y="436"/>
                  <a:pt x="524" y="436"/>
                </a:cubicBezTo>
                <a:cubicBezTo>
                  <a:pt x="486" y="432"/>
                  <a:pt x="470" y="414"/>
                  <a:pt x="468" y="362"/>
                </a:cubicBezTo>
                <a:cubicBezTo>
                  <a:pt x="454" y="86"/>
                  <a:pt x="454" y="86"/>
                  <a:pt x="454" y="86"/>
                </a:cubicBezTo>
                <a:cubicBezTo>
                  <a:pt x="452" y="46"/>
                  <a:pt x="470" y="30"/>
                  <a:pt x="504" y="26"/>
                </a:cubicBezTo>
                <a:cubicBezTo>
                  <a:pt x="504" y="12"/>
                  <a:pt x="504" y="12"/>
                  <a:pt x="504" y="12"/>
                </a:cubicBezTo>
                <a:cubicBezTo>
                  <a:pt x="394" y="12"/>
                  <a:pt x="394" y="12"/>
                  <a:pt x="394" y="12"/>
                </a:cubicBezTo>
                <a:cubicBezTo>
                  <a:pt x="264" y="350"/>
                  <a:pt x="264" y="350"/>
                  <a:pt x="264" y="350"/>
                </a:cubicBezTo>
                <a:cubicBezTo>
                  <a:pt x="132" y="10"/>
                  <a:pt x="132" y="10"/>
                  <a:pt x="132" y="10"/>
                </a:cubicBezTo>
                <a:cubicBezTo>
                  <a:pt x="18" y="10"/>
                  <a:pt x="18" y="10"/>
                  <a:pt x="18" y="10"/>
                </a:cubicBezTo>
                <a:cubicBezTo>
                  <a:pt x="18" y="22"/>
                  <a:pt x="18" y="22"/>
                  <a:pt x="18" y="22"/>
                </a:cubicBezTo>
                <a:cubicBezTo>
                  <a:pt x="40" y="26"/>
                  <a:pt x="74" y="32"/>
                  <a:pt x="72" y="84"/>
                </a:cubicBezTo>
                <a:cubicBezTo>
                  <a:pt x="58" y="352"/>
                  <a:pt x="58" y="352"/>
                  <a:pt x="58" y="352"/>
                </a:cubicBezTo>
                <a:cubicBezTo>
                  <a:pt x="54" y="410"/>
                  <a:pt x="38" y="430"/>
                  <a:pt x="0" y="436"/>
                </a:cubicBezTo>
                <a:cubicBezTo>
                  <a:pt x="0" y="448"/>
                  <a:pt x="0" y="448"/>
                  <a:pt x="0" y="448"/>
                </a:cubicBezTo>
                <a:cubicBezTo>
                  <a:pt x="140" y="448"/>
                  <a:pt x="140" y="448"/>
                  <a:pt x="140" y="448"/>
                </a:cubicBezTo>
                <a:cubicBezTo>
                  <a:pt x="140" y="436"/>
                  <a:pt x="140" y="436"/>
                  <a:pt x="140" y="436"/>
                </a:cubicBezTo>
                <a:cubicBezTo>
                  <a:pt x="98" y="428"/>
                  <a:pt x="84" y="414"/>
                  <a:pt x="88" y="356"/>
                </a:cubicBezTo>
                <a:cubicBezTo>
                  <a:pt x="100" y="86"/>
                  <a:pt x="100" y="86"/>
                  <a:pt x="100" y="86"/>
                </a:cubicBezTo>
                <a:cubicBezTo>
                  <a:pt x="240" y="444"/>
                  <a:pt x="240" y="444"/>
                  <a:pt x="240" y="444"/>
                </a:cubicBezTo>
                <a:cubicBezTo>
                  <a:pt x="258" y="444"/>
                  <a:pt x="258" y="444"/>
                  <a:pt x="258" y="444"/>
                </a:cubicBezTo>
                <a:cubicBezTo>
                  <a:pt x="396" y="86"/>
                  <a:pt x="396" y="86"/>
                  <a:pt x="396" y="86"/>
                </a:cubicBezTo>
                <a:cubicBezTo>
                  <a:pt x="408" y="372"/>
                  <a:pt x="408" y="372"/>
                  <a:pt x="408" y="372"/>
                </a:cubicBezTo>
                <a:cubicBezTo>
                  <a:pt x="410" y="416"/>
                  <a:pt x="398" y="430"/>
                  <a:pt x="366" y="434"/>
                </a:cubicBezTo>
                <a:lnTo>
                  <a:pt x="366" y="448"/>
                </a:lnTo>
                <a:close/>
                <a:moveTo>
                  <a:pt x="670" y="456"/>
                </a:moveTo>
                <a:cubicBezTo>
                  <a:pt x="708" y="456"/>
                  <a:pt x="756" y="440"/>
                  <a:pt x="782" y="412"/>
                </a:cubicBezTo>
                <a:cubicBezTo>
                  <a:pt x="776" y="400"/>
                  <a:pt x="776" y="400"/>
                  <a:pt x="776" y="400"/>
                </a:cubicBezTo>
                <a:cubicBezTo>
                  <a:pt x="750" y="416"/>
                  <a:pt x="722" y="422"/>
                  <a:pt x="696" y="422"/>
                </a:cubicBezTo>
                <a:cubicBezTo>
                  <a:pt x="620" y="422"/>
                  <a:pt x="592" y="358"/>
                  <a:pt x="592" y="290"/>
                </a:cubicBezTo>
                <a:cubicBezTo>
                  <a:pt x="592" y="258"/>
                  <a:pt x="600" y="236"/>
                  <a:pt x="614" y="222"/>
                </a:cubicBezTo>
                <a:cubicBezTo>
                  <a:pt x="626" y="210"/>
                  <a:pt x="646" y="204"/>
                  <a:pt x="664" y="204"/>
                </a:cubicBezTo>
                <a:cubicBezTo>
                  <a:pt x="690" y="204"/>
                  <a:pt x="722" y="214"/>
                  <a:pt x="744" y="244"/>
                </a:cubicBezTo>
                <a:cubicBezTo>
                  <a:pt x="750" y="244"/>
                  <a:pt x="750" y="244"/>
                  <a:pt x="750" y="244"/>
                </a:cubicBezTo>
                <a:cubicBezTo>
                  <a:pt x="758" y="234"/>
                  <a:pt x="766" y="212"/>
                  <a:pt x="768" y="196"/>
                </a:cubicBezTo>
                <a:cubicBezTo>
                  <a:pt x="748" y="180"/>
                  <a:pt x="720" y="172"/>
                  <a:pt x="686" y="172"/>
                </a:cubicBezTo>
                <a:cubicBezTo>
                  <a:pt x="604" y="172"/>
                  <a:pt x="544" y="246"/>
                  <a:pt x="544" y="326"/>
                </a:cubicBezTo>
                <a:cubicBezTo>
                  <a:pt x="540" y="390"/>
                  <a:pt x="576" y="456"/>
                  <a:pt x="670" y="456"/>
                </a:cubicBezTo>
                <a:moveTo>
                  <a:pt x="1272" y="98"/>
                </a:moveTo>
                <a:cubicBezTo>
                  <a:pt x="1292" y="98"/>
                  <a:pt x="1308" y="82"/>
                  <a:pt x="1308" y="62"/>
                </a:cubicBezTo>
                <a:cubicBezTo>
                  <a:pt x="1308" y="42"/>
                  <a:pt x="1292" y="26"/>
                  <a:pt x="1272" y="26"/>
                </a:cubicBezTo>
                <a:cubicBezTo>
                  <a:pt x="1252" y="26"/>
                  <a:pt x="1238" y="42"/>
                  <a:pt x="1238" y="62"/>
                </a:cubicBezTo>
                <a:cubicBezTo>
                  <a:pt x="1238" y="82"/>
                  <a:pt x="1252" y="98"/>
                  <a:pt x="1272" y="98"/>
                </a:cubicBezTo>
                <a:moveTo>
                  <a:pt x="1202" y="448"/>
                </a:moveTo>
                <a:cubicBezTo>
                  <a:pt x="1346" y="448"/>
                  <a:pt x="1346" y="448"/>
                  <a:pt x="1346" y="448"/>
                </a:cubicBezTo>
                <a:cubicBezTo>
                  <a:pt x="1346" y="436"/>
                  <a:pt x="1346" y="436"/>
                  <a:pt x="1346" y="436"/>
                </a:cubicBezTo>
                <a:cubicBezTo>
                  <a:pt x="1304" y="432"/>
                  <a:pt x="1302" y="434"/>
                  <a:pt x="1302" y="338"/>
                </a:cubicBezTo>
                <a:cubicBezTo>
                  <a:pt x="1302" y="176"/>
                  <a:pt x="1302" y="176"/>
                  <a:pt x="1302" y="176"/>
                </a:cubicBezTo>
                <a:cubicBezTo>
                  <a:pt x="1200" y="176"/>
                  <a:pt x="1200" y="176"/>
                  <a:pt x="1200" y="176"/>
                </a:cubicBezTo>
                <a:cubicBezTo>
                  <a:pt x="1200" y="188"/>
                  <a:pt x="1200" y="188"/>
                  <a:pt x="1200" y="188"/>
                </a:cubicBezTo>
                <a:cubicBezTo>
                  <a:pt x="1244" y="190"/>
                  <a:pt x="1250" y="192"/>
                  <a:pt x="1250" y="268"/>
                </a:cubicBezTo>
                <a:cubicBezTo>
                  <a:pt x="1250" y="336"/>
                  <a:pt x="1250" y="336"/>
                  <a:pt x="1250" y="336"/>
                </a:cubicBezTo>
                <a:cubicBezTo>
                  <a:pt x="1250" y="432"/>
                  <a:pt x="1248" y="432"/>
                  <a:pt x="1202" y="436"/>
                </a:cubicBezTo>
                <a:cubicBezTo>
                  <a:pt x="1178" y="434"/>
                  <a:pt x="1154" y="426"/>
                  <a:pt x="1076" y="338"/>
                </a:cubicBezTo>
                <a:cubicBezTo>
                  <a:pt x="1046" y="302"/>
                  <a:pt x="996" y="244"/>
                  <a:pt x="968" y="206"/>
                </a:cubicBezTo>
                <a:cubicBezTo>
                  <a:pt x="1062" y="102"/>
                  <a:pt x="1062" y="102"/>
                  <a:pt x="1062" y="102"/>
                </a:cubicBezTo>
                <a:cubicBezTo>
                  <a:pt x="1108" y="52"/>
                  <a:pt x="1132" y="26"/>
                  <a:pt x="1176" y="24"/>
                </a:cubicBezTo>
                <a:cubicBezTo>
                  <a:pt x="1176" y="10"/>
                  <a:pt x="1176" y="10"/>
                  <a:pt x="1176" y="10"/>
                </a:cubicBezTo>
                <a:cubicBezTo>
                  <a:pt x="1030" y="10"/>
                  <a:pt x="1030" y="10"/>
                  <a:pt x="1030" y="10"/>
                </a:cubicBezTo>
                <a:cubicBezTo>
                  <a:pt x="1030" y="22"/>
                  <a:pt x="1030" y="22"/>
                  <a:pt x="1030" y="22"/>
                </a:cubicBezTo>
                <a:cubicBezTo>
                  <a:pt x="1050" y="26"/>
                  <a:pt x="1056" y="32"/>
                  <a:pt x="1056" y="46"/>
                </a:cubicBezTo>
                <a:cubicBezTo>
                  <a:pt x="1056" y="56"/>
                  <a:pt x="1054" y="72"/>
                  <a:pt x="1026" y="102"/>
                </a:cubicBezTo>
                <a:cubicBezTo>
                  <a:pt x="910" y="230"/>
                  <a:pt x="910" y="230"/>
                  <a:pt x="910" y="230"/>
                </a:cubicBezTo>
                <a:cubicBezTo>
                  <a:pt x="910" y="148"/>
                  <a:pt x="910" y="148"/>
                  <a:pt x="910" y="148"/>
                </a:cubicBezTo>
                <a:cubicBezTo>
                  <a:pt x="910" y="36"/>
                  <a:pt x="916" y="28"/>
                  <a:pt x="960" y="22"/>
                </a:cubicBezTo>
                <a:cubicBezTo>
                  <a:pt x="960" y="8"/>
                  <a:pt x="960" y="8"/>
                  <a:pt x="960" y="8"/>
                </a:cubicBezTo>
                <a:cubicBezTo>
                  <a:pt x="804" y="8"/>
                  <a:pt x="804" y="8"/>
                  <a:pt x="804" y="8"/>
                </a:cubicBezTo>
                <a:cubicBezTo>
                  <a:pt x="804" y="22"/>
                  <a:pt x="804" y="22"/>
                  <a:pt x="804" y="22"/>
                </a:cubicBezTo>
                <a:cubicBezTo>
                  <a:pt x="852" y="26"/>
                  <a:pt x="854" y="36"/>
                  <a:pt x="854" y="148"/>
                </a:cubicBezTo>
                <a:cubicBezTo>
                  <a:pt x="854" y="300"/>
                  <a:pt x="854" y="300"/>
                  <a:pt x="854" y="300"/>
                </a:cubicBezTo>
                <a:cubicBezTo>
                  <a:pt x="854" y="422"/>
                  <a:pt x="850" y="430"/>
                  <a:pt x="804" y="434"/>
                </a:cubicBezTo>
                <a:cubicBezTo>
                  <a:pt x="804" y="446"/>
                  <a:pt x="804" y="446"/>
                  <a:pt x="804" y="446"/>
                </a:cubicBezTo>
                <a:cubicBezTo>
                  <a:pt x="960" y="446"/>
                  <a:pt x="960" y="446"/>
                  <a:pt x="960" y="446"/>
                </a:cubicBezTo>
                <a:cubicBezTo>
                  <a:pt x="960" y="434"/>
                  <a:pt x="960" y="434"/>
                  <a:pt x="960" y="434"/>
                </a:cubicBezTo>
                <a:cubicBezTo>
                  <a:pt x="910" y="428"/>
                  <a:pt x="910" y="424"/>
                  <a:pt x="910" y="292"/>
                </a:cubicBezTo>
                <a:cubicBezTo>
                  <a:pt x="910" y="268"/>
                  <a:pt x="910" y="268"/>
                  <a:pt x="910" y="268"/>
                </a:cubicBezTo>
                <a:cubicBezTo>
                  <a:pt x="930" y="246"/>
                  <a:pt x="930" y="246"/>
                  <a:pt x="930" y="246"/>
                </a:cubicBezTo>
                <a:cubicBezTo>
                  <a:pt x="982" y="310"/>
                  <a:pt x="1038" y="380"/>
                  <a:pt x="1098" y="448"/>
                </a:cubicBezTo>
                <a:cubicBezTo>
                  <a:pt x="1202" y="448"/>
                  <a:pt x="1202" y="448"/>
                  <a:pt x="1202" y="448"/>
                </a:cubicBezTo>
                <a:close/>
                <a:moveTo>
                  <a:pt x="1564" y="448"/>
                </a:moveTo>
                <a:cubicBezTo>
                  <a:pt x="1706" y="448"/>
                  <a:pt x="1706" y="448"/>
                  <a:pt x="1706" y="448"/>
                </a:cubicBezTo>
                <a:cubicBezTo>
                  <a:pt x="1706" y="436"/>
                  <a:pt x="1706" y="436"/>
                  <a:pt x="1706" y="436"/>
                </a:cubicBezTo>
                <a:cubicBezTo>
                  <a:pt x="1658" y="434"/>
                  <a:pt x="1658" y="432"/>
                  <a:pt x="1658" y="342"/>
                </a:cubicBezTo>
                <a:cubicBezTo>
                  <a:pt x="1658" y="280"/>
                  <a:pt x="1658" y="280"/>
                  <a:pt x="1658" y="280"/>
                </a:cubicBezTo>
                <a:cubicBezTo>
                  <a:pt x="1658" y="198"/>
                  <a:pt x="1612" y="172"/>
                  <a:pt x="1570" y="172"/>
                </a:cubicBezTo>
                <a:cubicBezTo>
                  <a:pt x="1534" y="172"/>
                  <a:pt x="1498" y="188"/>
                  <a:pt x="1470" y="224"/>
                </a:cubicBezTo>
                <a:cubicBezTo>
                  <a:pt x="1470" y="176"/>
                  <a:pt x="1470" y="176"/>
                  <a:pt x="1470" y="176"/>
                </a:cubicBezTo>
                <a:cubicBezTo>
                  <a:pt x="1368" y="176"/>
                  <a:pt x="1368" y="176"/>
                  <a:pt x="1368" y="176"/>
                </a:cubicBezTo>
                <a:cubicBezTo>
                  <a:pt x="1368" y="188"/>
                  <a:pt x="1368" y="188"/>
                  <a:pt x="1368" y="188"/>
                </a:cubicBezTo>
                <a:cubicBezTo>
                  <a:pt x="1412" y="190"/>
                  <a:pt x="1418" y="192"/>
                  <a:pt x="1418" y="268"/>
                </a:cubicBezTo>
                <a:cubicBezTo>
                  <a:pt x="1418" y="336"/>
                  <a:pt x="1418" y="336"/>
                  <a:pt x="1418" y="336"/>
                </a:cubicBezTo>
                <a:cubicBezTo>
                  <a:pt x="1418" y="434"/>
                  <a:pt x="1418" y="434"/>
                  <a:pt x="1370" y="436"/>
                </a:cubicBezTo>
                <a:cubicBezTo>
                  <a:pt x="1370" y="448"/>
                  <a:pt x="1370" y="448"/>
                  <a:pt x="1370" y="448"/>
                </a:cubicBezTo>
                <a:cubicBezTo>
                  <a:pt x="1514" y="448"/>
                  <a:pt x="1514" y="448"/>
                  <a:pt x="1514" y="448"/>
                </a:cubicBezTo>
                <a:cubicBezTo>
                  <a:pt x="1514" y="436"/>
                  <a:pt x="1514" y="436"/>
                  <a:pt x="1514" y="436"/>
                </a:cubicBezTo>
                <a:cubicBezTo>
                  <a:pt x="1472" y="432"/>
                  <a:pt x="1470" y="434"/>
                  <a:pt x="1470" y="338"/>
                </a:cubicBezTo>
                <a:cubicBezTo>
                  <a:pt x="1470" y="262"/>
                  <a:pt x="1470" y="262"/>
                  <a:pt x="1470" y="262"/>
                </a:cubicBezTo>
                <a:cubicBezTo>
                  <a:pt x="1470" y="236"/>
                  <a:pt x="1504" y="206"/>
                  <a:pt x="1546" y="206"/>
                </a:cubicBezTo>
                <a:cubicBezTo>
                  <a:pt x="1580" y="206"/>
                  <a:pt x="1606" y="220"/>
                  <a:pt x="1606" y="286"/>
                </a:cubicBezTo>
                <a:cubicBezTo>
                  <a:pt x="1606" y="340"/>
                  <a:pt x="1606" y="340"/>
                  <a:pt x="1606" y="340"/>
                </a:cubicBezTo>
                <a:cubicBezTo>
                  <a:pt x="1606" y="432"/>
                  <a:pt x="1602" y="432"/>
                  <a:pt x="1564" y="434"/>
                </a:cubicBezTo>
                <a:lnTo>
                  <a:pt x="1564" y="448"/>
                </a:lnTo>
                <a:close/>
                <a:moveTo>
                  <a:pt x="1776" y="222"/>
                </a:moveTo>
                <a:cubicBezTo>
                  <a:pt x="1776" y="200"/>
                  <a:pt x="1796" y="188"/>
                  <a:pt x="1822" y="188"/>
                </a:cubicBezTo>
                <a:cubicBezTo>
                  <a:pt x="1874" y="188"/>
                  <a:pt x="1896" y="236"/>
                  <a:pt x="1900" y="252"/>
                </a:cubicBezTo>
                <a:cubicBezTo>
                  <a:pt x="1912" y="252"/>
                  <a:pt x="1912" y="252"/>
                  <a:pt x="1912" y="252"/>
                </a:cubicBezTo>
                <a:cubicBezTo>
                  <a:pt x="1912" y="212"/>
                  <a:pt x="1908" y="188"/>
                  <a:pt x="1904" y="184"/>
                </a:cubicBezTo>
                <a:cubicBezTo>
                  <a:pt x="1900" y="180"/>
                  <a:pt x="1862" y="170"/>
                  <a:pt x="1824" y="170"/>
                </a:cubicBezTo>
                <a:cubicBezTo>
                  <a:pt x="1768" y="170"/>
                  <a:pt x="1734" y="206"/>
                  <a:pt x="1734" y="248"/>
                </a:cubicBezTo>
                <a:cubicBezTo>
                  <a:pt x="1734" y="340"/>
                  <a:pt x="1890" y="322"/>
                  <a:pt x="1890" y="396"/>
                </a:cubicBezTo>
                <a:cubicBezTo>
                  <a:pt x="1890" y="422"/>
                  <a:pt x="1866" y="436"/>
                  <a:pt x="1826" y="436"/>
                </a:cubicBezTo>
                <a:cubicBezTo>
                  <a:pt x="1788" y="436"/>
                  <a:pt x="1754" y="416"/>
                  <a:pt x="1744" y="366"/>
                </a:cubicBezTo>
                <a:cubicBezTo>
                  <a:pt x="1728" y="366"/>
                  <a:pt x="1728" y="366"/>
                  <a:pt x="1728" y="366"/>
                </a:cubicBezTo>
                <a:cubicBezTo>
                  <a:pt x="1728" y="386"/>
                  <a:pt x="1732" y="422"/>
                  <a:pt x="1734" y="428"/>
                </a:cubicBezTo>
                <a:cubicBezTo>
                  <a:pt x="1744" y="446"/>
                  <a:pt x="1788" y="454"/>
                  <a:pt x="1824" y="454"/>
                </a:cubicBezTo>
                <a:cubicBezTo>
                  <a:pt x="1888" y="454"/>
                  <a:pt x="1928" y="416"/>
                  <a:pt x="1928" y="372"/>
                </a:cubicBezTo>
                <a:cubicBezTo>
                  <a:pt x="1932" y="270"/>
                  <a:pt x="1776" y="286"/>
                  <a:pt x="1776" y="222"/>
                </a:cubicBezTo>
                <a:moveTo>
                  <a:pt x="2030" y="270"/>
                </a:moveTo>
                <a:cubicBezTo>
                  <a:pt x="2034" y="220"/>
                  <a:pt x="2058" y="192"/>
                  <a:pt x="2102" y="192"/>
                </a:cubicBezTo>
                <a:cubicBezTo>
                  <a:pt x="2144" y="192"/>
                  <a:pt x="2170" y="220"/>
                  <a:pt x="2172" y="270"/>
                </a:cubicBezTo>
                <a:lnTo>
                  <a:pt x="2030" y="270"/>
                </a:lnTo>
                <a:close/>
                <a:moveTo>
                  <a:pt x="2030" y="290"/>
                </a:moveTo>
                <a:cubicBezTo>
                  <a:pt x="2222" y="290"/>
                  <a:pt x="2222" y="290"/>
                  <a:pt x="2222" y="290"/>
                </a:cubicBezTo>
                <a:cubicBezTo>
                  <a:pt x="2226" y="228"/>
                  <a:pt x="2192" y="168"/>
                  <a:pt x="2114" y="168"/>
                </a:cubicBezTo>
                <a:cubicBezTo>
                  <a:pt x="2034" y="168"/>
                  <a:pt x="1982" y="232"/>
                  <a:pt x="1982" y="320"/>
                </a:cubicBezTo>
                <a:cubicBezTo>
                  <a:pt x="1982" y="388"/>
                  <a:pt x="2018" y="456"/>
                  <a:pt x="2112" y="456"/>
                </a:cubicBezTo>
                <a:cubicBezTo>
                  <a:pt x="2150" y="456"/>
                  <a:pt x="2198" y="440"/>
                  <a:pt x="2224" y="412"/>
                </a:cubicBezTo>
                <a:cubicBezTo>
                  <a:pt x="2218" y="400"/>
                  <a:pt x="2218" y="400"/>
                  <a:pt x="2218" y="400"/>
                </a:cubicBezTo>
                <a:cubicBezTo>
                  <a:pt x="2192" y="416"/>
                  <a:pt x="2164" y="422"/>
                  <a:pt x="2138" y="422"/>
                </a:cubicBezTo>
                <a:cubicBezTo>
                  <a:pt x="2058" y="420"/>
                  <a:pt x="2028" y="352"/>
                  <a:pt x="2030" y="290"/>
                </a:cubicBezTo>
                <a:moveTo>
                  <a:pt x="2478" y="242"/>
                </a:moveTo>
                <a:cubicBezTo>
                  <a:pt x="2490" y="206"/>
                  <a:pt x="2510" y="192"/>
                  <a:pt x="2528" y="192"/>
                </a:cubicBezTo>
                <a:cubicBezTo>
                  <a:pt x="2528" y="180"/>
                  <a:pt x="2528" y="180"/>
                  <a:pt x="2528" y="180"/>
                </a:cubicBezTo>
                <a:cubicBezTo>
                  <a:pt x="2430" y="180"/>
                  <a:pt x="2430" y="180"/>
                  <a:pt x="2430" y="180"/>
                </a:cubicBezTo>
                <a:cubicBezTo>
                  <a:pt x="2430" y="192"/>
                  <a:pt x="2430" y="192"/>
                  <a:pt x="2430" y="192"/>
                </a:cubicBezTo>
                <a:cubicBezTo>
                  <a:pt x="2454" y="194"/>
                  <a:pt x="2466" y="206"/>
                  <a:pt x="2458" y="234"/>
                </a:cubicBezTo>
                <a:cubicBezTo>
                  <a:pt x="2406" y="390"/>
                  <a:pt x="2406" y="390"/>
                  <a:pt x="2406" y="390"/>
                </a:cubicBezTo>
                <a:cubicBezTo>
                  <a:pt x="2354" y="270"/>
                  <a:pt x="2354" y="270"/>
                  <a:pt x="2354" y="270"/>
                </a:cubicBezTo>
                <a:cubicBezTo>
                  <a:pt x="2340" y="238"/>
                  <a:pt x="2334" y="224"/>
                  <a:pt x="2334" y="212"/>
                </a:cubicBezTo>
                <a:cubicBezTo>
                  <a:pt x="2334" y="202"/>
                  <a:pt x="2340" y="196"/>
                  <a:pt x="2360" y="192"/>
                </a:cubicBezTo>
                <a:cubicBezTo>
                  <a:pt x="2360" y="180"/>
                  <a:pt x="2360" y="180"/>
                  <a:pt x="2360" y="180"/>
                </a:cubicBezTo>
                <a:cubicBezTo>
                  <a:pt x="2234" y="180"/>
                  <a:pt x="2234" y="180"/>
                  <a:pt x="2234" y="180"/>
                </a:cubicBezTo>
                <a:cubicBezTo>
                  <a:pt x="2234" y="192"/>
                  <a:pt x="2234" y="192"/>
                  <a:pt x="2234" y="192"/>
                </a:cubicBezTo>
                <a:cubicBezTo>
                  <a:pt x="2266" y="194"/>
                  <a:pt x="2268" y="198"/>
                  <a:pt x="2310" y="292"/>
                </a:cubicBezTo>
                <a:cubicBezTo>
                  <a:pt x="2382" y="450"/>
                  <a:pt x="2382" y="450"/>
                  <a:pt x="2382" y="450"/>
                </a:cubicBezTo>
                <a:cubicBezTo>
                  <a:pt x="2358" y="512"/>
                  <a:pt x="2320" y="546"/>
                  <a:pt x="2242" y="564"/>
                </a:cubicBezTo>
                <a:cubicBezTo>
                  <a:pt x="2246" y="576"/>
                  <a:pt x="2260" y="600"/>
                  <a:pt x="2268" y="606"/>
                </a:cubicBezTo>
                <a:cubicBezTo>
                  <a:pt x="2370" y="564"/>
                  <a:pt x="2390" y="498"/>
                  <a:pt x="2426" y="396"/>
                </a:cubicBezTo>
                <a:lnTo>
                  <a:pt x="2478" y="242"/>
                </a:lnTo>
                <a:close/>
                <a:moveTo>
                  <a:pt x="2844" y="394"/>
                </a:moveTo>
                <a:cubicBezTo>
                  <a:pt x="2822" y="412"/>
                  <a:pt x="2782" y="416"/>
                  <a:pt x="2750" y="416"/>
                </a:cubicBezTo>
                <a:cubicBezTo>
                  <a:pt x="2670" y="416"/>
                  <a:pt x="2606" y="360"/>
                  <a:pt x="2606" y="284"/>
                </a:cubicBezTo>
                <a:cubicBezTo>
                  <a:pt x="2606" y="236"/>
                  <a:pt x="2626" y="206"/>
                  <a:pt x="2658" y="198"/>
                </a:cubicBezTo>
                <a:cubicBezTo>
                  <a:pt x="2698" y="266"/>
                  <a:pt x="2770" y="338"/>
                  <a:pt x="2844" y="394"/>
                </a:cubicBezTo>
                <a:moveTo>
                  <a:pt x="2928" y="448"/>
                </a:moveTo>
                <a:cubicBezTo>
                  <a:pt x="3022" y="448"/>
                  <a:pt x="3022" y="448"/>
                  <a:pt x="3022" y="448"/>
                </a:cubicBezTo>
                <a:cubicBezTo>
                  <a:pt x="3022" y="436"/>
                  <a:pt x="3022" y="436"/>
                  <a:pt x="3022" y="436"/>
                </a:cubicBezTo>
                <a:cubicBezTo>
                  <a:pt x="2992" y="432"/>
                  <a:pt x="2946" y="408"/>
                  <a:pt x="2896" y="372"/>
                </a:cubicBezTo>
                <a:cubicBezTo>
                  <a:pt x="2914" y="342"/>
                  <a:pt x="2918" y="300"/>
                  <a:pt x="2922" y="270"/>
                </a:cubicBezTo>
                <a:cubicBezTo>
                  <a:pt x="2926" y="244"/>
                  <a:pt x="2946" y="244"/>
                  <a:pt x="2958" y="242"/>
                </a:cubicBezTo>
                <a:cubicBezTo>
                  <a:pt x="2958" y="230"/>
                  <a:pt x="2958" y="230"/>
                  <a:pt x="2958" y="230"/>
                </a:cubicBezTo>
                <a:cubicBezTo>
                  <a:pt x="2834" y="230"/>
                  <a:pt x="2834" y="230"/>
                  <a:pt x="2834" y="230"/>
                </a:cubicBezTo>
                <a:cubicBezTo>
                  <a:pt x="2834" y="242"/>
                  <a:pt x="2834" y="242"/>
                  <a:pt x="2834" y="242"/>
                </a:cubicBezTo>
                <a:cubicBezTo>
                  <a:pt x="2864" y="246"/>
                  <a:pt x="2892" y="250"/>
                  <a:pt x="2892" y="294"/>
                </a:cubicBezTo>
                <a:cubicBezTo>
                  <a:pt x="2892" y="318"/>
                  <a:pt x="2888" y="342"/>
                  <a:pt x="2878" y="358"/>
                </a:cubicBezTo>
                <a:cubicBezTo>
                  <a:pt x="2770" y="274"/>
                  <a:pt x="2670" y="156"/>
                  <a:pt x="2670" y="96"/>
                </a:cubicBezTo>
                <a:cubicBezTo>
                  <a:pt x="2670" y="66"/>
                  <a:pt x="2688" y="54"/>
                  <a:pt x="2716" y="54"/>
                </a:cubicBezTo>
                <a:cubicBezTo>
                  <a:pt x="2752" y="54"/>
                  <a:pt x="2784" y="78"/>
                  <a:pt x="2800" y="124"/>
                </a:cubicBezTo>
                <a:cubicBezTo>
                  <a:pt x="2812" y="124"/>
                  <a:pt x="2812" y="124"/>
                  <a:pt x="2812" y="124"/>
                </a:cubicBezTo>
                <a:cubicBezTo>
                  <a:pt x="2810" y="42"/>
                  <a:pt x="2810" y="42"/>
                  <a:pt x="2810" y="42"/>
                </a:cubicBezTo>
                <a:cubicBezTo>
                  <a:pt x="2798" y="42"/>
                  <a:pt x="2798" y="42"/>
                  <a:pt x="2798" y="42"/>
                </a:cubicBezTo>
                <a:cubicBezTo>
                  <a:pt x="2798" y="48"/>
                  <a:pt x="2792" y="52"/>
                  <a:pt x="2788" y="52"/>
                </a:cubicBezTo>
                <a:cubicBezTo>
                  <a:pt x="2772" y="52"/>
                  <a:pt x="2752" y="36"/>
                  <a:pt x="2714" y="36"/>
                </a:cubicBezTo>
                <a:cubicBezTo>
                  <a:pt x="2672" y="36"/>
                  <a:pt x="2630" y="62"/>
                  <a:pt x="2630" y="118"/>
                </a:cubicBezTo>
                <a:cubicBezTo>
                  <a:pt x="2630" y="140"/>
                  <a:pt x="2636" y="160"/>
                  <a:pt x="2648" y="182"/>
                </a:cubicBezTo>
                <a:cubicBezTo>
                  <a:pt x="2592" y="200"/>
                  <a:pt x="2562" y="248"/>
                  <a:pt x="2562" y="304"/>
                </a:cubicBezTo>
                <a:cubicBezTo>
                  <a:pt x="2562" y="406"/>
                  <a:pt x="2640" y="460"/>
                  <a:pt x="2726" y="460"/>
                </a:cubicBezTo>
                <a:cubicBezTo>
                  <a:pt x="2780" y="460"/>
                  <a:pt x="2824" y="444"/>
                  <a:pt x="2862" y="410"/>
                </a:cubicBezTo>
                <a:cubicBezTo>
                  <a:pt x="2888" y="424"/>
                  <a:pt x="2912" y="442"/>
                  <a:pt x="2928" y="448"/>
                </a:cubicBezTo>
                <a:moveTo>
                  <a:pt x="3094" y="212"/>
                </a:moveTo>
                <a:cubicBezTo>
                  <a:pt x="3094" y="88"/>
                  <a:pt x="3154" y="20"/>
                  <a:pt x="3252" y="20"/>
                </a:cubicBezTo>
                <a:cubicBezTo>
                  <a:pt x="3328" y="20"/>
                  <a:pt x="3372" y="58"/>
                  <a:pt x="3392" y="134"/>
                </a:cubicBezTo>
                <a:cubicBezTo>
                  <a:pt x="3404" y="134"/>
                  <a:pt x="3404" y="134"/>
                  <a:pt x="3404" y="134"/>
                </a:cubicBezTo>
                <a:cubicBezTo>
                  <a:pt x="3400" y="4"/>
                  <a:pt x="3400" y="4"/>
                  <a:pt x="3400" y="4"/>
                </a:cubicBezTo>
                <a:cubicBezTo>
                  <a:pt x="3388" y="4"/>
                  <a:pt x="3388" y="4"/>
                  <a:pt x="3388" y="4"/>
                </a:cubicBezTo>
                <a:cubicBezTo>
                  <a:pt x="3384" y="14"/>
                  <a:pt x="3376" y="18"/>
                  <a:pt x="3364" y="18"/>
                </a:cubicBezTo>
                <a:cubicBezTo>
                  <a:pt x="3338" y="18"/>
                  <a:pt x="3314" y="0"/>
                  <a:pt x="3248" y="0"/>
                </a:cubicBezTo>
                <a:cubicBezTo>
                  <a:pt x="3118" y="0"/>
                  <a:pt x="3030" y="102"/>
                  <a:pt x="3030" y="242"/>
                </a:cubicBezTo>
                <a:cubicBezTo>
                  <a:pt x="3030" y="376"/>
                  <a:pt x="3110" y="460"/>
                  <a:pt x="3238" y="460"/>
                </a:cubicBezTo>
                <a:cubicBezTo>
                  <a:pt x="3320" y="460"/>
                  <a:pt x="3384" y="420"/>
                  <a:pt x="3408" y="380"/>
                </a:cubicBezTo>
                <a:cubicBezTo>
                  <a:pt x="3396" y="366"/>
                  <a:pt x="3396" y="366"/>
                  <a:pt x="3396" y="366"/>
                </a:cubicBezTo>
                <a:cubicBezTo>
                  <a:pt x="3370" y="402"/>
                  <a:pt x="3314" y="426"/>
                  <a:pt x="3256" y="426"/>
                </a:cubicBezTo>
                <a:cubicBezTo>
                  <a:pt x="3156" y="426"/>
                  <a:pt x="3094" y="340"/>
                  <a:pt x="3094" y="212"/>
                </a:cubicBezTo>
                <a:moveTo>
                  <a:pt x="3678" y="328"/>
                </a:moveTo>
                <a:cubicBezTo>
                  <a:pt x="3678" y="392"/>
                  <a:pt x="3650" y="430"/>
                  <a:pt x="3592" y="430"/>
                </a:cubicBezTo>
                <a:cubicBezTo>
                  <a:pt x="3542" y="430"/>
                  <a:pt x="3496" y="384"/>
                  <a:pt x="3496" y="292"/>
                </a:cubicBezTo>
                <a:cubicBezTo>
                  <a:pt x="3496" y="226"/>
                  <a:pt x="3528" y="190"/>
                  <a:pt x="3580" y="190"/>
                </a:cubicBezTo>
                <a:cubicBezTo>
                  <a:pt x="3628" y="192"/>
                  <a:pt x="3678" y="238"/>
                  <a:pt x="3678" y="328"/>
                </a:cubicBezTo>
                <a:moveTo>
                  <a:pt x="3732" y="312"/>
                </a:moveTo>
                <a:cubicBezTo>
                  <a:pt x="3732" y="260"/>
                  <a:pt x="3710" y="214"/>
                  <a:pt x="3672" y="190"/>
                </a:cubicBezTo>
                <a:cubicBezTo>
                  <a:pt x="3650" y="176"/>
                  <a:pt x="3620" y="168"/>
                  <a:pt x="3588" y="168"/>
                </a:cubicBezTo>
                <a:cubicBezTo>
                  <a:pt x="3502" y="168"/>
                  <a:pt x="3442" y="230"/>
                  <a:pt x="3442" y="310"/>
                </a:cubicBezTo>
                <a:cubicBezTo>
                  <a:pt x="3442" y="364"/>
                  <a:pt x="3464" y="408"/>
                  <a:pt x="3502" y="432"/>
                </a:cubicBezTo>
                <a:cubicBezTo>
                  <a:pt x="3524" y="446"/>
                  <a:pt x="3554" y="452"/>
                  <a:pt x="3586" y="452"/>
                </a:cubicBezTo>
                <a:cubicBezTo>
                  <a:pt x="3672" y="454"/>
                  <a:pt x="3732" y="394"/>
                  <a:pt x="3732" y="312"/>
                </a:cubicBezTo>
                <a:moveTo>
                  <a:pt x="4136" y="448"/>
                </a:moveTo>
                <a:cubicBezTo>
                  <a:pt x="4280" y="448"/>
                  <a:pt x="4280" y="448"/>
                  <a:pt x="4280" y="448"/>
                </a:cubicBezTo>
                <a:cubicBezTo>
                  <a:pt x="4280" y="436"/>
                  <a:pt x="4280" y="436"/>
                  <a:pt x="4280" y="436"/>
                </a:cubicBezTo>
                <a:cubicBezTo>
                  <a:pt x="4230" y="434"/>
                  <a:pt x="4232" y="426"/>
                  <a:pt x="4232" y="348"/>
                </a:cubicBezTo>
                <a:cubicBezTo>
                  <a:pt x="4232" y="276"/>
                  <a:pt x="4232" y="276"/>
                  <a:pt x="4232" y="276"/>
                </a:cubicBezTo>
                <a:cubicBezTo>
                  <a:pt x="4232" y="200"/>
                  <a:pt x="4190" y="172"/>
                  <a:pt x="4142" y="172"/>
                </a:cubicBezTo>
                <a:cubicBezTo>
                  <a:pt x="4098" y="172"/>
                  <a:pt x="4064" y="196"/>
                  <a:pt x="4038" y="232"/>
                </a:cubicBezTo>
                <a:cubicBezTo>
                  <a:pt x="4028" y="194"/>
                  <a:pt x="4000" y="172"/>
                  <a:pt x="3954" y="172"/>
                </a:cubicBezTo>
                <a:cubicBezTo>
                  <a:pt x="3916" y="172"/>
                  <a:pt x="3880" y="196"/>
                  <a:pt x="3858" y="224"/>
                </a:cubicBezTo>
                <a:cubicBezTo>
                  <a:pt x="3858" y="176"/>
                  <a:pt x="3858" y="176"/>
                  <a:pt x="3858" y="176"/>
                </a:cubicBezTo>
                <a:cubicBezTo>
                  <a:pt x="3756" y="176"/>
                  <a:pt x="3756" y="176"/>
                  <a:pt x="3756" y="176"/>
                </a:cubicBezTo>
                <a:cubicBezTo>
                  <a:pt x="3756" y="188"/>
                  <a:pt x="3756" y="188"/>
                  <a:pt x="3756" y="188"/>
                </a:cubicBezTo>
                <a:cubicBezTo>
                  <a:pt x="3800" y="190"/>
                  <a:pt x="3806" y="192"/>
                  <a:pt x="3806" y="268"/>
                </a:cubicBezTo>
                <a:cubicBezTo>
                  <a:pt x="3806" y="346"/>
                  <a:pt x="3806" y="346"/>
                  <a:pt x="3806" y="346"/>
                </a:cubicBezTo>
                <a:cubicBezTo>
                  <a:pt x="3806" y="434"/>
                  <a:pt x="3804" y="434"/>
                  <a:pt x="3758" y="434"/>
                </a:cubicBezTo>
                <a:cubicBezTo>
                  <a:pt x="3758" y="446"/>
                  <a:pt x="3758" y="446"/>
                  <a:pt x="3758" y="446"/>
                </a:cubicBezTo>
                <a:cubicBezTo>
                  <a:pt x="3902" y="446"/>
                  <a:pt x="3902" y="446"/>
                  <a:pt x="3902" y="446"/>
                </a:cubicBezTo>
                <a:cubicBezTo>
                  <a:pt x="3902" y="434"/>
                  <a:pt x="3902" y="434"/>
                  <a:pt x="3902" y="434"/>
                </a:cubicBezTo>
                <a:cubicBezTo>
                  <a:pt x="3862" y="430"/>
                  <a:pt x="3858" y="430"/>
                  <a:pt x="3858" y="342"/>
                </a:cubicBezTo>
                <a:cubicBezTo>
                  <a:pt x="3858" y="262"/>
                  <a:pt x="3858" y="262"/>
                  <a:pt x="3858" y="262"/>
                </a:cubicBezTo>
                <a:cubicBezTo>
                  <a:pt x="3858" y="234"/>
                  <a:pt x="3894" y="204"/>
                  <a:pt x="3932" y="204"/>
                </a:cubicBezTo>
                <a:cubicBezTo>
                  <a:pt x="3974" y="204"/>
                  <a:pt x="3990" y="226"/>
                  <a:pt x="3990" y="282"/>
                </a:cubicBezTo>
                <a:cubicBezTo>
                  <a:pt x="3990" y="338"/>
                  <a:pt x="3990" y="338"/>
                  <a:pt x="3990" y="338"/>
                </a:cubicBezTo>
                <a:cubicBezTo>
                  <a:pt x="3990" y="428"/>
                  <a:pt x="3988" y="432"/>
                  <a:pt x="3950" y="436"/>
                </a:cubicBezTo>
                <a:cubicBezTo>
                  <a:pt x="3950" y="448"/>
                  <a:pt x="3950" y="448"/>
                  <a:pt x="3950" y="448"/>
                </a:cubicBezTo>
                <a:cubicBezTo>
                  <a:pt x="4086" y="448"/>
                  <a:pt x="4086" y="448"/>
                  <a:pt x="4086" y="448"/>
                </a:cubicBezTo>
                <a:cubicBezTo>
                  <a:pt x="4086" y="436"/>
                  <a:pt x="4086" y="436"/>
                  <a:pt x="4086" y="436"/>
                </a:cubicBezTo>
                <a:cubicBezTo>
                  <a:pt x="4040" y="432"/>
                  <a:pt x="4042" y="428"/>
                  <a:pt x="4042" y="342"/>
                </a:cubicBezTo>
                <a:cubicBezTo>
                  <a:pt x="4042" y="264"/>
                  <a:pt x="4042" y="264"/>
                  <a:pt x="4042" y="264"/>
                </a:cubicBezTo>
                <a:cubicBezTo>
                  <a:pt x="4042" y="236"/>
                  <a:pt x="4078" y="206"/>
                  <a:pt x="4118" y="206"/>
                </a:cubicBezTo>
                <a:cubicBezTo>
                  <a:pt x="4152" y="206"/>
                  <a:pt x="4174" y="226"/>
                  <a:pt x="4174" y="284"/>
                </a:cubicBezTo>
                <a:cubicBezTo>
                  <a:pt x="4174" y="346"/>
                  <a:pt x="4174" y="346"/>
                  <a:pt x="4174" y="346"/>
                </a:cubicBezTo>
                <a:cubicBezTo>
                  <a:pt x="4174" y="428"/>
                  <a:pt x="4174" y="432"/>
                  <a:pt x="4134" y="436"/>
                </a:cubicBezTo>
                <a:cubicBezTo>
                  <a:pt x="4134" y="448"/>
                  <a:pt x="4134" y="448"/>
                  <a:pt x="4134" y="448"/>
                </a:cubicBezTo>
                <a:lnTo>
                  <a:pt x="4136" y="448"/>
                </a:lnTo>
                <a:close/>
                <a:moveTo>
                  <a:pt x="4546" y="316"/>
                </a:moveTo>
                <a:cubicBezTo>
                  <a:pt x="4546" y="388"/>
                  <a:pt x="4516" y="432"/>
                  <a:pt x="4460" y="432"/>
                </a:cubicBezTo>
                <a:cubicBezTo>
                  <a:pt x="4424" y="432"/>
                  <a:pt x="4384" y="412"/>
                  <a:pt x="4384" y="384"/>
                </a:cubicBezTo>
                <a:cubicBezTo>
                  <a:pt x="4384" y="248"/>
                  <a:pt x="4384" y="248"/>
                  <a:pt x="4384" y="248"/>
                </a:cubicBezTo>
                <a:cubicBezTo>
                  <a:pt x="4384" y="226"/>
                  <a:pt x="4416" y="202"/>
                  <a:pt x="4454" y="202"/>
                </a:cubicBezTo>
                <a:cubicBezTo>
                  <a:pt x="4510" y="206"/>
                  <a:pt x="4546" y="248"/>
                  <a:pt x="4546" y="316"/>
                </a:cubicBezTo>
                <a:moveTo>
                  <a:pt x="4600" y="310"/>
                </a:moveTo>
                <a:cubicBezTo>
                  <a:pt x="4600" y="230"/>
                  <a:pt x="4548" y="170"/>
                  <a:pt x="4478" y="170"/>
                </a:cubicBezTo>
                <a:cubicBezTo>
                  <a:pt x="4438" y="170"/>
                  <a:pt x="4406" y="188"/>
                  <a:pt x="4384" y="214"/>
                </a:cubicBezTo>
                <a:cubicBezTo>
                  <a:pt x="4384" y="174"/>
                  <a:pt x="4384" y="174"/>
                  <a:pt x="4384" y="174"/>
                </a:cubicBezTo>
                <a:cubicBezTo>
                  <a:pt x="4284" y="174"/>
                  <a:pt x="4284" y="174"/>
                  <a:pt x="4284" y="174"/>
                </a:cubicBezTo>
                <a:cubicBezTo>
                  <a:pt x="4284" y="186"/>
                  <a:pt x="4284" y="186"/>
                  <a:pt x="4284" y="186"/>
                </a:cubicBezTo>
                <a:cubicBezTo>
                  <a:pt x="4326" y="188"/>
                  <a:pt x="4332" y="190"/>
                  <a:pt x="4332" y="280"/>
                </a:cubicBezTo>
                <a:cubicBezTo>
                  <a:pt x="4332" y="466"/>
                  <a:pt x="4332" y="466"/>
                  <a:pt x="4332" y="466"/>
                </a:cubicBezTo>
                <a:cubicBezTo>
                  <a:pt x="4332" y="564"/>
                  <a:pt x="4334" y="570"/>
                  <a:pt x="4286" y="574"/>
                </a:cubicBezTo>
                <a:cubicBezTo>
                  <a:pt x="4286" y="588"/>
                  <a:pt x="4286" y="588"/>
                  <a:pt x="4286" y="588"/>
                </a:cubicBezTo>
                <a:cubicBezTo>
                  <a:pt x="4432" y="588"/>
                  <a:pt x="4432" y="588"/>
                  <a:pt x="4432" y="588"/>
                </a:cubicBezTo>
                <a:cubicBezTo>
                  <a:pt x="4432" y="574"/>
                  <a:pt x="4432" y="574"/>
                  <a:pt x="4432" y="574"/>
                </a:cubicBezTo>
                <a:cubicBezTo>
                  <a:pt x="4380" y="572"/>
                  <a:pt x="4384" y="564"/>
                  <a:pt x="4384" y="462"/>
                </a:cubicBezTo>
                <a:cubicBezTo>
                  <a:pt x="4384" y="424"/>
                  <a:pt x="4384" y="424"/>
                  <a:pt x="4384" y="424"/>
                </a:cubicBezTo>
                <a:cubicBezTo>
                  <a:pt x="4404" y="444"/>
                  <a:pt x="4436" y="454"/>
                  <a:pt x="4466" y="454"/>
                </a:cubicBezTo>
                <a:cubicBezTo>
                  <a:pt x="4548" y="454"/>
                  <a:pt x="4600" y="392"/>
                  <a:pt x="4600" y="310"/>
                </a:cubicBezTo>
                <a:moveTo>
                  <a:pt x="4792" y="382"/>
                </a:moveTo>
                <a:cubicBezTo>
                  <a:pt x="4792" y="404"/>
                  <a:pt x="4762" y="424"/>
                  <a:pt x="4736" y="424"/>
                </a:cubicBezTo>
                <a:cubicBezTo>
                  <a:pt x="4712" y="424"/>
                  <a:pt x="4694" y="410"/>
                  <a:pt x="4694" y="378"/>
                </a:cubicBezTo>
                <a:cubicBezTo>
                  <a:pt x="4694" y="322"/>
                  <a:pt x="4752" y="328"/>
                  <a:pt x="4792" y="306"/>
                </a:cubicBezTo>
                <a:cubicBezTo>
                  <a:pt x="4792" y="382"/>
                  <a:pt x="4792" y="382"/>
                  <a:pt x="4792" y="382"/>
                </a:cubicBezTo>
                <a:close/>
                <a:moveTo>
                  <a:pt x="5240" y="434"/>
                </a:moveTo>
                <a:cubicBezTo>
                  <a:pt x="5192" y="432"/>
                  <a:pt x="5192" y="430"/>
                  <a:pt x="5192" y="340"/>
                </a:cubicBezTo>
                <a:cubicBezTo>
                  <a:pt x="5192" y="278"/>
                  <a:pt x="5192" y="278"/>
                  <a:pt x="5192" y="278"/>
                </a:cubicBezTo>
                <a:cubicBezTo>
                  <a:pt x="5192" y="196"/>
                  <a:pt x="5146" y="170"/>
                  <a:pt x="5104" y="170"/>
                </a:cubicBezTo>
                <a:cubicBezTo>
                  <a:pt x="5068" y="170"/>
                  <a:pt x="5032" y="186"/>
                  <a:pt x="5004" y="222"/>
                </a:cubicBezTo>
                <a:cubicBezTo>
                  <a:pt x="5004" y="174"/>
                  <a:pt x="5004" y="174"/>
                  <a:pt x="5004" y="174"/>
                </a:cubicBezTo>
                <a:cubicBezTo>
                  <a:pt x="4902" y="174"/>
                  <a:pt x="4902" y="174"/>
                  <a:pt x="4902" y="174"/>
                </a:cubicBezTo>
                <a:cubicBezTo>
                  <a:pt x="4902" y="186"/>
                  <a:pt x="4902" y="186"/>
                  <a:pt x="4902" y="186"/>
                </a:cubicBezTo>
                <a:cubicBezTo>
                  <a:pt x="4946" y="188"/>
                  <a:pt x="4952" y="190"/>
                  <a:pt x="4952" y="266"/>
                </a:cubicBezTo>
                <a:cubicBezTo>
                  <a:pt x="4952" y="334"/>
                  <a:pt x="4952" y="334"/>
                  <a:pt x="4952" y="334"/>
                </a:cubicBezTo>
                <a:cubicBezTo>
                  <a:pt x="4952" y="430"/>
                  <a:pt x="4952" y="432"/>
                  <a:pt x="4904" y="434"/>
                </a:cubicBezTo>
                <a:cubicBezTo>
                  <a:pt x="4892" y="434"/>
                  <a:pt x="4892" y="434"/>
                  <a:pt x="4892" y="434"/>
                </a:cubicBezTo>
                <a:cubicBezTo>
                  <a:pt x="4854" y="434"/>
                  <a:pt x="4850" y="422"/>
                  <a:pt x="4850" y="366"/>
                </a:cubicBezTo>
                <a:cubicBezTo>
                  <a:pt x="4850" y="274"/>
                  <a:pt x="4850" y="274"/>
                  <a:pt x="4850" y="274"/>
                </a:cubicBezTo>
                <a:cubicBezTo>
                  <a:pt x="4850" y="256"/>
                  <a:pt x="4848" y="240"/>
                  <a:pt x="4844" y="228"/>
                </a:cubicBezTo>
                <a:cubicBezTo>
                  <a:pt x="4830" y="186"/>
                  <a:pt x="4796" y="170"/>
                  <a:pt x="4748" y="170"/>
                </a:cubicBezTo>
                <a:cubicBezTo>
                  <a:pt x="4718" y="170"/>
                  <a:pt x="4674" y="180"/>
                  <a:pt x="4650" y="202"/>
                </a:cubicBezTo>
                <a:cubicBezTo>
                  <a:pt x="4652" y="214"/>
                  <a:pt x="4664" y="240"/>
                  <a:pt x="4670" y="248"/>
                </a:cubicBezTo>
                <a:cubicBezTo>
                  <a:pt x="4676" y="246"/>
                  <a:pt x="4676" y="246"/>
                  <a:pt x="4676" y="246"/>
                </a:cubicBezTo>
                <a:cubicBezTo>
                  <a:pt x="4688" y="216"/>
                  <a:pt x="4708" y="194"/>
                  <a:pt x="4742" y="194"/>
                </a:cubicBezTo>
                <a:cubicBezTo>
                  <a:pt x="4778" y="194"/>
                  <a:pt x="4794" y="220"/>
                  <a:pt x="4794" y="250"/>
                </a:cubicBezTo>
                <a:cubicBezTo>
                  <a:pt x="4794" y="282"/>
                  <a:pt x="4794" y="282"/>
                  <a:pt x="4794" y="282"/>
                </a:cubicBezTo>
                <a:cubicBezTo>
                  <a:pt x="4794" y="302"/>
                  <a:pt x="4702" y="306"/>
                  <a:pt x="4664" y="338"/>
                </a:cubicBezTo>
                <a:cubicBezTo>
                  <a:pt x="4652" y="350"/>
                  <a:pt x="4642" y="364"/>
                  <a:pt x="4642" y="384"/>
                </a:cubicBezTo>
                <a:cubicBezTo>
                  <a:pt x="4642" y="426"/>
                  <a:pt x="4672" y="456"/>
                  <a:pt x="4716" y="456"/>
                </a:cubicBezTo>
                <a:cubicBezTo>
                  <a:pt x="4744" y="456"/>
                  <a:pt x="4768" y="446"/>
                  <a:pt x="4794" y="418"/>
                </a:cubicBezTo>
                <a:cubicBezTo>
                  <a:pt x="4798" y="438"/>
                  <a:pt x="4814" y="448"/>
                  <a:pt x="4842" y="448"/>
                </a:cubicBezTo>
                <a:cubicBezTo>
                  <a:pt x="4906" y="448"/>
                  <a:pt x="4906" y="448"/>
                  <a:pt x="4906" y="448"/>
                </a:cubicBezTo>
                <a:cubicBezTo>
                  <a:pt x="4906" y="448"/>
                  <a:pt x="4906" y="448"/>
                  <a:pt x="4906" y="448"/>
                </a:cubicBezTo>
                <a:cubicBezTo>
                  <a:pt x="5048" y="448"/>
                  <a:pt x="5048" y="448"/>
                  <a:pt x="5048" y="448"/>
                </a:cubicBezTo>
                <a:cubicBezTo>
                  <a:pt x="5048" y="436"/>
                  <a:pt x="5048" y="436"/>
                  <a:pt x="5048" y="436"/>
                </a:cubicBezTo>
                <a:cubicBezTo>
                  <a:pt x="5006" y="432"/>
                  <a:pt x="5004" y="434"/>
                  <a:pt x="5004" y="338"/>
                </a:cubicBezTo>
                <a:cubicBezTo>
                  <a:pt x="5004" y="262"/>
                  <a:pt x="5004" y="262"/>
                  <a:pt x="5004" y="262"/>
                </a:cubicBezTo>
                <a:cubicBezTo>
                  <a:pt x="5004" y="236"/>
                  <a:pt x="5038" y="206"/>
                  <a:pt x="5080" y="206"/>
                </a:cubicBezTo>
                <a:cubicBezTo>
                  <a:pt x="5114" y="206"/>
                  <a:pt x="5140" y="220"/>
                  <a:pt x="5140" y="286"/>
                </a:cubicBezTo>
                <a:cubicBezTo>
                  <a:pt x="5140" y="340"/>
                  <a:pt x="5140" y="340"/>
                  <a:pt x="5140" y="340"/>
                </a:cubicBezTo>
                <a:cubicBezTo>
                  <a:pt x="5140" y="432"/>
                  <a:pt x="5136" y="432"/>
                  <a:pt x="5098" y="434"/>
                </a:cubicBezTo>
                <a:cubicBezTo>
                  <a:pt x="5098" y="446"/>
                  <a:pt x="5098" y="446"/>
                  <a:pt x="5098" y="446"/>
                </a:cubicBezTo>
                <a:cubicBezTo>
                  <a:pt x="5240" y="446"/>
                  <a:pt x="5240" y="446"/>
                  <a:pt x="5240" y="446"/>
                </a:cubicBezTo>
                <a:lnTo>
                  <a:pt x="5240" y="434"/>
                </a:lnTo>
                <a:close/>
                <a:moveTo>
                  <a:pt x="5516" y="192"/>
                </a:moveTo>
                <a:cubicBezTo>
                  <a:pt x="5516" y="180"/>
                  <a:pt x="5516" y="180"/>
                  <a:pt x="5516" y="180"/>
                </a:cubicBezTo>
                <a:cubicBezTo>
                  <a:pt x="5418" y="180"/>
                  <a:pt x="5418" y="180"/>
                  <a:pt x="5418" y="180"/>
                </a:cubicBezTo>
                <a:cubicBezTo>
                  <a:pt x="5418" y="192"/>
                  <a:pt x="5418" y="192"/>
                  <a:pt x="5418" y="192"/>
                </a:cubicBezTo>
                <a:cubicBezTo>
                  <a:pt x="5442" y="194"/>
                  <a:pt x="5454" y="206"/>
                  <a:pt x="5446" y="234"/>
                </a:cubicBezTo>
                <a:cubicBezTo>
                  <a:pt x="5394" y="390"/>
                  <a:pt x="5394" y="390"/>
                  <a:pt x="5394" y="390"/>
                </a:cubicBezTo>
                <a:cubicBezTo>
                  <a:pt x="5342" y="270"/>
                  <a:pt x="5342" y="270"/>
                  <a:pt x="5342" y="270"/>
                </a:cubicBezTo>
                <a:cubicBezTo>
                  <a:pt x="5328" y="238"/>
                  <a:pt x="5322" y="224"/>
                  <a:pt x="5322" y="212"/>
                </a:cubicBezTo>
                <a:cubicBezTo>
                  <a:pt x="5322" y="202"/>
                  <a:pt x="5328" y="196"/>
                  <a:pt x="5348" y="192"/>
                </a:cubicBezTo>
                <a:cubicBezTo>
                  <a:pt x="5348" y="180"/>
                  <a:pt x="5348" y="180"/>
                  <a:pt x="5348" y="180"/>
                </a:cubicBezTo>
                <a:cubicBezTo>
                  <a:pt x="5220" y="180"/>
                  <a:pt x="5220" y="180"/>
                  <a:pt x="5220" y="180"/>
                </a:cubicBezTo>
                <a:cubicBezTo>
                  <a:pt x="5220" y="192"/>
                  <a:pt x="5220" y="192"/>
                  <a:pt x="5220" y="192"/>
                </a:cubicBezTo>
                <a:cubicBezTo>
                  <a:pt x="5252" y="194"/>
                  <a:pt x="5254" y="198"/>
                  <a:pt x="5296" y="292"/>
                </a:cubicBezTo>
                <a:cubicBezTo>
                  <a:pt x="5368" y="450"/>
                  <a:pt x="5368" y="450"/>
                  <a:pt x="5368" y="450"/>
                </a:cubicBezTo>
                <a:cubicBezTo>
                  <a:pt x="5344" y="512"/>
                  <a:pt x="5306" y="546"/>
                  <a:pt x="5228" y="564"/>
                </a:cubicBezTo>
                <a:cubicBezTo>
                  <a:pt x="5232" y="576"/>
                  <a:pt x="5246" y="600"/>
                  <a:pt x="5254" y="606"/>
                </a:cubicBezTo>
                <a:cubicBezTo>
                  <a:pt x="5356" y="564"/>
                  <a:pt x="5376" y="498"/>
                  <a:pt x="5412" y="396"/>
                </a:cubicBezTo>
                <a:cubicBezTo>
                  <a:pt x="5466" y="242"/>
                  <a:pt x="5466" y="242"/>
                  <a:pt x="5466" y="242"/>
                </a:cubicBezTo>
                <a:cubicBezTo>
                  <a:pt x="5478" y="206"/>
                  <a:pt x="5498" y="192"/>
                  <a:pt x="5516" y="192"/>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600" kern="1200">
                <a:solidFill>
                  <a:schemeClr val="tx1"/>
                </a:solidFill>
                <a:latin typeface="Arial" charset="0"/>
                <a:ea typeface="+mn-ea"/>
                <a:cs typeface="+mn-cs"/>
              </a:defRPr>
            </a:lvl1pPr>
            <a:lvl2pPr marL="457200" algn="l" rtl="0" fontAlgn="base">
              <a:spcBef>
                <a:spcPct val="0"/>
              </a:spcBef>
              <a:spcAft>
                <a:spcPct val="0"/>
              </a:spcAft>
              <a:defRPr sz="1600" kern="1200">
                <a:solidFill>
                  <a:schemeClr val="tx1"/>
                </a:solidFill>
                <a:latin typeface="Arial" charset="0"/>
                <a:ea typeface="+mn-ea"/>
                <a:cs typeface="+mn-cs"/>
              </a:defRPr>
            </a:lvl2pPr>
            <a:lvl3pPr marL="914400" algn="l" rtl="0" fontAlgn="base">
              <a:spcBef>
                <a:spcPct val="0"/>
              </a:spcBef>
              <a:spcAft>
                <a:spcPct val="0"/>
              </a:spcAft>
              <a:defRPr sz="1600" kern="1200">
                <a:solidFill>
                  <a:schemeClr val="tx1"/>
                </a:solidFill>
                <a:latin typeface="Arial" charset="0"/>
                <a:ea typeface="+mn-ea"/>
                <a:cs typeface="+mn-cs"/>
              </a:defRPr>
            </a:lvl3pPr>
            <a:lvl4pPr marL="1371600" algn="l" rtl="0" fontAlgn="base">
              <a:spcBef>
                <a:spcPct val="0"/>
              </a:spcBef>
              <a:spcAft>
                <a:spcPct val="0"/>
              </a:spcAft>
              <a:defRPr sz="1600" kern="1200">
                <a:solidFill>
                  <a:schemeClr val="tx1"/>
                </a:solidFill>
                <a:latin typeface="Arial" charset="0"/>
                <a:ea typeface="+mn-ea"/>
                <a:cs typeface="+mn-cs"/>
              </a:defRPr>
            </a:lvl4pPr>
            <a:lvl5pPr marL="1828800" algn="l" rtl="0" fontAlgn="base">
              <a:spcBef>
                <a:spcPct val="0"/>
              </a:spcBef>
              <a:spcAft>
                <a:spcPct val="0"/>
              </a:spcAft>
              <a:defRPr sz="1600" kern="1200">
                <a:solidFill>
                  <a:schemeClr val="tx1"/>
                </a:solidFill>
                <a:latin typeface="Arial" charset="0"/>
                <a:ea typeface="+mn-ea"/>
                <a:cs typeface="+mn-cs"/>
              </a:defRPr>
            </a:lvl5pPr>
            <a:lvl6pPr marL="2286000" algn="l" defTabSz="914400" rtl="0" eaLnBrk="1" latinLnBrk="0" hangingPunct="1">
              <a:defRPr sz="1600" kern="1200">
                <a:solidFill>
                  <a:schemeClr val="tx1"/>
                </a:solidFill>
                <a:latin typeface="Arial" charset="0"/>
                <a:ea typeface="+mn-ea"/>
                <a:cs typeface="+mn-cs"/>
              </a:defRPr>
            </a:lvl6pPr>
            <a:lvl7pPr marL="2743200" algn="l" defTabSz="914400" rtl="0" eaLnBrk="1" latinLnBrk="0" hangingPunct="1">
              <a:defRPr sz="1600" kern="1200">
                <a:solidFill>
                  <a:schemeClr val="tx1"/>
                </a:solidFill>
                <a:latin typeface="Arial" charset="0"/>
                <a:ea typeface="+mn-ea"/>
                <a:cs typeface="+mn-cs"/>
              </a:defRPr>
            </a:lvl7pPr>
            <a:lvl8pPr marL="3200400" algn="l" defTabSz="914400" rtl="0" eaLnBrk="1" latinLnBrk="0" hangingPunct="1">
              <a:defRPr sz="1600" kern="1200">
                <a:solidFill>
                  <a:schemeClr val="tx1"/>
                </a:solidFill>
                <a:latin typeface="Arial" charset="0"/>
                <a:ea typeface="+mn-ea"/>
                <a:cs typeface="+mn-cs"/>
              </a:defRPr>
            </a:lvl8pPr>
            <a:lvl9pPr marL="3657600" algn="l" defTabSz="914400" rtl="0" eaLnBrk="1" latinLnBrk="0" hangingPunct="1">
              <a:defRPr sz="1600" kern="1200">
                <a:solidFill>
                  <a:schemeClr val="tx1"/>
                </a:solidFill>
                <a:latin typeface="Arial" charset="0"/>
                <a:ea typeface="+mn-ea"/>
                <a:cs typeface="+mn-cs"/>
              </a:defRPr>
            </a:lvl9pPr>
          </a:lstStyle>
          <a:p>
            <a:endParaRPr lang="en-US" baseline="0" dirty="0">
              <a:solidFill>
                <a:srgbClr val="000000"/>
              </a:solidFill>
              <a:latin typeface="+mn-lt"/>
            </a:endParaRPr>
          </a:p>
        </p:txBody>
      </p:sp>
      <p:sp>
        <p:nvSpPr>
          <p:cNvPr id="27" name="Disclaimer-English (United States)" hidden="1"/>
          <p:cNvSpPr>
            <a:spLocks noChangeArrowheads="1"/>
          </p:cNvSpPr>
          <p:nvPr/>
        </p:nvSpPr>
        <p:spPr bwMode="black">
          <a:xfrm>
            <a:off x="2268266" y="6287785"/>
            <a:ext cx="3544453" cy="36908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t" anchorCtr="0">
            <a:noAutofit/>
          </a:bodyPr>
          <a:lstStyle/>
          <a:p>
            <a:pPr defTabSz="804863" eaLnBrk="0" hangingPunct="0"/>
            <a:r>
              <a:rPr lang="en-US" sz="800" baseline="0" dirty="0">
                <a:solidFill>
                  <a:srgbClr val="FFFFFF"/>
                </a:solidFill>
                <a:latin typeface="+mn-lt"/>
              </a:rPr>
              <a:t>CONFIDENTIAL AND PROPRIETARY</a:t>
            </a:r>
          </a:p>
          <a:p>
            <a:pPr defTabSz="804863" eaLnBrk="0" hangingPunct="0"/>
            <a:r>
              <a:rPr lang="en-US" sz="800" baseline="0" dirty="0">
                <a:solidFill>
                  <a:srgbClr val="FFFFFF"/>
                </a:solidFill>
                <a:latin typeface="+mn-lt"/>
              </a:rPr>
              <a:t>Any use of this material without specific permission of McKinsey &amp; Company is strictly prohibited</a:t>
            </a:r>
          </a:p>
        </p:txBody>
      </p:sp>
    </p:spTree>
    <p:extLst>
      <p:ext uri="{BB962C8B-B14F-4D97-AF65-F5344CB8AC3E}">
        <p14:creationId xmlns:p14="http://schemas.microsoft.com/office/powerpoint/2010/main" val="121329601"/>
      </p:ext>
    </p:extLst>
  </p:cSld>
  <p:clrMapOvr>
    <a:masterClrMapping/>
  </p:clrMapOvr>
  <p:extLst mod="1">
    <p:ext uri="{DCECCB84-F9BA-43D5-87BE-67443E8EF086}">
      <p15:sldGuideLst xmlns:p15="http://schemas.microsoft.com/office/powerpoint/2012/main">
        <p15:guide id="1" orient="horz" pos="2117">
          <p15:clr>
            <a:srgbClr val="FBAE40"/>
          </p15:clr>
        </p15:guide>
        <p15:guide id="2" pos="1416">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6E228F5-5CF1-42E1-9748-97D7582A107A}"/>
              </a:ext>
            </a:extLst>
          </p:cNvPr>
          <p:cNvGraphicFramePr>
            <a:graphicFrameLocks noChangeAspect="1"/>
          </p:cNvGraphicFramePr>
          <p:nvPr>
            <p:custDataLst>
              <p:tags r:id="rId2"/>
            </p:custDataLst>
            <p:extLst>
              <p:ext uri="{D42A27DB-BD31-4B8C-83A1-F6EECF244321}">
                <p14:modId xmlns:p14="http://schemas.microsoft.com/office/powerpoint/2010/main" val="408941763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332" name="think-cell Slide" r:id="rId5" imgW="353" imgH="353" progId="TCLayout.ActiveDocument.1">
                  <p:embed/>
                </p:oleObj>
              </mc:Choice>
              <mc:Fallback>
                <p:oleObj name="think-cell Slide" r:id="rId5" imgW="353" imgH="353" progId="TCLayout.ActiveDocument.1">
                  <p:embed/>
                  <p:pic>
                    <p:nvPicPr>
                      <p:cNvPr id="3" name="Object 2" hidden="1">
                        <a:extLst>
                          <a:ext uri="{FF2B5EF4-FFF2-40B4-BE49-F238E27FC236}">
                            <a16:creationId xmlns:a16="http://schemas.microsoft.com/office/drawing/2014/main" id="{C6E228F5-5CF1-42E1-9748-97D7582A107A}"/>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2. Slide Title"/>
          <p:cNvSpPr>
            <a:spLocks noGrp="1"/>
          </p:cNvSpPr>
          <p:nvPr>
            <p:ph type="title"/>
          </p:nvPr>
        </p:nvSpPr>
        <p:spPr bwMode="auto"/>
        <p:txBody>
          <a:bodyPr/>
          <a:lstStyle/>
          <a:p>
            <a:r>
              <a:rPr lang="en-US"/>
              <a:t>Click to edit Master title style</a:t>
            </a:r>
            <a:endParaRPr lang="en-US" dirty="0"/>
          </a:p>
        </p:txBody>
      </p:sp>
      <p:sp>
        <p:nvSpPr>
          <p:cNvPr id="8" name="Slide Number"/>
          <p:cNvSpPr txBox="1">
            <a:spLocks/>
          </p:cNvSpPr>
          <p:nvPr/>
        </p:nvSpPr>
        <p:spPr bwMode="auto">
          <a:xfrm>
            <a:off x="8564563" y="6508272"/>
            <a:ext cx="125034" cy="123111"/>
          </a:xfrm>
          <a:prstGeom prst="rect">
            <a:avLst/>
          </a:prstGeom>
        </p:spPr>
        <p:txBody>
          <a:bodyPr vert="horz" wrap="none" lIns="0" tIns="0" rIns="0" bIns="0" rtlCol="0" anchor="ctr">
            <a:spAutoFit/>
          </a:bodyPr>
          <a:lstStyle>
            <a:defPPr>
              <a:defRPr lang="en-US"/>
            </a:defPPr>
            <a:lvl1pPr>
              <a:defRPr sz="1000" baseline="0">
                <a:latin typeface="+mn-lt"/>
              </a:defRPr>
            </a:lvl1pPr>
          </a:lstStyle>
          <a:p>
            <a:fld id="{42C328C1-A84F-4A39-A664-DBA00541A8C6}" type="slidenum">
              <a:rPr lang="en-US" sz="800" baseline="0" smtClean="0">
                <a:solidFill>
                  <a:srgbClr val="808080"/>
                </a:solidFill>
                <a:latin typeface="+mn-lt"/>
              </a:rPr>
              <a:pPr/>
              <a:t>‹#›</a:t>
            </a:fld>
            <a:endParaRPr lang="en-US" sz="800" baseline="0" dirty="0">
              <a:solidFill>
                <a:srgbClr val="808080"/>
              </a:solidFill>
              <a:latin typeface="+mn-lt"/>
            </a:endParaRPr>
          </a:p>
        </p:txBody>
      </p:sp>
      <p:sp>
        <p:nvSpPr>
          <p:cNvPr id="9" name="SlideLogoText"/>
          <p:cNvSpPr>
            <a:spLocks noChangeArrowheads="1"/>
          </p:cNvSpPr>
          <p:nvPr>
            <p:custDataLst>
              <p:tags r:id="rId3"/>
            </p:custDataLst>
          </p:nvPr>
        </p:nvSpPr>
        <p:spPr bwMode="auto">
          <a:xfrm>
            <a:off x="7450817" y="6508272"/>
            <a:ext cx="1013098"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algn="r" defTabSz="895350"/>
            <a:r>
              <a:rPr lang="en-US" sz="800" baseline="0" dirty="0">
                <a:solidFill>
                  <a:srgbClr val="808080"/>
                </a:solidFill>
                <a:latin typeface="+mn-lt"/>
              </a:rPr>
              <a:t>McKinsey &amp; Company</a:t>
            </a:r>
          </a:p>
        </p:txBody>
      </p:sp>
      <p:sp>
        <p:nvSpPr>
          <p:cNvPr id="5" name="doc id" hidden="1"/>
          <p:cNvSpPr txBox="1">
            <a:spLocks noChangeArrowheads="1"/>
          </p:cNvSpPr>
          <p:nvPr/>
        </p:nvSpPr>
        <p:spPr bwMode="white">
          <a:xfrm>
            <a:off x="8104473" y="36513"/>
            <a:ext cx="634716" cy="115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hangingPunct="1">
              <a:defRPr/>
            </a:pPr>
            <a:endParaRPr lang="en-US" sz="800" baseline="0" dirty="0">
              <a:solidFill>
                <a:schemeClr val="accent1"/>
              </a:solidFill>
              <a:latin typeface="+mn-lt"/>
              <a:ea typeface="+mn-ea"/>
            </a:endParaRPr>
          </a:p>
        </p:txBody>
      </p:sp>
    </p:spTree>
    <p:extLst>
      <p:ext uri="{BB962C8B-B14F-4D97-AF65-F5344CB8AC3E}">
        <p14:creationId xmlns:p14="http://schemas.microsoft.com/office/powerpoint/2010/main" val="2081535251"/>
      </p:ext>
    </p:extLst>
  </p:cSld>
  <p:clrMapOvr>
    <a:masterClrMapping/>
  </p:clrMapOvr>
  <p:extLst mod="1">
    <p:ext uri="{DCECCB84-F9BA-43D5-87BE-67443E8EF086}">
      <p15:sldGuideLst xmlns:p15="http://schemas.microsoft.com/office/powerpoint/2012/main">
        <p15:guide id="1" pos="5505">
          <p15:clr>
            <a:srgbClr val="F26B43"/>
          </p15:clr>
        </p15:guide>
        <p15:guide id="2" pos="74">
          <p15:clr>
            <a:srgbClr val="F26B43"/>
          </p15:clr>
        </p15:guide>
        <p15:guide id="3" orient="horz" pos="571">
          <p15:clr>
            <a:srgbClr val="F26B43"/>
          </p15:clr>
        </p15:guide>
        <p15:guide id="4" orient="horz" pos="3911">
          <p15:clr>
            <a:srgbClr val="F26B43"/>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type="titleOnly">
  <p:cSld name="2_Title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ECD524A-1569-4253-8CD8-48D288AD883C}"/>
              </a:ext>
            </a:extLst>
          </p:cNvPr>
          <p:cNvGraphicFramePr>
            <a:graphicFrameLocks noChangeAspect="1"/>
          </p:cNvGraphicFramePr>
          <p:nvPr>
            <p:custDataLst>
              <p:tags r:id="rId2"/>
            </p:custDataLst>
            <p:extLst>
              <p:ext uri="{D42A27DB-BD31-4B8C-83A1-F6EECF244321}">
                <p14:modId xmlns:p14="http://schemas.microsoft.com/office/powerpoint/2010/main" val="156383444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8020" name="think-cell Slide" r:id="rId4" imgW="395" imgH="394" progId="TCLayout.ActiveDocument.1">
                  <p:embed/>
                </p:oleObj>
              </mc:Choice>
              <mc:Fallback>
                <p:oleObj name="think-cell Slide" r:id="rId4" imgW="395" imgH="394" progId="TCLayout.ActiveDocument.1">
                  <p:embed/>
                  <p:pic>
                    <p:nvPicPr>
                      <p:cNvPr id="3" name="Object 2" hidden="1">
                        <a:extLst>
                          <a:ext uri="{FF2B5EF4-FFF2-40B4-BE49-F238E27FC236}">
                            <a16:creationId xmlns:a16="http://schemas.microsoft.com/office/drawing/2014/main" id="{5ECD524A-1569-4253-8CD8-48D288AD883C}"/>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236826580"/>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pic>
        <p:nvPicPr>
          <p:cNvPr id="2" name="background"/>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0" y="198"/>
            <a:ext cx="8961438" cy="6721079"/>
          </a:xfrm>
          <a:prstGeom prst="rect">
            <a:avLst/>
          </a:prstGeom>
        </p:spPr>
      </p:pic>
      <p:sp>
        <p:nvSpPr>
          <p:cNvPr id="28" name="TitleRectangle"/>
          <p:cNvSpPr txBox="1">
            <a:spLocks/>
          </p:cNvSpPr>
          <p:nvPr/>
        </p:nvSpPr>
        <p:spPr>
          <a:xfrm>
            <a:off x="2084388" y="0"/>
            <a:ext cx="6875462" cy="3575976"/>
          </a:xfrm>
          <a:prstGeom prst="rect">
            <a:avLst/>
          </a:prstGeom>
          <a:solidFill>
            <a:srgbClr val="002960">
              <a:alpha val="92000"/>
            </a:srgbClr>
          </a:solidFill>
        </p:spPr>
        <p:txBody>
          <a:bodyPr vert="horz" wrap="square" lIns="216000" tIns="1440000" rIns="216000" bIns="108000" rtlCol="0">
            <a:noAutofit/>
          </a:bodyPr>
          <a:lstStyle>
            <a:lvl1pPr marL="0" indent="0" algn="l" defTabSz="914400" rtl="0" eaLnBrk="1" latinLnBrk="0" hangingPunct="1">
              <a:spcBef>
                <a:spcPct val="20000"/>
              </a:spcBef>
              <a:spcAft>
                <a:spcPts val="6000"/>
              </a:spcAft>
              <a:buFont typeface="Arial" pitchFamily="34" charset="0"/>
              <a:buNone/>
              <a:defRPr sz="3200" kern="1200">
                <a:solidFill>
                  <a:schemeClr val="accent1"/>
                </a:solidFill>
                <a:latin typeface="+mn-lt"/>
                <a:ea typeface="+mn-ea"/>
                <a:cs typeface="+mn-cs"/>
              </a:defRPr>
            </a:lvl1pPr>
            <a:lvl2pPr marL="0" indent="0" algn="l" defTabSz="914400" rtl="0" eaLnBrk="1" latinLnBrk="0" hangingPunct="1">
              <a:spcBef>
                <a:spcPct val="20000"/>
              </a:spcBef>
              <a:buFont typeface="Wingdings" charset="2"/>
              <a:buNone/>
              <a:defRPr sz="1400" kern="1200">
                <a:solidFill>
                  <a:schemeClr val="tx1">
                    <a:lumMod val="50000"/>
                    <a:lumOff val="50000"/>
                  </a:schemeClr>
                </a:solidFill>
                <a:latin typeface="+mn-lt"/>
                <a:ea typeface="+mn-ea"/>
                <a:cs typeface="+mn-cs"/>
              </a:defRPr>
            </a:lvl2pPr>
            <a:lvl3pPr marL="1143000" indent="-228600" algn="l" defTabSz="914400" rtl="0" eaLnBrk="1" latinLnBrk="0" hangingPunct="1">
              <a:spcBef>
                <a:spcPct val="20000"/>
              </a:spcBef>
              <a:buFont typeface="Lucida Grande"/>
              <a:buChar char="–"/>
              <a:defRPr sz="16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fontAlgn="auto">
              <a:defRPr/>
            </a:pPr>
            <a:r>
              <a:rPr lang="en-US" baseline="0" dirty="0">
                <a:solidFill>
                  <a:srgbClr val="00ADEF"/>
                </a:solidFill>
                <a:latin typeface="+mn-lt"/>
              </a:rPr>
              <a:t>
              </a:t>
            </a:r>
            <a:br>
              <a:rPr lang="en-US" baseline="0" dirty="0">
                <a:solidFill>
                  <a:srgbClr val="00ADEF"/>
                </a:solidFill>
                <a:latin typeface="+mn-lt"/>
              </a:rPr>
            </a:br>
            <a:endParaRPr lang="en-US" baseline="0" dirty="0">
              <a:solidFill>
                <a:srgbClr val="00ADEF"/>
              </a:solidFill>
              <a:latin typeface="+mn-lt"/>
            </a:endParaRPr>
          </a:p>
        </p:txBody>
      </p:sp>
      <p:graphicFrame>
        <p:nvGraphicFramePr>
          <p:cNvPr id="3" name="Object 2"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0068"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Working Draft Text" hidden="1"/>
          <p:cNvSpPr txBox="1">
            <a:spLocks noChangeArrowheads="1"/>
          </p:cNvSpPr>
          <p:nvPr/>
        </p:nvSpPr>
        <p:spPr bwMode="black">
          <a:xfrm>
            <a:off x="5992719" y="6287538"/>
            <a:ext cx="2790000"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800" b="1" baseline="0" dirty="0">
                <a:solidFill>
                  <a:srgbClr val="FFFFFF"/>
                </a:solidFill>
                <a:latin typeface="+mn-lt"/>
              </a:rPr>
              <a:t>WORKING DRAFT</a:t>
            </a:r>
          </a:p>
        </p:txBody>
      </p:sp>
      <p:sp>
        <p:nvSpPr>
          <p:cNvPr id="6" name="Working Draft" hidden="1"/>
          <p:cNvSpPr txBox="1">
            <a:spLocks noChangeArrowheads="1"/>
          </p:cNvSpPr>
          <p:nvPr/>
        </p:nvSpPr>
        <p:spPr bwMode="black">
          <a:xfrm>
            <a:off x="5992718" y="6410648"/>
            <a:ext cx="2968719"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800" baseline="0">
                <a:solidFill>
                  <a:srgbClr val="FFFFFF"/>
                </a:solidFill>
                <a:latin typeface="+mn-lt"/>
              </a:rPr>
              <a:t>Last Modified 21/05/2018 17:44 India Standard Time</a:t>
            </a:r>
            <a:endParaRPr lang="en-US" sz="800" baseline="0" dirty="0">
              <a:solidFill>
                <a:srgbClr val="FFFFFF"/>
              </a:solidFill>
              <a:latin typeface="+mn-lt"/>
            </a:endParaRPr>
          </a:p>
        </p:txBody>
      </p:sp>
      <p:sp>
        <p:nvSpPr>
          <p:cNvPr id="7" name="Printed" hidden="1"/>
          <p:cNvSpPr txBox="1">
            <a:spLocks noChangeArrowheads="1"/>
          </p:cNvSpPr>
          <p:nvPr/>
        </p:nvSpPr>
        <p:spPr bwMode="black">
          <a:xfrm>
            <a:off x="5992719" y="6533759"/>
            <a:ext cx="2790000"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800" baseline="0" dirty="0">
                <a:solidFill>
                  <a:srgbClr val="FFFFFF"/>
                </a:solidFill>
                <a:latin typeface="+mn-lt"/>
              </a:rPr>
              <a:t>Printed</a:t>
            </a:r>
          </a:p>
        </p:txBody>
      </p:sp>
      <p:sp>
        <p:nvSpPr>
          <p:cNvPr id="13314" name="Title"/>
          <p:cNvSpPr>
            <a:spLocks noGrp="1" noChangeArrowheads="1"/>
          </p:cNvSpPr>
          <p:nvPr>
            <p:ph type="ctrTitle"/>
          </p:nvPr>
        </p:nvSpPr>
        <p:spPr>
          <a:xfrm>
            <a:off x="2268266" y="1434419"/>
            <a:ext cx="6231663" cy="492443"/>
          </a:xfrm>
          <a:prstGeom prst="rect">
            <a:avLst/>
          </a:prstGeom>
        </p:spPr>
        <p:txBody>
          <a:bodyPr>
            <a:spAutoFit/>
          </a:bodyPr>
          <a:lstStyle>
            <a:lvl1pPr>
              <a:defRPr sz="3200" b="0" baseline="0">
                <a:solidFill>
                  <a:schemeClr val="accent2"/>
                </a:solidFill>
                <a:latin typeface="+mj-lt"/>
                <a:ea typeface="+mj-ea"/>
              </a:defRPr>
            </a:lvl1pPr>
          </a:lstStyle>
          <a:p>
            <a:pPr lvl="0" latinLnBrk="0"/>
            <a:r>
              <a:rPr lang="en-US" noProof="0"/>
              <a:t>Click to edit Master title style</a:t>
            </a:r>
            <a:endParaRPr lang="en-US" noProof="0" dirty="0"/>
          </a:p>
        </p:txBody>
      </p:sp>
      <p:sp>
        <p:nvSpPr>
          <p:cNvPr id="13315" name="Subtitle"/>
          <p:cNvSpPr>
            <a:spLocks noGrp="1" noChangeArrowheads="1"/>
          </p:cNvSpPr>
          <p:nvPr>
            <p:ph type="subTitle" idx="1"/>
          </p:nvPr>
        </p:nvSpPr>
        <p:spPr>
          <a:xfrm>
            <a:off x="2268266" y="2819401"/>
            <a:ext cx="6231663" cy="215444"/>
          </a:xfrm>
          <a:prstGeom prst="rect">
            <a:avLst/>
          </a:prstGeom>
        </p:spPr>
        <p:txBody>
          <a:bodyPr wrap="square">
            <a:spAutoFit/>
          </a:bodyPr>
          <a:lstStyle>
            <a:lvl1pPr>
              <a:defRPr sz="1400" cap="all" baseline="0">
                <a:solidFill>
                  <a:schemeClr val="bg1"/>
                </a:solidFill>
                <a:latin typeface="+mn-lt"/>
                <a:ea typeface="+mn-ea"/>
              </a:defRPr>
            </a:lvl1pPr>
          </a:lstStyle>
          <a:p>
            <a:pPr lvl="0" latinLnBrk="0"/>
            <a:r>
              <a:rPr lang="en-US" noProof="0"/>
              <a:t>Click to edit Master subtitle style</a:t>
            </a:r>
            <a:endParaRPr lang="en-US" noProof="0" dirty="0"/>
          </a:p>
        </p:txBody>
      </p:sp>
      <p:sp>
        <p:nvSpPr>
          <p:cNvPr id="57" name="Document type" hidden="1"/>
          <p:cNvSpPr txBox="1">
            <a:spLocks noChangeArrowheads="1"/>
          </p:cNvSpPr>
          <p:nvPr/>
        </p:nvSpPr>
        <p:spPr bwMode="gray">
          <a:xfrm>
            <a:off x="2268266" y="3227411"/>
            <a:ext cx="6231663"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00" baseline="0" dirty="0">
                <a:solidFill>
                  <a:schemeClr val="bg1"/>
                </a:solidFill>
                <a:latin typeface="+mn-lt"/>
              </a:rPr>
              <a:t>Document type | Date</a:t>
            </a:r>
          </a:p>
        </p:txBody>
      </p:sp>
      <p:sp>
        <p:nvSpPr>
          <p:cNvPr id="5" name="doc id" hidden="1"/>
          <p:cNvSpPr txBox="1">
            <a:spLocks noChangeArrowheads="1"/>
          </p:cNvSpPr>
          <p:nvPr/>
        </p:nvSpPr>
        <p:spPr bwMode="white">
          <a:xfrm>
            <a:off x="8443913" y="36513"/>
            <a:ext cx="295275" cy="1222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hangingPunct="1">
              <a:defRPr/>
            </a:pPr>
            <a:endParaRPr lang="en-US" sz="800" baseline="0" dirty="0">
              <a:solidFill>
                <a:srgbClr val="FFFFFF"/>
              </a:solidFill>
              <a:latin typeface="+mn-lt"/>
            </a:endParaRPr>
          </a:p>
        </p:txBody>
      </p:sp>
      <p:sp>
        <p:nvSpPr>
          <p:cNvPr id="43" name="LogoImage"/>
          <p:cNvSpPr>
            <a:spLocks noEditPoints="1"/>
          </p:cNvSpPr>
          <p:nvPr/>
        </p:nvSpPr>
        <p:spPr bwMode="white">
          <a:xfrm>
            <a:off x="2269098" y="182925"/>
            <a:ext cx="2176978" cy="238073"/>
          </a:xfrm>
          <a:custGeom>
            <a:avLst/>
            <a:gdLst>
              <a:gd name="T0" fmla="*/ 504 w 5516"/>
              <a:gd name="T1" fmla="*/ 26 h 606"/>
              <a:gd name="T2" fmla="*/ 18 w 5516"/>
              <a:gd name="T3" fmla="*/ 22 h 606"/>
              <a:gd name="T4" fmla="*/ 140 w 5516"/>
              <a:gd name="T5" fmla="*/ 436 h 606"/>
              <a:gd name="T6" fmla="*/ 408 w 5516"/>
              <a:gd name="T7" fmla="*/ 372 h 606"/>
              <a:gd name="T8" fmla="*/ 696 w 5516"/>
              <a:gd name="T9" fmla="*/ 422 h 606"/>
              <a:gd name="T10" fmla="*/ 768 w 5516"/>
              <a:gd name="T11" fmla="*/ 196 h 606"/>
              <a:gd name="T12" fmla="*/ 1272 w 5516"/>
              <a:gd name="T13" fmla="*/ 26 h 606"/>
              <a:gd name="T14" fmla="*/ 1302 w 5516"/>
              <a:gd name="T15" fmla="*/ 338 h 606"/>
              <a:gd name="T16" fmla="*/ 1202 w 5516"/>
              <a:gd name="T17" fmla="*/ 436 h 606"/>
              <a:gd name="T18" fmla="*/ 1030 w 5516"/>
              <a:gd name="T19" fmla="*/ 10 h 606"/>
              <a:gd name="T20" fmla="*/ 960 w 5516"/>
              <a:gd name="T21" fmla="*/ 22 h 606"/>
              <a:gd name="T22" fmla="*/ 804 w 5516"/>
              <a:gd name="T23" fmla="*/ 434 h 606"/>
              <a:gd name="T24" fmla="*/ 930 w 5516"/>
              <a:gd name="T25" fmla="*/ 246 h 606"/>
              <a:gd name="T26" fmla="*/ 1658 w 5516"/>
              <a:gd name="T27" fmla="*/ 342 h 606"/>
              <a:gd name="T28" fmla="*/ 1368 w 5516"/>
              <a:gd name="T29" fmla="*/ 188 h 606"/>
              <a:gd name="T30" fmla="*/ 1514 w 5516"/>
              <a:gd name="T31" fmla="*/ 436 h 606"/>
              <a:gd name="T32" fmla="*/ 1564 w 5516"/>
              <a:gd name="T33" fmla="*/ 434 h 606"/>
              <a:gd name="T34" fmla="*/ 1904 w 5516"/>
              <a:gd name="T35" fmla="*/ 184 h 606"/>
              <a:gd name="T36" fmla="*/ 1728 w 5516"/>
              <a:gd name="T37" fmla="*/ 366 h 606"/>
              <a:gd name="T38" fmla="*/ 2102 w 5516"/>
              <a:gd name="T39" fmla="*/ 192 h 606"/>
              <a:gd name="T40" fmla="*/ 1982 w 5516"/>
              <a:gd name="T41" fmla="*/ 320 h 606"/>
              <a:gd name="T42" fmla="*/ 2478 w 5516"/>
              <a:gd name="T43" fmla="*/ 242 h 606"/>
              <a:gd name="T44" fmla="*/ 2406 w 5516"/>
              <a:gd name="T45" fmla="*/ 390 h 606"/>
              <a:gd name="T46" fmla="*/ 2234 w 5516"/>
              <a:gd name="T47" fmla="*/ 192 h 606"/>
              <a:gd name="T48" fmla="*/ 2478 w 5516"/>
              <a:gd name="T49" fmla="*/ 242 h 606"/>
              <a:gd name="T50" fmla="*/ 2928 w 5516"/>
              <a:gd name="T51" fmla="*/ 448 h 606"/>
              <a:gd name="T52" fmla="*/ 2958 w 5516"/>
              <a:gd name="T53" fmla="*/ 230 h 606"/>
              <a:gd name="T54" fmla="*/ 2716 w 5516"/>
              <a:gd name="T55" fmla="*/ 54 h 606"/>
              <a:gd name="T56" fmla="*/ 2714 w 5516"/>
              <a:gd name="T57" fmla="*/ 36 h 606"/>
              <a:gd name="T58" fmla="*/ 2928 w 5516"/>
              <a:gd name="T59" fmla="*/ 448 h 606"/>
              <a:gd name="T60" fmla="*/ 3388 w 5516"/>
              <a:gd name="T61" fmla="*/ 4 h 606"/>
              <a:gd name="T62" fmla="*/ 3396 w 5516"/>
              <a:gd name="T63" fmla="*/ 366 h 606"/>
              <a:gd name="T64" fmla="*/ 3580 w 5516"/>
              <a:gd name="T65" fmla="*/ 190 h 606"/>
              <a:gd name="T66" fmla="*/ 3502 w 5516"/>
              <a:gd name="T67" fmla="*/ 432 h 606"/>
              <a:gd name="T68" fmla="*/ 4232 w 5516"/>
              <a:gd name="T69" fmla="*/ 348 h 606"/>
              <a:gd name="T70" fmla="*/ 3858 w 5516"/>
              <a:gd name="T71" fmla="*/ 176 h 606"/>
              <a:gd name="T72" fmla="*/ 3758 w 5516"/>
              <a:gd name="T73" fmla="*/ 446 h 606"/>
              <a:gd name="T74" fmla="*/ 3990 w 5516"/>
              <a:gd name="T75" fmla="*/ 282 h 606"/>
              <a:gd name="T76" fmla="*/ 4042 w 5516"/>
              <a:gd name="T77" fmla="*/ 342 h 606"/>
              <a:gd name="T78" fmla="*/ 4134 w 5516"/>
              <a:gd name="T79" fmla="*/ 448 h 606"/>
              <a:gd name="T80" fmla="*/ 4454 w 5516"/>
              <a:gd name="T81" fmla="*/ 202 h 606"/>
              <a:gd name="T82" fmla="*/ 4284 w 5516"/>
              <a:gd name="T83" fmla="*/ 174 h 606"/>
              <a:gd name="T84" fmla="*/ 4432 w 5516"/>
              <a:gd name="T85" fmla="*/ 588 h 606"/>
              <a:gd name="T86" fmla="*/ 4792 w 5516"/>
              <a:gd name="T87" fmla="*/ 382 h 606"/>
              <a:gd name="T88" fmla="*/ 5192 w 5516"/>
              <a:gd name="T89" fmla="*/ 340 h 606"/>
              <a:gd name="T90" fmla="*/ 4902 w 5516"/>
              <a:gd name="T91" fmla="*/ 186 h 606"/>
              <a:gd name="T92" fmla="*/ 4850 w 5516"/>
              <a:gd name="T93" fmla="*/ 274 h 606"/>
              <a:gd name="T94" fmla="*/ 4742 w 5516"/>
              <a:gd name="T95" fmla="*/ 194 h 606"/>
              <a:gd name="T96" fmla="*/ 4794 w 5516"/>
              <a:gd name="T97" fmla="*/ 418 h 606"/>
              <a:gd name="T98" fmla="*/ 5004 w 5516"/>
              <a:gd name="T99" fmla="*/ 338 h 606"/>
              <a:gd name="T100" fmla="*/ 5098 w 5516"/>
              <a:gd name="T101" fmla="*/ 446 h 606"/>
              <a:gd name="T102" fmla="*/ 5418 w 5516"/>
              <a:gd name="T103" fmla="*/ 192 h 606"/>
              <a:gd name="T104" fmla="*/ 5348 w 5516"/>
              <a:gd name="T105" fmla="*/ 180 h 606"/>
              <a:gd name="T106" fmla="*/ 5254 w 5516"/>
              <a:gd name="T107" fmla="*/ 606 h 6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516" h="606">
                <a:moveTo>
                  <a:pt x="366" y="448"/>
                </a:moveTo>
                <a:cubicBezTo>
                  <a:pt x="524" y="448"/>
                  <a:pt x="524" y="448"/>
                  <a:pt x="524" y="448"/>
                </a:cubicBezTo>
                <a:cubicBezTo>
                  <a:pt x="524" y="436"/>
                  <a:pt x="524" y="436"/>
                  <a:pt x="524" y="436"/>
                </a:cubicBezTo>
                <a:cubicBezTo>
                  <a:pt x="486" y="432"/>
                  <a:pt x="470" y="414"/>
                  <a:pt x="468" y="362"/>
                </a:cubicBezTo>
                <a:cubicBezTo>
                  <a:pt x="454" y="86"/>
                  <a:pt x="454" y="86"/>
                  <a:pt x="454" y="86"/>
                </a:cubicBezTo>
                <a:cubicBezTo>
                  <a:pt x="452" y="46"/>
                  <a:pt x="470" y="30"/>
                  <a:pt x="504" y="26"/>
                </a:cubicBezTo>
                <a:cubicBezTo>
                  <a:pt x="504" y="12"/>
                  <a:pt x="504" y="12"/>
                  <a:pt x="504" y="12"/>
                </a:cubicBezTo>
                <a:cubicBezTo>
                  <a:pt x="394" y="12"/>
                  <a:pt x="394" y="12"/>
                  <a:pt x="394" y="12"/>
                </a:cubicBezTo>
                <a:cubicBezTo>
                  <a:pt x="264" y="350"/>
                  <a:pt x="264" y="350"/>
                  <a:pt x="264" y="350"/>
                </a:cubicBezTo>
                <a:cubicBezTo>
                  <a:pt x="132" y="10"/>
                  <a:pt x="132" y="10"/>
                  <a:pt x="132" y="10"/>
                </a:cubicBezTo>
                <a:cubicBezTo>
                  <a:pt x="18" y="10"/>
                  <a:pt x="18" y="10"/>
                  <a:pt x="18" y="10"/>
                </a:cubicBezTo>
                <a:cubicBezTo>
                  <a:pt x="18" y="22"/>
                  <a:pt x="18" y="22"/>
                  <a:pt x="18" y="22"/>
                </a:cubicBezTo>
                <a:cubicBezTo>
                  <a:pt x="40" y="26"/>
                  <a:pt x="74" y="32"/>
                  <a:pt x="72" y="84"/>
                </a:cubicBezTo>
                <a:cubicBezTo>
                  <a:pt x="58" y="352"/>
                  <a:pt x="58" y="352"/>
                  <a:pt x="58" y="352"/>
                </a:cubicBezTo>
                <a:cubicBezTo>
                  <a:pt x="54" y="410"/>
                  <a:pt x="38" y="430"/>
                  <a:pt x="0" y="436"/>
                </a:cubicBezTo>
                <a:cubicBezTo>
                  <a:pt x="0" y="448"/>
                  <a:pt x="0" y="448"/>
                  <a:pt x="0" y="448"/>
                </a:cubicBezTo>
                <a:cubicBezTo>
                  <a:pt x="140" y="448"/>
                  <a:pt x="140" y="448"/>
                  <a:pt x="140" y="448"/>
                </a:cubicBezTo>
                <a:cubicBezTo>
                  <a:pt x="140" y="436"/>
                  <a:pt x="140" y="436"/>
                  <a:pt x="140" y="436"/>
                </a:cubicBezTo>
                <a:cubicBezTo>
                  <a:pt x="98" y="428"/>
                  <a:pt x="84" y="414"/>
                  <a:pt x="88" y="356"/>
                </a:cubicBezTo>
                <a:cubicBezTo>
                  <a:pt x="100" y="86"/>
                  <a:pt x="100" y="86"/>
                  <a:pt x="100" y="86"/>
                </a:cubicBezTo>
                <a:cubicBezTo>
                  <a:pt x="240" y="444"/>
                  <a:pt x="240" y="444"/>
                  <a:pt x="240" y="444"/>
                </a:cubicBezTo>
                <a:cubicBezTo>
                  <a:pt x="258" y="444"/>
                  <a:pt x="258" y="444"/>
                  <a:pt x="258" y="444"/>
                </a:cubicBezTo>
                <a:cubicBezTo>
                  <a:pt x="396" y="86"/>
                  <a:pt x="396" y="86"/>
                  <a:pt x="396" y="86"/>
                </a:cubicBezTo>
                <a:cubicBezTo>
                  <a:pt x="408" y="372"/>
                  <a:pt x="408" y="372"/>
                  <a:pt x="408" y="372"/>
                </a:cubicBezTo>
                <a:cubicBezTo>
                  <a:pt x="410" y="416"/>
                  <a:pt x="398" y="430"/>
                  <a:pt x="366" y="434"/>
                </a:cubicBezTo>
                <a:lnTo>
                  <a:pt x="366" y="448"/>
                </a:lnTo>
                <a:close/>
                <a:moveTo>
                  <a:pt x="670" y="456"/>
                </a:moveTo>
                <a:cubicBezTo>
                  <a:pt x="708" y="456"/>
                  <a:pt x="756" y="440"/>
                  <a:pt x="782" y="412"/>
                </a:cubicBezTo>
                <a:cubicBezTo>
                  <a:pt x="776" y="400"/>
                  <a:pt x="776" y="400"/>
                  <a:pt x="776" y="400"/>
                </a:cubicBezTo>
                <a:cubicBezTo>
                  <a:pt x="750" y="416"/>
                  <a:pt x="722" y="422"/>
                  <a:pt x="696" y="422"/>
                </a:cubicBezTo>
                <a:cubicBezTo>
                  <a:pt x="620" y="422"/>
                  <a:pt x="592" y="358"/>
                  <a:pt x="592" y="290"/>
                </a:cubicBezTo>
                <a:cubicBezTo>
                  <a:pt x="592" y="258"/>
                  <a:pt x="600" y="236"/>
                  <a:pt x="614" y="222"/>
                </a:cubicBezTo>
                <a:cubicBezTo>
                  <a:pt x="626" y="210"/>
                  <a:pt x="646" y="204"/>
                  <a:pt x="664" y="204"/>
                </a:cubicBezTo>
                <a:cubicBezTo>
                  <a:pt x="690" y="204"/>
                  <a:pt x="722" y="214"/>
                  <a:pt x="744" y="244"/>
                </a:cubicBezTo>
                <a:cubicBezTo>
                  <a:pt x="750" y="244"/>
                  <a:pt x="750" y="244"/>
                  <a:pt x="750" y="244"/>
                </a:cubicBezTo>
                <a:cubicBezTo>
                  <a:pt x="758" y="234"/>
                  <a:pt x="766" y="212"/>
                  <a:pt x="768" y="196"/>
                </a:cubicBezTo>
                <a:cubicBezTo>
                  <a:pt x="748" y="180"/>
                  <a:pt x="720" y="172"/>
                  <a:pt x="686" y="172"/>
                </a:cubicBezTo>
                <a:cubicBezTo>
                  <a:pt x="604" y="172"/>
                  <a:pt x="544" y="246"/>
                  <a:pt x="544" y="326"/>
                </a:cubicBezTo>
                <a:cubicBezTo>
                  <a:pt x="540" y="390"/>
                  <a:pt x="576" y="456"/>
                  <a:pt x="670" y="456"/>
                </a:cubicBezTo>
                <a:moveTo>
                  <a:pt x="1272" y="98"/>
                </a:moveTo>
                <a:cubicBezTo>
                  <a:pt x="1292" y="98"/>
                  <a:pt x="1308" y="82"/>
                  <a:pt x="1308" y="62"/>
                </a:cubicBezTo>
                <a:cubicBezTo>
                  <a:pt x="1308" y="42"/>
                  <a:pt x="1292" y="26"/>
                  <a:pt x="1272" y="26"/>
                </a:cubicBezTo>
                <a:cubicBezTo>
                  <a:pt x="1252" y="26"/>
                  <a:pt x="1238" y="42"/>
                  <a:pt x="1238" y="62"/>
                </a:cubicBezTo>
                <a:cubicBezTo>
                  <a:pt x="1238" y="82"/>
                  <a:pt x="1252" y="98"/>
                  <a:pt x="1272" y="98"/>
                </a:cubicBezTo>
                <a:moveTo>
                  <a:pt x="1202" y="448"/>
                </a:moveTo>
                <a:cubicBezTo>
                  <a:pt x="1346" y="448"/>
                  <a:pt x="1346" y="448"/>
                  <a:pt x="1346" y="448"/>
                </a:cubicBezTo>
                <a:cubicBezTo>
                  <a:pt x="1346" y="436"/>
                  <a:pt x="1346" y="436"/>
                  <a:pt x="1346" y="436"/>
                </a:cubicBezTo>
                <a:cubicBezTo>
                  <a:pt x="1304" y="432"/>
                  <a:pt x="1302" y="434"/>
                  <a:pt x="1302" y="338"/>
                </a:cubicBezTo>
                <a:cubicBezTo>
                  <a:pt x="1302" y="176"/>
                  <a:pt x="1302" y="176"/>
                  <a:pt x="1302" y="176"/>
                </a:cubicBezTo>
                <a:cubicBezTo>
                  <a:pt x="1200" y="176"/>
                  <a:pt x="1200" y="176"/>
                  <a:pt x="1200" y="176"/>
                </a:cubicBezTo>
                <a:cubicBezTo>
                  <a:pt x="1200" y="188"/>
                  <a:pt x="1200" y="188"/>
                  <a:pt x="1200" y="188"/>
                </a:cubicBezTo>
                <a:cubicBezTo>
                  <a:pt x="1244" y="190"/>
                  <a:pt x="1250" y="192"/>
                  <a:pt x="1250" y="268"/>
                </a:cubicBezTo>
                <a:cubicBezTo>
                  <a:pt x="1250" y="336"/>
                  <a:pt x="1250" y="336"/>
                  <a:pt x="1250" y="336"/>
                </a:cubicBezTo>
                <a:cubicBezTo>
                  <a:pt x="1250" y="432"/>
                  <a:pt x="1248" y="432"/>
                  <a:pt x="1202" y="436"/>
                </a:cubicBezTo>
                <a:cubicBezTo>
                  <a:pt x="1178" y="434"/>
                  <a:pt x="1154" y="426"/>
                  <a:pt x="1076" y="338"/>
                </a:cubicBezTo>
                <a:cubicBezTo>
                  <a:pt x="1046" y="302"/>
                  <a:pt x="996" y="244"/>
                  <a:pt x="968" y="206"/>
                </a:cubicBezTo>
                <a:cubicBezTo>
                  <a:pt x="1062" y="102"/>
                  <a:pt x="1062" y="102"/>
                  <a:pt x="1062" y="102"/>
                </a:cubicBezTo>
                <a:cubicBezTo>
                  <a:pt x="1108" y="52"/>
                  <a:pt x="1132" y="26"/>
                  <a:pt x="1176" y="24"/>
                </a:cubicBezTo>
                <a:cubicBezTo>
                  <a:pt x="1176" y="10"/>
                  <a:pt x="1176" y="10"/>
                  <a:pt x="1176" y="10"/>
                </a:cubicBezTo>
                <a:cubicBezTo>
                  <a:pt x="1030" y="10"/>
                  <a:pt x="1030" y="10"/>
                  <a:pt x="1030" y="10"/>
                </a:cubicBezTo>
                <a:cubicBezTo>
                  <a:pt x="1030" y="22"/>
                  <a:pt x="1030" y="22"/>
                  <a:pt x="1030" y="22"/>
                </a:cubicBezTo>
                <a:cubicBezTo>
                  <a:pt x="1050" y="26"/>
                  <a:pt x="1056" y="32"/>
                  <a:pt x="1056" y="46"/>
                </a:cubicBezTo>
                <a:cubicBezTo>
                  <a:pt x="1056" y="56"/>
                  <a:pt x="1054" y="72"/>
                  <a:pt x="1026" y="102"/>
                </a:cubicBezTo>
                <a:cubicBezTo>
                  <a:pt x="910" y="230"/>
                  <a:pt x="910" y="230"/>
                  <a:pt x="910" y="230"/>
                </a:cubicBezTo>
                <a:cubicBezTo>
                  <a:pt x="910" y="148"/>
                  <a:pt x="910" y="148"/>
                  <a:pt x="910" y="148"/>
                </a:cubicBezTo>
                <a:cubicBezTo>
                  <a:pt x="910" y="36"/>
                  <a:pt x="916" y="28"/>
                  <a:pt x="960" y="22"/>
                </a:cubicBezTo>
                <a:cubicBezTo>
                  <a:pt x="960" y="8"/>
                  <a:pt x="960" y="8"/>
                  <a:pt x="960" y="8"/>
                </a:cubicBezTo>
                <a:cubicBezTo>
                  <a:pt x="804" y="8"/>
                  <a:pt x="804" y="8"/>
                  <a:pt x="804" y="8"/>
                </a:cubicBezTo>
                <a:cubicBezTo>
                  <a:pt x="804" y="22"/>
                  <a:pt x="804" y="22"/>
                  <a:pt x="804" y="22"/>
                </a:cubicBezTo>
                <a:cubicBezTo>
                  <a:pt x="852" y="26"/>
                  <a:pt x="854" y="36"/>
                  <a:pt x="854" y="148"/>
                </a:cubicBezTo>
                <a:cubicBezTo>
                  <a:pt x="854" y="300"/>
                  <a:pt x="854" y="300"/>
                  <a:pt x="854" y="300"/>
                </a:cubicBezTo>
                <a:cubicBezTo>
                  <a:pt x="854" y="422"/>
                  <a:pt x="850" y="430"/>
                  <a:pt x="804" y="434"/>
                </a:cubicBezTo>
                <a:cubicBezTo>
                  <a:pt x="804" y="446"/>
                  <a:pt x="804" y="446"/>
                  <a:pt x="804" y="446"/>
                </a:cubicBezTo>
                <a:cubicBezTo>
                  <a:pt x="960" y="446"/>
                  <a:pt x="960" y="446"/>
                  <a:pt x="960" y="446"/>
                </a:cubicBezTo>
                <a:cubicBezTo>
                  <a:pt x="960" y="434"/>
                  <a:pt x="960" y="434"/>
                  <a:pt x="960" y="434"/>
                </a:cubicBezTo>
                <a:cubicBezTo>
                  <a:pt x="910" y="428"/>
                  <a:pt x="910" y="424"/>
                  <a:pt x="910" y="292"/>
                </a:cubicBezTo>
                <a:cubicBezTo>
                  <a:pt x="910" y="268"/>
                  <a:pt x="910" y="268"/>
                  <a:pt x="910" y="268"/>
                </a:cubicBezTo>
                <a:cubicBezTo>
                  <a:pt x="930" y="246"/>
                  <a:pt x="930" y="246"/>
                  <a:pt x="930" y="246"/>
                </a:cubicBezTo>
                <a:cubicBezTo>
                  <a:pt x="982" y="310"/>
                  <a:pt x="1038" y="380"/>
                  <a:pt x="1098" y="448"/>
                </a:cubicBezTo>
                <a:cubicBezTo>
                  <a:pt x="1202" y="448"/>
                  <a:pt x="1202" y="448"/>
                  <a:pt x="1202" y="448"/>
                </a:cubicBezTo>
                <a:close/>
                <a:moveTo>
                  <a:pt x="1564" y="448"/>
                </a:moveTo>
                <a:cubicBezTo>
                  <a:pt x="1706" y="448"/>
                  <a:pt x="1706" y="448"/>
                  <a:pt x="1706" y="448"/>
                </a:cubicBezTo>
                <a:cubicBezTo>
                  <a:pt x="1706" y="436"/>
                  <a:pt x="1706" y="436"/>
                  <a:pt x="1706" y="436"/>
                </a:cubicBezTo>
                <a:cubicBezTo>
                  <a:pt x="1658" y="434"/>
                  <a:pt x="1658" y="432"/>
                  <a:pt x="1658" y="342"/>
                </a:cubicBezTo>
                <a:cubicBezTo>
                  <a:pt x="1658" y="280"/>
                  <a:pt x="1658" y="280"/>
                  <a:pt x="1658" y="280"/>
                </a:cubicBezTo>
                <a:cubicBezTo>
                  <a:pt x="1658" y="198"/>
                  <a:pt x="1612" y="172"/>
                  <a:pt x="1570" y="172"/>
                </a:cubicBezTo>
                <a:cubicBezTo>
                  <a:pt x="1534" y="172"/>
                  <a:pt x="1498" y="188"/>
                  <a:pt x="1470" y="224"/>
                </a:cubicBezTo>
                <a:cubicBezTo>
                  <a:pt x="1470" y="176"/>
                  <a:pt x="1470" y="176"/>
                  <a:pt x="1470" y="176"/>
                </a:cubicBezTo>
                <a:cubicBezTo>
                  <a:pt x="1368" y="176"/>
                  <a:pt x="1368" y="176"/>
                  <a:pt x="1368" y="176"/>
                </a:cubicBezTo>
                <a:cubicBezTo>
                  <a:pt x="1368" y="188"/>
                  <a:pt x="1368" y="188"/>
                  <a:pt x="1368" y="188"/>
                </a:cubicBezTo>
                <a:cubicBezTo>
                  <a:pt x="1412" y="190"/>
                  <a:pt x="1418" y="192"/>
                  <a:pt x="1418" y="268"/>
                </a:cubicBezTo>
                <a:cubicBezTo>
                  <a:pt x="1418" y="336"/>
                  <a:pt x="1418" y="336"/>
                  <a:pt x="1418" y="336"/>
                </a:cubicBezTo>
                <a:cubicBezTo>
                  <a:pt x="1418" y="434"/>
                  <a:pt x="1418" y="434"/>
                  <a:pt x="1370" y="436"/>
                </a:cubicBezTo>
                <a:cubicBezTo>
                  <a:pt x="1370" y="448"/>
                  <a:pt x="1370" y="448"/>
                  <a:pt x="1370" y="448"/>
                </a:cubicBezTo>
                <a:cubicBezTo>
                  <a:pt x="1514" y="448"/>
                  <a:pt x="1514" y="448"/>
                  <a:pt x="1514" y="448"/>
                </a:cubicBezTo>
                <a:cubicBezTo>
                  <a:pt x="1514" y="436"/>
                  <a:pt x="1514" y="436"/>
                  <a:pt x="1514" y="436"/>
                </a:cubicBezTo>
                <a:cubicBezTo>
                  <a:pt x="1472" y="432"/>
                  <a:pt x="1470" y="434"/>
                  <a:pt x="1470" y="338"/>
                </a:cubicBezTo>
                <a:cubicBezTo>
                  <a:pt x="1470" y="262"/>
                  <a:pt x="1470" y="262"/>
                  <a:pt x="1470" y="262"/>
                </a:cubicBezTo>
                <a:cubicBezTo>
                  <a:pt x="1470" y="236"/>
                  <a:pt x="1504" y="206"/>
                  <a:pt x="1546" y="206"/>
                </a:cubicBezTo>
                <a:cubicBezTo>
                  <a:pt x="1580" y="206"/>
                  <a:pt x="1606" y="220"/>
                  <a:pt x="1606" y="286"/>
                </a:cubicBezTo>
                <a:cubicBezTo>
                  <a:pt x="1606" y="340"/>
                  <a:pt x="1606" y="340"/>
                  <a:pt x="1606" y="340"/>
                </a:cubicBezTo>
                <a:cubicBezTo>
                  <a:pt x="1606" y="432"/>
                  <a:pt x="1602" y="432"/>
                  <a:pt x="1564" y="434"/>
                </a:cubicBezTo>
                <a:lnTo>
                  <a:pt x="1564" y="448"/>
                </a:lnTo>
                <a:close/>
                <a:moveTo>
                  <a:pt x="1776" y="222"/>
                </a:moveTo>
                <a:cubicBezTo>
                  <a:pt x="1776" y="200"/>
                  <a:pt x="1796" y="188"/>
                  <a:pt x="1822" y="188"/>
                </a:cubicBezTo>
                <a:cubicBezTo>
                  <a:pt x="1874" y="188"/>
                  <a:pt x="1896" y="236"/>
                  <a:pt x="1900" y="252"/>
                </a:cubicBezTo>
                <a:cubicBezTo>
                  <a:pt x="1912" y="252"/>
                  <a:pt x="1912" y="252"/>
                  <a:pt x="1912" y="252"/>
                </a:cubicBezTo>
                <a:cubicBezTo>
                  <a:pt x="1912" y="212"/>
                  <a:pt x="1908" y="188"/>
                  <a:pt x="1904" y="184"/>
                </a:cubicBezTo>
                <a:cubicBezTo>
                  <a:pt x="1900" y="180"/>
                  <a:pt x="1862" y="170"/>
                  <a:pt x="1824" y="170"/>
                </a:cubicBezTo>
                <a:cubicBezTo>
                  <a:pt x="1768" y="170"/>
                  <a:pt x="1734" y="206"/>
                  <a:pt x="1734" y="248"/>
                </a:cubicBezTo>
                <a:cubicBezTo>
                  <a:pt x="1734" y="340"/>
                  <a:pt x="1890" y="322"/>
                  <a:pt x="1890" y="396"/>
                </a:cubicBezTo>
                <a:cubicBezTo>
                  <a:pt x="1890" y="422"/>
                  <a:pt x="1866" y="436"/>
                  <a:pt x="1826" y="436"/>
                </a:cubicBezTo>
                <a:cubicBezTo>
                  <a:pt x="1788" y="436"/>
                  <a:pt x="1754" y="416"/>
                  <a:pt x="1744" y="366"/>
                </a:cubicBezTo>
                <a:cubicBezTo>
                  <a:pt x="1728" y="366"/>
                  <a:pt x="1728" y="366"/>
                  <a:pt x="1728" y="366"/>
                </a:cubicBezTo>
                <a:cubicBezTo>
                  <a:pt x="1728" y="386"/>
                  <a:pt x="1732" y="422"/>
                  <a:pt x="1734" y="428"/>
                </a:cubicBezTo>
                <a:cubicBezTo>
                  <a:pt x="1744" y="446"/>
                  <a:pt x="1788" y="454"/>
                  <a:pt x="1824" y="454"/>
                </a:cubicBezTo>
                <a:cubicBezTo>
                  <a:pt x="1888" y="454"/>
                  <a:pt x="1928" y="416"/>
                  <a:pt x="1928" y="372"/>
                </a:cubicBezTo>
                <a:cubicBezTo>
                  <a:pt x="1932" y="270"/>
                  <a:pt x="1776" y="286"/>
                  <a:pt x="1776" y="222"/>
                </a:cubicBezTo>
                <a:moveTo>
                  <a:pt x="2030" y="270"/>
                </a:moveTo>
                <a:cubicBezTo>
                  <a:pt x="2034" y="220"/>
                  <a:pt x="2058" y="192"/>
                  <a:pt x="2102" y="192"/>
                </a:cubicBezTo>
                <a:cubicBezTo>
                  <a:pt x="2144" y="192"/>
                  <a:pt x="2170" y="220"/>
                  <a:pt x="2172" y="270"/>
                </a:cubicBezTo>
                <a:lnTo>
                  <a:pt x="2030" y="270"/>
                </a:lnTo>
                <a:close/>
                <a:moveTo>
                  <a:pt x="2030" y="290"/>
                </a:moveTo>
                <a:cubicBezTo>
                  <a:pt x="2222" y="290"/>
                  <a:pt x="2222" y="290"/>
                  <a:pt x="2222" y="290"/>
                </a:cubicBezTo>
                <a:cubicBezTo>
                  <a:pt x="2226" y="228"/>
                  <a:pt x="2192" y="168"/>
                  <a:pt x="2114" y="168"/>
                </a:cubicBezTo>
                <a:cubicBezTo>
                  <a:pt x="2034" y="168"/>
                  <a:pt x="1982" y="232"/>
                  <a:pt x="1982" y="320"/>
                </a:cubicBezTo>
                <a:cubicBezTo>
                  <a:pt x="1982" y="388"/>
                  <a:pt x="2018" y="456"/>
                  <a:pt x="2112" y="456"/>
                </a:cubicBezTo>
                <a:cubicBezTo>
                  <a:pt x="2150" y="456"/>
                  <a:pt x="2198" y="440"/>
                  <a:pt x="2224" y="412"/>
                </a:cubicBezTo>
                <a:cubicBezTo>
                  <a:pt x="2218" y="400"/>
                  <a:pt x="2218" y="400"/>
                  <a:pt x="2218" y="400"/>
                </a:cubicBezTo>
                <a:cubicBezTo>
                  <a:pt x="2192" y="416"/>
                  <a:pt x="2164" y="422"/>
                  <a:pt x="2138" y="422"/>
                </a:cubicBezTo>
                <a:cubicBezTo>
                  <a:pt x="2058" y="420"/>
                  <a:pt x="2028" y="352"/>
                  <a:pt x="2030" y="290"/>
                </a:cubicBezTo>
                <a:moveTo>
                  <a:pt x="2478" y="242"/>
                </a:moveTo>
                <a:cubicBezTo>
                  <a:pt x="2490" y="206"/>
                  <a:pt x="2510" y="192"/>
                  <a:pt x="2528" y="192"/>
                </a:cubicBezTo>
                <a:cubicBezTo>
                  <a:pt x="2528" y="180"/>
                  <a:pt x="2528" y="180"/>
                  <a:pt x="2528" y="180"/>
                </a:cubicBezTo>
                <a:cubicBezTo>
                  <a:pt x="2430" y="180"/>
                  <a:pt x="2430" y="180"/>
                  <a:pt x="2430" y="180"/>
                </a:cubicBezTo>
                <a:cubicBezTo>
                  <a:pt x="2430" y="192"/>
                  <a:pt x="2430" y="192"/>
                  <a:pt x="2430" y="192"/>
                </a:cubicBezTo>
                <a:cubicBezTo>
                  <a:pt x="2454" y="194"/>
                  <a:pt x="2466" y="206"/>
                  <a:pt x="2458" y="234"/>
                </a:cubicBezTo>
                <a:cubicBezTo>
                  <a:pt x="2406" y="390"/>
                  <a:pt x="2406" y="390"/>
                  <a:pt x="2406" y="390"/>
                </a:cubicBezTo>
                <a:cubicBezTo>
                  <a:pt x="2354" y="270"/>
                  <a:pt x="2354" y="270"/>
                  <a:pt x="2354" y="270"/>
                </a:cubicBezTo>
                <a:cubicBezTo>
                  <a:pt x="2340" y="238"/>
                  <a:pt x="2334" y="224"/>
                  <a:pt x="2334" y="212"/>
                </a:cubicBezTo>
                <a:cubicBezTo>
                  <a:pt x="2334" y="202"/>
                  <a:pt x="2340" y="196"/>
                  <a:pt x="2360" y="192"/>
                </a:cubicBezTo>
                <a:cubicBezTo>
                  <a:pt x="2360" y="180"/>
                  <a:pt x="2360" y="180"/>
                  <a:pt x="2360" y="180"/>
                </a:cubicBezTo>
                <a:cubicBezTo>
                  <a:pt x="2234" y="180"/>
                  <a:pt x="2234" y="180"/>
                  <a:pt x="2234" y="180"/>
                </a:cubicBezTo>
                <a:cubicBezTo>
                  <a:pt x="2234" y="192"/>
                  <a:pt x="2234" y="192"/>
                  <a:pt x="2234" y="192"/>
                </a:cubicBezTo>
                <a:cubicBezTo>
                  <a:pt x="2266" y="194"/>
                  <a:pt x="2268" y="198"/>
                  <a:pt x="2310" y="292"/>
                </a:cubicBezTo>
                <a:cubicBezTo>
                  <a:pt x="2382" y="450"/>
                  <a:pt x="2382" y="450"/>
                  <a:pt x="2382" y="450"/>
                </a:cubicBezTo>
                <a:cubicBezTo>
                  <a:pt x="2358" y="512"/>
                  <a:pt x="2320" y="546"/>
                  <a:pt x="2242" y="564"/>
                </a:cubicBezTo>
                <a:cubicBezTo>
                  <a:pt x="2246" y="576"/>
                  <a:pt x="2260" y="600"/>
                  <a:pt x="2268" y="606"/>
                </a:cubicBezTo>
                <a:cubicBezTo>
                  <a:pt x="2370" y="564"/>
                  <a:pt x="2390" y="498"/>
                  <a:pt x="2426" y="396"/>
                </a:cubicBezTo>
                <a:lnTo>
                  <a:pt x="2478" y="242"/>
                </a:lnTo>
                <a:close/>
                <a:moveTo>
                  <a:pt x="2844" y="394"/>
                </a:moveTo>
                <a:cubicBezTo>
                  <a:pt x="2822" y="412"/>
                  <a:pt x="2782" y="416"/>
                  <a:pt x="2750" y="416"/>
                </a:cubicBezTo>
                <a:cubicBezTo>
                  <a:pt x="2670" y="416"/>
                  <a:pt x="2606" y="360"/>
                  <a:pt x="2606" y="284"/>
                </a:cubicBezTo>
                <a:cubicBezTo>
                  <a:pt x="2606" y="236"/>
                  <a:pt x="2626" y="206"/>
                  <a:pt x="2658" y="198"/>
                </a:cubicBezTo>
                <a:cubicBezTo>
                  <a:pt x="2698" y="266"/>
                  <a:pt x="2770" y="338"/>
                  <a:pt x="2844" y="394"/>
                </a:cubicBezTo>
                <a:moveTo>
                  <a:pt x="2928" y="448"/>
                </a:moveTo>
                <a:cubicBezTo>
                  <a:pt x="3022" y="448"/>
                  <a:pt x="3022" y="448"/>
                  <a:pt x="3022" y="448"/>
                </a:cubicBezTo>
                <a:cubicBezTo>
                  <a:pt x="3022" y="436"/>
                  <a:pt x="3022" y="436"/>
                  <a:pt x="3022" y="436"/>
                </a:cubicBezTo>
                <a:cubicBezTo>
                  <a:pt x="2992" y="432"/>
                  <a:pt x="2946" y="408"/>
                  <a:pt x="2896" y="372"/>
                </a:cubicBezTo>
                <a:cubicBezTo>
                  <a:pt x="2914" y="342"/>
                  <a:pt x="2918" y="300"/>
                  <a:pt x="2922" y="270"/>
                </a:cubicBezTo>
                <a:cubicBezTo>
                  <a:pt x="2926" y="244"/>
                  <a:pt x="2946" y="244"/>
                  <a:pt x="2958" y="242"/>
                </a:cubicBezTo>
                <a:cubicBezTo>
                  <a:pt x="2958" y="230"/>
                  <a:pt x="2958" y="230"/>
                  <a:pt x="2958" y="230"/>
                </a:cubicBezTo>
                <a:cubicBezTo>
                  <a:pt x="2834" y="230"/>
                  <a:pt x="2834" y="230"/>
                  <a:pt x="2834" y="230"/>
                </a:cubicBezTo>
                <a:cubicBezTo>
                  <a:pt x="2834" y="242"/>
                  <a:pt x="2834" y="242"/>
                  <a:pt x="2834" y="242"/>
                </a:cubicBezTo>
                <a:cubicBezTo>
                  <a:pt x="2864" y="246"/>
                  <a:pt x="2892" y="250"/>
                  <a:pt x="2892" y="294"/>
                </a:cubicBezTo>
                <a:cubicBezTo>
                  <a:pt x="2892" y="318"/>
                  <a:pt x="2888" y="342"/>
                  <a:pt x="2878" y="358"/>
                </a:cubicBezTo>
                <a:cubicBezTo>
                  <a:pt x="2770" y="274"/>
                  <a:pt x="2670" y="156"/>
                  <a:pt x="2670" y="96"/>
                </a:cubicBezTo>
                <a:cubicBezTo>
                  <a:pt x="2670" y="66"/>
                  <a:pt x="2688" y="54"/>
                  <a:pt x="2716" y="54"/>
                </a:cubicBezTo>
                <a:cubicBezTo>
                  <a:pt x="2752" y="54"/>
                  <a:pt x="2784" y="78"/>
                  <a:pt x="2800" y="124"/>
                </a:cubicBezTo>
                <a:cubicBezTo>
                  <a:pt x="2812" y="124"/>
                  <a:pt x="2812" y="124"/>
                  <a:pt x="2812" y="124"/>
                </a:cubicBezTo>
                <a:cubicBezTo>
                  <a:pt x="2810" y="42"/>
                  <a:pt x="2810" y="42"/>
                  <a:pt x="2810" y="42"/>
                </a:cubicBezTo>
                <a:cubicBezTo>
                  <a:pt x="2798" y="42"/>
                  <a:pt x="2798" y="42"/>
                  <a:pt x="2798" y="42"/>
                </a:cubicBezTo>
                <a:cubicBezTo>
                  <a:pt x="2798" y="48"/>
                  <a:pt x="2792" y="52"/>
                  <a:pt x="2788" y="52"/>
                </a:cubicBezTo>
                <a:cubicBezTo>
                  <a:pt x="2772" y="52"/>
                  <a:pt x="2752" y="36"/>
                  <a:pt x="2714" y="36"/>
                </a:cubicBezTo>
                <a:cubicBezTo>
                  <a:pt x="2672" y="36"/>
                  <a:pt x="2630" y="62"/>
                  <a:pt x="2630" y="118"/>
                </a:cubicBezTo>
                <a:cubicBezTo>
                  <a:pt x="2630" y="140"/>
                  <a:pt x="2636" y="160"/>
                  <a:pt x="2648" y="182"/>
                </a:cubicBezTo>
                <a:cubicBezTo>
                  <a:pt x="2592" y="200"/>
                  <a:pt x="2562" y="248"/>
                  <a:pt x="2562" y="304"/>
                </a:cubicBezTo>
                <a:cubicBezTo>
                  <a:pt x="2562" y="406"/>
                  <a:pt x="2640" y="460"/>
                  <a:pt x="2726" y="460"/>
                </a:cubicBezTo>
                <a:cubicBezTo>
                  <a:pt x="2780" y="460"/>
                  <a:pt x="2824" y="444"/>
                  <a:pt x="2862" y="410"/>
                </a:cubicBezTo>
                <a:cubicBezTo>
                  <a:pt x="2888" y="424"/>
                  <a:pt x="2912" y="442"/>
                  <a:pt x="2928" y="448"/>
                </a:cubicBezTo>
                <a:moveTo>
                  <a:pt x="3094" y="212"/>
                </a:moveTo>
                <a:cubicBezTo>
                  <a:pt x="3094" y="88"/>
                  <a:pt x="3154" y="20"/>
                  <a:pt x="3252" y="20"/>
                </a:cubicBezTo>
                <a:cubicBezTo>
                  <a:pt x="3328" y="20"/>
                  <a:pt x="3372" y="58"/>
                  <a:pt x="3392" y="134"/>
                </a:cubicBezTo>
                <a:cubicBezTo>
                  <a:pt x="3404" y="134"/>
                  <a:pt x="3404" y="134"/>
                  <a:pt x="3404" y="134"/>
                </a:cubicBezTo>
                <a:cubicBezTo>
                  <a:pt x="3400" y="4"/>
                  <a:pt x="3400" y="4"/>
                  <a:pt x="3400" y="4"/>
                </a:cubicBezTo>
                <a:cubicBezTo>
                  <a:pt x="3388" y="4"/>
                  <a:pt x="3388" y="4"/>
                  <a:pt x="3388" y="4"/>
                </a:cubicBezTo>
                <a:cubicBezTo>
                  <a:pt x="3384" y="14"/>
                  <a:pt x="3376" y="18"/>
                  <a:pt x="3364" y="18"/>
                </a:cubicBezTo>
                <a:cubicBezTo>
                  <a:pt x="3338" y="18"/>
                  <a:pt x="3314" y="0"/>
                  <a:pt x="3248" y="0"/>
                </a:cubicBezTo>
                <a:cubicBezTo>
                  <a:pt x="3118" y="0"/>
                  <a:pt x="3030" y="102"/>
                  <a:pt x="3030" y="242"/>
                </a:cubicBezTo>
                <a:cubicBezTo>
                  <a:pt x="3030" y="376"/>
                  <a:pt x="3110" y="460"/>
                  <a:pt x="3238" y="460"/>
                </a:cubicBezTo>
                <a:cubicBezTo>
                  <a:pt x="3320" y="460"/>
                  <a:pt x="3384" y="420"/>
                  <a:pt x="3408" y="380"/>
                </a:cubicBezTo>
                <a:cubicBezTo>
                  <a:pt x="3396" y="366"/>
                  <a:pt x="3396" y="366"/>
                  <a:pt x="3396" y="366"/>
                </a:cubicBezTo>
                <a:cubicBezTo>
                  <a:pt x="3370" y="402"/>
                  <a:pt x="3314" y="426"/>
                  <a:pt x="3256" y="426"/>
                </a:cubicBezTo>
                <a:cubicBezTo>
                  <a:pt x="3156" y="426"/>
                  <a:pt x="3094" y="340"/>
                  <a:pt x="3094" y="212"/>
                </a:cubicBezTo>
                <a:moveTo>
                  <a:pt x="3678" y="328"/>
                </a:moveTo>
                <a:cubicBezTo>
                  <a:pt x="3678" y="392"/>
                  <a:pt x="3650" y="430"/>
                  <a:pt x="3592" y="430"/>
                </a:cubicBezTo>
                <a:cubicBezTo>
                  <a:pt x="3542" y="430"/>
                  <a:pt x="3496" y="384"/>
                  <a:pt x="3496" y="292"/>
                </a:cubicBezTo>
                <a:cubicBezTo>
                  <a:pt x="3496" y="226"/>
                  <a:pt x="3528" y="190"/>
                  <a:pt x="3580" y="190"/>
                </a:cubicBezTo>
                <a:cubicBezTo>
                  <a:pt x="3628" y="192"/>
                  <a:pt x="3678" y="238"/>
                  <a:pt x="3678" y="328"/>
                </a:cubicBezTo>
                <a:moveTo>
                  <a:pt x="3732" y="312"/>
                </a:moveTo>
                <a:cubicBezTo>
                  <a:pt x="3732" y="260"/>
                  <a:pt x="3710" y="214"/>
                  <a:pt x="3672" y="190"/>
                </a:cubicBezTo>
                <a:cubicBezTo>
                  <a:pt x="3650" y="176"/>
                  <a:pt x="3620" y="168"/>
                  <a:pt x="3588" y="168"/>
                </a:cubicBezTo>
                <a:cubicBezTo>
                  <a:pt x="3502" y="168"/>
                  <a:pt x="3442" y="230"/>
                  <a:pt x="3442" y="310"/>
                </a:cubicBezTo>
                <a:cubicBezTo>
                  <a:pt x="3442" y="364"/>
                  <a:pt x="3464" y="408"/>
                  <a:pt x="3502" y="432"/>
                </a:cubicBezTo>
                <a:cubicBezTo>
                  <a:pt x="3524" y="446"/>
                  <a:pt x="3554" y="452"/>
                  <a:pt x="3586" y="452"/>
                </a:cubicBezTo>
                <a:cubicBezTo>
                  <a:pt x="3672" y="454"/>
                  <a:pt x="3732" y="394"/>
                  <a:pt x="3732" y="312"/>
                </a:cubicBezTo>
                <a:moveTo>
                  <a:pt x="4136" y="448"/>
                </a:moveTo>
                <a:cubicBezTo>
                  <a:pt x="4280" y="448"/>
                  <a:pt x="4280" y="448"/>
                  <a:pt x="4280" y="448"/>
                </a:cubicBezTo>
                <a:cubicBezTo>
                  <a:pt x="4280" y="436"/>
                  <a:pt x="4280" y="436"/>
                  <a:pt x="4280" y="436"/>
                </a:cubicBezTo>
                <a:cubicBezTo>
                  <a:pt x="4230" y="434"/>
                  <a:pt x="4232" y="426"/>
                  <a:pt x="4232" y="348"/>
                </a:cubicBezTo>
                <a:cubicBezTo>
                  <a:pt x="4232" y="276"/>
                  <a:pt x="4232" y="276"/>
                  <a:pt x="4232" y="276"/>
                </a:cubicBezTo>
                <a:cubicBezTo>
                  <a:pt x="4232" y="200"/>
                  <a:pt x="4190" y="172"/>
                  <a:pt x="4142" y="172"/>
                </a:cubicBezTo>
                <a:cubicBezTo>
                  <a:pt x="4098" y="172"/>
                  <a:pt x="4064" y="196"/>
                  <a:pt x="4038" y="232"/>
                </a:cubicBezTo>
                <a:cubicBezTo>
                  <a:pt x="4028" y="194"/>
                  <a:pt x="4000" y="172"/>
                  <a:pt x="3954" y="172"/>
                </a:cubicBezTo>
                <a:cubicBezTo>
                  <a:pt x="3916" y="172"/>
                  <a:pt x="3880" y="196"/>
                  <a:pt x="3858" y="224"/>
                </a:cubicBezTo>
                <a:cubicBezTo>
                  <a:pt x="3858" y="176"/>
                  <a:pt x="3858" y="176"/>
                  <a:pt x="3858" y="176"/>
                </a:cubicBezTo>
                <a:cubicBezTo>
                  <a:pt x="3756" y="176"/>
                  <a:pt x="3756" y="176"/>
                  <a:pt x="3756" y="176"/>
                </a:cubicBezTo>
                <a:cubicBezTo>
                  <a:pt x="3756" y="188"/>
                  <a:pt x="3756" y="188"/>
                  <a:pt x="3756" y="188"/>
                </a:cubicBezTo>
                <a:cubicBezTo>
                  <a:pt x="3800" y="190"/>
                  <a:pt x="3806" y="192"/>
                  <a:pt x="3806" y="268"/>
                </a:cubicBezTo>
                <a:cubicBezTo>
                  <a:pt x="3806" y="346"/>
                  <a:pt x="3806" y="346"/>
                  <a:pt x="3806" y="346"/>
                </a:cubicBezTo>
                <a:cubicBezTo>
                  <a:pt x="3806" y="434"/>
                  <a:pt x="3804" y="434"/>
                  <a:pt x="3758" y="434"/>
                </a:cubicBezTo>
                <a:cubicBezTo>
                  <a:pt x="3758" y="446"/>
                  <a:pt x="3758" y="446"/>
                  <a:pt x="3758" y="446"/>
                </a:cubicBezTo>
                <a:cubicBezTo>
                  <a:pt x="3902" y="446"/>
                  <a:pt x="3902" y="446"/>
                  <a:pt x="3902" y="446"/>
                </a:cubicBezTo>
                <a:cubicBezTo>
                  <a:pt x="3902" y="434"/>
                  <a:pt x="3902" y="434"/>
                  <a:pt x="3902" y="434"/>
                </a:cubicBezTo>
                <a:cubicBezTo>
                  <a:pt x="3862" y="430"/>
                  <a:pt x="3858" y="430"/>
                  <a:pt x="3858" y="342"/>
                </a:cubicBezTo>
                <a:cubicBezTo>
                  <a:pt x="3858" y="262"/>
                  <a:pt x="3858" y="262"/>
                  <a:pt x="3858" y="262"/>
                </a:cubicBezTo>
                <a:cubicBezTo>
                  <a:pt x="3858" y="234"/>
                  <a:pt x="3894" y="204"/>
                  <a:pt x="3932" y="204"/>
                </a:cubicBezTo>
                <a:cubicBezTo>
                  <a:pt x="3974" y="204"/>
                  <a:pt x="3990" y="226"/>
                  <a:pt x="3990" y="282"/>
                </a:cubicBezTo>
                <a:cubicBezTo>
                  <a:pt x="3990" y="338"/>
                  <a:pt x="3990" y="338"/>
                  <a:pt x="3990" y="338"/>
                </a:cubicBezTo>
                <a:cubicBezTo>
                  <a:pt x="3990" y="428"/>
                  <a:pt x="3988" y="432"/>
                  <a:pt x="3950" y="436"/>
                </a:cubicBezTo>
                <a:cubicBezTo>
                  <a:pt x="3950" y="448"/>
                  <a:pt x="3950" y="448"/>
                  <a:pt x="3950" y="448"/>
                </a:cubicBezTo>
                <a:cubicBezTo>
                  <a:pt x="4086" y="448"/>
                  <a:pt x="4086" y="448"/>
                  <a:pt x="4086" y="448"/>
                </a:cubicBezTo>
                <a:cubicBezTo>
                  <a:pt x="4086" y="436"/>
                  <a:pt x="4086" y="436"/>
                  <a:pt x="4086" y="436"/>
                </a:cubicBezTo>
                <a:cubicBezTo>
                  <a:pt x="4040" y="432"/>
                  <a:pt x="4042" y="428"/>
                  <a:pt x="4042" y="342"/>
                </a:cubicBezTo>
                <a:cubicBezTo>
                  <a:pt x="4042" y="264"/>
                  <a:pt x="4042" y="264"/>
                  <a:pt x="4042" y="264"/>
                </a:cubicBezTo>
                <a:cubicBezTo>
                  <a:pt x="4042" y="236"/>
                  <a:pt x="4078" y="206"/>
                  <a:pt x="4118" y="206"/>
                </a:cubicBezTo>
                <a:cubicBezTo>
                  <a:pt x="4152" y="206"/>
                  <a:pt x="4174" y="226"/>
                  <a:pt x="4174" y="284"/>
                </a:cubicBezTo>
                <a:cubicBezTo>
                  <a:pt x="4174" y="346"/>
                  <a:pt x="4174" y="346"/>
                  <a:pt x="4174" y="346"/>
                </a:cubicBezTo>
                <a:cubicBezTo>
                  <a:pt x="4174" y="428"/>
                  <a:pt x="4174" y="432"/>
                  <a:pt x="4134" y="436"/>
                </a:cubicBezTo>
                <a:cubicBezTo>
                  <a:pt x="4134" y="448"/>
                  <a:pt x="4134" y="448"/>
                  <a:pt x="4134" y="448"/>
                </a:cubicBezTo>
                <a:lnTo>
                  <a:pt x="4136" y="448"/>
                </a:lnTo>
                <a:close/>
                <a:moveTo>
                  <a:pt x="4546" y="316"/>
                </a:moveTo>
                <a:cubicBezTo>
                  <a:pt x="4546" y="388"/>
                  <a:pt x="4516" y="432"/>
                  <a:pt x="4460" y="432"/>
                </a:cubicBezTo>
                <a:cubicBezTo>
                  <a:pt x="4424" y="432"/>
                  <a:pt x="4384" y="412"/>
                  <a:pt x="4384" y="384"/>
                </a:cubicBezTo>
                <a:cubicBezTo>
                  <a:pt x="4384" y="248"/>
                  <a:pt x="4384" y="248"/>
                  <a:pt x="4384" y="248"/>
                </a:cubicBezTo>
                <a:cubicBezTo>
                  <a:pt x="4384" y="226"/>
                  <a:pt x="4416" y="202"/>
                  <a:pt x="4454" y="202"/>
                </a:cubicBezTo>
                <a:cubicBezTo>
                  <a:pt x="4510" y="206"/>
                  <a:pt x="4546" y="248"/>
                  <a:pt x="4546" y="316"/>
                </a:cubicBezTo>
                <a:moveTo>
                  <a:pt x="4600" y="310"/>
                </a:moveTo>
                <a:cubicBezTo>
                  <a:pt x="4600" y="230"/>
                  <a:pt x="4548" y="170"/>
                  <a:pt x="4478" y="170"/>
                </a:cubicBezTo>
                <a:cubicBezTo>
                  <a:pt x="4438" y="170"/>
                  <a:pt x="4406" y="188"/>
                  <a:pt x="4384" y="214"/>
                </a:cubicBezTo>
                <a:cubicBezTo>
                  <a:pt x="4384" y="174"/>
                  <a:pt x="4384" y="174"/>
                  <a:pt x="4384" y="174"/>
                </a:cubicBezTo>
                <a:cubicBezTo>
                  <a:pt x="4284" y="174"/>
                  <a:pt x="4284" y="174"/>
                  <a:pt x="4284" y="174"/>
                </a:cubicBezTo>
                <a:cubicBezTo>
                  <a:pt x="4284" y="186"/>
                  <a:pt x="4284" y="186"/>
                  <a:pt x="4284" y="186"/>
                </a:cubicBezTo>
                <a:cubicBezTo>
                  <a:pt x="4326" y="188"/>
                  <a:pt x="4332" y="190"/>
                  <a:pt x="4332" y="280"/>
                </a:cubicBezTo>
                <a:cubicBezTo>
                  <a:pt x="4332" y="466"/>
                  <a:pt x="4332" y="466"/>
                  <a:pt x="4332" y="466"/>
                </a:cubicBezTo>
                <a:cubicBezTo>
                  <a:pt x="4332" y="564"/>
                  <a:pt x="4334" y="570"/>
                  <a:pt x="4286" y="574"/>
                </a:cubicBezTo>
                <a:cubicBezTo>
                  <a:pt x="4286" y="588"/>
                  <a:pt x="4286" y="588"/>
                  <a:pt x="4286" y="588"/>
                </a:cubicBezTo>
                <a:cubicBezTo>
                  <a:pt x="4432" y="588"/>
                  <a:pt x="4432" y="588"/>
                  <a:pt x="4432" y="588"/>
                </a:cubicBezTo>
                <a:cubicBezTo>
                  <a:pt x="4432" y="574"/>
                  <a:pt x="4432" y="574"/>
                  <a:pt x="4432" y="574"/>
                </a:cubicBezTo>
                <a:cubicBezTo>
                  <a:pt x="4380" y="572"/>
                  <a:pt x="4384" y="564"/>
                  <a:pt x="4384" y="462"/>
                </a:cubicBezTo>
                <a:cubicBezTo>
                  <a:pt x="4384" y="424"/>
                  <a:pt x="4384" y="424"/>
                  <a:pt x="4384" y="424"/>
                </a:cubicBezTo>
                <a:cubicBezTo>
                  <a:pt x="4404" y="444"/>
                  <a:pt x="4436" y="454"/>
                  <a:pt x="4466" y="454"/>
                </a:cubicBezTo>
                <a:cubicBezTo>
                  <a:pt x="4548" y="454"/>
                  <a:pt x="4600" y="392"/>
                  <a:pt x="4600" y="310"/>
                </a:cubicBezTo>
                <a:moveTo>
                  <a:pt x="4792" y="382"/>
                </a:moveTo>
                <a:cubicBezTo>
                  <a:pt x="4792" y="404"/>
                  <a:pt x="4762" y="424"/>
                  <a:pt x="4736" y="424"/>
                </a:cubicBezTo>
                <a:cubicBezTo>
                  <a:pt x="4712" y="424"/>
                  <a:pt x="4694" y="410"/>
                  <a:pt x="4694" y="378"/>
                </a:cubicBezTo>
                <a:cubicBezTo>
                  <a:pt x="4694" y="322"/>
                  <a:pt x="4752" y="328"/>
                  <a:pt x="4792" y="306"/>
                </a:cubicBezTo>
                <a:cubicBezTo>
                  <a:pt x="4792" y="382"/>
                  <a:pt x="4792" y="382"/>
                  <a:pt x="4792" y="382"/>
                </a:cubicBezTo>
                <a:close/>
                <a:moveTo>
                  <a:pt x="5240" y="434"/>
                </a:moveTo>
                <a:cubicBezTo>
                  <a:pt x="5192" y="432"/>
                  <a:pt x="5192" y="430"/>
                  <a:pt x="5192" y="340"/>
                </a:cubicBezTo>
                <a:cubicBezTo>
                  <a:pt x="5192" y="278"/>
                  <a:pt x="5192" y="278"/>
                  <a:pt x="5192" y="278"/>
                </a:cubicBezTo>
                <a:cubicBezTo>
                  <a:pt x="5192" y="196"/>
                  <a:pt x="5146" y="170"/>
                  <a:pt x="5104" y="170"/>
                </a:cubicBezTo>
                <a:cubicBezTo>
                  <a:pt x="5068" y="170"/>
                  <a:pt x="5032" y="186"/>
                  <a:pt x="5004" y="222"/>
                </a:cubicBezTo>
                <a:cubicBezTo>
                  <a:pt x="5004" y="174"/>
                  <a:pt x="5004" y="174"/>
                  <a:pt x="5004" y="174"/>
                </a:cubicBezTo>
                <a:cubicBezTo>
                  <a:pt x="4902" y="174"/>
                  <a:pt x="4902" y="174"/>
                  <a:pt x="4902" y="174"/>
                </a:cubicBezTo>
                <a:cubicBezTo>
                  <a:pt x="4902" y="186"/>
                  <a:pt x="4902" y="186"/>
                  <a:pt x="4902" y="186"/>
                </a:cubicBezTo>
                <a:cubicBezTo>
                  <a:pt x="4946" y="188"/>
                  <a:pt x="4952" y="190"/>
                  <a:pt x="4952" y="266"/>
                </a:cubicBezTo>
                <a:cubicBezTo>
                  <a:pt x="4952" y="334"/>
                  <a:pt x="4952" y="334"/>
                  <a:pt x="4952" y="334"/>
                </a:cubicBezTo>
                <a:cubicBezTo>
                  <a:pt x="4952" y="430"/>
                  <a:pt x="4952" y="432"/>
                  <a:pt x="4904" y="434"/>
                </a:cubicBezTo>
                <a:cubicBezTo>
                  <a:pt x="4892" y="434"/>
                  <a:pt x="4892" y="434"/>
                  <a:pt x="4892" y="434"/>
                </a:cubicBezTo>
                <a:cubicBezTo>
                  <a:pt x="4854" y="434"/>
                  <a:pt x="4850" y="422"/>
                  <a:pt x="4850" y="366"/>
                </a:cubicBezTo>
                <a:cubicBezTo>
                  <a:pt x="4850" y="274"/>
                  <a:pt x="4850" y="274"/>
                  <a:pt x="4850" y="274"/>
                </a:cubicBezTo>
                <a:cubicBezTo>
                  <a:pt x="4850" y="256"/>
                  <a:pt x="4848" y="240"/>
                  <a:pt x="4844" y="228"/>
                </a:cubicBezTo>
                <a:cubicBezTo>
                  <a:pt x="4830" y="186"/>
                  <a:pt x="4796" y="170"/>
                  <a:pt x="4748" y="170"/>
                </a:cubicBezTo>
                <a:cubicBezTo>
                  <a:pt x="4718" y="170"/>
                  <a:pt x="4674" y="180"/>
                  <a:pt x="4650" y="202"/>
                </a:cubicBezTo>
                <a:cubicBezTo>
                  <a:pt x="4652" y="214"/>
                  <a:pt x="4664" y="240"/>
                  <a:pt x="4670" y="248"/>
                </a:cubicBezTo>
                <a:cubicBezTo>
                  <a:pt x="4676" y="246"/>
                  <a:pt x="4676" y="246"/>
                  <a:pt x="4676" y="246"/>
                </a:cubicBezTo>
                <a:cubicBezTo>
                  <a:pt x="4688" y="216"/>
                  <a:pt x="4708" y="194"/>
                  <a:pt x="4742" y="194"/>
                </a:cubicBezTo>
                <a:cubicBezTo>
                  <a:pt x="4778" y="194"/>
                  <a:pt x="4794" y="220"/>
                  <a:pt x="4794" y="250"/>
                </a:cubicBezTo>
                <a:cubicBezTo>
                  <a:pt x="4794" y="282"/>
                  <a:pt x="4794" y="282"/>
                  <a:pt x="4794" y="282"/>
                </a:cubicBezTo>
                <a:cubicBezTo>
                  <a:pt x="4794" y="302"/>
                  <a:pt x="4702" y="306"/>
                  <a:pt x="4664" y="338"/>
                </a:cubicBezTo>
                <a:cubicBezTo>
                  <a:pt x="4652" y="350"/>
                  <a:pt x="4642" y="364"/>
                  <a:pt x="4642" y="384"/>
                </a:cubicBezTo>
                <a:cubicBezTo>
                  <a:pt x="4642" y="426"/>
                  <a:pt x="4672" y="456"/>
                  <a:pt x="4716" y="456"/>
                </a:cubicBezTo>
                <a:cubicBezTo>
                  <a:pt x="4744" y="456"/>
                  <a:pt x="4768" y="446"/>
                  <a:pt x="4794" y="418"/>
                </a:cubicBezTo>
                <a:cubicBezTo>
                  <a:pt x="4798" y="438"/>
                  <a:pt x="4814" y="448"/>
                  <a:pt x="4842" y="448"/>
                </a:cubicBezTo>
                <a:cubicBezTo>
                  <a:pt x="4906" y="448"/>
                  <a:pt x="4906" y="448"/>
                  <a:pt x="4906" y="448"/>
                </a:cubicBezTo>
                <a:cubicBezTo>
                  <a:pt x="4906" y="448"/>
                  <a:pt x="4906" y="448"/>
                  <a:pt x="4906" y="448"/>
                </a:cubicBezTo>
                <a:cubicBezTo>
                  <a:pt x="5048" y="448"/>
                  <a:pt x="5048" y="448"/>
                  <a:pt x="5048" y="448"/>
                </a:cubicBezTo>
                <a:cubicBezTo>
                  <a:pt x="5048" y="436"/>
                  <a:pt x="5048" y="436"/>
                  <a:pt x="5048" y="436"/>
                </a:cubicBezTo>
                <a:cubicBezTo>
                  <a:pt x="5006" y="432"/>
                  <a:pt x="5004" y="434"/>
                  <a:pt x="5004" y="338"/>
                </a:cubicBezTo>
                <a:cubicBezTo>
                  <a:pt x="5004" y="262"/>
                  <a:pt x="5004" y="262"/>
                  <a:pt x="5004" y="262"/>
                </a:cubicBezTo>
                <a:cubicBezTo>
                  <a:pt x="5004" y="236"/>
                  <a:pt x="5038" y="206"/>
                  <a:pt x="5080" y="206"/>
                </a:cubicBezTo>
                <a:cubicBezTo>
                  <a:pt x="5114" y="206"/>
                  <a:pt x="5140" y="220"/>
                  <a:pt x="5140" y="286"/>
                </a:cubicBezTo>
                <a:cubicBezTo>
                  <a:pt x="5140" y="340"/>
                  <a:pt x="5140" y="340"/>
                  <a:pt x="5140" y="340"/>
                </a:cubicBezTo>
                <a:cubicBezTo>
                  <a:pt x="5140" y="432"/>
                  <a:pt x="5136" y="432"/>
                  <a:pt x="5098" y="434"/>
                </a:cubicBezTo>
                <a:cubicBezTo>
                  <a:pt x="5098" y="446"/>
                  <a:pt x="5098" y="446"/>
                  <a:pt x="5098" y="446"/>
                </a:cubicBezTo>
                <a:cubicBezTo>
                  <a:pt x="5240" y="446"/>
                  <a:pt x="5240" y="446"/>
                  <a:pt x="5240" y="446"/>
                </a:cubicBezTo>
                <a:lnTo>
                  <a:pt x="5240" y="434"/>
                </a:lnTo>
                <a:close/>
                <a:moveTo>
                  <a:pt x="5516" y="192"/>
                </a:moveTo>
                <a:cubicBezTo>
                  <a:pt x="5516" y="180"/>
                  <a:pt x="5516" y="180"/>
                  <a:pt x="5516" y="180"/>
                </a:cubicBezTo>
                <a:cubicBezTo>
                  <a:pt x="5418" y="180"/>
                  <a:pt x="5418" y="180"/>
                  <a:pt x="5418" y="180"/>
                </a:cubicBezTo>
                <a:cubicBezTo>
                  <a:pt x="5418" y="192"/>
                  <a:pt x="5418" y="192"/>
                  <a:pt x="5418" y="192"/>
                </a:cubicBezTo>
                <a:cubicBezTo>
                  <a:pt x="5442" y="194"/>
                  <a:pt x="5454" y="206"/>
                  <a:pt x="5446" y="234"/>
                </a:cubicBezTo>
                <a:cubicBezTo>
                  <a:pt x="5394" y="390"/>
                  <a:pt x="5394" y="390"/>
                  <a:pt x="5394" y="390"/>
                </a:cubicBezTo>
                <a:cubicBezTo>
                  <a:pt x="5342" y="270"/>
                  <a:pt x="5342" y="270"/>
                  <a:pt x="5342" y="270"/>
                </a:cubicBezTo>
                <a:cubicBezTo>
                  <a:pt x="5328" y="238"/>
                  <a:pt x="5322" y="224"/>
                  <a:pt x="5322" y="212"/>
                </a:cubicBezTo>
                <a:cubicBezTo>
                  <a:pt x="5322" y="202"/>
                  <a:pt x="5328" y="196"/>
                  <a:pt x="5348" y="192"/>
                </a:cubicBezTo>
                <a:cubicBezTo>
                  <a:pt x="5348" y="180"/>
                  <a:pt x="5348" y="180"/>
                  <a:pt x="5348" y="180"/>
                </a:cubicBezTo>
                <a:cubicBezTo>
                  <a:pt x="5220" y="180"/>
                  <a:pt x="5220" y="180"/>
                  <a:pt x="5220" y="180"/>
                </a:cubicBezTo>
                <a:cubicBezTo>
                  <a:pt x="5220" y="192"/>
                  <a:pt x="5220" y="192"/>
                  <a:pt x="5220" y="192"/>
                </a:cubicBezTo>
                <a:cubicBezTo>
                  <a:pt x="5252" y="194"/>
                  <a:pt x="5254" y="198"/>
                  <a:pt x="5296" y="292"/>
                </a:cubicBezTo>
                <a:cubicBezTo>
                  <a:pt x="5368" y="450"/>
                  <a:pt x="5368" y="450"/>
                  <a:pt x="5368" y="450"/>
                </a:cubicBezTo>
                <a:cubicBezTo>
                  <a:pt x="5344" y="512"/>
                  <a:pt x="5306" y="546"/>
                  <a:pt x="5228" y="564"/>
                </a:cubicBezTo>
                <a:cubicBezTo>
                  <a:pt x="5232" y="576"/>
                  <a:pt x="5246" y="600"/>
                  <a:pt x="5254" y="606"/>
                </a:cubicBezTo>
                <a:cubicBezTo>
                  <a:pt x="5356" y="564"/>
                  <a:pt x="5376" y="498"/>
                  <a:pt x="5412" y="396"/>
                </a:cubicBezTo>
                <a:cubicBezTo>
                  <a:pt x="5466" y="242"/>
                  <a:pt x="5466" y="242"/>
                  <a:pt x="5466" y="242"/>
                </a:cubicBezTo>
                <a:cubicBezTo>
                  <a:pt x="5478" y="206"/>
                  <a:pt x="5498" y="192"/>
                  <a:pt x="5516" y="192"/>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600" kern="1200">
                <a:solidFill>
                  <a:schemeClr val="tx1"/>
                </a:solidFill>
                <a:latin typeface="Arial" charset="0"/>
                <a:ea typeface="+mn-ea"/>
                <a:cs typeface="+mn-cs"/>
              </a:defRPr>
            </a:lvl1pPr>
            <a:lvl2pPr marL="457200" algn="l" rtl="0" fontAlgn="base">
              <a:spcBef>
                <a:spcPct val="0"/>
              </a:spcBef>
              <a:spcAft>
                <a:spcPct val="0"/>
              </a:spcAft>
              <a:defRPr sz="1600" kern="1200">
                <a:solidFill>
                  <a:schemeClr val="tx1"/>
                </a:solidFill>
                <a:latin typeface="Arial" charset="0"/>
                <a:ea typeface="+mn-ea"/>
                <a:cs typeface="+mn-cs"/>
              </a:defRPr>
            </a:lvl2pPr>
            <a:lvl3pPr marL="914400" algn="l" rtl="0" fontAlgn="base">
              <a:spcBef>
                <a:spcPct val="0"/>
              </a:spcBef>
              <a:spcAft>
                <a:spcPct val="0"/>
              </a:spcAft>
              <a:defRPr sz="1600" kern="1200">
                <a:solidFill>
                  <a:schemeClr val="tx1"/>
                </a:solidFill>
                <a:latin typeface="Arial" charset="0"/>
                <a:ea typeface="+mn-ea"/>
                <a:cs typeface="+mn-cs"/>
              </a:defRPr>
            </a:lvl3pPr>
            <a:lvl4pPr marL="1371600" algn="l" rtl="0" fontAlgn="base">
              <a:spcBef>
                <a:spcPct val="0"/>
              </a:spcBef>
              <a:spcAft>
                <a:spcPct val="0"/>
              </a:spcAft>
              <a:defRPr sz="1600" kern="1200">
                <a:solidFill>
                  <a:schemeClr val="tx1"/>
                </a:solidFill>
                <a:latin typeface="Arial" charset="0"/>
                <a:ea typeface="+mn-ea"/>
                <a:cs typeface="+mn-cs"/>
              </a:defRPr>
            </a:lvl4pPr>
            <a:lvl5pPr marL="1828800" algn="l" rtl="0" fontAlgn="base">
              <a:spcBef>
                <a:spcPct val="0"/>
              </a:spcBef>
              <a:spcAft>
                <a:spcPct val="0"/>
              </a:spcAft>
              <a:defRPr sz="1600" kern="1200">
                <a:solidFill>
                  <a:schemeClr val="tx1"/>
                </a:solidFill>
                <a:latin typeface="Arial" charset="0"/>
                <a:ea typeface="+mn-ea"/>
                <a:cs typeface="+mn-cs"/>
              </a:defRPr>
            </a:lvl5pPr>
            <a:lvl6pPr marL="2286000" algn="l" defTabSz="914400" rtl="0" eaLnBrk="1" latinLnBrk="0" hangingPunct="1">
              <a:defRPr sz="1600" kern="1200">
                <a:solidFill>
                  <a:schemeClr val="tx1"/>
                </a:solidFill>
                <a:latin typeface="Arial" charset="0"/>
                <a:ea typeface="+mn-ea"/>
                <a:cs typeface="+mn-cs"/>
              </a:defRPr>
            </a:lvl6pPr>
            <a:lvl7pPr marL="2743200" algn="l" defTabSz="914400" rtl="0" eaLnBrk="1" latinLnBrk="0" hangingPunct="1">
              <a:defRPr sz="1600" kern="1200">
                <a:solidFill>
                  <a:schemeClr val="tx1"/>
                </a:solidFill>
                <a:latin typeface="Arial" charset="0"/>
                <a:ea typeface="+mn-ea"/>
                <a:cs typeface="+mn-cs"/>
              </a:defRPr>
            </a:lvl7pPr>
            <a:lvl8pPr marL="3200400" algn="l" defTabSz="914400" rtl="0" eaLnBrk="1" latinLnBrk="0" hangingPunct="1">
              <a:defRPr sz="1600" kern="1200">
                <a:solidFill>
                  <a:schemeClr val="tx1"/>
                </a:solidFill>
                <a:latin typeface="Arial" charset="0"/>
                <a:ea typeface="+mn-ea"/>
                <a:cs typeface="+mn-cs"/>
              </a:defRPr>
            </a:lvl8pPr>
            <a:lvl9pPr marL="3657600" algn="l" defTabSz="914400" rtl="0" eaLnBrk="1" latinLnBrk="0" hangingPunct="1">
              <a:defRPr sz="1600" kern="1200">
                <a:solidFill>
                  <a:schemeClr val="tx1"/>
                </a:solidFill>
                <a:latin typeface="Arial" charset="0"/>
                <a:ea typeface="+mn-ea"/>
                <a:cs typeface="+mn-cs"/>
              </a:defRPr>
            </a:lvl9pPr>
          </a:lstStyle>
          <a:p>
            <a:endParaRPr lang="en-US" baseline="0" dirty="0">
              <a:solidFill>
                <a:srgbClr val="000000"/>
              </a:solidFill>
              <a:latin typeface="+mn-lt"/>
            </a:endParaRPr>
          </a:p>
        </p:txBody>
      </p:sp>
      <p:sp>
        <p:nvSpPr>
          <p:cNvPr id="27" name="Disclaimer-English (United States)" hidden="1"/>
          <p:cNvSpPr>
            <a:spLocks noChangeArrowheads="1"/>
          </p:cNvSpPr>
          <p:nvPr/>
        </p:nvSpPr>
        <p:spPr bwMode="black">
          <a:xfrm>
            <a:off x="2268266" y="6287785"/>
            <a:ext cx="3544453" cy="36908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t" anchorCtr="0">
            <a:noAutofit/>
          </a:bodyPr>
          <a:lstStyle/>
          <a:p>
            <a:pPr defTabSz="804863" eaLnBrk="0" hangingPunct="0"/>
            <a:r>
              <a:rPr lang="en-US" sz="800" baseline="0" dirty="0">
                <a:solidFill>
                  <a:srgbClr val="FFFFFF"/>
                </a:solidFill>
                <a:latin typeface="+mn-lt"/>
              </a:rPr>
              <a:t>CONFIDENTIAL AND PROPRIETARY</a:t>
            </a:r>
          </a:p>
          <a:p>
            <a:pPr defTabSz="804863" eaLnBrk="0" hangingPunct="0"/>
            <a:r>
              <a:rPr lang="en-US" sz="800" baseline="0" dirty="0">
                <a:solidFill>
                  <a:srgbClr val="FFFFFF"/>
                </a:solidFill>
                <a:latin typeface="+mn-lt"/>
              </a:rPr>
              <a:t>Any use of this material without specific permission of McKinsey &amp; Company is strictly prohibited</a:t>
            </a:r>
          </a:p>
        </p:txBody>
      </p:sp>
    </p:spTree>
    <p:extLst>
      <p:ext uri="{BB962C8B-B14F-4D97-AF65-F5344CB8AC3E}">
        <p14:creationId xmlns:p14="http://schemas.microsoft.com/office/powerpoint/2010/main" val="3562620720"/>
      </p:ext>
    </p:extLst>
  </p:cSld>
  <p:clrMapOvr>
    <a:masterClrMapping/>
  </p:clrMapOvr>
  <p:extLst mod="1">
    <p:ext uri="{DCECCB84-F9BA-43D5-87BE-67443E8EF086}">
      <p15:sldGuideLst xmlns:p15="http://schemas.microsoft.com/office/powerpoint/2012/main">
        <p15:guide id="1" orient="horz" pos="2117">
          <p15:clr>
            <a:srgbClr val="FBAE40"/>
          </p15:clr>
        </p15:guide>
        <p15:guide id="2" pos="1416">
          <p15:clr>
            <a:srgbClr val="FBAE40"/>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6E228F5-5CF1-42E1-9748-97D7582A107A}"/>
              </a:ext>
            </a:extLst>
          </p:cNvPr>
          <p:cNvGraphicFramePr>
            <a:graphicFrameLocks noChangeAspect="1"/>
          </p:cNvGraphicFramePr>
          <p:nvPr>
            <p:custDataLst>
              <p:tags r:id="rId2"/>
            </p:custDataLst>
            <p:extLst>
              <p:ext uri="{D42A27DB-BD31-4B8C-83A1-F6EECF244321}">
                <p14:modId xmlns:p14="http://schemas.microsoft.com/office/powerpoint/2010/main" val="185329956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1092" name="think-cell Slide" r:id="rId5" imgW="353" imgH="353" progId="TCLayout.ActiveDocument.1">
                  <p:embed/>
                </p:oleObj>
              </mc:Choice>
              <mc:Fallback>
                <p:oleObj name="think-cell Slide" r:id="rId5" imgW="353" imgH="353" progId="TCLayout.ActiveDocument.1">
                  <p:embed/>
                  <p:pic>
                    <p:nvPicPr>
                      <p:cNvPr id="3" name="Object 2" hidden="1">
                        <a:extLst>
                          <a:ext uri="{FF2B5EF4-FFF2-40B4-BE49-F238E27FC236}">
                            <a16:creationId xmlns:a16="http://schemas.microsoft.com/office/drawing/2014/main" id="{C6E228F5-5CF1-42E1-9748-97D7582A107A}"/>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2. Slide Title"/>
          <p:cNvSpPr>
            <a:spLocks noGrp="1"/>
          </p:cNvSpPr>
          <p:nvPr>
            <p:ph type="title"/>
          </p:nvPr>
        </p:nvSpPr>
        <p:spPr bwMode="auto"/>
        <p:txBody>
          <a:bodyPr/>
          <a:lstStyle/>
          <a:p>
            <a:r>
              <a:rPr lang="en-US"/>
              <a:t>Click to edit Master title style</a:t>
            </a:r>
            <a:endParaRPr lang="en-US" dirty="0"/>
          </a:p>
        </p:txBody>
      </p:sp>
      <p:sp>
        <p:nvSpPr>
          <p:cNvPr id="8" name="Slide Number"/>
          <p:cNvSpPr txBox="1">
            <a:spLocks/>
          </p:cNvSpPr>
          <p:nvPr/>
        </p:nvSpPr>
        <p:spPr bwMode="auto">
          <a:xfrm>
            <a:off x="8564563" y="6508272"/>
            <a:ext cx="125034" cy="123111"/>
          </a:xfrm>
          <a:prstGeom prst="rect">
            <a:avLst/>
          </a:prstGeom>
        </p:spPr>
        <p:txBody>
          <a:bodyPr vert="horz" wrap="none" lIns="0" tIns="0" rIns="0" bIns="0" rtlCol="0" anchor="ctr">
            <a:spAutoFit/>
          </a:bodyPr>
          <a:lstStyle>
            <a:defPPr>
              <a:defRPr lang="en-US"/>
            </a:defPPr>
            <a:lvl1pPr>
              <a:defRPr sz="1000" baseline="0">
                <a:latin typeface="+mn-lt"/>
              </a:defRPr>
            </a:lvl1pPr>
          </a:lstStyle>
          <a:p>
            <a:fld id="{42C328C1-A84F-4A39-A664-DBA00541A8C6}" type="slidenum">
              <a:rPr lang="en-US" sz="800" baseline="0" smtClean="0">
                <a:solidFill>
                  <a:srgbClr val="808080"/>
                </a:solidFill>
                <a:latin typeface="+mn-lt"/>
              </a:rPr>
              <a:pPr/>
              <a:t>‹#›</a:t>
            </a:fld>
            <a:endParaRPr lang="en-US" sz="800" baseline="0" dirty="0">
              <a:solidFill>
                <a:srgbClr val="808080"/>
              </a:solidFill>
              <a:latin typeface="+mn-lt"/>
            </a:endParaRPr>
          </a:p>
        </p:txBody>
      </p:sp>
      <p:sp>
        <p:nvSpPr>
          <p:cNvPr id="9" name="SlideLogoText"/>
          <p:cNvSpPr>
            <a:spLocks noChangeArrowheads="1"/>
          </p:cNvSpPr>
          <p:nvPr>
            <p:custDataLst>
              <p:tags r:id="rId3"/>
            </p:custDataLst>
          </p:nvPr>
        </p:nvSpPr>
        <p:spPr bwMode="auto">
          <a:xfrm>
            <a:off x="7450817" y="6508272"/>
            <a:ext cx="1013098"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algn="r" defTabSz="895350"/>
            <a:r>
              <a:rPr lang="en-US" sz="800" baseline="0" dirty="0">
                <a:solidFill>
                  <a:srgbClr val="808080"/>
                </a:solidFill>
                <a:latin typeface="+mn-lt"/>
              </a:rPr>
              <a:t>McKinsey &amp; Company</a:t>
            </a:r>
          </a:p>
        </p:txBody>
      </p:sp>
      <p:sp>
        <p:nvSpPr>
          <p:cNvPr id="5" name="doc id" hidden="1"/>
          <p:cNvSpPr txBox="1">
            <a:spLocks noChangeArrowheads="1"/>
          </p:cNvSpPr>
          <p:nvPr/>
        </p:nvSpPr>
        <p:spPr bwMode="white">
          <a:xfrm>
            <a:off x="8104473" y="36513"/>
            <a:ext cx="634716" cy="115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hangingPunct="1">
              <a:defRPr/>
            </a:pPr>
            <a:endParaRPr lang="en-US" sz="800" baseline="0" dirty="0">
              <a:solidFill>
                <a:schemeClr val="accent1"/>
              </a:solidFill>
              <a:latin typeface="+mn-lt"/>
              <a:ea typeface="+mn-ea"/>
            </a:endParaRPr>
          </a:p>
        </p:txBody>
      </p:sp>
    </p:spTree>
    <p:extLst>
      <p:ext uri="{BB962C8B-B14F-4D97-AF65-F5344CB8AC3E}">
        <p14:creationId xmlns:p14="http://schemas.microsoft.com/office/powerpoint/2010/main" val="886813172"/>
      </p:ext>
    </p:extLst>
  </p:cSld>
  <p:clrMapOvr>
    <a:masterClrMapping/>
  </p:clrMapOvr>
  <p:extLst mod="1">
    <p:ext uri="{DCECCB84-F9BA-43D5-87BE-67443E8EF086}">
      <p15:sldGuideLst xmlns:p15="http://schemas.microsoft.com/office/powerpoint/2012/main">
        <p15:guide id="1" pos="5505">
          <p15:clr>
            <a:srgbClr val="F26B43"/>
          </p15:clr>
        </p15:guide>
        <p15:guide id="2" pos="74">
          <p15:clr>
            <a:srgbClr val="F26B43"/>
          </p15:clr>
        </p15:guide>
        <p15:guide id="3" orient="horz" pos="571">
          <p15:clr>
            <a:srgbClr val="F26B43"/>
          </p15:clr>
        </p15:guide>
        <p15:guide id="4" orient="horz" pos="3911">
          <p15:clr>
            <a:srgbClr val="F26B43"/>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p:cSld name="1_Title Only">
    <p:bg>
      <p:bgPr>
        <a:solidFill>
          <a:schemeClr val="accent2"/>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F4AD34F-3B47-47E2-A09C-FFEB949F6A10}"/>
              </a:ext>
            </a:extLst>
          </p:cNvPr>
          <p:cNvGraphicFramePr>
            <a:graphicFrameLocks noChangeAspect="1"/>
          </p:cNvGraphicFramePr>
          <p:nvPr>
            <p:custDataLst>
              <p:tags r:id="rId2"/>
            </p:custDataLst>
            <p:extLst>
              <p:ext uri="{D42A27DB-BD31-4B8C-83A1-F6EECF244321}">
                <p14:modId xmlns:p14="http://schemas.microsoft.com/office/powerpoint/2010/main" val="85125749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2116" name="think-cell Slide" r:id="rId5" imgW="395" imgH="394" progId="TCLayout.ActiveDocument.1">
                  <p:embed/>
                </p:oleObj>
              </mc:Choice>
              <mc:Fallback>
                <p:oleObj name="think-cell Slide" r:id="rId5" imgW="395" imgH="394" progId="TCLayout.ActiveDocument.1">
                  <p:embed/>
                  <p:pic>
                    <p:nvPicPr>
                      <p:cNvPr id="3" name="Object 2" hidden="1">
                        <a:extLst>
                          <a:ext uri="{FF2B5EF4-FFF2-40B4-BE49-F238E27FC236}">
                            <a16:creationId xmlns:a16="http://schemas.microsoft.com/office/drawing/2014/main" id="{EF4AD34F-3B47-47E2-A09C-FFEB949F6A10}"/>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endParaRPr lang="en-US" dirty="0"/>
          </a:p>
        </p:txBody>
      </p:sp>
      <p:sp>
        <p:nvSpPr>
          <p:cNvPr id="15" name="Slide Number"/>
          <p:cNvSpPr txBox="1">
            <a:spLocks/>
          </p:cNvSpPr>
          <p:nvPr/>
        </p:nvSpPr>
        <p:spPr>
          <a:xfrm>
            <a:off x="8564563" y="6508272"/>
            <a:ext cx="125034" cy="123111"/>
          </a:xfrm>
          <a:prstGeom prst="rect">
            <a:avLst/>
          </a:prstGeom>
        </p:spPr>
        <p:txBody>
          <a:bodyPr vert="horz" wrap="none" lIns="0" tIns="0" rIns="0" bIns="0" rtlCol="0" anchor="ctr">
            <a:spAutoFit/>
          </a:bodyPr>
          <a:lstStyle>
            <a:defPPr>
              <a:defRPr lang="en-US"/>
            </a:defPPr>
            <a:lvl1pPr>
              <a:defRPr sz="1000" baseline="0">
                <a:latin typeface="+mn-lt"/>
              </a:defRPr>
            </a:lvl1pPr>
          </a:lstStyle>
          <a:p>
            <a:fld id="{42C328C1-A84F-4A39-A664-DBA00541A8C6}" type="slidenum">
              <a:rPr lang="en-US" sz="800" baseline="0" smtClean="0">
                <a:solidFill>
                  <a:srgbClr val="FFFFFF"/>
                </a:solidFill>
                <a:latin typeface="+mn-lt"/>
              </a:rPr>
              <a:pPr/>
              <a:t>‹#›</a:t>
            </a:fld>
            <a:endParaRPr lang="en-US" sz="800" baseline="0" dirty="0">
              <a:solidFill>
                <a:srgbClr val="FFFFFF"/>
              </a:solidFill>
              <a:latin typeface="+mn-lt"/>
            </a:endParaRPr>
          </a:p>
        </p:txBody>
      </p:sp>
      <p:sp>
        <p:nvSpPr>
          <p:cNvPr id="16" name="SlideLogoText"/>
          <p:cNvSpPr>
            <a:spLocks noChangeArrowheads="1"/>
          </p:cNvSpPr>
          <p:nvPr>
            <p:custDataLst>
              <p:tags r:id="rId3"/>
            </p:custDataLst>
          </p:nvPr>
        </p:nvSpPr>
        <p:spPr bwMode="auto">
          <a:xfrm>
            <a:off x="7450817" y="6508272"/>
            <a:ext cx="1013098"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algn="r" defTabSz="895350"/>
            <a:r>
              <a:rPr lang="en-US" sz="800" baseline="0" dirty="0">
                <a:solidFill>
                  <a:srgbClr val="FFFFFF"/>
                </a:solidFill>
                <a:latin typeface="+mn-lt"/>
              </a:rPr>
              <a:t>McKinsey &amp; Company</a:t>
            </a:r>
          </a:p>
        </p:txBody>
      </p:sp>
      <p:sp>
        <p:nvSpPr>
          <p:cNvPr id="5" name="doc id" hidden="1"/>
          <p:cNvSpPr txBox="1">
            <a:spLocks noChangeArrowheads="1"/>
          </p:cNvSpPr>
          <p:nvPr/>
        </p:nvSpPr>
        <p:spPr bwMode="white">
          <a:xfrm>
            <a:off x="8104473" y="36513"/>
            <a:ext cx="634716" cy="115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hangingPunct="1">
              <a:defRPr/>
            </a:pPr>
            <a:endParaRPr lang="en-US" sz="800" baseline="0" dirty="0">
              <a:solidFill>
                <a:schemeClr val="accent1"/>
              </a:solidFill>
              <a:latin typeface="+mn-lt"/>
              <a:ea typeface="+mn-ea"/>
            </a:endParaRPr>
          </a:p>
        </p:txBody>
      </p:sp>
    </p:spTree>
    <p:extLst>
      <p:ext uri="{BB962C8B-B14F-4D97-AF65-F5344CB8AC3E}">
        <p14:creationId xmlns:p14="http://schemas.microsoft.com/office/powerpoint/2010/main" val="1922751098"/>
      </p:ext>
    </p:extLst>
  </p:cSld>
  <p:clrMapOvr>
    <a:masterClrMapping/>
  </p:clrMapOvr>
  <p:extLst mod="1">
    <p:ext uri="{DCECCB84-F9BA-43D5-87BE-67443E8EF086}">
      <p15:sldGuideLst xmlns:p15="http://schemas.microsoft.com/office/powerpoint/2012/main">
        <p15:guide id="1" pos="3978">
          <p15:clr>
            <a:srgbClr val="000000"/>
          </p15:clr>
        </p15:guide>
        <p15:guide id="2" orient="horz" pos="570">
          <p15:clr>
            <a:srgbClr val="000000"/>
          </p15:clr>
        </p15:guide>
        <p15:guide id="3" orient="horz" pos="3912">
          <p15:clr>
            <a:srgbClr val="000000"/>
          </p15:clr>
        </p15:guide>
        <p15:guide id="4" pos="72">
          <p15:clr>
            <a:srgbClr val="000000"/>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type="titleOnly">
  <p:cSld name="2_Title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ECD524A-1569-4253-8CD8-48D288AD883C}"/>
              </a:ext>
            </a:extLst>
          </p:cNvPr>
          <p:cNvGraphicFramePr>
            <a:graphicFrameLocks noChangeAspect="1"/>
          </p:cNvGraphicFramePr>
          <p:nvPr>
            <p:custDataLst>
              <p:tags r:id="rId2"/>
            </p:custDataLst>
            <p:extLst>
              <p:ext uri="{D42A27DB-BD31-4B8C-83A1-F6EECF244321}">
                <p14:modId xmlns:p14="http://schemas.microsoft.com/office/powerpoint/2010/main" val="294973223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3140" name="think-cell Slide" r:id="rId4" imgW="395" imgH="394" progId="TCLayout.ActiveDocument.1">
                  <p:embed/>
                </p:oleObj>
              </mc:Choice>
              <mc:Fallback>
                <p:oleObj name="think-cell Slide" r:id="rId4" imgW="395" imgH="394" progId="TCLayout.ActiveDocument.1">
                  <p:embed/>
                  <p:pic>
                    <p:nvPicPr>
                      <p:cNvPr id="3" name="Object 2" hidden="1">
                        <a:extLst>
                          <a:ext uri="{FF2B5EF4-FFF2-40B4-BE49-F238E27FC236}">
                            <a16:creationId xmlns:a16="http://schemas.microsoft.com/office/drawing/2014/main" id="{5ECD524A-1569-4253-8CD8-48D288AD883C}"/>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666347527"/>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pic>
        <p:nvPicPr>
          <p:cNvPr id="2" name="background"/>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0" y="198"/>
            <a:ext cx="8961438" cy="6721079"/>
          </a:xfrm>
          <a:prstGeom prst="rect">
            <a:avLst/>
          </a:prstGeom>
        </p:spPr>
      </p:pic>
      <p:sp>
        <p:nvSpPr>
          <p:cNvPr id="28" name="TitleRectangle"/>
          <p:cNvSpPr txBox="1">
            <a:spLocks/>
          </p:cNvSpPr>
          <p:nvPr/>
        </p:nvSpPr>
        <p:spPr>
          <a:xfrm>
            <a:off x="2084388" y="0"/>
            <a:ext cx="6875462" cy="3575976"/>
          </a:xfrm>
          <a:prstGeom prst="rect">
            <a:avLst/>
          </a:prstGeom>
          <a:solidFill>
            <a:srgbClr val="002960">
              <a:alpha val="92000"/>
            </a:srgbClr>
          </a:solidFill>
        </p:spPr>
        <p:txBody>
          <a:bodyPr vert="horz" wrap="square" lIns="216000" tIns="1440000" rIns="216000" bIns="108000" rtlCol="0">
            <a:noAutofit/>
          </a:bodyPr>
          <a:lstStyle>
            <a:lvl1pPr marL="0" indent="0" algn="l" defTabSz="914400" rtl="0" eaLnBrk="1" latinLnBrk="0" hangingPunct="1">
              <a:spcBef>
                <a:spcPct val="20000"/>
              </a:spcBef>
              <a:spcAft>
                <a:spcPts val="6000"/>
              </a:spcAft>
              <a:buFont typeface="Arial" pitchFamily="34" charset="0"/>
              <a:buNone/>
              <a:defRPr sz="3200" kern="1200">
                <a:solidFill>
                  <a:schemeClr val="accent1"/>
                </a:solidFill>
                <a:latin typeface="+mn-lt"/>
                <a:ea typeface="+mn-ea"/>
                <a:cs typeface="+mn-cs"/>
              </a:defRPr>
            </a:lvl1pPr>
            <a:lvl2pPr marL="0" indent="0" algn="l" defTabSz="914400" rtl="0" eaLnBrk="1" latinLnBrk="0" hangingPunct="1">
              <a:spcBef>
                <a:spcPct val="20000"/>
              </a:spcBef>
              <a:buFont typeface="Wingdings" charset="2"/>
              <a:buNone/>
              <a:defRPr sz="1400" kern="1200">
                <a:solidFill>
                  <a:schemeClr val="tx1">
                    <a:lumMod val="50000"/>
                    <a:lumOff val="50000"/>
                  </a:schemeClr>
                </a:solidFill>
                <a:latin typeface="+mn-lt"/>
                <a:ea typeface="+mn-ea"/>
                <a:cs typeface="+mn-cs"/>
              </a:defRPr>
            </a:lvl2pPr>
            <a:lvl3pPr marL="1143000" indent="-228600" algn="l" defTabSz="914400" rtl="0" eaLnBrk="1" latinLnBrk="0" hangingPunct="1">
              <a:spcBef>
                <a:spcPct val="20000"/>
              </a:spcBef>
              <a:buFont typeface="Lucida Grande"/>
              <a:buChar char="–"/>
              <a:defRPr sz="16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fontAlgn="auto">
              <a:defRPr/>
            </a:pPr>
            <a:r>
              <a:rPr lang="en-US" baseline="0" dirty="0">
                <a:solidFill>
                  <a:srgbClr val="00ADEF"/>
                </a:solidFill>
                <a:latin typeface="+mn-lt"/>
              </a:rPr>
              <a:t>
              </a:t>
            </a:r>
            <a:br>
              <a:rPr lang="en-US" baseline="0" dirty="0">
                <a:solidFill>
                  <a:srgbClr val="00ADEF"/>
                </a:solidFill>
                <a:latin typeface="+mn-lt"/>
              </a:rPr>
            </a:br>
            <a:endParaRPr lang="en-US" baseline="0" dirty="0">
              <a:solidFill>
                <a:srgbClr val="00ADEF"/>
              </a:solidFill>
              <a:latin typeface="+mn-lt"/>
            </a:endParaRPr>
          </a:p>
        </p:txBody>
      </p:sp>
      <p:graphicFrame>
        <p:nvGraphicFramePr>
          <p:cNvPr id="3" name="Object 2"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5188"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Working Draft Text" hidden="1"/>
          <p:cNvSpPr txBox="1">
            <a:spLocks noChangeArrowheads="1"/>
          </p:cNvSpPr>
          <p:nvPr/>
        </p:nvSpPr>
        <p:spPr bwMode="black">
          <a:xfrm>
            <a:off x="5992719" y="6287538"/>
            <a:ext cx="2790000"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800" b="1" baseline="0" dirty="0">
                <a:solidFill>
                  <a:srgbClr val="FFFFFF"/>
                </a:solidFill>
                <a:latin typeface="+mn-lt"/>
              </a:rPr>
              <a:t>WORKING DRAFT</a:t>
            </a:r>
          </a:p>
        </p:txBody>
      </p:sp>
      <p:sp>
        <p:nvSpPr>
          <p:cNvPr id="6" name="Working Draft" hidden="1"/>
          <p:cNvSpPr txBox="1">
            <a:spLocks noChangeArrowheads="1"/>
          </p:cNvSpPr>
          <p:nvPr/>
        </p:nvSpPr>
        <p:spPr bwMode="black">
          <a:xfrm>
            <a:off x="5992718" y="6410648"/>
            <a:ext cx="2968719"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800" baseline="0">
                <a:solidFill>
                  <a:srgbClr val="FFFFFF"/>
                </a:solidFill>
                <a:latin typeface="+mn-lt"/>
              </a:rPr>
              <a:t>Last Modified 21/05/2018 17:44 India Standard Time</a:t>
            </a:r>
            <a:endParaRPr lang="en-US" sz="800" baseline="0" dirty="0">
              <a:solidFill>
                <a:srgbClr val="FFFFFF"/>
              </a:solidFill>
              <a:latin typeface="+mn-lt"/>
            </a:endParaRPr>
          </a:p>
        </p:txBody>
      </p:sp>
      <p:sp>
        <p:nvSpPr>
          <p:cNvPr id="7" name="Printed" hidden="1"/>
          <p:cNvSpPr txBox="1">
            <a:spLocks noChangeArrowheads="1"/>
          </p:cNvSpPr>
          <p:nvPr/>
        </p:nvSpPr>
        <p:spPr bwMode="black">
          <a:xfrm>
            <a:off x="5992719" y="6533759"/>
            <a:ext cx="2790000"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800" baseline="0" dirty="0">
                <a:solidFill>
                  <a:srgbClr val="FFFFFF"/>
                </a:solidFill>
                <a:latin typeface="+mn-lt"/>
              </a:rPr>
              <a:t>Printed</a:t>
            </a:r>
          </a:p>
        </p:txBody>
      </p:sp>
      <p:sp>
        <p:nvSpPr>
          <p:cNvPr id="13314" name="Title"/>
          <p:cNvSpPr>
            <a:spLocks noGrp="1" noChangeArrowheads="1"/>
          </p:cNvSpPr>
          <p:nvPr>
            <p:ph type="ctrTitle"/>
          </p:nvPr>
        </p:nvSpPr>
        <p:spPr>
          <a:xfrm>
            <a:off x="2268266" y="1434419"/>
            <a:ext cx="6231663" cy="492443"/>
          </a:xfrm>
          <a:prstGeom prst="rect">
            <a:avLst/>
          </a:prstGeom>
        </p:spPr>
        <p:txBody>
          <a:bodyPr>
            <a:spAutoFit/>
          </a:bodyPr>
          <a:lstStyle>
            <a:lvl1pPr>
              <a:defRPr sz="3200" b="0" baseline="0">
                <a:solidFill>
                  <a:schemeClr val="accent2"/>
                </a:solidFill>
                <a:latin typeface="+mj-lt"/>
                <a:ea typeface="+mj-ea"/>
              </a:defRPr>
            </a:lvl1pPr>
          </a:lstStyle>
          <a:p>
            <a:pPr lvl="0" latinLnBrk="0"/>
            <a:r>
              <a:rPr lang="en-US" noProof="0"/>
              <a:t>Click to edit Master title style</a:t>
            </a:r>
            <a:endParaRPr lang="en-US" noProof="0" dirty="0"/>
          </a:p>
        </p:txBody>
      </p:sp>
      <p:sp>
        <p:nvSpPr>
          <p:cNvPr id="13315" name="Subtitle"/>
          <p:cNvSpPr>
            <a:spLocks noGrp="1" noChangeArrowheads="1"/>
          </p:cNvSpPr>
          <p:nvPr>
            <p:ph type="subTitle" idx="1"/>
          </p:nvPr>
        </p:nvSpPr>
        <p:spPr>
          <a:xfrm>
            <a:off x="2268266" y="2819401"/>
            <a:ext cx="6231663" cy="215444"/>
          </a:xfrm>
          <a:prstGeom prst="rect">
            <a:avLst/>
          </a:prstGeom>
        </p:spPr>
        <p:txBody>
          <a:bodyPr wrap="square">
            <a:spAutoFit/>
          </a:bodyPr>
          <a:lstStyle>
            <a:lvl1pPr>
              <a:defRPr sz="1400" cap="all" baseline="0">
                <a:solidFill>
                  <a:schemeClr val="bg1"/>
                </a:solidFill>
                <a:latin typeface="+mn-lt"/>
                <a:ea typeface="+mn-ea"/>
              </a:defRPr>
            </a:lvl1pPr>
          </a:lstStyle>
          <a:p>
            <a:pPr lvl="0" latinLnBrk="0"/>
            <a:r>
              <a:rPr lang="en-US" noProof="0"/>
              <a:t>Click to edit Master subtitle style</a:t>
            </a:r>
            <a:endParaRPr lang="en-US" noProof="0" dirty="0"/>
          </a:p>
        </p:txBody>
      </p:sp>
      <p:sp>
        <p:nvSpPr>
          <p:cNvPr id="57" name="Document type" hidden="1"/>
          <p:cNvSpPr txBox="1">
            <a:spLocks noChangeArrowheads="1"/>
          </p:cNvSpPr>
          <p:nvPr/>
        </p:nvSpPr>
        <p:spPr bwMode="gray">
          <a:xfrm>
            <a:off x="2268266" y="3227411"/>
            <a:ext cx="6231663"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00" baseline="0" dirty="0">
                <a:solidFill>
                  <a:schemeClr val="bg1"/>
                </a:solidFill>
                <a:latin typeface="+mn-lt"/>
              </a:rPr>
              <a:t>Document type | Date</a:t>
            </a:r>
          </a:p>
        </p:txBody>
      </p:sp>
      <p:sp>
        <p:nvSpPr>
          <p:cNvPr id="5" name="doc id" hidden="1"/>
          <p:cNvSpPr txBox="1">
            <a:spLocks noChangeArrowheads="1"/>
          </p:cNvSpPr>
          <p:nvPr/>
        </p:nvSpPr>
        <p:spPr bwMode="white">
          <a:xfrm>
            <a:off x="8443913" y="36513"/>
            <a:ext cx="295275" cy="1222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hangingPunct="1">
              <a:defRPr/>
            </a:pPr>
            <a:endParaRPr lang="en-US" sz="800" baseline="0" dirty="0">
              <a:solidFill>
                <a:srgbClr val="FFFFFF"/>
              </a:solidFill>
              <a:latin typeface="+mn-lt"/>
            </a:endParaRPr>
          </a:p>
        </p:txBody>
      </p:sp>
      <p:sp>
        <p:nvSpPr>
          <p:cNvPr id="43" name="LogoImage"/>
          <p:cNvSpPr>
            <a:spLocks noEditPoints="1"/>
          </p:cNvSpPr>
          <p:nvPr/>
        </p:nvSpPr>
        <p:spPr bwMode="white">
          <a:xfrm>
            <a:off x="2269098" y="182925"/>
            <a:ext cx="2176978" cy="238073"/>
          </a:xfrm>
          <a:custGeom>
            <a:avLst/>
            <a:gdLst>
              <a:gd name="T0" fmla="*/ 504 w 5516"/>
              <a:gd name="T1" fmla="*/ 26 h 606"/>
              <a:gd name="T2" fmla="*/ 18 w 5516"/>
              <a:gd name="T3" fmla="*/ 22 h 606"/>
              <a:gd name="T4" fmla="*/ 140 w 5516"/>
              <a:gd name="T5" fmla="*/ 436 h 606"/>
              <a:gd name="T6" fmla="*/ 408 w 5516"/>
              <a:gd name="T7" fmla="*/ 372 h 606"/>
              <a:gd name="T8" fmla="*/ 696 w 5516"/>
              <a:gd name="T9" fmla="*/ 422 h 606"/>
              <a:gd name="T10" fmla="*/ 768 w 5516"/>
              <a:gd name="T11" fmla="*/ 196 h 606"/>
              <a:gd name="T12" fmla="*/ 1272 w 5516"/>
              <a:gd name="T13" fmla="*/ 26 h 606"/>
              <a:gd name="T14" fmla="*/ 1302 w 5516"/>
              <a:gd name="T15" fmla="*/ 338 h 606"/>
              <a:gd name="T16" fmla="*/ 1202 w 5516"/>
              <a:gd name="T17" fmla="*/ 436 h 606"/>
              <a:gd name="T18" fmla="*/ 1030 w 5516"/>
              <a:gd name="T19" fmla="*/ 10 h 606"/>
              <a:gd name="T20" fmla="*/ 960 w 5516"/>
              <a:gd name="T21" fmla="*/ 22 h 606"/>
              <a:gd name="T22" fmla="*/ 804 w 5516"/>
              <a:gd name="T23" fmla="*/ 434 h 606"/>
              <a:gd name="T24" fmla="*/ 930 w 5516"/>
              <a:gd name="T25" fmla="*/ 246 h 606"/>
              <a:gd name="T26" fmla="*/ 1658 w 5516"/>
              <a:gd name="T27" fmla="*/ 342 h 606"/>
              <a:gd name="T28" fmla="*/ 1368 w 5516"/>
              <a:gd name="T29" fmla="*/ 188 h 606"/>
              <a:gd name="T30" fmla="*/ 1514 w 5516"/>
              <a:gd name="T31" fmla="*/ 436 h 606"/>
              <a:gd name="T32" fmla="*/ 1564 w 5516"/>
              <a:gd name="T33" fmla="*/ 434 h 606"/>
              <a:gd name="T34" fmla="*/ 1904 w 5516"/>
              <a:gd name="T35" fmla="*/ 184 h 606"/>
              <a:gd name="T36" fmla="*/ 1728 w 5516"/>
              <a:gd name="T37" fmla="*/ 366 h 606"/>
              <a:gd name="T38" fmla="*/ 2102 w 5516"/>
              <a:gd name="T39" fmla="*/ 192 h 606"/>
              <a:gd name="T40" fmla="*/ 1982 w 5516"/>
              <a:gd name="T41" fmla="*/ 320 h 606"/>
              <a:gd name="T42" fmla="*/ 2478 w 5516"/>
              <a:gd name="T43" fmla="*/ 242 h 606"/>
              <a:gd name="T44" fmla="*/ 2406 w 5516"/>
              <a:gd name="T45" fmla="*/ 390 h 606"/>
              <a:gd name="T46" fmla="*/ 2234 w 5516"/>
              <a:gd name="T47" fmla="*/ 192 h 606"/>
              <a:gd name="T48" fmla="*/ 2478 w 5516"/>
              <a:gd name="T49" fmla="*/ 242 h 606"/>
              <a:gd name="T50" fmla="*/ 2928 w 5516"/>
              <a:gd name="T51" fmla="*/ 448 h 606"/>
              <a:gd name="T52" fmla="*/ 2958 w 5516"/>
              <a:gd name="T53" fmla="*/ 230 h 606"/>
              <a:gd name="T54" fmla="*/ 2716 w 5516"/>
              <a:gd name="T55" fmla="*/ 54 h 606"/>
              <a:gd name="T56" fmla="*/ 2714 w 5516"/>
              <a:gd name="T57" fmla="*/ 36 h 606"/>
              <a:gd name="T58" fmla="*/ 2928 w 5516"/>
              <a:gd name="T59" fmla="*/ 448 h 606"/>
              <a:gd name="T60" fmla="*/ 3388 w 5516"/>
              <a:gd name="T61" fmla="*/ 4 h 606"/>
              <a:gd name="T62" fmla="*/ 3396 w 5516"/>
              <a:gd name="T63" fmla="*/ 366 h 606"/>
              <a:gd name="T64" fmla="*/ 3580 w 5516"/>
              <a:gd name="T65" fmla="*/ 190 h 606"/>
              <a:gd name="T66" fmla="*/ 3502 w 5516"/>
              <a:gd name="T67" fmla="*/ 432 h 606"/>
              <a:gd name="T68" fmla="*/ 4232 w 5516"/>
              <a:gd name="T69" fmla="*/ 348 h 606"/>
              <a:gd name="T70" fmla="*/ 3858 w 5516"/>
              <a:gd name="T71" fmla="*/ 176 h 606"/>
              <a:gd name="T72" fmla="*/ 3758 w 5516"/>
              <a:gd name="T73" fmla="*/ 446 h 606"/>
              <a:gd name="T74" fmla="*/ 3990 w 5516"/>
              <a:gd name="T75" fmla="*/ 282 h 606"/>
              <a:gd name="T76" fmla="*/ 4042 w 5516"/>
              <a:gd name="T77" fmla="*/ 342 h 606"/>
              <a:gd name="T78" fmla="*/ 4134 w 5516"/>
              <a:gd name="T79" fmla="*/ 448 h 606"/>
              <a:gd name="T80" fmla="*/ 4454 w 5516"/>
              <a:gd name="T81" fmla="*/ 202 h 606"/>
              <a:gd name="T82" fmla="*/ 4284 w 5516"/>
              <a:gd name="T83" fmla="*/ 174 h 606"/>
              <a:gd name="T84" fmla="*/ 4432 w 5516"/>
              <a:gd name="T85" fmla="*/ 588 h 606"/>
              <a:gd name="T86" fmla="*/ 4792 w 5516"/>
              <a:gd name="T87" fmla="*/ 382 h 606"/>
              <a:gd name="T88" fmla="*/ 5192 w 5516"/>
              <a:gd name="T89" fmla="*/ 340 h 606"/>
              <a:gd name="T90" fmla="*/ 4902 w 5516"/>
              <a:gd name="T91" fmla="*/ 186 h 606"/>
              <a:gd name="T92" fmla="*/ 4850 w 5516"/>
              <a:gd name="T93" fmla="*/ 274 h 606"/>
              <a:gd name="T94" fmla="*/ 4742 w 5516"/>
              <a:gd name="T95" fmla="*/ 194 h 606"/>
              <a:gd name="T96" fmla="*/ 4794 w 5516"/>
              <a:gd name="T97" fmla="*/ 418 h 606"/>
              <a:gd name="T98" fmla="*/ 5004 w 5516"/>
              <a:gd name="T99" fmla="*/ 338 h 606"/>
              <a:gd name="T100" fmla="*/ 5098 w 5516"/>
              <a:gd name="T101" fmla="*/ 446 h 606"/>
              <a:gd name="T102" fmla="*/ 5418 w 5516"/>
              <a:gd name="T103" fmla="*/ 192 h 606"/>
              <a:gd name="T104" fmla="*/ 5348 w 5516"/>
              <a:gd name="T105" fmla="*/ 180 h 606"/>
              <a:gd name="T106" fmla="*/ 5254 w 5516"/>
              <a:gd name="T107" fmla="*/ 606 h 6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516" h="606">
                <a:moveTo>
                  <a:pt x="366" y="448"/>
                </a:moveTo>
                <a:cubicBezTo>
                  <a:pt x="524" y="448"/>
                  <a:pt x="524" y="448"/>
                  <a:pt x="524" y="448"/>
                </a:cubicBezTo>
                <a:cubicBezTo>
                  <a:pt x="524" y="436"/>
                  <a:pt x="524" y="436"/>
                  <a:pt x="524" y="436"/>
                </a:cubicBezTo>
                <a:cubicBezTo>
                  <a:pt x="486" y="432"/>
                  <a:pt x="470" y="414"/>
                  <a:pt x="468" y="362"/>
                </a:cubicBezTo>
                <a:cubicBezTo>
                  <a:pt x="454" y="86"/>
                  <a:pt x="454" y="86"/>
                  <a:pt x="454" y="86"/>
                </a:cubicBezTo>
                <a:cubicBezTo>
                  <a:pt x="452" y="46"/>
                  <a:pt x="470" y="30"/>
                  <a:pt x="504" y="26"/>
                </a:cubicBezTo>
                <a:cubicBezTo>
                  <a:pt x="504" y="12"/>
                  <a:pt x="504" y="12"/>
                  <a:pt x="504" y="12"/>
                </a:cubicBezTo>
                <a:cubicBezTo>
                  <a:pt x="394" y="12"/>
                  <a:pt x="394" y="12"/>
                  <a:pt x="394" y="12"/>
                </a:cubicBezTo>
                <a:cubicBezTo>
                  <a:pt x="264" y="350"/>
                  <a:pt x="264" y="350"/>
                  <a:pt x="264" y="350"/>
                </a:cubicBezTo>
                <a:cubicBezTo>
                  <a:pt x="132" y="10"/>
                  <a:pt x="132" y="10"/>
                  <a:pt x="132" y="10"/>
                </a:cubicBezTo>
                <a:cubicBezTo>
                  <a:pt x="18" y="10"/>
                  <a:pt x="18" y="10"/>
                  <a:pt x="18" y="10"/>
                </a:cubicBezTo>
                <a:cubicBezTo>
                  <a:pt x="18" y="22"/>
                  <a:pt x="18" y="22"/>
                  <a:pt x="18" y="22"/>
                </a:cubicBezTo>
                <a:cubicBezTo>
                  <a:pt x="40" y="26"/>
                  <a:pt x="74" y="32"/>
                  <a:pt x="72" y="84"/>
                </a:cubicBezTo>
                <a:cubicBezTo>
                  <a:pt x="58" y="352"/>
                  <a:pt x="58" y="352"/>
                  <a:pt x="58" y="352"/>
                </a:cubicBezTo>
                <a:cubicBezTo>
                  <a:pt x="54" y="410"/>
                  <a:pt x="38" y="430"/>
                  <a:pt x="0" y="436"/>
                </a:cubicBezTo>
                <a:cubicBezTo>
                  <a:pt x="0" y="448"/>
                  <a:pt x="0" y="448"/>
                  <a:pt x="0" y="448"/>
                </a:cubicBezTo>
                <a:cubicBezTo>
                  <a:pt x="140" y="448"/>
                  <a:pt x="140" y="448"/>
                  <a:pt x="140" y="448"/>
                </a:cubicBezTo>
                <a:cubicBezTo>
                  <a:pt x="140" y="436"/>
                  <a:pt x="140" y="436"/>
                  <a:pt x="140" y="436"/>
                </a:cubicBezTo>
                <a:cubicBezTo>
                  <a:pt x="98" y="428"/>
                  <a:pt x="84" y="414"/>
                  <a:pt x="88" y="356"/>
                </a:cubicBezTo>
                <a:cubicBezTo>
                  <a:pt x="100" y="86"/>
                  <a:pt x="100" y="86"/>
                  <a:pt x="100" y="86"/>
                </a:cubicBezTo>
                <a:cubicBezTo>
                  <a:pt x="240" y="444"/>
                  <a:pt x="240" y="444"/>
                  <a:pt x="240" y="444"/>
                </a:cubicBezTo>
                <a:cubicBezTo>
                  <a:pt x="258" y="444"/>
                  <a:pt x="258" y="444"/>
                  <a:pt x="258" y="444"/>
                </a:cubicBezTo>
                <a:cubicBezTo>
                  <a:pt x="396" y="86"/>
                  <a:pt x="396" y="86"/>
                  <a:pt x="396" y="86"/>
                </a:cubicBezTo>
                <a:cubicBezTo>
                  <a:pt x="408" y="372"/>
                  <a:pt x="408" y="372"/>
                  <a:pt x="408" y="372"/>
                </a:cubicBezTo>
                <a:cubicBezTo>
                  <a:pt x="410" y="416"/>
                  <a:pt x="398" y="430"/>
                  <a:pt x="366" y="434"/>
                </a:cubicBezTo>
                <a:lnTo>
                  <a:pt x="366" y="448"/>
                </a:lnTo>
                <a:close/>
                <a:moveTo>
                  <a:pt x="670" y="456"/>
                </a:moveTo>
                <a:cubicBezTo>
                  <a:pt x="708" y="456"/>
                  <a:pt x="756" y="440"/>
                  <a:pt x="782" y="412"/>
                </a:cubicBezTo>
                <a:cubicBezTo>
                  <a:pt x="776" y="400"/>
                  <a:pt x="776" y="400"/>
                  <a:pt x="776" y="400"/>
                </a:cubicBezTo>
                <a:cubicBezTo>
                  <a:pt x="750" y="416"/>
                  <a:pt x="722" y="422"/>
                  <a:pt x="696" y="422"/>
                </a:cubicBezTo>
                <a:cubicBezTo>
                  <a:pt x="620" y="422"/>
                  <a:pt x="592" y="358"/>
                  <a:pt x="592" y="290"/>
                </a:cubicBezTo>
                <a:cubicBezTo>
                  <a:pt x="592" y="258"/>
                  <a:pt x="600" y="236"/>
                  <a:pt x="614" y="222"/>
                </a:cubicBezTo>
                <a:cubicBezTo>
                  <a:pt x="626" y="210"/>
                  <a:pt x="646" y="204"/>
                  <a:pt x="664" y="204"/>
                </a:cubicBezTo>
                <a:cubicBezTo>
                  <a:pt x="690" y="204"/>
                  <a:pt x="722" y="214"/>
                  <a:pt x="744" y="244"/>
                </a:cubicBezTo>
                <a:cubicBezTo>
                  <a:pt x="750" y="244"/>
                  <a:pt x="750" y="244"/>
                  <a:pt x="750" y="244"/>
                </a:cubicBezTo>
                <a:cubicBezTo>
                  <a:pt x="758" y="234"/>
                  <a:pt x="766" y="212"/>
                  <a:pt x="768" y="196"/>
                </a:cubicBezTo>
                <a:cubicBezTo>
                  <a:pt x="748" y="180"/>
                  <a:pt x="720" y="172"/>
                  <a:pt x="686" y="172"/>
                </a:cubicBezTo>
                <a:cubicBezTo>
                  <a:pt x="604" y="172"/>
                  <a:pt x="544" y="246"/>
                  <a:pt x="544" y="326"/>
                </a:cubicBezTo>
                <a:cubicBezTo>
                  <a:pt x="540" y="390"/>
                  <a:pt x="576" y="456"/>
                  <a:pt x="670" y="456"/>
                </a:cubicBezTo>
                <a:moveTo>
                  <a:pt x="1272" y="98"/>
                </a:moveTo>
                <a:cubicBezTo>
                  <a:pt x="1292" y="98"/>
                  <a:pt x="1308" y="82"/>
                  <a:pt x="1308" y="62"/>
                </a:cubicBezTo>
                <a:cubicBezTo>
                  <a:pt x="1308" y="42"/>
                  <a:pt x="1292" y="26"/>
                  <a:pt x="1272" y="26"/>
                </a:cubicBezTo>
                <a:cubicBezTo>
                  <a:pt x="1252" y="26"/>
                  <a:pt x="1238" y="42"/>
                  <a:pt x="1238" y="62"/>
                </a:cubicBezTo>
                <a:cubicBezTo>
                  <a:pt x="1238" y="82"/>
                  <a:pt x="1252" y="98"/>
                  <a:pt x="1272" y="98"/>
                </a:cubicBezTo>
                <a:moveTo>
                  <a:pt x="1202" y="448"/>
                </a:moveTo>
                <a:cubicBezTo>
                  <a:pt x="1346" y="448"/>
                  <a:pt x="1346" y="448"/>
                  <a:pt x="1346" y="448"/>
                </a:cubicBezTo>
                <a:cubicBezTo>
                  <a:pt x="1346" y="436"/>
                  <a:pt x="1346" y="436"/>
                  <a:pt x="1346" y="436"/>
                </a:cubicBezTo>
                <a:cubicBezTo>
                  <a:pt x="1304" y="432"/>
                  <a:pt x="1302" y="434"/>
                  <a:pt x="1302" y="338"/>
                </a:cubicBezTo>
                <a:cubicBezTo>
                  <a:pt x="1302" y="176"/>
                  <a:pt x="1302" y="176"/>
                  <a:pt x="1302" y="176"/>
                </a:cubicBezTo>
                <a:cubicBezTo>
                  <a:pt x="1200" y="176"/>
                  <a:pt x="1200" y="176"/>
                  <a:pt x="1200" y="176"/>
                </a:cubicBezTo>
                <a:cubicBezTo>
                  <a:pt x="1200" y="188"/>
                  <a:pt x="1200" y="188"/>
                  <a:pt x="1200" y="188"/>
                </a:cubicBezTo>
                <a:cubicBezTo>
                  <a:pt x="1244" y="190"/>
                  <a:pt x="1250" y="192"/>
                  <a:pt x="1250" y="268"/>
                </a:cubicBezTo>
                <a:cubicBezTo>
                  <a:pt x="1250" y="336"/>
                  <a:pt x="1250" y="336"/>
                  <a:pt x="1250" y="336"/>
                </a:cubicBezTo>
                <a:cubicBezTo>
                  <a:pt x="1250" y="432"/>
                  <a:pt x="1248" y="432"/>
                  <a:pt x="1202" y="436"/>
                </a:cubicBezTo>
                <a:cubicBezTo>
                  <a:pt x="1178" y="434"/>
                  <a:pt x="1154" y="426"/>
                  <a:pt x="1076" y="338"/>
                </a:cubicBezTo>
                <a:cubicBezTo>
                  <a:pt x="1046" y="302"/>
                  <a:pt x="996" y="244"/>
                  <a:pt x="968" y="206"/>
                </a:cubicBezTo>
                <a:cubicBezTo>
                  <a:pt x="1062" y="102"/>
                  <a:pt x="1062" y="102"/>
                  <a:pt x="1062" y="102"/>
                </a:cubicBezTo>
                <a:cubicBezTo>
                  <a:pt x="1108" y="52"/>
                  <a:pt x="1132" y="26"/>
                  <a:pt x="1176" y="24"/>
                </a:cubicBezTo>
                <a:cubicBezTo>
                  <a:pt x="1176" y="10"/>
                  <a:pt x="1176" y="10"/>
                  <a:pt x="1176" y="10"/>
                </a:cubicBezTo>
                <a:cubicBezTo>
                  <a:pt x="1030" y="10"/>
                  <a:pt x="1030" y="10"/>
                  <a:pt x="1030" y="10"/>
                </a:cubicBezTo>
                <a:cubicBezTo>
                  <a:pt x="1030" y="22"/>
                  <a:pt x="1030" y="22"/>
                  <a:pt x="1030" y="22"/>
                </a:cubicBezTo>
                <a:cubicBezTo>
                  <a:pt x="1050" y="26"/>
                  <a:pt x="1056" y="32"/>
                  <a:pt x="1056" y="46"/>
                </a:cubicBezTo>
                <a:cubicBezTo>
                  <a:pt x="1056" y="56"/>
                  <a:pt x="1054" y="72"/>
                  <a:pt x="1026" y="102"/>
                </a:cubicBezTo>
                <a:cubicBezTo>
                  <a:pt x="910" y="230"/>
                  <a:pt x="910" y="230"/>
                  <a:pt x="910" y="230"/>
                </a:cubicBezTo>
                <a:cubicBezTo>
                  <a:pt x="910" y="148"/>
                  <a:pt x="910" y="148"/>
                  <a:pt x="910" y="148"/>
                </a:cubicBezTo>
                <a:cubicBezTo>
                  <a:pt x="910" y="36"/>
                  <a:pt x="916" y="28"/>
                  <a:pt x="960" y="22"/>
                </a:cubicBezTo>
                <a:cubicBezTo>
                  <a:pt x="960" y="8"/>
                  <a:pt x="960" y="8"/>
                  <a:pt x="960" y="8"/>
                </a:cubicBezTo>
                <a:cubicBezTo>
                  <a:pt x="804" y="8"/>
                  <a:pt x="804" y="8"/>
                  <a:pt x="804" y="8"/>
                </a:cubicBezTo>
                <a:cubicBezTo>
                  <a:pt x="804" y="22"/>
                  <a:pt x="804" y="22"/>
                  <a:pt x="804" y="22"/>
                </a:cubicBezTo>
                <a:cubicBezTo>
                  <a:pt x="852" y="26"/>
                  <a:pt x="854" y="36"/>
                  <a:pt x="854" y="148"/>
                </a:cubicBezTo>
                <a:cubicBezTo>
                  <a:pt x="854" y="300"/>
                  <a:pt x="854" y="300"/>
                  <a:pt x="854" y="300"/>
                </a:cubicBezTo>
                <a:cubicBezTo>
                  <a:pt x="854" y="422"/>
                  <a:pt x="850" y="430"/>
                  <a:pt x="804" y="434"/>
                </a:cubicBezTo>
                <a:cubicBezTo>
                  <a:pt x="804" y="446"/>
                  <a:pt x="804" y="446"/>
                  <a:pt x="804" y="446"/>
                </a:cubicBezTo>
                <a:cubicBezTo>
                  <a:pt x="960" y="446"/>
                  <a:pt x="960" y="446"/>
                  <a:pt x="960" y="446"/>
                </a:cubicBezTo>
                <a:cubicBezTo>
                  <a:pt x="960" y="434"/>
                  <a:pt x="960" y="434"/>
                  <a:pt x="960" y="434"/>
                </a:cubicBezTo>
                <a:cubicBezTo>
                  <a:pt x="910" y="428"/>
                  <a:pt x="910" y="424"/>
                  <a:pt x="910" y="292"/>
                </a:cubicBezTo>
                <a:cubicBezTo>
                  <a:pt x="910" y="268"/>
                  <a:pt x="910" y="268"/>
                  <a:pt x="910" y="268"/>
                </a:cubicBezTo>
                <a:cubicBezTo>
                  <a:pt x="930" y="246"/>
                  <a:pt x="930" y="246"/>
                  <a:pt x="930" y="246"/>
                </a:cubicBezTo>
                <a:cubicBezTo>
                  <a:pt x="982" y="310"/>
                  <a:pt x="1038" y="380"/>
                  <a:pt x="1098" y="448"/>
                </a:cubicBezTo>
                <a:cubicBezTo>
                  <a:pt x="1202" y="448"/>
                  <a:pt x="1202" y="448"/>
                  <a:pt x="1202" y="448"/>
                </a:cubicBezTo>
                <a:close/>
                <a:moveTo>
                  <a:pt x="1564" y="448"/>
                </a:moveTo>
                <a:cubicBezTo>
                  <a:pt x="1706" y="448"/>
                  <a:pt x="1706" y="448"/>
                  <a:pt x="1706" y="448"/>
                </a:cubicBezTo>
                <a:cubicBezTo>
                  <a:pt x="1706" y="436"/>
                  <a:pt x="1706" y="436"/>
                  <a:pt x="1706" y="436"/>
                </a:cubicBezTo>
                <a:cubicBezTo>
                  <a:pt x="1658" y="434"/>
                  <a:pt x="1658" y="432"/>
                  <a:pt x="1658" y="342"/>
                </a:cubicBezTo>
                <a:cubicBezTo>
                  <a:pt x="1658" y="280"/>
                  <a:pt x="1658" y="280"/>
                  <a:pt x="1658" y="280"/>
                </a:cubicBezTo>
                <a:cubicBezTo>
                  <a:pt x="1658" y="198"/>
                  <a:pt x="1612" y="172"/>
                  <a:pt x="1570" y="172"/>
                </a:cubicBezTo>
                <a:cubicBezTo>
                  <a:pt x="1534" y="172"/>
                  <a:pt x="1498" y="188"/>
                  <a:pt x="1470" y="224"/>
                </a:cubicBezTo>
                <a:cubicBezTo>
                  <a:pt x="1470" y="176"/>
                  <a:pt x="1470" y="176"/>
                  <a:pt x="1470" y="176"/>
                </a:cubicBezTo>
                <a:cubicBezTo>
                  <a:pt x="1368" y="176"/>
                  <a:pt x="1368" y="176"/>
                  <a:pt x="1368" y="176"/>
                </a:cubicBezTo>
                <a:cubicBezTo>
                  <a:pt x="1368" y="188"/>
                  <a:pt x="1368" y="188"/>
                  <a:pt x="1368" y="188"/>
                </a:cubicBezTo>
                <a:cubicBezTo>
                  <a:pt x="1412" y="190"/>
                  <a:pt x="1418" y="192"/>
                  <a:pt x="1418" y="268"/>
                </a:cubicBezTo>
                <a:cubicBezTo>
                  <a:pt x="1418" y="336"/>
                  <a:pt x="1418" y="336"/>
                  <a:pt x="1418" y="336"/>
                </a:cubicBezTo>
                <a:cubicBezTo>
                  <a:pt x="1418" y="434"/>
                  <a:pt x="1418" y="434"/>
                  <a:pt x="1370" y="436"/>
                </a:cubicBezTo>
                <a:cubicBezTo>
                  <a:pt x="1370" y="448"/>
                  <a:pt x="1370" y="448"/>
                  <a:pt x="1370" y="448"/>
                </a:cubicBezTo>
                <a:cubicBezTo>
                  <a:pt x="1514" y="448"/>
                  <a:pt x="1514" y="448"/>
                  <a:pt x="1514" y="448"/>
                </a:cubicBezTo>
                <a:cubicBezTo>
                  <a:pt x="1514" y="436"/>
                  <a:pt x="1514" y="436"/>
                  <a:pt x="1514" y="436"/>
                </a:cubicBezTo>
                <a:cubicBezTo>
                  <a:pt x="1472" y="432"/>
                  <a:pt x="1470" y="434"/>
                  <a:pt x="1470" y="338"/>
                </a:cubicBezTo>
                <a:cubicBezTo>
                  <a:pt x="1470" y="262"/>
                  <a:pt x="1470" y="262"/>
                  <a:pt x="1470" y="262"/>
                </a:cubicBezTo>
                <a:cubicBezTo>
                  <a:pt x="1470" y="236"/>
                  <a:pt x="1504" y="206"/>
                  <a:pt x="1546" y="206"/>
                </a:cubicBezTo>
                <a:cubicBezTo>
                  <a:pt x="1580" y="206"/>
                  <a:pt x="1606" y="220"/>
                  <a:pt x="1606" y="286"/>
                </a:cubicBezTo>
                <a:cubicBezTo>
                  <a:pt x="1606" y="340"/>
                  <a:pt x="1606" y="340"/>
                  <a:pt x="1606" y="340"/>
                </a:cubicBezTo>
                <a:cubicBezTo>
                  <a:pt x="1606" y="432"/>
                  <a:pt x="1602" y="432"/>
                  <a:pt x="1564" y="434"/>
                </a:cubicBezTo>
                <a:lnTo>
                  <a:pt x="1564" y="448"/>
                </a:lnTo>
                <a:close/>
                <a:moveTo>
                  <a:pt x="1776" y="222"/>
                </a:moveTo>
                <a:cubicBezTo>
                  <a:pt x="1776" y="200"/>
                  <a:pt x="1796" y="188"/>
                  <a:pt x="1822" y="188"/>
                </a:cubicBezTo>
                <a:cubicBezTo>
                  <a:pt x="1874" y="188"/>
                  <a:pt x="1896" y="236"/>
                  <a:pt x="1900" y="252"/>
                </a:cubicBezTo>
                <a:cubicBezTo>
                  <a:pt x="1912" y="252"/>
                  <a:pt x="1912" y="252"/>
                  <a:pt x="1912" y="252"/>
                </a:cubicBezTo>
                <a:cubicBezTo>
                  <a:pt x="1912" y="212"/>
                  <a:pt x="1908" y="188"/>
                  <a:pt x="1904" y="184"/>
                </a:cubicBezTo>
                <a:cubicBezTo>
                  <a:pt x="1900" y="180"/>
                  <a:pt x="1862" y="170"/>
                  <a:pt x="1824" y="170"/>
                </a:cubicBezTo>
                <a:cubicBezTo>
                  <a:pt x="1768" y="170"/>
                  <a:pt x="1734" y="206"/>
                  <a:pt x="1734" y="248"/>
                </a:cubicBezTo>
                <a:cubicBezTo>
                  <a:pt x="1734" y="340"/>
                  <a:pt x="1890" y="322"/>
                  <a:pt x="1890" y="396"/>
                </a:cubicBezTo>
                <a:cubicBezTo>
                  <a:pt x="1890" y="422"/>
                  <a:pt x="1866" y="436"/>
                  <a:pt x="1826" y="436"/>
                </a:cubicBezTo>
                <a:cubicBezTo>
                  <a:pt x="1788" y="436"/>
                  <a:pt x="1754" y="416"/>
                  <a:pt x="1744" y="366"/>
                </a:cubicBezTo>
                <a:cubicBezTo>
                  <a:pt x="1728" y="366"/>
                  <a:pt x="1728" y="366"/>
                  <a:pt x="1728" y="366"/>
                </a:cubicBezTo>
                <a:cubicBezTo>
                  <a:pt x="1728" y="386"/>
                  <a:pt x="1732" y="422"/>
                  <a:pt x="1734" y="428"/>
                </a:cubicBezTo>
                <a:cubicBezTo>
                  <a:pt x="1744" y="446"/>
                  <a:pt x="1788" y="454"/>
                  <a:pt x="1824" y="454"/>
                </a:cubicBezTo>
                <a:cubicBezTo>
                  <a:pt x="1888" y="454"/>
                  <a:pt x="1928" y="416"/>
                  <a:pt x="1928" y="372"/>
                </a:cubicBezTo>
                <a:cubicBezTo>
                  <a:pt x="1932" y="270"/>
                  <a:pt x="1776" y="286"/>
                  <a:pt x="1776" y="222"/>
                </a:cubicBezTo>
                <a:moveTo>
                  <a:pt x="2030" y="270"/>
                </a:moveTo>
                <a:cubicBezTo>
                  <a:pt x="2034" y="220"/>
                  <a:pt x="2058" y="192"/>
                  <a:pt x="2102" y="192"/>
                </a:cubicBezTo>
                <a:cubicBezTo>
                  <a:pt x="2144" y="192"/>
                  <a:pt x="2170" y="220"/>
                  <a:pt x="2172" y="270"/>
                </a:cubicBezTo>
                <a:lnTo>
                  <a:pt x="2030" y="270"/>
                </a:lnTo>
                <a:close/>
                <a:moveTo>
                  <a:pt x="2030" y="290"/>
                </a:moveTo>
                <a:cubicBezTo>
                  <a:pt x="2222" y="290"/>
                  <a:pt x="2222" y="290"/>
                  <a:pt x="2222" y="290"/>
                </a:cubicBezTo>
                <a:cubicBezTo>
                  <a:pt x="2226" y="228"/>
                  <a:pt x="2192" y="168"/>
                  <a:pt x="2114" y="168"/>
                </a:cubicBezTo>
                <a:cubicBezTo>
                  <a:pt x="2034" y="168"/>
                  <a:pt x="1982" y="232"/>
                  <a:pt x="1982" y="320"/>
                </a:cubicBezTo>
                <a:cubicBezTo>
                  <a:pt x="1982" y="388"/>
                  <a:pt x="2018" y="456"/>
                  <a:pt x="2112" y="456"/>
                </a:cubicBezTo>
                <a:cubicBezTo>
                  <a:pt x="2150" y="456"/>
                  <a:pt x="2198" y="440"/>
                  <a:pt x="2224" y="412"/>
                </a:cubicBezTo>
                <a:cubicBezTo>
                  <a:pt x="2218" y="400"/>
                  <a:pt x="2218" y="400"/>
                  <a:pt x="2218" y="400"/>
                </a:cubicBezTo>
                <a:cubicBezTo>
                  <a:pt x="2192" y="416"/>
                  <a:pt x="2164" y="422"/>
                  <a:pt x="2138" y="422"/>
                </a:cubicBezTo>
                <a:cubicBezTo>
                  <a:pt x="2058" y="420"/>
                  <a:pt x="2028" y="352"/>
                  <a:pt x="2030" y="290"/>
                </a:cubicBezTo>
                <a:moveTo>
                  <a:pt x="2478" y="242"/>
                </a:moveTo>
                <a:cubicBezTo>
                  <a:pt x="2490" y="206"/>
                  <a:pt x="2510" y="192"/>
                  <a:pt x="2528" y="192"/>
                </a:cubicBezTo>
                <a:cubicBezTo>
                  <a:pt x="2528" y="180"/>
                  <a:pt x="2528" y="180"/>
                  <a:pt x="2528" y="180"/>
                </a:cubicBezTo>
                <a:cubicBezTo>
                  <a:pt x="2430" y="180"/>
                  <a:pt x="2430" y="180"/>
                  <a:pt x="2430" y="180"/>
                </a:cubicBezTo>
                <a:cubicBezTo>
                  <a:pt x="2430" y="192"/>
                  <a:pt x="2430" y="192"/>
                  <a:pt x="2430" y="192"/>
                </a:cubicBezTo>
                <a:cubicBezTo>
                  <a:pt x="2454" y="194"/>
                  <a:pt x="2466" y="206"/>
                  <a:pt x="2458" y="234"/>
                </a:cubicBezTo>
                <a:cubicBezTo>
                  <a:pt x="2406" y="390"/>
                  <a:pt x="2406" y="390"/>
                  <a:pt x="2406" y="390"/>
                </a:cubicBezTo>
                <a:cubicBezTo>
                  <a:pt x="2354" y="270"/>
                  <a:pt x="2354" y="270"/>
                  <a:pt x="2354" y="270"/>
                </a:cubicBezTo>
                <a:cubicBezTo>
                  <a:pt x="2340" y="238"/>
                  <a:pt x="2334" y="224"/>
                  <a:pt x="2334" y="212"/>
                </a:cubicBezTo>
                <a:cubicBezTo>
                  <a:pt x="2334" y="202"/>
                  <a:pt x="2340" y="196"/>
                  <a:pt x="2360" y="192"/>
                </a:cubicBezTo>
                <a:cubicBezTo>
                  <a:pt x="2360" y="180"/>
                  <a:pt x="2360" y="180"/>
                  <a:pt x="2360" y="180"/>
                </a:cubicBezTo>
                <a:cubicBezTo>
                  <a:pt x="2234" y="180"/>
                  <a:pt x="2234" y="180"/>
                  <a:pt x="2234" y="180"/>
                </a:cubicBezTo>
                <a:cubicBezTo>
                  <a:pt x="2234" y="192"/>
                  <a:pt x="2234" y="192"/>
                  <a:pt x="2234" y="192"/>
                </a:cubicBezTo>
                <a:cubicBezTo>
                  <a:pt x="2266" y="194"/>
                  <a:pt x="2268" y="198"/>
                  <a:pt x="2310" y="292"/>
                </a:cubicBezTo>
                <a:cubicBezTo>
                  <a:pt x="2382" y="450"/>
                  <a:pt x="2382" y="450"/>
                  <a:pt x="2382" y="450"/>
                </a:cubicBezTo>
                <a:cubicBezTo>
                  <a:pt x="2358" y="512"/>
                  <a:pt x="2320" y="546"/>
                  <a:pt x="2242" y="564"/>
                </a:cubicBezTo>
                <a:cubicBezTo>
                  <a:pt x="2246" y="576"/>
                  <a:pt x="2260" y="600"/>
                  <a:pt x="2268" y="606"/>
                </a:cubicBezTo>
                <a:cubicBezTo>
                  <a:pt x="2370" y="564"/>
                  <a:pt x="2390" y="498"/>
                  <a:pt x="2426" y="396"/>
                </a:cubicBezTo>
                <a:lnTo>
                  <a:pt x="2478" y="242"/>
                </a:lnTo>
                <a:close/>
                <a:moveTo>
                  <a:pt x="2844" y="394"/>
                </a:moveTo>
                <a:cubicBezTo>
                  <a:pt x="2822" y="412"/>
                  <a:pt x="2782" y="416"/>
                  <a:pt x="2750" y="416"/>
                </a:cubicBezTo>
                <a:cubicBezTo>
                  <a:pt x="2670" y="416"/>
                  <a:pt x="2606" y="360"/>
                  <a:pt x="2606" y="284"/>
                </a:cubicBezTo>
                <a:cubicBezTo>
                  <a:pt x="2606" y="236"/>
                  <a:pt x="2626" y="206"/>
                  <a:pt x="2658" y="198"/>
                </a:cubicBezTo>
                <a:cubicBezTo>
                  <a:pt x="2698" y="266"/>
                  <a:pt x="2770" y="338"/>
                  <a:pt x="2844" y="394"/>
                </a:cubicBezTo>
                <a:moveTo>
                  <a:pt x="2928" y="448"/>
                </a:moveTo>
                <a:cubicBezTo>
                  <a:pt x="3022" y="448"/>
                  <a:pt x="3022" y="448"/>
                  <a:pt x="3022" y="448"/>
                </a:cubicBezTo>
                <a:cubicBezTo>
                  <a:pt x="3022" y="436"/>
                  <a:pt x="3022" y="436"/>
                  <a:pt x="3022" y="436"/>
                </a:cubicBezTo>
                <a:cubicBezTo>
                  <a:pt x="2992" y="432"/>
                  <a:pt x="2946" y="408"/>
                  <a:pt x="2896" y="372"/>
                </a:cubicBezTo>
                <a:cubicBezTo>
                  <a:pt x="2914" y="342"/>
                  <a:pt x="2918" y="300"/>
                  <a:pt x="2922" y="270"/>
                </a:cubicBezTo>
                <a:cubicBezTo>
                  <a:pt x="2926" y="244"/>
                  <a:pt x="2946" y="244"/>
                  <a:pt x="2958" y="242"/>
                </a:cubicBezTo>
                <a:cubicBezTo>
                  <a:pt x="2958" y="230"/>
                  <a:pt x="2958" y="230"/>
                  <a:pt x="2958" y="230"/>
                </a:cubicBezTo>
                <a:cubicBezTo>
                  <a:pt x="2834" y="230"/>
                  <a:pt x="2834" y="230"/>
                  <a:pt x="2834" y="230"/>
                </a:cubicBezTo>
                <a:cubicBezTo>
                  <a:pt x="2834" y="242"/>
                  <a:pt x="2834" y="242"/>
                  <a:pt x="2834" y="242"/>
                </a:cubicBezTo>
                <a:cubicBezTo>
                  <a:pt x="2864" y="246"/>
                  <a:pt x="2892" y="250"/>
                  <a:pt x="2892" y="294"/>
                </a:cubicBezTo>
                <a:cubicBezTo>
                  <a:pt x="2892" y="318"/>
                  <a:pt x="2888" y="342"/>
                  <a:pt x="2878" y="358"/>
                </a:cubicBezTo>
                <a:cubicBezTo>
                  <a:pt x="2770" y="274"/>
                  <a:pt x="2670" y="156"/>
                  <a:pt x="2670" y="96"/>
                </a:cubicBezTo>
                <a:cubicBezTo>
                  <a:pt x="2670" y="66"/>
                  <a:pt x="2688" y="54"/>
                  <a:pt x="2716" y="54"/>
                </a:cubicBezTo>
                <a:cubicBezTo>
                  <a:pt x="2752" y="54"/>
                  <a:pt x="2784" y="78"/>
                  <a:pt x="2800" y="124"/>
                </a:cubicBezTo>
                <a:cubicBezTo>
                  <a:pt x="2812" y="124"/>
                  <a:pt x="2812" y="124"/>
                  <a:pt x="2812" y="124"/>
                </a:cubicBezTo>
                <a:cubicBezTo>
                  <a:pt x="2810" y="42"/>
                  <a:pt x="2810" y="42"/>
                  <a:pt x="2810" y="42"/>
                </a:cubicBezTo>
                <a:cubicBezTo>
                  <a:pt x="2798" y="42"/>
                  <a:pt x="2798" y="42"/>
                  <a:pt x="2798" y="42"/>
                </a:cubicBezTo>
                <a:cubicBezTo>
                  <a:pt x="2798" y="48"/>
                  <a:pt x="2792" y="52"/>
                  <a:pt x="2788" y="52"/>
                </a:cubicBezTo>
                <a:cubicBezTo>
                  <a:pt x="2772" y="52"/>
                  <a:pt x="2752" y="36"/>
                  <a:pt x="2714" y="36"/>
                </a:cubicBezTo>
                <a:cubicBezTo>
                  <a:pt x="2672" y="36"/>
                  <a:pt x="2630" y="62"/>
                  <a:pt x="2630" y="118"/>
                </a:cubicBezTo>
                <a:cubicBezTo>
                  <a:pt x="2630" y="140"/>
                  <a:pt x="2636" y="160"/>
                  <a:pt x="2648" y="182"/>
                </a:cubicBezTo>
                <a:cubicBezTo>
                  <a:pt x="2592" y="200"/>
                  <a:pt x="2562" y="248"/>
                  <a:pt x="2562" y="304"/>
                </a:cubicBezTo>
                <a:cubicBezTo>
                  <a:pt x="2562" y="406"/>
                  <a:pt x="2640" y="460"/>
                  <a:pt x="2726" y="460"/>
                </a:cubicBezTo>
                <a:cubicBezTo>
                  <a:pt x="2780" y="460"/>
                  <a:pt x="2824" y="444"/>
                  <a:pt x="2862" y="410"/>
                </a:cubicBezTo>
                <a:cubicBezTo>
                  <a:pt x="2888" y="424"/>
                  <a:pt x="2912" y="442"/>
                  <a:pt x="2928" y="448"/>
                </a:cubicBezTo>
                <a:moveTo>
                  <a:pt x="3094" y="212"/>
                </a:moveTo>
                <a:cubicBezTo>
                  <a:pt x="3094" y="88"/>
                  <a:pt x="3154" y="20"/>
                  <a:pt x="3252" y="20"/>
                </a:cubicBezTo>
                <a:cubicBezTo>
                  <a:pt x="3328" y="20"/>
                  <a:pt x="3372" y="58"/>
                  <a:pt x="3392" y="134"/>
                </a:cubicBezTo>
                <a:cubicBezTo>
                  <a:pt x="3404" y="134"/>
                  <a:pt x="3404" y="134"/>
                  <a:pt x="3404" y="134"/>
                </a:cubicBezTo>
                <a:cubicBezTo>
                  <a:pt x="3400" y="4"/>
                  <a:pt x="3400" y="4"/>
                  <a:pt x="3400" y="4"/>
                </a:cubicBezTo>
                <a:cubicBezTo>
                  <a:pt x="3388" y="4"/>
                  <a:pt x="3388" y="4"/>
                  <a:pt x="3388" y="4"/>
                </a:cubicBezTo>
                <a:cubicBezTo>
                  <a:pt x="3384" y="14"/>
                  <a:pt x="3376" y="18"/>
                  <a:pt x="3364" y="18"/>
                </a:cubicBezTo>
                <a:cubicBezTo>
                  <a:pt x="3338" y="18"/>
                  <a:pt x="3314" y="0"/>
                  <a:pt x="3248" y="0"/>
                </a:cubicBezTo>
                <a:cubicBezTo>
                  <a:pt x="3118" y="0"/>
                  <a:pt x="3030" y="102"/>
                  <a:pt x="3030" y="242"/>
                </a:cubicBezTo>
                <a:cubicBezTo>
                  <a:pt x="3030" y="376"/>
                  <a:pt x="3110" y="460"/>
                  <a:pt x="3238" y="460"/>
                </a:cubicBezTo>
                <a:cubicBezTo>
                  <a:pt x="3320" y="460"/>
                  <a:pt x="3384" y="420"/>
                  <a:pt x="3408" y="380"/>
                </a:cubicBezTo>
                <a:cubicBezTo>
                  <a:pt x="3396" y="366"/>
                  <a:pt x="3396" y="366"/>
                  <a:pt x="3396" y="366"/>
                </a:cubicBezTo>
                <a:cubicBezTo>
                  <a:pt x="3370" y="402"/>
                  <a:pt x="3314" y="426"/>
                  <a:pt x="3256" y="426"/>
                </a:cubicBezTo>
                <a:cubicBezTo>
                  <a:pt x="3156" y="426"/>
                  <a:pt x="3094" y="340"/>
                  <a:pt x="3094" y="212"/>
                </a:cubicBezTo>
                <a:moveTo>
                  <a:pt x="3678" y="328"/>
                </a:moveTo>
                <a:cubicBezTo>
                  <a:pt x="3678" y="392"/>
                  <a:pt x="3650" y="430"/>
                  <a:pt x="3592" y="430"/>
                </a:cubicBezTo>
                <a:cubicBezTo>
                  <a:pt x="3542" y="430"/>
                  <a:pt x="3496" y="384"/>
                  <a:pt x="3496" y="292"/>
                </a:cubicBezTo>
                <a:cubicBezTo>
                  <a:pt x="3496" y="226"/>
                  <a:pt x="3528" y="190"/>
                  <a:pt x="3580" y="190"/>
                </a:cubicBezTo>
                <a:cubicBezTo>
                  <a:pt x="3628" y="192"/>
                  <a:pt x="3678" y="238"/>
                  <a:pt x="3678" y="328"/>
                </a:cubicBezTo>
                <a:moveTo>
                  <a:pt x="3732" y="312"/>
                </a:moveTo>
                <a:cubicBezTo>
                  <a:pt x="3732" y="260"/>
                  <a:pt x="3710" y="214"/>
                  <a:pt x="3672" y="190"/>
                </a:cubicBezTo>
                <a:cubicBezTo>
                  <a:pt x="3650" y="176"/>
                  <a:pt x="3620" y="168"/>
                  <a:pt x="3588" y="168"/>
                </a:cubicBezTo>
                <a:cubicBezTo>
                  <a:pt x="3502" y="168"/>
                  <a:pt x="3442" y="230"/>
                  <a:pt x="3442" y="310"/>
                </a:cubicBezTo>
                <a:cubicBezTo>
                  <a:pt x="3442" y="364"/>
                  <a:pt x="3464" y="408"/>
                  <a:pt x="3502" y="432"/>
                </a:cubicBezTo>
                <a:cubicBezTo>
                  <a:pt x="3524" y="446"/>
                  <a:pt x="3554" y="452"/>
                  <a:pt x="3586" y="452"/>
                </a:cubicBezTo>
                <a:cubicBezTo>
                  <a:pt x="3672" y="454"/>
                  <a:pt x="3732" y="394"/>
                  <a:pt x="3732" y="312"/>
                </a:cubicBezTo>
                <a:moveTo>
                  <a:pt x="4136" y="448"/>
                </a:moveTo>
                <a:cubicBezTo>
                  <a:pt x="4280" y="448"/>
                  <a:pt x="4280" y="448"/>
                  <a:pt x="4280" y="448"/>
                </a:cubicBezTo>
                <a:cubicBezTo>
                  <a:pt x="4280" y="436"/>
                  <a:pt x="4280" y="436"/>
                  <a:pt x="4280" y="436"/>
                </a:cubicBezTo>
                <a:cubicBezTo>
                  <a:pt x="4230" y="434"/>
                  <a:pt x="4232" y="426"/>
                  <a:pt x="4232" y="348"/>
                </a:cubicBezTo>
                <a:cubicBezTo>
                  <a:pt x="4232" y="276"/>
                  <a:pt x="4232" y="276"/>
                  <a:pt x="4232" y="276"/>
                </a:cubicBezTo>
                <a:cubicBezTo>
                  <a:pt x="4232" y="200"/>
                  <a:pt x="4190" y="172"/>
                  <a:pt x="4142" y="172"/>
                </a:cubicBezTo>
                <a:cubicBezTo>
                  <a:pt x="4098" y="172"/>
                  <a:pt x="4064" y="196"/>
                  <a:pt x="4038" y="232"/>
                </a:cubicBezTo>
                <a:cubicBezTo>
                  <a:pt x="4028" y="194"/>
                  <a:pt x="4000" y="172"/>
                  <a:pt x="3954" y="172"/>
                </a:cubicBezTo>
                <a:cubicBezTo>
                  <a:pt x="3916" y="172"/>
                  <a:pt x="3880" y="196"/>
                  <a:pt x="3858" y="224"/>
                </a:cubicBezTo>
                <a:cubicBezTo>
                  <a:pt x="3858" y="176"/>
                  <a:pt x="3858" y="176"/>
                  <a:pt x="3858" y="176"/>
                </a:cubicBezTo>
                <a:cubicBezTo>
                  <a:pt x="3756" y="176"/>
                  <a:pt x="3756" y="176"/>
                  <a:pt x="3756" y="176"/>
                </a:cubicBezTo>
                <a:cubicBezTo>
                  <a:pt x="3756" y="188"/>
                  <a:pt x="3756" y="188"/>
                  <a:pt x="3756" y="188"/>
                </a:cubicBezTo>
                <a:cubicBezTo>
                  <a:pt x="3800" y="190"/>
                  <a:pt x="3806" y="192"/>
                  <a:pt x="3806" y="268"/>
                </a:cubicBezTo>
                <a:cubicBezTo>
                  <a:pt x="3806" y="346"/>
                  <a:pt x="3806" y="346"/>
                  <a:pt x="3806" y="346"/>
                </a:cubicBezTo>
                <a:cubicBezTo>
                  <a:pt x="3806" y="434"/>
                  <a:pt x="3804" y="434"/>
                  <a:pt x="3758" y="434"/>
                </a:cubicBezTo>
                <a:cubicBezTo>
                  <a:pt x="3758" y="446"/>
                  <a:pt x="3758" y="446"/>
                  <a:pt x="3758" y="446"/>
                </a:cubicBezTo>
                <a:cubicBezTo>
                  <a:pt x="3902" y="446"/>
                  <a:pt x="3902" y="446"/>
                  <a:pt x="3902" y="446"/>
                </a:cubicBezTo>
                <a:cubicBezTo>
                  <a:pt x="3902" y="434"/>
                  <a:pt x="3902" y="434"/>
                  <a:pt x="3902" y="434"/>
                </a:cubicBezTo>
                <a:cubicBezTo>
                  <a:pt x="3862" y="430"/>
                  <a:pt x="3858" y="430"/>
                  <a:pt x="3858" y="342"/>
                </a:cubicBezTo>
                <a:cubicBezTo>
                  <a:pt x="3858" y="262"/>
                  <a:pt x="3858" y="262"/>
                  <a:pt x="3858" y="262"/>
                </a:cubicBezTo>
                <a:cubicBezTo>
                  <a:pt x="3858" y="234"/>
                  <a:pt x="3894" y="204"/>
                  <a:pt x="3932" y="204"/>
                </a:cubicBezTo>
                <a:cubicBezTo>
                  <a:pt x="3974" y="204"/>
                  <a:pt x="3990" y="226"/>
                  <a:pt x="3990" y="282"/>
                </a:cubicBezTo>
                <a:cubicBezTo>
                  <a:pt x="3990" y="338"/>
                  <a:pt x="3990" y="338"/>
                  <a:pt x="3990" y="338"/>
                </a:cubicBezTo>
                <a:cubicBezTo>
                  <a:pt x="3990" y="428"/>
                  <a:pt x="3988" y="432"/>
                  <a:pt x="3950" y="436"/>
                </a:cubicBezTo>
                <a:cubicBezTo>
                  <a:pt x="3950" y="448"/>
                  <a:pt x="3950" y="448"/>
                  <a:pt x="3950" y="448"/>
                </a:cubicBezTo>
                <a:cubicBezTo>
                  <a:pt x="4086" y="448"/>
                  <a:pt x="4086" y="448"/>
                  <a:pt x="4086" y="448"/>
                </a:cubicBezTo>
                <a:cubicBezTo>
                  <a:pt x="4086" y="436"/>
                  <a:pt x="4086" y="436"/>
                  <a:pt x="4086" y="436"/>
                </a:cubicBezTo>
                <a:cubicBezTo>
                  <a:pt x="4040" y="432"/>
                  <a:pt x="4042" y="428"/>
                  <a:pt x="4042" y="342"/>
                </a:cubicBezTo>
                <a:cubicBezTo>
                  <a:pt x="4042" y="264"/>
                  <a:pt x="4042" y="264"/>
                  <a:pt x="4042" y="264"/>
                </a:cubicBezTo>
                <a:cubicBezTo>
                  <a:pt x="4042" y="236"/>
                  <a:pt x="4078" y="206"/>
                  <a:pt x="4118" y="206"/>
                </a:cubicBezTo>
                <a:cubicBezTo>
                  <a:pt x="4152" y="206"/>
                  <a:pt x="4174" y="226"/>
                  <a:pt x="4174" y="284"/>
                </a:cubicBezTo>
                <a:cubicBezTo>
                  <a:pt x="4174" y="346"/>
                  <a:pt x="4174" y="346"/>
                  <a:pt x="4174" y="346"/>
                </a:cubicBezTo>
                <a:cubicBezTo>
                  <a:pt x="4174" y="428"/>
                  <a:pt x="4174" y="432"/>
                  <a:pt x="4134" y="436"/>
                </a:cubicBezTo>
                <a:cubicBezTo>
                  <a:pt x="4134" y="448"/>
                  <a:pt x="4134" y="448"/>
                  <a:pt x="4134" y="448"/>
                </a:cubicBezTo>
                <a:lnTo>
                  <a:pt x="4136" y="448"/>
                </a:lnTo>
                <a:close/>
                <a:moveTo>
                  <a:pt x="4546" y="316"/>
                </a:moveTo>
                <a:cubicBezTo>
                  <a:pt x="4546" y="388"/>
                  <a:pt x="4516" y="432"/>
                  <a:pt x="4460" y="432"/>
                </a:cubicBezTo>
                <a:cubicBezTo>
                  <a:pt x="4424" y="432"/>
                  <a:pt x="4384" y="412"/>
                  <a:pt x="4384" y="384"/>
                </a:cubicBezTo>
                <a:cubicBezTo>
                  <a:pt x="4384" y="248"/>
                  <a:pt x="4384" y="248"/>
                  <a:pt x="4384" y="248"/>
                </a:cubicBezTo>
                <a:cubicBezTo>
                  <a:pt x="4384" y="226"/>
                  <a:pt x="4416" y="202"/>
                  <a:pt x="4454" y="202"/>
                </a:cubicBezTo>
                <a:cubicBezTo>
                  <a:pt x="4510" y="206"/>
                  <a:pt x="4546" y="248"/>
                  <a:pt x="4546" y="316"/>
                </a:cubicBezTo>
                <a:moveTo>
                  <a:pt x="4600" y="310"/>
                </a:moveTo>
                <a:cubicBezTo>
                  <a:pt x="4600" y="230"/>
                  <a:pt x="4548" y="170"/>
                  <a:pt x="4478" y="170"/>
                </a:cubicBezTo>
                <a:cubicBezTo>
                  <a:pt x="4438" y="170"/>
                  <a:pt x="4406" y="188"/>
                  <a:pt x="4384" y="214"/>
                </a:cubicBezTo>
                <a:cubicBezTo>
                  <a:pt x="4384" y="174"/>
                  <a:pt x="4384" y="174"/>
                  <a:pt x="4384" y="174"/>
                </a:cubicBezTo>
                <a:cubicBezTo>
                  <a:pt x="4284" y="174"/>
                  <a:pt x="4284" y="174"/>
                  <a:pt x="4284" y="174"/>
                </a:cubicBezTo>
                <a:cubicBezTo>
                  <a:pt x="4284" y="186"/>
                  <a:pt x="4284" y="186"/>
                  <a:pt x="4284" y="186"/>
                </a:cubicBezTo>
                <a:cubicBezTo>
                  <a:pt x="4326" y="188"/>
                  <a:pt x="4332" y="190"/>
                  <a:pt x="4332" y="280"/>
                </a:cubicBezTo>
                <a:cubicBezTo>
                  <a:pt x="4332" y="466"/>
                  <a:pt x="4332" y="466"/>
                  <a:pt x="4332" y="466"/>
                </a:cubicBezTo>
                <a:cubicBezTo>
                  <a:pt x="4332" y="564"/>
                  <a:pt x="4334" y="570"/>
                  <a:pt x="4286" y="574"/>
                </a:cubicBezTo>
                <a:cubicBezTo>
                  <a:pt x="4286" y="588"/>
                  <a:pt x="4286" y="588"/>
                  <a:pt x="4286" y="588"/>
                </a:cubicBezTo>
                <a:cubicBezTo>
                  <a:pt x="4432" y="588"/>
                  <a:pt x="4432" y="588"/>
                  <a:pt x="4432" y="588"/>
                </a:cubicBezTo>
                <a:cubicBezTo>
                  <a:pt x="4432" y="574"/>
                  <a:pt x="4432" y="574"/>
                  <a:pt x="4432" y="574"/>
                </a:cubicBezTo>
                <a:cubicBezTo>
                  <a:pt x="4380" y="572"/>
                  <a:pt x="4384" y="564"/>
                  <a:pt x="4384" y="462"/>
                </a:cubicBezTo>
                <a:cubicBezTo>
                  <a:pt x="4384" y="424"/>
                  <a:pt x="4384" y="424"/>
                  <a:pt x="4384" y="424"/>
                </a:cubicBezTo>
                <a:cubicBezTo>
                  <a:pt x="4404" y="444"/>
                  <a:pt x="4436" y="454"/>
                  <a:pt x="4466" y="454"/>
                </a:cubicBezTo>
                <a:cubicBezTo>
                  <a:pt x="4548" y="454"/>
                  <a:pt x="4600" y="392"/>
                  <a:pt x="4600" y="310"/>
                </a:cubicBezTo>
                <a:moveTo>
                  <a:pt x="4792" y="382"/>
                </a:moveTo>
                <a:cubicBezTo>
                  <a:pt x="4792" y="404"/>
                  <a:pt x="4762" y="424"/>
                  <a:pt x="4736" y="424"/>
                </a:cubicBezTo>
                <a:cubicBezTo>
                  <a:pt x="4712" y="424"/>
                  <a:pt x="4694" y="410"/>
                  <a:pt x="4694" y="378"/>
                </a:cubicBezTo>
                <a:cubicBezTo>
                  <a:pt x="4694" y="322"/>
                  <a:pt x="4752" y="328"/>
                  <a:pt x="4792" y="306"/>
                </a:cubicBezTo>
                <a:cubicBezTo>
                  <a:pt x="4792" y="382"/>
                  <a:pt x="4792" y="382"/>
                  <a:pt x="4792" y="382"/>
                </a:cubicBezTo>
                <a:close/>
                <a:moveTo>
                  <a:pt x="5240" y="434"/>
                </a:moveTo>
                <a:cubicBezTo>
                  <a:pt x="5192" y="432"/>
                  <a:pt x="5192" y="430"/>
                  <a:pt x="5192" y="340"/>
                </a:cubicBezTo>
                <a:cubicBezTo>
                  <a:pt x="5192" y="278"/>
                  <a:pt x="5192" y="278"/>
                  <a:pt x="5192" y="278"/>
                </a:cubicBezTo>
                <a:cubicBezTo>
                  <a:pt x="5192" y="196"/>
                  <a:pt x="5146" y="170"/>
                  <a:pt x="5104" y="170"/>
                </a:cubicBezTo>
                <a:cubicBezTo>
                  <a:pt x="5068" y="170"/>
                  <a:pt x="5032" y="186"/>
                  <a:pt x="5004" y="222"/>
                </a:cubicBezTo>
                <a:cubicBezTo>
                  <a:pt x="5004" y="174"/>
                  <a:pt x="5004" y="174"/>
                  <a:pt x="5004" y="174"/>
                </a:cubicBezTo>
                <a:cubicBezTo>
                  <a:pt x="4902" y="174"/>
                  <a:pt x="4902" y="174"/>
                  <a:pt x="4902" y="174"/>
                </a:cubicBezTo>
                <a:cubicBezTo>
                  <a:pt x="4902" y="186"/>
                  <a:pt x="4902" y="186"/>
                  <a:pt x="4902" y="186"/>
                </a:cubicBezTo>
                <a:cubicBezTo>
                  <a:pt x="4946" y="188"/>
                  <a:pt x="4952" y="190"/>
                  <a:pt x="4952" y="266"/>
                </a:cubicBezTo>
                <a:cubicBezTo>
                  <a:pt x="4952" y="334"/>
                  <a:pt x="4952" y="334"/>
                  <a:pt x="4952" y="334"/>
                </a:cubicBezTo>
                <a:cubicBezTo>
                  <a:pt x="4952" y="430"/>
                  <a:pt x="4952" y="432"/>
                  <a:pt x="4904" y="434"/>
                </a:cubicBezTo>
                <a:cubicBezTo>
                  <a:pt x="4892" y="434"/>
                  <a:pt x="4892" y="434"/>
                  <a:pt x="4892" y="434"/>
                </a:cubicBezTo>
                <a:cubicBezTo>
                  <a:pt x="4854" y="434"/>
                  <a:pt x="4850" y="422"/>
                  <a:pt x="4850" y="366"/>
                </a:cubicBezTo>
                <a:cubicBezTo>
                  <a:pt x="4850" y="274"/>
                  <a:pt x="4850" y="274"/>
                  <a:pt x="4850" y="274"/>
                </a:cubicBezTo>
                <a:cubicBezTo>
                  <a:pt x="4850" y="256"/>
                  <a:pt x="4848" y="240"/>
                  <a:pt x="4844" y="228"/>
                </a:cubicBezTo>
                <a:cubicBezTo>
                  <a:pt x="4830" y="186"/>
                  <a:pt x="4796" y="170"/>
                  <a:pt x="4748" y="170"/>
                </a:cubicBezTo>
                <a:cubicBezTo>
                  <a:pt x="4718" y="170"/>
                  <a:pt x="4674" y="180"/>
                  <a:pt x="4650" y="202"/>
                </a:cubicBezTo>
                <a:cubicBezTo>
                  <a:pt x="4652" y="214"/>
                  <a:pt x="4664" y="240"/>
                  <a:pt x="4670" y="248"/>
                </a:cubicBezTo>
                <a:cubicBezTo>
                  <a:pt x="4676" y="246"/>
                  <a:pt x="4676" y="246"/>
                  <a:pt x="4676" y="246"/>
                </a:cubicBezTo>
                <a:cubicBezTo>
                  <a:pt x="4688" y="216"/>
                  <a:pt x="4708" y="194"/>
                  <a:pt x="4742" y="194"/>
                </a:cubicBezTo>
                <a:cubicBezTo>
                  <a:pt x="4778" y="194"/>
                  <a:pt x="4794" y="220"/>
                  <a:pt x="4794" y="250"/>
                </a:cubicBezTo>
                <a:cubicBezTo>
                  <a:pt x="4794" y="282"/>
                  <a:pt x="4794" y="282"/>
                  <a:pt x="4794" y="282"/>
                </a:cubicBezTo>
                <a:cubicBezTo>
                  <a:pt x="4794" y="302"/>
                  <a:pt x="4702" y="306"/>
                  <a:pt x="4664" y="338"/>
                </a:cubicBezTo>
                <a:cubicBezTo>
                  <a:pt x="4652" y="350"/>
                  <a:pt x="4642" y="364"/>
                  <a:pt x="4642" y="384"/>
                </a:cubicBezTo>
                <a:cubicBezTo>
                  <a:pt x="4642" y="426"/>
                  <a:pt x="4672" y="456"/>
                  <a:pt x="4716" y="456"/>
                </a:cubicBezTo>
                <a:cubicBezTo>
                  <a:pt x="4744" y="456"/>
                  <a:pt x="4768" y="446"/>
                  <a:pt x="4794" y="418"/>
                </a:cubicBezTo>
                <a:cubicBezTo>
                  <a:pt x="4798" y="438"/>
                  <a:pt x="4814" y="448"/>
                  <a:pt x="4842" y="448"/>
                </a:cubicBezTo>
                <a:cubicBezTo>
                  <a:pt x="4906" y="448"/>
                  <a:pt x="4906" y="448"/>
                  <a:pt x="4906" y="448"/>
                </a:cubicBezTo>
                <a:cubicBezTo>
                  <a:pt x="4906" y="448"/>
                  <a:pt x="4906" y="448"/>
                  <a:pt x="4906" y="448"/>
                </a:cubicBezTo>
                <a:cubicBezTo>
                  <a:pt x="5048" y="448"/>
                  <a:pt x="5048" y="448"/>
                  <a:pt x="5048" y="448"/>
                </a:cubicBezTo>
                <a:cubicBezTo>
                  <a:pt x="5048" y="436"/>
                  <a:pt x="5048" y="436"/>
                  <a:pt x="5048" y="436"/>
                </a:cubicBezTo>
                <a:cubicBezTo>
                  <a:pt x="5006" y="432"/>
                  <a:pt x="5004" y="434"/>
                  <a:pt x="5004" y="338"/>
                </a:cubicBezTo>
                <a:cubicBezTo>
                  <a:pt x="5004" y="262"/>
                  <a:pt x="5004" y="262"/>
                  <a:pt x="5004" y="262"/>
                </a:cubicBezTo>
                <a:cubicBezTo>
                  <a:pt x="5004" y="236"/>
                  <a:pt x="5038" y="206"/>
                  <a:pt x="5080" y="206"/>
                </a:cubicBezTo>
                <a:cubicBezTo>
                  <a:pt x="5114" y="206"/>
                  <a:pt x="5140" y="220"/>
                  <a:pt x="5140" y="286"/>
                </a:cubicBezTo>
                <a:cubicBezTo>
                  <a:pt x="5140" y="340"/>
                  <a:pt x="5140" y="340"/>
                  <a:pt x="5140" y="340"/>
                </a:cubicBezTo>
                <a:cubicBezTo>
                  <a:pt x="5140" y="432"/>
                  <a:pt x="5136" y="432"/>
                  <a:pt x="5098" y="434"/>
                </a:cubicBezTo>
                <a:cubicBezTo>
                  <a:pt x="5098" y="446"/>
                  <a:pt x="5098" y="446"/>
                  <a:pt x="5098" y="446"/>
                </a:cubicBezTo>
                <a:cubicBezTo>
                  <a:pt x="5240" y="446"/>
                  <a:pt x="5240" y="446"/>
                  <a:pt x="5240" y="446"/>
                </a:cubicBezTo>
                <a:lnTo>
                  <a:pt x="5240" y="434"/>
                </a:lnTo>
                <a:close/>
                <a:moveTo>
                  <a:pt x="5516" y="192"/>
                </a:moveTo>
                <a:cubicBezTo>
                  <a:pt x="5516" y="180"/>
                  <a:pt x="5516" y="180"/>
                  <a:pt x="5516" y="180"/>
                </a:cubicBezTo>
                <a:cubicBezTo>
                  <a:pt x="5418" y="180"/>
                  <a:pt x="5418" y="180"/>
                  <a:pt x="5418" y="180"/>
                </a:cubicBezTo>
                <a:cubicBezTo>
                  <a:pt x="5418" y="192"/>
                  <a:pt x="5418" y="192"/>
                  <a:pt x="5418" y="192"/>
                </a:cubicBezTo>
                <a:cubicBezTo>
                  <a:pt x="5442" y="194"/>
                  <a:pt x="5454" y="206"/>
                  <a:pt x="5446" y="234"/>
                </a:cubicBezTo>
                <a:cubicBezTo>
                  <a:pt x="5394" y="390"/>
                  <a:pt x="5394" y="390"/>
                  <a:pt x="5394" y="390"/>
                </a:cubicBezTo>
                <a:cubicBezTo>
                  <a:pt x="5342" y="270"/>
                  <a:pt x="5342" y="270"/>
                  <a:pt x="5342" y="270"/>
                </a:cubicBezTo>
                <a:cubicBezTo>
                  <a:pt x="5328" y="238"/>
                  <a:pt x="5322" y="224"/>
                  <a:pt x="5322" y="212"/>
                </a:cubicBezTo>
                <a:cubicBezTo>
                  <a:pt x="5322" y="202"/>
                  <a:pt x="5328" y="196"/>
                  <a:pt x="5348" y="192"/>
                </a:cubicBezTo>
                <a:cubicBezTo>
                  <a:pt x="5348" y="180"/>
                  <a:pt x="5348" y="180"/>
                  <a:pt x="5348" y="180"/>
                </a:cubicBezTo>
                <a:cubicBezTo>
                  <a:pt x="5220" y="180"/>
                  <a:pt x="5220" y="180"/>
                  <a:pt x="5220" y="180"/>
                </a:cubicBezTo>
                <a:cubicBezTo>
                  <a:pt x="5220" y="192"/>
                  <a:pt x="5220" y="192"/>
                  <a:pt x="5220" y="192"/>
                </a:cubicBezTo>
                <a:cubicBezTo>
                  <a:pt x="5252" y="194"/>
                  <a:pt x="5254" y="198"/>
                  <a:pt x="5296" y="292"/>
                </a:cubicBezTo>
                <a:cubicBezTo>
                  <a:pt x="5368" y="450"/>
                  <a:pt x="5368" y="450"/>
                  <a:pt x="5368" y="450"/>
                </a:cubicBezTo>
                <a:cubicBezTo>
                  <a:pt x="5344" y="512"/>
                  <a:pt x="5306" y="546"/>
                  <a:pt x="5228" y="564"/>
                </a:cubicBezTo>
                <a:cubicBezTo>
                  <a:pt x="5232" y="576"/>
                  <a:pt x="5246" y="600"/>
                  <a:pt x="5254" y="606"/>
                </a:cubicBezTo>
                <a:cubicBezTo>
                  <a:pt x="5356" y="564"/>
                  <a:pt x="5376" y="498"/>
                  <a:pt x="5412" y="396"/>
                </a:cubicBezTo>
                <a:cubicBezTo>
                  <a:pt x="5466" y="242"/>
                  <a:pt x="5466" y="242"/>
                  <a:pt x="5466" y="242"/>
                </a:cubicBezTo>
                <a:cubicBezTo>
                  <a:pt x="5478" y="206"/>
                  <a:pt x="5498" y="192"/>
                  <a:pt x="5516" y="192"/>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600" kern="1200">
                <a:solidFill>
                  <a:schemeClr val="tx1"/>
                </a:solidFill>
                <a:latin typeface="Arial" charset="0"/>
                <a:ea typeface="+mn-ea"/>
                <a:cs typeface="+mn-cs"/>
              </a:defRPr>
            </a:lvl1pPr>
            <a:lvl2pPr marL="457200" algn="l" rtl="0" fontAlgn="base">
              <a:spcBef>
                <a:spcPct val="0"/>
              </a:spcBef>
              <a:spcAft>
                <a:spcPct val="0"/>
              </a:spcAft>
              <a:defRPr sz="1600" kern="1200">
                <a:solidFill>
                  <a:schemeClr val="tx1"/>
                </a:solidFill>
                <a:latin typeface="Arial" charset="0"/>
                <a:ea typeface="+mn-ea"/>
                <a:cs typeface="+mn-cs"/>
              </a:defRPr>
            </a:lvl2pPr>
            <a:lvl3pPr marL="914400" algn="l" rtl="0" fontAlgn="base">
              <a:spcBef>
                <a:spcPct val="0"/>
              </a:spcBef>
              <a:spcAft>
                <a:spcPct val="0"/>
              </a:spcAft>
              <a:defRPr sz="1600" kern="1200">
                <a:solidFill>
                  <a:schemeClr val="tx1"/>
                </a:solidFill>
                <a:latin typeface="Arial" charset="0"/>
                <a:ea typeface="+mn-ea"/>
                <a:cs typeface="+mn-cs"/>
              </a:defRPr>
            </a:lvl3pPr>
            <a:lvl4pPr marL="1371600" algn="l" rtl="0" fontAlgn="base">
              <a:spcBef>
                <a:spcPct val="0"/>
              </a:spcBef>
              <a:spcAft>
                <a:spcPct val="0"/>
              </a:spcAft>
              <a:defRPr sz="1600" kern="1200">
                <a:solidFill>
                  <a:schemeClr val="tx1"/>
                </a:solidFill>
                <a:latin typeface="Arial" charset="0"/>
                <a:ea typeface="+mn-ea"/>
                <a:cs typeface="+mn-cs"/>
              </a:defRPr>
            </a:lvl4pPr>
            <a:lvl5pPr marL="1828800" algn="l" rtl="0" fontAlgn="base">
              <a:spcBef>
                <a:spcPct val="0"/>
              </a:spcBef>
              <a:spcAft>
                <a:spcPct val="0"/>
              </a:spcAft>
              <a:defRPr sz="1600" kern="1200">
                <a:solidFill>
                  <a:schemeClr val="tx1"/>
                </a:solidFill>
                <a:latin typeface="Arial" charset="0"/>
                <a:ea typeface="+mn-ea"/>
                <a:cs typeface="+mn-cs"/>
              </a:defRPr>
            </a:lvl5pPr>
            <a:lvl6pPr marL="2286000" algn="l" defTabSz="914400" rtl="0" eaLnBrk="1" latinLnBrk="0" hangingPunct="1">
              <a:defRPr sz="1600" kern="1200">
                <a:solidFill>
                  <a:schemeClr val="tx1"/>
                </a:solidFill>
                <a:latin typeface="Arial" charset="0"/>
                <a:ea typeface="+mn-ea"/>
                <a:cs typeface="+mn-cs"/>
              </a:defRPr>
            </a:lvl6pPr>
            <a:lvl7pPr marL="2743200" algn="l" defTabSz="914400" rtl="0" eaLnBrk="1" latinLnBrk="0" hangingPunct="1">
              <a:defRPr sz="1600" kern="1200">
                <a:solidFill>
                  <a:schemeClr val="tx1"/>
                </a:solidFill>
                <a:latin typeface="Arial" charset="0"/>
                <a:ea typeface="+mn-ea"/>
                <a:cs typeface="+mn-cs"/>
              </a:defRPr>
            </a:lvl7pPr>
            <a:lvl8pPr marL="3200400" algn="l" defTabSz="914400" rtl="0" eaLnBrk="1" latinLnBrk="0" hangingPunct="1">
              <a:defRPr sz="1600" kern="1200">
                <a:solidFill>
                  <a:schemeClr val="tx1"/>
                </a:solidFill>
                <a:latin typeface="Arial" charset="0"/>
                <a:ea typeface="+mn-ea"/>
                <a:cs typeface="+mn-cs"/>
              </a:defRPr>
            </a:lvl8pPr>
            <a:lvl9pPr marL="3657600" algn="l" defTabSz="914400" rtl="0" eaLnBrk="1" latinLnBrk="0" hangingPunct="1">
              <a:defRPr sz="1600" kern="1200">
                <a:solidFill>
                  <a:schemeClr val="tx1"/>
                </a:solidFill>
                <a:latin typeface="Arial" charset="0"/>
                <a:ea typeface="+mn-ea"/>
                <a:cs typeface="+mn-cs"/>
              </a:defRPr>
            </a:lvl9pPr>
          </a:lstStyle>
          <a:p>
            <a:endParaRPr lang="en-US" baseline="0" dirty="0">
              <a:solidFill>
                <a:srgbClr val="000000"/>
              </a:solidFill>
              <a:latin typeface="+mn-lt"/>
            </a:endParaRPr>
          </a:p>
        </p:txBody>
      </p:sp>
      <p:sp>
        <p:nvSpPr>
          <p:cNvPr id="27" name="Disclaimer-English (United States)" hidden="1"/>
          <p:cNvSpPr>
            <a:spLocks noChangeArrowheads="1"/>
          </p:cNvSpPr>
          <p:nvPr/>
        </p:nvSpPr>
        <p:spPr bwMode="black">
          <a:xfrm>
            <a:off x="2268266" y="6287785"/>
            <a:ext cx="3544453" cy="36908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t" anchorCtr="0">
            <a:noAutofit/>
          </a:bodyPr>
          <a:lstStyle/>
          <a:p>
            <a:pPr defTabSz="804863" eaLnBrk="0" hangingPunct="0"/>
            <a:r>
              <a:rPr lang="en-US" sz="800" baseline="0" dirty="0">
                <a:solidFill>
                  <a:srgbClr val="FFFFFF"/>
                </a:solidFill>
                <a:latin typeface="+mn-lt"/>
              </a:rPr>
              <a:t>CONFIDENTIAL AND PROPRIETARY</a:t>
            </a:r>
          </a:p>
          <a:p>
            <a:pPr defTabSz="804863" eaLnBrk="0" hangingPunct="0"/>
            <a:r>
              <a:rPr lang="en-US" sz="800" baseline="0" dirty="0">
                <a:solidFill>
                  <a:srgbClr val="FFFFFF"/>
                </a:solidFill>
                <a:latin typeface="+mn-lt"/>
              </a:rPr>
              <a:t>Any use of this material without specific permission of McKinsey &amp; Company is strictly prohibited</a:t>
            </a:r>
          </a:p>
        </p:txBody>
      </p:sp>
    </p:spTree>
    <p:extLst>
      <p:ext uri="{BB962C8B-B14F-4D97-AF65-F5344CB8AC3E}">
        <p14:creationId xmlns:p14="http://schemas.microsoft.com/office/powerpoint/2010/main" val="908860894"/>
      </p:ext>
    </p:extLst>
  </p:cSld>
  <p:clrMapOvr>
    <a:masterClrMapping/>
  </p:clrMapOvr>
  <p:extLst mod="1">
    <p:ext uri="{DCECCB84-F9BA-43D5-87BE-67443E8EF086}">
      <p15:sldGuideLst xmlns:p15="http://schemas.microsoft.com/office/powerpoint/2012/main">
        <p15:guide id="1" orient="horz" pos="2117">
          <p15:clr>
            <a:srgbClr val="FBAE40"/>
          </p15:clr>
        </p15:guide>
        <p15:guide id="2" pos="1416">
          <p15:clr>
            <a:srgbClr val="FBAE40"/>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6E228F5-5CF1-42E1-9748-97D7582A107A}"/>
              </a:ext>
            </a:extLst>
          </p:cNvPr>
          <p:cNvGraphicFramePr>
            <a:graphicFrameLocks noChangeAspect="1"/>
          </p:cNvGraphicFramePr>
          <p:nvPr>
            <p:custDataLst>
              <p:tags r:id="rId2"/>
            </p:custDataLst>
            <p:extLst>
              <p:ext uri="{D42A27DB-BD31-4B8C-83A1-F6EECF244321}">
                <p14:modId xmlns:p14="http://schemas.microsoft.com/office/powerpoint/2010/main" val="324446888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6212" name="think-cell Slide" r:id="rId5" imgW="353" imgH="353" progId="TCLayout.ActiveDocument.1">
                  <p:embed/>
                </p:oleObj>
              </mc:Choice>
              <mc:Fallback>
                <p:oleObj name="think-cell Slide" r:id="rId5" imgW="353" imgH="353" progId="TCLayout.ActiveDocument.1">
                  <p:embed/>
                  <p:pic>
                    <p:nvPicPr>
                      <p:cNvPr id="3" name="Object 2" hidden="1">
                        <a:extLst>
                          <a:ext uri="{FF2B5EF4-FFF2-40B4-BE49-F238E27FC236}">
                            <a16:creationId xmlns:a16="http://schemas.microsoft.com/office/drawing/2014/main" id="{C6E228F5-5CF1-42E1-9748-97D7582A107A}"/>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2. Slide Title"/>
          <p:cNvSpPr>
            <a:spLocks noGrp="1"/>
          </p:cNvSpPr>
          <p:nvPr>
            <p:ph type="title"/>
          </p:nvPr>
        </p:nvSpPr>
        <p:spPr bwMode="auto"/>
        <p:txBody>
          <a:bodyPr/>
          <a:lstStyle/>
          <a:p>
            <a:r>
              <a:rPr lang="en-US"/>
              <a:t>Click to edit Master title style</a:t>
            </a:r>
            <a:endParaRPr lang="en-US" dirty="0"/>
          </a:p>
        </p:txBody>
      </p:sp>
      <p:sp>
        <p:nvSpPr>
          <p:cNvPr id="8" name="Slide Number"/>
          <p:cNvSpPr txBox="1">
            <a:spLocks/>
          </p:cNvSpPr>
          <p:nvPr/>
        </p:nvSpPr>
        <p:spPr bwMode="auto">
          <a:xfrm>
            <a:off x="8564563" y="6508272"/>
            <a:ext cx="125034" cy="123111"/>
          </a:xfrm>
          <a:prstGeom prst="rect">
            <a:avLst/>
          </a:prstGeom>
        </p:spPr>
        <p:txBody>
          <a:bodyPr vert="horz" wrap="none" lIns="0" tIns="0" rIns="0" bIns="0" rtlCol="0" anchor="ctr">
            <a:spAutoFit/>
          </a:bodyPr>
          <a:lstStyle>
            <a:defPPr>
              <a:defRPr lang="en-US"/>
            </a:defPPr>
            <a:lvl1pPr>
              <a:defRPr sz="1000" baseline="0">
                <a:latin typeface="+mn-lt"/>
              </a:defRPr>
            </a:lvl1pPr>
          </a:lstStyle>
          <a:p>
            <a:fld id="{42C328C1-A84F-4A39-A664-DBA00541A8C6}" type="slidenum">
              <a:rPr lang="en-US" sz="800" baseline="0" smtClean="0">
                <a:solidFill>
                  <a:srgbClr val="808080"/>
                </a:solidFill>
                <a:latin typeface="+mn-lt"/>
              </a:rPr>
              <a:pPr/>
              <a:t>‹#›</a:t>
            </a:fld>
            <a:endParaRPr lang="en-US" sz="800" baseline="0" dirty="0">
              <a:solidFill>
                <a:srgbClr val="808080"/>
              </a:solidFill>
              <a:latin typeface="+mn-lt"/>
            </a:endParaRPr>
          </a:p>
        </p:txBody>
      </p:sp>
      <p:sp>
        <p:nvSpPr>
          <p:cNvPr id="9" name="SlideLogoText"/>
          <p:cNvSpPr>
            <a:spLocks noChangeArrowheads="1"/>
          </p:cNvSpPr>
          <p:nvPr>
            <p:custDataLst>
              <p:tags r:id="rId3"/>
            </p:custDataLst>
          </p:nvPr>
        </p:nvSpPr>
        <p:spPr bwMode="auto">
          <a:xfrm>
            <a:off x="7450817" y="6508272"/>
            <a:ext cx="1013098"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algn="r" defTabSz="895350"/>
            <a:r>
              <a:rPr lang="en-US" sz="800" baseline="0" dirty="0">
                <a:solidFill>
                  <a:srgbClr val="808080"/>
                </a:solidFill>
                <a:latin typeface="+mn-lt"/>
              </a:rPr>
              <a:t>McKinsey &amp; Company</a:t>
            </a:r>
          </a:p>
        </p:txBody>
      </p:sp>
      <p:sp>
        <p:nvSpPr>
          <p:cNvPr id="5" name="doc id" hidden="1"/>
          <p:cNvSpPr txBox="1">
            <a:spLocks noChangeArrowheads="1"/>
          </p:cNvSpPr>
          <p:nvPr/>
        </p:nvSpPr>
        <p:spPr bwMode="white">
          <a:xfrm>
            <a:off x="8104473" y="36513"/>
            <a:ext cx="634716" cy="115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hangingPunct="1">
              <a:defRPr/>
            </a:pPr>
            <a:endParaRPr lang="en-US" sz="800" baseline="0" dirty="0">
              <a:solidFill>
                <a:schemeClr val="accent1"/>
              </a:solidFill>
              <a:latin typeface="+mn-lt"/>
              <a:ea typeface="+mn-ea"/>
            </a:endParaRPr>
          </a:p>
        </p:txBody>
      </p:sp>
    </p:spTree>
    <p:extLst>
      <p:ext uri="{BB962C8B-B14F-4D97-AF65-F5344CB8AC3E}">
        <p14:creationId xmlns:p14="http://schemas.microsoft.com/office/powerpoint/2010/main" val="1209410650"/>
      </p:ext>
    </p:extLst>
  </p:cSld>
  <p:clrMapOvr>
    <a:masterClrMapping/>
  </p:clrMapOvr>
  <p:extLst mod="1">
    <p:ext uri="{DCECCB84-F9BA-43D5-87BE-67443E8EF086}">
      <p15:sldGuideLst xmlns:p15="http://schemas.microsoft.com/office/powerpoint/2012/main">
        <p15:guide id="1" pos="5505">
          <p15:clr>
            <a:srgbClr val="F26B43"/>
          </p15:clr>
        </p15:guide>
        <p15:guide id="2" pos="74">
          <p15:clr>
            <a:srgbClr val="F26B43"/>
          </p15:clr>
        </p15:guide>
        <p15:guide id="3" orient="horz" pos="571">
          <p15:clr>
            <a:srgbClr val="F26B43"/>
          </p15:clr>
        </p15:guide>
        <p15:guide id="4" orient="horz" pos="3911">
          <p15:clr>
            <a:srgbClr val="F26B43"/>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p:cSld name="1_Title Only">
    <p:bg>
      <p:bgPr>
        <a:solidFill>
          <a:schemeClr val="accent2"/>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F4AD34F-3B47-47E2-A09C-FFEB949F6A10}"/>
              </a:ext>
            </a:extLst>
          </p:cNvPr>
          <p:cNvGraphicFramePr>
            <a:graphicFrameLocks noChangeAspect="1"/>
          </p:cNvGraphicFramePr>
          <p:nvPr>
            <p:custDataLst>
              <p:tags r:id="rId2"/>
            </p:custDataLst>
            <p:extLst>
              <p:ext uri="{D42A27DB-BD31-4B8C-83A1-F6EECF244321}">
                <p14:modId xmlns:p14="http://schemas.microsoft.com/office/powerpoint/2010/main" val="82212258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7236" name="think-cell Slide" r:id="rId5" imgW="395" imgH="394" progId="TCLayout.ActiveDocument.1">
                  <p:embed/>
                </p:oleObj>
              </mc:Choice>
              <mc:Fallback>
                <p:oleObj name="think-cell Slide" r:id="rId5" imgW="395" imgH="394" progId="TCLayout.ActiveDocument.1">
                  <p:embed/>
                  <p:pic>
                    <p:nvPicPr>
                      <p:cNvPr id="3" name="Object 2" hidden="1">
                        <a:extLst>
                          <a:ext uri="{FF2B5EF4-FFF2-40B4-BE49-F238E27FC236}">
                            <a16:creationId xmlns:a16="http://schemas.microsoft.com/office/drawing/2014/main" id="{EF4AD34F-3B47-47E2-A09C-FFEB949F6A10}"/>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endParaRPr lang="en-US" dirty="0"/>
          </a:p>
        </p:txBody>
      </p:sp>
      <p:sp>
        <p:nvSpPr>
          <p:cNvPr id="15" name="Slide Number"/>
          <p:cNvSpPr txBox="1">
            <a:spLocks/>
          </p:cNvSpPr>
          <p:nvPr/>
        </p:nvSpPr>
        <p:spPr>
          <a:xfrm>
            <a:off x="8564563" y="6508272"/>
            <a:ext cx="125034" cy="123111"/>
          </a:xfrm>
          <a:prstGeom prst="rect">
            <a:avLst/>
          </a:prstGeom>
        </p:spPr>
        <p:txBody>
          <a:bodyPr vert="horz" wrap="none" lIns="0" tIns="0" rIns="0" bIns="0" rtlCol="0" anchor="ctr">
            <a:spAutoFit/>
          </a:bodyPr>
          <a:lstStyle>
            <a:defPPr>
              <a:defRPr lang="en-US"/>
            </a:defPPr>
            <a:lvl1pPr>
              <a:defRPr sz="1000" baseline="0">
                <a:latin typeface="+mn-lt"/>
              </a:defRPr>
            </a:lvl1pPr>
          </a:lstStyle>
          <a:p>
            <a:fld id="{42C328C1-A84F-4A39-A664-DBA00541A8C6}" type="slidenum">
              <a:rPr lang="en-US" sz="800" baseline="0" smtClean="0">
                <a:solidFill>
                  <a:srgbClr val="FFFFFF"/>
                </a:solidFill>
                <a:latin typeface="+mn-lt"/>
              </a:rPr>
              <a:pPr/>
              <a:t>‹#›</a:t>
            </a:fld>
            <a:endParaRPr lang="en-US" sz="800" baseline="0" dirty="0">
              <a:solidFill>
                <a:srgbClr val="FFFFFF"/>
              </a:solidFill>
              <a:latin typeface="+mn-lt"/>
            </a:endParaRPr>
          </a:p>
        </p:txBody>
      </p:sp>
      <p:sp>
        <p:nvSpPr>
          <p:cNvPr id="16" name="SlideLogoText"/>
          <p:cNvSpPr>
            <a:spLocks noChangeArrowheads="1"/>
          </p:cNvSpPr>
          <p:nvPr>
            <p:custDataLst>
              <p:tags r:id="rId3"/>
            </p:custDataLst>
          </p:nvPr>
        </p:nvSpPr>
        <p:spPr bwMode="auto">
          <a:xfrm>
            <a:off x="7450817" y="6508272"/>
            <a:ext cx="1013098"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algn="r" defTabSz="895350"/>
            <a:r>
              <a:rPr lang="en-US" sz="800" baseline="0" dirty="0">
                <a:solidFill>
                  <a:srgbClr val="FFFFFF"/>
                </a:solidFill>
                <a:latin typeface="+mn-lt"/>
              </a:rPr>
              <a:t>McKinsey &amp; Company</a:t>
            </a:r>
          </a:p>
        </p:txBody>
      </p:sp>
      <p:sp>
        <p:nvSpPr>
          <p:cNvPr id="5" name="doc id" hidden="1"/>
          <p:cNvSpPr txBox="1">
            <a:spLocks noChangeArrowheads="1"/>
          </p:cNvSpPr>
          <p:nvPr/>
        </p:nvSpPr>
        <p:spPr bwMode="white">
          <a:xfrm>
            <a:off x="8104473" y="36513"/>
            <a:ext cx="634716" cy="115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hangingPunct="1">
              <a:defRPr/>
            </a:pPr>
            <a:endParaRPr lang="en-US" sz="800" baseline="0" dirty="0">
              <a:solidFill>
                <a:schemeClr val="accent1"/>
              </a:solidFill>
              <a:latin typeface="+mn-lt"/>
              <a:ea typeface="+mn-ea"/>
            </a:endParaRPr>
          </a:p>
        </p:txBody>
      </p:sp>
    </p:spTree>
    <p:extLst>
      <p:ext uri="{BB962C8B-B14F-4D97-AF65-F5344CB8AC3E}">
        <p14:creationId xmlns:p14="http://schemas.microsoft.com/office/powerpoint/2010/main" val="1300260745"/>
      </p:ext>
    </p:extLst>
  </p:cSld>
  <p:clrMapOvr>
    <a:masterClrMapping/>
  </p:clrMapOvr>
  <p:extLst mod="1">
    <p:ext uri="{DCECCB84-F9BA-43D5-87BE-67443E8EF086}">
      <p15:sldGuideLst xmlns:p15="http://schemas.microsoft.com/office/powerpoint/2012/main">
        <p15:guide id="1" pos="3978">
          <p15:clr>
            <a:srgbClr val="000000"/>
          </p15:clr>
        </p15:guide>
        <p15:guide id="2" orient="horz" pos="570">
          <p15:clr>
            <a:srgbClr val="000000"/>
          </p15:clr>
        </p15:guide>
        <p15:guide id="3" orient="horz" pos="3912">
          <p15:clr>
            <a:srgbClr val="000000"/>
          </p15:clr>
        </p15:guide>
        <p15:guide id="4" pos="72">
          <p15:clr>
            <a:srgbClr val="000000"/>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type="titleOnly">
  <p:cSld name="2_Title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ECD524A-1569-4253-8CD8-48D288AD883C}"/>
              </a:ext>
            </a:extLst>
          </p:cNvPr>
          <p:cNvGraphicFramePr>
            <a:graphicFrameLocks noChangeAspect="1"/>
          </p:cNvGraphicFramePr>
          <p:nvPr>
            <p:custDataLst>
              <p:tags r:id="rId2"/>
            </p:custDataLst>
            <p:extLst>
              <p:ext uri="{D42A27DB-BD31-4B8C-83A1-F6EECF244321}">
                <p14:modId xmlns:p14="http://schemas.microsoft.com/office/powerpoint/2010/main" val="11894252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8260" name="think-cell Slide" r:id="rId4" imgW="395" imgH="394" progId="TCLayout.ActiveDocument.1">
                  <p:embed/>
                </p:oleObj>
              </mc:Choice>
              <mc:Fallback>
                <p:oleObj name="think-cell Slide" r:id="rId4" imgW="395" imgH="394" progId="TCLayout.ActiveDocument.1">
                  <p:embed/>
                  <p:pic>
                    <p:nvPicPr>
                      <p:cNvPr id="3" name="Object 2" hidden="1">
                        <a:extLst>
                          <a:ext uri="{FF2B5EF4-FFF2-40B4-BE49-F238E27FC236}">
                            <a16:creationId xmlns:a16="http://schemas.microsoft.com/office/drawing/2014/main" id="{5ECD524A-1569-4253-8CD8-48D288AD883C}"/>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22386603"/>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pic>
        <p:nvPicPr>
          <p:cNvPr id="2" name="background"/>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0" y="198"/>
            <a:ext cx="8961438" cy="6721079"/>
          </a:xfrm>
          <a:prstGeom prst="rect">
            <a:avLst/>
          </a:prstGeom>
        </p:spPr>
      </p:pic>
      <p:sp>
        <p:nvSpPr>
          <p:cNvPr id="28" name="TitleRectangle"/>
          <p:cNvSpPr txBox="1">
            <a:spLocks/>
          </p:cNvSpPr>
          <p:nvPr/>
        </p:nvSpPr>
        <p:spPr>
          <a:xfrm>
            <a:off x="2084388" y="0"/>
            <a:ext cx="6875462" cy="3575976"/>
          </a:xfrm>
          <a:prstGeom prst="rect">
            <a:avLst/>
          </a:prstGeom>
          <a:solidFill>
            <a:srgbClr val="002960">
              <a:alpha val="92000"/>
            </a:srgbClr>
          </a:solidFill>
        </p:spPr>
        <p:txBody>
          <a:bodyPr vert="horz" wrap="square" lIns="216000" tIns="1440000" rIns="216000" bIns="108000" rtlCol="0">
            <a:noAutofit/>
          </a:bodyPr>
          <a:lstStyle>
            <a:lvl1pPr marL="0" indent="0" algn="l" defTabSz="914400" rtl="0" eaLnBrk="1" latinLnBrk="0" hangingPunct="1">
              <a:spcBef>
                <a:spcPct val="20000"/>
              </a:spcBef>
              <a:spcAft>
                <a:spcPts val="6000"/>
              </a:spcAft>
              <a:buFont typeface="Arial" pitchFamily="34" charset="0"/>
              <a:buNone/>
              <a:defRPr sz="3200" kern="1200">
                <a:solidFill>
                  <a:schemeClr val="accent1"/>
                </a:solidFill>
                <a:latin typeface="+mn-lt"/>
                <a:ea typeface="+mn-ea"/>
                <a:cs typeface="+mn-cs"/>
              </a:defRPr>
            </a:lvl1pPr>
            <a:lvl2pPr marL="0" indent="0" algn="l" defTabSz="914400" rtl="0" eaLnBrk="1" latinLnBrk="0" hangingPunct="1">
              <a:spcBef>
                <a:spcPct val="20000"/>
              </a:spcBef>
              <a:buFont typeface="Wingdings" charset="2"/>
              <a:buNone/>
              <a:defRPr sz="1400" kern="1200">
                <a:solidFill>
                  <a:schemeClr val="tx1">
                    <a:lumMod val="50000"/>
                    <a:lumOff val="50000"/>
                  </a:schemeClr>
                </a:solidFill>
                <a:latin typeface="+mn-lt"/>
                <a:ea typeface="+mn-ea"/>
                <a:cs typeface="+mn-cs"/>
              </a:defRPr>
            </a:lvl2pPr>
            <a:lvl3pPr marL="1143000" indent="-228600" algn="l" defTabSz="914400" rtl="0" eaLnBrk="1" latinLnBrk="0" hangingPunct="1">
              <a:spcBef>
                <a:spcPct val="20000"/>
              </a:spcBef>
              <a:buFont typeface="Lucida Grande"/>
              <a:buChar char="–"/>
              <a:defRPr sz="16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fontAlgn="auto">
              <a:defRPr/>
            </a:pPr>
            <a:r>
              <a:rPr lang="en-US" baseline="0" dirty="0">
                <a:solidFill>
                  <a:srgbClr val="00ADEF"/>
                </a:solidFill>
                <a:latin typeface="+mn-lt"/>
              </a:rPr>
              <a:t>
              </a:t>
            </a:r>
            <a:br>
              <a:rPr lang="en-US" baseline="0" dirty="0">
                <a:solidFill>
                  <a:srgbClr val="00ADEF"/>
                </a:solidFill>
                <a:latin typeface="+mn-lt"/>
              </a:rPr>
            </a:br>
            <a:endParaRPr lang="en-US" baseline="0" dirty="0">
              <a:solidFill>
                <a:srgbClr val="00ADEF"/>
              </a:solidFill>
              <a:latin typeface="+mn-lt"/>
            </a:endParaRPr>
          </a:p>
        </p:txBody>
      </p:sp>
      <p:graphicFrame>
        <p:nvGraphicFramePr>
          <p:cNvPr id="3" name="Object 2"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0308"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Working Draft Text" hidden="1"/>
          <p:cNvSpPr txBox="1">
            <a:spLocks noChangeArrowheads="1"/>
          </p:cNvSpPr>
          <p:nvPr/>
        </p:nvSpPr>
        <p:spPr bwMode="black">
          <a:xfrm>
            <a:off x="5992719" y="6287538"/>
            <a:ext cx="2790000"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800" b="1" baseline="0" dirty="0">
                <a:solidFill>
                  <a:srgbClr val="FFFFFF"/>
                </a:solidFill>
                <a:latin typeface="+mn-lt"/>
              </a:rPr>
              <a:t>WORKING DRAFT</a:t>
            </a:r>
          </a:p>
        </p:txBody>
      </p:sp>
      <p:sp>
        <p:nvSpPr>
          <p:cNvPr id="6" name="Working Draft" hidden="1"/>
          <p:cNvSpPr txBox="1">
            <a:spLocks noChangeArrowheads="1"/>
          </p:cNvSpPr>
          <p:nvPr/>
        </p:nvSpPr>
        <p:spPr bwMode="black">
          <a:xfrm>
            <a:off x="5992718" y="6410648"/>
            <a:ext cx="2968719"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800" baseline="0">
                <a:solidFill>
                  <a:srgbClr val="FFFFFF"/>
                </a:solidFill>
                <a:latin typeface="+mn-lt"/>
              </a:rPr>
              <a:t>Last Modified 21/05/2018 17:44 India Standard Time</a:t>
            </a:r>
            <a:endParaRPr lang="en-US" sz="800" baseline="0" dirty="0">
              <a:solidFill>
                <a:srgbClr val="FFFFFF"/>
              </a:solidFill>
              <a:latin typeface="+mn-lt"/>
            </a:endParaRPr>
          </a:p>
        </p:txBody>
      </p:sp>
      <p:sp>
        <p:nvSpPr>
          <p:cNvPr id="7" name="Printed" hidden="1"/>
          <p:cNvSpPr txBox="1">
            <a:spLocks noChangeArrowheads="1"/>
          </p:cNvSpPr>
          <p:nvPr/>
        </p:nvSpPr>
        <p:spPr bwMode="black">
          <a:xfrm>
            <a:off x="5992719" y="6533759"/>
            <a:ext cx="2790000"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800" baseline="0" dirty="0">
                <a:solidFill>
                  <a:srgbClr val="FFFFFF"/>
                </a:solidFill>
                <a:latin typeface="+mn-lt"/>
              </a:rPr>
              <a:t>Printed</a:t>
            </a:r>
          </a:p>
        </p:txBody>
      </p:sp>
      <p:sp>
        <p:nvSpPr>
          <p:cNvPr id="13314" name="Title"/>
          <p:cNvSpPr>
            <a:spLocks noGrp="1" noChangeArrowheads="1"/>
          </p:cNvSpPr>
          <p:nvPr>
            <p:ph type="ctrTitle"/>
          </p:nvPr>
        </p:nvSpPr>
        <p:spPr>
          <a:xfrm>
            <a:off x="2268266" y="1434419"/>
            <a:ext cx="6231663" cy="492443"/>
          </a:xfrm>
          <a:prstGeom prst="rect">
            <a:avLst/>
          </a:prstGeom>
        </p:spPr>
        <p:txBody>
          <a:bodyPr>
            <a:spAutoFit/>
          </a:bodyPr>
          <a:lstStyle>
            <a:lvl1pPr>
              <a:defRPr sz="3200" b="0" baseline="0">
                <a:solidFill>
                  <a:schemeClr val="accent2"/>
                </a:solidFill>
                <a:latin typeface="+mj-lt"/>
                <a:ea typeface="+mj-ea"/>
              </a:defRPr>
            </a:lvl1pPr>
          </a:lstStyle>
          <a:p>
            <a:pPr lvl="0" latinLnBrk="0"/>
            <a:r>
              <a:rPr lang="en-US" noProof="0"/>
              <a:t>Click to edit Master title style</a:t>
            </a:r>
            <a:endParaRPr lang="en-US" noProof="0" dirty="0"/>
          </a:p>
        </p:txBody>
      </p:sp>
      <p:sp>
        <p:nvSpPr>
          <p:cNvPr id="13315" name="Subtitle"/>
          <p:cNvSpPr>
            <a:spLocks noGrp="1" noChangeArrowheads="1"/>
          </p:cNvSpPr>
          <p:nvPr>
            <p:ph type="subTitle" idx="1"/>
          </p:nvPr>
        </p:nvSpPr>
        <p:spPr>
          <a:xfrm>
            <a:off x="2268266" y="2819401"/>
            <a:ext cx="6231663" cy="215444"/>
          </a:xfrm>
          <a:prstGeom prst="rect">
            <a:avLst/>
          </a:prstGeom>
        </p:spPr>
        <p:txBody>
          <a:bodyPr wrap="square">
            <a:spAutoFit/>
          </a:bodyPr>
          <a:lstStyle>
            <a:lvl1pPr>
              <a:defRPr sz="1400" cap="all" baseline="0">
                <a:solidFill>
                  <a:schemeClr val="bg1"/>
                </a:solidFill>
                <a:latin typeface="+mn-lt"/>
                <a:ea typeface="+mn-ea"/>
              </a:defRPr>
            </a:lvl1pPr>
          </a:lstStyle>
          <a:p>
            <a:pPr lvl="0" latinLnBrk="0"/>
            <a:r>
              <a:rPr lang="en-US" noProof="0"/>
              <a:t>Click to edit Master subtitle style</a:t>
            </a:r>
            <a:endParaRPr lang="en-US" noProof="0" dirty="0"/>
          </a:p>
        </p:txBody>
      </p:sp>
      <p:sp>
        <p:nvSpPr>
          <p:cNvPr id="57" name="Document type" hidden="1"/>
          <p:cNvSpPr txBox="1">
            <a:spLocks noChangeArrowheads="1"/>
          </p:cNvSpPr>
          <p:nvPr/>
        </p:nvSpPr>
        <p:spPr bwMode="gray">
          <a:xfrm>
            <a:off x="2268266" y="3227411"/>
            <a:ext cx="6231663"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00" baseline="0" dirty="0">
                <a:solidFill>
                  <a:schemeClr val="bg1"/>
                </a:solidFill>
                <a:latin typeface="+mn-lt"/>
              </a:rPr>
              <a:t>Document type | Date</a:t>
            </a:r>
          </a:p>
        </p:txBody>
      </p:sp>
      <p:sp>
        <p:nvSpPr>
          <p:cNvPr id="5" name="doc id" hidden="1"/>
          <p:cNvSpPr txBox="1">
            <a:spLocks noChangeArrowheads="1"/>
          </p:cNvSpPr>
          <p:nvPr/>
        </p:nvSpPr>
        <p:spPr bwMode="white">
          <a:xfrm>
            <a:off x="8443913" y="36513"/>
            <a:ext cx="295275" cy="1222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hangingPunct="1">
              <a:defRPr/>
            </a:pPr>
            <a:endParaRPr lang="en-US" sz="800" baseline="0" dirty="0">
              <a:solidFill>
                <a:srgbClr val="FFFFFF"/>
              </a:solidFill>
              <a:latin typeface="+mn-lt"/>
            </a:endParaRPr>
          </a:p>
        </p:txBody>
      </p:sp>
      <p:sp>
        <p:nvSpPr>
          <p:cNvPr id="43" name="LogoImage"/>
          <p:cNvSpPr>
            <a:spLocks noEditPoints="1"/>
          </p:cNvSpPr>
          <p:nvPr/>
        </p:nvSpPr>
        <p:spPr bwMode="white">
          <a:xfrm>
            <a:off x="2269098" y="182925"/>
            <a:ext cx="2176978" cy="238073"/>
          </a:xfrm>
          <a:custGeom>
            <a:avLst/>
            <a:gdLst>
              <a:gd name="T0" fmla="*/ 504 w 5516"/>
              <a:gd name="T1" fmla="*/ 26 h 606"/>
              <a:gd name="T2" fmla="*/ 18 w 5516"/>
              <a:gd name="T3" fmla="*/ 22 h 606"/>
              <a:gd name="T4" fmla="*/ 140 w 5516"/>
              <a:gd name="T5" fmla="*/ 436 h 606"/>
              <a:gd name="T6" fmla="*/ 408 w 5516"/>
              <a:gd name="T7" fmla="*/ 372 h 606"/>
              <a:gd name="T8" fmla="*/ 696 w 5516"/>
              <a:gd name="T9" fmla="*/ 422 h 606"/>
              <a:gd name="T10" fmla="*/ 768 w 5516"/>
              <a:gd name="T11" fmla="*/ 196 h 606"/>
              <a:gd name="T12" fmla="*/ 1272 w 5516"/>
              <a:gd name="T13" fmla="*/ 26 h 606"/>
              <a:gd name="T14" fmla="*/ 1302 w 5516"/>
              <a:gd name="T15" fmla="*/ 338 h 606"/>
              <a:gd name="T16" fmla="*/ 1202 w 5516"/>
              <a:gd name="T17" fmla="*/ 436 h 606"/>
              <a:gd name="T18" fmla="*/ 1030 w 5516"/>
              <a:gd name="T19" fmla="*/ 10 h 606"/>
              <a:gd name="T20" fmla="*/ 960 w 5516"/>
              <a:gd name="T21" fmla="*/ 22 h 606"/>
              <a:gd name="T22" fmla="*/ 804 w 5516"/>
              <a:gd name="T23" fmla="*/ 434 h 606"/>
              <a:gd name="T24" fmla="*/ 930 w 5516"/>
              <a:gd name="T25" fmla="*/ 246 h 606"/>
              <a:gd name="T26" fmla="*/ 1658 w 5516"/>
              <a:gd name="T27" fmla="*/ 342 h 606"/>
              <a:gd name="T28" fmla="*/ 1368 w 5516"/>
              <a:gd name="T29" fmla="*/ 188 h 606"/>
              <a:gd name="T30" fmla="*/ 1514 w 5516"/>
              <a:gd name="T31" fmla="*/ 436 h 606"/>
              <a:gd name="T32" fmla="*/ 1564 w 5516"/>
              <a:gd name="T33" fmla="*/ 434 h 606"/>
              <a:gd name="T34" fmla="*/ 1904 w 5516"/>
              <a:gd name="T35" fmla="*/ 184 h 606"/>
              <a:gd name="T36" fmla="*/ 1728 w 5516"/>
              <a:gd name="T37" fmla="*/ 366 h 606"/>
              <a:gd name="T38" fmla="*/ 2102 w 5516"/>
              <a:gd name="T39" fmla="*/ 192 h 606"/>
              <a:gd name="T40" fmla="*/ 1982 w 5516"/>
              <a:gd name="T41" fmla="*/ 320 h 606"/>
              <a:gd name="T42" fmla="*/ 2478 w 5516"/>
              <a:gd name="T43" fmla="*/ 242 h 606"/>
              <a:gd name="T44" fmla="*/ 2406 w 5516"/>
              <a:gd name="T45" fmla="*/ 390 h 606"/>
              <a:gd name="T46" fmla="*/ 2234 w 5516"/>
              <a:gd name="T47" fmla="*/ 192 h 606"/>
              <a:gd name="T48" fmla="*/ 2478 w 5516"/>
              <a:gd name="T49" fmla="*/ 242 h 606"/>
              <a:gd name="T50" fmla="*/ 2928 w 5516"/>
              <a:gd name="T51" fmla="*/ 448 h 606"/>
              <a:gd name="T52" fmla="*/ 2958 w 5516"/>
              <a:gd name="T53" fmla="*/ 230 h 606"/>
              <a:gd name="T54" fmla="*/ 2716 w 5516"/>
              <a:gd name="T55" fmla="*/ 54 h 606"/>
              <a:gd name="T56" fmla="*/ 2714 w 5516"/>
              <a:gd name="T57" fmla="*/ 36 h 606"/>
              <a:gd name="T58" fmla="*/ 2928 w 5516"/>
              <a:gd name="T59" fmla="*/ 448 h 606"/>
              <a:gd name="T60" fmla="*/ 3388 w 5516"/>
              <a:gd name="T61" fmla="*/ 4 h 606"/>
              <a:gd name="T62" fmla="*/ 3396 w 5516"/>
              <a:gd name="T63" fmla="*/ 366 h 606"/>
              <a:gd name="T64" fmla="*/ 3580 w 5516"/>
              <a:gd name="T65" fmla="*/ 190 h 606"/>
              <a:gd name="T66" fmla="*/ 3502 w 5516"/>
              <a:gd name="T67" fmla="*/ 432 h 606"/>
              <a:gd name="T68" fmla="*/ 4232 w 5516"/>
              <a:gd name="T69" fmla="*/ 348 h 606"/>
              <a:gd name="T70" fmla="*/ 3858 w 5516"/>
              <a:gd name="T71" fmla="*/ 176 h 606"/>
              <a:gd name="T72" fmla="*/ 3758 w 5516"/>
              <a:gd name="T73" fmla="*/ 446 h 606"/>
              <a:gd name="T74" fmla="*/ 3990 w 5516"/>
              <a:gd name="T75" fmla="*/ 282 h 606"/>
              <a:gd name="T76" fmla="*/ 4042 w 5516"/>
              <a:gd name="T77" fmla="*/ 342 h 606"/>
              <a:gd name="T78" fmla="*/ 4134 w 5516"/>
              <a:gd name="T79" fmla="*/ 448 h 606"/>
              <a:gd name="T80" fmla="*/ 4454 w 5516"/>
              <a:gd name="T81" fmla="*/ 202 h 606"/>
              <a:gd name="T82" fmla="*/ 4284 w 5516"/>
              <a:gd name="T83" fmla="*/ 174 h 606"/>
              <a:gd name="T84" fmla="*/ 4432 w 5516"/>
              <a:gd name="T85" fmla="*/ 588 h 606"/>
              <a:gd name="T86" fmla="*/ 4792 w 5516"/>
              <a:gd name="T87" fmla="*/ 382 h 606"/>
              <a:gd name="T88" fmla="*/ 5192 w 5516"/>
              <a:gd name="T89" fmla="*/ 340 h 606"/>
              <a:gd name="T90" fmla="*/ 4902 w 5516"/>
              <a:gd name="T91" fmla="*/ 186 h 606"/>
              <a:gd name="T92" fmla="*/ 4850 w 5516"/>
              <a:gd name="T93" fmla="*/ 274 h 606"/>
              <a:gd name="T94" fmla="*/ 4742 w 5516"/>
              <a:gd name="T95" fmla="*/ 194 h 606"/>
              <a:gd name="T96" fmla="*/ 4794 w 5516"/>
              <a:gd name="T97" fmla="*/ 418 h 606"/>
              <a:gd name="T98" fmla="*/ 5004 w 5516"/>
              <a:gd name="T99" fmla="*/ 338 h 606"/>
              <a:gd name="T100" fmla="*/ 5098 w 5516"/>
              <a:gd name="T101" fmla="*/ 446 h 606"/>
              <a:gd name="T102" fmla="*/ 5418 w 5516"/>
              <a:gd name="T103" fmla="*/ 192 h 606"/>
              <a:gd name="T104" fmla="*/ 5348 w 5516"/>
              <a:gd name="T105" fmla="*/ 180 h 606"/>
              <a:gd name="T106" fmla="*/ 5254 w 5516"/>
              <a:gd name="T107" fmla="*/ 606 h 6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516" h="606">
                <a:moveTo>
                  <a:pt x="366" y="448"/>
                </a:moveTo>
                <a:cubicBezTo>
                  <a:pt x="524" y="448"/>
                  <a:pt x="524" y="448"/>
                  <a:pt x="524" y="448"/>
                </a:cubicBezTo>
                <a:cubicBezTo>
                  <a:pt x="524" y="436"/>
                  <a:pt x="524" y="436"/>
                  <a:pt x="524" y="436"/>
                </a:cubicBezTo>
                <a:cubicBezTo>
                  <a:pt x="486" y="432"/>
                  <a:pt x="470" y="414"/>
                  <a:pt x="468" y="362"/>
                </a:cubicBezTo>
                <a:cubicBezTo>
                  <a:pt x="454" y="86"/>
                  <a:pt x="454" y="86"/>
                  <a:pt x="454" y="86"/>
                </a:cubicBezTo>
                <a:cubicBezTo>
                  <a:pt x="452" y="46"/>
                  <a:pt x="470" y="30"/>
                  <a:pt x="504" y="26"/>
                </a:cubicBezTo>
                <a:cubicBezTo>
                  <a:pt x="504" y="12"/>
                  <a:pt x="504" y="12"/>
                  <a:pt x="504" y="12"/>
                </a:cubicBezTo>
                <a:cubicBezTo>
                  <a:pt x="394" y="12"/>
                  <a:pt x="394" y="12"/>
                  <a:pt x="394" y="12"/>
                </a:cubicBezTo>
                <a:cubicBezTo>
                  <a:pt x="264" y="350"/>
                  <a:pt x="264" y="350"/>
                  <a:pt x="264" y="350"/>
                </a:cubicBezTo>
                <a:cubicBezTo>
                  <a:pt x="132" y="10"/>
                  <a:pt x="132" y="10"/>
                  <a:pt x="132" y="10"/>
                </a:cubicBezTo>
                <a:cubicBezTo>
                  <a:pt x="18" y="10"/>
                  <a:pt x="18" y="10"/>
                  <a:pt x="18" y="10"/>
                </a:cubicBezTo>
                <a:cubicBezTo>
                  <a:pt x="18" y="22"/>
                  <a:pt x="18" y="22"/>
                  <a:pt x="18" y="22"/>
                </a:cubicBezTo>
                <a:cubicBezTo>
                  <a:pt x="40" y="26"/>
                  <a:pt x="74" y="32"/>
                  <a:pt x="72" y="84"/>
                </a:cubicBezTo>
                <a:cubicBezTo>
                  <a:pt x="58" y="352"/>
                  <a:pt x="58" y="352"/>
                  <a:pt x="58" y="352"/>
                </a:cubicBezTo>
                <a:cubicBezTo>
                  <a:pt x="54" y="410"/>
                  <a:pt x="38" y="430"/>
                  <a:pt x="0" y="436"/>
                </a:cubicBezTo>
                <a:cubicBezTo>
                  <a:pt x="0" y="448"/>
                  <a:pt x="0" y="448"/>
                  <a:pt x="0" y="448"/>
                </a:cubicBezTo>
                <a:cubicBezTo>
                  <a:pt x="140" y="448"/>
                  <a:pt x="140" y="448"/>
                  <a:pt x="140" y="448"/>
                </a:cubicBezTo>
                <a:cubicBezTo>
                  <a:pt x="140" y="436"/>
                  <a:pt x="140" y="436"/>
                  <a:pt x="140" y="436"/>
                </a:cubicBezTo>
                <a:cubicBezTo>
                  <a:pt x="98" y="428"/>
                  <a:pt x="84" y="414"/>
                  <a:pt x="88" y="356"/>
                </a:cubicBezTo>
                <a:cubicBezTo>
                  <a:pt x="100" y="86"/>
                  <a:pt x="100" y="86"/>
                  <a:pt x="100" y="86"/>
                </a:cubicBezTo>
                <a:cubicBezTo>
                  <a:pt x="240" y="444"/>
                  <a:pt x="240" y="444"/>
                  <a:pt x="240" y="444"/>
                </a:cubicBezTo>
                <a:cubicBezTo>
                  <a:pt x="258" y="444"/>
                  <a:pt x="258" y="444"/>
                  <a:pt x="258" y="444"/>
                </a:cubicBezTo>
                <a:cubicBezTo>
                  <a:pt x="396" y="86"/>
                  <a:pt x="396" y="86"/>
                  <a:pt x="396" y="86"/>
                </a:cubicBezTo>
                <a:cubicBezTo>
                  <a:pt x="408" y="372"/>
                  <a:pt x="408" y="372"/>
                  <a:pt x="408" y="372"/>
                </a:cubicBezTo>
                <a:cubicBezTo>
                  <a:pt x="410" y="416"/>
                  <a:pt x="398" y="430"/>
                  <a:pt x="366" y="434"/>
                </a:cubicBezTo>
                <a:lnTo>
                  <a:pt x="366" y="448"/>
                </a:lnTo>
                <a:close/>
                <a:moveTo>
                  <a:pt x="670" y="456"/>
                </a:moveTo>
                <a:cubicBezTo>
                  <a:pt x="708" y="456"/>
                  <a:pt x="756" y="440"/>
                  <a:pt x="782" y="412"/>
                </a:cubicBezTo>
                <a:cubicBezTo>
                  <a:pt x="776" y="400"/>
                  <a:pt x="776" y="400"/>
                  <a:pt x="776" y="400"/>
                </a:cubicBezTo>
                <a:cubicBezTo>
                  <a:pt x="750" y="416"/>
                  <a:pt x="722" y="422"/>
                  <a:pt x="696" y="422"/>
                </a:cubicBezTo>
                <a:cubicBezTo>
                  <a:pt x="620" y="422"/>
                  <a:pt x="592" y="358"/>
                  <a:pt x="592" y="290"/>
                </a:cubicBezTo>
                <a:cubicBezTo>
                  <a:pt x="592" y="258"/>
                  <a:pt x="600" y="236"/>
                  <a:pt x="614" y="222"/>
                </a:cubicBezTo>
                <a:cubicBezTo>
                  <a:pt x="626" y="210"/>
                  <a:pt x="646" y="204"/>
                  <a:pt x="664" y="204"/>
                </a:cubicBezTo>
                <a:cubicBezTo>
                  <a:pt x="690" y="204"/>
                  <a:pt x="722" y="214"/>
                  <a:pt x="744" y="244"/>
                </a:cubicBezTo>
                <a:cubicBezTo>
                  <a:pt x="750" y="244"/>
                  <a:pt x="750" y="244"/>
                  <a:pt x="750" y="244"/>
                </a:cubicBezTo>
                <a:cubicBezTo>
                  <a:pt x="758" y="234"/>
                  <a:pt x="766" y="212"/>
                  <a:pt x="768" y="196"/>
                </a:cubicBezTo>
                <a:cubicBezTo>
                  <a:pt x="748" y="180"/>
                  <a:pt x="720" y="172"/>
                  <a:pt x="686" y="172"/>
                </a:cubicBezTo>
                <a:cubicBezTo>
                  <a:pt x="604" y="172"/>
                  <a:pt x="544" y="246"/>
                  <a:pt x="544" y="326"/>
                </a:cubicBezTo>
                <a:cubicBezTo>
                  <a:pt x="540" y="390"/>
                  <a:pt x="576" y="456"/>
                  <a:pt x="670" y="456"/>
                </a:cubicBezTo>
                <a:moveTo>
                  <a:pt x="1272" y="98"/>
                </a:moveTo>
                <a:cubicBezTo>
                  <a:pt x="1292" y="98"/>
                  <a:pt x="1308" y="82"/>
                  <a:pt x="1308" y="62"/>
                </a:cubicBezTo>
                <a:cubicBezTo>
                  <a:pt x="1308" y="42"/>
                  <a:pt x="1292" y="26"/>
                  <a:pt x="1272" y="26"/>
                </a:cubicBezTo>
                <a:cubicBezTo>
                  <a:pt x="1252" y="26"/>
                  <a:pt x="1238" y="42"/>
                  <a:pt x="1238" y="62"/>
                </a:cubicBezTo>
                <a:cubicBezTo>
                  <a:pt x="1238" y="82"/>
                  <a:pt x="1252" y="98"/>
                  <a:pt x="1272" y="98"/>
                </a:cubicBezTo>
                <a:moveTo>
                  <a:pt x="1202" y="448"/>
                </a:moveTo>
                <a:cubicBezTo>
                  <a:pt x="1346" y="448"/>
                  <a:pt x="1346" y="448"/>
                  <a:pt x="1346" y="448"/>
                </a:cubicBezTo>
                <a:cubicBezTo>
                  <a:pt x="1346" y="436"/>
                  <a:pt x="1346" y="436"/>
                  <a:pt x="1346" y="436"/>
                </a:cubicBezTo>
                <a:cubicBezTo>
                  <a:pt x="1304" y="432"/>
                  <a:pt x="1302" y="434"/>
                  <a:pt x="1302" y="338"/>
                </a:cubicBezTo>
                <a:cubicBezTo>
                  <a:pt x="1302" y="176"/>
                  <a:pt x="1302" y="176"/>
                  <a:pt x="1302" y="176"/>
                </a:cubicBezTo>
                <a:cubicBezTo>
                  <a:pt x="1200" y="176"/>
                  <a:pt x="1200" y="176"/>
                  <a:pt x="1200" y="176"/>
                </a:cubicBezTo>
                <a:cubicBezTo>
                  <a:pt x="1200" y="188"/>
                  <a:pt x="1200" y="188"/>
                  <a:pt x="1200" y="188"/>
                </a:cubicBezTo>
                <a:cubicBezTo>
                  <a:pt x="1244" y="190"/>
                  <a:pt x="1250" y="192"/>
                  <a:pt x="1250" y="268"/>
                </a:cubicBezTo>
                <a:cubicBezTo>
                  <a:pt x="1250" y="336"/>
                  <a:pt x="1250" y="336"/>
                  <a:pt x="1250" y="336"/>
                </a:cubicBezTo>
                <a:cubicBezTo>
                  <a:pt x="1250" y="432"/>
                  <a:pt x="1248" y="432"/>
                  <a:pt x="1202" y="436"/>
                </a:cubicBezTo>
                <a:cubicBezTo>
                  <a:pt x="1178" y="434"/>
                  <a:pt x="1154" y="426"/>
                  <a:pt x="1076" y="338"/>
                </a:cubicBezTo>
                <a:cubicBezTo>
                  <a:pt x="1046" y="302"/>
                  <a:pt x="996" y="244"/>
                  <a:pt x="968" y="206"/>
                </a:cubicBezTo>
                <a:cubicBezTo>
                  <a:pt x="1062" y="102"/>
                  <a:pt x="1062" y="102"/>
                  <a:pt x="1062" y="102"/>
                </a:cubicBezTo>
                <a:cubicBezTo>
                  <a:pt x="1108" y="52"/>
                  <a:pt x="1132" y="26"/>
                  <a:pt x="1176" y="24"/>
                </a:cubicBezTo>
                <a:cubicBezTo>
                  <a:pt x="1176" y="10"/>
                  <a:pt x="1176" y="10"/>
                  <a:pt x="1176" y="10"/>
                </a:cubicBezTo>
                <a:cubicBezTo>
                  <a:pt x="1030" y="10"/>
                  <a:pt x="1030" y="10"/>
                  <a:pt x="1030" y="10"/>
                </a:cubicBezTo>
                <a:cubicBezTo>
                  <a:pt x="1030" y="22"/>
                  <a:pt x="1030" y="22"/>
                  <a:pt x="1030" y="22"/>
                </a:cubicBezTo>
                <a:cubicBezTo>
                  <a:pt x="1050" y="26"/>
                  <a:pt x="1056" y="32"/>
                  <a:pt x="1056" y="46"/>
                </a:cubicBezTo>
                <a:cubicBezTo>
                  <a:pt x="1056" y="56"/>
                  <a:pt x="1054" y="72"/>
                  <a:pt x="1026" y="102"/>
                </a:cubicBezTo>
                <a:cubicBezTo>
                  <a:pt x="910" y="230"/>
                  <a:pt x="910" y="230"/>
                  <a:pt x="910" y="230"/>
                </a:cubicBezTo>
                <a:cubicBezTo>
                  <a:pt x="910" y="148"/>
                  <a:pt x="910" y="148"/>
                  <a:pt x="910" y="148"/>
                </a:cubicBezTo>
                <a:cubicBezTo>
                  <a:pt x="910" y="36"/>
                  <a:pt x="916" y="28"/>
                  <a:pt x="960" y="22"/>
                </a:cubicBezTo>
                <a:cubicBezTo>
                  <a:pt x="960" y="8"/>
                  <a:pt x="960" y="8"/>
                  <a:pt x="960" y="8"/>
                </a:cubicBezTo>
                <a:cubicBezTo>
                  <a:pt x="804" y="8"/>
                  <a:pt x="804" y="8"/>
                  <a:pt x="804" y="8"/>
                </a:cubicBezTo>
                <a:cubicBezTo>
                  <a:pt x="804" y="22"/>
                  <a:pt x="804" y="22"/>
                  <a:pt x="804" y="22"/>
                </a:cubicBezTo>
                <a:cubicBezTo>
                  <a:pt x="852" y="26"/>
                  <a:pt x="854" y="36"/>
                  <a:pt x="854" y="148"/>
                </a:cubicBezTo>
                <a:cubicBezTo>
                  <a:pt x="854" y="300"/>
                  <a:pt x="854" y="300"/>
                  <a:pt x="854" y="300"/>
                </a:cubicBezTo>
                <a:cubicBezTo>
                  <a:pt x="854" y="422"/>
                  <a:pt x="850" y="430"/>
                  <a:pt x="804" y="434"/>
                </a:cubicBezTo>
                <a:cubicBezTo>
                  <a:pt x="804" y="446"/>
                  <a:pt x="804" y="446"/>
                  <a:pt x="804" y="446"/>
                </a:cubicBezTo>
                <a:cubicBezTo>
                  <a:pt x="960" y="446"/>
                  <a:pt x="960" y="446"/>
                  <a:pt x="960" y="446"/>
                </a:cubicBezTo>
                <a:cubicBezTo>
                  <a:pt x="960" y="434"/>
                  <a:pt x="960" y="434"/>
                  <a:pt x="960" y="434"/>
                </a:cubicBezTo>
                <a:cubicBezTo>
                  <a:pt x="910" y="428"/>
                  <a:pt x="910" y="424"/>
                  <a:pt x="910" y="292"/>
                </a:cubicBezTo>
                <a:cubicBezTo>
                  <a:pt x="910" y="268"/>
                  <a:pt x="910" y="268"/>
                  <a:pt x="910" y="268"/>
                </a:cubicBezTo>
                <a:cubicBezTo>
                  <a:pt x="930" y="246"/>
                  <a:pt x="930" y="246"/>
                  <a:pt x="930" y="246"/>
                </a:cubicBezTo>
                <a:cubicBezTo>
                  <a:pt x="982" y="310"/>
                  <a:pt x="1038" y="380"/>
                  <a:pt x="1098" y="448"/>
                </a:cubicBezTo>
                <a:cubicBezTo>
                  <a:pt x="1202" y="448"/>
                  <a:pt x="1202" y="448"/>
                  <a:pt x="1202" y="448"/>
                </a:cubicBezTo>
                <a:close/>
                <a:moveTo>
                  <a:pt x="1564" y="448"/>
                </a:moveTo>
                <a:cubicBezTo>
                  <a:pt x="1706" y="448"/>
                  <a:pt x="1706" y="448"/>
                  <a:pt x="1706" y="448"/>
                </a:cubicBezTo>
                <a:cubicBezTo>
                  <a:pt x="1706" y="436"/>
                  <a:pt x="1706" y="436"/>
                  <a:pt x="1706" y="436"/>
                </a:cubicBezTo>
                <a:cubicBezTo>
                  <a:pt x="1658" y="434"/>
                  <a:pt x="1658" y="432"/>
                  <a:pt x="1658" y="342"/>
                </a:cubicBezTo>
                <a:cubicBezTo>
                  <a:pt x="1658" y="280"/>
                  <a:pt x="1658" y="280"/>
                  <a:pt x="1658" y="280"/>
                </a:cubicBezTo>
                <a:cubicBezTo>
                  <a:pt x="1658" y="198"/>
                  <a:pt x="1612" y="172"/>
                  <a:pt x="1570" y="172"/>
                </a:cubicBezTo>
                <a:cubicBezTo>
                  <a:pt x="1534" y="172"/>
                  <a:pt x="1498" y="188"/>
                  <a:pt x="1470" y="224"/>
                </a:cubicBezTo>
                <a:cubicBezTo>
                  <a:pt x="1470" y="176"/>
                  <a:pt x="1470" y="176"/>
                  <a:pt x="1470" y="176"/>
                </a:cubicBezTo>
                <a:cubicBezTo>
                  <a:pt x="1368" y="176"/>
                  <a:pt x="1368" y="176"/>
                  <a:pt x="1368" y="176"/>
                </a:cubicBezTo>
                <a:cubicBezTo>
                  <a:pt x="1368" y="188"/>
                  <a:pt x="1368" y="188"/>
                  <a:pt x="1368" y="188"/>
                </a:cubicBezTo>
                <a:cubicBezTo>
                  <a:pt x="1412" y="190"/>
                  <a:pt x="1418" y="192"/>
                  <a:pt x="1418" y="268"/>
                </a:cubicBezTo>
                <a:cubicBezTo>
                  <a:pt x="1418" y="336"/>
                  <a:pt x="1418" y="336"/>
                  <a:pt x="1418" y="336"/>
                </a:cubicBezTo>
                <a:cubicBezTo>
                  <a:pt x="1418" y="434"/>
                  <a:pt x="1418" y="434"/>
                  <a:pt x="1370" y="436"/>
                </a:cubicBezTo>
                <a:cubicBezTo>
                  <a:pt x="1370" y="448"/>
                  <a:pt x="1370" y="448"/>
                  <a:pt x="1370" y="448"/>
                </a:cubicBezTo>
                <a:cubicBezTo>
                  <a:pt x="1514" y="448"/>
                  <a:pt x="1514" y="448"/>
                  <a:pt x="1514" y="448"/>
                </a:cubicBezTo>
                <a:cubicBezTo>
                  <a:pt x="1514" y="436"/>
                  <a:pt x="1514" y="436"/>
                  <a:pt x="1514" y="436"/>
                </a:cubicBezTo>
                <a:cubicBezTo>
                  <a:pt x="1472" y="432"/>
                  <a:pt x="1470" y="434"/>
                  <a:pt x="1470" y="338"/>
                </a:cubicBezTo>
                <a:cubicBezTo>
                  <a:pt x="1470" y="262"/>
                  <a:pt x="1470" y="262"/>
                  <a:pt x="1470" y="262"/>
                </a:cubicBezTo>
                <a:cubicBezTo>
                  <a:pt x="1470" y="236"/>
                  <a:pt x="1504" y="206"/>
                  <a:pt x="1546" y="206"/>
                </a:cubicBezTo>
                <a:cubicBezTo>
                  <a:pt x="1580" y="206"/>
                  <a:pt x="1606" y="220"/>
                  <a:pt x="1606" y="286"/>
                </a:cubicBezTo>
                <a:cubicBezTo>
                  <a:pt x="1606" y="340"/>
                  <a:pt x="1606" y="340"/>
                  <a:pt x="1606" y="340"/>
                </a:cubicBezTo>
                <a:cubicBezTo>
                  <a:pt x="1606" y="432"/>
                  <a:pt x="1602" y="432"/>
                  <a:pt x="1564" y="434"/>
                </a:cubicBezTo>
                <a:lnTo>
                  <a:pt x="1564" y="448"/>
                </a:lnTo>
                <a:close/>
                <a:moveTo>
                  <a:pt x="1776" y="222"/>
                </a:moveTo>
                <a:cubicBezTo>
                  <a:pt x="1776" y="200"/>
                  <a:pt x="1796" y="188"/>
                  <a:pt x="1822" y="188"/>
                </a:cubicBezTo>
                <a:cubicBezTo>
                  <a:pt x="1874" y="188"/>
                  <a:pt x="1896" y="236"/>
                  <a:pt x="1900" y="252"/>
                </a:cubicBezTo>
                <a:cubicBezTo>
                  <a:pt x="1912" y="252"/>
                  <a:pt x="1912" y="252"/>
                  <a:pt x="1912" y="252"/>
                </a:cubicBezTo>
                <a:cubicBezTo>
                  <a:pt x="1912" y="212"/>
                  <a:pt x="1908" y="188"/>
                  <a:pt x="1904" y="184"/>
                </a:cubicBezTo>
                <a:cubicBezTo>
                  <a:pt x="1900" y="180"/>
                  <a:pt x="1862" y="170"/>
                  <a:pt x="1824" y="170"/>
                </a:cubicBezTo>
                <a:cubicBezTo>
                  <a:pt x="1768" y="170"/>
                  <a:pt x="1734" y="206"/>
                  <a:pt x="1734" y="248"/>
                </a:cubicBezTo>
                <a:cubicBezTo>
                  <a:pt x="1734" y="340"/>
                  <a:pt x="1890" y="322"/>
                  <a:pt x="1890" y="396"/>
                </a:cubicBezTo>
                <a:cubicBezTo>
                  <a:pt x="1890" y="422"/>
                  <a:pt x="1866" y="436"/>
                  <a:pt x="1826" y="436"/>
                </a:cubicBezTo>
                <a:cubicBezTo>
                  <a:pt x="1788" y="436"/>
                  <a:pt x="1754" y="416"/>
                  <a:pt x="1744" y="366"/>
                </a:cubicBezTo>
                <a:cubicBezTo>
                  <a:pt x="1728" y="366"/>
                  <a:pt x="1728" y="366"/>
                  <a:pt x="1728" y="366"/>
                </a:cubicBezTo>
                <a:cubicBezTo>
                  <a:pt x="1728" y="386"/>
                  <a:pt x="1732" y="422"/>
                  <a:pt x="1734" y="428"/>
                </a:cubicBezTo>
                <a:cubicBezTo>
                  <a:pt x="1744" y="446"/>
                  <a:pt x="1788" y="454"/>
                  <a:pt x="1824" y="454"/>
                </a:cubicBezTo>
                <a:cubicBezTo>
                  <a:pt x="1888" y="454"/>
                  <a:pt x="1928" y="416"/>
                  <a:pt x="1928" y="372"/>
                </a:cubicBezTo>
                <a:cubicBezTo>
                  <a:pt x="1932" y="270"/>
                  <a:pt x="1776" y="286"/>
                  <a:pt x="1776" y="222"/>
                </a:cubicBezTo>
                <a:moveTo>
                  <a:pt x="2030" y="270"/>
                </a:moveTo>
                <a:cubicBezTo>
                  <a:pt x="2034" y="220"/>
                  <a:pt x="2058" y="192"/>
                  <a:pt x="2102" y="192"/>
                </a:cubicBezTo>
                <a:cubicBezTo>
                  <a:pt x="2144" y="192"/>
                  <a:pt x="2170" y="220"/>
                  <a:pt x="2172" y="270"/>
                </a:cubicBezTo>
                <a:lnTo>
                  <a:pt x="2030" y="270"/>
                </a:lnTo>
                <a:close/>
                <a:moveTo>
                  <a:pt x="2030" y="290"/>
                </a:moveTo>
                <a:cubicBezTo>
                  <a:pt x="2222" y="290"/>
                  <a:pt x="2222" y="290"/>
                  <a:pt x="2222" y="290"/>
                </a:cubicBezTo>
                <a:cubicBezTo>
                  <a:pt x="2226" y="228"/>
                  <a:pt x="2192" y="168"/>
                  <a:pt x="2114" y="168"/>
                </a:cubicBezTo>
                <a:cubicBezTo>
                  <a:pt x="2034" y="168"/>
                  <a:pt x="1982" y="232"/>
                  <a:pt x="1982" y="320"/>
                </a:cubicBezTo>
                <a:cubicBezTo>
                  <a:pt x="1982" y="388"/>
                  <a:pt x="2018" y="456"/>
                  <a:pt x="2112" y="456"/>
                </a:cubicBezTo>
                <a:cubicBezTo>
                  <a:pt x="2150" y="456"/>
                  <a:pt x="2198" y="440"/>
                  <a:pt x="2224" y="412"/>
                </a:cubicBezTo>
                <a:cubicBezTo>
                  <a:pt x="2218" y="400"/>
                  <a:pt x="2218" y="400"/>
                  <a:pt x="2218" y="400"/>
                </a:cubicBezTo>
                <a:cubicBezTo>
                  <a:pt x="2192" y="416"/>
                  <a:pt x="2164" y="422"/>
                  <a:pt x="2138" y="422"/>
                </a:cubicBezTo>
                <a:cubicBezTo>
                  <a:pt x="2058" y="420"/>
                  <a:pt x="2028" y="352"/>
                  <a:pt x="2030" y="290"/>
                </a:cubicBezTo>
                <a:moveTo>
                  <a:pt x="2478" y="242"/>
                </a:moveTo>
                <a:cubicBezTo>
                  <a:pt x="2490" y="206"/>
                  <a:pt x="2510" y="192"/>
                  <a:pt x="2528" y="192"/>
                </a:cubicBezTo>
                <a:cubicBezTo>
                  <a:pt x="2528" y="180"/>
                  <a:pt x="2528" y="180"/>
                  <a:pt x="2528" y="180"/>
                </a:cubicBezTo>
                <a:cubicBezTo>
                  <a:pt x="2430" y="180"/>
                  <a:pt x="2430" y="180"/>
                  <a:pt x="2430" y="180"/>
                </a:cubicBezTo>
                <a:cubicBezTo>
                  <a:pt x="2430" y="192"/>
                  <a:pt x="2430" y="192"/>
                  <a:pt x="2430" y="192"/>
                </a:cubicBezTo>
                <a:cubicBezTo>
                  <a:pt x="2454" y="194"/>
                  <a:pt x="2466" y="206"/>
                  <a:pt x="2458" y="234"/>
                </a:cubicBezTo>
                <a:cubicBezTo>
                  <a:pt x="2406" y="390"/>
                  <a:pt x="2406" y="390"/>
                  <a:pt x="2406" y="390"/>
                </a:cubicBezTo>
                <a:cubicBezTo>
                  <a:pt x="2354" y="270"/>
                  <a:pt x="2354" y="270"/>
                  <a:pt x="2354" y="270"/>
                </a:cubicBezTo>
                <a:cubicBezTo>
                  <a:pt x="2340" y="238"/>
                  <a:pt x="2334" y="224"/>
                  <a:pt x="2334" y="212"/>
                </a:cubicBezTo>
                <a:cubicBezTo>
                  <a:pt x="2334" y="202"/>
                  <a:pt x="2340" y="196"/>
                  <a:pt x="2360" y="192"/>
                </a:cubicBezTo>
                <a:cubicBezTo>
                  <a:pt x="2360" y="180"/>
                  <a:pt x="2360" y="180"/>
                  <a:pt x="2360" y="180"/>
                </a:cubicBezTo>
                <a:cubicBezTo>
                  <a:pt x="2234" y="180"/>
                  <a:pt x="2234" y="180"/>
                  <a:pt x="2234" y="180"/>
                </a:cubicBezTo>
                <a:cubicBezTo>
                  <a:pt x="2234" y="192"/>
                  <a:pt x="2234" y="192"/>
                  <a:pt x="2234" y="192"/>
                </a:cubicBezTo>
                <a:cubicBezTo>
                  <a:pt x="2266" y="194"/>
                  <a:pt x="2268" y="198"/>
                  <a:pt x="2310" y="292"/>
                </a:cubicBezTo>
                <a:cubicBezTo>
                  <a:pt x="2382" y="450"/>
                  <a:pt x="2382" y="450"/>
                  <a:pt x="2382" y="450"/>
                </a:cubicBezTo>
                <a:cubicBezTo>
                  <a:pt x="2358" y="512"/>
                  <a:pt x="2320" y="546"/>
                  <a:pt x="2242" y="564"/>
                </a:cubicBezTo>
                <a:cubicBezTo>
                  <a:pt x="2246" y="576"/>
                  <a:pt x="2260" y="600"/>
                  <a:pt x="2268" y="606"/>
                </a:cubicBezTo>
                <a:cubicBezTo>
                  <a:pt x="2370" y="564"/>
                  <a:pt x="2390" y="498"/>
                  <a:pt x="2426" y="396"/>
                </a:cubicBezTo>
                <a:lnTo>
                  <a:pt x="2478" y="242"/>
                </a:lnTo>
                <a:close/>
                <a:moveTo>
                  <a:pt x="2844" y="394"/>
                </a:moveTo>
                <a:cubicBezTo>
                  <a:pt x="2822" y="412"/>
                  <a:pt x="2782" y="416"/>
                  <a:pt x="2750" y="416"/>
                </a:cubicBezTo>
                <a:cubicBezTo>
                  <a:pt x="2670" y="416"/>
                  <a:pt x="2606" y="360"/>
                  <a:pt x="2606" y="284"/>
                </a:cubicBezTo>
                <a:cubicBezTo>
                  <a:pt x="2606" y="236"/>
                  <a:pt x="2626" y="206"/>
                  <a:pt x="2658" y="198"/>
                </a:cubicBezTo>
                <a:cubicBezTo>
                  <a:pt x="2698" y="266"/>
                  <a:pt x="2770" y="338"/>
                  <a:pt x="2844" y="394"/>
                </a:cubicBezTo>
                <a:moveTo>
                  <a:pt x="2928" y="448"/>
                </a:moveTo>
                <a:cubicBezTo>
                  <a:pt x="3022" y="448"/>
                  <a:pt x="3022" y="448"/>
                  <a:pt x="3022" y="448"/>
                </a:cubicBezTo>
                <a:cubicBezTo>
                  <a:pt x="3022" y="436"/>
                  <a:pt x="3022" y="436"/>
                  <a:pt x="3022" y="436"/>
                </a:cubicBezTo>
                <a:cubicBezTo>
                  <a:pt x="2992" y="432"/>
                  <a:pt x="2946" y="408"/>
                  <a:pt x="2896" y="372"/>
                </a:cubicBezTo>
                <a:cubicBezTo>
                  <a:pt x="2914" y="342"/>
                  <a:pt x="2918" y="300"/>
                  <a:pt x="2922" y="270"/>
                </a:cubicBezTo>
                <a:cubicBezTo>
                  <a:pt x="2926" y="244"/>
                  <a:pt x="2946" y="244"/>
                  <a:pt x="2958" y="242"/>
                </a:cubicBezTo>
                <a:cubicBezTo>
                  <a:pt x="2958" y="230"/>
                  <a:pt x="2958" y="230"/>
                  <a:pt x="2958" y="230"/>
                </a:cubicBezTo>
                <a:cubicBezTo>
                  <a:pt x="2834" y="230"/>
                  <a:pt x="2834" y="230"/>
                  <a:pt x="2834" y="230"/>
                </a:cubicBezTo>
                <a:cubicBezTo>
                  <a:pt x="2834" y="242"/>
                  <a:pt x="2834" y="242"/>
                  <a:pt x="2834" y="242"/>
                </a:cubicBezTo>
                <a:cubicBezTo>
                  <a:pt x="2864" y="246"/>
                  <a:pt x="2892" y="250"/>
                  <a:pt x="2892" y="294"/>
                </a:cubicBezTo>
                <a:cubicBezTo>
                  <a:pt x="2892" y="318"/>
                  <a:pt x="2888" y="342"/>
                  <a:pt x="2878" y="358"/>
                </a:cubicBezTo>
                <a:cubicBezTo>
                  <a:pt x="2770" y="274"/>
                  <a:pt x="2670" y="156"/>
                  <a:pt x="2670" y="96"/>
                </a:cubicBezTo>
                <a:cubicBezTo>
                  <a:pt x="2670" y="66"/>
                  <a:pt x="2688" y="54"/>
                  <a:pt x="2716" y="54"/>
                </a:cubicBezTo>
                <a:cubicBezTo>
                  <a:pt x="2752" y="54"/>
                  <a:pt x="2784" y="78"/>
                  <a:pt x="2800" y="124"/>
                </a:cubicBezTo>
                <a:cubicBezTo>
                  <a:pt x="2812" y="124"/>
                  <a:pt x="2812" y="124"/>
                  <a:pt x="2812" y="124"/>
                </a:cubicBezTo>
                <a:cubicBezTo>
                  <a:pt x="2810" y="42"/>
                  <a:pt x="2810" y="42"/>
                  <a:pt x="2810" y="42"/>
                </a:cubicBezTo>
                <a:cubicBezTo>
                  <a:pt x="2798" y="42"/>
                  <a:pt x="2798" y="42"/>
                  <a:pt x="2798" y="42"/>
                </a:cubicBezTo>
                <a:cubicBezTo>
                  <a:pt x="2798" y="48"/>
                  <a:pt x="2792" y="52"/>
                  <a:pt x="2788" y="52"/>
                </a:cubicBezTo>
                <a:cubicBezTo>
                  <a:pt x="2772" y="52"/>
                  <a:pt x="2752" y="36"/>
                  <a:pt x="2714" y="36"/>
                </a:cubicBezTo>
                <a:cubicBezTo>
                  <a:pt x="2672" y="36"/>
                  <a:pt x="2630" y="62"/>
                  <a:pt x="2630" y="118"/>
                </a:cubicBezTo>
                <a:cubicBezTo>
                  <a:pt x="2630" y="140"/>
                  <a:pt x="2636" y="160"/>
                  <a:pt x="2648" y="182"/>
                </a:cubicBezTo>
                <a:cubicBezTo>
                  <a:pt x="2592" y="200"/>
                  <a:pt x="2562" y="248"/>
                  <a:pt x="2562" y="304"/>
                </a:cubicBezTo>
                <a:cubicBezTo>
                  <a:pt x="2562" y="406"/>
                  <a:pt x="2640" y="460"/>
                  <a:pt x="2726" y="460"/>
                </a:cubicBezTo>
                <a:cubicBezTo>
                  <a:pt x="2780" y="460"/>
                  <a:pt x="2824" y="444"/>
                  <a:pt x="2862" y="410"/>
                </a:cubicBezTo>
                <a:cubicBezTo>
                  <a:pt x="2888" y="424"/>
                  <a:pt x="2912" y="442"/>
                  <a:pt x="2928" y="448"/>
                </a:cubicBezTo>
                <a:moveTo>
                  <a:pt x="3094" y="212"/>
                </a:moveTo>
                <a:cubicBezTo>
                  <a:pt x="3094" y="88"/>
                  <a:pt x="3154" y="20"/>
                  <a:pt x="3252" y="20"/>
                </a:cubicBezTo>
                <a:cubicBezTo>
                  <a:pt x="3328" y="20"/>
                  <a:pt x="3372" y="58"/>
                  <a:pt x="3392" y="134"/>
                </a:cubicBezTo>
                <a:cubicBezTo>
                  <a:pt x="3404" y="134"/>
                  <a:pt x="3404" y="134"/>
                  <a:pt x="3404" y="134"/>
                </a:cubicBezTo>
                <a:cubicBezTo>
                  <a:pt x="3400" y="4"/>
                  <a:pt x="3400" y="4"/>
                  <a:pt x="3400" y="4"/>
                </a:cubicBezTo>
                <a:cubicBezTo>
                  <a:pt x="3388" y="4"/>
                  <a:pt x="3388" y="4"/>
                  <a:pt x="3388" y="4"/>
                </a:cubicBezTo>
                <a:cubicBezTo>
                  <a:pt x="3384" y="14"/>
                  <a:pt x="3376" y="18"/>
                  <a:pt x="3364" y="18"/>
                </a:cubicBezTo>
                <a:cubicBezTo>
                  <a:pt x="3338" y="18"/>
                  <a:pt x="3314" y="0"/>
                  <a:pt x="3248" y="0"/>
                </a:cubicBezTo>
                <a:cubicBezTo>
                  <a:pt x="3118" y="0"/>
                  <a:pt x="3030" y="102"/>
                  <a:pt x="3030" y="242"/>
                </a:cubicBezTo>
                <a:cubicBezTo>
                  <a:pt x="3030" y="376"/>
                  <a:pt x="3110" y="460"/>
                  <a:pt x="3238" y="460"/>
                </a:cubicBezTo>
                <a:cubicBezTo>
                  <a:pt x="3320" y="460"/>
                  <a:pt x="3384" y="420"/>
                  <a:pt x="3408" y="380"/>
                </a:cubicBezTo>
                <a:cubicBezTo>
                  <a:pt x="3396" y="366"/>
                  <a:pt x="3396" y="366"/>
                  <a:pt x="3396" y="366"/>
                </a:cubicBezTo>
                <a:cubicBezTo>
                  <a:pt x="3370" y="402"/>
                  <a:pt x="3314" y="426"/>
                  <a:pt x="3256" y="426"/>
                </a:cubicBezTo>
                <a:cubicBezTo>
                  <a:pt x="3156" y="426"/>
                  <a:pt x="3094" y="340"/>
                  <a:pt x="3094" y="212"/>
                </a:cubicBezTo>
                <a:moveTo>
                  <a:pt x="3678" y="328"/>
                </a:moveTo>
                <a:cubicBezTo>
                  <a:pt x="3678" y="392"/>
                  <a:pt x="3650" y="430"/>
                  <a:pt x="3592" y="430"/>
                </a:cubicBezTo>
                <a:cubicBezTo>
                  <a:pt x="3542" y="430"/>
                  <a:pt x="3496" y="384"/>
                  <a:pt x="3496" y="292"/>
                </a:cubicBezTo>
                <a:cubicBezTo>
                  <a:pt x="3496" y="226"/>
                  <a:pt x="3528" y="190"/>
                  <a:pt x="3580" y="190"/>
                </a:cubicBezTo>
                <a:cubicBezTo>
                  <a:pt x="3628" y="192"/>
                  <a:pt x="3678" y="238"/>
                  <a:pt x="3678" y="328"/>
                </a:cubicBezTo>
                <a:moveTo>
                  <a:pt x="3732" y="312"/>
                </a:moveTo>
                <a:cubicBezTo>
                  <a:pt x="3732" y="260"/>
                  <a:pt x="3710" y="214"/>
                  <a:pt x="3672" y="190"/>
                </a:cubicBezTo>
                <a:cubicBezTo>
                  <a:pt x="3650" y="176"/>
                  <a:pt x="3620" y="168"/>
                  <a:pt x="3588" y="168"/>
                </a:cubicBezTo>
                <a:cubicBezTo>
                  <a:pt x="3502" y="168"/>
                  <a:pt x="3442" y="230"/>
                  <a:pt x="3442" y="310"/>
                </a:cubicBezTo>
                <a:cubicBezTo>
                  <a:pt x="3442" y="364"/>
                  <a:pt x="3464" y="408"/>
                  <a:pt x="3502" y="432"/>
                </a:cubicBezTo>
                <a:cubicBezTo>
                  <a:pt x="3524" y="446"/>
                  <a:pt x="3554" y="452"/>
                  <a:pt x="3586" y="452"/>
                </a:cubicBezTo>
                <a:cubicBezTo>
                  <a:pt x="3672" y="454"/>
                  <a:pt x="3732" y="394"/>
                  <a:pt x="3732" y="312"/>
                </a:cubicBezTo>
                <a:moveTo>
                  <a:pt x="4136" y="448"/>
                </a:moveTo>
                <a:cubicBezTo>
                  <a:pt x="4280" y="448"/>
                  <a:pt x="4280" y="448"/>
                  <a:pt x="4280" y="448"/>
                </a:cubicBezTo>
                <a:cubicBezTo>
                  <a:pt x="4280" y="436"/>
                  <a:pt x="4280" y="436"/>
                  <a:pt x="4280" y="436"/>
                </a:cubicBezTo>
                <a:cubicBezTo>
                  <a:pt x="4230" y="434"/>
                  <a:pt x="4232" y="426"/>
                  <a:pt x="4232" y="348"/>
                </a:cubicBezTo>
                <a:cubicBezTo>
                  <a:pt x="4232" y="276"/>
                  <a:pt x="4232" y="276"/>
                  <a:pt x="4232" y="276"/>
                </a:cubicBezTo>
                <a:cubicBezTo>
                  <a:pt x="4232" y="200"/>
                  <a:pt x="4190" y="172"/>
                  <a:pt x="4142" y="172"/>
                </a:cubicBezTo>
                <a:cubicBezTo>
                  <a:pt x="4098" y="172"/>
                  <a:pt x="4064" y="196"/>
                  <a:pt x="4038" y="232"/>
                </a:cubicBezTo>
                <a:cubicBezTo>
                  <a:pt x="4028" y="194"/>
                  <a:pt x="4000" y="172"/>
                  <a:pt x="3954" y="172"/>
                </a:cubicBezTo>
                <a:cubicBezTo>
                  <a:pt x="3916" y="172"/>
                  <a:pt x="3880" y="196"/>
                  <a:pt x="3858" y="224"/>
                </a:cubicBezTo>
                <a:cubicBezTo>
                  <a:pt x="3858" y="176"/>
                  <a:pt x="3858" y="176"/>
                  <a:pt x="3858" y="176"/>
                </a:cubicBezTo>
                <a:cubicBezTo>
                  <a:pt x="3756" y="176"/>
                  <a:pt x="3756" y="176"/>
                  <a:pt x="3756" y="176"/>
                </a:cubicBezTo>
                <a:cubicBezTo>
                  <a:pt x="3756" y="188"/>
                  <a:pt x="3756" y="188"/>
                  <a:pt x="3756" y="188"/>
                </a:cubicBezTo>
                <a:cubicBezTo>
                  <a:pt x="3800" y="190"/>
                  <a:pt x="3806" y="192"/>
                  <a:pt x="3806" y="268"/>
                </a:cubicBezTo>
                <a:cubicBezTo>
                  <a:pt x="3806" y="346"/>
                  <a:pt x="3806" y="346"/>
                  <a:pt x="3806" y="346"/>
                </a:cubicBezTo>
                <a:cubicBezTo>
                  <a:pt x="3806" y="434"/>
                  <a:pt x="3804" y="434"/>
                  <a:pt x="3758" y="434"/>
                </a:cubicBezTo>
                <a:cubicBezTo>
                  <a:pt x="3758" y="446"/>
                  <a:pt x="3758" y="446"/>
                  <a:pt x="3758" y="446"/>
                </a:cubicBezTo>
                <a:cubicBezTo>
                  <a:pt x="3902" y="446"/>
                  <a:pt x="3902" y="446"/>
                  <a:pt x="3902" y="446"/>
                </a:cubicBezTo>
                <a:cubicBezTo>
                  <a:pt x="3902" y="434"/>
                  <a:pt x="3902" y="434"/>
                  <a:pt x="3902" y="434"/>
                </a:cubicBezTo>
                <a:cubicBezTo>
                  <a:pt x="3862" y="430"/>
                  <a:pt x="3858" y="430"/>
                  <a:pt x="3858" y="342"/>
                </a:cubicBezTo>
                <a:cubicBezTo>
                  <a:pt x="3858" y="262"/>
                  <a:pt x="3858" y="262"/>
                  <a:pt x="3858" y="262"/>
                </a:cubicBezTo>
                <a:cubicBezTo>
                  <a:pt x="3858" y="234"/>
                  <a:pt x="3894" y="204"/>
                  <a:pt x="3932" y="204"/>
                </a:cubicBezTo>
                <a:cubicBezTo>
                  <a:pt x="3974" y="204"/>
                  <a:pt x="3990" y="226"/>
                  <a:pt x="3990" y="282"/>
                </a:cubicBezTo>
                <a:cubicBezTo>
                  <a:pt x="3990" y="338"/>
                  <a:pt x="3990" y="338"/>
                  <a:pt x="3990" y="338"/>
                </a:cubicBezTo>
                <a:cubicBezTo>
                  <a:pt x="3990" y="428"/>
                  <a:pt x="3988" y="432"/>
                  <a:pt x="3950" y="436"/>
                </a:cubicBezTo>
                <a:cubicBezTo>
                  <a:pt x="3950" y="448"/>
                  <a:pt x="3950" y="448"/>
                  <a:pt x="3950" y="448"/>
                </a:cubicBezTo>
                <a:cubicBezTo>
                  <a:pt x="4086" y="448"/>
                  <a:pt x="4086" y="448"/>
                  <a:pt x="4086" y="448"/>
                </a:cubicBezTo>
                <a:cubicBezTo>
                  <a:pt x="4086" y="436"/>
                  <a:pt x="4086" y="436"/>
                  <a:pt x="4086" y="436"/>
                </a:cubicBezTo>
                <a:cubicBezTo>
                  <a:pt x="4040" y="432"/>
                  <a:pt x="4042" y="428"/>
                  <a:pt x="4042" y="342"/>
                </a:cubicBezTo>
                <a:cubicBezTo>
                  <a:pt x="4042" y="264"/>
                  <a:pt x="4042" y="264"/>
                  <a:pt x="4042" y="264"/>
                </a:cubicBezTo>
                <a:cubicBezTo>
                  <a:pt x="4042" y="236"/>
                  <a:pt x="4078" y="206"/>
                  <a:pt x="4118" y="206"/>
                </a:cubicBezTo>
                <a:cubicBezTo>
                  <a:pt x="4152" y="206"/>
                  <a:pt x="4174" y="226"/>
                  <a:pt x="4174" y="284"/>
                </a:cubicBezTo>
                <a:cubicBezTo>
                  <a:pt x="4174" y="346"/>
                  <a:pt x="4174" y="346"/>
                  <a:pt x="4174" y="346"/>
                </a:cubicBezTo>
                <a:cubicBezTo>
                  <a:pt x="4174" y="428"/>
                  <a:pt x="4174" y="432"/>
                  <a:pt x="4134" y="436"/>
                </a:cubicBezTo>
                <a:cubicBezTo>
                  <a:pt x="4134" y="448"/>
                  <a:pt x="4134" y="448"/>
                  <a:pt x="4134" y="448"/>
                </a:cubicBezTo>
                <a:lnTo>
                  <a:pt x="4136" y="448"/>
                </a:lnTo>
                <a:close/>
                <a:moveTo>
                  <a:pt x="4546" y="316"/>
                </a:moveTo>
                <a:cubicBezTo>
                  <a:pt x="4546" y="388"/>
                  <a:pt x="4516" y="432"/>
                  <a:pt x="4460" y="432"/>
                </a:cubicBezTo>
                <a:cubicBezTo>
                  <a:pt x="4424" y="432"/>
                  <a:pt x="4384" y="412"/>
                  <a:pt x="4384" y="384"/>
                </a:cubicBezTo>
                <a:cubicBezTo>
                  <a:pt x="4384" y="248"/>
                  <a:pt x="4384" y="248"/>
                  <a:pt x="4384" y="248"/>
                </a:cubicBezTo>
                <a:cubicBezTo>
                  <a:pt x="4384" y="226"/>
                  <a:pt x="4416" y="202"/>
                  <a:pt x="4454" y="202"/>
                </a:cubicBezTo>
                <a:cubicBezTo>
                  <a:pt x="4510" y="206"/>
                  <a:pt x="4546" y="248"/>
                  <a:pt x="4546" y="316"/>
                </a:cubicBezTo>
                <a:moveTo>
                  <a:pt x="4600" y="310"/>
                </a:moveTo>
                <a:cubicBezTo>
                  <a:pt x="4600" y="230"/>
                  <a:pt x="4548" y="170"/>
                  <a:pt x="4478" y="170"/>
                </a:cubicBezTo>
                <a:cubicBezTo>
                  <a:pt x="4438" y="170"/>
                  <a:pt x="4406" y="188"/>
                  <a:pt x="4384" y="214"/>
                </a:cubicBezTo>
                <a:cubicBezTo>
                  <a:pt x="4384" y="174"/>
                  <a:pt x="4384" y="174"/>
                  <a:pt x="4384" y="174"/>
                </a:cubicBezTo>
                <a:cubicBezTo>
                  <a:pt x="4284" y="174"/>
                  <a:pt x="4284" y="174"/>
                  <a:pt x="4284" y="174"/>
                </a:cubicBezTo>
                <a:cubicBezTo>
                  <a:pt x="4284" y="186"/>
                  <a:pt x="4284" y="186"/>
                  <a:pt x="4284" y="186"/>
                </a:cubicBezTo>
                <a:cubicBezTo>
                  <a:pt x="4326" y="188"/>
                  <a:pt x="4332" y="190"/>
                  <a:pt x="4332" y="280"/>
                </a:cubicBezTo>
                <a:cubicBezTo>
                  <a:pt x="4332" y="466"/>
                  <a:pt x="4332" y="466"/>
                  <a:pt x="4332" y="466"/>
                </a:cubicBezTo>
                <a:cubicBezTo>
                  <a:pt x="4332" y="564"/>
                  <a:pt x="4334" y="570"/>
                  <a:pt x="4286" y="574"/>
                </a:cubicBezTo>
                <a:cubicBezTo>
                  <a:pt x="4286" y="588"/>
                  <a:pt x="4286" y="588"/>
                  <a:pt x="4286" y="588"/>
                </a:cubicBezTo>
                <a:cubicBezTo>
                  <a:pt x="4432" y="588"/>
                  <a:pt x="4432" y="588"/>
                  <a:pt x="4432" y="588"/>
                </a:cubicBezTo>
                <a:cubicBezTo>
                  <a:pt x="4432" y="574"/>
                  <a:pt x="4432" y="574"/>
                  <a:pt x="4432" y="574"/>
                </a:cubicBezTo>
                <a:cubicBezTo>
                  <a:pt x="4380" y="572"/>
                  <a:pt x="4384" y="564"/>
                  <a:pt x="4384" y="462"/>
                </a:cubicBezTo>
                <a:cubicBezTo>
                  <a:pt x="4384" y="424"/>
                  <a:pt x="4384" y="424"/>
                  <a:pt x="4384" y="424"/>
                </a:cubicBezTo>
                <a:cubicBezTo>
                  <a:pt x="4404" y="444"/>
                  <a:pt x="4436" y="454"/>
                  <a:pt x="4466" y="454"/>
                </a:cubicBezTo>
                <a:cubicBezTo>
                  <a:pt x="4548" y="454"/>
                  <a:pt x="4600" y="392"/>
                  <a:pt x="4600" y="310"/>
                </a:cubicBezTo>
                <a:moveTo>
                  <a:pt x="4792" y="382"/>
                </a:moveTo>
                <a:cubicBezTo>
                  <a:pt x="4792" y="404"/>
                  <a:pt x="4762" y="424"/>
                  <a:pt x="4736" y="424"/>
                </a:cubicBezTo>
                <a:cubicBezTo>
                  <a:pt x="4712" y="424"/>
                  <a:pt x="4694" y="410"/>
                  <a:pt x="4694" y="378"/>
                </a:cubicBezTo>
                <a:cubicBezTo>
                  <a:pt x="4694" y="322"/>
                  <a:pt x="4752" y="328"/>
                  <a:pt x="4792" y="306"/>
                </a:cubicBezTo>
                <a:cubicBezTo>
                  <a:pt x="4792" y="382"/>
                  <a:pt x="4792" y="382"/>
                  <a:pt x="4792" y="382"/>
                </a:cubicBezTo>
                <a:close/>
                <a:moveTo>
                  <a:pt x="5240" y="434"/>
                </a:moveTo>
                <a:cubicBezTo>
                  <a:pt x="5192" y="432"/>
                  <a:pt x="5192" y="430"/>
                  <a:pt x="5192" y="340"/>
                </a:cubicBezTo>
                <a:cubicBezTo>
                  <a:pt x="5192" y="278"/>
                  <a:pt x="5192" y="278"/>
                  <a:pt x="5192" y="278"/>
                </a:cubicBezTo>
                <a:cubicBezTo>
                  <a:pt x="5192" y="196"/>
                  <a:pt x="5146" y="170"/>
                  <a:pt x="5104" y="170"/>
                </a:cubicBezTo>
                <a:cubicBezTo>
                  <a:pt x="5068" y="170"/>
                  <a:pt x="5032" y="186"/>
                  <a:pt x="5004" y="222"/>
                </a:cubicBezTo>
                <a:cubicBezTo>
                  <a:pt x="5004" y="174"/>
                  <a:pt x="5004" y="174"/>
                  <a:pt x="5004" y="174"/>
                </a:cubicBezTo>
                <a:cubicBezTo>
                  <a:pt x="4902" y="174"/>
                  <a:pt x="4902" y="174"/>
                  <a:pt x="4902" y="174"/>
                </a:cubicBezTo>
                <a:cubicBezTo>
                  <a:pt x="4902" y="186"/>
                  <a:pt x="4902" y="186"/>
                  <a:pt x="4902" y="186"/>
                </a:cubicBezTo>
                <a:cubicBezTo>
                  <a:pt x="4946" y="188"/>
                  <a:pt x="4952" y="190"/>
                  <a:pt x="4952" y="266"/>
                </a:cubicBezTo>
                <a:cubicBezTo>
                  <a:pt x="4952" y="334"/>
                  <a:pt x="4952" y="334"/>
                  <a:pt x="4952" y="334"/>
                </a:cubicBezTo>
                <a:cubicBezTo>
                  <a:pt x="4952" y="430"/>
                  <a:pt x="4952" y="432"/>
                  <a:pt x="4904" y="434"/>
                </a:cubicBezTo>
                <a:cubicBezTo>
                  <a:pt x="4892" y="434"/>
                  <a:pt x="4892" y="434"/>
                  <a:pt x="4892" y="434"/>
                </a:cubicBezTo>
                <a:cubicBezTo>
                  <a:pt x="4854" y="434"/>
                  <a:pt x="4850" y="422"/>
                  <a:pt x="4850" y="366"/>
                </a:cubicBezTo>
                <a:cubicBezTo>
                  <a:pt x="4850" y="274"/>
                  <a:pt x="4850" y="274"/>
                  <a:pt x="4850" y="274"/>
                </a:cubicBezTo>
                <a:cubicBezTo>
                  <a:pt x="4850" y="256"/>
                  <a:pt x="4848" y="240"/>
                  <a:pt x="4844" y="228"/>
                </a:cubicBezTo>
                <a:cubicBezTo>
                  <a:pt x="4830" y="186"/>
                  <a:pt x="4796" y="170"/>
                  <a:pt x="4748" y="170"/>
                </a:cubicBezTo>
                <a:cubicBezTo>
                  <a:pt x="4718" y="170"/>
                  <a:pt x="4674" y="180"/>
                  <a:pt x="4650" y="202"/>
                </a:cubicBezTo>
                <a:cubicBezTo>
                  <a:pt x="4652" y="214"/>
                  <a:pt x="4664" y="240"/>
                  <a:pt x="4670" y="248"/>
                </a:cubicBezTo>
                <a:cubicBezTo>
                  <a:pt x="4676" y="246"/>
                  <a:pt x="4676" y="246"/>
                  <a:pt x="4676" y="246"/>
                </a:cubicBezTo>
                <a:cubicBezTo>
                  <a:pt x="4688" y="216"/>
                  <a:pt x="4708" y="194"/>
                  <a:pt x="4742" y="194"/>
                </a:cubicBezTo>
                <a:cubicBezTo>
                  <a:pt x="4778" y="194"/>
                  <a:pt x="4794" y="220"/>
                  <a:pt x="4794" y="250"/>
                </a:cubicBezTo>
                <a:cubicBezTo>
                  <a:pt x="4794" y="282"/>
                  <a:pt x="4794" y="282"/>
                  <a:pt x="4794" y="282"/>
                </a:cubicBezTo>
                <a:cubicBezTo>
                  <a:pt x="4794" y="302"/>
                  <a:pt x="4702" y="306"/>
                  <a:pt x="4664" y="338"/>
                </a:cubicBezTo>
                <a:cubicBezTo>
                  <a:pt x="4652" y="350"/>
                  <a:pt x="4642" y="364"/>
                  <a:pt x="4642" y="384"/>
                </a:cubicBezTo>
                <a:cubicBezTo>
                  <a:pt x="4642" y="426"/>
                  <a:pt x="4672" y="456"/>
                  <a:pt x="4716" y="456"/>
                </a:cubicBezTo>
                <a:cubicBezTo>
                  <a:pt x="4744" y="456"/>
                  <a:pt x="4768" y="446"/>
                  <a:pt x="4794" y="418"/>
                </a:cubicBezTo>
                <a:cubicBezTo>
                  <a:pt x="4798" y="438"/>
                  <a:pt x="4814" y="448"/>
                  <a:pt x="4842" y="448"/>
                </a:cubicBezTo>
                <a:cubicBezTo>
                  <a:pt x="4906" y="448"/>
                  <a:pt x="4906" y="448"/>
                  <a:pt x="4906" y="448"/>
                </a:cubicBezTo>
                <a:cubicBezTo>
                  <a:pt x="4906" y="448"/>
                  <a:pt x="4906" y="448"/>
                  <a:pt x="4906" y="448"/>
                </a:cubicBezTo>
                <a:cubicBezTo>
                  <a:pt x="5048" y="448"/>
                  <a:pt x="5048" y="448"/>
                  <a:pt x="5048" y="448"/>
                </a:cubicBezTo>
                <a:cubicBezTo>
                  <a:pt x="5048" y="436"/>
                  <a:pt x="5048" y="436"/>
                  <a:pt x="5048" y="436"/>
                </a:cubicBezTo>
                <a:cubicBezTo>
                  <a:pt x="5006" y="432"/>
                  <a:pt x="5004" y="434"/>
                  <a:pt x="5004" y="338"/>
                </a:cubicBezTo>
                <a:cubicBezTo>
                  <a:pt x="5004" y="262"/>
                  <a:pt x="5004" y="262"/>
                  <a:pt x="5004" y="262"/>
                </a:cubicBezTo>
                <a:cubicBezTo>
                  <a:pt x="5004" y="236"/>
                  <a:pt x="5038" y="206"/>
                  <a:pt x="5080" y="206"/>
                </a:cubicBezTo>
                <a:cubicBezTo>
                  <a:pt x="5114" y="206"/>
                  <a:pt x="5140" y="220"/>
                  <a:pt x="5140" y="286"/>
                </a:cubicBezTo>
                <a:cubicBezTo>
                  <a:pt x="5140" y="340"/>
                  <a:pt x="5140" y="340"/>
                  <a:pt x="5140" y="340"/>
                </a:cubicBezTo>
                <a:cubicBezTo>
                  <a:pt x="5140" y="432"/>
                  <a:pt x="5136" y="432"/>
                  <a:pt x="5098" y="434"/>
                </a:cubicBezTo>
                <a:cubicBezTo>
                  <a:pt x="5098" y="446"/>
                  <a:pt x="5098" y="446"/>
                  <a:pt x="5098" y="446"/>
                </a:cubicBezTo>
                <a:cubicBezTo>
                  <a:pt x="5240" y="446"/>
                  <a:pt x="5240" y="446"/>
                  <a:pt x="5240" y="446"/>
                </a:cubicBezTo>
                <a:lnTo>
                  <a:pt x="5240" y="434"/>
                </a:lnTo>
                <a:close/>
                <a:moveTo>
                  <a:pt x="5516" y="192"/>
                </a:moveTo>
                <a:cubicBezTo>
                  <a:pt x="5516" y="180"/>
                  <a:pt x="5516" y="180"/>
                  <a:pt x="5516" y="180"/>
                </a:cubicBezTo>
                <a:cubicBezTo>
                  <a:pt x="5418" y="180"/>
                  <a:pt x="5418" y="180"/>
                  <a:pt x="5418" y="180"/>
                </a:cubicBezTo>
                <a:cubicBezTo>
                  <a:pt x="5418" y="192"/>
                  <a:pt x="5418" y="192"/>
                  <a:pt x="5418" y="192"/>
                </a:cubicBezTo>
                <a:cubicBezTo>
                  <a:pt x="5442" y="194"/>
                  <a:pt x="5454" y="206"/>
                  <a:pt x="5446" y="234"/>
                </a:cubicBezTo>
                <a:cubicBezTo>
                  <a:pt x="5394" y="390"/>
                  <a:pt x="5394" y="390"/>
                  <a:pt x="5394" y="390"/>
                </a:cubicBezTo>
                <a:cubicBezTo>
                  <a:pt x="5342" y="270"/>
                  <a:pt x="5342" y="270"/>
                  <a:pt x="5342" y="270"/>
                </a:cubicBezTo>
                <a:cubicBezTo>
                  <a:pt x="5328" y="238"/>
                  <a:pt x="5322" y="224"/>
                  <a:pt x="5322" y="212"/>
                </a:cubicBezTo>
                <a:cubicBezTo>
                  <a:pt x="5322" y="202"/>
                  <a:pt x="5328" y="196"/>
                  <a:pt x="5348" y="192"/>
                </a:cubicBezTo>
                <a:cubicBezTo>
                  <a:pt x="5348" y="180"/>
                  <a:pt x="5348" y="180"/>
                  <a:pt x="5348" y="180"/>
                </a:cubicBezTo>
                <a:cubicBezTo>
                  <a:pt x="5220" y="180"/>
                  <a:pt x="5220" y="180"/>
                  <a:pt x="5220" y="180"/>
                </a:cubicBezTo>
                <a:cubicBezTo>
                  <a:pt x="5220" y="192"/>
                  <a:pt x="5220" y="192"/>
                  <a:pt x="5220" y="192"/>
                </a:cubicBezTo>
                <a:cubicBezTo>
                  <a:pt x="5252" y="194"/>
                  <a:pt x="5254" y="198"/>
                  <a:pt x="5296" y="292"/>
                </a:cubicBezTo>
                <a:cubicBezTo>
                  <a:pt x="5368" y="450"/>
                  <a:pt x="5368" y="450"/>
                  <a:pt x="5368" y="450"/>
                </a:cubicBezTo>
                <a:cubicBezTo>
                  <a:pt x="5344" y="512"/>
                  <a:pt x="5306" y="546"/>
                  <a:pt x="5228" y="564"/>
                </a:cubicBezTo>
                <a:cubicBezTo>
                  <a:pt x="5232" y="576"/>
                  <a:pt x="5246" y="600"/>
                  <a:pt x="5254" y="606"/>
                </a:cubicBezTo>
                <a:cubicBezTo>
                  <a:pt x="5356" y="564"/>
                  <a:pt x="5376" y="498"/>
                  <a:pt x="5412" y="396"/>
                </a:cubicBezTo>
                <a:cubicBezTo>
                  <a:pt x="5466" y="242"/>
                  <a:pt x="5466" y="242"/>
                  <a:pt x="5466" y="242"/>
                </a:cubicBezTo>
                <a:cubicBezTo>
                  <a:pt x="5478" y="206"/>
                  <a:pt x="5498" y="192"/>
                  <a:pt x="5516" y="192"/>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600" kern="1200">
                <a:solidFill>
                  <a:schemeClr val="tx1"/>
                </a:solidFill>
                <a:latin typeface="Arial" charset="0"/>
                <a:ea typeface="+mn-ea"/>
                <a:cs typeface="+mn-cs"/>
              </a:defRPr>
            </a:lvl1pPr>
            <a:lvl2pPr marL="457200" algn="l" rtl="0" fontAlgn="base">
              <a:spcBef>
                <a:spcPct val="0"/>
              </a:spcBef>
              <a:spcAft>
                <a:spcPct val="0"/>
              </a:spcAft>
              <a:defRPr sz="1600" kern="1200">
                <a:solidFill>
                  <a:schemeClr val="tx1"/>
                </a:solidFill>
                <a:latin typeface="Arial" charset="0"/>
                <a:ea typeface="+mn-ea"/>
                <a:cs typeface="+mn-cs"/>
              </a:defRPr>
            </a:lvl2pPr>
            <a:lvl3pPr marL="914400" algn="l" rtl="0" fontAlgn="base">
              <a:spcBef>
                <a:spcPct val="0"/>
              </a:spcBef>
              <a:spcAft>
                <a:spcPct val="0"/>
              </a:spcAft>
              <a:defRPr sz="1600" kern="1200">
                <a:solidFill>
                  <a:schemeClr val="tx1"/>
                </a:solidFill>
                <a:latin typeface="Arial" charset="0"/>
                <a:ea typeface="+mn-ea"/>
                <a:cs typeface="+mn-cs"/>
              </a:defRPr>
            </a:lvl3pPr>
            <a:lvl4pPr marL="1371600" algn="l" rtl="0" fontAlgn="base">
              <a:spcBef>
                <a:spcPct val="0"/>
              </a:spcBef>
              <a:spcAft>
                <a:spcPct val="0"/>
              </a:spcAft>
              <a:defRPr sz="1600" kern="1200">
                <a:solidFill>
                  <a:schemeClr val="tx1"/>
                </a:solidFill>
                <a:latin typeface="Arial" charset="0"/>
                <a:ea typeface="+mn-ea"/>
                <a:cs typeface="+mn-cs"/>
              </a:defRPr>
            </a:lvl4pPr>
            <a:lvl5pPr marL="1828800" algn="l" rtl="0" fontAlgn="base">
              <a:spcBef>
                <a:spcPct val="0"/>
              </a:spcBef>
              <a:spcAft>
                <a:spcPct val="0"/>
              </a:spcAft>
              <a:defRPr sz="1600" kern="1200">
                <a:solidFill>
                  <a:schemeClr val="tx1"/>
                </a:solidFill>
                <a:latin typeface="Arial" charset="0"/>
                <a:ea typeface="+mn-ea"/>
                <a:cs typeface="+mn-cs"/>
              </a:defRPr>
            </a:lvl5pPr>
            <a:lvl6pPr marL="2286000" algn="l" defTabSz="914400" rtl="0" eaLnBrk="1" latinLnBrk="0" hangingPunct="1">
              <a:defRPr sz="1600" kern="1200">
                <a:solidFill>
                  <a:schemeClr val="tx1"/>
                </a:solidFill>
                <a:latin typeface="Arial" charset="0"/>
                <a:ea typeface="+mn-ea"/>
                <a:cs typeface="+mn-cs"/>
              </a:defRPr>
            </a:lvl6pPr>
            <a:lvl7pPr marL="2743200" algn="l" defTabSz="914400" rtl="0" eaLnBrk="1" latinLnBrk="0" hangingPunct="1">
              <a:defRPr sz="1600" kern="1200">
                <a:solidFill>
                  <a:schemeClr val="tx1"/>
                </a:solidFill>
                <a:latin typeface="Arial" charset="0"/>
                <a:ea typeface="+mn-ea"/>
                <a:cs typeface="+mn-cs"/>
              </a:defRPr>
            </a:lvl7pPr>
            <a:lvl8pPr marL="3200400" algn="l" defTabSz="914400" rtl="0" eaLnBrk="1" latinLnBrk="0" hangingPunct="1">
              <a:defRPr sz="1600" kern="1200">
                <a:solidFill>
                  <a:schemeClr val="tx1"/>
                </a:solidFill>
                <a:latin typeface="Arial" charset="0"/>
                <a:ea typeface="+mn-ea"/>
                <a:cs typeface="+mn-cs"/>
              </a:defRPr>
            </a:lvl8pPr>
            <a:lvl9pPr marL="3657600" algn="l" defTabSz="914400" rtl="0" eaLnBrk="1" latinLnBrk="0" hangingPunct="1">
              <a:defRPr sz="1600" kern="1200">
                <a:solidFill>
                  <a:schemeClr val="tx1"/>
                </a:solidFill>
                <a:latin typeface="Arial" charset="0"/>
                <a:ea typeface="+mn-ea"/>
                <a:cs typeface="+mn-cs"/>
              </a:defRPr>
            </a:lvl9pPr>
          </a:lstStyle>
          <a:p>
            <a:endParaRPr lang="en-US" baseline="0" dirty="0">
              <a:solidFill>
                <a:srgbClr val="000000"/>
              </a:solidFill>
              <a:latin typeface="+mn-lt"/>
            </a:endParaRPr>
          </a:p>
        </p:txBody>
      </p:sp>
      <p:sp>
        <p:nvSpPr>
          <p:cNvPr id="27" name="Disclaimer-English (United States)" hidden="1"/>
          <p:cNvSpPr>
            <a:spLocks noChangeArrowheads="1"/>
          </p:cNvSpPr>
          <p:nvPr/>
        </p:nvSpPr>
        <p:spPr bwMode="black">
          <a:xfrm>
            <a:off x="2268266" y="6287785"/>
            <a:ext cx="3544453" cy="36908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t" anchorCtr="0">
            <a:noAutofit/>
          </a:bodyPr>
          <a:lstStyle/>
          <a:p>
            <a:pPr defTabSz="804863" eaLnBrk="0" hangingPunct="0"/>
            <a:r>
              <a:rPr lang="en-US" sz="800" baseline="0" dirty="0">
                <a:solidFill>
                  <a:srgbClr val="FFFFFF"/>
                </a:solidFill>
                <a:latin typeface="+mn-lt"/>
              </a:rPr>
              <a:t>CONFIDENTIAL AND PROPRIETARY</a:t>
            </a:r>
          </a:p>
          <a:p>
            <a:pPr defTabSz="804863" eaLnBrk="0" hangingPunct="0"/>
            <a:r>
              <a:rPr lang="en-US" sz="800" baseline="0" dirty="0">
                <a:solidFill>
                  <a:srgbClr val="FFFFFF"/>
                </a:solidFill>
                <a:latin typeface="+mn-lt"/>
              </a:rPr>
              <a:t>Any use of this material without specific permission of McKinsey &amp; Company is strictly prohibited</a:t>
            </a:r>
          </a:p>
        </p:txBody>
      </p:sp>
    </p:spTree>
    <p:extLst>
      <p:ext uri="{BB962C8B-B14F-4D97-AF65-F5344CB8AC3E}">
        <p14:creationId xmlns:p14="http://schemas.microsoft.com/office/powerpoint/2010/main" val="2774936422"/>
      </p:ext>
    </p:extLst>
  </p:cSld>
  <p:clrMapOvr>
    <a:masterClrMapping/>
  </p:clrMapOvr>
  <p:extLst mod="1">
    <p:ext uri="{DCECCB84-F9BA-43D5-87BE-67443E8EF086}">
      <p15:sldGuideLst xmlns:p15="http://schemas.microsoft.com/office/powerpoint/2012/main">
        <p15:guide id="1" orient="horz" pos="2117">
          <p15:clr>
            <a:srgbClr val="FBAE40"/>
          </p15:clr>
        </p15:guide>
        <p15:guide id="2" pos="1416">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1_Title Only">
    <p:bg>
      <p:bgPr>
        <a:solidFill>
          <a:schemeClr val="accent2"/>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F4AD34F-3B47-47E2-A09C-FFEB949F6A10}"/>
              </a:ext>
            </a:extLst>
          </p:cNvPr>
          <p:cNvGraphicFramePr>
            <a:graphicFrameLocks noChangeAspect="1"/>
          </p:cNvGraphicFramePr>
          <p:nvPr>
            <p:custDataLst>
              <p:tags r:id="rId2"/>
            </p:custDataLst>
            <p:extLst>
              <p:ext uri="{D42A27DB-BD31-4B8C-83A1-F6EECF244321}">
                <p14:modId xmlns:p14="http://schemas.microsoft.com/office/powerpoint/2010/main" val="20924419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356" name="think-cell Slide" r:id="rId5" imgW="395" imgH="394" progId="TCLayout.ActiveDocument.1">
                  <p:embed/>
                </p:oleObj>
              </mc:Choice>
              <mc:Fallback>
                <p:oleObj name="think-cell Slide" r:id="rId5" imgW="395" imgH="394" progId="TCLayout.ActiveDocument.1">
                  <p:embed/>
                  <p:pic>
                    <p:nvPicPr>
                      <p:cNvPr id="3" name="Object 2" hidden="1">
                        <a:extLst>
                          <a:ext uri="{FF2B5EF4-FFF2-40B4-BE49-F238E27FC236}">
                            <a16:creationId xmlns:a16="http://schemas.microsoft.com/office/drawing/2014/main" id="{EF4AD34F-3B47-47E2-A09C-FFEB949F6A10}"/>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endParaRPr lang="en-US" dirty="0"/>
          </a:p>
        </p:txBody>
      </p:sp>
      <p:sp>
        <p:nvSpPr>
          <p:cNvPr id="15" name="Slide Number"/>
          <p:cNvSpPr txBox="1">
            <a:spLocks/>
          </p:cNvSpPr>
          <p:nvPr/>
        </p:nvSpPr>
        <p:spPr>
          <a:xfrm>
            <a:off x="8564563" y="6508272"/>
            <a:ext cx="125034" cy="123111"/>
          </a:xfrm>
          <a:prstGeom prst="rect">
            <a:avLst/>
          </a:prstGeom>
        </p:spPr>
        <p:txBody>
          <a:bodyPr vert="horz" wrap="none" lIns="0" tIns="0" rIns="0" bIns="0" rtlCol="0" anchor="ctr">
            <a:spAutoFit/>
          </a:bodyPr>
          <a:lstStyle>
            <a:defPPr>
              <a:defRPr lang="en-US"/>
            </a:defPPr>
            <a:lvl1pPr>
              <a:defRPr sz="1000" baseline="0">
                <a:latin typeface="+mn-lt"/>
              </a:defRPr>
            </a:lvl1pPr>
          </a:lstStyle>
          <a:p>
            <a:fld id="{42C328C1-A84F-4A39-A664-DBA00541A8C6}" type="slidenum">
              <a:rPr lang="en-US" sz="800" baseline="0" smtClean="0">
                <a:solidFill>
                  <a:srgbClr val="FFFFFF"/>
                </a:solidFill>
                <a:latin typeface="+mn-lt"/>
              </a:rPr>
              <a:pPr/>
              <a:t>‹#›</a:t>
            </a:fld>
            <a:endParaRPr lang="en-US" sz="800" baseline="0" dirty="0">
              <a:solidFill>
                <a:srgbClr val="FFFFFF"/>
              </a:solidFill>
              <a:latin typeface="+mn-lt"/>
            </a:endParaRPr>
          </a:p>
        </p:txBody>
      </p:sp>
      <p:sp>
        <p:nvSpPr>
          <p:cNvPr id="16" name="SlideLogoText"/>
          <p:cNvSpPr>
            <a:spLocks noChangeArrowheads="1"/>
          </p:cNvSpPr>
          <p:nvPr>
            <p:custDataLst>
              <p:tags r:id="rId3"/>
            </p:custDataLst>
          </p:nvPr>
        </p:nvSpPr>
        <p:spPr bwMode="auto">
          <a:xfrm>
            <a:off x="7450817" y="6508272"/>
            <a:ext cx="1013098"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algn="r" defTabSz="895350"/>
            <a:r>
              <a:rPr lang="en-US" sz="800" baseline="0" dirty="0">
                <a:solidFill>
                  <a:srgbClr val="FFFFFF"/>
                </a:solidFill>
                <a:latin typeface="+mn-lt"/>
              </a:rPr>
              <a:t>McKinsey &amp; Company</a:t>
            </a:r>
          </a:p>
        </p:txBody>
      </p:sp>
      <p:sp>
        <p:nvSpPr>
          <p:cNvPr id="5" name="doc id" hidden="1"/>
          <p:cNvSpPr txBox="1">
            <a:spLocks noChangeArrowheads="1"/>
          </p:cNvSpPr>
          <p:nvPr/>
        </p:nvSpPr>
        <p:spPr bwMode="white">
          <a:xfrm>
            <a:off x="8104473" y="36513"/>
            <a:ext cx="634716" cy="115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hangingPunct="1">
              <a:defRPr/>
            </a:pPr>
            <a:endParaRPr lang="en-US" sz="800" baseline="0" dirty="0">
              <a:solidFill>
                <a:schemeClr val="accent1"/>
              </a:solidFill>
              <a:latin typeface="+mn-lt"/>
              <a:ea typeface="+mn-ea"/>
            </a:endParaRPr>
          </a:p>
        </p:txBody>
      </p:sp>
    </p:spTree>
    <p:extLst>
      <p:ext uri="{BB962C8B-B14F-4D97-AF65-F5344CB8AC3E}">
        <p14:creationId xmlns:p14="http://schemas.microsoft.com/office/powerpoint/2010/main" val="2651661279"/>
      </p:ext>
    </p:extLst>
  </p:cSld>
  <p:clrMapOvr>
    <a:masterClrMapping/>
  </p:clrMapOvr>
  <p:extLst mod="1">
    <p:ext uri="{DCECCB84-F9BA-43D5-87BE-67443E8EF086}">
      <p15:sldGuideLst xmlns:p15="http://schemas.microsoft.com/office/powerpoint/2012/main">
        <p15:guide id="1" pos="3978">
          <p15:clr>
            <a:srgbClr val="000000"/>
          </p15:clr>
        </p15:guide>
        <p15:guide id="2" orient="horz" pos="570">
          <p15:clr>
            <a:srgbClr val="000000"/>
          </p15:clr>
        </p15:guide>
        <p15:guide id="3" orient="horz" pos="3912">
          <p15:clr>
            <a:srgbClr val="000000"/>
          </p15:clr>
        </p15:guide>
        <p15:guide id="4" pos="72">
          <p15:clr>
            <a:srgbClr val="000000"/>
          </p15:clr>
        </p15:guide>
      </p15:sldGuideLst>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6E228F5-5CF1-42E1-9748-97D7582A107A}"/>
              </a:ext>
            </a:extLst>
          </p:cNvPr>
          <p:cNvGraphicFramePr>
            <a:graphicFrameLocks noChangeAspect="1"/>
          </p:cNvGraphicFramePr>
          <p:nvPr>
            <p:custDataLst>
              <p:tags r:id="rId2"/>
            </p:custDataLst>
            <p:extLst>
              <p:ext uri="{D42A27DB-BD31-4B8C-83A1-F6EECF244321}">
                <p14:modId xmlns:p14="http://schemas.microsoft.com/office/powerpoint/2010/main" val="424882905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1332" name="think-cell Slide" r:id="rId5" imgW="353" imgH="353" progId="TCLayout.ActiveDocument.1">
                  <p:embed/>
                </p:oleObj>
              </mc:Choice>
              <mc:Fallback>
                <p:oleObj name="think-cell Slide" r:id="rId5" imgW="353" imgH="353" progId="TCLayout.ActiveDocument.1">
                  <p:embed/>
                  <p:pic>
                    <p:nvPicPr>
                      <p:cNvPr id="3" name="Object 2" hidden="1">
                        <a:extLst>
                          <a:ext uri="{FF2B5EF4-FFF2-40B4-BE49-F238E27FC236}">
                            <a16:creationId xmlns:a16="http://schemas.microsoft.com/office/drawing/2014/main" id="{C6E228F5-5CF1-42E1-9748-97D7582A107A}"/>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2. Slide Title"/>
          <p:cNvSpPr>
            <a:spLocks noGrp="1"/>
          </p:cNvSpPr>
          <p:nvPr>
            <p:ph type="title"/>
          </p:nvPr>
        </p:nvSpPr>
        <p:spPr bwMode="auto"/>
        <p:txBody>
          <a:bodyPr/>
          <a:lstStyle/>
          <a:p>
            <a:r>
              <a:rPr lang="en-US"/>
              <a:t>Click to edit Master title style</a:t>
            </a:r>
            <a:endParaRPr lang="en-US" dirty="0"/>
          </a:p>
        </p:txBody>
      </p:sp>
      <p:sp>
        <p:nvSpPr>
          <p:cNvPr id="8" name="Slide Number"/>
          <p:cNvSpPr txBox="1">
            <a:spLocks/>
          </p:cNvSpPr>
          <p:nvPr/>
        </p:nvSpPr>
        <p:spPr bwMode="auto">
          <a:xfrm>
            <a:off x="8564563" y="6508272"/>
            <a:ext cx="125034" cy="123111"/>
          </a:xfrm>
          <a:prstGeom prst="rect">
            <a:avLst/>
          </a:prstGeom>
        </p:spPr>
        <p:txBody>
          <a:bodyPr vert="horz" wrap="none" lIns="0" tIns="0" rIns="0" bIns="0" rtlCol="0" anchor="ctr">
            <a:spAutoFit/>
          </a:bodyPr>
          <a:lstStyle>
            <a:defPPr>
              <a:defRPr lang="en-US"/>
            </a:defPPr>
            <a:lvl1pPr>
              <a:defRPr sz="1000" baseline="0">
                <a:latin typeface="+mn-lt"/>
              </a:defRPr>
            </a:lvl1pPr>
          </a:lstStyle>
          <a:p>
            <a:fld id="{42C328C1-A84F-4A39-A664-DBA00541A8C6}" type="slidenum">
              <a:rPr lang="en-US" sz="800" baseline="0" smtClean="0">
                <a:solidFill>
                  <a:srgbClr val="808080"/>
                </a:solidFill>
                <a:latin typeface="+mn-lt"/>
              </a:rPr>
              <a:pPr/>
              <a:t>‹#›</a:t>
            </a:fld>
            <a:endParaRPr lang="en-US" sz="800" baseline="0" dirty="0">
              <a:solidFill>
                <a:srgbClr val="808080"/>
              </a:solidFill>
              <a:latin typeface="+mn-lt"/>
            </a:endParaRPr>
          </a:p>
        </p:txBody>
      </p:sp>
      <p:sp>
        <p:nvSpPr>
          <p:cNvPr id="9" name="SlideLogoText"/>
          <p:cNvSpPr>
            <a:spLocks noChangeArrowheads="1"/>
          </p:cNvSpPr>
          <p:nvPr>
            <p:custDataLst>
              <p:tags r:id="rId3"/>
            </p:custDataLst>
          </p:nvPr>
        </p:nvSpPr>
        <p:spPr bwMode="auto">
          <a:xfrm>
            <a:off x="7450817" y="6508272"/>
            <a:ext cx="1013098"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algn="r" defTabSz="895350"/>
            <a:r>
              <a:rPr lang="en-US" sz="800" baseline="0" dirty="0">
                <a:solidFill>
                  <a:srgbClr val="808080"/>
                </a:solidFill>
                <a:latin typeface="+mn-lt"/>
              </a:rPr>
              <a:t>McKinsey &amp; Company</a:t>
            </a:r>
          </a:p>
        </p:txBody>
      </p:sp>
      <p:sp>
        <p:nvSpPr>
          <p:cNvPr id="5" name="doc id" hidden="1"/>
          <p:cNvSpPr txBox="1">
            <a:spLocks noChangeArrowheads="1"/>
          </p:cNvSpPr>
          <p:nvPr/>
        </p:nvSpPr>
        <p:spPr bwMode="white">
          <a:xfrm>
            <a:off x="8104473" y="36513"/>
            <a:ext cx="634716" cy="115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hangingPunct="1">
              <a:defRPr/>
            </a:pPr>
            <a:endParaRPr lang="en-US" sz="800" baseline="0" dirty="0">
              <a:solidFill>
                <a:schemeClr val="accent1"/>
              </a:solidFill>
              <a:latin typeface="+mn-lt"/>
              <a:ea typeface="+mn-ea"/>
            </a:endParaRPr>
          </a:p>
        </p:txBody>
      </p:sp>
    </p:spTree>
    <p:extLst>
      <p:ext uri="{BB962C8B-B14F-4D97-AF65-F5344CB8AC3E}">
        <p14:creationId xmlns:p14="http://schemas.microsoft.com/office/powerpoint/2010/main" val="966784769"/>
      </p:ext>
    </p:extLst>
  </p:cSld>
  <p:clrMapOvr>
    <a:masterClrMapping/>
  </p:clrMapOvr>
  <p:extLst mod="1">
    <p:ext uri="{DCECCB84-F9BA-43D5-87BE-67443E8EF086}">
      <p15:sldGuideLst xmlns:p15="http://schemas.microsoft.com/office/powerpoint/2012/main">
        <p15:guide id="1" pos="5505">
          <p15:clr>
            <a:srgbClr val="F26B43"/>
          </p15:clr>
        </p15:guide>
        <p15:guide id="2" pos="74">
          <p15:clr>
            <a:srgbClr val="F26B43"/>
          </p15:clr>
        </p15:guide>
        <p15:guide id="3" orient="horz" pos="571">
          <p15:clr>
            <a:srgbClr val="F26B43"/>
          </p15:clr>
        </p15:guide>
        <p15:guide id="4" orient="horz" pos="3911">
          <p15:clr>
            <a:srgbClr val="F26B43"/>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p:cSld name="1_Title Only">
    <p:bg>
      <p:bgPr>
        <a:solidFill>
          <a:schemeClr val="accent2"/>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F4AD34F-3B47-47E2-A09C-FFEB949F6A10}"/>
              </a:ext>
            </a:extLst>
          </p:cNvPr>
          <p:cNvGraphicFramePr>
            <a:graphicFrameLocks noChangeAspect="1"/>
          </p:cNvGraphicFramePr>
          <p:nvPr>
            <p:custDataLst>
              <p:tags r:id="rId2"/>
            </p:custDataLst>
            <p:extLst>
              <p:ext uri="{D42A27DB-BD31-4B8C-83A1-F6EECF244321}">
                <p14:modId xmlns:p14="http://schemas.microsoft.com/office/powerpoint/2010/main" val="379649066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2356" name="think-cell Slide" r:id="rId5" imgW="395" imgH="394" progId="TCLayout.ActiveDocument.1">
                  <p:embed/>
                </p:oleObj>
              </mc:Choice>
              <mc:Fallback>
                <p:oleObj name="think-cell Slide" r:id="rId5" imgW="395" imgH="394" progId="TCLayout.ActiveDocument.1">
                  <p:embed/>
                  <p:pic>
                    <p:nvPicPr>
                      <p:cNvPr id="3" name="Object 2" hidden="1">
                        <a:extLst>
                          <a:ext uri="{FF2B5EF4-FFF2-40B4-BE49-F238E27FC236}">
                            <a16:creationId xmlns:a16="http://schemas.microsoft.com/office/drawing/2014/main" id="{EF4AD34F-3B47-47E2-A09C-FFEB949F6A10}"/>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endParaRPr lang="en-US" dirty="0"/>
          </a:p>
        </p:txBody>
      </p:sp>
      <p:sp>
        <p:nvSpPr>
          <p:cNvPr id="15" name="Slide Number"/>
          <p:cNvSpPr txBox="1">
            <a:spLocks/>
          </p:cNvSpPr>
          <p:nvPr/>
        </p:nvSpPr>
        <p:spPr>
          <a:xfrm>
            <a:off x="8564563" y="6508272"/>
            <a:ext cx="125034" cy="123111"/>
          </a:xfrm>
          <a:prstGeom prst="rect">
            <a:avLst/>
          </a:prstGeom>
        </p:spPr>
        <p:txBody>
          <a:bodyPr vert="horz" wrap="none" lIns="0" tIns="0" rIns="0" bIns="0" rtlCol="0" anchor="ctr">
            <a:spAutoFit/>
          </a:bodyPr>
          <a:lstStyle>
            <a:defPPr>
              <a:defRPr lang="en-US"/>
            </a:defPPr>
            <a:lvl1pPr>
              <a:defRPr sz="1000" baseline="0">
                <a:latin typeface="+mn-lt"/>
              </a:defRPr>
            </a:lvl1pPr>
          </a:lstStyle>
          <a:p>
            <a:fld id="{42C328C1-A84F-4A39-A664-DBA00541A8C6}" type="slidenum">
              <a:rPr lang="en-US" sz="800" baseline="0" smtClean="0">
                <a:solidFill>
                  <a:srgbClr val="FFFFFF"/>
                </a:solidFill>
                <a:latin typeface="+mn-lt"/>
              </a:rPr>
              <a:pPr/>
              <a:t>‹#›</a:t>
            </a:fld>
            <a:endParaRPr lang="en-US" sz="800" baseline="0" dirty="0">
              <a:solidFill>
                <a:srgbClr val="FFFFFF"/>
              </a:solidFill>
              <a:latin typeface="+mn-lt"/>
            </a:endParaRPr>
          </a:p>
        </p:txBody>
      </p:sp>
      <p:sp>
        <p:nvSpPr>
          <p:cNvPr id="16" name="SlideLogoText"/>
          <p:cNvSpPr>
            <a:spLocks noChangeArrowheads="1"/>
          </p:cNvSpPr>
          <p:nvPr>
            <p:custDataLst>
              <p:tags r:id="rId3"/>
            </p:custDataLst>
          </p:nvPr>
        </p:nvSpPr>
        <p:spPr bwMode="auto">
          <a:xfrm>
            <a:off x="7450817" y="6508272"/>
            <a:ext cx="1013098"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algn="r" defTabSz="895350"/>
            <a:r>
              <a:rPr lang="en-US" sz="800" baseline="0" dirty="0">
                <a:solidFill>
                  <a:srgbClr val="FFFFFF"/>
                </a:solidFill>
                <a:latin typeface="+mn-lt"/>
              </a:rPr>
              <a:t>McKinsey &amp; Company</a:t>
            </a:r>
          </a:p>
        </p:txBody>
      </p:sp>
      <p:sp>
        <p:nvSpPr>
          <p:cNvPr id="5" name="doc id" hidden="1"/>
          <p:cNvSpPr txBox="1">
            <a:spLocks noChangeArrowheads="1"/>
          </p:cNvSpPr>
          <p:nvPr/>
        </p:nvSpPr>
        <p:spPr bwMode="white">
          <a:xfrm>
            <a:off x="8104473" y="36513"/>
            <a:ext cx="634716" cy="115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hangingPunct="1">
              <a:defRPr/>
            </a:pPr>
            <a:endParaRPr lang="en-US" sz="800" baseline="0" dirty="0">
              <a:solidFill>
                <a:schemeClr val="accent1"/>
              </a:solidFill>
              <a:latin typeface="+mn-lt"/>
              <a:ea typeface="+mn-ea"/>
            </a:endParaRPr>
          </a:p>
        </p:txBody>
      </p:sp>
    </p:spTree>
    <p:extLst>
      <p:ext uri="{BB962C8B-B14F-4D97-AF65-F5344CB8AC3E}">
        <p14:creationId xmlns:p14="http://schemas.microsoft.com/office/powerpoint/2010/main" val="4122941413"/>
      </p:ext>
    </p:extLst>
  </p:cSld>
  <p:clrMapOvr>
    <a:masterClrMapping/>
  </p:clrMapOvr>
  <p:extLst mod="1">
    <p:ext uri="{DCECCB84-F9BA-43D5-87BE-67443E8EF086}">
      <p15:sldGuideLst xmlns:p15="http://schemas.microsoft.com/office/powerpoint/2012/main">
        <p15:guide id="1" pos="3978">
          <p15:clr>
            <a:srgbClr val="000000"/>
          </p15:clr>
        </p15:guide>
        <p15:guide id="2" orient="horz" pos="570">
          <p15:clr>
            <a:srgbClr val="000000"/>
          </p15:clr>
        </p15:guide>
        <p15:guide id="3" orient="horz" pos="3912">
          <p15:clr>
            <a:srgbClr val="000000"/>
          </p15:clr>
        </p15:guide>
        <p15:guide id="4" pos="72">
          <p15:clr>
            <a:srgbClr val="000000"/>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type="titleOnly">
  <p:cSld name="2_Title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ECD524A-1569-4253-8CD8-48D288AD883C}"/>
              </a:ext>
            </a:extLst>
          </p:cNvPr>
          <p:cNvGraphicFramePr>
            <a:graphicFrameLocks noChangeAspect="1"/>
          </p:cNvGraphicFramePr>
          <p:nvPr>
            <p:custDataLst>
              <p:tags r:id="rId2"/>
            </p:custDataLst>
            <p:extLst>
              <p:ext uri="{D42A27DB-BD31-4B8C-83A1-F6EECF244321}">
                <p14:modId xmlns:p14="http://schemas.microsoft.com/office/powerpoint/2010/main" val="293334070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3380" name="think-cell Slide" r:id="rId4" imgW="395" imgH="394" progId="TCLayout.ActiveDocument.1">
                  <p:embed/>
                </p:oleObj>
              </mc:Choice>
              <mc:Fallback>
                <p:oleObj name="think-cell Slide" r:id="rId4" imgW="395" imgH="394" progId="TCLayout.ActiveDocument.1">
                  <p:embed/>
                  <p:pic>
                    <p:nvPicPr>
                      <p:cNvPr id="3" name="Object 2" hidden="1">
                        <a:extLst>
                          <a:ext uri="{FF2B5EF4-FFF2-40B4-BE49-F238E27FC236}">
                            <a16:creationId xmlns:a16="http://schemas.microsoft.com/office/drawing/2014/main" id="{5ECD524A-1569-4253-8CD8-48D288AD883C}"/>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20011776"/>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pic>
        <p:nvPicPr>
          <p:cNvPr id="2" name="background"/>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0" y="198"/>
            <a:ext cx="8961438" cy="6721079"/>
          </a:xfrm>
          <a:prstGeom prst="rect">
            <a:avLst/>
          </a:prstGeom>
        </p:spPr>
      </p:pic>
      <p:sp>
        <p:nvSpPr>
          <p:cNvPr id="28" name="TitleRectangle"/>
          <p:cNvSpPr txBox="1">
            <a:spLocks/>
          </p:cNvSpPr>
          <p:nvPr/>
        </p:nvSpPr>
        <p:spPr>
          <a:xfrm>
            <a:off x="2084388" y="0"/>
            <a:ext cx="6875462" cy="3575976"/>
          </a:xfrm>
          <a:prstGeom prst="rect">
            <a:avLst/>
          </a:prstGeom>
          <a:solidFill>
            <a:srgbClr val="002960">
              <a:alpha val="92000"/>
            </a:srgbClr>
          </a:solidFill>
        </p:spPr>
        <p:txBody>
          <a:bodyPr vert="horz" wrap="square" lIns="216000" tIns="1440000" rIns="216000" bIns="108000" rtlCol="0">
            <a:noAutofit/>
          </a:bodyPr>
          <a:lstStyle>
            <a:lvl1pPr marL="0" indent="0" algn="l" defTabSz="914400" rtl="0" eaLnBrk="1" latinLnBrk="0" hangingPunct="1">
              <a:spcBef>
                <a:spcPct val="20000"/>
              </a:spcBef>
              <a:spcAft>
                <a:spcPts val="6000"/>
              </a:spcAft>
              <a:buFont typeface="Arial" pitchFamily="34" charset="0"/>
              <a:buNone/>
              <a:defRPr sz="3200" kern="1200">
                <a:solidFill>
                  <a:schemeClr val="accent1"/>
                </a:solidFill>
                <a:latin typeface="+mn-lt"/>
                <a:ea typeface="+mn-ea"/>
                <a:cs typeface="+mn-cs"/>
              </a:defRPr>
            </a:lvl1pPr>
            <a:lvl2pPr marL="0" indent="0" algn="l" defTabSz="914400" rtl="0" eaLnBrk="1" latinLnBrk="0" hangingPunct="1">
              <a:spcBef>
                <a:spcPct val="20000"/>
              </a:spcBef>
              <a:buFont typeface="Wingdings" charset="2"/>
              <a:buNone/>
              <a:defRPr sz="1400" kern="1200">
                <a:solidFill>
                  <a:schemeClr val="tx1">
                    <a:lumMod val="50000"/>
                    <a:lumOff val="50000"/>
                  </a:schemeClr>
                </a:solidFill>
                <a:latin typeface="+mn-lt"/>
                <a:ea typeface="+mn-ea"/>
                <a:cs typeface="+mn-cs"/>
              </a:defRPr>
            </a:lvl2pPr>
            <a:lvl3pPr marL="1143000" indent="-228600" algn="l" defTabSz="914400" rtl="0" eaLnBrk="1" latinLnBrk="0" hangingPunct="1">
              <a:spcBef>
                <a:spcPct val="20000"/>
              </a:spcBef>
              <a:buFont typeface="Lucida Grande"/>
              <a:buChar char="–"/>
              <a:defRPr sz="16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fontAlgn="auto">
              <a:defRPr/>
            </a:pPr>
            <a:r>
              <a:rPr lang="en-US" baseline="0" dirty="0">
                <a:solidFill>
                  <a:srgbClr val="00ADEF"/>
                </a:solidFill>
                <a:latin typeface="+mn-lt"/>
              </a:rPr>
              <a:t>
              </a:t>
            </a:r>
            <a:br>
              <a:rPr lang="en-US" baseline="0" dirty="0">
                <a:solidFill>
                  <a:srgbClr val="00ADEF"/>
                </a:solidFill>
                <a:latin typeface="+mn-lt"/>
              </a:rPr>
            </a:br>
            <a:endParaRPr lang="en-US" baseline="0" dirty="0">
              <a:solidFill>
                <a:srgbClr val="00ADEF"/>
              </a:solidFill>
              <a:latin typeface="+mn-lt"/>
            </a:endParaRPr>
          </a:p>
        </p:txBody>
      </p:sp>
      <p:graphicFrame>
        <p:nvGraphicFramePr>
          <p:cNvPr id="3" name="Object 2"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5428"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Working Draft Text" hidden="1"/>
          <p:cNvSpPr txBox="1">
            <a:spLocks noChangeArrowheads="1"/>
          </p:cNvSpPr>
          <p:nvPr/>
        </p:nvSpPr>
        <p:spPr bwMode="black">
          <a:xfrm>
            <a:off x="5992719" y="6287538"/>
            <a:ext cx="2790000"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800" b="1" baseline="0" dirty="0">
                <a:solidFill>
                  <a:srgbClr val="FFFFFF"/>
                </a:solidFill>
                <a:latin typeface="+mn-lt"/>
              </a:rPr>
              <a:t>WORKING DRAFT</a:t>
            </a:r>
          </a:p>
        </p:txBody>
      </p:sp>
      <p:sp>
        <p:nvSpPr>
          <p:cNvPr id="6" name="Working Draft" hidden="1"/>
          <p:cNvSpPr txBox="1">
            <a:spLocks noChangeArrowheads="1"/>
          </p:cNvSpPr>
          <p:nvPr/>
        </p:nvSpPr>
        <p:spPr bwMode="black">
          <a:xfrm>
            <a:off x="5992718" y="6410648"/>
            <a:ext cx="2968719"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800" baseline="0">
                <a:solidFill>
                  <a:srgbClr val="FFFFFF"/>
                </a:solidFill>
                <a:latin typeface="+mn-lt"/>
              </a:rPr>
              <a:t>Last Modified 21/05/2018 17:44 India Standard Time</a:t>
            </a:r>
            <a:endParaRPr lang="en-US" sz="800" baseline="0" dirty="0">
              <a:solidFill>
                <a:srgbClr val="FFFFFF"/>
              </a:solidFill>
              <a:latin typeface="+mn-lt"/>
            </a:endParaRPr>
          </a:p>
        </p:txBody>
      </p:sp>
      <p:sp>
        <p:nvSpPr>
          <p:cNvPr id="7" name="Printed" hidden="1"/>
          <p:cNvSpPr txBox="1">
            <a:spLocks noChangeArrowheads="1"/>
          </p:cNvSpPr>
          <p:nvPr/>
        </p:nvSpPr>
        <p:spPr bwMode="black">
          <a:xfrm>
            <a:off x="5992719" y="6533759"/>
            <a:ext cx="2790000"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800" baseline="0" dirty="0">
                <a:solidFill>
                  <a:srgbClr val="FFFFFF"/>
                </a:solidFill>
                <a:latin typeface="+mn-lt"/>
              </a:rPr>
              <a:t>Printed</a:t>
            </a:r>
          </a:p>
        </p:txBody>
      </p:sp>
      <p:sp>
        <p:nvSpPr>
          <p:cNvPr id="13314" name="Title"/>
          <p:cNvSpPr>
            <a:spLocks noGrp="1" noChangeArrowheads="1"/>
          </p:cNvSpPr>
          <p:nvPr>
            <p:ph type="ctrTitle"/>
          </p:nvPr>
        </p:nvSpPr>
        <p:spPr>
          <a:xfrm>
            <a:off x="2268266" y="1434419"/>
            <a:ext cx="6231663" cy="492443"/>
          </a:xfrm>
          <a:prstGeom prst="rect">
            <a:avLst/>
          </a:prstGeom>
        </p:spPr>
        <p:txBody>
          <a:bodyPr>
            <a:spAutoFit/>
          </a:bodyPr>
          <a:lstStyle>
            <a:lvl1pPr>
              <a:defRPr sz="3200" b="0" baseline="0">
                <a:solidFill>
                  <a:schemeClr val="accent2"/>
                </a:solidFill>
                <a:latin typeface="+mj-lt"/>
                <a:ea typeface="+mj-ea"/>
              </a:defRPr>
            </a:lvl1pPr>
          </a:lstStyle>
          <a:p>
            <a:pPr lvl="0" latinLnBrk="0"/>
            <a:r>
              <a:rPr lang="en-US" noProof="0"/>
              <a:t>Click to edit Master title style</a:t>
            </a:r>
            <a:endParaRPr lang="en-US" noProof="0" dirty="0"/>
          </a:p>
        </p:txBody>
      </p:sp>
      <p:sp>
        <p:nvSpPr>
          <p:cNvPr id="13315" name="Subtitle"/>
          <p:cNvSpPr>
            <a:spLocks noGrp="1" noChangeArrowheads="1"/>
          </p:cNvSpPr>
          <p:nvPr>
            <p:ph type="subTitle" idx="1"/>
          </p:nvPr>
        </p:nvSpPr>
        <p:spPr>
          <a:xfrm>
            <a:off x="2268266" y="2819401"/>
            <a:ext cx="6231663" cy="215444"/>
          </a:xfrm>
          <a:prstGeom prst="rect">
            <a:avLst/>
          </a:prstGeom>
        </p:spPr>
        <p:txBody>
          <a:bodyPr wrap="square">
            <a:spAutoFit/>
          </a:bodyPr>
          <a:lstStyle>
            <a:lvl1pPr>
              <a:defRPr sz="1400" cap="all" baseline="0">
                <a:solidFill>
                  <a:schemeClr val="bg1"/>
                </a:solidFill>
                <a:latin typeface="+mn-lt"/>
                <a:ea typeface="+mn-ea"/>
              </a:defRPr>
            </a:lvl1pPr>
          </a:lstStyle>
          <a:p>
            <a:pPr lvl="0" latinLnBrk="0"/>
            <a:r>
              <a:rPr lang="en-US" noProof="0"/>
              <a:t>Click to edit Master subtitle style</a:t>
            </a:r>
            <a:endParaRPr lang="en-US" noProof="0" dirty="0"/>
          </a:p>
        </p:txBody>
      </p:sp>
      <p:sp>
        <p:nvSpPr>
          <p:cNvPr id="57" name="Document type" hidden="1"/>
          <p:cNvSpPr txBox="1">
            <a:spLocks noChangeArrowheads="1"/>
          </p:cNvSpPr>
          <p:nvPr/>
        </p:nvSpPr>
        <p:spPr bwMode="gray">
          <a:xfrm>
            <a:off x="2268266" y="3227411"/>
            <a:ext cx="6231663"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00" baseline="0" dirty="0">
                <a:solidFill>
                  <a:schemeClr val="bg1"/>
                </a:solidFill>
                <a:latin typeface="+mn-lt"/>
              </a:rPr>
              <a:t>Document type | Date</a:t>
            </a:r>
          </a:p>
        </p:txBody>
      </p:sp>
      <p:sp>
        <p:nvSpPr>
          <p:cNvPr id="5" name="doc id" hidden="1"/>
          <p:cNvSpPr txBox="1">
            <a:spLocks noChangeArrowheads="1"/>
          </p:cNvSpPr>
          <p:nvPr/>
        </p:nvSpPr>
        <p:spPr bwMode="white">
          <a:xfrm>
            <a:off x="8443913" y="36513"/>
            <a:ext cx="295275" cy="1222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hangingPunct="1">
              <a:defRPr/>
            </a:pPr>
            <a:endParaRPr lang="en-US" sz="800" baseline="0" dirty="0">
              <a:solidFill>
                <a:srgbClr val="FFFFFF"/>
              </a:solidFill>
              <a:latin typeface="+mn-lt"/>
            </a:endParaRPr>
          </a:p>
        </p:txBody>
      </p:sp>
      <p:sp>
        <p:nvSpPr>
          <p:cNvPr id="43" name="LogoImage"/>
          <p:cNvSpPr>
            <a:spLocks noEditPoints="1"/>
          </p:cNvSpPr>
          <p:nvPr/>
        </p:nvSpPr>
        <p:spPr bwMode="white">
          <a:xfrm>
            <a:off x="2269098" y="182925"/>
            <a:ext cx="2176978" cy="238073"/>
          </a:xfrm>
          <a:custGeom>
            <a:avLst/>
            <a:gdLst>
              <a:gd name="T0" fmla="*/ 504 w 5516"/>
              <a:gd name="T1" fmla="*/ 26 h 606"/>
              <a:gd name="T2" fmla="*/ 18 w 5516"/>
              <a:gd name="T3" fmla="*/ 22 h 606"/>
              <a:gd name="T4" fmla="*/ 140 w 5516"/>
              <a:gd name="T5" fmla="*/ 436 h 606"/>
              <a:gd name="T6" fmla="*/ 408 w 5516"/>
              <a:gd name="T7" fmla="*/ 372 h 606"/>
              <a:gd name="T8" fmla="*/ 696 w 5516"/>
              <a:gd name="T9" fmla="*/ 422 h 606"/>
              <a:gd name="T10" fmla="*/ 768 w 5516"/>
              <a:gd name="T11" fmla="*/ 196 h 606"/>
              <a:gd name="T12" fmla="*/ 1272 w 5516"/>
              <a:gd name="T13" fmla="*/ 26 h 606"/>
              <a:gd name="T14" fmla="*/ 1302 w 5516"/>
              <a:gd name="T15" fmla="*/ 338 h 606"/>
              <a:gd name="T16" fmla="*/ 1202 w 5516"/>
              <a:gd name="T17" fmla="*/ 436 h 606"/>
              <a:gd name="T18" fmla="*/ 1030 w 5516"/>
              <a:gd name="T19" fmla="*/ 10 h 606"/>
              <a:gd name="T20" fmla="*/ 960 w 5516"/>
              <a:gd name="T21" fmla="*/ 22 h 606"/>
              <a:gd name="T22" fmla="*/ 804 w 5516"/>
              <a:gd name="T23" fmla="*/ 434 h 606"/>
              <a:gd name="T24" fmla="*/ 930 w 5516"/>
              <a:gd name="T25" fmla="*/ 246 h 606"/>
              <a:gd name="T26" fmla="*/ 1658 w 5516"/>
              <a:gd name="T27" fmla="*/ 342 h 606"/>
              <a:gd name="T28" fmla="*/ 1368 w 5516"/>
              <a:gd name="T29" fmla="*/ 188 h 606"/>
              <a:gd name="T30" fmla="*/ 1514 w 5516"/>
              <a:gd name="T31" fmla="*/ 436 h 606"/>
              <a:gd name="T32" fmla="*/ 1564 w 5516"/>
              <a:gd name="T33" fmla="*/ 434 h 606"/>
              <a:gd name="T34" fmla="*/ 1904 w 5516"/>
              <a:gd name="T35" fmla="*/ 184 h 606"/>
              <a:gd name="T36" fmla="*/ 1728 w 5516"/>
              <a:gd name="T37" fmla="*/ 366 h 606"/>
              <a:gd name="T38" fmla="*/ 2102 w 5516"/>
              <a:gd name="T39" fmla="*/ 192 h 606"/>
              <a:gd name="T40" fmla="*/ 1982 w 5516"/>
              <a:gd name="T41" fmla="*/ 320 h 606"/>
              <a:gd name="T42" fmla="*/ 2478 w 5516"/>
              <a:gd name="T43" fmla="*/ 242 h 606"/>
              <a:gd name="T44" fmla="*/ 2406 w 5516"/>
              <a:gd name="T45" fmla="*/ 390 h 606"/>
              <a:gd name="T46" fmla="*/ 2234 w 5516"/>
              <a:gd name="T47" fmla="*/ 192 h 606"/>
              <a:gd name="T48" fmla="*/ 2478 w 5516"/>
              <a:gd name="T49" fmla="*/ 242 h 606"/>
              <a:gd name="T50" fmla="*/ 2928 w 5516"/>
              <a:gd name="T51" fmla="*/ 448 h 606"/>
              <a:gd name="T52" fmla="*/ 2958 w 5516"/>
              <a:gd name="T53" fmla="*/ 230 h 606"/>
              <a:gd name="T54" fmla="*/ 2716 w 5516"/>
              <a:gd name="T55" fmla="*/ 54 h 606"/>
              <a:gd name="T56" fmla="*/ 2714 w 5516"/>
              <a:gd name="T57" fmla="*/ 36 h 606"/>
              <a:gd name="T58" fmla="*/ 2928 w 5516"/>
              <a:gd name="T59" fmla="*/ 448 h 606"/>
              <a:gd name="T60" fmla="*/ 3388 w 5516"/>
              <a:gd name="T61" fmla="*/ 4 h 606"/>
              <a:gd name="T62" fmla="*/ 3396 w 5516"/>
              <a:gd name="T63" fmla="*/ 366 h 606"/>
              <a:gd name="T64" fmla="*/ 3580 w 5516"/>
              <a:gd name="T65" fmla="*/ 190 h 606"/>
              <a:gd name="T66" fmla="*/ 3502 w 5516"/>
              <a:gd name="T67" fmla="*/ 432 h 606"/>
              <a:gd name="T68" fmla="*/ 4232 w 5516"/>
              <a:gd name="T69" fmla="*/ 348 h 606"/>
              <a:gd name="T70" fmla="*/ 3858 w 5516"/>
              <a:gd name="T71" fmla="*/ 176 h 606"/>
              <a:gd name="T72" fmla="*/ 3758 w 5516"/>
              <a:gd name="T73" fmla="*/ 446 h 606"/>
              <a:gd name="T74" fmla="*/ 3990 w 5516"/>
              <a:gd name="T75" fmla="*/ 282 h 606"/>
              <a:gd name="T76" fmla="*/ 4042 w 5516"/>
              <a:gd name="T77" fmla="*/ 342 h 606"/>
              <a:gd name="T78" fmla="*/ 4134 w 5516"/>
              <a:gd name="T79" fmla="*/ 448 h 606"/>
              <a:gd name="T80" fmla="*/ 4454 w 5516"/>
              <a:gd name="T81" fmla="*/ 202 h 606"/>
              <a:gd name="T82" fmla="*/ 4284 w 5516"/>
              <a:gd name="T83" fmla="*/ 174 h 606"/>
              <a:gd name="T84" fmla="*/ 4432 w 5516"/>
              <a:gd name="T85" fmla="*/ 588 h 606"/>
              <a:gd name="T86" fmla="*/ 4792 w 5516"/>
              <a:gd name="T87" fmla="*/ 382 h 606"/>
              <a:gd name="T88" fmla="*/ 5192 w 5516"/>
              <a:gd name="T89" fmla="*/ 340 h 606"/>
              <a:gd name="T90" fmla="*/ 4902 w 5516"/>
              <a:gd name="T91" fmla="*/ 186 h 606"/>
              <a:gd name="T92" fmla="*/ 4850 w 5516"/>
              <a:gd name="T93" fmla="*/ 274 h 606"/>
              <a:gd name="T94" fmla="*/ 4742 w 5516"/>
              <a:gd name="T95" fmla="*/ 194 h 606"/>
              <a:gd name="T96" fmla="*/ 4794 w 5516"/>
              <a:gd name="T97" fmla="*/ 418 h 606"/>
              <a:gd name="T98" fmla="*/ 5004 w 5516"/>
              <a:gd name="T99" fmla="*/ 338 h 606"/>
              <a:gd name="T100" fmla="*/ 5098 w 5516"/>
              <a:gd name="T101" fmla="*/ 446 h 606"/>
              <a:gd name="T102" fmla="*/ 5418 w 5516"/>
              <a:gd name="T103" fmla="*/ 192 h 606"/>
              <a:gd name="T104" fmla="*/ 5348 w 5516"/>
              <a:gd name="T105" fmla="*/ 180 h 606"/>
              <a:gd name="T106" fmla="*/ 5254 w 5516"/>
              <a:gd name="T107" fmla="*/ 606 h 6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516" h="606">
                <a:moveTo>
                  <a:pt x="366" y="448"/>
                </a:moveTo>
                <a:cubicBezTo>
                  <a:pt x="524" y="448"/>
                  <a:pt x="524" y="448"/>
                  <a:pt x="524" y="448"/>
                </a:cubicBezTo>
                <a:cubicBezTo>
                  <a:pt x="524" y="436"/>
                  <a:pt x="524" y="436"/>
                  <a:pt x="524" y="436"/>
                </a:cubicBezTo>
                <a:cubicBezTo>
                  <a:pt x="486" y="432"/>
                  <a:pt x="470" y="414"/>
                  <a:pt x="468" y="362"/>
                </a:cubicBezTo>
                <a:cubicBezTo>
                  <a:pt x="454" y="86"/>
                  <a:pt x="454" y="86"/>
                  <a:pt x="454" y="86"/>
                </a:cubicBezTo>
                <a:cubicBezTo>
                  <a:pt x="452" y="46"/>
                  <a:pt x="470" y="30"/>
                  <a:pt x="504" y="26"/>
                </a:cubicBezTo>
                <a:cubicBezTo>
                  <a:pt x="504" y="12"/>
                  <a:pt x="504" y="12"/>
                  <a:pt x="504" y="12"/>
                </a:cubicBezTo>
                <a:cubicBezTo>
                  <a:pt x="394" y="12"/>
                  <a:pt x="394" y="12"/>
                  <a:pt x="394" y="12"/>
                </a:cubicBezTo>
                <a:cubicBezTo>
                  <a:pt x="264" y="350"/>
                  <a:pt x="264" y="350"/>
                  <a:pt x="264" y="350"/>
                </a:cubicBezTo>
                <a:cubicBezTo>
                  <a:pt x="132" y="10"/>
                  <a:pt x="132" y="10"/>
                  <a:pt x="132" y="10"/>
                </a:cubicBezTo>
                <a:cubicBezTo>
                  <a:pt x="18" y="10"/>
                  <a:pt x="18" y="10"/>
                  <a:pt x="18" y="10"/>
                </a:cubicBezTo>
                <a:cubicBezTo>
                  <a:pt x="18" y="22"/>
                  <a:pt x="18" y="22"/>
                  <a:pt x="18" y="22"/>
                </a:cubicBezTo>
                <a:cubicBezTo>
                  <a:pt x="40" y="26"/>
                  <a:pt x="74" y="32"/>
                  <a:pt x="72" y="84"/>
                </a:cubicBezTo>
                <a:cubicBezTo>
                  <a:pt x="58" y="352"/>
                  <a:pt x="58" y="352"/>
                  <a:pt x="58" y="352"/>
                </a:cubicBezTo>
                <a:cubicBezTo>
                  <a:pt x="54" y="410"/>
                  <a:pt x="38" y="430"/>
                  <a:pt x="0" y="436"/>
                </a:cubicBezTo>
                <a:cubicBezTo>
                  <a:pt x="0" y="448"/>
                  <a:pt x="0" y="448"/>
                  <a:pt x="0" y="448"/>
                </a:cubicBezTo>
                <a:cubicBezTo>
                  <a:pt x="140" y="448"/>
                  <a:pt x="140" y="448"/>
                  <a:pt x="140" y="448"/>
                </a:cubicBezTo>
                <a:cubicBezTo>
                  <a:pt x="140" y="436"/>
                  <a:pt x="140" y="436"/>
                  <a:pt x="140" y="436"/>
                </a:cubicBezTo>
                <a:cubicBezTo>
                  <a:pt x="98" y="428"/>
                  <a:pt x="84" y="414"/>
                  <a:pt x="88" y="356"/>
                </a:cubicBezTo>
                <a:cubicBezTo>
                  <a:pt x="100" y="86"/>
                  <a:pt x="100" y="86"/>
                  <a:pt x="100" y="86"/>
                </a:cubicBezTo>
                <a:cubicBezTo>
                  <a:pt x="240" y="444"/>
                  <a:pt x="240" y="444"/>
                  <a:pt x="240" y="444"/>
                </a:cubicBezTo>
                <a:cubicBezTo>
                  <a:pt x="258" y="444"/>
                  <a:pt x="258" y="444"/>
                  <a:pt x="258" y="444"/>
                </a:cubicBezTo>
                <a:cubicBezTo>
                  <a:pt x="396" y="86"/>
                  <a:pt x="396" y="86"/>
                  <a:pt x="396" y="86"/>
                </a:cubicBezTo>
                <a:cubicBezTo>
                  <a:pt x="408" y="372"/>
                  <a:pt x="408" y="372"/>
                  <a:pt x="408" y="372"/>
                </a:cubicBezTo>
                <a:cubicBezTo>
                  <a:pt x="410" y="416"/>
                  <a:pt x="398" y="430"/>
                  <a:pt x="366" y="434"/>
                </a:cubicBezTo>
                <a:lnTo>
                  <a:pt x="366" y="448"/>
                </a:lnTo>
                <a:close/>
                <a:moveTo>
                  <a:pt x="670" y="456"/>
                </a:moveTo>
                <a:cubicBezTo>
                  <a:pt x="708" y="456"/>
                  <a:pt x="756" y="440"/>
                  <a:pt x="782" y="412"/>
                </a:cubicBezTo>
                <a:cubicBezTo>
                  <a:pt x="776" y="400"/>
                  <a:pt x="776" y="400"/>
                  <a:pt x="776" y="400"/>
                </a:cubicBezTo>
                <a:cubicBezTo>
                  <a:pt x="750" y="416"/>
                  <a:pt x="722" y="422"/>
                  <a:pt x="696" y="422"/>
                </a:cubicBezTo>
                <a:cubicBezTo>
                  <a:pt x="620" y="422"/>
                  <a:pt x="592" y="358"/>
                  <a:pt x="592" y="290"/>
                </a:cubicBezTo>
                <a:cubicBezTo>
                  <a:pt x="592" y="258"/>
                  <a:pt x="600" y="236"/>
                  <a:pt x="614" y="222"/>
                </a:cubicBezTo>
                <a:cubicBezTo>
                  <a:pt x="626" y="210"/>
                  <a:pt x="646" y="204"/>
                  <a:pt x="664" y="204"/>
                </a:cubicBezTo>
                <a:cubicBezTo>
                  <a:pt x="690" y="204"/>
                  <a:pt x="722" y="214"/>
                  <a:pt x="744" y="244"/>
                </a:cubicBezTo>
                <a:cubicBezTo>
                  <a:pt x="750" y="244"/>
                  <a:pt x="750" y="244"/>
                  <a:pt x="750" y="244"/>
                </a:cubicBezTo>
                <a:cubicBezTo>
                  <a:pt x="758" y="234"/>
                  <a:pt x="766" y="212"/>
                  <a:pt x="768" y="196"/>
                </a:cubicBezTo>
                <a:cubicBezTo>
                  <a:pt x="748" y="180"/>
                  <a:pt x="720" y="172"/>
                  <a:pt x="686" y="172"/>
                </a:cubicBezTo>
                <a:cubicBezTo>
                  <a:pt x="604" y="172"/>
                  <a:pt x="544" y="246"/>
                  <a:pt x="544" y="326"/>
                </a:cubicBezTo>
                <a:cubicBezTo>
                  <a:pt x="540" y="390"/>
                  <a:pt x="576" y="456"/>
                  <a:pt x="670" y="456"/>
                </a:cubicBezTo>
                <a:moveTo>
                  <a:pt x="1272" y="98"/>
                </a:moveTo>
                <a:cubicBezTo>
                  <a:pt x="1292" y="98"/>
                  <a:pt x="1308" y="82"/>
                  <a:pt x="1308" y="62"/>
                </a:cubicBezTo>
                <a:cubicBezTo>
                  <a:pt x="1308" y="42"/>
                  <a:pt x="1292" y="26"/>
                  <a:pt x="1272" y="26"/>
                </a:cubicBezTo>
                <a:cubicBezTo>
                  <a:pt x="1252" y="26"/>
                  <a:pt x="1238" y="42"/>
                  <a:pt x="1238" y="62"/>
                </a:cubicBezTo>
                <a:cubicBezTo>
                  <a:pt x="1238" y="82"/>
                  <a:pt x="1252" y="98"/>
                  <a:pt x="1272" y="98"/>
                </a:cubicBezTo>
                <a:moveTo>
                  <a:pt x="1202" y="448"/>
                </a:moveTo>
                <a:cubicBezTo>
                  <a:pt x="1346" y="448"/>
                  <a:pt x="1346" y="448"/>
                  <a:pt x="1346" y="448"/>
                </a:cubicBezTo>
                <a:cubicBezTo>
                  <a:pt x="1346" y="436"/>
                  <a:pt x="1346" y="436"/>
                  <a:pt x="1346" y="436"/>
                </a:cubicBezTo>
                <a:cubicBezTo>
                  <a:pt x="1304" y="432"/>
                  <a:pt x="1302" y="434"/>
                  <a:pt x="1302" y="338"/>
                </a:cubicBezTo>
                <a:cubicBezTo>
                  <a:pt x="1302" y="176"/>
                  <a:pt x="1302" y="176"/>
                  <a:pt x="1302" y="176"/>
                </a:cubicBezTo>
                <a:cubicBezTo>
                  <a:pt x="1200" y="176"/>
                  <a:pt x="1200" y="176"/>
                  <a:pt x="1200" y="176"/>
                </a:cubicBezTo>
                <a:cubicBezTo>
                  <a:pt x="1200" y="188"/>
                  <a:pt x="1200" y="188"/>
                  <a:pt x="1200" y="188"/>
                </a:cubicBezTo>
                <a:cubicBezTo>
                  <a:pt x="1244" y="190"/>
                  <a:pt x="1250" y="192"/>
                  <a:pt x="1250" y="268"/>
                </a:cubicBezTo>
                <a:cubicBezTo>
                  <a:pt x="1250" y="336"/>
                  <a:pt x="1250" y="336"/>
                  <a:pt x="1250" y="336"/>
                </a:cubicBezTo>
                <a:cubicBezTo>
                  <a:pt x="1250" y="432"/>
                  <a:pt x="1248" y="432"/>
                  <a:pt x="1202" y="436"/>
                </a:cubicBezTo>
                <a:cubicBezTo>
                  <a:pt x="1178" y="434"/>
                  <a:pt x="1154" y="426"/>
                  <a:pt x="1076" y="338"/>
                </a:cubicBezTo>
                <a:cubicBezTo>
                  <a:pt x="1046" y="302"/>
                  <a:pt x="996" y="244"/>
                  <a:pt x="968" y="206"/>
                </a:cubicBezTo>
                <a:cubicBezTo>
                  <a:pt x="1062" y="102"/>
                  <a:pt x="1062" y="102"/>
                  <a:pt x="1062" y="102"/>
                </a:cubicBezTo>
                <a:cubicBezTo>
                  <a:pt x="1108" y="52"/>
                  <a:pt x="1132" y="26"/>
                  <a:pt x="1176" y="24"/>
                </a:cubicBezTo>
                <a:cubicBezTo>
                  <a:pt x="1176" y="10"/>
                  <a:pt x="1176" y="10"/>
                  <a:pt x="1176" y="10"/>
                </a:cubicBezTo>
                <a:cubicBezTo>
                  <a:pt x="1030" y="10"/>
                  <a:pt x="1030" y="10"/>
                  <a:pt x="1030" y="10"/>
                </a:cubicBezTo>
                <a:cubicBezTo>
                  <a:pt x="1030" y="22"/>
                  <a:pt x="1030" y="22"/>
                  <a:pt x="1030" y="22"/>
                </a:cubicBezTo>
                <a:cubicBezTo>
                  <a:pt x="1050" y="26"/>
                  <a:pt x="1056" y="32"/>
                  <a:pt x="1056" y="46"/>
                </a:cubicBezTo>
                <a:cubicBezTo>
                  <a:pt x="1056" y="56"/>
                  <a:pt x="1054" y="72"/>
                  <a:pt x="1026" y="102"/>
                </a:cubicBezTo>
                <a:cubicBezTo>
                  <a:pt x="910" y="230"/>
                  <a:pt x="910" y="230"/>
                  <a:pt x="910" y="230"/>
                </a:cubicBezTo>
                <a:cubicBezTo>
                  <a:pt x="910" y="148"/>
                  <a:pt x="910" y="148"/>
                  <a:pt x="910" y="148"/>
                </a:cubicBezTo>
                <a:cubicBezTo>
                  <a:pt x="910" y="36"/>
                  <a:pt x="916" y="28"/>
                  <a:pt x="960" y="22"/>
                </a:cubicBezTo>
                <a:cubicBezTo>
                  <a:pt x="960" y="8"/>
                  <a:pt x="960" y="8"/>
                  <a:pt x="960" y="8"/>
                </a:cubicBezTo>
                <a:cubicBezTo>
                  <a:pt x="804" y="8"/>
                  <a:pt x="804" y="8"/>
                  <a:pt x="804" y="8"/>
                </a:cubicBezTo>
                <a:cubicBezTo>
                  <a:pt x="804" y="22"/>
                  <a:pt x="804" y="22"/>
                  <a:pt x="804" y="22"/>
                </a:cubicBezTo>
                <a:cubicBezTo>
                  <a:pt x="852" y="26"/>
                  <a:pt x="854" y="36"/>
                  <a:pt x="854" y="148"/>
                </a:cubicBezTo>
                <a:cubicBezTo>
                  <a:pt x="854" y="300"/>
                  <a:pt x="854" y="300"/>
                  <a:pt x="854" y="300"/>
                </a:cubicBezTo>
                <a:cubicBezTo>
                  <a:pt x="854" y="422"/>
                  <a:pt x="850" y="430"/>
                  <a:pt x="804" y="434"/>
                </a:cubicBezTo>
                <a:cubicBezTo>
                  <a:pt x="804" y="446"/>
                  <a:pt x="804" y="446"/>
                  <a:pt x="804" y="446"/>
                </a:cubicBezTo>
                <a:cubicBezTo>
                  <a:pt x="960" y="446"/>
                  <a:pt x="960" y="446"/>
                  <a:pt x="960" y="446"/>
                </a:cubicBezTo>
                <a:cubicBezTo>
                  <a:pt x="960" y="434"/>
                  <a:pt x="960" y="434"/>
                  <a:pt x="960" y="434"/>
                </a:cubicBezTo>
                <a:cubicBezTo>
                  <a:pt x="910" y="428"/>
                  <a:pt x="910" y="424"/>
                  <a:pt x="910" y="292"/>
                </a:cubicBezTo>
                <a:cubicBezTo>
                  <a:pt x="910" y="268"/>
                  <a:pt x="910" y="268"/>
                  <a:pt x="910" y="268"/>
                </a:cubicBezTo>
                <a:cubicBezTo>
                  <a:pt x="930" y="246"/>
                  <a:pt x="930" y="246"/>
                  <a:pt x="930" y="246"/>
                </a:cubicBezTo>
                <a:cubicBezTo>
                  <a:pt x="982" y="310"/>
                  <a:pt x="1038" y="380"/>
                  <a:pt x="1098" y="448"/>
                </a:cubicBezTo>
                <a:cubicBezTo>
                  <a:pt x="1202" y="448"/>
                  <a:pt x="1202" y="448"/>
                  <a:pt x="1202" y="448"/>
                </a:cubicBezTo>
                <a:close/>
                <a:moveTo>
                  <a:pt x="1564" y="448"/>
                </a:moveTo>
                <a:cubicBezTo>
                  <a:pt x="1706" y="448"/>
                  <a:pt x="1706" y="448"/>
                  <a:pt x="1706" y="448"/>
                </a:cubicBezTo>
                <a:cubicBezTo>
                  <a:pt x="1706" y="436"/>
                  <a:pt x="1706" y="436"/>
                  <a:pt x="1706" y="436"/>
                </a:cubicBezTo>
                <a:cubicBezTo>
                  <a:pt x="1658" y="434"/>
                  <a:pt x="1658" y="432"/>
                  <a:pt x="1658" y="342"/>
                </a:cubicBezTo>
                <a:cubicBezTo>
                  <a:pt x="1658" y="280"/>
                  <a:pt x="1658" y="280"/>
                  <a:pt x="1658" y="280"/>
                </a:cubicBezTo>
                <a:cubicBezTo>
                  <a:pt x="1658" y="198"/>
                  <a:pt x="1612" y="172"/>
                  <a:pt x="1570" y="172"/>
                </a:cubicBezTo>
                <a:cubicBezTo>
                  <a:pt x="1534" y="172"/>
                  <a:pt x="1498" y="188"/>
                  <a:pt x="1470" y="224"/>
                </a:cubicBezTo>
                <a:cubicBezTo>
                  <a:pt x="1470" y="176"/>
                  <a:pt x="1470" y="176"/>
                  <a:pt x="1470" y="176"/>
                </a:cubicBezTo>
                <a:cubicBezTo>
                  <a:pt x="1368" y="176"/>
                  <a:pt x="1368" y="176"/>
                  <a:pt x="1368" y="176"/>
                </a:cubicBezTo>
                <a:cubicBezTo>
                  <a:pt x="1368" y="188"/>
                  <a:pt x="1368" y="188"/>
                  <a:pt x="1368" y="188"/>
                </a:cubicBezTo>
                <a:cubicBezTo>
                  <a:pt x="1412" y="190"/>
                  <a:pt x="1418" y="192"/>
                  <a:pt x="1418" y="268"/>
                </a:cubicBezTo>
                <a:cubicBezTo>
                  <a:pt x="1418" y="336"/>
                  <a:pt x="1418" y="336"/>
                  <a:pt x="1418" y="336"/>
                </a:cubicBezTo>
                <a:cubicBezTo>
                  <a:pt x="1418" y="434"/>
                  <a:pt x="1418" y="434"/>
                  <a:pt x="1370" y="436"/>
                </a:cubicBezTo>
                <a:cubicBezTo>
                  <a:pt x="1370" y="448"/>
                  <a:pt x="1370" y="448"/>
                  <a:pt x="1370" y="448"/>
                </a:cubicBezTo>
                <a:cubicBezTo>
                  <a:pt x="1514" y="448"/>
                  <a:pt x="1514" y="448"/>
                  <a:pt x="1514" y="448"/>
                </a:cubicBezTo>
                <a:cubicBezTo>
                  <a:pt x="1514" y="436"/>
                  <a:pt x="1514" y="436"/>
                  <a:pt x="1514" y="436"/>
                </a:cubicBezTo>
                <a:cubicBezTo>
                  <a:pt x="1472" y="432"/>
                  <a:pt x="1470" y="434"/>
                  <a:pt x="1470" y="338"/>
                </a:cubicBezTo>
                <a:cubicBezTo>
                  <a:pt x="1470" y="262"/>
                  <a:pt x="1470" y="262"/>
                  <a:pt x="1470" y="262"/>
                </a:cubicBezTo>
                <a:cubicBezTo>
                  <a:pt x="1470" y="236"/>
                  <a:pt x="1504" y="206"/>
                  <a:pt x="1546" y="206"/>
                </a:cubicBezTo>
                <a:cubicBezTo>
                  <a:pt x="1580" y="206"/>
                  <a:pt x="1606" y="220"/>
                  <a:pt x="1606" y="286"/>
                </a:cubicBezTo>
                <a:cubicBezTo>
                  <a:pt x="1606" y="340"/>
                  <a:pt x="1606" y="340"/>
                  <a:pt x="1606" y="340"/>
                </a:cubicBezTo>
                <a:cubicBezTo>
                  <a:pt x="1606" y="432"/>
                  <a:pt x="1602" y="432"/>
                  <a:pt x="1564" y="434"/>
                </a:cubicBezTo>
                <a:lnTo>
                  <a:pt x="1564" y="448"/>
                </a:lnTo>
                <a:close/>
                <a:moveTo>
                  <a:pt x="1776" y="222"/>
                </a:moveTo>
                <a:cubicBezTo>
                  <a:pt x="1776" y="200"/>
                  <a:pt x="1796" y="188"/>
                  <a:pt x="1822" y="188"/>
                </a:cubicBezTo>
                <a:cubicBezTo>
                  <a:pt x="1874" y="188"/>
                  <a:pt x="1896" y="236"/>
                  <a:pt x="1900" y="252"/>
                </a:cubicBezTo>
                <a:cubicBezTo>
                  <a:pt x="1912" y="252"/>
                  <a:pt x="1912" y="252"/>
                  <a:pt x="1912" y="252"/>
                </a:cubicBezTo>
                <a:cubicBezTo>
                  <a:pt x="1912" y="212"/>
                  <a:pt x="1908" y="188"/>
                  <a:pt x="1904" y="184"/>
                </a:cubicBezTo>
                <a:cubicBezTo>
                  <a:pt x="1900" y="180"/>
                  <a:pt x="1862" y="170"/>
                  <a:pt x="1824" y="170"/>
                </a:cubicBezTo>
                <a:cubicBezTo>
                  <a:pt x="1768" y="170"/>
                  <a:pt x="1734" y="206"/>
                  <a:pt x="1734" y="248"/>
                </a:cubicBezTo>
                <a:cubicBezTo>
                  <a:pt x="1734" y="340"/>
                  <a:pt x="1890" y="322"/>
                  <a:pt x="1890" y="396"/>
                </a:cubicBezTo>
                <a:cubicBezTo>
                  <a:pt x="1890" y="422"/>
                  <a:pt x="1866" y="436"/>
                  <a:pt x="1826" y="436"/>
                </a:cubicBezTo>
                <a:cubicBezTo>
                  <a:pt x="1788" y="436"/>
                  <a:pt x="1754" y="416"/>
                  <a:pt x="1744" y="366"/>
                </a:cubicBezTo>
                <a:cubicBezTo>
                  <a:pt x="1728" y="366"/>
                  <a:pt x="1728" y="366"/>
                  <a:pt x="1728" y="366"/>
                </a:cubicBezTo>
                <a:cubicBezTo>
                  <a:pt x="1728" y="386"/>
                  <a:pt x="1732" y="422"/>
                  <a:pt x="1734" y="428"/>
                </a:cubicBezTo>
                <a:cubicBezTo>
                  <a:pt x="1744" y="446"/>
                  <a:pt x="1788" y="454"/>
                  <a:pt x="1824" y="454"/>
                </a:cubicBezTo>
                <a:cubicBezTo>
                  <a:pt x="1888" y="454"/>
                  <a:pt x="1928" y="416"/>
                  <a:pt x="1928" y="372"/>
                </a:cubicBezTo>
                <a:cubicBezTo>
                  <a:pt x="1932" y="270"/>
                  <a:pt x="1776" y="286"/>
                  <a:pt x="1776" y="222"/>
                </a:cubicBezTo>
                <a:moveTo>
                  <a:pt x="2030" y="270"/>
                </a:moveTo>
                <a:cubicBezTo>
                  <a:pt x="2034" y="220"/>
                  <a:pt x="2058" y="192"/>
                  <a:pt x="2102" y="192"/>
                </a:cubicBezTo>
                <a:cubicBezTo>
                  <a:pt x="2144" y="192"/>
                  <a:pt x="2170" y="220"/>
                  <a:pt x="2172" y="270"/>
                </a:cubicBezTo>
                <a:lnTo>
                  <a:pt x="2030" y="270"/>
                </a:lnTo>
                <a:close/>
                <a:moveTo>
                  <a:pt x="2030" y="290"/>
                </a:moveTo>
                <a:cubicBezTo>
                  <a:pt x="2222" y="290"/>
                  <a:pt x="2222" y="290"/>
                  <a:pt x="2222" y="290"/>
                </a:cubicBezTo>
                <a:cubicBezTo>
                  <a:pt x="2226" y="228"/>
                  <a:pt x="2192" y="168"/>
                  <a:pt x="2114" y="168"/>
                </a:cubicBezTo>
                <a:cubicBezTo>
                  <a:pt x="2034" y="168"/>
                  <a:pt x="1982" y="232"/>
                  <a:pt x="1982" y="320"/>
                </a:cubicBezTo>
                <a:cubicBezTo>
                  <a:pt x="1982" y="388"/>
                  <a:pt x="2018" y="456"/>
                  <a:pt x="2112" y="456"/>
                </a:cubicBezTo>
                <a:cubicBezTo>
                  <a:pt x="2150" y="456"/>
                  <a:pt x="2198" y="440"/>
                  <a:pt x="2224" y="412"/>
                </a:cubicBezTo>
                <a:cubicBezTo>
                  <a:pt x="2218" y="400"/>
                  <a:pt x="2218" y="400"/>
                  <a:pt x="2218" y="400"/>
                </a:cubicBezTo>
                <a:cubicBezTo>
                  <a:pt x="2192" y="416"/>
                  <a:pt x="2164" y="422"/>
                  <a:pt x="2138" y="422"/>
                </a:cubicBezTo>
                <a:cubicBezTo>
                  <a:pt x="2058" y="420"/>
                  <a:pt x="2028" y="352"/>
                  <a:pt x="2030" y="290"/>
                </a:cubicBezTo>
                <a:moveTo>
                  <a:pt x="2478" y="242"/>
                </a:moveTo>
                <a:cubicBezTo>
                  <a:pt x="2490" y="206"/>
                  <a:pt x="2510" y="192"/>
                  <a:pt x="2528" y="192"/>
                </a:cubicBezTo>
                <a:cubicBezTo>
                  <a:pt x="2528" y="180"/>
                  <a:pt x="2528" y="180"/>
                  <a:pt x="2528" y="180"/>
                </a:cubicBezTo>
                <a:cubicBezTo>
                  <a:pt x="2430" y="180"/>
                  <a:pt x="2430" y="180"/>
                  <a:pt x="2430" y="180"/>
                </a:cubicBezTo>
                <a:cubicBezTo>
                  <a:pt x="2430" y="192"/>
                  <a:pt x="2430" y="192"/>
                  <a:pt x="2430" y="192"/>
                </a:cubicBezTo>
                <a:cubicBezTo>
                  <a:pt x="2454" y="194"/>
                  <a:pt x="2466" y="206"/>
                  <a:pt x="2458" y="234"/>
                </a:cubicBezTo>
                <a:cubicBezTo>
                  <a:pt x="2406" y="390"/>
                  <a:pt x="2406" y="390"/>
                  <a:pt x="2406" y="390"/>
                </a:cubicBezTo>
                <a:cubicBezTo>
                  <a:pt x="2354" y="270"/>
                  <a:pt x="2354" y="270"/>
                  <a:pt x="2354" y="270"/>
                </a:cubicBezTo>
                <a:cubicBezTo>
                  <a:pt x="2340" y="238"/>
                  <a:pt x="2334" y="224"/>
                  <a:pt x="2334" y="212"/>
                </a:cubicBezTo>
                <a:cubicBezTo>
                  <a:pt x="2334" y="202"/>
                  <a:pt x="2340" y="196"/>
                  <a:pt x="2360" y="192"/>
                </a:cubicBezTo>
                <a:cubicBezTo>
                  <a:pt x="2360" y="180"/>
                  <a:pt x="2360" y="180"/>
                  <a:pt x="2360" y="180"/>
                </a:cubicBezTo>
                <a:cubicBezTo>
                  <a:pt x="2234" y="180"/>
                  <a:pt x="2234" y="180"/>
                  <a:pt x="2234" y="180"/>
                </a:cubicBezTo>
                <a:cubicBezTo>
                  <a:pt x="2234" y="192"/>
                  <a:pt x="2234" y="192"/>
                  <a:pt x="2234" y="192"/>
                </a:cubicBezTo>
                <a:cubicBezTo>
                  <a:pt x="2266" y="194"/>
                  <a:pt x="2268" y="198"/>
                  <a:pt x="2310" y="292"/>
                </a:cubicBezTo>
                <a:cubicBezTo>
                  <a:pt x="2382" y="450"/>
                  <a:pt x="2382" y="450"/>
                  <a:pt x="2382" y="450"/>
                </a:cubicBezTo>
                <a:cubicBezTo>
                  <a:pt x="2358" y="512"/>
                  <a:pt x="2320" y="546"/>
                  <a:pt x="2242" y="564"/>
                </a:cubicBezTo>
                <a:cubicBezTo>
                  <a:pt x="2246" y="576"/>
                  <a:pt x="2260" y="600"/>
                  <a:pt x="2268" y="606"/>
                </a:cubicBezTo>
                <a:cubicBezTo>
                  <a:pt x="2370" y="564"/>
                  <a:pt x="2390" y="498"/>
                  <a:pt x="2426" y="396"/>
                </a:cubicBezTo>
                <a:lnTo>
                  <a:pt x="2478" y="242"/>
                </a:lnTo>
                <a:close/>
                <a:moveTo>
                  <a:pt x="2844" y="394"/>
                </a:moveTo>
                <a:cubicBezTo>
                  <a:pt x="2822" y="412"/>
                  <a:pt x="2782" y="416"/>
                  <a:pt x="2750" y="416"/>
                </a:cubicBezTo>
                <a:cubicBezTo>
                  <a:pt x="2670" y="416"/>
                  <a:pt x="2606" y="360"/>
                  <a:pt x="2606" y="284"/>
                </a:cubicBezTo>
                <a:cubicBezTo>
                  <a:pt x="2606" y="236"/>
                  <a:pt x="2626" y="206"/>
                  <a:pt x="2658" y="198"/>
                </a:cubicBezTo>
                <a:cubicBezTo>
                  <a:pt x="2698" y="266"/>
                  <a:pt x="2770" y="338"/>
                  <a:pt x="2844" y="394"/>
                </a:cubicBezTo>
                <a:moveTo>
                  <a:pt x="2928" y="448"/>
                </a:moveTo>
                <a:cubicBezTo>
                  <a:pt x="3022" y="448"/>
                  <a:pt x="3022" y="448"/>
                  <a:pt x="3022" y="448"/>
                </a:cubicBezTo>
                <a:cubicBezTo>
                  <a:pt x="3022" y="436"/>
                  <a:pt x="3022" y="436"/>
                  <a:pt x="3022" y="436"/>
                </a:cubicBezTo>
                <a:cubicBezTo>
                  <a:pt x="2992" y="432"/>
                  <a:pt x="2946" y="408"/>
                  <a:pt x="2896" y="372"/>
                </a:cubicBezTo>
                <a:cubicBezTo>
                  <a:pt x="2914" y="342"/>
                  <a:pt x="2918" y="300"/>
                  <a:pt x="2922" y="270"/>
                </a:cubicBezTo>
                <a:cubicBezTo>
                  <a:pt x="2926" y="244"/>
                  <a:pt x="2946" y="244"/>
                  <a:pt x="2958" y="242"/>
                </a:cubicBezTo>
                <a:cubicBezTo>
                  <a:pt x="2958" y="230"/>
                  <a:pt x="2958" y="230"/>
                  <a:pt x="2958" y="230"/>
                </a:cubicBezTo>
                <a:cubicBezTo>
                  <a:pt x="2834" y="230"/>
                  <a:pt x="2834" y="230"/>
                  <a:pt x="2834" y="230"/>
                </a:cubicBezTo>
                <a:cubicBezTo>
                  <a:pt x="2834" y="242"/>
                  <a:pt x="2834" y="242"/>
                  <a:pt x="2834" y="242"/>
                </a:cubicBezTo>
                <a:cubicBezTo>
                  <a:pt x="2864" y="246"/>
                  <a:pt x="2892" y="250"/>
                  <a:pt x="2892" y="294"/>
                </a:cubicBezTo>
                <a:cubicBezTo>
                  <a:pt x="2892" y="318"/>
                  <a:pt x="2888" y="342"/>
                  <a:pt x="2878" y="358"/>
                </a:cubicBezTo>
                <a:cubicBezTo>
                  <a:pt x="2770" y="274"/>
                  <a:pt x="2670" y="156"/>
                  <a:pt x="2670" y="96"/>
                </a:cubicBezTo>
                <a:cubicBezTo>
                  <a:pt x="2670" y="66"/>
                  <a:pt x="2688" y="54"/>
                  <a:pt x="2716" y="54"/>
                </a:cubicBezTo>
                <a:cubicBezTo>
                  <a:pt x="2752" y="54"/>
                  <a:pt x="2784" y="78"/>
                  <a:pt x="2800" y="124"/>
                </a:cubicBezTo>
                <a:cubicBezTo>
                  <a:pt x="2812" y="124"/>
                  <a:pt x="2812" y="124"/>
                  <a:pt x="2812" y="124"/>
                </a:cubicBezTo>
                <a:cubicBezTo>
                  <a:pt x="2810" y="42"/>
                  <a:pt x="2810" y="42"/>
                  <a:pt x="2810" y="42"/>
                </a:cubicBezTo>
                <a:cubicBezTo>
                  <a:pt x="2798" y="42"/>
                  <a:pt x="2798" y="42"/>
                  <a:pt x="2798" y="42"/>
                </a:cubicBezTo>
                <a:cubicBezTo>
                  <a:pt x="2798" y="48"/>
                  <a:pt x="2792" y="52"/>
                  <a:pt x="2788" y="52"/>
                </a:cubicBezTo>
                <a:cubicBezTo>
                  <a:pt x="2772" y="52"/>
                  <a:pt x="2752" y="36"/>
                  <a:pt x="2714" y="36"/>
                </a:cubicBezTo>
                <a:cubicBezTo>
                  <a:pt x="2672" y="36"/>
                  <a:pt x="2630" y="62"/>
                  <a:pt x="2630" y="118"/>
                </a:cubicBezTo>
                <a:cubicBezTo>
                  <a:pt x="2630" y="140"/>
                  <a:pt x="2636" y="160"/>
                  <a:pt x="2648" y="182"/>
                </a:cubicBezTo>
                <a:cubicBezTo>
                  <a:pt x="2592" y="200"/>
                  <a:pt x="2562" y="248"/>
                  <a:pt x="2562" y="304"/>
                </a:cubicBezTo>
                <a:cubicBezTo>
                  <a:pt x="2562" y="406"/>
                  <a:pt x="2640" y="460"/>
                  <a:pt x="2726" y="460"/>
                </a:cubicBezTo>
                <a:cubicBezTo>
                  <a:pt x="2780" y="460"/>
                  <a:pt x="2824" y="444"/>
                  <a:pt x="2862" y="410"/>
                </a:cubicBezTo>
                <a:cubicBezTo>
                  <a:pt x="2888" y="424"/>
                  <a:pt x="2912" y="442"/>
                  <a:pt x="2928" y="448"/>
                </a:cubicBezTo>
                <a:moveTo>
                  <a:pt x="3094" y="212"/>
                </a:moveTo>
                <a:cubicBezTo>
                  <a:pt x="3094" y="88"/>
                  <a:pt x="3154" y="20"/>
                  <a:pt x="3252" y="20"/>
                </a:cubicBezTo>
                <a:cubicBezTo>
                  <a:pt x="3328" y="20"/>
                  <a:pt x="3372" y="58"/>
                  <a:pt x="3392" y="134"/>
                </a:cubicBezTo>
                <a:cubicBezTo>
                  <a:pt x="3404" y="134"/>
                  <a:pt x="3404" y="134"/>
                  <a:pt x="3404" y="134"/>
                </a:cubicBezTo>
                <a:cubicBezTo>
                  <a:pt x="3400" y="4"/>
                  <a:pt x="3400" y="4"/>
                  <a:pt x="3400" y="4"/>
                </a:cubicBezTo>
                <a:cubicBezTo>
                  <a:pt x="3388" y="4"/>
                  <a:pt x="3388" y="4"/>
                  <a:pt x="3388" y="4"/>
                </a:cubicBezTo>
                <a:cubicBezTo>
                  <a:pt x="3384" y="14"/>
                  <a:pt x="3376" y="18"/>
                  <a:pt x="3364" y="18"/>
                </a:cubicBezTo>
                <a:cubicBezTo>
                  <a:pt x="3338" y="18"/>
                  <a:pt x="3314" y="0"/>
                  <a:pt x="3248" y="0"/>
                </a:cubicBezTo>
                <a:cubicBezTo>
                  <a:pt x="3118" y="0"/>
                  <a:pt x="3030" y="102"/>
                  <a:pt x="3030" y="242"/>
                </a:cubicBezTo>
                <a:cubicBezTo>
                  <a:pt x="3030" y="376"/>
                  <a:pt x="3110" y="460"/>
                  <a:pt x="3238" y="460"/>
                </a:cubicBezTo>
                <a:cubicBezTo>
                  <a:pt x="3320" y="460"/>
                  <a:pt x="3384" y="420"/>
                  <a:pt x="3408" y="380"/>
                </a:cubicBezTo>
                <a:cubicBezTo>
                  <a:pt x="3396" y="366"/>
                  <a:pt x="3396" y="366"/>
                  <a:pt x="3396" y="366"/>
                </a:cubicBezTo>
                <a:cubicBezTo>
                  <a:pt x="3370" y="402"/>
                  <a:pt x="3314" y="426"/>
                  <a:pt x="3256" y="426"/>
                </a:cubicBezTo>
                <a:cubicBezTo>
                  <a:pt x="3156" y="426"/>
                  <a:pt x="3094" y="340"/>
                  <a:pt x="3094" y="212"/>
                </a:cubicBezTo>
                <a:moveTo>
                  <a:pt x="3678" y="328"/>
                </a:moveTo>
                <a:cubicBezTo>
                  <a:pt x="3678" y="392"/>
                  <a:pt x="3650" y="430"/>
                  <a:pt x="3592" y="430"/>
                </a:cubicBezTo>
                <a:cubicBezTo>
                  <a:pt x="3542" y="430"/>
                  <a:pt x="3496" y="384"/>
                  <a:pt x="3496" y="292"/>
                </a:cubicBezTo>
                <a:cubicBezTo>
                  <a:pt x="3496" y="226"/>
                  <a:pt x="3528" y="190"/>
                  <a:pt x="3580" y="190"/>
                </a:cubicBezTo>
                <a:cubicBezTo>
                  <a:pt x="3628" y="192"/>
                  <a:pt x="3678" y="238"/>
                  <a:pt x="3678" y="328"/>
                </a:cubicBezTo>
                <a:moveTo>
                  <a:pt x="3732" y="312"/>
                </a:moveTo>
                <a:cubicBezTo>
                  <a:pt x="3732" y="260"/>
                  <a:pt x="3710" y="214"/>
                  <a:pt x="3672" y="190"/>
                </a:cubicBezTo>
                <a:cubicBezTo>
                  <a:pt x="3650" y="176"/>
                  <a:pt x="3620" y="168"/>
                  <a:pt x="3588" y="168"/>
                </a:cubicBezTo>
                <a:cubicBezTo>
                  <a:pt x="3502" y="168"/>
                  <a:pt x="3442" y="230"/>
                  <a:pt x="3442" y="310"/>
                </a:cubicBezTo>
                <a:cubicBezTo>
                  <a:pt x="3442" y="364"/>
                  <a:pt x="3464" y="408"/>
                  <a:pt x="3502" y="432"/>
                </a:cubicBezTo>
                <a:cubicBezTo>
                  <a:pt x="3524" y="446"/>
                  <a:pt x="3554" y="452"/>
                  <a:pt x="3586" y="452"/>
                </a:cubicBezTo>
                <a:cubicBezTo>
                  <a:pt x="3672" y="454"/>
                  <a:pt x="3732" y="394"/>
                  <a:pt x="3732" y="312"/>
                </a:cubicBezTo>
                <a:moveTo>
                  <a:pt x="4136" y="448"/>
                </a:moveTo>
                <a:cubicBezTo>
                  <a:pt x="4280" y="448"/>
                  <a:pt x="4280" y="448"/>
                  <a:pt x="4280" y="448"/>
                </a:cubicBezTo>
                <a:cubicBezTo>
                  <a:pt x="4280" y="436"/>
                  <a:pt x="4280" y="436"/>
                  <a:pt x="4280" y="436"/>
                </a:cubicBezTo>
                <a:cubicBezTo>
                  <a:pt x="4230" y="434"/>
                  <a:pt x="4232" y="426"/>
                  <a:pt x="4232" y="348"/>
                </a:cubicBezTo>
                <a:cubicBezTo>
                  <a:pt x="4232" y="276"/>
                  <a:pt x="4232" y="276"/>
                  <a:pt x="4232" y="276"/>
                </a:cubicBezTo>
                <a:cubicBezTo>
                  <a:pt x="4232" y="200"/>
                  <a:pt x="4190" y="172"/>
                  <a:pt x="4142" y="172"/>
                </a:cubicBezTo>
                <a:cubicBezTo>
                  <a:pt x="4098" y="172"/>
                  <a:pt x="4064" y="196"/>
                  <a:pt x="4038" y="232"/>
                </a:cubicBezTo>
                <a:cubicBezTo>
                  <a:pt x="4028" y="194"/>
                  <a:pt x="4000" y="172"/>
                  <a:pt x="3954" y="172"/>
                </a:cubicBezTo>
                <a:cubicBezTo>
                  <a:pt x="3916" y="172"/>
                  <a:pt x="3880" y="196"/>
                  <a:pt x="3858" y="224"/>
                </a:cubicBezTo>
                <a:cubicBezTo>
                  <a:pt x="3858" y="176"/>
                  <a:pt x="3858" y="176"/>
                  <a:pt x="3858" y="176"/>
                </a:cubicBezTo>
                <a:cubicBezTo>
                  <a:pt x="3756" y="176"/>
                  <a:pt x="3756" y="176"/>
                  <a:pt x="3756" y="176"/>
                </a:cubicBezTo>
                <a:cubicBezTo>
                  <a:pt x="3756" y="188"/>
                  <a:pt x="3756" y="188"/>
                  <a:pt x="3756" y="188"/>
                </a:cubicBezTo>
                <a:cubicBezTo>
                  <a:pt x="3800" y="190"/>
                  <a:pt x="3806" y="192"/>
                  <a:pt x="3806" y="268"/>
                </a:cubicBezTo>
                <a:cubicBezTo>
                  <a:pt x="3806" y="346"/>
                  <a:pt x="3806" y="346"/>
                  <a:pt x="3806" y="346"/>
                </a:cubicBezTo>
                <a:cubicBezTo>
                  <a:pt x="3806" y="434"/>
                  <a:pt x="3804" y="434"/>
                  <a:pt x="3758" y="434"/>
                </a:cubicBezTo>
                <a:cubicBezTo>
                  <a:pt x="3758" y="446"/>
                  <a:pt x="3758" y="446"/>
                  <a:pt x="3758" y="446"/>
                </a:cubicBezTo>
                <a:cubicBezTo>
                  <a:pt x="3902" y="446"/>
                  <a:pt x="3902" y="446"/>
                  <a:pt x="3902" y="446"/>
                </a:cubicBezTo>
                <a:cubicBezTo>
                  <a:pt x="3902" y="434"/>
                  <a:pt x="3902" y="434"/>
                  <a:pt x="3902" y="434"/>
                </a:cubicBezTo>
                <a:cubicBezTo>
                  <a:pt x="3862" y="430"/>
                  <a:pt x="3858" y="430"/>
                  <a:pt x="3858" y="342"/>
                </a:cubicBezTo>
                <a:cubicBezTo>
                  <a:pt x="3858" y="262"/>
                  <a:pt x="3858" y="262"/>
                  <a:pt x="3858" y="262"/>
                </a:cubicBezTo>
                <a:cubicBezTo>
                  <a:pt x="3858" y="234"/>
                  <a:pt x="3894" y="204"/>
                  <a:pt x="3932" y="204"/>
                </a:cubicBezTo>
                <a:cubicBezTo>
                  <a:pt x="3974" y="204"/>
                  <a:pt x="3990" y="226"/>
                  <a:pt x="3990" y="282"/>
                </a:cubicBezTo>
                <a:cubicBezTo>
                  <a:pt x="3990" y="338"/>
                  <a:pt x="3990" y="338"/>
                  <a:pt x="3990" y="338"/>
                </a:cubicBezTo>
                <a:cubicBezTo>
                  <a:pt x="3990" y="428"/>
                  <a:pt x="3988" y="432"/>
                  <a:pt x="3950" y="436"/>
                </a:cubicBezTo>
                <a:cubicBezTo>
                  <a:pt x="3950" y="448"/>
                  <a:pt x="3950" y="448"/>
                  <a:pt x="3950" y="448"/>
                </a:cubicBezTo>
                <a:cubicBezTo>
                  <a:pt x="4086" y="448"/>
                  <a:pt x="4086" y="448"/>
                  <a:pt x="4086" y="448"/>
                </a:cubicBezTo>
                <a:cubicBezTo>
                  <a:pt x="4086" y="436"/>
                  <a:pt x="4086" y="436"/>
                  <a:pt x="4086" y="436"/>
                </a:cubicBezTo>
                <a:cubicBezTo>
                  <a:pt x="4040" y="432"/>
                  <a:pt x="4042" y="428"/>
                  <a:pt x="4042" y="342"/>
                </a:cubicBezTo>
                <a:cubicBezTo>
                  <a:pt x="4042" y="264"/>
                  <a:pt x="4042" y="264"/>
                  <a:pt x="4042" y="264"/>
                </a:cubicBezTo>
                <a:cubicBezTo>
                  <a:pt x="4042" y="236"/>
                  <a:pt x="4078" y="206"/>
                  <a:pt x="4118" y="206"/>
                </a:cubicBezTo>
                <a:cubicBezTo>
                  <a:pt x="4152" y="206"/>
                  <a:pt x="4174" y="226"/>
                  <a:pt x="4174" y="284"/>
                </a:cubicBezTo>
                <a:cubicBezTo>
                  <a:pt x="4174" y="346"/>
                  <a:pt x="4174" y="346"/>
                  <a:pt x="4174" y="346"/>
                </a:cubicBezTo>
                <a:cubicBezTo>
                  <a:pt x="4174" y="428"/>
                  <a:pt x="4174" y="432"/>
                  <a:pt x="4134" y="436"/>
                </a:cubicBezTo>
                <a:cubicBezTo>
                  <a:pt x="4134" y="448"/>
                  <a:pt x="4134" y="448"/>
                  <a:pt x="4134" y="448"/>
                </a:cubicBezTo>
                <a:lnTo>
                  <a:pt x="4136" y="448"/>
                </a:lnTo>
                <a:close/>
                <a:moveTo>
                  <a:pt x="4546" y="316"/>
                </a:moveTo>
                <a:cubicBezTo>
                  <a:pt x="4546" y="388"/>
                  <a:pt x="4516" y="432"/>
                  <a:pt x="4460" y="432"/>
                </a:cubicBezTo>
                <a:cubicBezTo>
                  <a:pt x="4424" y="432"/>
                  <a:pt x="4384" y="412"/>
                  <a:pt x="4384" y="384"/>
                </a:cubicBezTo>
                <a:cubicBezTo>
                  <a:pt x="4384" y="248"/>
                  <a:pt x="4384" y="248"/>
                  <a:pt x="4384" y="248"/>
                </a:cubicBezTo>
                <a:cubicBezTo>
                  <a:pt x="4384" y="226"/>
                  <a:pt x="4416" y="202"/>
                  <a:pt x="4454" y="202"/>
                </a:cubicBezTo>
                <a:cubicBezTo>
                  <a:pt x="4510" y="206"/>
                  <a:pt x="4546" y="248"/>
                  <a:pt x="4546" y="316"/>
                </a:cubicBezTo>
                <a:moveTo>
                  <a:pt x="4600" y="310"/>
                </a:moveTo>
                <a:cubicBezTo>
                  <a:pt x="4600" y="230"/>
                  <a:pt x="4548" y="170"/>
                  <a:pt x="4478" y="170"/>
                </a:cubicBezTo>
                <a:cubicBezTo>
                  <a:pt x="4438" y="170"/>
                  <a:pt x="4406" y="188"/>
                  <a:pt x="4384" y="214"/>
                </a:cubicBezTo>
                <a:cubicBezTo>
                  <a:pt x="4384" y="174"/>
                  <a:pt x="4384" y="174"/>
                  <a:pt x="4384" y="174"/>
                </a:cubicBezTo>
                <a:cubicBezTo>
                  <a:pt x="4284" y="174"/>
                  <a:pt x="4284" y="174"/>
                  <a:pt x="4284" y="174"/>
                </a:cubicBezTo>
                <a:cubicBezTo>
                  <a:pt x="4284" y="186"/>
                  <a:pt x="4284" y="186"/>
                  <a:pt x="4284" y="186"/>
                </a:cubicBezTo>
                <a:cubicBezTo>
                  <a:pt x="4326" y="188"/>
                  <a:pt x="4332" y="190"/>
                  <a:pt x="4332" y="280"/>
                </a:cubicBezTo>
                <a:cubicBezTo>
                  <a:pt x="4332" y="466"/>
                  <a:pt x="4332" y="466"/>
                  <a:pt x="4332" y="466"/>
                </a:cubicBezTo>
                <a:cubicBezTo>
                  <a:pt x="4332" y="564"/>
                  <a:pt x="4334" y="570"/>
                  <a:pt x="4286" y="574"/>
                </a:cubicBezTo>
                <a:cubicBezTo>
                  <a:pt x="4286" y="588"/>
                  <a:pt x="4286" y="588"/>
                  <a:pt x="4286" y="588"/>
                </a:cubicBezTo>
                <a:cubicBezTo>
                  <a:pt x="4432" y="588"/>
                  <a:pt x="4432" y="588"/>
                  <a:pt x="4432" y="588"/>
                </a:cubicBezTo>
                <a:cubicBezTo>
                  <a:pt x="4432" y="574"/>
                  <a:pt x="4432" y="574"/>
                  <a:pt x="4432" y="574"/>
                </a:cubicBezTo>
                <a:cubicBezTo>
                  <a:pt x="4380" y="572"/>
                  <a:pt x="4384" y="564"/>
                  <a:pt x="4384" y="462"/>
                </a:cubicBezTo>
                <a:cubicBezTo>
                  <a:pt x="4384" y="424"/>
                  <a:pt x="4384" y="424"/>
                  <a:pt x="4384" y="424"/>
                </a:cubicBezTo>
                <a:cubicBezTo>
                  <a:pt x="4404" y="444"/>
                  <a:pt x="4436" y="454"/>
                  <a:pt x="4466" y="454"/>
                </a:cubicBezTo>
                <a:cubicBezTo>
                  <a:pt x="4548" y="454"/>
                  <a:pt x="4600" y="392"/>
                  <a:pt x="4600" y="310"/>
                </a:cubicBezTo>
                <a:moveTo>
                  <a:pt x="4792" y="382"/>
                </a:moveTo>
                <a:cubicBezTo>
                  <a:pt x="4792" y="404"/>
                  <a:pt x="4762" y="424"/>
                  <a:pt x="4736" y="424"/>
                </a:cubicBezTo>
                <a:cubicBezTo>
                  <a:pt x="4712" y="424"/>
                  <a:pt x="4694" y="410"/>
                  <a:pt x="4694" y="378"/>
                </a:cubicBezTo>
                <a:cubicBezTo>
                  <a:pt x="4694" y="322"/>
                  <a:pt x="4752" y="328"/>
                  <a:pt x="4792" y="306"/>
                </a:cubicBezTo>
                <a:cubicBezTo>
                  <a:pt x="4792" y="382"/>
                  <a:pt x="4792" y="382"/>
                  <a:pt x="4792" y="382"/>
                </a:cubicBezTo>
                <a:close/>
                <a:moveTo>
                  <a:pt x="5240" y="434"/>
                </a:moveTo>
                <a:cubicBezTo>
                  <a:pt x="5192" y="432"/>
                  <a:pt x="5192" y="430"/>
                  <a:pt x="5192" y="340"/>
                </a:cubicBezTo>
                <a:cubicBezTo>
                  <a:pt x="5192" y="278"/>
                  <a:pt x="5192" y="278"/>
                  <a:pt x="5192" y="278"/>
                </a:cubicBezTo>
                <a:cubicBezTo>
                  <a:pt x="5192" y="196"/>
                  <a:pt x="5146" y="170"/>
                  <a:pt x="5104" y="170"/>
                </a:cubicBezTo>
                <a:cubicBezTo>
                  <a:pt x="5068" y="170"/>
                  <a:pt x="5032" y="186"/>
                  <a:pt x="5004" y="222"/>
                </a:cubicBezTo>
                <a:cubicBezTo>
                  <a:pt x="5004" y="174"/>
                  <a:pt x="5004" y="174"/>
                  <a:pt x="5004" y="174"/>
                </a:cubicBezTo>
                <a:cubicBezTo>
                  <a:pt x="4902" y="174"/>
                  <a:pt x="4902" y="174"/>
                  <a:pt x="4902" y="174"/>
                </a:cubicBezTo>
                <a:cubicBezTo>
                  <a:pt x="4902" y="186"/>
                  <a:pt x="4902" y="186"/>
                  <a:pt x="4902" y="186"/>
                </a:cubicBezTo>
                <a:cubicBezTo>
                  <a:pt x="4946" y="188"/>
                  <a:pt x="4952" y="190"/>
                  <a:pt x="4952" y="266"/>
                </a:cubicBezTo>
                <a:cubicBezTo>
                  <a:pt x="4952" y="334"/>
                  <a:pt x="4952" y="334"/>
                  <a:pt x="4952" y="334"/>
                </a:cubicBezTo>
                <a:cubicBezTo>
                  <a:pt x="4952" y="430"/>
                  <a:pt x="4952" y="432"/>
                  <a:pt x="4904" y="434"/>
                </a:cubicBezTo>
                <a:cubicBezTo>
                  <a:pt x="4892" y="434"/>
                  <a:pt x="4892" y="434"/>
                  <a:pt x="4892" y="434"/>
                </a:cubicBezTo>
                <a:cubicBezTo>
                  <a:pt x="4854" y="434"/>
                  <a:pt x="4850" y="422"/>
                  <a:pt x="4850" y="366"/>
                </a:cubicBezTo>
                <a:cubicBezTo>
                  <a:pt x="4850" y="274"/>
                  <a:pt x="4850" y="274"/>
                  <a:pt x="4850" y="274"/>
                </a:cubicBezTo>
                <a:cubicBezTo>
                  <a:pt x="4850" y="256"/>
                  <a:pt x="4848" y="240"/>
                  <a:pt x="4844" y="228"/>
                </a:cubicBezTo>
                <a:cubicBezTo>
                  <a:pt x="4830" y="186"/>
                  <a:pt x="4796" y="170"/>
                  <a:pt x="4748" y="170"/>
                </a:cubicBezTo>
                <a:cubicBezTo>
                  <a:pt x="4718" y="170"/>
                  <a:pt x="4674" y="180"/>
                  <a:pt x="4650" y="202"/>
                </a:cubicBezTo>
                <a:cubicBezTo>
                  <a:pt x="4652" y="214"/>
                  <a:pt x="4664" y="240"/>
                  <a:pt x="4670" y="248"/>
                </a:cubicBezTo>
                <a:cubicBezTo>
                  <a:pt x="4676" y="246"/>
                  <a:pt x="4676" y="246"/>
                  <a:pt x="4676" y="246"/>
                </a:cubicBezTo>
                <a:cubicBezTo>
                  <a:pt x="4688" y="216"/>
                  <a:pt x="4708" y="194"/>
                  <a:pt x="4742" y="194"/>
                </a:cubicBezTo>
                <a:cubicBezTo>
                  <a:pt x="4778" y="194"/>
                  <a:pt x="4794" y="220"/>
                  <a:pt x="4794" y="250"/>
                </a:cubicBezTo>
                <a:cubicBezTo>
                  <a:pt x="4794" y="282"/>
                  <a:pt x="4794" y="282"/>
                  <a:pt x="4794" y="282"/>
                </a:cubicBezTo>
                <a:cubicBezTo>
                  <a:pt x="4794" y="302"/>
                  <a:pt x="4702" y="306"/>
                  <a:pt x="4664" y="338"/>
                </a:cubicBezTo>
                <a:cubicBezTo>
                  <a:pt x="4652" y="350"/>
                  <a:pt x="4642" y="364"/>
                  <a:pt x="4642" y="384"/>
                </a:cubicBezTo>
                <a:cubicBezTo>
                  <a:pt x="4642" y="426"/>
                  <a:pt x="4672" y="456"/>
                  <a:pt x="4716" y="456"/>
                </a:cubicBezTo>
                <a:cubicBezTo>
                  <a:pt x="4744" y="456"/>
                  <a:pt x="4768" y="446"/>
                  <a:pt x="4794" y="418"/>
                </a:cubicBezTo>
                <a:cubicBezTo>
                  <a:pt x="4798" y="438"/>
                  <a:pt x="4814" y="448"/>
                  <a:pt x="4842" y="448"/>
                </a:cubicBezTo>
                <a:cubicBezTo>
                  <a:pt x="4906" y="448"/>
                  <a:pt x="4906" y="448"/>
                  <a:pt x="4906" y="448"/>
                </a:cubicBezTo>
                <a:cubicBezTo>
                  <a:pt x="4906" y="448"/>
                  <a:pt x="4906" y="448"/>
                  <a:pt x="4906" y="448"/>
                </a:cubicBezTo>
                <a:cubicBezTo>
                  <a:pt x="5048" y="448"/>
                  <a:pt x="5048" y="448"/>
                  <a:pt x="5048" y="448"/>
                </a:cubicBezTo>
                <a:cubicBezTo>
                  <a:pt x="5048" y="436"/>
                  <a:pt x="5048" y="436"/>
                  <a:pt x="5048" y="436"/>
                </a:cubicBezTo>
                <a:cubicBezTo>
                  <a:pt x="5006" y="432"/>
                  <a:pt x="5004" y="434"/>
                  <a:pt x="5004" y="338"/>
                </a:cubicBezTo>
                <a:cubicBezTo>
                  <a:pt x="5004" y="262"/>
                  <a:pt x="5004" y="262"/>
                  <a:pt x="5004" y="262"/>
                </a:cubicBezTo>
                <a:cubicBezTo>
                  <a:pt x="5004" y="236"/>
                  <a:pt x="5038" y="206"/>
                  <a:pt x="5080" y="206"/>
                </a:cubicBezTo>
                <a:cubicBezTo>
                  <a:pt x="5114" y="206"/>
                  <a:pt x="5140" y="220"/>
                  <a:pt x="5140" y="286"/>
                </a:cubicBezTo>
                <a:cubicBezTo>
                  <a:pt x="5140" y="340"/>
                  <a:pt x="5140" y="340"/>
                  <a:pt x="5140" y="340"/>
                </a:cubicBezTo>
                <a:cubicBezTo>
                  <a:pt x="5140" y="432"/>
                  <a:pt x="5136" y="432"/>
                  <a:pt x="5098" y="434"/>
                </a:cubicBezTo>
                <a:cubicBezTo>
                  <a:pt x="5098" y="446"/>
                  <a:pt x="5098" y="446"/>
                  <a:pt x="5098" y="446"/>
                </a:cubicBezTo>
                <a:cubicBezTo>
                  <a:pt x="5240" y="446"/>
                  <a:pt x="5240" y="446"/>
                  <a:pt x="5240" y="446"/>
                </a:cubicBezTo>
                <a:lnTo>
                  <a:pt x="5240" y="434"/>
                </a:lnTo>
                <a:close/>
                <a:moveTo>
                  <a:pt x="5516" y="192"/>
                </a:moveTo>
                <a:cubicBezTo>
                  <a:pt x="5516" y="180"/>
                  <a:pt x="5516" y="180"/>
                  <a:pt x="5516" y="180"/>
                </a:cubicBezTo>
                <a:cubicBezTo>
                  <a:pt x="5418" y="180"/>
                  <a:pt x="5418" y="180"/>
                  <a:pt x="5418" y="180"/>
                </a:cubicBezTo>
                <a:cubicBezTo>
                  <a:pt x="5418" y="192"/>
                  <a:pt x="5418" y="192"/>
                  <a:pt x="5418" y="192"/>
                </a:cubicBezTo>
                <a:cubicBezTo>
                  <a:pt x="5442" y="194"/>
                  <a:pt x="5454" y="206"/>
                  <a:pt x="5446" y="234"/>
                </a:cubicBezTo>
                <a:cubicBezTo>
                  <a:pt x="5394" y="390"/>
                  <a:pt x="5394" y="390"/>
                  <a:pt x="5394" y="390"/>
                </a:cubicBezTo>
                <a:cubicBezTo>
                  <a:pt x="5342" y="270"/>
                  <a:pt x="5342" y="270"/>
                  <a:pt x="5342" y="270"/>
                </a:cubicBezTo>
                <a:cubicBezTo>
                  <a:pt x="5328" y="238"/>
                  <a:pt x="5322" y="224"/>
                  <a:pt x="5322" y="212"/>
                </a:cubicBezTo>
                <a:cubicBezTo>
                  <a:pt x="5322" y="202"/>
                  <a:pt x="5328" y="196"/>
                  <a:pt x="5348" y="192"/>
                </a:cubicBezTo>
                <a:cubicBezTo>
                  <a:pt x="5348" y="180"/>
                  <a:pt x="5348" y="180"/>
                  <a:pt x="5348" y="180"/>
                </a:cubicBezTo>
                <a:cubicBezTo>
                  <a:pt x="5220" y="180"/>
                  <a:pt x="5220" y="180"/>
                  <a:pt x="5220" y="180"/>
                </a:cubicBezTo>
                <a:cubicBezTo>
                  <a:pt x="5220" y="192"/>
                  <a:pt x="5220" y="192"/>
                  <a:pt x="5220" y="192"/>
                </a:cubicBezTo>
                <a:cubicBezTo>
                  <a:pt x="5252" y="194"/>
                  <a:pt x="5254" y="198"/>
                  <a:pt x="5296" y="292"/>
                </a:cubicBezTo>
                <a:cubicBezTo>
                  <a:pt x="5368" y="450"/>
                  <a:pt x="5368" y="450"/>
                  <a:pt x="5368" y="450"/>
                </a:cubicBezTo>
                <a:cubicBezTo>
                  <a:pt x="5344" y="512"/>
                  <a:pt x="5306" y="546"/>
                  <a:pt x="5228" y="564"/>
                </a:cubicBezTo>
                <a:cubicBezTo>
                  <a:pt x="5232" y="576"/>
                  <a:pt x="5246" y="600"/>
                  <a:pt x="5254" y="606"/>
                </a:cubicBezTo>
                <a:cubicBezTo>
                  <a:pt x="5356" y="564"/>
                  <a:pt x="5376" y="498"/>
                  <a:pt x="5412" y="396"/>
                </a:cubicBezTo>
                <a:cubicBezTo>
                  <a:pt x="5466" y="242"/>
                  <a:pt x="5466" y="242"/>
                  <a:pt x="5466" y="242"/>
                </a:cubicBezTo>
                <a:cubicBezTo>
                  <a:pt x="5478" y="206"/>
                  <a:pt x="5498" y="192"/>
                  <a:pt x="5516" y="192"/>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600" kern="1200">
                <a:solidFill>
                  <a:schemeClr val="tx1"/>
                </a:solidFill>
                <a:latin typeface="Arial" charset="0"/>
                <a:ea typeface="+mn-ea"/>
                <a:cs typeface="+mn-cs"/>
              </a:defRPr>
            </a:lvl1pPr>
            <a:lvl2pPr marL="457200" algn="l" rtl="0" fontAlgn="base">
              <a:spcBef>
                <a:spcPct val="0"/>
              </a:spcBef>
              <a:spcAft>
                <a:spcPct val="0"/>
              </a:spcAft>
              <a:defRPr sz="1600" kern="1200">
                <a:solidFill>
                  <a:schemeClr val="tx1"/>
                </a:solidFill>
                <a:latin typeface="Arial" charset="0"/>
                <a:ea typeface="+mn-ea"/>
                <a:cs typeface="+mn-cs"/>
              </a:defRPr>
            </a:lvl2pPr>
            <a:lvl3pPr marL="914400" algn="l" rtl="0" fontAlgn="base">
              <a:spcBef>
                <a:spcPct val="0"/>
              </a:spcBef>
              <a:spcAft>
                <a:spcPct val="0"/>
              </a:spcAft>
              <a:defRPr sz="1600" kern="1200">
                <a:solidFill>
                  <a:schemeClr val="tx1"/>
                </a:solidFill>
                <a:latin typeface="Arial" charset="0"/>
                <a:ea typeface="+mn-ea"/>
                <a:cs typeface="+mn-cs"/>
              </a:defRPr>
            </a:lvl3pPr>
            <a:lvl4pPr marL="1371600" algn="l" rtl="0" fontAlgn="base">
              <a:spcBef>
                <a:spcPct val="0"/>
              </a:spcBef>
              <a:spcAft>
                <a:spcPct val="0"/>
              </a:spcAft>
              <a:defRPr sz="1600" kern="1200">
                <a:solidFill>
                  <a:schemeClr val="tx1"/>
                </a:solidFill>
                <a:latin typeface="Arial" charset="0"/>
                <a:ea typeface="+mn-ea"/>
                <a:cs typeface="+mn-cs"/>
              </a:defRPr>
            </a:lvl4pPr>
            <a:lvl5pPr marL="1828800" algn="l" rtl="0" fontAlgn="base">
              <a:spcBef>
                <a:spcPct val="0"/>
              </a:spcBef>
              <a:spcAft>
                <a:spcPct val="0"/>
              </a:spcAft>
              <a:defRPr sz="1600" kern="1200">
                <a:solidFill>
                  <a:schemeClr val="tx1"/>
                </a:solidFill>
                <a:latin typeface="Arial" charset="0"/>
                <a:ea typeface="+mn-ea"/>
                <a:cs typeface="+mn-cs"/>
              </a:defRPr>
            </a:lvl5pPr>
            <a:lvl6pPr marL="2286000" algn="l" defTabSz="914400" rtl="0" eaLnBrk="1" latinLnBrk="0" hangingPunct="1">
              <a:defRPr sz="1600" kern="1200">
                <a:solidFill>
                  <a:schemeClr val="tx1"/>
                </a:solidFill>
                <a:latin typeface="Arial" charset="0"/>
                <a:ea typeface="+mn-ea"/>
                <a:cs typeface="+mn-cs"/>
              </a:defRPr>
            </a:lvl6pPr>
            <a:lvl7pPr marL="2743200" algn="l" defTabSz="914400" rtl="0" eaLnBrk="1" latinLnBrk="0" hangingPunct="1">
              <a:defRPr sz="1600" kern="1200">
                <a:solidFill>
                  <a:schemeClr val="tx1"/>
                </a:solidFill>
                <a:latin typeface="Arial" charset="0"/>
                <a:ea typeface="+mn-ea"/>
                <a:cs typeface="+mn-cs"/>
              </a:defRPr>
            </a:lvl7pPr>
            <a:lvl8pPr marL="3200400" algn="l" defTabSz="914400" rtl="0" eaLnBrk="1" latinLnBrk="0" hangingPunct="1">
              <a:defRPr sz="1600" kern="1200">
                <a:solidFill>
                  <a:schemeClr val="tx1"/>
                </a:solidFill>
                <a:latin typeface="Arial" charset="0"/>
                <a:ea typeface="+mn-ea"/>
                <a:cs typeface="+mn-cs"/>
              </a:defRPr>
            </a:lvl8pPr>
            <a:lvl9pPr marL="3657600" algn="l" defTabSz="914400" rtl="0" eaLnBrk="1" latinLnBrk="0" hangingPunct="1">
              <a:defRPr sz="1600" kern="1200">
                <a:solidFill>
                  <a:schemeClr val="tx1"/>
                </a:solidFill>
                <a:latin typeface="Arial" charset="0"/>
                <a:ea typeface="+mn-ea"/>
                <a:cs typeface="+mn-cs"/>
              </a:defRPr>
            </a:lvl9pPr>
          </a:lstStyle>
          <a:p>
            <a:endParaRPr lang="en-US" baseline="0" dirty="0">
              <a:solidFill>
                <a:srgbClr val="000000"/>
              </a:solidFill>
              <a:latin typeface="+mn-lt"/>
            </a:endParaRPr>
          </a:p>
        </p:txBody>
      </p:sp>
      <p:sp>
        <p:nvSpPr>
          <p:cNvPr id="27" name="Disclaimer-English (United States)" hidden="1"/>
          <p:cNvSpPr>
            <a:spLocks noChangeArrowheads="1"/>
          </p:cNvSpPr>
          <p:nvPr/>
        </p:nvSpPr>
        <p:spPr bwMode="black">
          <a:xfrm>
            <a:off x="2268266" y="6287785"/>
            <a:ext cx="3544453" cy="36908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t" anchorCtr="0">
            <a:noAutofit/>
          </a:bodyPr>
          <a:lstStyle/>
          <a:p>
            <a:pPr defTabSz="804863" eaLnBrk="0" hangingPunct="0"/>
            <a:r>
              <a:rPr lang="en-US" sz="800" baseline="0" dirty="0">
                <a:solidFill>
                  <a:srgbClr val="FFFFFF"/>
                </a:solidFill>
                <a:latin typeface="+mn-lt"/>
              </a:rPr>
              <a:t>CONFIDENTIAL AND PROPRIETARY</a:t>
            </a:r>
          </a:p>
          <a:p>
            <a:pPr defTabSz="804863" eaLnBrk="0" hangingPunct="0"/>
            <a:r>
              <a:rPr lang="en-US" sz="800" baseline="0" dirty="0">
                <a:solidFill>
                  <a:srgbClr val="FFFFFF"/>
                </a:solidFill>
                <a:latin typeface="+mn-lt"/>
              </a:rPr>
              <a:t>Any use of this material without specific permission of McKinsey &amp; Company is strictly prohibited</a:t>
            </a:r>
          </a:p>
        </p:txBody>
      </p:sp>
    </p:spTree>
    <p:extLst>
      <p:ext uri="{BB962C8B-B14F-4D97-AF65-F5344CB8AC3E}">
        <p14:creationId xmlns:p14="http://schemas.microsoft.com/office/powerpoint/2010/main" val="1533340638"/>
      </p:ext>
    </p:extLst>
  </p:cSld>
  <p:clrMapOvr>
    <a:masterClrMapping/>
  </p:clrMapOvr>
  <p:extLst mod="1">
    <p:ext uri="{DCECCB84-F9BA-43D5-87BE-67443E8EF086}">
      <p15:sldGuideLst xmlns:p15="http://schemas.microsoft.com/office/powerpoint/2012/main">
        <p15:guide id="1" orient="horz" pos="2117">
          <p15:clr>
            <a:srgbClr val="FBAE40"/>
          </p15:clr>
        </p15:guide>
        <p15:guide id="2" pos="1416">
          <p15:clr>
            <a:srgbClr val="FBAE40"/>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6E228F5-5CF1-42E1-9748-97D7582A107A}"/>
              </a:ext>
            </a:extLst>
          </p:cNvPr>
          <p:cNvGraphicFramePr>
            <a:graphicFrameLocks noChangeAspect="1"/>
          </p:cNvGraphicFramePr>
          <p:nvPr>
            <p:custDataLst>
              <p:tags r:id="rId2"/>
            </p:custDataLst>
            <p:extLst>
              <p:ext uri="{D42A27DB-BD31-4B8C-83A1-F6EECF244321}">
                <p14:modId xmlns:p14="http://schemas.microsoft.com/office/powerpoint/2010/main" val="7649946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6452" name="think-cell Slide" r:id="rId5" imgW="353" imgH="353" progId="TCLayout.ActiveDocument.1">
                  <p:embed/>
                </p:oleObj>
              </mc:Choice>
              <mc:Fallback>
                <p:oleObj name="think-cell Slide" r:id="rId5" imgW="353" imgH="353" progId="TCLayout.ActiveDocument.1">
                  <p:embed/>
                  <p:pic>
                    <p:nvPicPr>
                      <p:cNvPr id="3" name="Object 2" hidden="1">
                        <a:extLst>
                          <a:ext uri="{FF2B5EF4-FFF2-40B4-BE49-F238E27FC236}">
                            <a16:creationId xmlns:a16="http://schemas.microsoft.com/office/drawing/2014/main" id="{C6E228F5-5CF1-42E1-9748-97D7582A107A}"/>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2. Slide Title"/>
          <p:cNvSpPr>
            <a:spLocks noGrp="1"/>
          </p:cNvSpPr>
          <p:nvPr>
            <p:ph type="title"/>
          </p:nvPr>
        </p:nvSpPr>
        <p:spPr bwMode="auto"/>
        <p:txBody>
          <a:bodyPr/>
          <a:lstStyle/>
          <a:p>
            <a:r>
              <a:rPr lang="en-US"/>
              <a:t>Click to edit Master title style</a:t>
            </a:r>
            <a:endParaRPr lang="en-US" dirty="0"/>
          </a:p>
        </p:txBody>
      </p:sp>
      <p:sp>
        <p:nvSpPr>
          <p:cNvPr id="8" name="Slide Number"/>
          <p:cNvSpPr txBox="1">
            <a:spLocks/>
          </p:cNvSpPr>
          <p:nvPr/>
        </p:nvSpPr>
        <p:spPr bwMode="auto">
          <a:xfrm>
            <a:off x="8564563" y="6508272"/>
            <a:ext cx="125034" cy="123111"/>
          </a:xfrm>
          <a:prstGeom prst="rect">
            <a:avLst/>
          </a:prstGeom>
        </p:spPr>
        <p:txBody>
          <a:bodyPr vert="horz" wrap="none" lIns="0" tIns="0" rIns="0" bIns="0" rtlCol="0" anchor="ctr">
            <a:spAutoFit/>
          </a:bodyPr>
          <a:lstStyle>
            <a:defPPr>
              <a:defRPr lang="en-US"/>
            </a:defPPr>
            <a:lvl1pPr>
              <a:defRPr sz="1000" baseline="0">
                <a:latin typeface="+mn-lt"/>
              </a:defRPr>
            </a:lvl1pPr>
          </a:lstStyle>
          <a:p>
            <a:fld id="{42C328C1-A84F-4A39-A664-DBA00541A8C6}" type="slidenum">
              <a:rPr lang="en-US" sz="800" baseline="0" smtClean="0">
                <a:solidFill>
                  <a:srgbClr val="808080"/>
                </a:solidFill>
                <a:latin typeface="+mn-lt"/>
              </a:rPr>
              <a:pPr/>
              <a:t>‹#›</a:t>
            </a:fld>
            <a:endParaRPr lang="en-US" sz="800" baseline="0" dirty="0">
              <a:solidFill>
                <a:srgbClr val="808080"/>
              </a:solidFill>
              <a:latin typeface="+mn-lt"/>
            </a:endParaRPr>
          </a:p>
        </p:txBody>
      </p:sp>
      <p:sp>
        <p:nvSpPr>
          <p:cNvPr id="9" name="SlideLogoText"/>
          <p:cNvSpPr>
            <a:spLocks noChangeArrowheads="1"/>
          </p:cNvSpPr>
          <p:nvPr>
            <p:custDataLst>
              <p:tags r:id="rId3"/>
            </p:custDataLst>
          </p:nvPr>
        </p:nvSpPr>
        <p:spPr bwMode="auto">
          <a:xfrm>
            <a:off x="7450817" y="6508272"/>
            <a:ext cx="1013098"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algn="r" defTabSz="895350"/>
            <a:r>
              <a:rPr lang="en-US" sz="800" baseline="0" dirty="0">
                <a:solidFill>
                  <a:srgbClr val="808080"/>
                </a:solidFill>
                <a:latin typeface="+mn-lt"/>
              </a:rPr>
              <a:t>McKinsey &amp; Company</a:t>
            </a:r>
          </a:p>
        </p:txBody>
      </p:sp>
      <p:sp>
        <p:nvSpPr>
          <p:cNvPr id="5" name="doc id" hidden="1"/>
          <p:cNvSpPr txBox="1">
            <a:spLocks noChangeArrowheads="1"/>
          </p:cNvSpPr>
          <p:nvPr/>
        </p:nvSpPr>
        <p:spPr bwMode="white">
          <a:xfrm>
            <a:off x="8104473" y="36513"/>
            <a:ext cx="634716" cy="115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hangingPunct="1">
              <a:defRPr/>
            </a:pPr>
            <a:endParaRPr lang="en-US" sz="800" baseline="0" dirty="0">
              <a:solidFill>
                <a:schemeClr val="accent1"/>
              </a:solidFill>
              <a:latin typeface="+mn-lt"/>
              <a:ea typeface="+mn-ea"/>
            </a:endParaRPr>
          </a:p>
        </p:txBody>
      </p:sp>
    </p:spTree>
    <p:extLst>
      <p:ext uri="{BB962C8B-B14F-4D97-AF65-F5344CB8AC3E}">
        <p14:creationId xmlns:p14="http://schemas.microsoft.com/office/powerpoint/2010/main" val="3191014447"/>
      </p:ext>
    </p:extLst>
  </p:cSld>
  <p:clrMapOvr>
    <a:masterClrMapping/>
  </p:clrMapOvr>
  <p:extLst mod="1">
    <p:ext uri="{DCECCB84-F9BA-43D5-87BE-67443E8EF086}">
      <p15:sldGuideLst xmlns:p15="http://schemas.microsoft.com/office/powerpoint/2012/main">
        <p15:guide id="1" pos="5505">
          <p15:clr>
            <a:srgbClr val="F26B43"/>
          </p15:clr>
        </p15:guide>
        <p15:guide id="2" pos="74">
          <p15:clr>
            <a:srgbClr val="F26B43"/>
          </p15:clr>
        </p15:guide>
        <p15:guide id="3" orient="horz" pos="571">
          <p15:clr>
            <a:srgbClr val="F26B43"/>
          </p15:clr>
        </p15:guide>
        <p15:guide id="4" orient="horz" pos="3911">
          <p15:clr>
            <a:srgbClr val="F26B43"/>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p:cSld name="1_Title Only">
    <p:bg>
      <p:bgPr>
        <a:solidFill>
          <a:schemeClr val="accent2"/>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F4AD34F-3B47-47E2-A09C-FFEB949F6A10}"/>
              </a:ext>
            </a:extLst>
          </p:cNvPr>
          <p:cNvGraphicFramePr>
            <a:graphicFrameLocks noChangeAspect="1"/>
          </p:cNvGraphicFramePr>
          <p:nvPr>
            <p:custDataLst>
              <p:tags r:id="rId2"/>
            </p:custDataLst>
            <p:extLst>
              <p:ext uri="{D42A27DB-BD31-4B8C-83A1-F6EECF244321}">
                <p14:modId xmlns:p14="http://schemas.microsoft.com/office/powerpoint/2010/main" val="243648155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7476" name="think-cell Slide" r:id="rId5" imgW="395" imgH="394" progId="TCLayout.ActiveDocument.1">
                  <p:embed/>
                </p:oleObj>
              </mc:Choice>
              <mc:Fallback>
                <p:oleObj name="think-cell Slide" r:id="rId5" imgW="395" imgH="394" progId="TCLayout.ActiveDocument.1">
                  <p:embed/>
                  <p:pic>
                    <p:nvPicPr>
                      <p:cNvPr id="3" name="Object 2" hidden="1">
                        <a:extLst>
                          <a:ext uri="{FF2B5EF4-FFF2-40B4-BE49-F238E27FC236}">
                            <a16:creationId xmlns:a16="http://schemas.microsoft.com/office/drawing/2014/main" id="{EF4AD34F-3B47-47E2-A09C-FFEB949F6A10}"/>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endParaRPr lang="en-US" dirty="0"/>
          </a:p>
        </p:txBody>
      </p:sp>
      <p:sp>
        <p:nvSpPr>
          <p:cNvPr id="15" name="Slide Number"/>
          <p:cNvSpPr txBox="1">
            <a:spLocks/>
          </p:cNvSpPr>
          <p:nvPr/>
        </p:nvSpPr>
        <p:spPr>
          <a:xfrm>
            <a:off x="8564563" y="6508272"/>
            <a:ext cx="125034" cy="123111"/>
          </a:xfrm>
          <a:prstGeom prst="rect">
            <a:avLst/>
          </a:prstGeom>
        </p:spPr>
        <p:txBody>
          <a:bodyPr vert="horz" wrap="none" lIns="0" tIns="0" rIns="0" bIns="0" rtlCol="0" anchor="ctr">
            <a:spAutoFit/>
          </a:bodyPr>
          <a:lstStyle>
            <a:defPPr>
              <a:defRPr lang="en-US"/>
            </a:defPPr>
            <a:lvl1pPr>
              <a:defRPr sz="1000" baseline="0">
                <a:latin typeface="+mn-lt"/>
              </a:defRPr>
            </a:lvl1pPr>
          </a:lstStyle>
          <a:p>
            <a:fld id="{42C328C1-A84F-4A39-A664-DBA00541A8C6}" type="slidenum">
              <a:rPr lang="en-US" sz="800" baseline="0" smtClean="0">
                <a:solidFill>
                  <a:srgbClr val="FFFFFF"/>
                </a:solidFill>
                <a:latin typeface="+mn-lt"/>
              </a:rPr>
              <a:pPr/>
              <a:t>‹#›</a:t>
            </a:fld>
            <a:endParaRPr lang="en-US" sz="800" baseline="0" dirty="0">
              <a:solidFill>
                <a:srgbClr val="FFFFFF"/>
              </a:solidFill>
              <a:latin typeface="+mn-lt"/>
            </a:endParaRPr>
          </a:p>
        </p:txBody>
      </p:sp>
      <p:sp>
        <p:nvSpPr>
          <p:cNvPr id="16" name="SlideLogoText"/>
          <p:cNvSpPr>
            <a:spLocks noChangeArrowheads="1"/>
          </p:cNvSpPr>
          <p:nvPr>
            <p:custDataLst>
              <p:tags r:id="rId3"/>
            </p:custDataLst>
          </p:nvPr>
        </p:nvSpPr>
        <p:spPr bwMode="auto">
          <a:xfrm>
            <a:off x="7450817" y="6508272"/>
            <a:ext cx="1013098"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algn="r" defTabSz="895350"/>
            <a:r>
              <a:rPr lang="en-US" sz="800" baseline="0" dirty="0">
                <a:solidFill>
                  <a:srgbClr val="FFFFFF"/>
                </a:solidFill>
                <a:latin typeface="+mn-lt"/>
              </a:rPr>
              <a:t>McKinsey &amp; Company</a:t>
            </a:r>
          </a:p>
        </p:txBody>
      </p:sp>
      <p:sp>
        <p:nvSpPr>
          <p:cNvPr id="5" name="doc id" hidden="1"/>
          <p:cNvSpPr txBox="1">
            <a:spLocks noChangeArrowheads="1"/>
          </p:cNvSpPr>
          <p:nvPr/>
        </p:nvSpPr>
        <p:spPr bwMode="white">
          <a:xfrm>
            <a:off x="8104473" y="36513"/>
            <a:ext cx="634716" cy="115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hangingPunct="1">
              <a:defRPr/>
            </a:pPr>
            <a:endParaRPr lang="en-US" sz="800" baseline="0" dirty="0">
              <a:solidFill>
                <a:schemeClr val="accent1"/>
              </a:solidFill>
              <a:latin typeface="+mn-lt"/>
              <a:ea typeface="+mn-ea"/>
            </a:endParaRPr>
          </a:p>
        </p:txBody>
      </p:sp>
    </p:spTree>
    <p:extLst>
      <p:ext uri="{BB962C8B-B14F-4D97-AF65-F5344CB8AC3E}">
        <p14:creationId xmlns:p14="http://schemas.microsoft.com/office/powerpoint/2010/main" val="1069113059"/>
      </p:ext>
    </p:extLst>
  </p:cSld>
  <p:clrMapOvr>
    <a:masterClrMapping/>
  </p:clrMapOvr>
  <p:extLst mod="1">
    <p:ext uri="{DCECCB84-F9BA-43D5-87BE-67443E8EF086}">
      <p15:sldGuideLst xmlns:p15="http://schemas.microsoft.com/office/powerpoint/2012/main">
        <p15:guide id="1" pos="3978">
          <p15:clr>
            <a:srgbClr val="000000"/>
          </p15:clr>
        </p15:guide>
        <p15:guide id="2" orient="horz" pos="570">
          <p15:clr>
            <a:srgbClr val="000000"/>
          </p15:clr>
        </p15:guide>
        <p15:guide id="3" orient="horz" pos="3912">
          <p15:clr>
            <a:srgbClr val="000000"/>
          </p15:clr>
        </p15:guide>
        <p15:guide id="4" pos="72">
          <p15:clr>
            <a:srgbClr val="000000"/>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type="titleOnly">
  <p:cSld name="2_Title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ECD524A-1569-4253-8CD8-48D288AD883C}"/>
              </a:ext>
            </a:extLst>
          </p:cNvPr>
          <p:cNvGraphicFramePr>
            <a:graphicFrameLocks noChangeAspect="1"/>
          </p:cNvGraphicFramePr>
          <p:nvPr>
            <p:custDataLst>
              <p:tags r:id="rId2"/>
            </p:custDataLst>
            <p:extLst>
              <p:ext uri="{D42A27DB-BD31-4B8C-83A1-F6EECF244321}">
                <p14:modId xmlns:p14="http://schemas.microsoft.com/office/powerpoint/2010/main" val="213722247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8500" name="think-cell Slide" r:id="rId4" imgW="395" imgH="394" progId="TCLayout.ActiveDocument.1">
                  <p:embed/>
                </p:oleObj>
              </mc:Choice>
              <mc:Fallback>
                <p:oleObj name="think-cell Slide" r:id="rId4" imgW="395" imgH="394" progId="TCLayout.ActiveDocument.1">
                  <p:embed/>
                  <p:pic>
                    <p:nvPicPr>
                      <p:cNvPr id="3" name="Object 2" hidden="1">
                        <a:extLst>
                          <a:ext uri="{FF2B5EF4-FFF2-40B4-BE49-F238E27FC236}">
                            <a16:creationId xmlns:a16="http://schemas.microsoft.com/office/drawing/2014/main" id="{5ECD524A-1569-4253-8CD8-48D288AD883C}"/>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52808901"/>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pic>
        <p:nvPicPr>
          <p:cNvPr id="2" name="background"/>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0" y="198"/>
            <a:ext cx="8961438" cy="6721079"/>
          </a:xfrm>
          <a:prstGeom prst="rect">
            <a:avLst/>
          </a:prstGeom>
        </p:spPr>
      </p:pic>
      <p:sp>
        <p:nvSpPr>
          <p:cNvPr id="28" name="TitleRectangle"/>
          <p:cNvSpPr txBox="1">
            <a:spLocks/>
          </p:cNvSpPr>
          <p:nvPr/>
        </p:nvSpPr>
        <p:spPr>
          <a:xfrm>
            <a:off x="2084388" y="0"/>
            <a:ext cx="6875462" cy="3575976"/>
          </a:xfrm>
          <a:prstGeom prst="rect">
            <a:avLst/>
          </a:prstGeom>
          <a:solidFill>
            <a:srgbClr val="002960">
              <a:alpha val="92000"/>
            </a:srgbClr>
          </a:solidFill>
        </p:spPr>
        <p:txBody>
          <a:bodyPr vert="horz" wrap="square" lIns="216000" tIns="1440000" rIns="216000" bIns="108000" rtlCol="0">
            <a:noAutofit/>
          </a:bodyPr>
          <a:lstStyle>
            <a:lvl1pPr marL="0" indent="0" algn="l" defTabSz="914400" rtl="0" eaLnBrk="1" latinLnBrk="0" hangingPunct="1">
              <a:spcBef>
                <a:spcPct val="20000"/>
              </a:spcBef>
              <a:spcAft>
                <a:spcPts val="6000"/>
              </a:spcAft>
              <a:buFont typeface="Arial" pitchFamily="34" charset="0"/>
              <a:buNone/>
              <a:defRPr sz="3200" kern="1200">
                <a:solidFill>
                  <a:schemeClr val="accent1"/>
                </a:solidFill>
                <a:latin typeface="+mn-lt"/>
                <a:ea typeface="+mn-ea"/>
                <a:cs typeface="+mn-cs"/>
              </a:defRPr>
            </a:lvl1pPr>
            <a:lvl2pPr marL="0" indent="0" algn="l" defTabSz="914400" rtl="0" eaLnBrk="1" latinLnBrk="0" hangingPunct="1">
              <a:spcBef>
                <a:spcPct val="20000"/>
              </a:spcBef>
              <a:buFont typeface="Wingdings" charset="2"/>
              <a:buNone/>
              <a:defRPr sz="1400" kern="1200">
                <a:solidFill>
                  <a:schemeClr val="tx1">
                    <a:lumMod val="50000"/>
                    <a:lumOff val="50000"/>
                  </a:schemeClr>
                </a:solidFill>
                <a:latin typeface="+mn-lt"/>
                <a:ea typeface="+mn-ea"/>
                <a:cs typeface="+mn-cs"/>
              </a:defRPr>
            </a:lvl2pPr>
            <a:lvl3pPr marL="1143000" indent="-228600" algn="l" defTabSz="914400" rtl="0" eaLnBrk="1" latinLnBrk="0" hangingPunct="1">
              <a:spcBef>
                <a:spcPct val="20000"/>
              </a:spcBef>
              <a:buFont typeface="Lucida Grande"/>
              <a:buChar char="–"/>
              <a:defRPr sz="16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fontAlgn="auto">
              <a:defRPr/>
            </a:pPr>
            <a:r>
              <a:rPr lang="en-US" baseline="0" dirty="0">
                <a:solidFill>
                  <a:srgbClr val="00ADEF"/>
                </a:solidFill>
                <a:latin typeface="+mn-lt"/>
              </a:rPr>
              <a:t>
              </a:t>
            </a:r>
            <a:br>
              <a:rPr lang="en-US" baseline="0" dirty="0">
                <a:solidFill>
                  <a:srgbClr val="00ADEF"/>
                </a:solidFill>
                <a:latin typeface="+mn-lt"/>
              </a:rPr>
            </a:br>
            <a:endParaRPr lang="en-US" baseline="0" dirty="0">
              <a:solidFill>
                <a:srgbClr val="00ADEF"/>
              </a:solidFill>
              <a:latin typeface="+mn-lt"/>
            </a:endParaRPr>
          </a:p>
        </p:txBody>
      </p:sp>
      <p:graphicFrame>
        <p:nvGraphicFramePr>
          <p:cNvPr id="3" name="Object 2"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0548"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Working Draft Text" hidden="1"/>
          <p:cNvSpPr txBox="1">
            <a:spLocks noChangeArrowheads="1"/>
          </p:cNvSpPr>
          <p:nvPr/>
        </p:nvSpPr>
        <p:spPr bwMode="black">
          <a:xfrm>
            <a:off x="5992719" y="6287538"/>
            <a:ext cx="2790000"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800" b="1" baseline="0" dirty="0">
                <a:solidFill>
                  <a:srgbClr val="FFFFFF"/>
                </a:solidFill>
                <a:latin typeface="+mn-lt"/>
              </a:rPr>
              <a:t>WORKING DRAFT</a:t>
            </a:r>
          </a:p>
        </p:txBody>
      </p:sp>
      <p:sp>
        <p:nvSpPr>
          <p:cNvPr id="6" name="Working Draft" hidden="1"/>
          <p:cNvSpPr txBox="1">
            <a:spLocks noChangeArrowheads="1"/>
          </p:cNvSpPr>
          <p:nvPr/>
        </p:nvSpPr>
        <p:spPr bwMode="black">
          <a:xfrm>
            <a:off x="5992718" y="6410648"/>
            <a:ext cx="2968719"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800" baseline="0">
                <a:solidFill>
                  <a:srgbClr val="FFFFFF"/>
                </a:solidFill>
                <a:latin typeface="+mn-lt"/>
              </a:rPr>
              <a:t>Last Modified 21/05/2018 17:44 India Standard Time</a:t>
            </a:r>
            <a:endParaRPr lang="en-US" sz="800" baseline="0" dirty="0">
              <a:solidFill>
                <a:srgbClr val="FFFFFF"/>
              </a:solidFill>
              <a:latin typeface="+mn-lt"/>
            </a:endParaRPr>
          </a:p>
        </p:txBody>
      </p:sp>
      <p:sp>
        <p:nvSpPr>
          <p:cNvPr id="7" name="Printed" hidden="1"/>
          <p:cNvSpPr txBox="1">
            <a:spLocks noChangeArrowheads="1"/>
          </p:cNvSpPr>
          <p:nvPr/>
        </p:nvSpPr>
        <p:spPr bwMode="black">
          <a:xfrm>
            <a:off x="5992719" y="6533759"/>
            <a:ext cx="2790000"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800" baseline="0" dirty="0">
                <a:solidFill>
                  <a:srgbClr val="FFFFFF"/>
                </a:solidFill>
                <a:latin typeface="+mn-lt"/>
              </a:rPr>
              <a:t>Printed</a:t>
            </a:r>
          </a:p>
        </p:txBody>
      </p:sp>
      <p:sp>
        <p:nvSpPr>
          <p:cNvPr id="13314" name="Title"/>
          <p:cNvSpPr>
            <a:spLocks noGrp="1" noChangeArrowheads="1"/>
          </p:cNvSpPr>
          <p:nvPr>
            <p:ph type="ctrTitle"/>
          </p:nvPr>
        </p:nvSpPr>
        <p:spPr>
          <a:xfrm>
            <a:off x="2268266" y="1434419"/>
            <a:ext cx="6231663" cy="492443"/>
          </a:xfrm>
          <a:prstGeom prst="rect">
            <a:avLst/>
          </a:prstGeom>
        </p:spPr>
        <p:txBody>
          <a:bodyPr>
            <a:spAutoFit/>
          </a:bodyPr>
          <a:lstStyle>
            <a:lvl1pPr>
              <a:defRPr sz="3200" b="0" baseline="0">
                <a:solidFill>
                  <a:schemeClr val="accent2"/>
                </a:solidFill>
                <a:latin typeface="+mj-lt"/>
                <a:ea typeface="+mj-ea"/>
              </a:defRPr>
            </a:lvl1pPr>
          </a:lstStyle>
          <a:p>
            <a:pPr lvl="0" latinLnBrk="0"/>
            <a:r>
              <a:rPr lang="en-US" noProof="0"/>
              <a:t>Click to edit Master title style</a:t>
            </a:r>
            <a:endParaRPr lang="en-US" noProof="0" dirty="0"/>
          </a:p>
        </p:txBody>
      </p:sp>
      <p:sp>
        <p:nvSpPr>
          <p:cNvPr id="13315" name="Subtitle"/>
          <p:cNvSpPr>
            <a:spLocks noGrp="1" noChangeArrowheads="1"/>
          </p:cNvSpPr>
          <p:nvPr>
            <p:ph type="subTitle" idx="1"/>
          </p:nvPr>
        </p:nvSpPr>
        <p:spPr>
          <a:xfrm>
            <a:off x="2268266" y="2819401"/>
            <a:ext cx="6231663" cy="215444"/>
          </a:xfrm>
          <a:prstGeom prst="rect">
            <a:avLst/>
          </a:prstGeom>
        </p:spPr>
        <p:txBody>
          <a:bodyPr wrap="square">
            <a:spAutoFit/>
          </a:bodyPr>
          <a:lstStyle>
            <a:lvl1pPr>
              <a:defRPr sz="1400" cap="all" baseline="0">
                <a:solidFill>
                  <a:schemeClr val="bg1"/>
                </a:solidFill>
                <a:latin typeface="+mn-lt"/>
                <a:ea typeface="+mn-ea"/>
              </a:defRPr>
            </a:lvl1pPr>
          </a:lstStyle>
          <a:p>
            <a:pPr lvl="0" latinLnBrk="0"/>
            <a:r>
              <a:rPr lang="en-US" noProof="0"/>
              <a:t>Click to edit Master subtitle style</a:t>
            </a:r>
            <a:endParaRPr lang="en-US" noProof="0" dirty="0"/>
          </a:p>
        </p:txBody>
      </p:sp>
      <p:sp>
        <p:nvSpPr>
          <p:cNvPr id="57" name="Document type" hidden="1"/>
          <p:cNvSpPr txBox="1">
            <a:spLocks noChangeArrowheads="1"/>
          </p:cNvSpPr>
          <p:nvPr/>
        </p:nvSpPr>
        <p:spPr bwMode="gray">
          <a:xfrm>
            <a:off x="2268266" y="3227411"/>
            <a:ext cx="6231663"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00" baseline="0" dirty="0">
                <a:solidFill>
                  <a:schemeClr val="bg1"/>
                </a:solidFill>
                <a:latin typeface="+mn-lt"/>
              </a:rPr>
              <a:t>Document type | Date</a:t>
            </a:r>
          </a:p>
        </p:txBody>
      </p:sp>
      <p:sp>
        <p:nvSpPr>
          <p:cNvPr id="5" name="doc id" hidden="1"/>
          <p:cNvSpPr txBox="1">
            <a:spLocks noChangeArrowheads="1"/>
          </p:cNvSpPr>
          <p:nvPr/>
        </p:nvSpPr>
        <p:spPr bwMode="white">
          <a:xfrm>
            <a:off x="8443913" y="36513"/>
            <a:ext cx="295275" cy="1222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hangingPunct="1">
              <a:defRPr/>
            </a:pPr>
            <a:endParaRPr lang="en-US" sz="800" baseline="0" dirty="0">
              <a:solidFill>
                <a:srgbClr val="FFFFFF"/>
              </a:solidFill>
              <a:latin typeface="+mn-lt"/>
            </a:endParaRPr>
          </a:p>
        </p:txBody>
      </p:sp>
      <p:sp>
        <p:nvSpPr>
          <p:cNvPr id="43" name="LogoImage"/>
          <p:cNvSpPr>
            <a:spLocks noEditPoints="1"/>
          </p:cNvSpPr>
          <p:nvPr/>
        </p:nvSpPr>
        <p:spPr bwMode="white">
          <a:xfrm>
            <a:off x="2269098" y="182925"/>
            <a:ext cx="2176978" cy="238073"/>
          </a:xfrm>
          <a:custGeom>
            <a:avLst/>
            <a:gdLst>
              <a:gd name="T0" fmla="*/ 504 w 5516"/>
              <a:gd name="T1" fmla="*/ 26 h 606"/>
              <a:gd name="T2" fmla="*/ 18 w 5516"/>
              <a:gd name="T3" fmla="*/ 22 h 606"/>
              <a:gd name="T4" fmla="*/ 140 w 5516"/>
              <a:gd name="T5" fmla="*/ 436 h 606"/>
              <a:gd name="T6" fmla="*/ 408 w 5516"/>
              <a:gd name="T7" fmla="*/ 372 h 606"/>
              <a:gd name="T8" fmla="*/ 696 w 5516"/>
              <a:gd name="T9" fmla="*/ 422 h 606"/>
              <a:gd name="T10" fmla="*/ 768 w 5516"/>
              <a:gd name="T11" fmla="*/ 196 h 606"/>
              <a:gd name="T12" fmla="*/ 1272 w 5516"/>
              <a:gd name="T13" fmla="*/ 26 h 606"/>
              <a:gd name="T14" fmla="*/ 1302 w 5516"/>
              <a:gd name="T15" fmla="*/ 338 h 606"/>
              <a:gd name="T16" fmla="*/ 1202 w 5516"/>
              <a:gd name="T17" fmla="*/ 436 h 606"/>
              <a:gd name="T18" fmla="*/ 1030 w 5516"/>
              <a:gd name="T19" fmla="*/ 10 h 606"/>
              <a:gd name="T20" fmla="*/ 960 w 5516"/>
              <a:gd name="T21" fmla="*/ 22 h 606"/>
              <a:gd name="T22" fmla="*/ 804 w 5516"/>
              <a:gd name="T23" fmla="*/ 434 h 606"/>
              <a:gd name="T24" fmla="*/ 930 w 5516"/>
              <a:gd name="T25" fmla="*/ 246 h 606"/>
              <a:gd name="T26" fmla="*/ 1658 w 5516"/>
              <a:gd name="T27" fmla="*/ 342 h 606"/>
              <a:gd name="T28" fmla="*/ 1368 w 5516"/>
              <a:gd name="T29" fmla="*/ 188 h 606"/>
              <a:gd name="T30" fmla="*/ 1514 w 5516"/>
              <a:gd name="T31" fmla="*/ 436 h 606"/>
              <a:gd name="T32" fmla="*/ 1564 w 5516"/>
              <a:gd name="T33" fmla="*/ 434 h 606"/>
              <a:gd name="T34" fmla="*/ 1904 w 5516"/>
              <a:gd name="T35" fmla="*/ 184 h 606"/>
              <a:gd name="T36" fmla="*/ 1728 w 5516"/>
              <a:gd name="T37" fmla="*/ 366 h 606"/>
              <a:gd name="T38" fmla="*/ 2102 w 5516"/>
              <a:gd name="T39" fmla="*/ 192 h 606"/>
              <a:gd name="T40" fmla="*/ 1982 w 5516"/>
              <a:gd name="T41" fmla="*/ 320 h 606"/>
              <a:gd name="T42" fmla="*/ 2478 w 5516"/>
              <a:gd name="T43" fmla="*/ 242 h 606"/>
              <a:gd name="T44" fmla="*/ 2406 w 5516"/>
              <a:gd name="T45" fmla="*/ 390 h 606"/>
              <a:gd name="T46" fmla="*/ 2234 w 5516"/>
              <a:gd name="T47" fmla="*/ 192 h 606"/>
              <a:gd name="T48" fmla="*/ 2478 w 5516"/>
              <a:gd name="T49" fmla="*/ 242 h 606"/>
              <a:gd name="T50" fmla="*/ 2928 w 5516"/>
              <a:gd name="T51" fmla="*/ 448 h 606"/>
              <a:gd name="T52" fmla="*/ 2958 w 5516"/>
              <a:gd name="T53" fmla="*/ 230 h 606"/>
              <a:gd name="T54" fmla="*/ 2716 w 5516"/>
              <a:gd name="T55" fmla="*/ 54 h 606"/>
              <a:gd name="T56" fmla="*/ 2714 w 5516"/>
              <a:gd name="T57" fmla="*/ 36 h 606"/>
              <a:gd name="T58" fmla="*/ 2928 w 5516"/>
              <a:gd name="T59" fmla="*/ 448 h 606"/>
              <a:gd name="T60" fmla="*/ 3388 w 5516"/>
              <a:gd name="T61" fmla="*/ 4 h 606"/>
              <a:gd name="T62" fmla="*/ 3396 w 5516"/>
              <a:gd name="T63" fmla="*/ 366 h 606"/>
              <a:gd name="T64" fmla="*/ 3580 w 5516"/>
              <a:gd name="T65" fmla="*/ 190 h 606"/>
              <a:gd name="T66" fmla="*/ 3502 w 5516"/>
              <a:gd name="T67" fmla="*/ 432 h 606"/>
              <a:gd name="T68" fmla="*/ 4232 w 5516"/>
              <a:gd name="T69" fmla="*/ 348 h 606"/>
              <a:gd name="T70" fmla="*/ 3858 w 5516"/>
              <a:gd name="T71" fmla="*/ 176 h 606"/>
              <a:gd name="T72" fmla="*/ 3758 w 5516"/>
              <a:gd name="T73" fmla="*/ 446 h 606"/>
              <a:gd name="T74" fmla="*/ 3990 w 5516"/>
              <a:gd name="T75" fmla="*/ 282 h 606"/>
              <a:gd name="T76" fmla="*/ 4042 w 5516"/>
              <a:gd name="T77" fmla="*/ 342 h 606"/>
              <a:gd name="T78" fmla="*/ 4134 w 5516"/>
              <a:gd name="T79" fmla="*/ 448 h 606"/>
              <a:gd name="T80" fmla="*/ 4454 w 5516"/>
              <a:gd name="T81" fmla="*/ 202 h 606"/>
              <a:gd name="T82" fmla="*/ 4284 w 5516"/>
              <a:gd name="T83" fmla="*/ 174 h 606"/>
              <a:gd name="T84" fmla="*/ 4432 w 5516"/>
              <a:gd name="T85" fmla="*/ 588 h 606"/>
              <a:gd name="T86" fmla="*/ 4792 w 5516"/>
              <a:gd name="T87" fmla="*/ 382 h 606"/>
              <a:gd name="T88" fmla="*/ 5192 w 5516"/>
              <a:gd name="T89" fmla="*/ 340 h 606"/>
              <a:gd name="T90" fmla="*/ 4902 w 5516"/>
              <a:gd name="T91" fmla="*/ 186 h 606"/>
              <a:gd name="T92" fmla="*/ 4850 w 5516"/>
              <a:gd name="T93" fmla="*/ 274 h 606"/>
              <a:gd name="T94" fmla="*/ 4742 w 5516"/>
              <a:gd name="T95" fmla="*/ 194 h 606"/>
              <a:gd name="T96" fmla="*/ 4794 w 5516"/>
              <a:gd name="T97" fmla="*/ 418 h 606"/>
              <a:gd name="T98" fmla="*/ 5004 w 5516"/>
              <a:gd name="T99" fmla="*/ 338 h 606"/>
              <a:gd name="T100" fmla="*/ 5098 w 5516"/>
              <a:gd name="T101" fmla="*/ 446 h 606"/>
              <a:gd name="T102" fmla="*/ 5418 w 5516"/>
              <a:gd name="T103" fmla="*/ 192 h 606"/>
              <a:gd name="T104" fmla="*/ 5348 w 5516"/>
              <a:gd name="T105" fmla="*/ 180 h 606"/>
              <a:gd name="T106" fmla="*/ 5254 w 5516"/>
              <a:gd name="T107" fmla="*/ 606 h 6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516" h="606">
                <a:moveTo>
                  <a:pt x="366" y="448"/>
                </a:moveTo>
                <a:cubicBezTo>
                  <a:pt x="524" y="448"/>
                  <a:pt x="524" y="448"/>
                  <a:pt x="524" y="448"/>
                </a:cubicBezTo>
                <a:cubicBezTo>
                  <a:pt x="524" y="436"/>
                  <a:pt x="524" y="436"/>
                  <a:pt x="524" y="436"/>
                </a:cubicBezTo>
                <a:cubicBezTo>
                  <a:pt x="486" y="432"/>
                  <a:pt x="470" y="414"/>
                  <a:pt x="468" y="362"/>
                </a:cubicBezTo>
                <a:cubicBezTo>
                  <a:pt x="454" y="86"/>
                  <a:pt x="454" y="86"/>
                  <a:pt x="454" y="86"/>
                </a:cubicBezTo>
                <a:cubicBezTo>
                  <a:pt x="452" y="46"/>
                  <a:pt x="470" y="30"/>
                  <a:pt x="504" y="26"/>
                </a:cubicBezTo>
                <a:cubicBezTo>
                  <a:pt x="504" y="12"/>
                  <a:pt x="504" y="12"/>
                  <a:pt x="504" y="12"/>
                </a:cubicBezTo>
                <a:cubicBezTo>
                  <a:pt x="394" y="12"/>
                  <a:pt x="394" y="12"/>
                  <a:pt x="394" y="12"/>
                </a:cubicBezTo>
                <a:cubicBezTo>
                  <a:pt x="264" y="350"/>
                  <a:pt x="264" y="350"/>
                  <a:pt x="264" y="350"/>
                </a:cubicBezTo>
                <a:cubicBezTo>
                  <a:pt x="132" y="10"/>
                  <a:pt x="132" y="10"/>
                  <a:pt x="132" y="10"/>
                </a:cubicBezTo>
                <a:cubicBezTo>
                  <a:pt x="18" y="10"/>
                  <a:pt x="18" y="10"/>
                  <a:pt x="18" y="10"/>
                </a:cubicBezTo>
                <a:cubicBezTo>
                  <a:pt x="18" y="22"/>
                  <a:pt x="18" y="22"/>
                  <a:pt x="18" y="22"/>
                </a:cubicBezTo>
                <a:cubicBezTo>
                  <a:pt x="40" y="26"/>
                  <a:pt x="74" y="32"/>
                  <a:pt x="72" y="84"/>
                </a:cubicBezTo>
                <a:cubicBezTo>
                  <a:pt x="58" y="352"/>
                  <a:pt x="58" y="352"/>
                  <a:pt x="58" y="352"/>
                </a:cubicBezTo>
                <a:cubicBezTo>
                  <a:pt x="54" y="410"/>
                  <a:pt x="38" y="430"/>
                  <a:pt x="0" y="436"/>
                </a:cubicBezTo>
                <a:cubicBezTo>
                  <a:pt x="0" y="448"/>
                  <a:pt x="0" y="448"/>
                  <a:pt x="0" y="448"/>
                </a:cubicBezTo>
                <a:cubicBezTo>
                  <a:pt x="140" y="448"/>
                  <a:pt x="140" y="448"/>
                  <a:pt x="140" y="448"/>
                </a:cubicBezTo>
                <a:cubicBezTo>
                  <a:pt x="140" y="436"/>
                  <a:pt x="140" y="436"/>
                  <a:pt x="140" y="436"/>
                </a:cubicBezTo>
                <a:cubicBezTo>
                  <a:pt x="98" y="428"/>
                  <a:pt x="84" y="414"/>
                  <a:pt x="88" y="356"/>
                </a:cubicBezTo>
                <a:cubicBezTo>
                  <a:pt x="100" y="86"/>
                  <a:pt x="100" y="86"/>
                  <a:pt x="100" y="86"/>
                </a:cubicBezTo>
                <a:cubicBezTo>
                  <a:pt x="240" y="444"/>
                  <a:pt x="240" y="444"/>
                  <a:pt x="240" y="444"/>
                </a:cubicBezTo>
                <a:cubicBezTo>
                  <a:pt x="258" y="444"/>
                  <a:pt x="258" y="444"/>
                  <a:pt x="258" y="444"/>
                </a:cubicBezTo>
                <a:cubicBezTo>
                  <a:pt x="396" y="86"/>
                  <a:pt x="396" y="86"/>
                  <a:pt x="396" y="86"/>
                </a:cubicBezTo>
                <a:cubicBezTo>
                  <a:pt x="408" y="372"/>
                  <a:pt x="408" y="372"/>
                  <a:pt x="408" y="372"/>
                </a:cubicBezTo>
                <a:cubicBezTo>
                  <a:pt x="410" y="416"/>
                  <a:pt x="398" y="430"/>
                  <a:pt x="366" y="434"/>
                </a:cubicBezTo>
                <a:lnTo>
                  <a:pt x="366" y="448"/>
                </a:lnTo>
                <a:close/>
                <a:moveTo>
                  <a:pt x="670" y="456"/>
                </a:moveTo>
                <a:cubicBezTo>
                  <a:pt x="708" y="456"/>
                  <a:pt x="756" y="440"/>
                  <a:pt x="782" y="412"/>
                </a:cubicBezTo>
                <a:cubicBezTo>
                  <a:pt x="776" y="400"/>
                  <a:pt x="776" y="400"/>
                  <a:pt x="776" y="400"/>
                </a:cubicBezTo>
                <a:cubicBezTo>
                  <a:pt x="750" y="416"/>
                  <a:pt x="722" y="422"/>
                  <a:pt x="696" y="422"/>
                </a:cubicBezTo>
                <a:cubicBezTo>
                  <a:pt x="620" y="422"/>
                  <a:pt x="592" y="358"/>
                  <a:pt x="592" y="290"/>
                </a:cubicBezTo>
                <a:cubicBezTo>
                  <a:pt x="592" y="258"/>
                  <a:pt x="600" y="236"/>
                  <a:pt x="614" y="222"/>
                </a:cubicBezTo>
                <a:cubicBezTo>
                  <a:pt x="626" y="210"/>
                  <a:pt x="646" y="204"/>
                  <a:pt x="664" y="204"/>
                </a:cubicBezTo>
                <a:cubicBezTo>
                  <a:pt x="690" y="204"/>
                  <a:pt x="722" y="214"/>
                  <a:pt x="744" y="244"/>
                </a:cubicBezTo>
                <a:cubicBezTo>
                  <a:pt x="750" y="244"/>
                  <a:pt x="750" y="244"/>
                  <a:pt x="750" y="244"/>
                </a:cubicBezTo>
                <a:cubicBezTo>
                  <a:pt x="758" y="234"/>
                  <a:pt x="766" y="212"/>
                  <a:pt x="768" y="196"/>
                </a:cubicBezTo>
                <a:cubicBezTo>
                  <a:pt x="748" y="180"/>
                  <a:pt x="720" y="172"/>
                  <a:pt x="686" y="172"/>
                </a:cubicBezTo>
                <a:cubicBezTo>
                  <a:pt x="604" y="172"/>
                  <a:pt x="544" y="246"/>
                  <a:pt x="544" y="326"/>
                </a:cubicBezTo>
                <a:cubicBezTo>
                  <a:pt x="540" y="390"/>
                  <a:pt x="576" y="456"/>
                  <a:pt x="670" y="456"/>
                </a:cubicBezTo>
                <a:moveTo>
                  <a:pt x="1272" y="98"/>
                </a:moveTo>
                <a:cubicBezTo>
                  <a:pt x="1292" y="98"/>
                  <a:pt x="1308" y="82"/>
                  <a:pt x="1308" y="62"/>
                </a:cubicBezTo>
                <a:cubicBezTo>
                  <a:pt x="1308" y="42"/>
                  <a:pt x="1292" y="26"/>
                  <a:pt x="1272" y="26"/>
                </a:cubicBezTo>
                <a:cubicBezTo>
                  <a:pt x="1252" y="26"/>
                  <a:pt x="1238" y="42"/>
                  <a:pt x="1238" y="62"/>
                </a:cubicBezTo>
                <a:cubicBezTo>
                  <a:pt x="1238" y="82"/>
                  <a:pt x="1252" y="98"/>
                  <a:pt x="1272" y="98"/>
                </a:cubicBezTo>
                <a:moveTo>
                  <a:pt x="1202" y="448"/>
                </a:moveTo>
                <a:cubicBezTo>
                  <a:pt x="1346" y="448"/>
                  <a:pt x="1346" y="448"/>
                  <a:pt x="1346" y="448"/>
                </a:cubicBezTo>
                <a:cubicBezTo>
                  <a:pt x="1346" y="436"/>
                  <a:pt x="1346" y="436"/>
                  <a:pt x="1346" y="436"/>
                </a:cubicBezTo>
                <a:cubicBezTo>
                  <a:pt x="1304" y="432"/>
                  <a:pt x="1302" y="434"/>
                  <a:pt x="1302" y="338"/>
                </a:cubicBezTo>
                <a:cubicBezTo>
                  <a:pt x="1302" y="176"/>
                  <a:pt x="1302" y="176"/>
                  <a:pt x="1302" y="176"/>
                </a:cubicBezTo>
                <a:cubicBezTo>
                  <a:pt x="1200" y="176"/>
                  <a:pt x="1200" y="176"/>
                  <a:pt x="1200" y="176"/>
                </a:cubicBezTo>
                <a:cubicBezTo>
                  <a:pt x="1200" y="188"/>
                  <a:pt x="1200" y="188"/>
                  <a:pt x="1200" y="188"/>
                </a:cubicBezTo>
                <a:cubicBezTo>
                  <a:pt x="1244" y="190"/>
                  <a:pt x="1250" y="192"/>
                  <a:pt x="1250" y="268"/>
                </a:cubicBezTo>
                <a:cubicBezTo>
                  <a:pt x="1250" y="336"/>
                  <a:pt x="1250" y="336"/>
                  <a:pt x="1250" y="336"/>
                </a:cubicBezTo>
                <a:cubicBezTo>
                  <a:pt x="1250" y="432"/>
                  <a:pt x="1248" y="432"/>
                  <a:pt x="1202" y="436"/>
                </a:cubicBezTo>
                <a:cubicBezTo>
                  <a:pt x="1178" y="434"/>
                  <a:pt x="1154" y="426"/>
                  <a:pt x="1076" y="338"/>
                </a:cubicBezTo>
                <a:cubicBezTo>
                  <a:pt x="1046" y="302"/>
                  <a:pt x="996" y="244"/>
                  <a:pt x="968" y="206"/>
                </a:cubicBezTo>
                <a:cubicBezTo>
                  <a:pt x="1062" y="102"/>
                  <a:pt x="1062" y="102"/>
                  <a:pt x="1062" y="102"/>
                </a:cubicBezTo>
                <a:cubicBezTo>
                  <a:pt x="1108" y="52"/>
                  <a:pt x="1132" y="26"/>
                  <a:pt x="1176" y="24"/>
                </a:cubicBezTo>
                <a:cubicBezTo>
                  <a:pt x="1176" y="10"/>
                  <a:pt x="1176" y="10"/>
                  <a:pt x="1176" y="10"/>
                </a:cubicBezTo>
                <a:cubicBezTo>
                  <a:pt x="1030" y="10"/>
                  <a:pt x="1030" y="10"/>
                  <a:pt x="1030" y="10"/>
                </a:cubicBezTo>
                <a:cubicBezTo>
                  <a:pt x="1030" y="22"/>
                  <a:pt x="1030" y="22"/>
                  <a:pt x="1030" y="22"/>
                </a:cubicBezTo>
                <a:cubicBezTo>
                  <a:pt x="1050" y="26"/>
                  <a:pt x="1056" y="32"/>
                  <a:pt x="1056" y="46"/>
                </a:cubicBezTo>
                <a:cubicBezTo>
                  <a:pt x="1056" y="56"/>
                  <a:pt x="1054" y="72"/>
                  <a:pt x="1026" y="102"/>
                </a:cubicBezTo>
                <a:cubicBezTo>
                  <a:pt x="910" y="230"/>
                  <a:pt x="910" y="230"/>
                  <a:pt x="910" y="230"/>
                </a:cubicBezTo>
                <a:cubicBezTo>
                  <a:pt x="910" y="148"/>
                  <a:pt x="910" y="148"/>
                  <a:pt x="910" y="148"/>
                </a:cubicBezTo>
                <a:cubicBezTo>
                  <a:pt x="910" y="36"/>
                  <a:pt x="916" y="28"/>
                  <a:pt x="960" y="22"/>
                </a:cubicBezTo>
                <a:cubicBezTo>
                  <a:pt x="960" y="8"/>
                  <a:pt x="960" y="8"/>
                  <a:pt x="960" y="8"/>
                </a:cubicBezTo>
                <a:cubicBezTo>
                  <a:pt x="804" y="8"/>
                  <a:pt x="804" y="8"/>
                  <a:pt x="804" y="8"/>
                </a:cubicBezTo>
                <a:cubicBezTo>
                  <a:pt x="804" y="22"/>
                  <a:pt x="804" y="22"/>
                  <a:pt x="804" y="22"/>
                </a:cubicBezTo>
                <a:cubicBezTo>
                  <a:pt x="852" y="26"/>
                  <a:pt x="854" y="36"/>
                  <a:pt x="854" y="148"/>
                </a:cubicBezTo>
                <a:cubicBezTo>
                  <a:pt x="854" y="300"/>
                  <a:pt x="854" y="300"/>
                  <a:pt x="854" y="300"/>
                </a:cubicBezTo>
                <a:cubicBezTo>
                  <a:pt x="854" y="422"/>
                  <a:pt x="850" y="430"/>
                  <a:pt x="804" y="434"/>
                </a:cubicBezTo>
                <a:cubicBezTo>
                  <a:pt x="804" y="446"/>
                  <a:pt x="804" y="446"/>
                  <a:pt x="804" y="446"/>
                </a:cubicBezTo>
                <a:cubicBezTo>
                  <a:pt x="960" y="446"/>
                  <a:pt x="960" y="446"/>
                  <a:pt x="960" y="446"/>
                </a:cubicBezTo>
                <a:cubicBezTo>
                  <a:pt x="960" y="434"/>
                  <a:pt x="960" y="434"/>
                  <a:pt x="960" y="434"/>
                </a:cubicBezTo>
                <a:cubicBezTo>
                  <a:pt x="910" y="428"/>
                  <a:pt x="910" y="424"/>
                  <a:pt x="910" y="292"/>
                </a:cubicBezTo>
                <a:cubicBezTo>
                  <a:pt x="910" y="268"/>
                  <a:pt x="910" y="268"/>
                  <a:pt x="910" y="268"/>
                </a:cubicBezTo>
                <a:cubicBezTo>
                  <a:pt x="930" y="246"/>
                  <a:pt x="930" y="246"/>
                  <a:pt x="930" y="246"/>
                </a:cubicBezTo>
                <a:cubicBezTo>
                  <a:pt x="982" y="310"/>
                  <a:pt x="1038" y="380"/>
                  <a:pt x="1098" y="448"/>
                </a:cubicBezTo>
                <a:cubicBezTo>
                  <a:pt x="1202" y="448"/>
                  <a:pt x="1202" y="448"/>
                  <a:pt x="1202" y="448"/>
                </a:cubicBezTo>
                <a:close/>
                <a:moveTo>
                  <a:pt x="1564" y="448"/>
                </a:moveTo>
                <a:cubicBezTo>
                  <a:pt x="1706" y="448"/>
                  <a:pt x="1706" y="448"/>
                  <a:pt x="1706" y="448"/>
                </a:cubicBezTo>
                <a:cubicBezTo>
                  <a:pt x="1706" y="436"/>
                  <a:pt x="1706" y="436"/>
                  <a:pt x="1706" y="436"/>
                </a:cubicBezTo>
                <a:cubicBezTo>
                  <a:pt x="1658" y="434"/>
                  <a:pt x="1658" y="432"/>
                  <a:pt x="1658" y="342"/>
                </a:cubicBezTo>
                <a:cubicBezTo>
                  <a:pt x="1658" y="280"/>
                  <a:pt x="1658" y="280"/>
                  <a:pt x="1658" y="280"/>
                </a:cubicBezTo>
                <a:cubicBezTo>
                  <a:pt x="1658" y="198"/>
                  <a:pt x="1612" y="172"/>
                  <a:pt x="1570" y="172"/>
                </a:cubicBezTo>
                <a:cubicBezTo>
                  <a:pt x="1534" y="172"/>
                  <a:pt x="1498" y="188"/>
                  <a:pt x="1470" y="224"/>
                </a:cubicBezTo>
                <a:cubicBezTo>
                  <a:pt x="1470" y="176"/>
                  <a:pt x="1470" y="176"/>
                  <a:pt x="1470" y="176"/>
                </a:cubicBezTo>
                <a:cubicBezTo>
                  <a:pt x="1368" y="176"/>
                  <a:pt x="1368" y="176"/>
                  <a:pt x="1368" y="176"/>
                </a:cubicBezTo>
                <a:cubicBezTo>
                  <a:pt x="1368" y="188"/>
                  <a:pt x="1368" y="188"/>
                  <a:pt x="1368" y="188"/>
                </a:cubicBezTo>
                <a:cubicBezTo>
                  <a:pt x="1412" y="190"/>
                  <a:pt x="1418" y="192"/>
                  <a:pt x="1418" y="268"/>
                </a:cubicBezTo>
                <a:cubicBezTo>
                  <a:pt x="1418" y="336"/>
                  <a:pt x="1418" y="336"/>
                  <a:pt x="1418" y="336"/>
                </a:cubicBezTo>
                <a:cubicBezTo>
                  <a:pt x="1418" y="434"/>
                  <a:pt x="1418" y="434"/>
                  <a:pt x="1370" y="436"/>
                </a:cubicBezTo>
                <a:cubicBezTo>
                  <a:pt x="1370" y="448"/>
                  <a:pt x="1370" y="448"/>
                  <a:pt x="1370" y="448"/>
                </a:cubicBezTo>
                <a:cubicBezTo>
                  <a:pt x="1514" y="448"/>
                  <a:pt x="1514" y="448"/>
                  <a:pt x="1514" y="448"/>
                </a:cubicBezTo>
                <a:cubicBezTo>
                  <a:pt x="1514" y="436"/>
                  <a:pt x="1514" y="436"/>
                  <a:pt x="1514" y="436"/>
                </a:cubicBezTo>
                <a:cubicBezTo>
                  <a:pt x="1472" y="432"/>
                  <a:pt x="1470" y="434"/>
                  <a:pt x="1470" y="338"/>
                </a:cubicBezTo>
                <a:cubicBezTo>
                  <a:pt x="1470" y="262"/>
                  <a:pt x="1470" y="262"/>
                  <a:pt x="1470" y="262"/>
                </a:cubicBezTo>
                <a:cubicBezTo>
                  <a:pt x="1470" y="236"/>
                  <a:pt x="1504" y="206"/>
                  <a:pt x="1546" y="206"/>
                </a:cubicBezTo>
                <a:cubicBezTo>
                  <a:pt x="1580" y="206"/>
                  <a:pt x="1606" y="220"/>
                  <a:pt x="1606" y="286"/>
                </a:cubicBezTo>
                <a:cubicBezTo>
                  <a:pt x="1606" y="340"/>
                  <a:pt x="1606" y="340"/>
                  <a:pt x="1606" y="340"/>
                </a:cubicBezTo>
                <a:cubicBezTo>
                  <a:pt x="1606" y="432"/>
                  <a:pt x="1602" y="432"/>
                  <a:pt x="1564" y="434"/>
                </a:cubicBezTo>
                <a:lnTo>
                  <a:pt x="1564" y="448"/>
                </a:lnTo>
                <a:close/>
                <a:moveTo>
                  <a:pt x="1776" y="222"/>
                </a:moveTo>
                <a:cubicBezTo>
                  <a:pt x="1776" y="200"/>
                  <a:pt x="1796" y="188"/>
                  <a:pt x="1822" y="188"/>
                </a:cubicBezTo>
                <a:cubicBezTo>
                  <a:pt x="1874" y="188"/>
                  <a:pt x="1896" y="236"/>
                  <a:pt x="1900" y="252"/>
                </a:cubicBezTo>
                <a:cubicBezTo>
                  <a:pt x="1912" y="252"/>
                  <a:pt x="1912" y="252"/>
                  <a:pt x="1912" y="252"/>
                </a:cubicBezTo>
                <a:cubicBezTo>
                  <a:pt x="1912" y="212"/>
                  <a:pt x="1908" y="188"/>
                  <a:pt x="1904" y="184"/>
                </a:cubicBezTo>
                <a:cubicBezTo>
                  <a:pt x="1900" y="180"/>
                  <a:pt x="1862" y="170"/>
                  <a:pt x="1824" y="170"/>
                </a:cubicBezTo>
                <a:cubicBezTo>
                  <a:pt x="1768" y="170"/>
                  <a:pt x="1734" y="206"/>
                  <a:pt x="1734" y="248"/>
                </a:cubicBezTo>
                <a:cubicBezTo>
                  <a:pt x="1734" y="340"/>
                  <a:pt x="1890" y="322"/>
                  <a:pt x="1890" y="396"/>
                </a:cubicBezTo>
                <a:cubicBezTo>
                  <a:pt x="1890" y="422"/>
                  <a:pt x="1866" y="436"/>
                  <a:pt x="1826" y="436"/>
                </a:cubicBezTo>
                <a:cubicBezTo>
                  <a:pt x="1788" y="436"/>
                  <a:pt x="1754" y="416"/>
                  <a:pt x="1744" y="366"/>
                </a:cubicBezTo>
                <a:cubicBezTo>
                  <a:pt x="1728" y="366"/>
                  <a:pt x="1728" y="366"/>
                  <a:pt x="1728" y="366"/>
                </a:cubicBezTo>
                <a:cubicBezTo>
                  <a:pt x="1728" y="386"/>
                  <a:pt x="1732" y="422"/>
                  <a:pt x="1734" y="428"/>
                </a:cubicBezTo>
                <a:cubicBezTo>
                  <a:pt x="1744" y="446"/>
                  <a:pt x="1788" y="454"/>
                  <a:pt x="1824" y="454"/>
                </a:cubicBezTo>
                <a:cubicBezTo>
                  <a:pt x="1888" y="454"/>
                  <a:pt x="1928" y="416"/>
                  <a:pt x="1928" y="372"/>
                </a:cubicBezTo>
                <a:cubicBezTo>
                  <a:pt x="1932" y="270"/>
                  <a:pt x="1776" y="286"/>
                  <a:pt x="1776" y="222"/>
                </a:cubicBezTo>
                <a:moveTo>
                  <a:pt x="2030" y="270"/>
                </a:moveTo>
                <a:cubicBezTo>
                  <a:pt x="2034" y="220"/>
                  <a:pt x="2058" y="192"/>
                  <a:pt x="2102" y="192"/>
                </a:cubicBezTo>
                <a:cubicBezTo>
                  <a:pt x="2144" y="192"/>
                  <a:pt x="2170" y="220"/>
                  <a:pt x="2172" y="270"/>
                </a:cubicBezTo>
                <a:lnTo>
                  <a:pt x="2030" y="270"/>
                </a:lnTo>
                <a:close/>
                <a:moveTo>
                  <a:pt x="2030" y="290"/>
                </a:moveTo>
                <a:cubicBezTo>
                  <a:pt x="2222" y="290"/>
                  <a:pt x="2222" y="290"/>
                  <a:pt x="2222" y="290"/>
                </a:cubicBezTo>
                <a:cubicBezTo>
                  <a:pt x="2226" y="228"/>
                  <a:pt x="2192" y="168"/>
                  <a:pt x="2114" y="168"/>
                </a:cubicBezTo>
                <a:cubicBezTo>
                  <a:pt x="2034" y="168"/>
                  <a:pt x="1982" y="232"/>
                  <a:pt x="1982" y="320"/>
                </a:cubicBezTo>
                <a:cubicBezTo>
                  <a:pt x="1982" y="388"/>
                  <a:pt x="2018" y="456"/>
                  <a:pt x="2112" y="456"/>
                </a:cubicBezTo>
                <a:cubicBezTo>
                  <a:pt x="2150" y="456"/>
                  <a:pt x="2198" y="440"/>
                  <a:pt x="2224" y="412"/>
                </a:cubicBezTo>
                <a:cubicBezTo>
                  <a:pt x="2218" y="400"/>
                  <a:pt x="2218" y="400"/>
                  <a:pt x="2218" y="400"/>
                </a:cubicBezTo>
                <a:cubicBezTo>
                  <a:pt x="2192" y="416"/>
                  <a:pt x="2164" y="422"/>
                  <a:pt x="2138" y="422"/>
                </a:cubicBezTo>
                <a:cubicBezTo>
                  <a:pt x="2058" y="420"/>
                  <a:pt x="2028" y="352"/>
                  <a:pt x="2030" y="290"/>
                </a:cubicBezTo>
                <a:moveTo>
                  <a:pt x="2478" y="242"/>
                </a:moveTo>
                <a:cubicBezTo>
                  <a:pt x="2490" y="206"/>
                  <a:pt x="2510" y="192"/>
                  <a:pt x="2528" y="192"/>
                </a:cubicBezTo>
                <a:cubicBezTo>
                  <a:pt x="2528" y="180"/>
                  <a:pt x="2528" y="180"/>
                  <a:pt x="2528" y="180"/>
                </a:cubicBezTo>
                <a:cubicBezTo>
                  <a:pt x="2430" y="180"/>
                  <a:pt x="2430" y="180"/>
                  <a:pt x="2430" y="180"/>
                </a:cubicBezTo>
                <a:cubicBezTo>
                  <a:pt x="2430" y="192"/>
                  <a:pt x="2430" y="192"/>
                  <a:pt x="2430" y="192"/>
                </a:cubicBezTo>
                <a:cubicBezTo>
                  <a:pt x="2454" y="194"/>
                  <a:pt x="2466" y="206"/>
                  <a:pt x="2458" y="234"/>
                </a:cubicBezTo>
                <a:cubicBezTo>
                  <a:pt x="2406" y="390"/>
                  <a:pt x="2406" y="390"/>
                  <a:pt x="2406" y="390"/>
                </a:cubicBezTo>
                <a:cubicBezTo>
                  <a:pt x="2354" y="270"/>
                  <a:pt x="2354" y="270"/>
                  <a:pt x="2354" y="270"/>
                </a:cubicBezTo>
                <a:cubicBezTo>
                  <a:pt x="2340" y="238"/>
                  <a:pt x="2334" y="224"/>
                  <a:pt x="2334" y="212"/>
                </a:cubicBezTo>
                <a:cubicBezTo>
                  <a:pt x="2334" y="202"/>
                  <a:pt x="2340" y="196"/>
                  <a:pt x="2360" y="192"/>
                </a:cubicBezTo>
                <a:cubicBezTo>
                  <a:pt x="2360" y="180"/>
                  <a:pt x="2360" y="180"/>
                  <a:pt x="2360" y="180"/>
                </a:cubicBezTo>
                <a:cubicBezTo>
                  <a:pt x="2234" y="180"/>
                  <a:pt x="2234" y="180"/>
                  <a:pt x="2234" y="180"/>
                </a:cubicBezTo>
                <a:cubicBezTo>
                  <a:pt x="2234" y="192"/>
                  <a:pt x="2234" y="192"/>
                  <a:pt x="2234" y="192"/>
                </a:cubicBezTo>
                <a:cubicBezTo>
                  <a:pt x="2266" y="194"/>
                  <a:pt x="2268" y="198"/>
                  <a:pt x="2310" y="292"/>
                </a:cubicBezTo>
                <a:cubicBezTo>
                  <a:pt x="2382" y="450"/>
                  <a:pt x="2382" y="450"/>
                  <a:pt x="2382" y="450"/>
                </a:cubicBezTo>
                <a:cubicBezTo>
                  <a:pt x="2358" y="512"/>
                  <a:pt x="2320" y="546"/>
                  <a:pt x="2242" y="564"/>
                </a:cubicBezTo>
                <a:cubicBezTo>
                  <a:pt x="2246" y="576"/>
                  <a:pt x="2260" y="600"/>
                  <a:pt x="2268" y="606"/>
                </a:cubicBezTo>
                <a:cubicBezTo>
                  <a:pt x="2370" y="564"/>
                  <a:pt x="2390" y="498"/>
                  <a:pt x="2426" y="396"/>
                </a:cubicBezTo>
                <a:lnTo>
                  <a:pt x="2478" y="242"/>
                </a:lnTo>
                <a:close/>
                <a:moveTo>
                  <a:pt x="2844" y="394"/>
                </a:moveTo>
                <a:cubicBezTo>
                  <a:pt x="2822" y="412"/>
                  <a:pt x="2782" y="416"/>
                  <a:pt x="2750" y="416"/>
                </a:cubicBezTo>
                <a:cubicBezTo>
                  <a:pt x="2670" y="416"/>
                  <a:pt x="2606" y="360"/>
                  <a:pt x="2606" y="284"/>
                </a:cubicBezTo>
                <a:cubicBezTo>
                  <a:pt x="2606" y="236"/>
                  <a:pt x="2626" y="206"/>
                  <a:pt x="2658" y="198"/>
                </a:cubicBezTo>
                <a:cubicBezTo>
                  <a:pt x="2698" y="266"/>
                  <a:pt x="2770" y="338"/>
                  <a:pt x="2844" y="394"/>
                </a:cubicBezTo>
                <a:moveTo>
                  <a:pt x="2928" y="448"/>
                </a:moveTo>
                <a:cubicBezTo>
                  <a:pt x="3022" y="448"/>
                  <a:pt x="3022" y="448"/>
                  <a:pt x="3022" y="448"/>
                </a:cubicBezTo>
                <a:cubicBezTo>
                  <a:pt x="3022" y="436"/>
                  <a:pt x="3022" y="436"/>
                  <a:pt x="3022" y="436"/>
                </a:cubicBezTo>
                <a:cubicBezTo>
                  <a:pt x="2992" y="432"/>
                  <a:pt x="2946" y="408"/>
                  <a:pt x="2896" y="372"/>
                </a:cubicBezTo>
                <a:cubicBezTo>
                  <a:pt x="2914" y="342"/>
                  <a:pt x="2918" y="300"/>
                  <a:pt x="2922" y="270"/>
                </a:cubicBezTo>
                <a:cubicBezTo>
                  <a:pt x="2926" y="244"/>
                  <a:pt x="2946" y="244"/>
                  <a:pt x="2958" y="242"/>
                </a:cubicBezTo>
                <a:cubicBezTo>
                  <a:pt x="2958" y="230"/>
                  <a:pt x="2958" y="230"/>
                  <a:pt x="2958" y="230"/>
                </a:cubicBezTo>
                <a:cubicBezTo>
                  <a:pt x="2834" y="230"/>
                  <a:pt x="2834" y="230"/>
                  <a:pt x="2834" y="230"/>
                </a:cubicBezTo>
                <a:cubicBezTo>
                  <a:pt x="2834" y="242"/>
                  <a:pt x="2834" y="242"/>
                  <a:pt x="2834" y="242"/>
                </a:cubicBezTo>
                <a:cubicBezTo>
                  <a:pt x="2864" y="246"/>
                  <a:pt x="2892" y="250"/>
                  <a:pt x="2892" y="294"/>
                </a:cubicBezTo>
                <a:cubicBezTo>
                  <a:pt x="2892" y="318"/>
                  <a:pt x="2888" y="342"/>
                  <a:pt x="2878" y="358"/>
                </a:cubicBezTo>
                <a:cubicBezTo>
                  <a:pt x="2770" y="274"/>
                  <a:pt x="2670" y="156"/>
                  <a:pt x="2670" y="96"/>
                </a:cubicBezTo>
                <a:cubicBezTo>
                  <a:pt x="2670" y="66"/>
                  <a:pt x="2688" y="54"/>
                  <a:pt x="2716" y="54"/>
                </a:cubicBezTo>
                <a:cubicBezTo>
                  <a:pt x="2752" y="54"/>
                  <a:pt x="2784" y="78"/>
                  <a:pt x="2800" y="124"/>
                </a:cubicBezTo>
                <a:cubicBezTo>
                  <a:pt x="2812" y="124"/>
                  <a:pt x="2812" y="124"/>
                  <a:pt x="2812" y="124"/>
                </a:cubicBezTo>
                <a:cubicBezTo>
                  <a:pt x="2810" y="42"/>
                  <a:pt x="2810" y="42"/>
                  <a:pt x="2810" y="42"/>
                </a:cubicBezTo>
                <a:cubicBezTo>
                  <a:pt x="2798" y="42"/>
                  <a:pt x="2798" y="42"/>
                  <a:pt x="2798" y="42"/>
                </a:cubicBezTo>
                <a:cubicBezTo>
                  <a:pt x="2798" y="48"/>
                  <a:pt x="2792" y="52"/>
                  <a:pt x="2788" y="52"/>
                </a:cubicBezTo>
                <a:cubicBezTo>
                  <a:pt x="2772" y="52"/>
                  <a:pt x="2752" y="36"/>
                  <a:pt x="2714" y="36"/>
                </a:cubicBezTo>
                <a:cubicBezTo>
                  <a:pt x="2672" y="36"/>
                  <a:pt x="2630" y="62"/>
                  <a:pt x="2630" y="118"/>
                </a:cubicBezTo>
                <a:cubicBezTo>
                  <a:pt x="2630" y="140"/>
                  <a:pt x="2636" y="160"/>
                  <a:pt x="2648" y="182"/>
                </a:cubicBezTo>
                <a:cubicBezTo>
                  <a:pt x="2592" y="200"/>
                  <a:pt x="2562" y="248"/>
                  <a:pt x="2562" y="304"/>
                </a:cubicBezTo>
                <a:cubicBezTo>
                  <a:pt x="2562" y="406"/>
                  <a:pt x="2640" y="460"/>
                  <a:pt x="2726" y="460"/>
                </a:cubicBezTo>
                <a:cubicBezTo>
                  <a:pt x="2780" y="460"/>
                  <a:pt x="2824" y="444"/>
                  <a:pt x="2862" y="410"/>
                </a:cubicBezTo>
                <a:cubicBezTo>
                  <a:pt x="2888" y="424"/>
                  <a:pt x="2912" y="442"/>
                  <a:pt x="2928" y="448"/>
                </a:cubicBezTo>
                <a:moveTo>
                  <a:pt x="3094" y="212"/>
                </a:moveTo>
                <a:cubicBezTo>
                  <a:pt x="3094" y="88"/>
                  <a:pt x="3154" y="20"/>
                  <a:pt x="3252" y="20"/>
                </a:cubicBezTo>
                <a:cubicBezTo>
                  <a:pt x="3328" y="20"/>
                  <a:pt x="3372" y="58"/>
                  <a:pt x="3392" y="134"/>
                </a:cubicBezTo>
                <a:cubicBezTo>
                  <a:pt x="3404" y="134"/>
                  <a:pt x="3404" y="134"/>
                  <a:pt x="3404" y="134"/>
                </a:cubicBezTo>
                <a:cubicBezTo>
                  <a:pt x="3400" y="4"/>
                  <a:pt x="3400" y="4"/>
                  <a:pt x="3400" y="4"/>
                </a:cubicBezTo>
                <a:cubicBezTo>
                  <a:pt x="3388" y="4"/>
                  <a:pt x="3388" y="4"/>
                  <a:pt x="3388" y="4"/>
                </a:cubicBezTo>
                <a:cubicBezTo>
                  <a:pt x="3384" y="14"/>
                  <a:pt x="3376" y="18"/>
                  <a:pt x="3364" y="18"/>
                </a:cubicBezTo>
                <a:cubicBezTo>
                  <a:pt x="3338" y="18"/>
                  <a:pt x="3314" y="0"/>
                  <a:pt x="3248" y="0"/>
                </a:cubicBezTo>
                <a:cubicBezTo>
                  <a:pt x="3118" y="0"/>
                  <a:pt x="3030" y="102"/>
                  <a:pt x="3030" y="242"/>
                </a:cubicBezTo>
                <a:cubicBezTo>
                  <a:pt x="3030" y="376"/>
                  <a:pt x="3110" y="460"/>
                  <a:pt x="3238" y="460"/>
                </a:cubicBezTo>
                <a:cubicBezTo>
                  <a:pt x="3320" y="460"/>
                  <a:pt x="3384" y="420"/>
                  <a:pt x="3408" y="380"/>
                </a:cubicBezTo>
                <a:cubicBezTo>
                  <a:pt x="3396" y="366"/>
                  <a:pt x="3396" y="366"/>
                  <a:pt x="3396" y="366"/>
                </a:cubicBezTo>
                <a:cubicBezTo>
                  <a:pt x="3370" y="402"/>
                  <a:pt x="3314" y="426"/>
                  <a:pt x="3256" y="426"/>
                </a:cubicBezTo>
                <a:cubicBezTo>
                  <a:pt x="3156" y="426"/>
                  <a:pt x="3094" y="340"/>
                  <a:pt x="3094" y="212"/>
                </a:cubicBezTo>
                <a:moveTo>
                  <a:pt x="3678" y="328"/>
                </a:moveTo>
                <a:cubicBezTo>
                  <a:pt x="3678" y="392"/>
                  <a:pt x="3650" y="430"/>
                  <a:pt x="3592" y="430"/>
                </a:cubicBezTo>
                <a:cubicBezTo>
                  <a:pt x="3542" y="430"/>
                  <a:pt x="3496" y="384"/>
                  <a:pt x="3496" y="292"/>
                </a:cubicBezTo>
                <a:cubicBezTo>
                  <a:pt x="3496" y="226"/>
                  <a:pt x="3528" y="190"/>
                  <a:pt x="3580" y="190"/>
                </a:cubicBezTo>
                <a:cubicBezTo>
                  <a:pt x="3628" y="192"/>
                  <a:pt x="3678" y="238"/>
                  <a:pt x="3678" y="328"/>
                </a:cubicBezTo>
                <a:moveTo>
                  <a:pt x="3732" y="312"/>
                </a:moveTo>
                <a:cubicBezTo>
                  <a:pt x="3732" y="260"/>
                  <a:pt x="3710" y="214"/>
                  <a:pt x="3672" y="190"/>
                </a:cubicBezTo>
                <a:cubicBezTo>
                  <a:pt x="3650" y="176"/>
                  <a:pt x="3620" y="168"/>
                  <a:pt x="3588" y="168"/>
                </a:cubicBezTo>
                <a:cubicBezTo>
                  <a:pt x="3502" y="168"/>
                  <a:pt x="3442" y="230"/>
                  <a:pt x="3442" y="310"/>
                </a:cubicBezTo>
                <a:cubicBezTo>
                  <a:pt x="3442" y="364"/>
                  <a:pt x="3464" y="408"/>
                  <a:pt x="3502" y="432"/>
                </a:cubicBezTo>
                <a:cubicBezTo>
                  <a:pt x="3524" y="446"/>
                  <a:pt x="3554" y="452"/>
                  <a:pt x="3586" y="452"/>
                </a:cubicBezTo>
                <a:cubicBezTo>
                  <a:pt x="3672" y="454"/>
                  <a:pt x="3732" y="394"/>
                  <a:pt x="3732" y="312"/>
                </a:cubicBezTo>
                <a:moveTo>
                  <a:pt x="4136" y="448"/>
                </a:moveTo>
                <a:cubicBezTo>
                  <a:pt x="4280" y="448"/>
                  <a:pt x="4280" y="448"/>
                  <a:pt x="4280" y="448"/>
                </a:cubicBezTo>
                <a:cubicBezTo>
                  <a:pt x="4280" y="436"/>
                  <a:pt x="4280" y="436"/>
                  <a:pt x="4280" y="436"/>
                </a:cubicBezTo>
                <a:cubicBezTo>
                  <a:pt x="4230" y="434"/>
                  <a:pt x="4232" y="426"/>
                  <a:pt x="4232" y="348"/>
                </a:cubicBezTo>
                <a:cubicBezTo>
                  <a:pt x="4232" y="276"/>
                  <a:pt x="4232" y="276"/>
                  <a:pt x="4232" y="276"/>
                </a:cubicBezTo>
                <a:cubicBezTo>
                  <a:pt x="4232" y="200"/>
                  <a:pt x="4190" y="172"/>
                  <a:pt x="4142" y="172"/>
                </a:cubicBezTo>
                <a:cubicBezTo>
                  <a:pt x="4098" y="172"/>
                  <a:pt x="4064" y="196"/>
                  <a:pt x="4038" y="232"/>
                </a:cubicBezTo>
                <a:cubicBezTo>
                  <a:pt x="4028" y="194"/>
                  <a:pt x="4000" y="172"/>
                  <a:pt x="3954" y="172"/>
                </a:cubicBezTo>
                <a:cubicBezTo>
                  <a:pt x="3916" y="172"/>
                  <a:pt x="3880" y="196"/>
                  <a:pt x="3858" y="224"/>
                </a:cubicBezTo>
                <a:cubicBezTo>
                  <a:pt x="3858" y="176"/>
                  <a:pt x="3858" y="176"/>
                  <a:pt x="3858" y="176"/>
                </a:cubicBezTo>
                <a:cubicBezTo>
                  <a:pt x="3756" y="176"/>
                  <a:pt x="3756" y="176"/>
                  <a:pt x="3756" y="176"/>
                </a:cubicBezTo>
                <a:cubicBezTo>
                  <a:pt x="3756" y="188"/>
                  <a:pt x="3756" y="188"/>
                  <a:pt x="3756" y="188"/>
                </a:cubicBezTo>
                <a:cubicBezTo>
                  <a:pt x="3800" y="190"/>
                  <a:pt x="3806" y="192"/>
                  <a:pt x="3806" y="268"/>
                </a:cubicBezTo>
                <a:cubicBezTo>
                  <a:pt x="3806" y="346"/>
                  <a:pt x="3806" y="346"/>
                  <a:pt x="3806" y="346"/>
                </a:cubicBezTo>
                <a:cubicBezTo>
                  <a:pt x="3806" y="434"/>
                  <a:pt x="3804" y="434"/>
                  <a:pt x="3758" y="434"/>
                </a:cubicBezTo>
                <a:cubicBezTo>
                  <a:pt x="3758" y="446"/>
                  <a:pt x="3758" y="446"/>
                  <a:pt x="3758" y="446"/>
                </a:cubicBezTo>
                <a:cubicBezTo>
                  <a:pt x="3902" y="446"/>
                  <a:pt x="3902" y="446"/>
                  <a:pt x="3902" y="446"/>
                </a:cubicBezTo>
                <a:cubicBezTo>
                  <a:pt x="3902" y="434"/>
                  <a:pt x="3902" y="434"/>
                  <a:pt x="3902" y="434"/>
                </a:cubicBezTo>
                <a:cubicBezTo>
                  <a:pt x="3862" y="430"/>
                  <a:pt x="3858" y="430"/>
                  <a:pt x="3858" y="342"/>
                </a:cubicBezTo>
                <a:cubicBezTo>
                  <a:pt x="3858" y="262"/>
                  <a:pt x="3858" y="262"/>
                  <a:pt x="3858" y="262"/>
                </a:cubicBezTo>
                <a:cubicBezTo>
                  <a:pt x="3858" y="234"/>
                  <a:pt x="3894" y="204"/>
                  <a:pt x="3932" y="204"/>
                </a:cubicBezTo>
                <a:cubicBezTo>
                  <a:pt x="3974" y="204"/>
                  <a:pt x="3990" y="226"/>
                  <a:pt x="3990" y="282"/>
                </a:cubicBezTo>
                <a:cubicBezTo>
                  <a:pt x="3990" y="338"/>
                  <a:pt x="3990" y="338"/>
                  <a:pt x="3990" y="338"/>
                </a:cubicBezTo>
                <a:cubicBezTo>
                  <a:pt x="3990" y="428"/>
                  <a:pt x="3988" y="432"/>
                  <a:pt x="3950" y="436"/>
                </a:cubicBezTo>
                <a:cubicBezTo>
                  <a:pt x="3950" y="448"/>
                  <a:pt x="3950" y="448"/>
                  <a:pt x="3950" y="448"/>
                </a:cubicBezTo>
                <a:cubicBezTo>
                  <a:pt x="4086" y="448"/>
                  <a:pt x="4086" y="448"/>
                  <a:pt x="4086" y="448"/>
                </a:cubicBezTo>
                <a:cubicBezTo>
                  <a:pt x="4086" y="436"/>
                  <a:pt x="4086" y="436"/>
                  <a:pt x="4086" y="436"/>
                </a:cubicBezTo>
                <a:cubicBezTo>
                  <a:pt x="4040" y="432"/>
                  <a:pt x="4042" y="428"/>
                  <a:pt x="4042" y="342"/>
                </a:cubicBezTo>
                <a:cubicBezTo>
                  <a:pt x="4042" y="264"/>
                  <a:pt x="4042" y="264"/>
                  <a:pt x="4042" y="264"/>
                </a:cubicBezTo>
                <a:cubicBezTo>
                  <a:pt x="4042" y="236"/>
                  <a:pt x="4078" y="206"/>
                  <a:pt x="4118" y="206"/>
                </a:cubicBezTo>
                <a:cubicBezTo>
                  <a:pt x="4152" y="206"/>
                  <a:pt x="4174" y="226"/>
                  <a:pt x="4174" y="284"/>
                </a:cubicBezTo>
                <a:cubicBezTo>
                  <a:pt x="4174" y="346"/>
                  <a:pt x="4174" y="346"/>
                  <a:pt x="4174" y="346"/>
                </a:cubicBezTo>
                <a:cubicBezTo>
                  <a:pt x="4174" y="428"/>
                  <a:pt x="4174" y="432"/>
                  <a:pt x="4134" y="436"/>
                </a:cubicBezTo>
                <a:cubicBezTo>
                  <a:pt x="4134" y="448"/>
                  <a:pt x="4134" y="448"/>
                  <a:pt x="4134" y="448"/>
                </a:cubicBezTo>
                <a:lnTo>
                  <a:pt x="4136" y="448"/>
                </a:lnTo>
                <a:close/>
                <a:moveTo>
                  <a:pt x="4546" y="316"/>
                </a:moveTo>
                <a:cubicBezTo>
                  <a:pt x="4546" y="388"/>
                  <a:pt x="4516" y="432"/>
                  <a:pt x="4460" y="432"/>
                </a:cubicBezTo>
                <a:cubicBezTo>
                  <a:pt x="4424" y="432"/>
                  <a:pt x="4384" y="412"/>
                  <a:pt x="4384" y="384"/>
                </a:cubicBezTo>
                <a:cubicBezTo>
                  <a:pt x="4384" y="248"/>
                  <a:pt x="4384" y="248"/>
                  <a:pt x="4384" y="248"/>
                </a:cubicBezTo>
                <a:cubicBezTo>
                  <a:pt x="4384" y="226"/>
                  <a:pt x="4416" y="202"/>
                  <a:pt x="4454" y="202"/>
                </a:cubicBezTo>
                <a:cubicBezTo>
                  <a:pt x="4510" y="206"/>
                  <a:pt x="4546" y="248"/>
                  <a:pt x="4546" y="316"/>
                </a:cubicBezTo>
                <a:moveTo>
                  <a:pt x="4600" y="310"/>
                </a:moveTo>
                <a:cubicBezTo>
                  <a:pt x="4600" y="230"/>
                  <a:pt x="4548" y="170"/>
                  <a:pt x="4478" y="170"/>
                </a:cubicBezTo>
                <a:cubicBezTo>
                  <a:pt x="4438" y="170"/>
                  <a:pt x="4406" y="188"/>
                  <a:pt x="4384" y="214"/>
                </a:cubicBezTo>
                <a:cubicBezTo>
                  <a:pt x="4384" y="174"/>
                  <a:pt x="4384" y="174"/>
                  <a:pt x="4384" y="174"/>
                </a:cubicBezTo>
                <a:cubicBezTo>
                  <a:pt x="4284" y="174"/>
                  <a:pt x="4284" y="174"/>
                  <a:pt x="4284" y="174"/>
                </a:cubicBezTo>
                <a:cubicBezTo>
                  <a:pt x="4284" y="186"/>
                  <a:pt x="4284" y="186"/>
                  <a:pt x="4284" y="186"/>
                </a:cubicBezTo>
                <a:cubicBezTo>
                  <a:pt x="4326" y="188"/>
                  <a:pt x="4332" y="190"/>
                  <a:pt x="4332" y="280"/>
                </a:cubicBezTo>
                <a:cubicBezTo>
                  <a:pt x="4332" y="466"/>
                  <a:pt x="4332" y="466"/>
                  <a:pt x="4332" y="466"/>
                </a:cubicBezTo>
                <a:cubicBezTo>
                  <a:pt x="4332" y="564"/>
                  <a:pt x="4334" y="570"/>
                  <a:pt x="4286" y="574"/>
                </a:cubicBezTo>
                <a:cubicBezTo>
                  <a:pt x="4286" y="588"/>
                  <a:pt x="4286" y="588"/>
                  <a:pt x="4286" y="588"/>
                </a:cubicBezTo>
                <a:cubicBezTo>
                  <a:pt x="4432" y="588"/>
                  <a:pt x="4432" y="588"/>
                  <a:pt x="4432" y="588"/>
                </a:cubicBezTo>
                <a:cubicBezTo>
                  <a:pt x="4432" y="574"/>
                  <a:pt x="4432" y="574"/>
                  <a:pt x="4432" y="574"/>
                </a:cubicBezTo>
                <a:cubicBezTo>
                  <a:pt x="4380" y="572"/>
                  <a:pt x="4384" y="564"/>
                  <a:pt x="4384" y="462"/>
                </a:cubicBezTo>
                <a:cubicBezTo>
                  <a:pt x="4384" y="424"/>
                  <a:pt x="4384" y="424"/>
                  <a:pt x="4384" y="424"/>
                </a:cubicBezTo>
                <a:cubicBezTo>
                  <a:pt x="4404" y="444"/>
                  <a:pt x="4436" y="454"/>
                  <a:pt x="4466" y="454"/>
                </a:cubicBezTo>
                <a:cubicBezTo>
                  <a:pt x="4548" y="454"/>
                  <a:pt x="4600" y="392"/>
                  <a:pt x="4600" y="310"/>
                </a:cubicBezTo>
                <a:moveTo>
                  <a:pt x="4792" y="382"/>
                </a:moveTo>
                <a:cubicBezTo>
                  <a:pt x="4792" y="404"/>
                  <a:pt x="4762" y="424"/>
                  <a:pt x="4736" y="424"/>
                </a:cubicBezTo>
                <a:cubicBezTo>
                  <a:pt x="4712" y="424"/>
                  <a:pt x="4694" y="410"/>
                  <a:pt x="4694" y="378"/>
                </a:cubicBezTo>
                <a:cubicBezTo>
                  <a:pt x="4694" y="322"/>
                  <a:pt x="4752" y="328"/>
                  <a:pt x="4792" y="306"/>
                </a:cubicBezTo>
                <a:cubicBezTo>
                  <a:pt x="4792" y="382"/>
                  <a:pt x="4792" y="382"/>
                  <a:pt x="4792" y="382"/>
                </a:cubicBezTo>
                <a:close/>
                <a:moveTo>
                  <a:pt x="5240" y="434"/>
                </a:moveTo>
                <a:cubicBezTo>
                  <a:pt x="5192" y="432"/>
                  <a:pt x="5192" y="430"/>
                  <a:pt x="5192" y="340"/>
                </a:cubicBezTo>
                <a:cubicBezTo>
                  <a:pt x="5192" y="278"/>
                  <a:pt x="5192" y="278"/>
                  <a:pt x="5192" y="278"/>
                </a:cubicBezTo>
                <a:cubicBezTo>
                  <a:pt x="5192" y="196"/>
                  <a:pt x="5146" y="170"/>
                  <a:pt x="5104" y="170"/>
                </a:cubicBezTo>
                <a:cubicBezTo>
                  <a:pt x="5068" y="170"/>
                  <a:pt x="5032" y="186"/>
                  <a:pt x="5004" y="222"/>
                </a:cubicBezTo>
                <a:cubicBezTo>
                  <a:pt x="5004" y="174"/>
                  <a:pt x="5004" y="174"/>
                  <a:pt x="5004" y="174"/>
                </a:cubicBezTo>
                <a:cubicBezTo>
                  <a:pt x="4902" y="174"/>
                  <a:pt x="4902" y="174"/>
                  <a:pt x="4902" y="174"/>
                </a:cubicBezTo>
                <a:cubicBezTo>
                  <a:pt x="4902" y="186"/>
                  <a:pt x="4902" y="186"/>
                  <a:pt x="4902" y="186"/>
                </a:cubicBezTo>
                <a:cubicBezTo>
                  <a:pt x="4946" y="188"/>
                  <a:pt x="4952" y="190"/>
                  <a:pt x="4952" y="266"/>
                </a:cubicBezTo>
                <a:cubicBezTo>
                  <a:pt x="4952" y="334"/>
                  <a:pt x="4952" y="334"/>
                  <a:pt x="4952" y="334"/>
                </a:cubicBezTo>
                <a:cubicBezTo>
                  <a:pt x="4952" y="430"/>
                  <a:pt x="4952" y="432"/>
                  <a:pt x="4904" y="434"/>
                </a:cubicBezTo>
                <a:cubicBezTo>
                  <a:pt x="4892" y="434"/>
                  <a:pt x="4892" y="434"/>
                  <a:pt x="4892" y="434"/>
                </a:cubicBezTo>
                <a:cubicBezTo>
                  <a:pt x="4854" y="434"/>
                  <a:pt x="4850" y="422"/>
                  <a:pt x="4850" y="366"/>
                </a:cubicBezTo>
                <a:cubicBezTo>
                  <a:pt x="4850" y="274"/>
                  <a:pt x="4850" y="274"/>
                  <a:pt x="4850" y="274"/>
                </a:cubicBezTo>
                <a:cubicBezTo>
                  <a:pt x="4850" y="256"/>
                  <a:pt x="4848" y="240"/>
                  <a:pt x="4844" y="228"/>
                </a:cubicBezTo>
                <a:cubicBezTo>
                  <a:pt x="4830" y="186"/>
                  <a:pt x="4796" y="170"/>
                  <a:pt x="4748" y="170"/>
                </a:cubicBezTo>
                <a:cubicBezTo>
                  <a:pt x="4718" y="170"/>
                  <a:pt x="4674" y="180"/>
                  <a:pt x="4650" y="202"/>
                </a:cubicBezTo>
                <a:cubicBezTo>
                  <a:pt x="4652" y="214"/>
                  <a:pt x="4664" y="240"/>
                  <a:pt x="4670" y="248"/>
                </a:cubicBezTo>
                <a:cubicBezTo>
                  <a:pt x="4676" y="246"/>
                  <a:pt x="4676" y="246"/>
                  <a:pt x="4676" y="246"/>
                </a:cubicBezTo>
                <a:cubicBezTo>
                  <a:pt x="4688" y="216"/>
                  <a:pt x="4708" y="194"/>
                  <a:pt x="4742" y="194"/>
                </a:cubicBezTo>
                <a:cubicBezTo>
                  <a:pt x="4778" y="194"/>
                  <a:pt x="4794" y="220"/>
                  <a:pt x="4794" y="250"/>
                </a:cubicBezTo>
                <a:cubicBezTo>
                  <a:pt x="4794" y="282"/>
                  <a:pt x="4794" y="282"/>
                  <a:pt x="4794" y="282"/>
                </a:cubicBezTo>
                <a:cubicBezTo>
                  <a:pt x="4794" y="302"/>
                  <a:pt x="4702" y="306"/>
                  <a:pt x="4664" y="338"/>
                </a:cubicBezTo>
                <a:cubicBezTo>
                  <a:pt x="4652" y="350"/>
                  <a:pt x="4642" y="364"/>
                  <a:pt x="4642" y="384"/>
                </a:cubicBezTo>
                <a:cubicBezTo>
                  <a:pt x="4642" y="426"/>
                  <a:pt x="4672" y="456"/>
                  <a:pt x="4716" y="456"/>
                </a:cubicBezTo>
                <a:cubicBezTo>
                  <a:pt x="4744" y="456"/>
                  <a:pt x="4768" y="446"/>
                  <a:pt x="4794" y="418"/>
                </a:cubicBezTo>
                <a:cubicBezTo>
                  <a:pt x="4798" y="438"/>
                  <a:pt x="4814" y="448"/>
                  <a:pt x="4842" y="448"/>
                </a:cubicBezTo>
                <a:cubicBezTo>
                  <a:pt x="4906" y="448"/>
                  <a:pt x="4906" y="448"/>
                  <a:pt x="4906" y="448"/>
                </a:cubicBezTo>
                <a:cubicBezTo>
                  <a:pt x="4906" y="448"/>
                  <a:pt x="4906" y="448"/>
                  <a:pt x="4906" y="448"/>
                </a:cubicBezTo>
                <a:cubicBezTo>
                  <a:pt x="5048" y="448"/>
                  <a:pt x="5048" y="448"/>
                  <a:pt x="5048" y="448"/>
                </a:cubicBezTo>
                <a:cubicBezTo>
                  <a:pt x="5048" y="436"/>
                  <a:pt x="5048" y="436"/>
                  <a:pt x="5048" y="436"/>
                </a:cubicBezTo>
                <a:cubicBezTo>
                  <a:pt x="5006" y="432"/>
                  <a:pt x="5004" y="434"/>
                  <a:pt x="5004" y="338"/>
                </a:cubicBezTo>
                <a:cubicBezTo>
                  <a:pt x="5004" y="262"/>
                  <a:pt x="5004" y="262"/>
                  <a:pt x="5004" y="262"/>
                </a:cubicBezTo>
                <a:cubicBezTo>
                  <a:pt x="5004" y="236"/>
                  <a:pt x="5038" y="206"/>
                  <a:pt x="5080" y="206"/>
                </a:cubicBezTo>
                <a:cubicBezTo>
                  <a:pt x="5114" y="206"/>
                  <a:pt x="5140" y="220"/>
                  <a:pt x="5140" y="286"/>
                </a:cubicBezTo>
                <a:cubicBezTo>
                  <a:pt x="5140" y="340"/>
                  <a:pt x="5140" y="340"/>
                  <a:pt x="5140" y="340"/>
                </a:cubicBezTo>
                <a:cubicBezTo>
                  <a:pt x="5140" y="432"/>
                  <a:pt x="5136" y="432"/>
                  <a:pt x="5098" y="434"/>
                </a:cubicBezTo>
                <a:cubicBezTo>
                  <a:pt x="5098" y="446"/>
                  <a:pt x="5098" y="446"/>
                  <a:pt x="5098" y="446"/>
                </a:cubicBezTo>
                <a:cubicBezTo>
                  <a:pt x="5240" y="446"/>
                  <a:pt x="5240" y="446"/>
                  <a:pt x="5240" y="446"/>
                </a:cubicBezTo>
                <a:lnTo>
                  <a:pt x="5240" y="434"/>
                </a:lnTo>
                <a:close/>
                <a:moveTo>
                  <a:pt x="5516" y="192"/>
                </a:moveTo>
                <a:cubicBezTo>
                  <a:pt x="5516" y="180"/>
                  <a:pt x="5516" y="180"/>
                  <a:pt x="5516" y="180"/>
                </a:cubicBezTo>
                <a:cubicBezTo>
                  <a:pt x="5418" y="180"/>
                  <a:pt x="5418" y="180"/>
                  <a:pt x="5418" y="180"/>
                </a:cubicBezTo>
                <a:cubicBezTo>
                  <a:pt x="5418" y="192"/>
                  <a:pt x="5418" y="192"/>
                  <a:pt x="5418" y="192"/>
                </a:cubicBezTo>
                <a:cubicBezTo>
                  <a:pt x="5442" y="194"/>
                  <a:pt x="5454" y="206"/>
                  <a:pt x="5446" y="234"/>
                </a:cubicBezTo>
                <a:cubicBezTo>
                  <a:pt x="5394" y="390"/>
                  <a:pt x="5394" y="390"/>
                  <a:pt x="5394" y="390"/>
                </a:cubicBezTo>
                <a:cubicBezTo>
                  <a:pt x="5342" y="270"/>
                  <a:pt x="5342" y="270"/>
                  <a:pt x="5342" y="270"/>
                </a:cubicBezTo>
                <a:cubicBezTo>
                  <a:pt x="5328" y="238"/>
                  <a:pt x="5322" y="224"/>
                  <a:pt x="5322" y="212"/>
                </a:cubicBezTo>
                <a:cubicBezTo>
                  <a:pt x="5322" y="202"/>
                  <a:pt x="5328" y="196"/>
                  <a:pt x="5348" y="192"/>
                </a:cubicBezTo>
                <a:cubicBezTo>
                  <a:pt x="5348" y="180"/>
                  <a:pt x="5348" y="180"/>
                  <a:pt x="5348" y="180"/>
                </a:cubicBezTo>
                <a:cubicBezTo>
                  <a:pt x="5220" y="180"/>
                  <a:pt x="5220" y="180"/>
                  <a:pt x="5220" y="180"/>
                </a:cubicBezTo>
                <a:cubicBezTo>
                  <a:pt x="5220" y="192"/>
                  <a:pt x="5220" y="192"/>
                  <a:pt x="5220" y="192"/>
                </a:cubicBezTo>
                <a:cubicBezTo>
                  <a:pt x="5252" y="194"/>
                  <a:pt x="5254" y="198"/>
                  <a:pt x="5296" y="292"/>
                </a:cubicBezTo>
                <a:cubicBezTo>
                  <a:pt x="5368" y="450"/>
                  <a:pt x="5368" y="450"/>
                  <a:pt x="5368" y="450"/>
                </a:cubicBezTo>
                <a:cubicBezTo>
                  <a:pt x="5344" y="512"/>
                  <a:pt x="5306" y="546"/>
                  <a:pt x="5228" y="564"/>
                </a:cubicBezTo>
                <a:cubicBezTo>
                  <a:pt x="5232" y="576"/>
                  <a:pt x="5246" y="600"/>
                  <a:pt x="5254" y="606"/>
                </a:cubicBezTo>
                <a:cubicBezTo>
                  <a:pt x="5356" y="564"/>
                  <a:pt x="5376" y="498"/>
                  <a:pt x="5412" y="396"/>
                </a:cubicBezTo>
                <a:cubicBezTo>
                  <a:pt x="5466" y="242"/>
                  <a:pt x="5466" y="242"/>
                  <a:pt x="5466" y="242"/>
                </a:cubicBezTo>
                <a:cubicBezTo>
                  <a:pt x="5478" y="206"/>
                  <a:pt x="5498" y="192"/>
                  <a:pt x="5516" y="192"/>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600" kern="1200">
                <a:solidFill>
                  <a:schemeClr val="tx1"/>
                </a:solidFill>
                <a:latin typeface="Arial" charset="0"/>
                <a:ea typeface="+mn-ea"/>
                <a:cs typeface="+mn-cs"/>
              </a:defRPr>
            </a:lvl1pPr>
            <a:lvl2pPr marL="457200" algn="l" rtl="0" fontAlgn="base">
              <a:spcBef>
                <a:spcPct val="0"/>
              </a:spcBef>
              <a:spcAft>
                <a:spcPct val="0"/>
              </a:spcAft>
              <a:defRPr sz="1600" kern="1200">
                <a:solidFill>
                  <a:schemeClr val="tx1"/>
                </a:solidFill>
                <a:latin typeface="Arial" charset="0"/>
                <a:ea typeface="+mn-ea"/>
                <a:cs typeface="+mn-cs"/>
              </a:defRPr>
            </a:lvl2pPr>
            <a:lvl3pPr marL="914400" algn="l" rtl="0" fontAlgn="base">
              <a:spcBef>
                <a:spcPct val="0"/>
              </a:spcBef>
              <a:spcAft>
                <a:spcPct val="0"/>
              </a:spcAft>
              <a:defRPr sz="1600" kern="1200">
                <a:solidFill>
                  <a:schemeClr val="tx1"/>
                </a:solidFill>
                <a:latin typeface="Arial" charset="0"/>
                <a:ea typeface="+mn-ea"/>
                <a:cs typeface="+mn-cs"/>
              </a:defRPr>
            </a:lvl3pPr>
            <a:lvl4pPr marL="1371600" algn="l" rtl="0" fontAlgn="base">
              <a:spcBef>
                <a:spcPct val="0"/>
              </a:spcBef>
              <a:spcAft>
                <a:spcPct val="0"/>
              </a:spcAft>
              <a:defRPr sz="1600" kern="1200">
                <a:solidFill>
                  <a:schemeClr val="tx1"/>
                </a:solidFill>
                <a:latin typeface="Arial" charset="0"/>
                <a:ea typeface="+mn-ea"/>
                <a:cs typeface="+mn-cs"/>
              </a:defRPr>
            </a:lvl4pPr>
            <a:lvl5pPr marL="1828800" algn="l" rtl="0" fontAlgn="base">
              <a:spcBef>
                <a:spcPct val="0"/>
              </a:spcBef>
              <a:spcAft>
                <a:spcPct val="0"/>
              </a:spcAft>
              <a:defRPr sz="1600" kern="1200">
                <a:solidFill>
                  <a:schemeClr val="tx1"/>
                </a:solidFill>
                <a:latin typeface="Arial" charset="0"/>
                <a:ea typeface="+mn-ea"/>
                <a:cs typeface="+mn-cs"/>
              </a:defRPr>
            </a:lvl5pPr>
            <a:lvl6pPr marL="2286000" algn="l" defTabSz="914400" rtl="0" eaLnBrk="1" latinLnBrk="0" hangingPunct="1">
              <a:defRPr sz="1600" kern="1200">
                <a:solidFill>
                  <a:schemeClr val="tx1"/>
                </a:solidFill>
                <a:latin typeface="Arial" charset="0"/>
                <a:ea typeface="+mn-ea"/>
                <a:cs typeface="+mn-cs"/>
              </a:defRPr>
            </a:lvl6pPr>
            <a:lvl7pPr marL="2743200" algn="l" defTabSz="914400" rtl="0" eaLnBrk="1" latinLnBrk="0" hangingPunct="1">
              <a:defRPr sz="1600" kern="1200">
                <a:solidFill>
                  <a:schemeClr val="tx1"/>
                </a:solidFill>
                <a:latin typeface="Arial" charset="0"/>
                <a:ea typeface="+mn-ea"/>
                <a:cs typeface="+mn-cs"/>
              </a:defRPr>
            </a:lvl7pPr>
            <a:lvl8pPr marL="3200400" algn="l" defTabSz="914400" rtl="0" eaLnBrk="1" latinLnBrk="0" hangingPunct="1">
              <a:defRPr sz="1600" kern="1200">
                <a:solidFill>
                  <a:schemeClr val="tx1"/>
                </a:solidFill>
                <a:latin typeface="Arial" charset="0"/>
                <a:ea typeface="+mn-ea"/>
                <a:cs typeface="+mn-cs"/>
              </a:defRPr>
            </a:lvl8pPr>
            <a:lvl9pPr marL="3657600" algn="l" defTabSz="914400" rtl="0" eaLnBrk="1" latinLnBrk="0" hangingPunct="1">
              <a:defRPr sz="1600" kern="1200">
                <a:solidFill>
                  <a:schemeClr val="tx1"/>
                </a:solidFill>
                <a:latin typeface="Arial" charset="0"/>
                <a:ea typeface="+mn-ea"/>
                <a:cs typeface="+mn-cs"/>
              </a:defRPr>
            </a:lvl9pPr>
          </a:lstStyle>
          <a:p>
            <a:endParaRPr lang="en-US" baseline="0" dirty="0">
              <a:solidFill>
                <a:srgbClr val="000000"/>
              </a:solidFill>
              <a:latin typeface="+mn-lt"/>
            </a:endParaRPr>
          </a:p>
        </p:txBody>
      </p:sp>
      <p:sp>
        <p:nvSpPr>
          <p:cNvPr id="27" name="Disclaimer-English (United States)" hidden="1"/>
          <p:cNvSpPr>
            <a:spLocks noChangeArrowheads="1"/>
          </p:cNvSpPr>
          <p:nvPr/>
        </p:nvSpPr>
        <p:spPr bwMode="black">
          <a:xfrm>
            <a:off x="2268266" y="6287785"/>
            <a:ext cx="3544453" cy="36908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t" anchorCtr="0">
            <a:noAutofit/>
          </a:bodyPr>
          <a:lstStyle/>
          <a:p>
            <a:pPr defTabSz="804863" eaLnBrk="0" hangingPunct="0"/>
            <a:r>
              <a:rPr lang="en-US" sz="800" baseline="0" dirty="0">
                <a:solidFill>
                  <a:srgbClr val="FFFFFF"/>
                </a:solidFill>
                <a:latin typeface="+mn-lt"/>
              </a:rPr>
              <a:t>CONFIDENTIAL AND PROPRIETARY</a:t>
            </a:r>
          </a:p>
          <a:p>
            <a:pPr defTabSz="804863" eaLnBrk="0" hangingPunct="0"/>
            <a:r>
              <a:rPr lang="en-US" sz="800" baseline="0" dirty="0">
                <a:solidFill>
                  <a:srgbClr val="FFFFFF"/>
                </a:solidFill>
                <a:latin typeface="+mn-lt"/>
              </a:rPr>
              <a:t>Any use of this material without specific permission of McKinsey &amp; Company is strictly prohibited</a:t>
            </a:r>
          </a:p>
        </p:txBody>
      </p:sp>
    </p:spTree>
    <p:extLst>
      <p:ext uri="{BB962C8B-B14F-4D97-AF65-F5344CB8AC3E}">
        <p14:creationId xmlns:p14="http://schemas.microsoft.com/office/powerpoint/2010/main" val="1651702255"/>
      </p:ext>
    </p:extLst>
  </p:cSld>
  <p:clrMapOvr>
    <a:masterClrMapping/>
  </p:clrMapOvr>
  <p:extLst mod="1">
    <p:ext uri="{DCECCB84-F9BA-43D5-87BE-67443E8EF086}">
      <p15:sldGuideLst xmlns:p15="http://schemas.microsoft.com/office/powerpoint/2012/main">
        <p15:guide id="1" orient="horz" pos="2117">
          <p15:clr>
            <a:srgbClr val="FBAE40"/>
          </p15:clr>
        </p15:guide>
        <p15:guide id="2" pos="1416">
          <p15:clr>
            <a:srgbClr val="FBAE40"/>
          </p15:clr>
        </p15:guide>
      </p15:sldGuideLst>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6E228F5-5CF1-42E1-9748-97D7582A107A}"/>
              </a:ext>
            </a:extLst>
          </p:cNvPr>
          <p:cNvGraphicFramePr>
            <a:graphicFrameLocks noChangeAspect="1"/>
          </p:cNvGraphicFramePr>
          <p:nvPr>
            <p:custDataLst>
              <p:tags r:id="rId2"/>
            </p:custDataLst>
            <p:extLst>
              <p:ext uri="{D42A27DB-BD31-4B8C-83A1-F6EECF244321}">
                <p14:modId xmlns:p14="http://schemas.microsoft.com/office/powerpoint/2010/main" val="90372266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1572" name="think-cell Slide" r:id="rId5" imgW="353" imgH="353" progId="TCLayout.ActiveDocument.1">
                  <p:embed/>
                </p:oleObj>
              </mc:Choice>
              <mc:Fallback>
                <p:oleObj name="think-cell Slide" r:id="rId5" imgW="353" imgH="353" progId="TCLayout.ActiveDocument.1">
                  <p:embed/>
                  <p:pic>
                    <p:nvPicPr>
                      <p:cNvPr id="3" name="Object 2" hidden="1">
                        <a:extLst>
                          <a:ext uri="{FF2B5EF4-FFF2-40B4-BE49-F238E27FC236}">
                            <a16:creationId xmlns:a16="http://schemas.microsoft.com/office/drawing/2014/main" id="{C6E228F5-5CF1-42E1-9748-97D7582A107A}"/>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2. Slide Title"/>
          <p:cNvSpPr>
            <a:spLocks noGrp="1"/>
          </p:cNvSpPr>
          <p:nvPr>
            <p:ph type="title"/>
          </p:nvPr>
        </p:nvSpPr>
        <p:spPr bwMode="auto"/>
        <p:txBody>
          <a:bodyPr/>
          <a:lstStyle/>
          <a:p>
            <a:r>
              <a:rPr lang="en-US"/>
              <a:t>Click to edit Master title style</a:t>
            </a:r>
            <a:endParaRPr lang="en-US" dirty="0"/>
          </a:p>
        </p:txBody>
      </p:sp>
      <p:sp>
        <p:nvSpPr>
          <p:cNvPr id="8" name="Slide Number"/>
          <p:cNvSpPr txBox="1">
            <a:spLocks/>
          </p:cNvSpPr>
          <p:nvPr/>
        </p:nvSpPr>
        <p:spPr bwMode="auto">
          <a:xfrm>
            <a:off x="8564563" y="6508272"/>
            <a:ext cx="125034" cy="123111"/>
          </a:xfrm>
          <a:prstGeom prst="rect">
            <a:avLst/>
          </a:prstGeom>
        </p:spPr>
        <p:txBody>
          <a:bodyPr vert="horz" wrap="none" lIns="0" tIns="0" rIns="0" bIns="0" rtlCol="0" anchor="ctr">
            <a:spAutoFit/>
          </a:bodyPr>
          <a:lstStyle>
            <a:defPPr>
              <a:defRPr lang="en-US"/>
            </a:defPPr>
            <a:lvl1pPr>
              <a:defRPr sz="1000" baseline="0">
                <a:latin typeface="+mn-lt"/>
              </a:defRPr>
            </a:lvl1pPr>
          </a:lstStyle>
          <a:p>
            <a:fld id="{42C328C1-A84F-4A39-A664-DBA00541A8C6}" type="slidenum">
              <a:rPr lang="en-US" sz="800" baseline="0" smtClean="0">
                <a:solidFill>
                  <a:srgbClr val="808080"/>
                </a:solidFill>
                <a:latin typeface="+mn-lt"/>
              </a:rPr>
              <a:pPr/>
              <a:t>‹#›</a:t>
            </a:fld>
            <a:endParaRPr lang="en-US" sz="800" baseline="0" dirty="0">
              <a:solidFill>
                <a:srgbClr val="808080"/>
              </a:solidFill>
              <a:latin typeface="+mn-lt"/>
            </a:endParaRPr>
          </a:p>
        </p:txBody>
      </p:sp>
      <p:sp>
        <p:nvSpPr>
          <p:cNvPr id="9" name="SlideLogoText"/>
          <p:cNvSpPr>
            <a:spLocks noChangeArrowheads="1"/>
          </p:cNvSpPr>
          <p:nvPr>
            <p:custDataLst>
              <p:tags r:id="rId3"/>
            </p:custDataLst>
          </p:nvPr>
        </p:nvSpPr>
        <p:spPr bwMode="auto">
          <a:xfrm>
            <a:off x="7450817" y="6508272"/>
            <a:ext cx="1013098"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algn="r" defTabSz="895350"/>
            <a:r>
              <a:rPr lang="en-US" sz="800" baseline="0" dirty="0">
                <a:solidFill>
                  <a:srgbClr val="808080"/>
                </a:solidFill>
                <a:latin typeface="+mn-lt"/>
              </a:rPr>
              <a:t>McKinsey &amp; Company</a:t>
            </a:r>
          </a:p>
        </p:txBody>
      </p:sp>
      <p:sp>
        <p:nvSpPr>
          <p:cNvPr id="5" name="doc id" hidden="1"/>
          <p:cNvSpPr txBox="1">
            <a:spLocks noChangeArrowheads="1"/>
          </p:cNvSpPr>
          <p:nvPr/>
        </p:nvSpPr>
        <p:spPr bwMode="white">
          <a:xfrm>
            <a:off x="8104473" y="36513"/>
            <a:ext cx="634716" cy="115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hangingPunct="1">
              <a:defRPr/>
            </a:pPr>
            <a:endParaRPr lang="en-US" sz="800" baseline="0" dirty="0">
              <a:solidFill>
                <a:schemeClr val="accent1"/>
              </a:solidFill>
              <a:latin typeface="+mn-lt"/>
              <a:ea typeface="+mn-ea"/>
            </a:endParaRPr>
          </a:p>
        </p:txBody>
      </p:sp>
    </p:spTree>
    <p:extLst>
      <p:ext uri="{BB962C8B-B14F-4D97-AF65-F5344CB8AC3E}">
        <p14:creationId xmlns:p14="http://schemas.microsoft.com/office/powerpoint/2010/main" val="2833235484"/>
      </p:ext>
    </p:extLst>
  </p:cSld>
  <p:clrMapOvr>
    <a:masterClrMapping/>
  </p:clrMapOvr>
  <p:extLst mod="1">
    <p:ext uri="{DCECCB84-F9BA-43D5-87BE-67443E8EF086}">
      <p15:sldGuideLst xmlns:p15="http://schemas.microsoft.com/office/powerpoint/2012/main">
        <p15:guide id="1" pos="5505">
          <p15:clr>
            <a:srgbClr val="F26B43"/>
          </p15:clr>
        </p15:guide>
        <p15:guide id="2" pos="74">
          <p15:clr>
            <a:srgbClr val="F26B43"/>
          </p15:clr>
        </p15:guide>
        <p15:guide id="3" orient="horz" pos="571">
          <p15:clr>
            <a:srgbClr val="F26B43"/>
          </p15:clr>
        </p15:guide>
        <p15:guide id="4" orient="horz" pos="3911">
          <p15:clr>
            <a:srgbClr val="F26B43"/>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p:cSld name="1_Title Only">
    <p:bg>
      <p:bgPr>
        <a:solidFill>
          <a:schemeClr val="accent2"/>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F4AD34F-3B47-47E2-A09C-FFEB949F6A10}"/>
              </a:ext>
            </a:extLst>
          </p:cNvPr>
          <p:cNvGraphicFramePr>
            <a:graphicFrameLocks noChangeAspect="1"/>
          </p:cNvGraphicFramePr>
          <p:nvPr>
            <p:custDataLst>
              <p:tags r:id="rId2"/>
            </p:custDataLst>
            <p:extLst>
              <p:ext uri="{D42A27DB-BD31-4B8C-83A1-F6EECF244321}">
                <p14:modId xmlns:p14="http://schemas.microsoft.com/office/powerpoint/2010/main" val="44172823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2596" name="think-cell Slide" r:id="rId5" imgW="395" imgH="394" progId="TCLayout.ActiveDocument.1">
                  <p:embed/>
                </p:oleObj>
              </mc:Choice>
              <mc:Fallback>
                <p:oleObj name="think-cell Slide" r:id="rId5" imgW="395" imgH="394" progId="TCLayout.ActiveDocument.1">
                  <p:embed/>
                  <p:pic>
                    <p:nvPicPr>
                      <p:cNvPr id="3" name="Object 2" hidden="1">
                        <a:extLst>
                          <a:ext uri="{FF2B5EF4-FFF2-40B4-BE49-F238E27FC236}">
                            <a16:creationId xmlns:a16="http://schemas.microsoft.com/office/drawing/2014/main" id="{EF4AD34F-3B47-47E2-A09C-FFEB949F6A10}"/>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endParaRPr lang="en-US" dirty="0"/>
          </a:p>
        </p:txBody>
      </p:sp>
      <p:sp>
        <p:nvSpPr>
          <p:cNvPr id="15" name="Slide Number"/>
          <p:cNvSpPr txBox="1">
            <a:spLocks/>
          </p:cNvSpPr>
          <p:nvPr/>
        </p:nvSpPr>
        <p:spPr>
          <a:xfrm>
            <a:off x="8564563" y="6508272"/>
            <a:ext cx="125034" cy="123111"/>
          </a:xfrm>
          <a:prstGeom prst="rect">
            <a:avLst/>
          </a:prstGeom>
        </p:spPr>
        <p:txBody>
          <a:bodyPr vert="horz" wrap="none" lIns="0" tIns="0" rIns="0" bIns="0" rtlCol="0" anchor="ctr">
            <a:spAutoFit/>
          </a:bodyPr>
          <a:lstStyle>
            <a:defPPr>
              <a:defRPr lang="en-US"/>
            </a:defPPr>
            <a:lvl1pPr>
              <a:defRPr sz="1000" baseline="0">
                <a:latin typeface="+mn-lt"/>
              </a:defRPr>
            </a:lvl1pPr>
          </a:lstStyle>
          <a:p>
            <a:fld id="{42C328C1-A84F-4A39-A664-DBA00541A8C6}" type="slidenum">
              <a:rPr lang="en-US" sz="800" baseline="0" smtClean="0">
                <a:solidFill>
                  <a:srgbClr val="FFFFFF"/>
                </a:solidFill>
                <a:latin typeface="+mn-lt"/>
              </a:rPr>
              <a:pPr/>
              <a:t>‹#›</a:t>
            </a:fld>
            <a:endParaRPr lang="en-US" sz="800" baseline="0" dirty="0">
              <a:solidFill>
                <a:srgbClr val="FFFFFF"/>
              </a:solidFill>
              <a:latin typeface="+mn-lt"/>
            </a:endParaRPr>
          </a:p>
        </p:txBody>
      </p:sp>
      <p:sp>
        <p:nvSpPr>
          <p:cNvPr id="16" name="SlideLogoText"/>
          <p:cNvSpPr>
            <a:spLocks noChangeArrowheads="1"/>
          </p:cNvSpPr>
          <p:nvPr>
            <p:custDataLst>
              <p:tags r:id="rId3"/>
            </p:custDataLst>
          </p:nvPr>
        </p:nvSpPr>
        <p:spPr bwMode="auto">
          <a:xfrm>
            <a:off x="7450817" y="6508272"/>
            <a:ext cx="1013098"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algn="r" defTabSz="895350"/>
            <a:r>
              <a:rPr lang="en-US" sz="800" baseline="0" dirty="0">
                <a:solidFill>
                  <a:srgbClr val="FFFFFF"/>
                </a:solidFill>
                <a:latin typeface="+mn-lt"/>
              </a:rPr>
              <a:t>McKinsey &amp; Company</a:t>
            </a:r>
          </a:p>
        </p:txBody>
      </p:sp>
      <p:sp>
        <p:nvSpPr>
          <p:cNvPr id="5" name="doc id" hidden="1"/>
          <p:cNvSpPr txBox="1">
            <a:spLocks noChangeArrowheads="1"/>
          </p:cNvSpPr>
          <p:nvPr/>
        </p:nvSpPr>
        <p:spPr bwMode="white">
          <a:xfrm>
            <a:off x="8104473" y="36513"/>
            <a:ext cx="634716" cy="115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hangingPunct="1">
              <a:defRPr/>
            </a:pPr>
            <a:endParaRPr lang="en-US" sz="800" baseline="0" dirty="0">
              <a:solidFill>
                <a:schemeClr val="accent1"/>
              </a:solidFill>
              <a:latin typeface="+mn-lt"/>
              <a:ea typeface="+mn-ea"/>
            </a:endParaRPr>
          </a:p>
        </p:txBody>
      </p:sp>
    </p:spTree>
    <p:extLst>
      <p:ext uri="{BB962C8B-B14F-4D97-AF65-F5344CB8AC3E}">
        <p14:creationId xmlns:p14="http://schemas.microsoft.com/office/powerpoint/2010/main" val="3263133631"/>
      </p:ext>
    </p:extLst>
  </p:cSld>
  <p:clrMapOvr>
    <a:masterClrMapping/>
  </p:clrMapOvr>
  <p:extLst mod="1">
    <p:ext uri="{DCECCB84-F9BA-43D5-87BE-67443E8EF086}">
      <p15:sldGuideLst xmlns:p15="http://schemas.microsoft.com/office/powerpoint/2012/main">
        <p15:guide id="1" pos="3978">
          <p15:clr>
            <a:srgbClr val="000000"/>
          </p15:clr>
        </p15:guide>
        <p15:guide id="2" orient="horz" pos="570">
          <p15:clr>
            <a:srgbClr val="000000"/>
          </p15:clr>
        </p15:guide>
        <p15:guide id="3" orient="horz" pos="3912">
          <p15:clr>
            <a:srgbClr val="000000"/>
          </p15:clr>
        </p15:guide>
        <p15:guide id="4" pos="72">
          <p15:clr>
            <a:srgbClr val="00000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type="titleOnly">
  <p:cSld name="2_Title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ECD524A-1569-4253-8CD8-48D288AD883C}"/>
              </a:ext>
            </a:extLst>
          </p:cNvPr>
          <p:cNvGraphicFramePr>
            <a:graphicFrameLocks noChangeAspect="1"/>
          </p:cNvGraphicFramePr>
          <p:nvPr>
            <p:custDataLst>
              <p:tags r:id="rId2"/>
            </p:custDataLst>
            <p:extLst>
              <p:ext uri="{D42A27DB-BD31-4B8C-83A1-F6EECF244321}">
                <p14:modId xmlns:p14="http://schemas.microsoft.com/office/powerpoint/2010/main" val="333428606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380" name="think-cell Slide" r:id="rId4" imgW="395" imgH="394" progId="TCLayout.ActiveDocument.1">
                  <p:embed/>
                </p:oleObj>
              </mc:Choice>
              <mc:Fallback>
                <p:oleObj name="think-cell Slide" r:id="rId4" imgW="395" imgH="394" progId="TCLayout.ActiveDocument.1">
                  <p:embed/>
                  <p:pic>
                    <p:nvPicPr>
                      <p:cNvPr id="3" name="Object 2" hidden="1">
                        <a:extLst>
                          <a:ext uri="{FF2B5EF4-FFF2-40B4-BE49-F238E27FC236}">
                            <a16:creationId xmlns:a16="http://schemas.microsoft.com/office/drawing/2014/main" id="{5ECD524A-1569-4253-8CD8-48D288AD883C}"/>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30908160"/>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type="titleOnly">
  <p:cSld name="2_Title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ECD524A-1569-4253-8CD8-48D288AD883C}"/>
              </a:ext>
            </a:extLst>
          </p:cNvPr>
          <p:cNvGraphicFramePr>
            <a:graphicFrameLocks noChangeAspect="1"/>
          </p:cNvGraphicFramePr>
          <p:nvPr>
            <p:custDataLst>
              <p:tags r:id="rId2"/>
            </p:custDataLst>
            <p:extLst>
              <p:ext uri="{D42A27DB-BD31-4B8C-83A1-F6EECF244321}">
                <p14:modId xmlns:p14="http://schemas.microsoft.com/office/powerpoint/2010/main" val="157689981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3620" name="think-cell Slide" r:id="rId4" imgW="395" imgH="394" progId="TCLayout.ActiveDocument.1">
                  <p:embed/>
                </p:oleObj>
              </mc:Choice>
              <mc:Fallback>
                <p:oleObj name="think-cell Slide" r:id="rId4" imgW="395" imgH="394" progId="TCLayout.ActiveDocument.1">
                  <p:embed/>
                  <p:pic>
                    <p:nvPicPr>
                      <p:cNvPr id="3" name="Object 2" hidden="1">
                        <a:extLst>
                          <a:ext uri="{FF2B5EF4-FFF2-40B4-BE49-F238E27FC236}">
                            <a16:creationId xmlns:a16="http://schemas.microsoft.com/office/drawing/2014/main" id="{5ECD524A-1569-4253-8CD8-48D288AD883C}"/>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18717752"/>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pic>
        <p:nvPicPr>
          <p:cNvPr id="2" name="background"/>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0" y="198"/>
            <a:ext cx="8961438" cy="6721079"/>
          </a:xfrm>
          <a:prstGeom prst="rect">
            <a:avLst/>
          </a:prstGeom>
        </p:spPr>
      </p:pic>
      <p:sp>
        <p:nvSpPr>
          <p:cNvPr id="28" name="TitleRectangle"/>
          <p:cNvSpPr txBox="1">
            <a:spLocks/>
          </p:cNvSpPr>
          <p:nvPr/>
        </p:nvSpPr>
        <p:spPr>
          <a:xfrm>
            <a:off x="2084388" y="0"/>
            <a:ext cx="6875462" cy="3575976"/>
          </a:xfrm>
          <a:prstGeom prst="rect">
            <a:avLst/>
          </a:prstGeom>
          <a:solidFill>
            <a:srgbClr val="002960">
              <a:alpha val="92000"/>
            </a:srgbClr>
          </a:solidFill>
        </p:spPr>
        <p:txBody>
          <a:bodyPr vert="horz" wrap="square" lIns="216000" tIns="1440000" rIns="216000" bIns="108000" rtlCol="0">
            <a:noAutofit/>
          </a:bodyPr>
          <a:lstStyle>
            <a:lvl1pPr marL="0" indent="0" algn="l" defTabSz="914400" rtl="0" eaLnBrk="1" latinLnBrk="0" hangingPunct="1">
              <a:spcBef>
                <a:spcPct val="20000"/>
              </a:spcBef>
              <a:spcAft>
                <a:spcPts val="6000"/>
              </a:spcAft>
              <a:buFont typeface="Arial" pitchFamily="34" charset="0"/>
              <a:buNone/>
              <a:defRPr sz="3200" kern="1200">
                <a:solidFill>
                  <a:schemeClr val="accent1"/>
                </a:solidFill>
                <a:latin typeface="+mn-lt"/>
                <a:ea typeface="+mn-ea"/>
                <a:cs typeface="+mn-cs"/>
              </a:defRPr>
            </a:lvl1pPr>
            <a:lvl2pPr marL="0" indent="0" algn="l" defTabSz="914400" rtl="0" eaLnBrk="1" latinLnBrk="0" hangingPunct="1">
              <a:spcBef>
                <a:spcPct val="20000"/>
              </a:spcBef>
              <a:buFont typeface="Wingdings" charset="2"/>
              <a:buNone/>
              <a:defRPr sz="1400" kern="1200">
                <a:solidFill>
                  <a:schemeClr val="tx1">
                    <a:lumMod val="50000"/>
                    <a:lumOff val="50000"/>
                  </a:schemeClr>
                </a:solidFill>
                <a:latin typeface="+mn-lt"/>
                <a:ea typeface="+mn-ea"/>
                <a:cs typeface="+mn-cs"/>
              </a:defRPr>
            </a:lvl2pPr>
            <a:lvl3pPr marL="1143000" indent="-228600" algn="l" defTabSz="914400" rtl="0" eaLnBrk="1" latinLnBrk="0" hangingPunct="1">
              <a:spcBef>
                <a:spcPct val="20000"/>
              </a:spcBef>
              <a:buFont typeface="Lucida Grande"/>
              <a:buChar char="–"/>
              <a:defRPr sz="16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fontAlgn="auto">
              <a:defRPr/>
            </a:pPr>
            <a:r>
              <a:rPr lang="en-US" baseline="0" dirty="0">
                <a:solidFill>
                  <a:srgbClr val="00ADEF"/>
                </a:solidFill>
                <a:latin typeface="+mn-lt"/>
              </a:rPr>
              <a:t>
              </a:t>
            </a:r>
            <a:br>
              <a:rPr lang="en-US" baseline="0" dirty="0">
                <a:solidFill>
                  <a:srgbClr val="00ADEF"/>
                </a:solidFill>
                <a:latin typeface="+mn-lt"/>
              </a:rPr>
            </a:br>
            <a:endParaRPr lang="en-US" baseline="0" dirty="0">
              <a:solidFill>
                <a:srgbClr val="00ADEF"/>
              </a:solidFill>
              <a:latin typeface="+mn-lt"/>
            </a:endParaRPr>
          </a:p>
        </p:txBody>
      </p:sp>
      <p:graphicFrame>
        <p:nvGraphicFramePr>
          <p:cNvPr id="3" name="Object 2"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5668"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Working Draft Text" hidden="1"/>
          <p:cNvSpPr txBox="1">
            <a:spLocks noChangeArrowheads="1"/>
          </p:cNvSpPr>
          <p:nvPr/>
        </p:nvSpPr>
        <p:spPr bwMode="black">
          <a:xfrm>
            <a:off x="5992719" y="6287538"/>
            <a:ext cx="2790000"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800" b="1" baseline="0" dirty="0">
                <a:solidFill>
                  <a:srgbClr val="FFFFFF"/>
                </a:solidFill>
                <a:latin typeface="+mn-lt"/>
              </a:rPr>
              <a:t>WORKING DRAFT</a:t>
            </a:r>
          </a:p>
        </p:txBody>
      </p:sp>
      <p:sp>
        <p:nvSpPr>
          <p:cNvPr id="6" name="Working Draft" hidden="1"/>
          <p:cNvSpPr txBox="1">
            <a:spLocks noChangeArrowheads="1"/>
          </p:cNvSpPr>
          <p:nvPr/>
        </p:nvSpPr>
        <p:spPr bwMode="black">
          <a:xfrm>
            <a:off x="5992718" y="6410648"/>
            <a:ext cx="2968719"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800" baseline="0">
                <a:solidFill>
                  <a:srgbClr val="FFFFFF"/>
                </a:solidFill>
                <a:latin typeface="+mn-lt"/>
              </a:rPr>
              <a:t>Last Modified 21/05/2018 17:44 India Standard Time</a:t>
            </a:r>
            <a:endParaRPr lang="en-US" sz="800" baseline="0" dirty="0">
              <a:solidFill>
                <a:srgbClr val="FFFFFF"/>
              </a:solidFill>
              <a:latin typeface="+mn-lt"/>
            </a:endParaRPr>
          </a:p>
        </p:txBody>
      </p:sp>
      <p:sp>
        <p:nvSpPr>
          <p:cNvPr id="7" name="Printed" hidden="1"/>
          <p:cNvSpPr txBox="1">
            <a:spLocks noChangeArrowheads="1"/>
          </p:cNvSpPr>
          <p:nvPr/>
        </p:nvSpPr>
        <p:spPr bwMode="black">
          <a:xfrm>
            <a:off x="5992719" y="6533759"/>
            <a:ext cx="2790000"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800" baseline="0" dirty="0">
                <a:solidFill>
                  <a:srgbClr val="FFFFFF"/>
                </a:solidFill>
                <a:latin typeface="+mn-lt"/>
              </a:rPr>
              <a:t>Printed</a:t>
            </a:r>
          </a:p>
        </p:txBody>
      </p:sp>
      <p:sp>
        <p:nvSpPr>
          <p:cNvPr id="13314" name="Title"/>
          <p:cNvSpPr>
            <a:spLocks noGrp="1" noChangeArrowheads="1"/>
          </p:cNvSpPr>
          <p:nvPr>
            <p:ph type="ctrTitle"/>
          </p:nvPr>
        </p:nvSpPr>
        <p:spPr>
          <a:xfrm>
            <a:off x="2268266" y="1434419"/>
            <a:ext cx="6231663" cy="492443"/>
          </a:xfrm>
          <a:prstGeom prst="rect">
            <a:avLst/>
          </a:prstGeom>
        </p:spPr>
        <p:txBody>
          <a:bodyPr>
            <a:spAutoFit/>
          </a:bodyPr>
          <a:lstStyle>
            <a:lvl1pPr>
              <a:defRPr sz="3200" b="0" baseline="0">
                <a:solidFill>
                  <a:schemeClr val="accent2"/>
                </a:solidFill>
                <a:latin typeface="+mj-lt"/>
                <a:ea typeface="+mj-ea"/>
              </a:defRPr>
            </a:lvl1pPr>
          </a:lstStyle>
          <a:p>
            <a:pPr lvl="0" latinLnBrk="0"/>
            <a:r>
              <a:rPr lang="en-US" noProof="0"/>
              <a:t>Click to edit Master title style</a:t>
            </a:r>
            <a:endParaRPr lang="en-US" noProof="0" dirty="0"/>
          </a:p>
        </p:txBody>
      </p:sp>
      <p:sp>
        <p:nvSpPr>
          <p:cNvPr id="13315" name="Subtitle"/>
          <p:cNvSpPr>
            <a:spLocks noGrp="1" noChangeArrowheads="1"/>
          </p:cNvSpPr>
          <p:nvPr>
            <p:ph type="subTitle" idx="1"/>
          </p:nvPr>
        </p:nvSpPr>
        <p:spPr>
          <a:xfrm>
            <a:off x="2268266" y="2819401"/>
            <a:ext cx="6231663" cy="215444"/>
          </a:xfrm>
          <a:prstGeom prst="rect">
            <a:avLst/>
          </a:prstGeom>
        </p:spPr>
        <p:txBody>
          <a:bodyPr wrap="square">
            <a:spAutoFit/>
          </a:bodyPr>
          <a:lstStyle>
            <a:lvl1pPr>
              <a:defRPr sz="1400" cap="all" baseline="0">
                <a:solidFill>
                  <a:schemeClr val="bg1"/>
                </a:solidFill>
                <a:latin typeface="+mn-lt"/>
                <a:ea typeface="+mn-ea"/>
              </a:defRPr>
            </a:lvl1pPr>
          </a:lstStyle>
          <a:p>
            <a:pPr lvl="0" latinLnBrk="0"/>
            <a:r>
              <a:rPr lang="en-US" noProof="0"/>
              <a:t>Click to edit Master subtitle style</a:t>
            </a:r>
            <a:endParaRPr lang="en-US" noProof="0" dirty="0"/>
          </a:p>
        </p:txBody>
      </p:sp>
      <p:sp>
        <p:nvSpPr>
          <p:cNvPr id="57" name="Document type" hidden="1"/>
          <p:cNvSpPr txBox="1">
            <a:spLocks noChangeArrowheads="1"/>
          </p:cNvSpPr>
          <p:nvPr/>
        </p:nvSpPr>
        <p:spPr bwMode="gray">
          <a:xfrm>
            <a:off x="2268266" y="3227411"/>
            <a:ext cx="6231663"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00" baseline="0" dirty="0">
                <a:solidFill>
                  <a:schemeClr val="bg1"/>
                </a:solidFill>
                <a:latin typeface="+mn-lt"/>
              </a:rPr>
              <a:t>Document type | Date</a:t>
            </a:r>
          </a:p>
        </p:txBody>
      </p:sp>
      <p:sp>
        <p:nvSpPr>
          <p:cNvPr id="5" name="doc id" hidden="1"/>
          <p:cNvSpPr txBox="1">
            <a:spLocks noChangeArrowheads="1"/>
          </p:cNvSpPr>
          <p:nvPr/>
        </p:nvSpPr>
        <p:spPr bwMode="white">
          <a:xfrm>
            <a:off x="8443913" y="36513"/>
            <a:ext cx="295275" cy="1222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hangingPunct="1">
              <a:defRPr/>
            </a:pPr>
            <a:endParaRPr lang="en-US" sz="800" baseline="0" dirty="0">
              <a:solidFill>
                <a:srgbClr val="FFFFFF"/>
              </a:solidFill>
              <a:latin typeface="+mn-lt"/>
            </a:endParaRPr>
          </a:p>
        </p:txBody>
      </p:sp>
      <p:sp>
        <p:nvSpPr>
          <p:cNvPr id="43" name="LogoImage"/>
          <p:cNvSpPr>
            <a:spLocks noEditPoints="1"/>
          </p:cNvSpPr>
          <p:nvPr/>
        </p:nvSpPr>
        <p:spPr bwMode="white">
          <a:xfrm>
            <a:off x="2269098" y="182925"/>
            <a:ext cx="2176978" cy="238073"/>
          </a:xfrm>
          <a:custGeom>
            <a:avLst/>
            <a:gdLst>
              <a:gd name="T0" fmla="*/ 504 w 5516"/>
              <a:gd name="T1" fmla="*/ 26 h 606"/>
              <a:gd name="T2" fmla="*/ 18 w 5516"/>
              <a:gd name="T3" fmla="*/ 22 h 606"/>
              <a:gd name="T4" fmla="*/ 140 w 5516"/>
              <a:gd name="T5" fmla="*/ 436 h 606"/>
              <a:gd name="T6" fmla="*/ 408 w 5516"/>
              <a:gd name="T7" fmla="*/ 372 h 606"/>
              <a:gd name="T8" fmla="*/ 696 w 5516"/>
              <a:gd name="T9" fmla="*/ 422 h 606"/>
              <a:gd name="T10" fmla="*/ 768 w 5516"/>
              <a:gd name="T11" fmla="*/ 196 h 606"/>
              <a:gd name="T12" fmla="*/ 1272 w 5516"/>
              <a:gd name="T13" fmla="*/ 26 h 606"/>
              <a:gd name="T14" fmla="*/ 1302 w 5516"/>
              <a:gd name="T15" fmla="*/ 338 h 606"/>
              <a:gd name="T16" fmla="*/ 1202 w 5516"/>
              <a:gd name="T17" fmla="*/ 436 h 606"/>
              <a:gd name="T18" fmla="*/ 1030 w 5516"/>
              <a:gd name="T19" fmla="*/ 10 h 606"/>
              <a:gd name="T20" fmla="*/ 960 w 5516"/>
              <a:gd name="T21" fmla="*/ 22 h 606"/>
              <a:gd name="T22" fmla="*/ 804 w 5516"/>
              <a:gd name="T23" fmla="*/ 434 h 606"/>
              <a:gd name="T24" fmla="*/ 930 w 5516"/>
              <a:gd name="T25" fmla="*/ 246 h 606"/>
              <a:gd name="T26" fmla="*/ 1658 w 5516"/>
              <a:gd name="T27" fmla="*/ 342 h 606"/>
              <a:gd name="T28" fmla="*/ 1368 w 5516"/>
              <a:gd name="T29" fmla="*/ 188 h 606"/>
              <a:gd name="T30" fmla="*/ 1514 w 5516"/>
              <a:gd name="T31" fmla="*/ 436 h 606"/>
              <a:gd name="T32" fmla="*/ 1564 w 5516"/>
              <a:gd name="T33" fmla="*/ 434 h 606"/>
              <a:gd name="T34" fmla="*/ 1904 w 5516"/>
              <a:gd name="T35" fmla="*/ 184 h 606"/>
              <a:gd name="T36" fmla="*/ 1728 w 5516"/>
              <a:gd name="T37" fmla="*/ 366 h 606"/>
              <a:gd name="T38" fmla="*/ 2102 w 5516"/>
              <a:gd name="T39" fmla="*/ 192 h 606"/>
              <a:gd name="T40" fmla="*/ 1982 w 5516"/>
              <a:gd name="T41" fmla="*/ 320 h 606"/>
              <a:gd name="T42" fmla="*/ 2478 w 5516"/>
              <a:gd name="T43" fmla="*/ 242 h 606"/>
              <a:gd name="T44" fmla="*/ 2406 w 5516"/>
              <a:gd name="T45" fmla="*/ 390 h 606"/>
              <a:gd name="T46" fmla="*/ 2234 w 5516"/>
              <a:gd name="T47" fmla="*/ 192 h 606"/>
              <a:gd name="T48" fmla="*/ 2478 w 5516"/>
              <a:gd name="T49" fmla="*/ 242 h 606"/>
              <a:gd name="T50" fmla="*/ 2928 w 5516"/>
              <a:gd name="T51" fmla="*/ 448 h 606"/>
              <a:gd name="T52" fmla="*/ 2958 w 5516"/>
              <a:gd name="T53" fmla="*/ 230 h 606"/>
              <a:gd name="T54" fmla="*/ 2716 w 5516"/>
              <a:gd name="T55" fmla="*/ 54 h 606"/>
              <a:gd name="T56" fmla="*/ 2714 w 5516"/>
              <a:gd name="T57" fmla="*/ 36 h 606"/>
              <a:gd name="T58" fmla="*/ 2928 w 5516"/>
              <a:gd name="T59" fmla="*/ 448 h 606"/>
              <a:gd name="T60" fmla="*/ 3388 w 5516"/>
              <a:gd name="T61" fmla="*/ 4 h 606"/>
              <a:gd name="T62" fmla="*/ 3396 w 5516"/>
              <a:gd name="T63" fmla="*/ 366 h 606"/>
              <a:gd name="T64" fmla="*/ 3580 w 5516"/>
              <a:gd name="T65" fmla="*/ 190 h 606"/>
              <a:gd name="T66" fmla="*/ 3502 w 5516"/>
              <a:gd name="T67" fmla="*/ 432 h 606"/>
              <a:gd name="T68" fmla="*/ 4232 w 5516"/>
              <a:gd name="T69" fmla="*/ 348 h 606"/>
              <a:gd name="T70" fmla="*/ 3858 w 5516"/>
              <a:gd name="T71" fmla="*/ 176 h 606"/>
              <a:gd name="T72" fmla="*/ 3758 w 5516"/>
              <a:gd name="T73" fmla="*/ 446 h 606"/>
              <a:gd name="T74" fmla="*/ 3990 w 5516"/>
              <a:gd name="T75" fmla="*/ 282 h 606"/>
              <a:gd name="T76" fmla="*/ 4042 w 5516"/>
              <a:gd name="T77" fmla="*/ 342 h 606"/>
              <a:gd name="T78" fmla="*/ 4134 w 5516"/>
              <a:gd name="T79" fmla="*/ 448 h 606"/>
              <a:gd name="T80" fmla="*/ 4454 w 5516"/>
              <a:gd name="T81" fmla="*/ 202 h 606"/>
              <a:gd name="T82" fmla="*/ 4284 w 5516"/>
              <a:gd name="T83" fmla="*/ 174 h 606"/>
              <a:gd name="T84" fmla="*/ 4432 w 5516"/>
              <a:gd name="T85" fmla="*/ 588 h 606"/>
              <a:gd name="T86" fmla="*/ 4792 w 5516"/>
              <a:gd name="T87" fmla="*/ 382 h 606"/>
              <a:gd name="T88" fmla="*/ 5192 w 5516"/>
              <a:gd name="T89" fmla="*/ 340 h 606"/>
              <a:gd name="T90" fmla="*/ 4902 w 5516"/>
              <a:gd name="T91" fmla="*/ 186 h 606"/>
              <a:gd name="T92" fmla="*/ 4850 w 5516"/>
              <a:gd name="T93" fmla="*/ 274 h 606"/>
              <a:gd name="T94" fmla="*/ 4742 w 5516"/>
              <a:gd name="T95" fmla="*/ 194 h 606"/>
              <a:gd name="T96" fmla="*/ 4794 w 5516"/>
              <a:gd name="T97" fmla="*/ 418 h 606"/>
              <a:gd name="T98" fmla="*/ 5004 w 5516"/>
              <a:gd name="T99" fmla="*/ 338 h 606"/>
              <a:gd name="T100" fmla="*/ 5098 w 5516"/>
              <a:gd name="T101" fmla="*/ 446 h 606"/>
              <a:gd name="T102" fmla="*/ 5418 w 5516"/>
              <a:gd name="T103" fmla="*/ 192 h 606"/>
              <a:gd name="T104" fmla="*/ 5348 w 5516"/>
              <a:gd name="T105" fmla="*/ 180 h 606"/>
              <a:gd name="T106" fmla="*/ 5254 w 5516"/>
              <a:gd name="T107" fmla="*/ 606 h 6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516" h="606">
                <a:moveTo>
                  <a:pt x="366" y="448"/>
                </a:moveTo>
                <a:cubicBezTo>
                  <a:pt x="524" y="448"/>
                  <a:pt x="524" y="448"/>
                  <a:pt x="524" y="448"/>
                </a:cubicBezTo>
                <a:cubicBezTo>
                  <a:pt x="524" y="436"/>
                  <a:pt x="524" y="436"/>
                  <a:pt x="524" y="436"/>
                </a:cubicBezTo>
                <a:cubicBezTo>
                  <a:pt x="486" y="432"/>
                  <a:pt x="470" y="414"/>
                  <a:pt x="468" y="362"/>
                </a:cubicBezTo>
                <a:cubicBezTo>
                  <a:pt x="454" y="86"/>
                  <a:pt x="454" y="86"/>
                  <a:pt x="454" y="86"/>
                </a:cubicBezTo>
                <a:cubicBezTo>
                  <a:pt x="452" y="46"/>
                  <a:pt x="470" y="30"/>
                  <a:pt x="504" y="26"/>
                </a:cubicBezTo>
                <a:cubicBezTo>
                  <a:pt x="504" y="12"/>
                  <a:pt x="504" y="12"/>
                  <a:pt x="504" y="12"/>
                </a:cubicBezTo>
                <a:cubicBezTo>
                  <a:pt x="394" y="12"/>
                  <a:pt x="394" y="12"/>
                  <a:pt x="394" y="12"/>
                </a:cubicBezTo>
                <a:cubicBezTo>
                  <a:pt x="264" y="350"/>
                  <a:pt x="264" y="350"/>
                  <a:pt x="264" y="350"/>
                </a:cubicBezTo>
                <a:cubicBezTo>
                  <a:pt x="132" y="10"/>
                  <a:pt x="132" y="10"/>
                  <a:pt x="132" y="10"/>
                </a:cubicBezTo>
                <a:cubicBezTo>
                  <a:pt x="18" y="10"/>
                  <a:pt x="18" y="10"/>
                  <a:pt x="18" y="10"/>
                </a:cubicBezTo>
                <a:cubicBezTo>
                  <a:pt x="18" y="22"/>
                  <a:pt x="18" y="22"/>
                  <a:pt x="18" y="22"/>
                </a:cubicBezTo>
                <a:cubicBezTo>
                  <a:pt x="40" y="26"/>
                  <a:pt x="74" y="32"/>
                  <a:pt x="72" y="84"/>
                </a:cubicBezTo>
                <a:cubicBezTo>
                  <a:pt x="58" y="352"/>
                  <a:pt x="58" y="352"/>
                  <a:pt x="58" y="352"/>
                </a:cubicBezTo>
                <a:cubicBezTo>
                  <a:pt x="54" y="410"/>
                  <a:pt x="38" y="430"/>
                  <a:pt x="0" y="436"/>
                </a:cubicBezTo>
                <a:cubicBezTo>
                  <a:pt x="0" y="448"/>
                  <a:pt x="0" y="448"/>
                  <a:pt x="0" y="448"/>
                </a:cubicBezTo>
                <a:cubicBezTo>
                  <a:pt x="140" y="448"/>
                  <a:pt x="140" y="448"/>
                  <a:pt x="140" y="448"/>
                </a:cubicBezTo>
                <a:cubicBezTo>
                  <a:pt x="140" y="436"/>
                  <a:pt x="140" y="436"/>
                  <a:pt x="140" y="436"/>
                </a:cubicBezTo>
                <a:cubicBezTo>
                  <a:pt x="98" y="428"/>
                  <a:pt x="84" y="414"/>
                  <a:pt x="88" y="356"/>
                </a:cubicBezTo>
                <a:cubicBezTo>
                  <a:pt x="100" y="86"/>
                  <a:pt x="100" y="86"/>
                  <a:pt x="100" y="86"/>
                </a:cubicBezTo>
                <a:cubicBezTo>
                  <a:pt x="240" y="444"/>
                  <a:pt x="240" y="444"/>
                  <a:pt x="240" y="444"/>
                </a:cubicBezTo>
                <a:cubicBezTo>
                  <a:pt x="258" y="444"/>
                  <a:pt x="258" y="444"/>
                  <a:pt x="258" y="444"/>
                </a:cubicBezTo>
                <a:cubicBezTo>
                  <a:pt x="396" y="86"/>
                  <a:pt x="396" y="86"/>
                  <a:pt x="396" y="86"/>
                </a:cubicBezTo>
                <a:cubicBezTo>
                  <a:pt x="408" y="372"/>
                  <a:pt x="408" y="372"/>
                  <a:pt x="408" y="372"/>
                </a:cubicBezTo>
                <a:cubicBezTo>
                  <a:pt x="410" y="416"/>
                  <a:pt x="398" y="430"/>
                  <a:pt x="366" y="434"/>
                </a:cubicBezTo>
                <a:lnTo>
                  <a:pt x="366" y="448"/>
                </a:lnTo>
                <a:close/>
                <a:moveTo>
                  <a:pt x="670" y="456"/>
                </a:moveTo>
                <a:cubicBezTo>
                  <a:pt x="708" y="456"/>
                  <a:pt x="756" y="440"/>
                  <a:pt x="782" y="412"/>
                </a:cubicBezTo>
                <a:cubicBezTo>
                  <a:pt x="776" y="400"/>
                  <a:pt x="776" y="400"/>
                  <a:pt x="776" y="400"/>
                </a:cubicBezTo>
                <a:cubicBezTo>
                  <a:pt x="750" y="416"/>
                  <a:pt x="722" y="422"/>
                  <a:pt x="696" y="422"/>
                </a:cubicBezTo>
                <a:cubicBezTo>
                  <a:pt x="620" y="422"/>
                  <a:pt x="592" y="358"/>
                  <a:pt x="592" y="290"/>
                </a:cubicBezTo>
                <a:cubicBezTo>
                  <a:pt x="592" y="258"/>
                  <a:pt x="600" y="236"/>
                  <a:pt x="614" y="222"/>
                </a:cubicBezTo>
                <a:cubicBezTo>
                  <a:pt x="626" y="210"/>
                  <a:pt x="646" y="204"/>
                  <a:pt x="664" y="204"/>
                </a:cubicBezTo>
                <a:cubicBezTo>
                  <a:pt x="690" y="204"/>
                  <a:pt x="722" y="214"/>
                  <a:pt x="744" y="244"/>
                </a:cubicBezTo>
                <a:cubicBezTo>
                  <a:pt x="750" y="244"/>
                  <a:pt x="750" y="244"/>
                  <a:pt x="750" y="244"/>
                </a:cubicBezTo>
                <a:cubicBezTo>
                  <a:pt x="758" y="234"/>
                  <a:pt x="766" y="212"/>
                  <a:pt x="768" y="196"/>
                </a:cubicBezTo>
                <a:cubicBezTo>
                  <a:pt x="748" y="180"/>
                  <a:pt x="720" y="172"/>
                  <a:pt x="686" y="172"/>
                </a:cubicBezTo>
                <a:cubicBezTo>
                  <a:pt x="604" y="172"/>
                  <a:pt x="544" y="246"/>
                  <a:pt x="544" y="326"/>
                </a:cubicBezTo>
                <a:cubicBezTo>
                  <a:pt x="540" y="390"/>
                  <a:pt x="576" y="456"/>
                  <a:pt x="670" y="456"/>
                </a:cubicBezTo>
                <a:moveTo>
                  <a:pt x="1272" y="98"/>
                </a:moveTo>
                <a:cubicBezTo>
                  <a:pt x="1292" y="98"/>
                  <a:pt x="1308" y="82"/>
                  <a:pt x="1308" y="62"/>
                </a:cubicBezTo>
                <a:cubicBezTo>
                  <a:pt x="1308" y="42"/>
                  <a:pt x="1292" y="26"/>
                  <a:pt x="1272" y="26"/>
                </a:cubicBezTo>
                <a:cubicBezTo>
                  <a:pt x="1252" y="26"/>
                  <a:pt x="1238" y="42"/>
                  <a:pt x="1238" y="62"/>
                </a:cubicBezTo>
                <a:cubicBezTo>
                  <a:pt x="1238" y="82"/>
                  <a:pt x="1252" y="98"/>
                  <a:pt x="1272" y="98"/>
                </a:cubicBezTo>
                <a:moveTo>
                  <a:pt x="1202" y="448"/>
                </a:moveTo>
                <a:cubicBezTo>
                  <a:pt x="1346" y="448"/>
                  <a:pt x="1346" y="448"/>
                  <a:pt x="1346" y="448"/>
                </a:cubicBezTo>
                <a:cubicBezTo>
                  <a:pt x="1346" y="436"/>
                  <a:pt x="1346" y="436"/>
                  <a:pt x="1346" y="436"/>
                </a:cubicBezTo>
                <a:cubicBezTo>
                  <a:pt x="1304" y="432"/>
                  <a:pt x="1302" y="434"/>
                  <a:pt x="1302" y="338"/>
                </a:cubicBezTo>
                <a:cubicBezTo>
                  <a:pt x="1302" y="176"/>
                  <a:pt x="1302" y="176"/>
                  <a:pt x="1302" y="176"/>
                </a:cubicBezTo>
                <a:cubicBezTo>
                  <a:pt x="1200" y="176"/>
                  <a:pt x="1200" y="176"/>
                  <a:pt x="1200" y="176"/>
                </a:cubicBezTo>
                <a:cubicBezTo>
                  <a:pt x="1200" y="188"/>
                  <a:pt x="1200" y="188"/>
                  <a:pt x="1200" y="188"/>
                </a:cubicBezTo>
                <a:cubicBezTo>
                  <a:pt x="1244" y="190"/>
                  <a:pt x="1250" y="192"/>
                  <a:pt x="1250" y="268"/>
                </a:cubicBezTo>
                <a:cubicBezTo>
                  <a:pt x="1250" y="336"/>
                  <a:pt x="1250" y="336"/>
                  <a:pt x="1250" y="336"/>
                </a:cubicBezTo>
                <a:cubicBezTo>
                  <a:pt x="1250" y="432"/>
                  <a:pt x="1248" y="432"/>
                  <a:pt x="1202" y="436"/>
                </a:cubicBezTo>
                <a:cubicBezTo>
                  <a:pt x="1178" y="434"/>
                  <a:pt x="1154" y="426"/>
                  <a:pt x="1076" y="338"/>
                </a:cubicBezTo>
                <a:cubicBezTo>
                  <a:pt x="1046" y="302"/>
                  <a:pt x="996" y="244"/>
                  <a:pt x="968" y="206"/>
                </a:cubicBezTo>
                <a:cubicBezTo>
                  <a:pt x="1062" y="102"/>
                  <a:pt x="1062" y="102"/>
                  <a:pt x="1062" y="102"/>
                </a:cubicBezTo>
                <a:cubicBezTo>
                  <a:pt x="1108" y="52"/>
                  <a:pt x="1132" y="26"/>
                  <a:pt x="1176" y="24"/>
                </a:cubicBezTo>
                <a:cubicBezTo>
                  <a:pt x="1176" y="10"/>
                  <a:pt x="1176" y="10"/>
                  <a:pt x="1176" y="10"/>
                </a:cubicBezTo>
                <a:cubicBezTo>
                  <a:pt x="1030" y="10"/>
                  <a:pt x="1030" y="10"/>
                  <a:pt x="1030" y="10"/>
                </a:cubicBezTo>
                <a:cubicBezTo>
                  <a:pt x="1030" y="22"/>
                  <a:pt x="1030" y="22"/>
                  <a:pt x="1030" y="22"/>
                </a:cubicBezTo>
                <a:cubicBezTo>
                  <a:pt x="1050" y="26"/>
                  <a:pt x="1056" y="32"/>
                  <a:pt x="1056" y="46"/>
                </a:cubicBezTo>
                <a:cubicBezTo>
                  <a:pt x="1056" y="56"/>
                  <a:pt x="1054" y="72"/>
                  <a:pt x="1026" y="102"/>
                </a:cubicBezTo>
                <a:cubicBezTo>
                  <a:pt x="910" y="230"/>
                  <a:pt x="910" y="230"/>
                  <a:pt x="910" y="230"/>
                </a:cubicBezTo>
                <a:cubicBezTo>
                  <a:pt x="910" y="148"/>
                  <a:pt x="910" y="148"/>
                  <a:pt x="910" y="148"/>
                </a:cubicBezTo>
                <a:cubicBezTo>
                  <a:pt x="910" y="36"/>
                  <a:pt x="916" y="28"/>
                  <a:pt x="960" y="22"/>
                </a:cubicBezTo>
                <a:cubicBezTo>
                  <a:pt x="960" y="8"/>
                  <a:pt x="960" y="8"/>
                  <a:pt x="960" y="8"/>
                </a:cubicBezTo>
                <a:cubicBezTo>
                  <a:pt x="804" y="8"/>
                  <a:pt x="804" y="8"/>
                  <a:pt x="804" y="8"/>
                </a:cubicBezTo>
                <a:cubicBezTo>
                  <a:pt x="804" y="22"/>
                  <a:pt x="804" y="22"/>
                  <a:pt x="804" y="22"/>
                </a:cubicBezTo>
                <a:cubicBezTo>
                  <a:pt x="852" y="26"/>
                  <a:pt x="854" y="36"/>
                  <a:pt x="854" y="148"/>
                </a:cubicBezTo>
                <a:cubicBezTo>
                  <a:pt x="854" y="300"/>
                  <a:pt x="854" y="300"/>
                  <a:pt x="854" y="300"/>
                </a:cubicBezTo>
                <a:cubicBezTo>
                  <a:pt x="854" y="422"/>
                  <a:pt x="850" y="430"/>
                  <a:pt x="804" y="434"/>
                </a:cubicBezTo>
                <a:cubicBezTo>
                  <a:pt x="804" y="446"/>
                  <a:pt x="804" y="446"/>
                  <a:pt x="804" y="446"/>
                </a:cubicBezTo>
                <a:cubicBezTo>
                  <a:pt x="960" y="446"/>
                  <a:pt x="960" y="446"/>
                  <a:pt x="960" y="446"/>
                </a:cubicBezTo>
                <a:cubicBezTo>
                  <a:pt x="960" y="434"/>
                  <a:pt x="960" y="434"/>
                  <a:pt x="960" y="434"/>
                </a:cubicBezTo>
                <a:cubicBezTo>
                  <a:pt x="910" y="428"/>
                  <a:pt x="910" y="424"/>
                  <a:pt x="910" y="292"/>
                </a:cubicBezTo>
                <a:cubicBezTo>
                  <a:pt x="910" y="268"/>
                  <a:pt x="910" y="268"/>
                  <a:pt x="910" y="268"/>
                </a:cubicBezTo>
                <a:cubicBezTo>
                  <a:pt x="930" y="246"/>
                  <a:pt x="930" y="246"/>
                  <a:pt x="930" y="246"/>
                </a:cubicBezTo>
                <a:cubicBezTo>
                  <a:pt x="982" y="310"/>
                  <a:pt x="1038" y="380"/>
                  <a:pt x="1098" y="448"/>
                </a:cubicBezTo>
                <a:cubicBezTo>
                  <a:pt x="1202" y="448"/>
                  <a:pt x="1202" y="448"/>
                  <a:pt x="1202" y="448"/>
                </a:cubicBezTo>
                <a:close/>
                <a:moveTo>
                  <a:pt x="1564" y="448"/>
                </a:moveTo>
                <a:cubicBezTo>
                  <a:pt x="1706" y="448"/>
                  <a:pt x="1706" y="448"/>
                  <a:pt x="1706" y="448"/>
                </a:cubicBezTo>
                <a:cubicBezTo>
                  <a:pt x="1706" y="436"/>
                  <a:pt x="1706" y="436"/>
                  <a:pt x="1706" y="436"/>
                </a:cubicBezTo>
                <a:cubicBezTo>
                  <a:pt x="1658" y="434"/>
                  <a:pt x="1658" y="432"/>
                  <a:pt x="1658" y="342"/>
                </a:cubicBezTo>
                <a:cubicBezTo>
                  <a:pt x="1658" y="280"/>
                  <a:pt x="1658" y="280"/>
                  <a:pt x="1658" y="280"/>
                </a:cubicBezTo>
                <a:cubicBezTo>
                  <a:pt x="1658" y="198"/>
                  <a:pt x="1612" y="172"/>
                  <a:pt x="1570" y="172"/>
                </a:cubicBezTo>
                <a:cubicBezTo>
                  <a:pt x="1534" y="172"/>
                  <a:pt x="1498" y="188"/>
                  <a:pt x="1470" y="224"/>
                </a:cubicBezTo>
                <a:cubicBezTo>
                  <a:pt x="1470" y="176"/>
                  <a:pt x="1470" y="176"/>
                  <a:pt x="1470" y="176"/>
                </a:cubicBezTo>
                <a:cubicBezTo>
                  <a:pt x="1368" y="176"/>
                  <a:pt x="1368" y="176"/>
                  <a:pt x="1368" y="176"/>
                </a:cubicBezTo>
                <a:cubicBezTo>
                  <a:pt x="1368" y="188"/>
                  <a:pt x="1368" y="188"/>
                  <a:pt x="1368" y="188"/>
                </a:cubicBezTo>
                <a:cubicBezTo>
                  <a:pt x="1412" y="190"/>
                  <a:pt x="1418" y="192"/>
                  <a:pt x="1418" y="268"/>
                </a:cubicBezTo>
                <a:cubicBezTo>
                  <a:pt x="1418" y="336"/>
                  <a:pt x="1418" y="336"/>
                  <a:pt x="1418" y="336"/>
                </a:cubicBezTo>
                <a:cubicBezTo>
                  <a:pt x="1418" y="434"/>
                  <a:pt x="1418" y="434"/>
                  <a:pt x="1370" y="436"/>
                </a:cubicBezTo>
                <a:cubicBezTo>
                  <a:pt x="1370" y="448"/>
                  <a:pt x="1370" y="448"/>
                  <a:pt x="1370" y="448"/>
                </a:cubicBezTo>
                <a:cubicBezTo>
                  <a:pt x="1514" y="448"/>
                  <a:pt x="1514" y="448"/>
                  <a:pt x="1514" y="448"/>
                </a:cubicBezTo>
                <a:cubicBezTo>
                  <a:pt x="1514" y="436"/>
                  <a:pt x="1514" y="436"/>
                  <a:pt x="1514" y="436"/>
                </a:cubicBezTo>
                <a:cubicBezTo>
                  <a:pt x="1472" y="432"/>
                  <a:pt x="1470" y="434"/>
                  <a:pt x="1470" y="338"/>
                </a:cubicBezTo>
                <a:cubicBezTo>
                  <a:pt x="1470" y="262"/>
                  <a:pt x="1470" y="262"/>
                  <a:pt x="1470" y="262"/>
                </a:cubicBezTo>
                <a:cubicBezTo>
                  <a:pt x="1470" y="236"/>
                  <a:pt x="1504" y="206"/>
                  <a:pt x="1546" y="206"/>
                </a:cubicBezTo>
                <a:cubicBezTo>
                  <a:pt x="1580" y="206"/>
                  <a:pt x="1606" y="220"/>
                  <a:pt x="1606" y="286"/>
                </a:cubicBezTo>
                <a:cubicBezTo>
                  <a:pt x="1606" y="340"/>
                  <a:pt x="1606" y="340"/>
                  <a:pt x="1606" y="340"/>
                </a:cubicBezTo>
                <a:cubicBezTo>
                  <a:pt x="1606" y="432"/>
                  <a:pt x="1602" y="432"/>
                  <a:pt x="1564" y="434"/>
                </a:cubicBezTo>
                <a:lnTo>
                  <a:pt x="1564" y="448"/>
                </a:lnTo>
                <a:close/>
                <a:moveTo>
                  <a:pt x="1776" y="222"/>
                </a:moveTo>
                <a:cubicBezTo>
                  <a:pt x="1776" y="200"/>
                  <a:pt x="1796" y="188"/>
                  <a:pt x="1822" y="188"/>
                </a:cubicBezTo>
                <a:cubicBezTo>
                  <a:pt x="1874" y="188"/>
                  <a:pt x="1896" y="236"/>
                  <a:pt x="1900" y="252"/>
                </a:cubicBezTo>
                <a:cubicBezTo>
                  <a:pt x="1912" y="252"/>
                  <a:pt x="1912" y="252"/>
                  <a:pt x="1912" y="252"/>
                </a:cubicBezTo>
                <a:cubicBezTo>
                  <a:pt x="1912" y="212"/>
                  <a:pt x="1908" y="188"/>
                  <a:pt x="1904" y="184"/>
                </a:cubicBezTo>
                <a:cubicBezTo>
                  <a:pt x="1900" y="180"/>
                  <a:pt x="1862" y="170"/>
                  <a:pt x="1824" y="170"/>
                </a:cubicBezTo>
                <a:cubicBezTo>
                  <a:pt x="1768" y="170"/>
                  <a:pt x="1734" y="206"/>
                  <a:pt x="1734" y="248"/>
                </a:cubicBezTo>
                <a:cubicBezTo>
                  <a:pt x="1734" y="340"/>
                  <a:pt x="1890" y="322"/>
                  <a:pt x="1890" y="396"/>
                </a:cubicBezTo>
                <a:cubicBezTo>
                  <a:pt x="1890" y="422"/>
                  <a:pt x="1866" y="436"/>
                  <a:pt x="1826" y="436"/>
                </a:cubicBezTo>
                <a:cubicBezTo>
                  <a:pt x="1788" y="436"/>
                  <a:pt x="1754" y="416"/>
                  <a:pt x="1744" y="366"/>
                </a:cubicBezTo>
                <a:cubicBezTo>
                  <a:pt x="1728" y="366"/>
                  <a:pt x="1728" y="366"/>
                  <a:pt x="1728" y="366"/>
                </a:cubicBezTo>
                <a:cubicBezTo>
                  <a:pt x="1728" y="386"/>
                  <a:pt x="1732" y="422"/>
                  <a:pt x="1734" y="428"/>
                </a:cubicBezTo>
                <a:cubicBezTo>
                  <a:pt x="1744" y="446"/>
                  <a:pt x="1788" y="454"/>
                  <a:pt x="1824" y="454"/>
                </a:cubicBezTo>
                <a:cubicBezTo>
                  <a:pt x="1888" y="454"/>
                  <a:pt x="1928" y="416"/>
                  <a:pt x="1928" y="372"/>
                </a:cubicBezTo>
                <a:cubicBezTo>
                  <a:pt x="1932" y="270"/>
                  <a:pt x="1776" y="286"/>
                  <a:pt x="1776" y="222"/>
                </a:cubicBezTo>
                <a:moveTo>
                  <a:pt x="2030" y="270"/>
                </a:moveTo>
                <a:cubicBezTo>
                  <a:pt x="2034" y="220"/>
                  <a:pt x="2058" y="192"/>
                  <a:pt x="2102" y="192"/>
                </a:cubicBezTo>
                <a:cubicBezTo>
                  <a:pt x="2144" y="192"/>
                  <a:pt x="2170" y="220"/>
                  <a:pt x="2172" y="270"/>
                </a:cubicBezTo>
                <a:lnTo>
                  <a:pt x="2030" y="270"/>
                </a:lnTo>
                <a:close/>
                <a:moveTo>
                  <a:pt x="2030" y="290"/>
                </a:moveTo>
                <a:cubicBezTo>
                  <a:pt x="2222" y="290"/>
                  <a:pt x="2222" y="290"/>
                  <a:pt x="2222" y="290"/>
                </a:cubicBezTo>
                <a:cubicBezTo>
                  <a:pt x="2226" y="228"/>
                  <a:pt x="2192" y="168"/>
                  <a:pt x="2114" y="168"/>
                </a:cubicBezTo>
                <a:cubicBezTo>
                  <a:pt x="2034" y="168"/>
                  <a:pt x="1982" y="232"/>
                  <a:pt x="1982" y="320"/>
                </a:cubicBezTo>
                <a:cubicBezTo>
                  <a:pt x="1982" y="388"/>
                  <a:pt x="2018" y="456"/>
                  <a:pt x="2112" y="456"/>
                </a:cubicBezTo>
                <a:cubicBezTo>
                  <a:pt x="2150" y="456"/>
                  <a:pt x="2198" y="440"/>
                  <a:pt x="2224" y="412"/>
                </a:cubicBezTo>
                <a:cubicBezTo>
                  <a:pt x="2218" y="400"/>
                  <a:pt x="2218" y="400"/>
                  <a:pt x="2218" y="400"/>
                </a:cubicBezTo>
                <a:cubicBezTo>
                  <a:pt x="2192" y="416"/>
                  <a:pt x="2164" y="422"/>
                  <a:pt x="2138" y="422"/>
                </a:cubicBezTo>
                <a:cubicBezTo>
                  <a:pt x="2058" y="420"/>
                  <a:pt x="2028" y="352"/>
                  <a:pt x="2030" y="290"/>
                </a:cubicBezTo>
                <a:moveTo>
                  <a:pt x="2478" y="242"/>
                </a:moveTo>
                <a:cubicBezTo>
                  <a:pt x="2490" y="206"/>
                  <a:pt x="2510" y="192"/>
                  <a:pt x="2528" y="192"/>
                </a:cubicBezTo>
                <a:cubicBezTo>
                  <a:pt x="2528" y="180"/>
                  <a:pt x="2528" y="180"/>
                  <a:pt x="2528" y="180"/>
                </a:cubicBezTo>
                <a:cubicBezTo>
                  <a:pt x="2430" y="180"/>
                  <a:pt x="2430" y="180"/>
                  <a:pt x="2430" y="180"/>
                </a:cubicBezTo>
                <a:cubicBezTo>
                  <a:pt x="2430" y="192"/>
                  <a:pt x="2430" y="192"/>
                  <a:pt x="2430" y="192"/>
                </a:cubicBezTo>
                <a:cubicBezTo>
                  <a:pt x="2454" y="194"/>
                  <a:pt x="2466" y="206"/>
                  <a:pt x="2458" y="234"/>
                </a:cubicBezTo>
                <a:cubicBezTo>
                  <a:pt x="2406" y="390"/>
                  <a:pt x="2406" y="390"/>
                  <a:pt x="2406" y="390"/>
                </a:cubicBezTo>
                <a:cubicBezTo>
                  <a:pt x="2354" y="270"/>
                  <a:pt x="2354" y="270"/>
                  <a:pt x="2354" y="270"/>
                </a:cubicBezTo>
                <a:cubicBezTo>
                  <a:pt x="2340" y="238"/>
                  <a:pt x="2334" y="224"/>
                  <a:pt x="2334" y="212"/>
                </a:cubicBezTo>
                <a:cubicBezTo>
                  <a:pt x="2334" y="202"/>
                  <a:pt x="2340" y="196"/>
                  <a:pt x="2360" y="192"/>
                </a:cubicBezTo>
                <a:cubicBezTo>
                  <a:pt x="2360" y="180"/>
                  <a:pt x="2360" y="180"/>
                  <a:pt x="2360" y="180"/>
                </a:cubicBezTo>
                <a:cubicBezTo>
                  <a:pt x="2234" y="180"/>
                  <a:pt x="2234" y="180"/>
                  <a:pt x="2234" y="180"/>
                </a:cubicBezTo>
                <a:cubicBezTo>
                  <a:pt x="2234" y="192"/>
                  <a:pt x="2234" y="192"/>
                  <a:pt x="2234" y="192"/>
                </a:cubicBezTo>
                <a:cubicBezTo>
                  <a:pt x="2266" y="194"/>
                  <a:pt x="2268" y="198"/>
                  <a:pt x="2310" y="292"/>
                </a:cubicBezTo>
                <a:cubicBezTo>
                  <a:pt x="2382" y="450"/>
                  <a:pt x="2382" y="450"/>
                  <a:pt x="2382" y="450"/>
                </a:cubicBezTo>
                <a:cubicBezTo>
                  <a:pt x="2358" y="512"/>
                  <a:pt x="2320" y="546"/>
                  <a:pt x="2242" y="564"/>
                </a:cubicBezTo>
                <a:cubicBezTo>
                  <a:pt x="2246" y="576"/>
                  <a:pt x="2260" y="600"/>
                  <a:pt x="2268" y="606"/>
                </a:cubicBezTo>
                <a:cubicBezTo>
                  <a:pt x="2370" y="564"/>
                  <a:pt x="2390" y="498"/>
                  <a:pt x="2426" y="396"/>
                </a:cubicBezTo>
                <a:lnTo>
                  <a:pt x="2478" y="242"/>
                </a:lnTo>
                <a:close/>
                <a:moveTo>
                  <a:pt x="2844" y="394"/>
                </a:moveTo>
                <a:cubicBezTo>
                  <a:pt x="2822" y="412"/>
                  <a:pt x="2782" y="416"/>
                  <a:pt x="2750" y="416"/>
                </a:cubicBezTo>
                <a:cubicBezTo>
                  <a:pt x="2670" y="416"/>
                  <a:pt x="2606" y="360"/>
                  <a:pt x="2606" y="284"/>
                </a:cubicBezTo>
                <a:cubicBezTo>
                  <a:pt x="2606" y="236"/>
                  <a:pt x="2626" y="206"/>
                  <a:pt x="2658" y="198"/>
                </a:cubicBezTo>
                <a:cubicBezTo>
                  <a:pt x="2698" y="266"/>
                  <a:pt x="2770" y="338"/>
                  <a:pt x="2844" y="394"/>
                </a:cubicBezTo>
                <a:moveTo>
                  <a:pt x="2928" y="448"/>
                </a:moveTo>
                <a:cubicBezTo>
                  <a:pt x="3022" y="448"/>
                  <a:pt x="3022" y="448"/>
                  <a:pt x="3022" y="448"/>
                </a:cubicBezTo>
                <a:cubicBezTo>
                  <a:pt x="3022" y="436"/>
                  <a:pt x="3022" y="436"/>
                  <a:pt x="3022" y="436"/>
                </a:cubicBezTo>
                <a:cubicBezTo>
                  <a:pt x="2992" y="432"/>
                  <a:pt x="2946" y="408"/>
                  <a:pt x="2896" y="372"/>
                </a:cubicBezTo>
                <a:cubicBezTo>
                  <a:pt x="2914" y="342"/>
                  <a:pt x="2918" y="300"/>
                  <a:pt x="2922" y="270"/>
                </a:cubicBezTo>
                <a:cubicBezTo>
                  <a:pt x="2926" y="244"/>
                  <a:pt x="2946" y="244"/>
                  <a:pt x="2958" y="242"/>
                </a:cubicBezTo>
                <a:cubicBezTo>
                  <a:pt x="2958" y="230"/>
                  <a:pt x="2958" y="230"/>
                  <a:pt x="2958" y="230"/>
                </a:cubicBezTo>
                <a:cubicBezTo>
                  <a:pt x="2834" y="230"/>
                  <a:pt x="2834" y="230"/>
                  <a:pt x="2834" y="230"/>
                </a:cubicBezTo>
                <a:cubicBezTo>
                  <a:pt x="2834" y="242"/>
                  <a:pt x="2834" y="242"/>
                  <a:pt x="2834" y="242"/>
                </a:cubicBezTo>
                <a:cubicBezTo>
                  <a:pt x="2864" y="246"/>
                  <a:pt x="2892" y="250"/>
                  <a:pt x="2892" y="294"/>
                </a:cubicBezTo>
                <a:cubicBezTo>
                  <a:pt x="2892" y="318"/>
                  <a:pt x="2888" y="342"/>
                  <a:pt x="2878" y="358"/>
                </a:cubicBezTo>
                <a:cubicBezTo>
                  <a:pt x="2770" y="274"/>
                  <a:pt x="2670" y="156"/>
                  <a:pt x="2670" y="96"/>
                </a:cubicBezTo>
                <a:cubicBezTo>
                  <a:pt x="2670" y="66"/>
                  <a:pt x="2688" y="54"/>
                  <a:pt x="2716" y="54"/>
                </a:cubicBezTo>
                <a:cubicBezTo>
                  <a:pt x="2752" y="54"/>
                  <a:pt x="2784" y="78"/>
                  <a:pt x="2800" y="124"/>
                </a:cubicBezTo>
                <a:cubicBezTo>
                  <a:pt x="2812" y="124"/>
                  <a:pt x="2812" y="124"/>
                  <a:pt x="2812" y="124"/>
                </a:cubicBezTo>
                <a:cubicBezTo>
                  <a:pt x="2810" y="42"/>
                  <a:pt x="2810" y="42"/>
                  <a:pt x="2810" y="42"/>
                </a:cubicBezTo>
                <a:cubicBezTo>
                  <a:pt x="2798" y="42"/>
                  <a:pt x="2798" y="42"/>
                  <a:pt x="2798" y="42"/>
                </a:cubicBezTo>
                <a:cubicBezTo>
                  <a:pt x="2798" y="48"/>
                  <a:pt x="2792" y="52"/>
                  <a:pt x="2788" y="52"/>
                </a:cubicBezTo>
                <a:cubicBezTo>
                  <a:pt x="2772" y="52"/>
                  <a:pt x="2752" y="36"/>
                  <a:pt x="2714" y="36"/>
                </a:cubicBezTo>
                <a:cubicBezTo>
                  <a:pt x="2672" y="36"/>
                  <a:pt x="2630" y="62"/>
                  <a:pt x="2630" y="118"/>
                </a:cubicBezTo>
                <a:cubicBezTo>
                  <a:pt x="2630" y="140"/>
                  <a:pt x="2636" y="160"/>
                  <a:pt x="2648" y="182"/>
                </a:cubicBezTo>
                <a:cubicBezTo>
                  <a:pt x="2592" y="200"/>
                  <a:pt x="2562" y="248"/>
                  <a:pt x="2562" y="304"/>
                </a:cubicBezTo>
                <a:cubicBezTo>
                  <a:pt x="2562" y="406"/>
                  <a:pt x="2640" y="460"/>
                  <a:pt x="2726" y="460"/>
                </a:cubicBezTo>
                <a:cubicBezTo>
                  <a:pt x="2780" y="460"/>
                  <a:pt x="2824" y="444"/>
                  <a:pt x="2862" y="410"/>
                </a:cubicBezTo>
                <a:cubicBezTo>
                  <a:pt x="2888" y="424"/>
                  <a:pt x="2912" y="442"/>
                  <a:pt x="2928" y="448"/>
                </a:cubicBezTo>
                <a:moveTo>
                  <a:pt x="3094" y="212"/>
                </a:moveTo>
                <a:cubicBezTo>
                  <a:pt x="3094" y="88"/>
                  <a:pt x="3154" y="20"/>
                  <a:pt x="3252" y="20"/>
                </a:cubicBezTo>
                <a:cubicBezTo>
                  <a:pt x="3328" y="20"/>
                  <a:pt x="3372" y="58"/>
                  <a:pt x="3392" y="134"/>
                </a:cubicBezTo>
                <a:cubicBezTo>
                  <a:pt x="3404" y="134"/>
                  <a:pt x="3404" y="134"/>
                  <a:pt x="3404" y="134"/>
                </a:cubicBezTo>
                <a:cubicBezTo>
                  <a:pt x="3400" y="4"/>
                  <a:pt x="3400" y="4"/>
                  <a:pt x="3400" y="4"/>
                </a:cubicBezTo>
                <a:cubicBezTo>
                  <a:pt x="3388" y="4"/>
                  <a:pt x="3388" y="4"/>
                  <a:pt x="3388" y="4"/>
                </a:cubicBezTo>
                <a:cubicBezTo>
                  <a:pt x="3384" y="14"/>
                  <a:pt x="3376" y="18"/>
                  <a:pt x="3364" y="18"/>
                </a:cubicBezTo>
                <a:cubicBezTo>
                  <a:pt x="3338" y="18"/>
                  <a:pt x="3314" y="0"/>
                  <a:pt x="3248" y="0"/>
                </a:cubicBezTo>
                <a:cubicBezTo>
                  <a:pt x="3118" y="0"/>
                  <a:pt x="3030" y="102"/>
                  <a:pt x="3030" y="242"/>
                </a:cubicBezTo>
                <a:cubicBezTo>
                  <a:pt x="3030" y="376"/>
                  <a:pt x="3110" y="460"/>
                  <a:pt x="3238" y="460"/>
                </a:cubicBezTo>
                <a:cubicBezTo>
                  <a:pt x="3320" y="460"/>
                  <a:pt x="3384" y="420"/>
                  <a:pt x="3408" y="380"/>
                </a:cubicBezTo>
                <a:cubicBezTo>
                  <a:pt x="3396" y="366"/>
                  <a:pt x="3396" y="366"/>
                  <a:pt x="3396" y="366"/>
                </a:cubicBezTo>
                <a:cubicBezTo>
                  <a:pt x="3370" y="402"/>
                  <a:pt x="3314" y="426"/>
                  <a:pt x="3256" y="426"/>
                </a:cubicBezTo>
                <a:cubicBezTo>
                  <a:pt x="3156" y="426"/>
                  <a:pt x="3094" y="340"/>
                  <a:pt x="3094" y="212"/>
                </a:cubicBezTo>
                <a:moveTo>
                  <a:pt x="3678" y="328"/>
                </a:moveTo>
                <a:cubicBezTo>
                  <a:pt x="3678" y="392"/>
                  <a:pt x="3650" y="430"/>
                  <a:pt x="3592" y="430"/>
                </a:cubicBezTo>
                <a:cubicBezTo>
                  <a:pt x="3542" y="430"/>
                  <a:pt x="3496" y="384"/>
                  <a:pt x="3496" y="292"/>
                </a:cubicBezTo>
                <a:cubicBezTo>
                  <a:pt x="3496" y="226"/>
                  <a:pt x="3528" y="190"/>
                  <a:pt x="3580" y="190"/>
                </a:cubicBezTo>
                <a:cubicBezTo>
                  <a:pt x="3628" y="192"/>
                  <a:pt x="3678" y="238"/>
                  <a:pt x="3678" y="328"/>
                </a:cubicBezTo>
                <a:moveTo>
                  <a:pt x="3732" y="312"/>
                </a:moveTo>
                <a:cubicBezTo>
                  <a:pt x="3732" y="260"/>
                  <a:pt x="3710" y="214"/>
                  <a:pt x="3672" y="190"/>
                </a:cubicBezTo>
                <a:cubicBezTo>
                  <a:pt x="3650" y="176"/>
                  <a:pt x="3620" y="168"/>
                  <a:pt x="3588" y="168"/>
                </a:cubicBezTo>
                <a:cubicBezTo>
                  <a:pt x="3502" y="168"/>
                  <a:pt x="3442" y="230"/>
                  <a:pt x="3442" y="310"/>
                </a:cubicBezTo>
                <a:cubicBezTo>
                  <a:pt x="3442" y="364"/>
                  <a:pt x="3464" y="408"/>
                  <a:pt x="3502" y="432"/>
                </a:cubicBezTo>
                <a:cubicBezTo>
                  <a:pt x="3524" y="446"/>
                  <a:pt x="3554" y="452"/>
                  <a:pt x="3586" y="452"/>
                </a:cubicBezTo>
                <a:cubicBezTo>
                  <a:pt x="3672" y="454"/>
                  <a:pt x="3732" y="394"/>
                  <a:pt x="3732" y="312"/>
                </a:cubicBezTo>
                <a:moveTo>
                  <a:pt x="4136" y="448"/>
                </a:moveTo>
                <a:cubicBezTo>
                  <a:pt x="4280" y="448"/>
                  <a:pt x="4280" y="448"/>
                  <a:pt x="4280" y="448"/>
                </a:cubicBezTo>
                <a:cubicBezTo>
                  <a:pt x="4280" y="436"/>
                  <a:pt x="4280" y="436"/>
                  <a:pt x="4280" y="436"/>
                </a:cubicBezTo>
                <a:cubicBezTo>
                  <a:pt x="4230" y="434"/>
                  <a:pt x="4232" y="426"/>
                  <a:pt x="4232" y="348"/>
                </a:cubicBezTo>
                <a:cubicBezTo>
                  <a:pt x="4232" y="276"/>
                  <a:pt x="4232" y="276"/>
                  <a:pt x="4232" y="276"/>
                </a:cubicBezTo>
                <a:cubicBezTo>
                  <a:pt x="4232" y="200"/>
                  <a:pt x="4190" y="172"/>
                  <a:pt x="4142" y="172"/>
                </a:cubicBezTo>
                <a:cubicBezTo>
                  <a:pt x="4098" y="172"/>
                  <a:pt x="4064" y="196"/>
                  <a:pt x="4038" y="232"/>
                </a:cubicBezTo>
                <a:cubicBezTo>
                  <a:pt x="4028" y="194"/>
                  <a:pt x="4000" y="172"/>
                  <a:pt x="3954" y="172"/>
                </a:cubicBezTo>
                <a:cubicBezTo>
                  <a:pt x="3916" y="172"/>
                  <a:pt x="3880" y="196"/>
                  <a:pt x="3858" y="224"/>
                </a:cubicBezTo>
                <a:cubicBezTo>
                  <a:pt x="3858" y="176"/>
                  <a:pt x="3858" y="176"/>
                  <a:pt x="3858" y="176"/>
                </a:cubicBezTo>
                <a:cubicBezTo>
                  <a:pt x="3756" y="176"/>
                  <a:pt x="3756" y="176"/>
                  <a:pt x="3756" y="176"/>
                </a:cubicBezTo>
                <a:cubicBezTo>
                  <a:pt x="3756" y="188"/>
                  <a:pt x="3756" y="188"/>
                  <a:pt x="3756" y="188"/>
                </a:cubicBezTo>
                <a:cubicBezTo>
                  <a:pt x="3800" y="190"/>
                  <a:pt x="3806" y="192"/>
                  <a:pt x="3806" y="268"/>
                </a:cubicBezTo>
                <a:cubicBezTo>
                  <a:pt x="3806" y="346"/>
                  <a:pt x="3806" y="346"/>
                  <a:pt x="3806" y="346"/>
                </a:cubicBezTo>
                <a:cubicBezTo>
                  <a:pt x="3806" y="434"/>
                  <a:pt x="3804" y="434"/>
                  <a:pt x="3758" y="434"/>
                </a:cubicBezTo>
                <a:cubicBezTo>
                  <a:pt x="3758" y="446"/>
                  <a:pt x="3758" y="446"/>
                  <a:pt x="3758" y="446"/>
                </a:cubicBezTo>
                <a:cubicBezTo>
                  <a:pt x="3902" y="446"/>
                  <a:pt x="3902" y="446"/>
                  <a:pt x="3902" y="446"/>
                </a:cubicBezTo>
                <a:cubicBezTo>
                  <a:pt x="3902" y="434"/>
                  <a:pt x="3902" y="434"/>
                  <a:pt x="3902" y="434"/>
                </a:cubicBezTo>
                <a:cubicBezTo>
                  <a:pt x="3862" y="430"/>
                  <a:pt x="3858" y="430"/>
                  <a:pt x="3858" y="342"/>
                </a:cubicBezTo>
                <a:cubicBezTo>
                  <a:pt x="3858" y="262"/>
                  <a:pt x="3858" y="262"/>
                  <a:pt x="3858" y="262"/>
                </a:cubicBezTo>
                <a:cubicBezTo>
                  <a:pt x="3858" y="234"/>
                  <a:pt x="3894" y="204"/>
                  <a:pt x="3932" y="204"/>
                </a:cubicBezTo>
                <a:cubicBezTo>
                  <a:pt x="3974" y="204"/>
                  <a:pt x="3990" y="226"/>
                  <a:pt x="3990" y="282"/>
                </a:cubicBezTo>
                <a:cubicBezTo>
                  <a:pt x="3990" y="338"/>
                  <a:pt x="3990" y="338"/>
                  <a:pt x="3990" y="338"/>
                </a:cubicBezTo>
                <a:cubicBezTo>
                  <a:pt x="3990" y="428"/>
                  <a:pt x="3988" y="432"/>
                  <a:pt x="3950" y="436"/>
                </a:cubicBezTo>
                <a:cubicBezTo>
                  <a:pt x="3950" y="448"/>
                  <a:pt x="3950" y="448"/>
                  <a:pt x="3950" y="448"/>
                </a:cubicBezTo>
                <a:cubicBezTo>
                  <a:pt x="4086" y="448"/>
                  <a:pt x="4086" y="448"/>
                  <a:pt x="4086" y="448"/>
                </a:cubicBezTo>
                <a:cubicBezTo>
                  <a:pt x="4086" y="436"/>
                  <a:pt x="4086" y="436"/>
                  <a:pt x="4086" y="436"/>
                </a:cubicBezTo>
                <a:cubicBezTo>
                  <a:pt x="4040" y="432"/>
                  <a:pt x="4042" y="428"/>
                  <a:pt x="4042" y="342"/>
                </a:cubicBezTo>
                <a:cubicBezTo>
                  <a:pt x="4042" y="264"/>
                  <a:pt x="4042" y="264"/>
                  <a:pt x="4042" y="264"/>
                </a:cubicBezTo>
                <a:cubicBezTo>
                  <a:pt x="4042" y="236"/>
                  <a:pt x="4078" y="206"/>
                  <a:pt x="4118" y="206"/>
                </a:cubicBezTo>
                <a:cubicBezTo>
                  <a:pt x="4152" y="206"/>
                  <a:pt x="4174" y="226"/>
                  <a:pt x="4174" y="284"/>
                </a:cubicBezTo>
                <a:cubicBezTo>
                  <a:pt x="4174" y="346"/>
                  <a:pt x="4174" y="346"/>
                  <a:pt x="4174" y="346"/>
                </a:cubicBezTo>
                <a:cubicBezTo>
                  <a:pt x="4174" y="428"/>
                  <a:pt x="4174" y="432"/>
                  <a:pt x="4134" y="436"/>
                </a:cubicBezTo>
                <a:cubicBezTo>
                  <a:pt x="4134" y="448"/>
                  <a:pt x="4134" y="448"/>
                  <a:pt x="4134" y="448"/>
                </a:cubicBezTo>
                <a:lnTo>
                  <a:pt x="4136" y="448"/>
                </a:lnTo>
                <a:close/>
                <a:moveTo>
                  <a:pt x="4546" y="316"/>
                </a:moveTo>
                <a:cubicBezTo>
                  <a:pt x="4546" y="388"/>
                  <a:pt x="4516" y="432"/>
                  <a:pt x="4460" y="432"/>
                </a:cubicBezTo>
                <a:cubicBezTo>
                  <a:pt x="4424" y="432"/>
                  <a:pt x="4384" y="412"/>
                  <a:pt x="4384" y="384"/>
                </a:cubicBezTo>
                <a:cubicBezTo>
                  <a:pt x="4384" y="248"/>
                  <a:pt x="4384" y="248"/>
                  <a:pt x="4384" y="248"/>
                </a:cubicBezTo>
                <a:cubicBezTo>
                  <a:pt x="4384" y="226"/>
                  <a:pt x="4416" y="202"/>
                  <a:pt x="4454" y="202"/>
                </a:cubicBezTo>
                <a:cubicBezTo>
                  <a:pt x="4510" y="206"/>
                  <a:pt x="4546" y="248"/>
                  <a:pt x="4546" y="316"/>
                </a:cubicBezTo>
                <a:moveTo>
                  <a:pt x="4600" y="310"/>
                </a:moveTo>
                <a:cubicBezTo>
                  <a:pt x="4600" y="230"/>
                  <a:pt x="4548" y="170"/>
                  <a:pt x="4478" y="170"/>
                </a:cubicBezTo>
                <a:cubicBezTo>
                  <a:pt x="4438" y="170"/>
                  <a:pt x="4406" y="188"/>
                  <a:pt x="4384" y="214"/>
                </a:cubicBezTo>
                <a:cubicBezTo>
                  <a:pt x="4384" y="174"/>
                  <a:pt x="4384" y="174"/>
                  <a:pt x="4384" y="174"/>
                </a:cubicBezTo>
                <a:cubicBezTo>
                  <a:pt x="4284" y="174"/>
                  <a:pt x="4284" y="174"/>
                  <a:pt x="4284" y="174"/>
                </a:cubicBezTo>
                <a:cubicBezTo>
                  <a:pt x="4284" y="186"/>
                  <a:pt x="4284" y="186"/>
                  <a:pt x="4284" y="186"/>
                </a:cubicBezTo>
                <a:cubicBezTo>
                  <a:pt x="4326" y="188"/>
                  <a:pt x="4332" y="190"/>
                  <a:pt x="4332" y="280"/>
                </a:cubicBezTo>
                <a:cubicBezTo>
                  <a:pt x="4332" y="466"/>
                  <a:pt x="4332" y="466"/>
                  <a:pt x="4332" y="466"/>
                </a:cubicBezTo>
                <a:cubicBezTo>
                  <a:pt x="4332" y="564"/>
                  <a:pt x="4334" y="570"/>
                  <a:pt x="4286" y="574"/>
                </a:cubicBezTo>
                <a:cubicBezTo>
                  <a:pt x="4286" y="588"/>
                  <a:pt x="4286" y="588"/>
                  <a:pt x="4286" y="588"/>
                </a:cubicBezTo>
                <a:cubicBezTo>
                  <a:pt x="4432" y="588"/>
                  <a:pt x="4432" y="588"/>
                  <a:pt x="4432" y="588"/>
                </a:cubicBezTo>
                <a:cubicBezTo>
                  <a:pt x="4432" y="574"/>
                  <a:pt x="4432" y="574"/>
                  <a:pt x="4432" y="574"/>
                </a:cubicBezTo>
                <a:cubicBezTo>
                  <a:pt x="4380" y="572"/>
                  <a:pt x="4384" y="564"/>
                  <a:pt x="4384" y="462"/>
                </a:cubicBezTo>
                <a:cubicBezTo>
                  <a:pt x="4384" y="424"/>
                  <a:pt x="4384" y="424"/>
                  <a:pt x="4384" y="424"/>
                </a:cubicBezTo>
                <a:cubicBezTo>
                  <a:pt x="4404" y="444"/>
                  <a:pt x="4436" y="454"/>
                  <a:pt x="4466" y="454"/>
                </a:cubicBezTo>
                <a:cubicBezTo>
                  <a:pt x="4548" y="454"/>
                  <a:pt x="4600" y="392"/>
                  <a:pt x="4600" y="310"/>
                </a:cubicBezTo>
                <a:moveTo>
                  <a:pt x="4792" y="382"/>
                </a:moveTo>
                <a:cubicBezTo>
                  <a:pt x="4792" y="404"/>
                  <a:pt x="4762" y="424"/>
                  <a:pt x="4736" y="424"/>
                </a:cubicBezTo>
                <a:cubicBezTo>
                  <a:pt x="4712" y="424"/>
                  <a:pt x="4694" y="410"/>
                  <a:pt x="4694" y="378"/>
                </a:cubicBezTo>
                <a:cubicBezTo>
                  <a:pt x="4694" y="322"/>
                  <a:pt x="4752" y="328"/>
                  <a:pt x="4792" y="306"/>
                </a:cubicBezTo>
                <a:cubicBezTo>
                  <a:pt x="4792" y="382"/>
                  <a:pt x="4792" y="382"/>
                  <a:pt x="4792" y="382"/>
                </a:cubicBezTo>
                <a:close/>
                <a:moveTo>
                  <a:pt x="5240" y="434"/>
                </a:moveTo>
                <a:cubicBezTo>
                  <a:pt x="5192" y="432"/>
                  <a:pt x="5192" y="430"/>
                  <a:pt x="5192" y="340"/>
                </a:cubicBezTo>
                <a:cubicBezTo>
                  <a:pt x="5192" y="278"/>
                  <a:pt x="5192" y="278"/>
                  <a:pt x="5192" y="278"/>
                </a:cubicBezTo>
                <a:cubicBezTo>
                  <a:pt x="5192" y="196"/>
                  <a:pt x="5146" y="170"/>
                  <a:pt x="5104" y="170"/>
                </a:cubicBezTo>
                <a:cubicBezTo>
                  <a:pt x="5068" y="170"/>
                  <a:pt x="5032" y="186"/>
                  <a:pt x="5004" y="222"/>
                </a:cubicBezTo>
                <a:cubicBezTo>
                  <a:pt x="5004" y="174"/>
                  <a:pt x="5004" y="174"/>
                  <a:pt x="5004" y="174"/>
                </a:cubicBezTo>
                <a:cubicBezTo>
                  <a:pt x="4902" y="174"/>
                  <a:pt x="4902" y="174"/>
                  <a:pt x="4902" y="174"/>
                </a:cubicBezTo>
                <a:cubicBezTo>
                  <a:pt x="4902" y="186"/>
                  <a:pt x="4902" y="186"/>
                  <a:pt x="4902" y="186"/>
                </a:cubicBezTo>
                <a:cubicBezTo>
                  <a:pt x="4946" y="188"/>
                  <a:pt x="4952" y="190"/>
                  <a:pt x="4952" y="266"/>
                </a:cubicBezTo>
                <a:cubicBezTo>
                  <a:pt x="4952" y="334"/>
                  <a:pt x="4952" y="334"/>
                  <a:pt x="4952" y="334"/>
                </a:cubicBezTo>
                <a:cubicBezTo>
                  <a:pt x="4952" y="430"/>
                  <a:pt x="4952" y="432"/>
                  <a:pt x="4904" y="434"/>
                </a:cubicBezTo>
                <a:cubicBezTo>
                  <a:pt x="4892" y="434"/>
                  <a:pt x="4892" y="434"/>
                  <a:pt x="4892" y="434"/>
                </a:cubicBezTo>
                <a:cubicBezTo>
                  <a:pt x="4854" y="434"/>
                  <a:pt x="4850" y="422"/>
                  <a:pt x="4850" y="366"/>
                </a:cubicBezTo>
                <a:cubicBezTo>
                  <a:pt x="4850" y="274"/>
                  <a:pt x="4850" y="274"/>
                  <a:pt x="4850" y="274"/>
                </a:cubicBezTo>
                <a:cubicBezTo>
                  <a:pt x="4850" y="256"/>
                  <a:pt x="4848" y="240"/>
                  <a:pt x="4844" y="228"/>
                </a:cubicBezTo>
                <a:cubicBezTo>
                  <a:pt x="4830" y="186"/>
                  <a:pt x="4796" y="170"/>
                  <a:pt x="4748" y="170"/>
                </a:cubicBezTo>
                <a:cubicBezTo>
                  <a:pt x="4718" y="170"/>
                  <a:pt x="4674" y="180"/>
                  <a:pt x="4650" y="202"/>
                </a:cubicBezTo>
                <a:cubicBezTo>
                  <a:pt x="4652" y="214"/>
                  <a:pt x="4664" y="240"/>
                  <a:pt x="4670" y="248"/>
                </a:cubicBezTo>
                <a:cubicBezTo>
                  <a:pt x="4676" y="246"/>
                  <a:pt x="4676" y="246"/>
                  <a:pt x="4676" y="246"/>
                </a:cubicBezTo>
                <a:cubicBezTo>
                  <a:pt x="4688" y="216"/>
                  <a:pt x="4708" y="194"/>
                  <a:pt x="4742" y="194"/>
                </a:cubicBezTo>
                <a:cubicBezTo>
                  <a:pt x="4778" y="194"/>
                  <a:pt x="4794" y="220"/>
                  <a:pt x="4794" y="250"/>
                </a:cubicBezTo>
                <a:cubicBezTo>
                  <a:pt x="4794" y="282"/>
                  <a:pt x="4794" y="282"/>
                  <a:pt x="4794" y="282"/>
                </a:cubicBezTo>
                <a:cubicBezTo>
                  <a:pt x="4794" y="302"/>
                  <a:pt x="4702" y="306"/>
                  <a:pt x="4664" y="338"/>
                </a:cubicBezTo>
                <a:cubicBezTo>
                  <a:pt x="4652" y="350"/>
                  <a:pt x="4642" y="364"/>
                  <a:pt x="4642" y="384"/>
                </a:cubicBezTo>
                <a:cubicBezTo>
                  <a:pt x="4642" y="426"/>
                  <a:pt x="4672" y="456"/>
                  <a:pt x="4716" y="456"/>
                </a:cubicBezTo>
                <a:cubicBezTo>
                  <a:pt x="4744" y="456"/>
                  <a:pt x="4768" y="446"/>
                  <a:pt x="4794" y="418"/>
                </a:cubicBezTo>
                <a:cubicBezTo>
                  <a:pt x="4798" y="438"/>
                  <a:pt x="4814" y="448"/>
                  <a:pt x="4842" y="448"/>
                </a:cubicBezTo>
                <a:cubicBezTo>
                  <a:pt x="4906" y="448"/>
                  <a:pt x="4906" y="448"/>
                  <a:pt x="4906" y="448"/>
                </a:cubicBezTo>
                <a:cubicBezTo>
                  <a:pt x="4906" y="448"/>
                  <a:pt x="4906" y="448"/>
                  <a:pt x="4906" y="448"/>
                </a:cubicBezTo>
                <a:cubicBezTo>
                  <a:pt x="5048" y="448"/>
                  <a:pt x="5048" y="448"/>
                  <a:pt x="5048" y="448"/>
                </a:cubicBezTo>
                <a:cubicBezTo>
                  <a:pt x="5048" y="436"/>
                  <a:pt x="5048" y="436"/>
                  <a:pt x="5048" y="436"/>
                </a:cubicBezTo>
                <a:cubicBezTo>
                  <a:pt x="5006" y="432"/>
                  <a:pt x="5004" y="434"/>
                  <a:pt x="5004" y="338"/>
                </a:cubicBezTo>
                <a:cubicBezTo>
                  <a:pt x="5004" y="262"/>
                  <a:pt x="5004" y="262"/>
                  <a:pt x="5004" y="262"/>
                </a:cubicBezTo>
                <a:cubicBezTo>
                  <a:pt x="5004" y="236"/>
                  <a:pt x="5038" y="206"/>
                  <a:pt x="5080" y="206"/>
                </a:cubicBezTo>
                <a:cubicBezTo>
                  <a:pt x="5114" y="206"/>
                  <a:pt x="5140" y="220"/>
                  <a:pt x="5140" y="286"/>
                </a:cubicBezTo>
                <a:cubicBezTo>
                  <a:pt x="5140" y="340"/>
                  <a:pt x="5140" y="340"/>
                  <a:pt x="5140" y="340"/>
                </a:cubicBezTo>
                <a:cubicBezTo>
                  <a:pt x="5140" y="432"/>
                  <a:pt x="5136" y="432"/>
                  <a:pt x="5098" y="434"/>
                </a:cubicBezTo>
                <a:cubicBezTo>
                  <a:pt x="5098" y="446"/>
                  <a:pt x="5098" y="446"/>
                  <a:pt x="5098" y="446"/>
                </a:cubicBezTo>
                <a:cubicBezTo>
                  <a:pt x="5240" y="446"/>
                  <a:pt x="5240" y="446"/>
                  <a:pt x="5240" y="446"/>
                </a:cubicBezTo>
                <a:lnTo>
                  <a:pt x="5240" y="434"/>
                </a:lnTo>
                <a:close/>
                <a:moveTo>
                  <a:pt x="5516" y="192"/>
                </a:moveTo>
                <a:cubicBezTo>
                  <a:pt x="5516" y="180"/>
                  <a:pt x="5516" y="180"/>
                  <a:pt x="5516" y="180"/>
                </a:cubicBezTo>
                <a:cubicBezTo>
                  <a:pt x="5418" y="180"/>
                  <a:pt x="5418" y="180"/>
                  <a:pt x="5418" y="180"/>
                </a:cubicBezTo>
                <a:cubicBezTo>
                  <a:pt x="5418" y="192"/>
                  <a:pt x="5418" y="192"/>
                  <a:pt x="5418" y="192"/>
                </a:cubicBezTo>
                <a:cubicBezTo>
                  <a:pt x="5442" y="194"/>
                  <a:pt x="5454" y="206"/>
                  <a:pt x="5446" y="234"/>
                </a:cubicBezTo>
                <a:cubicBezTo>
                  <a:pt x="5394" y="390"/>
                  <a:pt x="5394" y="390"/>
                  <a:pt x="5394" y="390"/>
                </a:cubicBezTo>
                <a:cubicBezTo>
                  <a:pt x="5342" y="270"/>
                  <a:pt x="5342" y="270"/>
                  <a:pt x="5342" y="270"/>
                </a:cubicBezTo>
                <a:cubicBezTo>
                  <a:pt x="5328" y="238"/>
                  <a:pt x="5322" y="224"/>
                  <a:pt x="5322" y="212"/>
                </a:cubicBezTo>
                <a:cubicBezTo>
                  <a:pt x="5322" y="202"/>
                  <a:pt x="5328" y="196"/>
                  <a:pt x="5348" y="192"/>
                </a:cubicBezTo>
                <a:cubicBezTo>
                  <a:pt x="5348" y="180"/>
                  <a:pt x="5348" y="180"/>
                  <a:pt x="5348" y="180"/>
                </a:cubicBezTo>
                <a:cubicBezTo>
                  <a:pt x="5220" y="180"/>
                  <a:pt x="5220" y="180"/>
                  <a:pt x="5220" y="180"/>
                </a:cubicBezTo>
                <a:cubicBezTo>
                  <a:pt x="5220" y="192"/>
                  <a:pt x="5220" y="192"/>
                  <a:pt x="5220" y="192"/>
                </a:cubicBezTo>
                <a:cubicBezTo>
                  <a:pt x="5252" y="194"/>
                  <a:pt x="5254" y="198"/>
                  <a:pt x="5296" y="292"/>
                </a:cubicBezTo>
                <a:cubicBezTo>
                  <a:pt x="5368" y="450"/>
                  <a:pt x="5368" y="450"/>
                  <a:pt x="5368" y="450"/>
                </a:cubicBezTo>
                <a:cubicBezTo>
                  <a:pt x="5344" y="512"/>
                  <a:pt x="5306" y="546"/>
                  <a:pt x="5228" y="564"/>
                </a:cubicBezTo>
                <a:cubicBezTo>
                  <a:pt x="5232" y="576"/>
                  <a:pt x="5246" y="600"/>
                  <a:pt x="5254" y="606"/>
                </a:cubicBezTo>
                <a:cubicBezTo>
                  <a:pt x="5356" y="564"/>
                  <a:pt x="5376" y="498"/>
                  <a:pt x="5412" y="396"/>
                </a:cubicBezTo>
                <a:cubicBezTo>
                  <a:pt x="5466" y="242"/>
                  <a:pt x="5466" y="242"/>
                  <a:pt x="5466" y="242"/>
                </a:cubicBezTo>
                <a:cubicBezTo>
                  <a:pt x="5478" y="206"/>
                  <a:pt x="5498" y="192"/>
                  <a:pt x="5516" y="192"/>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600" kern="1200">
                <a:solidFill>
                  <a:schemeClr val="tx1"/>
                </a:solidFill>
                <a:latin typeface="Arial" charset="0"/>
                <a:ea typeface="+mn-ea"/>
                <a:cs typeface="+mn-cs"/>
              </a:defRPr>
            </a:lvl1pPr>
            <a:lvl2pPr marL="457200" algn="l" rtl="0" fontAlgn="base">
              <a:spcBef>
                <a:spcPct val="0"/>
              </a:spcBef>
              <a:spcAft>
                <a:spcPct val="0"/>
              </a:spcAft>
              <a:defRPr sz="1600" kern="1200">
                <a:solidFill>
                  <a:schemeClr val="tx1"/>
                </a:solidFill>
                <a:latin typeface="Arial" charset="0"/>
                <a:ea typeface="+mn-ea"/>
                <a:cs typeface="+mn-cs"/>
              </a:defRPr>
            </a:lvl2pPr>
            <a:lvl3pPr marL="914400" algn="l" rtl="0" fontAlgn="base">
              <a:spcBef>
                <a:spcPct val="0"/>
              </a:spcBef>
              <a:spcAft>
                <a:spcPct val="0"/>
              </a:spcAft>
              <a:defRPr sz="1600" kern="1200">
                <a:solidFill>
                  <a:schemeClr val="tx1"/>
                </a:solidFill>
                <a:latin typeface="Arial" charset="0"/>
                <a:ea typeface="+mn-ea"/>
                <a:cs typeface="+mn-cs"/>
              </a:defRPr>
            </a:lvl3pPr>
            <a:lvl4pPr marL="1371600" algn="l" rtl="0" fontAlgn="base">
              <a:spcBef>
                <a:spcPct val="0"/>
              </a:spcBef>
              <a:spcAft>
                <a:spcPct val="0"/>
              </a:spcAft>
              <a:defRPr sz="1600" kern="1200">
                <a:solidFill>
                  <a:schemeClr val="tx1"/>
                </a:solidFill>
                <a:latin typeface="Arial" charset="0"/>
                <a:ea typeface="+mn-ea"/>
                <a:cs typeface="+mn-cs"/>
              </a:defRPr>
            </a:lvl4pPr>
            <a:lvl5pPr marL="1828800" algn="l" rtl="0" fontAlgn="base">
              <a:spcBef>
                <a:spcPct val="0"/>
              </a:spcBef>
              <a:spcAft>
                <a:spcPct val="0"/>
              </a:spcAft>
              <a:defRPr sz="1600" kern="1200">
                <a:solidFill>
                  <a:schemeClr val="tx1"/>
                </a:solidFill>
                <a:latin typeface="Arial" charset="0"/>
                <a:ea typeface="+mn-ea"/>
                <a:cs typeface="+mn-cs"/>
              </a:defRPr>
            </a:lvl5pPr>
            <a:lvl6pPr marL="2286000" algn="l" defTabSz="914400" rtl="0" eaLnBrk="1" latinLnBrk="0" hangingPunct="1">
              <a:defRPr sz="1600" kern="1200">
                <a:solidFill>
                  <a:schemeClr val="tx1"/>
                </a:solidFill>
                <a:latin typeface="Arial" charset="0"/>
                <a:ea typeface="+mn-ea"/>
                <a:cs typeface="+mn-cs"/>
              </a:defRPr>
            </a:lvl6pPr>
            <a:lvl7pPr marL="2743200" algn="l" defTabSz="914400" rtl="0" eaLnBrk="1" latinLnBrk="0" hangingPunct="1">
              <a:defRPr sz="1600" kern="1200">
                <a:solidFill>
                  <a:schemeClr val="tx1"/>
                </a:solidFill>
                <a:latin typeface="Arial" charset="0"/>
                <a:ea typeface="+mn-ea"/>
                <a:cs typeface="+mn-cs"/>
              </a:defRPr>
            </a:lvl7pPr>
            <a:lvl8pPr marL="3200400" algn="l" defTabSz="914400" rtl="0" eaLnBrk="1" latinLnBrk="0" hangingPunct="1">
              <a:defRPr sz="1600" kern="1200">
                <a:solidFill>
                  <a:schemeClr val="tx1"/>
                </a:solidFill>
                <a:latin typeface="Arial" charset="0"/>
                <a:ea typeface="+mn-ea"/>
                <a:cs typeface="+mn-cs"/>
              </a:defRPr>
            </a:lvl8pPr>
            <a:lvl9pPr marL="3657600" algn="l" defTabSz="914400" rtl="0" eaLnBrk="1" latinLnBrk="0" hangingPunct="1">
              <a:defRPr sz="1600" kern="1200">
                <a:solidFill>
                  <a:schemeClr val="tx1"/>
                </a:solidFill>
                <a:latin typeface="Arial" charset="0"/>
                <a:ea typeface="+mn-ea"/>
                <a:cs typeface="+mn-cs"/>
              </a:defRPr>
            </a:lvl9pPr>
          </a:lstStyle>
          <a:p>
            <a:endParaRPr lang="en-US" baseline="0" dirty="0">
              <a:solidFill>
                <a:srgbClr val="000000"/>
              </a:solidFill>
              <a:latin typeface="+mn-lt"/>
            </a:endParaRPr>
          </a:p>
        </p:txBody>
      </p:sp>
      <p:sp>
        <p:nvSpPr>
          <p:cNvPr id="27" name="Disclaimer-English (United States)" hidden="1"/>
          <p:cNvSpPr>
            <a:spLocks noChangeArrowheads="1"/>
          </p:cNvSpPr>
          <p:nvPr/>
        </p:nvSpPr>
        <p:spPr bwMode="black">
          <a:xfrm>
            <a:off x="2268266" y="6287785"/>
            <a:ext cx="3544453" cy="36908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t" anchorCtr="0">
            <a:noAutofit/>
          </a:bodyPr>
          <a:lstStyle/>
          <a:p>
            <a:pPr defTabSz="804863" eaLnBrk="0" hangingPunct="0"/>
            <a:r>
              <a:rPr lang="en-US" sz="800" baseline="0" dirty="0">
                <a:solidFill>
                  <a:srgbClr val="FFFFFF"/>
                </a:solidFill>
                <a:latin typeface="+mn-lt"/>
              </a:rPr>
              <a:t>CONFIDENTIAL AND PROPRIETARY</a:t>
            </a:r>
          </a:p>
          <a:p>
            <a:pPr defTabSz="804863" eaLnBrk="0" hangingPunct="0"/>
            <a:r>
              <a:rPr lang="en-US" sz="800" baseline="0" dirty="0">
                <a:solidFill>
                  <a:srgbClr val="FFFFFF"/>
                </a:solidFill>
                <a:latin typeface="+mn-lt"/>
              </a:rPr>
              <a:t>Any use of this material without specific permission of McKinsey &amp; Company is strictly prohibited</a:t>
            </a:r>
          </a:p>
        </p:txBody>
      </p:sp>
    </p:spTree>
    <p:extLst>
      <p:ext uri="{BB962C8B-B14F-4D97-AF65-F5344CB8AC3E}">
        <p14:creationId xmlns:p14="http://schemas.microsoft.com/office/powerpoint/2010/main" val="83303305"/>
      </p:ext>
    </p:extLst>
  </p:cSld>
  <p:clrMapOvr>
    <a:masterClrMapping/>
  </p:clrMapOvr>
  <p:extLst mod="1">
    <p:ext uri="{DCECCB84-F9BA-43D5-87BE-67443E8EF086}">
      <p15:sldGuideLst xmlns:p15="http://schemas.microsoft.com/office/powerpoint/2012/main">
        <p15:guide id="1" orient="horz" pos="2117">
          <p15:clr>
            <a:srgbClr val="FBAE40"/>
          </p15:clr>
        </p15:guide>
        <p15:guide id="2" pos="1416">
          <p15:clr>
            <a:srgbClr val="FBAE40"/>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6E228F5-5CF1-42E1-9748-97D7582A107A}"/>
              </a:ext>
            </a:extLst>
          </p:cNvPr>
          <p:cNvGraphicFramePr>
            <a:graphicFrameLocks noChangeAspect="1"/>
          </p:cNvGraphicFramePr>
          <p:nvPr>
            <p:custDataLst>
              <p:tags r:id="rId2"/>
            </p:custDataLst>
            <p:extLst>
              <p:ext uri="{D42A27DB-BD31-4B8C-83A1-F6EECF244321}">
                <p14:modId xmlns:p14="http://schemas.microsoft.com/office/powerpoint/2010/main" val="229995112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6692" name="think-cell Slide" r:id="rId5" imgW="353" imgH="353" progId="TCLayout.ActiveDocument.1">
                  <p:embed/>
                </p:oleObj>
              </mc:Choice>
              <mc:Fallback>
                <p:oleObj name="think-cell Slide" r:id="rId5" imgW="353" imgH="353" progId="TCLayout.ActiveDocument.1">
                  <p:embed/>
                  <p:pic>
                    <p:nvPicPr>
                      <p:cNvPr id="3" name="Object 2" hidden="1">
                        <a:extLst>
                          <a:ext uri="{FF2B5EF4-FFF2-40B4-BE49-F238E27FC236}">
                            <a16:creationId xmlns:a16="http://schemas.microsoft.com/office/drawing/2014/main" id="{C6E228F5-5CF1-42E1-9748-97D7582A107A}"/>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2. Slide Title"/>
          <p:cNvSpPr>
            <a:spLocks noGrp="1"/>
          </p:cNvSpPr>
          <p:nvPr>
            <p:ph type="title"/>
          </p:nvPr>
        </p:nvSpPr>
        <p:spPr bwMode="auto"/>
        <p:txBody>
          <a:bodyPr/>
          <a:lstStyle/>
          <a:p>
            <a:r>
              <a:rPr lang="en-US"/>
              <a:t>Click to edit Master title style</a:t>
            </a:r>
            <a:endParaRPr lang="en-US" dirty="0"/>
          </a:p>
        </p:txBody>
      </p:sp>
      <p:sp>
        <p:nvSpPr>
          <p:cNvPr id="8" name="Slide Number"/>
          <p:cNvSpPr txBox="1">
            <a:spLocks/>
          </p:cNvSpPr>
          <p:nvPr/>
        </p:nvSpPr>
        <p:spPr bwMode="auto">
          <a:xfrm>
            <a:off x="8564563" y="6508272"/>
            <a:ext cx="125034" cy="123111"/>
          </a:xfrm>
          <a:prstGeom prst="rect">
            <a:avLst/>
          </a:prstGeom>
        </p:spPr>
        <p:txBody>
          <a:bodyPr vert="horz" wrap="none" lIns="0" tIns="0" rIns="0" bIns="0" rtlCol="0" anchor="ctr">
            <a:spAutoFit/>
          </a:bodyPr>
          <a:lstStyle>
            <a:defPPr>
              <a:defRPr lang="en-US"/>
            </a:defPPr>
            <a:lvl1pPr>
              <a:defRPr sz="1000" baseline="0">
                <a:latin typeface="+mn-lt"/>
              </a:defRPr>
            </a:lvl1pPr>
          </a:lstStyle>
          <a:p>
            <a:fld id="{42C328C1-A84F-4A39-A664-DBA00541A8C6}" type="slidenum">
              <a:rPr lang="en-US" sz="800" baseline="0" smtClean="0">
                <a:solidFill>
                  <a:srgbClr val="808080"/>
                </a:solidFill>
                <a:latin typeface="+mn-lt"/>
              </a:rPr>
              <a:pPr/>
              <a:t>‹#›</a:t>
            </a:fld>
            <a:endParaRPr lang="en-US" sz="800" baseline="0" dirty="0">
              <a:solidFill>
                <a:srgbClr val="808080"/>
              </a:solidFill>
              <a:latin typeface="+mn-lt"/>
            </a:endParaRPr>
          </a:p>
        </p:txBody>
      </p:sp>
      <p:sp>
        <p:nvSpPr>
          <p:cNvPr id="9" name="SlideLogoText"/>
          <p:cNvSpPr>
            <a:spLocks noChangeArrowheads="1"/>
          </p:cNvSpPr>
          <p:nvPr>
            <p:custDataLst>
              <p:tags r:id="rId3"/>
            </p:custDataLst>
          </p:nvPr>
        </p:nvSpPr>
        <p:spPr bwMode="auto">
          <a:xfrm>
            <a:off x="7450817" y="6508272"/>
            <a:ext cx="1013098"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algn="r" defTabSz="895350"/>
            <a:r>
              <a:rPr lang="en-US" sz="800" baseline="0" dirty="0">
                <a:solidFill>
                  <a:srgbClr val="808080"/>
                </a:solidFill>
                <a:latin typeface="+mn-lt"/>
              </a:rPr>
              <a:t>McKinsey &amp; Company</a:t>
            </a:r>
          </a:p>
        </p:txBody>
      </p:sp>
      <p:sp>
        <p:nvSpPr>
          <p:cNvPr id="5" name="doc id" hidden="1"/>
          <p:cNvSpPr txBox="1">
            <a:spLocks noChangeArrowheads="1"/>
          </p:cNvSpPr>
          <p:nvPr/>
        </p:nvSpPr>
        <p:spPr bwMode="white">
          <a:xfrm>
            <a:off x="8104473" y="36513"/>
            <a:ext cx="634716" cy="115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hangingPunct="1">
              <a:defRPr/>
            </a:pPr>
            <a:endParaRPr lang="en-US" sz="800" baseline="0" dirty="0">
              <a:solidFill>
                <a:schemeClr val="accent1"/>
              </a:solidFill>
              <a:latin typeface="+mn-lt"/>
              <a:ea typeface="+mn-ea"/>
            </a:endParaRPr>
          </a:p>
        </p:txBody>
      </p:sp>
    </p:spTree>
    <p:extLst>
      <p:ext uri="{BB962C8B-B14F-4D97-AF65-F5344CB8AC3E}">
        <p14:creationId xmlns:p14="http://schemas.microsoft.com/office/powerpoint/2010/main" val="2619215913"/>
      </p:ext>
    </p:extLst>
  </p:cSld>
  <p:clrMapOvr>
    <a:masterClrMapping/>
  </p:clrMapOvr>
  <p:extLst mod="1">
    <p:ext uri="{DCECCB84-F9BA-43D5-87BE-67443E8EF086}">
      <p15:sldGuideLst xmlns:p15="http://schemas.microsoft.com/office/powerpoint/2012/main">
        <p15:guide id="1" pos="5505">
          <p15:clr>
            <a:srgbClr val="F26B43"/>
          </p15:clr>
        </p15:guide>
        <p15:guide id="2" pos="74">
          <p15:clr>
            <a:srgbClr val="F26B43"/>
          </p15:clr>
        </p15:guide>
        <p15:guide id="3" orient="horz" pos="571">
          <p15:clr>
            <a:srgbClr val="F26B43"/>
          </p15:clr>
        </p15:guide>
        <p15:guide id="4" orient="horz" pos="3911">
          <p15:clr>
            <a:srgbClr val="F26B43"/>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p:cSld name="1_Title Only">
    <p:bg>
      <p:bgPr>
        <a:solidFill>
          <a:schemeClr val="accent2"/>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F4AD34F-3B47-47E2-A09C-FFEB949F6A10}"/>
              </a:ext>
            </a:extLst>
          </p:cNvPr>
          <p:cNvGraphicFramePr>
            <a:graphicFrameLocks noChangeAspect="1"/>
          </p:cNvGraphicFramePr>
          <p:nvPr>
            <p:custDataLst>
              <p:tags r:id="rId2"/>
            </p:custDataLst>
            <p:extLst>
              <p:ext uri="{D42A27DB-BD31-4B8C-83A1-F6EECF244321}">
                <p14:modId xmlns:p14="http://schemas.microsoft.com/office/powerpoint/2010/main" val="5059729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7716" name="think-cell Slide" r:id="rId5" imgW="395" imgH="394" progId="TCLayout.ActiveDocument.1">
                  <p:embed/>
                </p:oleObj>
              </mc:Choice>
              <mc:Fallback>
                <p:oleObj name="think-cell Slide" r:id="rId5" imgW="395" imgH="394" progId="TCLayout.ActiveDocument.1">
                  <p:embed/>
                  <p:pic>
                    <p:nvPicPr>
                      <p:cNvPr id="3" name="Object 2" hidden="1">
                        <a:extLst>
                          <a:ext uri="{FF2B5EF4-FFF2-40B4-BE49-F238E27FC236}">
                            <a16:creationId xmlns:a16="http://schemas.microsoft.com/office/drawing/2014/main" id="{EF4AD34F-3B47-47E2-A09C-FFEB949F6A10}"/>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endParaRPr lang="en-US" dirty="0"/>
          </a:p>
        </p:txBody>
      </p:sp>
      <p:sp>
        <p:nvSpPr>
          <p:cNvPr id="15" name="Slide Number"/>
          <p:cNvSpPr txBox="1">
            <a:spLocks/>
          </p:cNvSpPr>
          <p:nvPr/>
        </p:nvSpPr>
        <p:spPr>
          <a:xfrm>
            <a:off x="8564563" y="6508272"/>
            <a:ext cx="125034" cy="123111"/>
          </a:xfrm>
          <a:prstGeom prst="rect">
            <a:avLst/>
          </a:prstGeom>
        </p:spPr>
        <p:txBody>
          <a:bodyPr vert="horz" wrap="none" lIns="0" tIns="0" rIns="0" bIns="0" rtlCol="0" anchor="ctr">
            <a:spAutoFit/>
          </a:bodyPr>
          <a:lstStyle>
            <a:defPPr>
              <a:defRPr lang="en-US"/>
            </a:defPPr>
            <a:lvl1pPr>
              <a:defRPr sz="1000" baseline="0">
                <a:latin typeface="+mn-lt"/>
              </a:defRPr>
            </a:lvl1pPr>
          </a:lstStyle>
          <a:p>
            <a:fld id="{42C328C1-A84F-4A39-A664-DBA00541A8C6}" type="slidenum">
              <a:rPr lang="en-US" sz="800" baseline="0" smtClean="0">
                <a:solidFill>
                  <a:srgbClr val="FFFFFF"/>
                </a:solidFill>
                <a:latin typeface="+mn-lt"/>
              </a:rPr>
              <a:pPr/>
              <a:t>‹#›</a:t>
            </a:fld>
            <a:endParaRPr lang="en-US" sz="800" baseline="0" dirty="0">
              <a:solidFill>
                <a:srgbClr val="FFFFFF"/>
              </a:solidFill>
              <a:latin typeface="+mn-lt"/>
            </a:endParaRPr>
          </a:p>
        </p:txBody>
      </p:sp>
      <p:sp>
        <p:nvSpPr>
          <p:cNvPr id="16" name="SlideLogoText"/>
          <p:cNvSpPr>
            <a:spLocks noChangeArrowheads="1"/>
          </p:cNvSpPr>
          <p:nvPr>
            <p:custDataLst>
              <p:tags r:id="rId3"/>
            </p:custDataLst>
          </p:nvPr>
        </p:nvSpPr>
        <p:spPr bwMode="auto">
          <a:xfrm>
            <a:off x="7450817" y="6508272"/>
            <a:ext cx="1013098"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algn="r" defTabSz="895350"/>
            <a:r>
              <a:rPr lang="en-US" sz="800" baseline="0" dirty="0">
                <a:solidFill>
                  <a:srgbClr val="FFFFFF"/>
                </a:solidFill>
                <a:latin typeface="+mn-lt"/>
              </a:rPr>
              <a:t>McKinsey &amp; Company</a:t>
            </a:r>
          </a:p>
        </p:txBody>
      </p:sp>
      <p:sp>
        <p:nvSpPr>
          <p:cNvPr id="5" name="doc id" hidden="1"/>
          <p:cNvSpPr txBox="1">
            <a:spLocks noChangeArrowheads="1"/>
          </p:cNvSpPr>
          <p:nvPr/>
        </p:nvSpPr>
        <p:spPr bwMode="white">
          <a:xfrm>
            <a:off x="8104473" y="36513"/>
            <a:ext cx="634716" cy="115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hangingPunct="1">
              <a:defRPr/>
            </a:pPr>
            <a:endParaRPr lang="en-US" sz="800" baseline="0" dirty="0">
              <a:solidFill>
                <a:schemeClr val="accent1"/>
              </a:solidFill>
              <a:latin typeface="+mn-lt"/>
              <a:ea typeface="+mn-ea"/>
            </a:endParaRPr>
          </a:p>
        </p:txBody>
      </p:sp>
    </p:spTree>
    <p:extLst>
      <p:ext uri="{BB962C8B-B14F-4D97-AF65-F5344CB8AC3E}">
        <p14:creationId xmlns:p14="http://schemas.microsoft.com/office/powerpoint/2010/main" val="2501821614"/>
      </p:ext>
    </p:extLst>
  </p:cSld>
  <p:clrMapOvr>
    <a:masterClrMapping/>
  </p:clrMapOvr>
  <p:extLst mod="1">
    <p:ext uri="{DCECCB84-F9BA-43D5-87BE-67443E8EF086}">
      <p15:sldGuideLst xmlns:p15="http://schemas.microsoft.com/office/powerpoint/2012/main">
        <p15:guide id="1" pos="3978">
          <p15:clr>
            <a:srgbClr val="000000"/>
          </p15:clr>
        </p15:guide>
        <p15:guide id="2" orient="horz" pos="570">
          <p15:clr>
            <a:srgbClr val="000000"/>
          </p15:clr>
        </p15:guide>
        <p15:guide id="3" orient="horz" pos="3912">
          <p15:clr>
            <a:srgbClr val="000000"/>
          </p15:clr>
        </p15:guide>
        <p15:guide id="4" pos="72">
          <p15:clr>
            <a:srgbClr val="000000"/>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type="titleOnly">
  <p:cSld name="2_Title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ECD524A-1569-4253-8CD8-48D288AD883C}"/>
              </a:ext>
            </a:extLst>
          </p:cNvPr>
          <p:cNvGraphicFramePr>
            <a:graphicFrameLocks noChangeAspect="1"/>
          </p:cNvGraphicFramePr>
          <p:nvPr>
            <p:custDataLst>
              <p:tags r:id="rId2"/>
            </p:custDataLst>
            <p:extLst>
              <p:ext uri="{D42A27DB-BD31-4B8C-83A1-F6EECF244321}">
                <p14:modId xmlns:p14="http://schemas.microsoft.com/office/powerpoint/2010/main" val="300593227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8740" name="think-cell Slide" r:id="rId4" imgW="395" imgH="394" progId="TCLayout.ActiveDocument.1">
                  <p:embed/>
                </p:oleObj>
              </mc:Choice>
              <mc:Fallback>
                <p:oleObj name="think-cell Slide" r:id="rId4" imgW="395" imgH="394" progId="TCLayout.ActiveDocument.1">
                  <p:embed/>
                  <p:pic>
                    <p:nvPicPr>
                      <p:cNvPr id="3" name="Object 2" hidden="1">
                        <a:extLst>
                          <a:ext uri="{FF2B5EF4-FFF2-40B4-BE49-F238E27FC236}">
                            <a16:creationId xmlns:a16="http://schemas.microsoft.com/office/drawing/2014/main" id="{5ECD524A-1569-4253-8CD8-48D288AD883C}"/>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113214123"/>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pic>
        <p:nvPicPr>
          <p:cNvPr id="2" name="background"/>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0" y="198"/>
            <a:ext cx="8961438" cy="6721079"/>
          </a:xfrm>
          <a:prstGeom prst="rect">
            <a:avLst/>
          </a:prstGeom>
        </p:spPr>
      </p:pic>
      <p:sp>
        <p:nvSpPr>
          <p:cNvPr id="28" name="TitleRectangle"/>
          <p:cNvSpPr txBox="1">
            <a:spLocks/>
          </p:cNvSpPr>
          <p:nvPr/>
        </p:nvSpPr>
        <p:spPr>
          <a:xfrm>
            <a:off x="2084388" y="0"/>
            <a:ext cx="6875462" cy="3575976"/>
          </a:xfrm>
          <a:prstGeom prst="rect">
            <a:avLst/>
          </a:prstGeom>
          <a:solidFill>
            <a:srgbClr val="002960">
              <a:alpha val="92000"/>
            </a:srgbClr>
          </a:solidFill>
        </p:spPr>
        <p:txBody>
          <a:bodyPr vert="horz" wrap="square" lIns="216000" tIns="1440000" rIns="216000" bIns="108000" rtlCol="0">
            <a:noAutofit/>
          </a:bodyPr>
          <a:lstStyle>
            <a:lvl1pPr marL="0" indent="0" algn="l" defTabSz="914400" rtl="0" eaLnBrk="1" latinLnBrk="0" hangingPunct="1">
              <a:spcBef>
                <a:spcPct val="20000"/>
              </a:spcBef>
              <a:spcAft>
                <a:spcPts val="6000"/>
              </a:spcAft>
              <a:buFont typeface="Arial" pitchFamily="34" charset="0"/>
              <a:buNone/>
              <a:defRPr sz="3200" kern="1200">
                <a:solidFill>
                  <a:schemeClr val="accent1"/>
                </a:solidFill>
                <a:latin typeface="+mn-lt"/>
                <a:ea typeface="+mn-ea"/>
                <a:cs typeface="+mn-cs"/>
              </a:defRPr>
            </a:lvl1pPr>
            <a:lvl2pPr marL="0" indent="0" algn="l" defTabSz="914400" rtl="0" eaLnBrk="1" latinLnBrk="0" hangingPunct="1">
              <a:spcBef>
                <a:spcPct val="20000"/>
              </a:spcBef>
              <a:buFont typeface="Wingdings" charset="2"/>
              <a:buNone/>
              <a:defRPr sz="1400" kern="1200">
                <a:solidFill>
                  <a:schemeClr val="tx1">
                    <a:lumMod val="50000"/>
                    <a:lumOff val="50000"/>
                  </a:schemeClr>
                </a:solidFill>
                <a:latin typeface="+mn-lt"/>
                <a:ea typeface="+mn-ea"/>
                <a:cs typeface="+mn-cs"/>
              </a:defRPr>
            </a:lvl2pPr>
            <a:lvl3pPr marL="1143000" indent="-228600" algn="l" defTabSz="914400" rtl="0" eaLnBrk="1" latinLnBrk="0" hangingPunct="1">
              <a:spcBef>
                <a:spcPct val="20000"/>
              </a:spcBef>
              <a:buFont typeface="Lucida Grande"/>
              <a:buChar char="–"/>
              <a:defRPr sz="16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fontAlgn="auto">
              <a:defRPr/>
            </a:pPr>
            <a:r>
              <a:rPr lang="en-US" baseline="0" dirty="0">
                <a:solidFill>
                  <a:srgbClr val="00ADEF"/>
                </a:solidFill>
                <a:latin typeface="+mn-lt"/>
              </a:rPr>
              <a:t>
              </a:t>
            </a:r>
            <a:br>
              <a:rPr lang="en-US" baseline="0" dirty="0">
                <a:solidFill>
                  <a:srgbClr val="00ADEF"/>
                </a:solidFill>
                <a:latin typeface="+mn-lt"/>
              </a:rPr>
            </a:br>
            <a:endParaRPr lang="en-US" baseline="0" dirty="0">
              <a:solidFill>
                <a:srgbClr val="00ADEF"/>
              </a:solidFill>
              <a:latin typeface="+mn-lt"/>
            </a:endParaRPr>
          </a:p>
        </p:txBody>
      </p:sp>
      <p:graphicFrame>
        <p:nvGraphicFramePr>
          <p:cNvPr id="3" name="Object 2"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0788"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Working Draft Text" hidden="1"/>
          <p:cNvSpPr txBox="1">
            <a:spLocks noChangeArrowheads="1"/>
          </p:cNvSpPr>
          <p:nvPr/>
        </p:nvSpPr>
        <p:spPr bwMode="black">
          <a:xfrm>
            <a:off x="5992719" y="6287538"/>
            <a:ext cx="2790000"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800" b="1" baseline="0" dirty="0">
                <a:solidFill>
                  <a:srgbClr val="FFFFFF"/>
                </a:solidFill>
                <a:latin typeface="+mn-lt"/>
              </a:rPr>
              <a:t>WORKING DRAFT</a:t>
            </a:r>
          </a:p>
        </p:txBody>
      </p:sp>
      <p:sp>
        <p:nvSpPr>
          <p:cNvPr id="6" name="Working Draft" hidden="1"/>
          <p:cNvSpPr txBox="1">
            <a:spLocks noChangeArrowheads="1"/>
          </p:cNvSpPr>
          <p:nvPr/>
        </p:nvSpPr>
        <p:spPr bwMode="black">
          <a:xfrm>
            <a:off x="5992718" y="6410648"/>
            <a:ext cx="2968719"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800" baseline="0">
                <a:solidFill>
                  <a:srgbClr val="FFFFFF"/>
                </a:solidFill>
                <a:latin typeface="+mn-lt"/>
              </a:rPr>
              <a:t>Last Modified 21/05/2018 17:44 India Standard Time</a:t>
            </a:r>
            <a:endParaRPr lang="en-US" sz="800" baseline="0" dirty="0">
              <a:solidFill>
                <a:srgbClr val="FFFFFF"/>
              </a:solidFill>
              <a:latin typeface="+mn-lt"/>
            </a:endParaRPr>
          </a:p>
        </p:txBody>
      </p:sp>
      <p:sp>
        <p:nvSpPr>
          <p:cNvPr id="7" name="Printed" hidden="1"/>
          <p:cNvSpPr txBox="1">
            <a:spLocks noChangeArrowheads="1"/>
          </p:cNvSpPr>
          <p:nvPr/>
        </p:nvSpPr>
        <p:spPr bwMode="black">
          <a:xfrm>
            <a:off x="5992719" y="6533759"/>
            <a:ext cx="2790000"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800" baseline="0" dirty="0">
                <a:solidFill>
                  <a:srgbClr val="FFFFFF"/>
                </a:solidFill>
                <a:latin typeface="+mn-lt"/>
              </a:rPr>
              <a:t>Printed</a:t>
            </a:r>
          </a:p>
        </p:txBody>
      </p:sp>
      <p:sp>
        <p:nvSpPr>
          <p:cNvPr id="13314" name="Title"/>
          <p:cNvSpPr>
            <a:spLocks noGrp="1" noChangeArrowheads="1"/>
          </p:cNvSpPr>
          <p:nvPr>
            <p:ph type="ctrTitle"/>
          </p:nvPr>
        </p:nvSpPr>
        <p:spPr>
          <a:xfrm>
            <a:off x="2268266" y="1434419"/>
            <a:ext cx="6231663" cy="492443"/>
          </a:xfrm>
          <a:prstGeom prst="rect">
            <a:avLst/>
          </a:prstGeom>
        </p:spPr>
        <p:txBody>
          <a:bodyPr>
            <a:spAutoFit/>
          </a:bodyPr>
          <a:lstStyle>
            <a:lvl1pPr>
              <a:defRPr sz="3200" b="0" baseline="0">
                <a:solidFill>
                  <a:schemeClr val="accent2"/>
                </a:solidFill>
                <a:latin typeface="+mj-lt"/>
                <a:ea typeface="+mj-ea"/>
              </a:defRPr>
            </a:lvl1pPr>
          </a:lstStyle>
          <a:p>
            <a:pPr lvl="0" latinLnBrk="0"/>
            <a:r>
              <a:rPr lang="en-US" noProof="0"/>
              <a:t>Click to edit Master title style</a:t>
            </a:r>
            <a:endParaRPr lang="en-US" noProof="0" dirty="0"/>
          </a:p>
        </p:txBody>
      </p:sp>
      <p:sp>
        <p:nvSpPr>
          <p:cNvPr id="13315" name="Subtitle"/>
          <p:cNvSpPr>
            <a:spLocks noGrp="1" noChangeArrowheads="1"/>
          </p:cNvSpPr>
          <p:nvPr>
            <p:ph type="subTitle" idx="1"/>
          </p:nvPr>
        </p:nvSpPr>
        <p:spPr>
          <a:xfrm>
            <a:off x="2268266" y="2819401"/>
            <a:ext cx="6231663" cy="215444"/>
          </a:xfrm>
          <a:prstGeom prst="rect">
            <a:avLst/>
          </a:prstGeom>
        </p:spPr>
        <p:txBody>
          <a:bodyPr wrap="square">
            <a:spAutoFit/>
          </a:bodyPr>
          <a:lstStyle>
            <a:lvl1pPr>
              <a:defRPr sz="1400" cap="all" baseline="0">
                <a:solidFill>
                  <a:schemeClr val="bg1"/>
                </a:solidFill>
                <a:latin typeface="+mn-lt"/>
                <a:ea typeface="+mn-ea"/>
              </a:defRPr>
            </a:lvl1pPr>
          </a:lstStyle>
          <a:p>
            <a:pPr lvl="0" latinLnBrk="0"/>
            <a:r>
              <a:rPr lang="en-US" noProof="0"/>
              <a:t>Click to edit Master subtitle style</a:t>
            </a:r>
            <a:endParaRPr lang="en-US" noProof="0" dirty="0"/>
          </a:p>
        </p:txBody>
      </p:sp>
      <p:sp>
        <p:nvSpPr>
          <p:cNvPr id="57" name="Document type" hidden="1"/>
          <p:cNvSpPr txBox="1">
            <a:spLocks noChangeArrowheads="1"/>
          </p:cNvSpPr>
          <p:nvPr/>
        </p:nvSpPr>
        <p:spPr bwMode="gray">
          <a:xfrm>
            <a:off x="2268266" y="3227411"/>
            <a:ext cx="6231663"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00" baseline="0" dirty="0">
                <a:solidFill>
                  <a:schemeClr val="bg1"/>
                </a:solidFill>
                <a:latin typeface="+mn-lt"/>
              </a:rPr>
              <a:t>Document type | Date</a:t>
            </a:r>
          </a:p>
        </p:txBody>
      </p:sp>
      <p:sp>
        <p:nvSpPr>
          <p:cNvPr id="5" name="doc id" hidden="1"/>
          <p:cNvSpPr txBox="1">
            <a:spLocks noChangeArrowheads="1"/>
          </p:cNvSpPr>
          <p:nvPr/>
        </p:nvSpPr>
        <p:spPr bwMode="white">
          <a:xfrm>
            <a:off x="8443913" y="36513"/>
            <a:ext cx="295275" cy="1222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hangingPunct="1">
              <a:defRPr/>
            </a:pPr>
            <a:endParaRPr lang="en-US" sz="800" baseline="0" dirty="0">
              <a:solidFill>
                <a:srgbClr val="FFFFFF"/>
              </a:solidFill>
              <a:latin typeface="+mn-lt"/>
            </a:endParaRPr>
          </a:p>
        </p:txBody>
      </p:sp>
      <p:sp>
        <p:nvSpPr>
          <p:cNvPr id="43" name="LogoImage"/>
          <p:cNvSpPr>
            <a:spLocks noEditPoints="1"/>
          </p:cNvSpPr>
          <p:nvPr/>
        </p:nvSpPr>
        <p:spPr bwMode="white">
          <a:xfrm>
            <a:off x="2269098" y="182925"/>
            <a:ext cx="2176978" cy="238073"/>
          </a:xfrm>
          <a:custGeom>
            <a:avLst/>
            <a:gdLst>
              <a:gd name="T0" fmla="*/ 504 w 5516"/>
              <a:gd name="T1" fmla="*/ 26 h 606"/>
              <a:gd name="T2" fmla="*/ 18 w 5516"/>
              <a:gd name="T3" fmla="*/ 22 h 606"/>
              <a:gd name="T4" fmla="*/ 140 w 5516"/>
              <a:gd name="T5" fmla="*/ 436 h 606"/>
              <a:gd name="T6" fmla="*/ 408 w 5516"/>
              <a:gd name="T7" fmla="*/ 372 h 606"/>
              <a:gd name="T8" fmla="*/ 696 w 5516"/>
              <a:gd name="T9" fmla="*/ 422 h 606"/>
              <a:gd name="T10" fmla="*/ 768 w 5516"/>
              <a:gd name="T11" fmla="*/ 196 h 606"/>
              <a:gd name="T12" fmla="*/ 1272 w 5516"/>
              <a:gd name="T13" fmla="*/ 26 h 606"/>
              <a:gd name="T14" fmla="*/ 1302 w 5516"/>
              <a:gd name="T15" fmla="*/ 338 h 606"/>
              <a:gd name="T16" fmla="*/ 1202 w 5516"/>
              <a:gd name="T17" fmla="*/ 436 h 606"/>
              <a:gd name="T18" fmla="*/ 1030 w 5516"/>
              <a:gd name="T19" fmla="*/ 10 h 606"/>
              <a:gd name="T20" fmla="*/ 960 w 5516"/>
              <a:gd name="T21" fmla="*/ 22 h 606"/>
              <a:gd name="T22" fmla="*/ 804 w 5516"/>
              <a:gd name="T23" fmla="*/ 434 h 606"/>
              <a:gd name="T24" fmla="*/ 930 w 5516"/>
              <a:gd name="T25" fmla="*/ 246 h 606"/>
              <a:gd name="T26" fmla="*/ 1658 w 5516"/>
              <a:gd name="T27" fmla="*/ 342 h 606"/>
              <a:gd name="T28" fmla="*/ 1368 w 5516"/>
              <a:gd name="T29" fmla="*/ 188 h 606"/>
              <a:gd name="T30" fmla="*/ 1514 w 5516"/>
              <a:gd name="T31" fmla="*/ 436 h 606"/>
              <a:gd name="T32" fmla="*/ 1564 w 5516"/>
              <a:gd name="T33" fmla="*/ 434 h 606"/>
              <a:gd name="T34" fmla="*/ 1904 w 5516"/>
              <a:gd name="T35" fmla="*/ 184 h 606"/>
              <a:gd name="T36" fmla="*/ 1728 w 5516"/>
              <a:gd name="T37" fmla="*/ 366 h 606"/>
              <a:gd name="T38" fmla="*/ 2102 w 5516"/>
              <a:gd name="T39" fmla="*/ 192 h 606"/>
              <a:gd name="T40" fmla="*/ 1982 w 5516"/>
              <a:gd name="T41" fmla="*/ 320 h 606"/>
              <a:gd name="T42" fmla="*/ 2478 w 5516"/>
              <a:gd name="T43" fmla="*/ 242 h 606"/>
              <a:gd name="T44" fmla="*/ 2406 w 5516"/>
              <a:gd name="T45" fmla="*/ 390 h 606"/>
              <a:gd name="T46" fmla="*/ 2234 w 5516"/>
              <a:gd name="T47" fmla="*/ 192 h 606"/>
              <a:gd name="T48" fmla="*/ 2478 w 5516"/>
              <a:gd name="T49" fmla="*/ 242 h 606"/>
              <a:gd name="T50" fmla="*/ 2928 w 5516"/>
              <a:gd name="T51" fmla="*/ 448 h 606"/>
              <a:gd name="T52" fmla="*/ 2958 w 5516"/>
              <a:gd name="T53" fmla="*/ 230 h 606"/>
              <a:gd name="T54" fmla="*/ 2716 w 5516"/>
              <a:gd name="T55" fmla="*/ 54 h 606"/>
              <a:gd name="T56" fmla="*/ 2714 w 5516"/>
              <a:gd name="T57" fmla="*/ 36 h 606"/>
              <a:gd name="T58" fmla="*/ 2928 w 5516"/>
              <a:gd name="T59" fmla="*/ 448 h 606"/>
              <a:gd name="T60" fmla="*/ 3388 w 5516"/>
              <a:gd name="T61" fmla="*/ 4 h 606"/>
              <a:gd name="T62" fmla="*/ 3396 w 5516"/>
              <a:gd name="T63" fmla="*/ 366 h 606"/>
              <a:gd name="T64" fmla="*/ 3580 w 5516"/>
              <a:gd name="T65" fmla="*/ 190 h 606"/>
              <a:gd name="T66" fmla="*/ 3502 w 5516"/>
              <a:gd name="T67" fmla="*/ 432 h 606"/>
              <a:gd name="T68" fmla="*/ 4232 w 5516"/>
              <a:gd name="T69" fmla="*/ 348 h 606"/>
              <a:gd name="T70" fmla="*/ 3858 w 5516"/>
              <a:gd name="T71" fmla="*/ 176 h 606"/>
              <a:gd name="T72" fmla="*/ 3758 w 5516"/>
              <a:gd name="T73" fmla="*/ 446 h 606"/>
              <a:gd name="T74" fmla="*/ 3990 w 5516"/>
              <a:gd name="T75" fmla="*/ 282 h 606"/>
              <a:gd name="T76" fmla="*/ 4042 w 5516"/>
              <a:gd name="T77" fmla="*/ 342 h 606"/>
              <a:gd name="T78" fmla="*/ 4134 w 5516"/>
              <a:gd name="T79" fmla="*/ 448 h 606"/>
              <a:gd name="T80" fmla="*/ 4454 w 5516"/>
              <a:gd name="T81" fmla="*/ 202 h 606"/>
              <a:gd name="T82" fmla="*/ 4284 w 5516"/>
              <a:gd name="T83" fmla="*/ 174 h 606"/>
              <a:gd name="T84" fmla="*/ 4432 w 5516"/>
              <a:gd name="T85" fmla="*/ 588 h 606"/>
              <a:gd name="T86" fmla="*/ 4792 w 5516"/>
              <a:gd name="T87" fmla="*/ 382 h 606"/>
              <a:gd name="T88" fmla="*/ 5192 w 5516"/>
              <a:gd name="T89" fmla="*/ 340 h 606"/>
              <a:gd name="T90" fmla="*/ 4902 w 5516"/>
              <a:gd name="T91" fmla="*/ 186 h 606"/>
              <a:gd name="T92" fmla="*/ 4850 w 5516"/>
              <a:gd name="T93" fmla="*/ 274 h 606"/>
              <a:gd name="T94" fmla="*/ 4742 w 5516"/>
              <a:gd name="T95" fmla="*/ 194 h 606"/>
              <a:gd name="T96" fmla="*/ 4794 w 5516"/>
              <a:gd name="T97" fmla="*/ 418 h 606"/>
              <a:gd name="T98" fmla="*/ 5004 w 5516"/>
              <a:gd name="T99" fmla="*/ 338 h 606"/>
              <a:gd name="T100" fmla="*/ 5098 w 5516"/>
              <a:gd name="T101" fmla="*/ 446 h 606"/>
              <a:gd name="T102" fmla="*/ 5418 w 5516"/>
              <a:gd name="T103" fmla="*/ 192 h 606"/>
              <a:gd name="T104" fmla="*/ 5348 w 5516"/>
              <a:gd name="T105" fmla="*/ 180 h 606"/>
              <a:gd name="T106" fmla="*/ 5254 w 5516"/>
              <a:gd name="T107" fmla="*/ 606 h 6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516" h="606">
                <a:moveTo>
                  <a:pt x="366" y="448"/>
                </a:moveTo>
                <a:cubicBezTo>
                  <a:pt x="524" y="448"/>
                  <a:pt x="524" y="448"/>
                  <a:pt x="524" y="448"/>
                </a:cubicBezTo>
                <a:cubicBezTo>
                  <a:pt x="524" y="436"/>
                  <a:pt x="524" y="436"/>
                  <a:pt x="524" y="436"/>
                </a:cubicBezTo>
                <a:cubicBezTo>
                  <a:pt x="486" y="432"/>
                  <a:pt x="470" y="414"/>
                  <a:pt x="468" y="362"/>
                </a:cubicBezTo>
                <a:cubicBezTo>
                  <a:pt x="454" y="86"/>
                  <a:pt x="454" y="86"/>
                  <a:pt x="454" y="86"/>
                </a:cubicBezTo>
                <a:cubicBezTo>
                  <a:pt x="452" y="46"/>
                  <a:pt x="470" y="30"/>
                  <a:pt x="504" y="26"/>
                </a:cubicBezTo>
                <a:cubicBezTo>
                  <a:pt x="504" y="12"/>
                  <a:pt x="504" y="12"/>
                  <a:pt x="504" y="12"/>
                </a:cubicBezTo>
                <a:cubicBezTo>
                  <a:pt x="394" y="12"/>
                  <a:pt x="394" y="12"/>
                  <a:pt x="394" y="12"/>
                </a:cubicBezTo>
                <a:cubicBezTo>
                  <a:pt x="264" y="350"/>
                  <a:pt x="264" y="350"/>
                  <a:pt x="264" y="350"/>
                </a:cubicBezTo>
                <a:cubicBezTo>
                  <a:pt x="132" y="10"/>
                  <a:pt x="132" y="10"/>
                  <a:pt x="132" y="10"/>
                </a:cubicBezTo>
                <a:cubicBezTo>
                  <a:pt x="18" y="10"/>
                  <a:pt x="18" y="10"/>
                  <a:pt x="18" y="10"/>
                </a:cubicBezTo>
                <a:cubicBezTo>
                  <a:pt x="18" y="22"/>
                  <a:pt x="18" y="22"/>
                  <a:pt x="18" y="22"/>
                </a:cubicBezTo>
                <a:cubicBezTo>
                  <a:pt x="40" y="26"/>
                  <a:pt x="74" y="32"/>
                  <a:pt x="72" y="84"/>
                </a:cubicBezTo>
                <a:cubicBezTo>
                  <a:pt x="58" y="352"/>
                  <a:pt x="58" y="352"/>
                  <a:pt x="58" y="352"/>
                </a:cubicBezTo>
                <a:cubicBezTo>
                  <a:pt x="54" y="410"/>
                  <a:pt x="38" y="430"/>
                  <a:pt x="0" y="436"/>
                </a:cubicBezTo>
                <a:cubicBezTo>
                  <a:pt x="0" y="448"/>
                  <a:pt x="0" y="448"/>
                  <a:pt x="0" y="448"/>
                </a:cubicBezTo>
                <a:cubicBezTo>
                  <a:pt x="140" y="448"/>
                  <a:pt x="140" y="448"/>
                  <a:pt x="140" y="448"/>
                </a:cubicBezTo>
                <a:cubicBezTo>
                  <a:pt x="140" y="436"/>
                  <a:pt x="140" y="436"/>
                  <a:pt x="140" y="436"/>
                </a:cubicBezTo>
                <a:cubicBezTo>
                  <a:pt x="98" y="428"/>
                  <a:pt x="84" y="414"/>
                  <a:pt x="88" y="356"/>
                </a:cubicBezTo>
                <a:cubicBezTo>
                  <a:pt x="100" y="86"/>
                  <a:pt x="100" y="86"/>
                  <a:pt x="100" y="86"/>
                </a:cubicBezTo>
                <a:cubicBezTo>
                  <a:pt x="240" y="444"/>
                  <a:pt x="240" y="444"/>
                  <a:pt x="240" y="444"/>
                </a:cubicBezTo>
                <a:cubicBezTo>
                  <a:pt x="258" y="444"/>
                  <a:pt x="258" y="444"/>
                  <a:pt x="258" y="444"/>
                </a:cubicBezTo>
                <a:cubicBezTo>
                  <a:pt x="396" y="86"/>
                  <a:pt x="396" y="86"/>
                  <a:pt x="396" y="86"/>
                </a:cubicBezTo>
                <a:cubicBezTo>
                  <a:pt x="408" y="372"/>
                  <a:pt x="408" y="372"/>
                  <a:pt x="408" y="372"/>
                </a:cubicBezTo>
                <a:cubicBezTo>
                  <a:pt x="410" y="416"/>
                  <a:pt x="398" y="430"/>
                  <a:pt x="366" y="434"/>
                </a:cubicBezTo>
                <a:lnTo>
                  <a:pt x="366" y="448"/>
                </a:lnTo>
                <a:close/>
                <a:moveTo>
                  <a:pt x="670" y="456"/>
                </a:moveTo>
                <a:cubicBezTo>
                  <a:pt x="708" y="456"/>
                  <a:pt x="756" y="440"/>
                  <a:pt x="782" y="412"/>
                </a:cubicBezTo>
                <a:cubicBezTo>
                  <a:pt x="776" y="400"/>
                  <a:pt x="776" y="400"/>
                  <a:pt x="776" y="400"/>
                </a:cubicBezTo>
                <a:cubicBezTo>
                  <a:pt x="750" y="416"/>
                  <a:pt x="722" y="422"/>
                  <a:pt x="696" y="422"/>
                </a:cubicBezTo>
                <a:cubicBezTo>
                  <a:pt x="620" y="422"/>
                  <a:pt x="592" y="358"/>
                  <a:pt x="592" y="290"/>
                </a:cubicBezTo>
                <a:cubicBezTo>
                  <a:pt x="592" y="258"/>
                  <a:pt x="600" y="236"/>
                  <a:pt x="614" y="222"/>
                </a:cubicBezTo>
                <a:cubicBezTo>
                  <a:pt x="626" y="210"/>
                  <a:pt x="646" y="204"/>
                  <a:pt x="664" y="204"/>
                </a:cubicBezTo>
                <a:cubicBezTo>
                  <a:pt x="690" y="204"/>
                  <a:pt x="722" y="214"/>
                  <a:pt x="744" y="244"/>
                </a:cubicBezTo>
                <a:cubicBezTo>
                  <a:pt x="750" y="244"/>
                  <a:pt x="750" y="244"/>
                  <a:pt x="750" y="244"/>
                </a:cubicBezTo>
                <a:cubicBezTo>
                  <a:pt x="758" y="234"/>
                  <a:pt x="766" y="212"/>
                  <a:pt x="768" y="196"/>
                </a:cubicBezTo>
                <a:cubicBezTo>
                  <a:pt x="748" y="180"/>
                  <a:pt x="720" y="172"/>
                  <a:pt x="686" y="172"/>
                </a:cubicBezTo>
                <a:cubicBezTo>
                  <a:pt x="604" y="172"/>
                  <a:pt x="544" y="246"/>
                  <a:pt x="544" y="326"/>
                </a:cubicBezTo>
                <a:cubicBezTo>
                  <a:pt x="540" y="390"/>
                  <a:pt x="576" y="456"/>
                  <a:pt x="670" y="456"/>
                </a:cubicBezTo>
                <a:moveTo>
                  <a:pt x="1272" y="98"/>
                </a:moveTo>
                <a:cubicBezTo>
                  <a:pt x="1292" y="98"/>
                  <a:pt x="1308" y="82"/>
                  <a:pt x="1308" y="62"/>
                </a:cubicBezTo>
                <a:cubicBezTo>
                  <a:pt x="1308" y="42"/>
                  <a:pt x="1292" y="26"/>
                  <a:pt x="1272" y="26"/>
                </a:cubicBezTo>
                <a:cubicBezTo>
                  <a:pt x="1252" y="26"/>
                  <a:pt x="1238" y="42"/>
                  <a:pt x="1238" y="62"/>
                </a:cubicBezTo>
                <a:cubicBezTo>
                  <a:pt x="1238" y="82"/>
                  <a:pt x="1252" y="98"/>
                  <a:pt x="1272" y="98"/>
                </a:cubicBezTo>
                <a:moveTo>
                  <a:pt x="1202" y="448"/>
                </a:moveTo>
                <a:cubicBezTo>
                  <a:pt x="1346" y="448"/>
                  <a:pt x="1346" y="448"/>
                  <a:pt x="1346" y="448"/>
                </a:cubicBezTo>
                <a:cubicBezTo>
                  <a:pt x="1346" y="436"/>
                  <a:pt x="1346" y="436"/>
                  <a:pt x="1346" y="436"/>
                </a:cubicBezTo>
                <a:cubicBezTo>
                  <a:pt x="1304" y="432"/>
                  <a:pt x="1302" y="434"/>
                  <a:pt x="1302" y="338"/>
                </a:cubicBezTo>
                <a:cubicBezTo>
                  <a:pt x="1302" y="176"/>
                  <a:pt x="1302" y="176"/>
                  <a:pt x="1302" y="176"/>
                </a:cubicBezTo>
                <a:cubicBezTo>
                  <a:pt x="1200" y="176"/>
                  <a:pt x="1200" y="176"/>
                  <a:pt x="1200" y="176"/>
                </a:cubicBezTo>
                <a:cubicBezTo>
                  <a:pt x="1200" y="188"/>
                  <a:pt x="1200" y="188"/>
                  <a:pt x="1200" y="188"/>
                </a:cubicBezTo>
                <a:cubicBezTo>
                  <a:pt x="1244" y="190"/>
                  <a:pt x="1250" y="192"/>
                  <a:pt x="1250" y="268"/>
                </a:cubicBezTo>
                <a:cubicBezTo>
                  <a:pt x="1250" y="336"/>
                  <a:pt x="1250" y="336"/>
                  <a:pt x="1250" y="336"/>
                </a:cubicBezTo>
                <a:cubicBezTo>
                  <a:pt x="1250" y="432"/>
                  <a:pt x="1248" y="432"/>
                  <a:pt x="1202" y="436"/>
                </a:cubicBezTo>
                <a:cubicBezTo>
                  <a:pt x="1178" y="434"/>
                  <a:pt x="1154" y="426"/>
                  <a:pt x="1076" y="338"/>
                </a:cubicBezTo>
                <a:cubicBezTo>
                  <a:pt x="1046" y="302"/>
                  <a:pt x="996" y="244"/>
                  <a:pt x="968" y="206"/>
                </a:cubicBezTo>
                <a:cubicBezTo>
                  <a:pt x="1062" y="102"/>
                  <a:pt x="1062" y="102"/>
                  <a:pt x="1062" y="102"/>
                </a:cubicBezTo>
                <a:cubicBezTo>
                  <a:pt x="1108" y="52"/>
                  <a:pt x="1132" y="26"/>
                  <a:pt x="1176" y="24"/>
                </a:cubicBezTo>
                <a:cubicBezTo>
                  <a:pt x="1176" y="10"/>
                  <a:pt x="1176" y="10"/>
                  <a:pt x="1176" y="10"/>
                </a:cubicBezTo>
                <a:cubicBezTo>
                  <a:pt x="1030" y="10"/>
                  <a:pt x="1030" y="10"/>
                  <a:pt x="1030" y="10"/>
                </a:cubicBezTo>
                <a:cubicBezTo>
                  <a:pt x="1030" y="22"/>
                  <a:pt x="1030" y="22"/>
                  <a:pt x="1030" y="22"/>
                </a:cubicBezTo>
                <a:cubicBezTo>
                  <a:pt x="1050" y="26"/>
                  <a:pt x="1056" y="32"/>
                  <a:pt x="1056" y="46"/>
                </a:cubicBezTo>
                <a:cubicBezTo>
                  <a:pt x="1056" y="56"/>
                  <a:pt x="1054" y="72"/>
                  <a:pt x="1026" y="102"/>
                </a:cubicBezTo>
                <a:cubicBezTo>
                  <a:pt x="910" y="230"/>
                  <a:pt x="910" y="230"/>
                  <a:pt x="910" y="230"/>
                </a:cubicBezTo>
                <a:cubicBezTo>
                  <a:pt x="910" y="148"/>
                  <a:pt x="910" y="148"/>
                  <a:pt x="910" y="148"/>
                </a:cubicBezTo>
                <a:cubicBezTo>
                  <a:pt x="910" y="36"/>
                  <a:pt x="916" y="28"/>
                  <a:pt x="960" y="22"/>
                </a:cubicBezTo>
                <a:cubicBezTo>
                  <a:pt x="960" y="8"/>
                  <a:pt x="960" y="8"/>
                  <a:pt x="960" y="8"/>
                </a:cubicBezTo>
                <a:cubicBezTo>
                  <a:pt x="804" y="8"/>
                  <a:pt x="804" y="8"/>
                  <a:pt x="804" y="8"/>
                </a:cubicBezTo>
                <a:cubicBezTo>
                  <a:pt x="804" y="22"/>
                  <a:pt x="804" y="22"/>
                  <a:pt x="804" y="22"/>
                </a:cubicBezTo>
                <a:cubicBezTo>
                  <a:pt x="852" y="26"/>
                  <a:pt x="854" y="36"/>
                  <a:pt x="854" y="148"/>
                </a:cubicBezTo>
                <a:cubicBezTo>
                  <a:pt x="854" y="300"/>
                  <a:pt x="854" y="300"/>
                  <a:pt x="854" y="300"/>
                </a:cubicBezTo>
                <a:cubicBezTo>
                  <a:pt x="854" y="422"/>
                  <a:pt x="850" y="430"/>
                  <a:pt x="804" y="434"/>
                </a:cubicBezTo>
                <a:cubicBezTo>
                  <a:pt x="804" y="446"/>
                  <a:pt x="804" y="446"/>
                  <a:pt x="804" y="446"/>
                </a:cubicBezTo>
                <a:cubicBezTo>
                  <a:pt x="960" y="446"/>
                  <a:pt x="960" y="446"/>
                  <a:pt x="960" y="446"/>
                </a:cubicBezTo>
                <a:cubicBezTo>
                  <a:pt x="960" y="434"/>
                  <a:pt x="960" y="434"/>
                  <a:pt x="960" y="434"/>
                </a:cubicBezTo>
                <a:cubicBezTo>
                  <a:pt x="910" y="428"/>
                  <a:pt x="910" y="424"/>
                  <a:pt x="910" y="292"/>
                </a:cubicBezTo>
                <a:cubicBezTo>
                  <a:pt x="910" y="268"/>
                  <a:pt x="910" y="268"/>
                  <a:pt x="910" y="268"/>
                </a:cubicBezTo>
                <a:cubicBezTo>
                  <a:pt x="930" y="246"/>
                  <a:pt x="930" y="246"/>
                  <a:pt x="930" y="246"/>
                </a:cubicBezTo>
                <a:cubicBezTo>
                  <a:pt x="982" y="310"/>
                  <a:pt x="1038" y="380"/>
                  <a:pt x="1098" y="448"/>
                </a:cubicBezTo>
                <a:cubicBezTo>
                  <a:pt x="1202" y="448"/>
                  <a:pt x="1202" y="448"/>
                  <a:pt x="1202" y="448"/>
                </a:cubicBezTo>
                <a:close/>
                <a:moveTo>
                  <a:pt x="1564" y="448"/>
                </a:moveTo>
                <a:cubicBezTo>
                  <a:pt x="1706" y="448"/>
                  <a:pt x="1706" y="448"/>
                  <a:pt x="1706" y="448"/>
                </a:cubicBezTo>
                <a:cubicBezTo>
                  <a:pt x="1706" y="436"/>
                  <a:pt x="1706" y="436"/>
                  <a:pt x="1706" y="436"/>
                </a:cubicBezTo>
                <a:cubicBezTo>
                  <a:pt x="1658" y="434"/>
                  <a:pt x="1658" y="432"/>
                  <a:pt x="1658" y="342"/>
                </a:cubicBezTo>
                <a:cubicBezTo>
                  <a:pt x="1658" y="280"/>
                  <a:pt x="1658" y="280"/>
                  <a:pt x="1658" y="280"/>
                </a:cubicBezTo>
                <a:cubicBezTo>
                  <a:pt x="1658" y="198"/>
                  <a:pt x="1612" y="172"/>
                  <a:pt x="1570" y="172"/>
                </a:cubicBezTo>
                <a:cubicBezTo>
                  <a:pt x="1534" y="172"/>
                  <a:pt x="1498" y="188"/>
                  <a:pt x="1470" y="224"/>
                </a:cubicBezTo>
                <a:cubicBezTo>
                  <a:pt x="1470" y="176"/>
                  <a:pt x="1470" y="176"/>
                  <a:pt x="1470" y="176"/>
                </a:cubicBezTo>
                <a:cubicBezTo>
                  <a:pt x="1368" y="176"/>
                  <a:pt x="1368" y="176"/>
                  <a:pt x="1368" y="176"/>
                </a:cubicBezTo>
                <a:cubicBezTo>
                  <a:pt x="1368" y="188"/>
                  <a:pt x="1368" y="188"/>
                  <a:pt x="1368" y="188"/>
                </a:cubicBezTo>
                <a:cubicBezTo>
                  <a:pt x="1412" y="190"/>
                  <a:pt x="1418" y="192"/>
                  <a:pt x="1418" y="268"/>
                </a:cubicBezTo>
                <a:cubicBezTo>
                  <a:pt x="1418" y="336"/>
                  <a:pt x="1418" y="336"/>
                  <a:pt x="1418" y="336"/>
                </a:cubicBezTo>
                <a:cubicBezTo>
                  <a:pt x="1418" y="434"/>
                  <a:pt x="1418" y="434"/>
                  <a:pt x="1370" y="436"/>
                </a:cubicBezTo>
                <a:cubicBezTo>
                  <a:pt x="1370" y="448"/>
                  <a:pt x="1370" y="448"/>
                  <a:pt x="1370" y="448"/>
                </a:cubicBezTo>
                <a:cubicBezTo>
                  <a:pt x="1514" y="448"/>
                  <a:pt x="1514" y="448"/>
                  <a:pt x="1514" y="448"/>
                </a:cubicBezTo>
                <a:cubicBezTo>
                  <a:pt x="1514" y="436"/>
                  <a:pt x="1514" y="436"/>
                  <a:pt x="1514" y="436"/>
                </a:cubicBezTo>
                <a:cubicBezTo>
                  <a:pt x="1472" y="432"/>
                  <a:pt x="1470" y="434"/>
                  <a:pt x="1470" y="338"/>
                </a:cubicBezTo>
                <a:cubicBezTo>
                  <a:pt x="1470" y="262"/>
                  <a:pt x="1470" y="262"/>
                  <a:pt x="1470" y="262"/>
                </a:cubicBezTo>
                <a:cubicBezTo>
                  <a:pt x="1470" y="236"/>
                  <a:pt x="1504" y="206"/>
                  <a:pt x="1546" y="206"/>
                </a:cubicBezTo>
                <a:cubicBezTo>
                  <a:pt x="1580" y="206"/>
                  <a:pt x="1606" y="220"/>
                  <a:pt x="1606" y="286"/>
                </a:cubicBezTo>
                <a:cubicBezTo>
                  <a:pt x="1606" y="340"/>
                  <a:pt x="1606" y="340"/>
                  <a:pt x="1606" y="340"/>
                </a:cubicBezTo>
                <a:cubicBezTo>
                  <a:pt x="1606" y="432"/>
                  <a:pt x="1602" y="432"/>
                  <a:pt x="1564" y="434"/>
                </a:cubicBezTo>
                <a:lnTo>
                  <a:pt x="1564" y="448"/>
                </a:lnTo>
                <a:close/>
                <a:moveTo>
                  <a:pt x="1776" y="222"/>
                </a:moveTo>
                <a:cubicBezTo>
                  <a:pt x="1776" y="200"/>
                  <a:pt x="1796" y="188"/>
                  <a:pt x="1822" y="188"/>
                </a:cubicBezTo>
                <a:cubicBezTo>
                  <a:pt x="1874" y="188"/>
                  <a:pt x="1896" y="236"/>
                  <a:pt x="1900" y="252"/>
                </a:cubicBezTo>
                <a:cubicBezTo>
                  <a:pt x="1912" y="252"/>
                  <a:pt x="1912" y="252"/>
                  <a:pt x="1912" y="252"/>
                </a:cubicBezTo>
                <a:cubicBezTo>
                  <a:pt x="1912" y="212"/>
                  <a:pt x="1908" y="188"/>
                  <a:pt x="1904" y="184"/>
                </a:cubicBezTo>
                <a:cubicBezTo>
                  <a:pt x="1900" y="180"/>
                  <a:pt x="1862" y="170"/>
                  <a:pt x="1824" y="170"/>
                </a:cubicBezTo>
                <a:cubicBezTo>
                  <a:pt x="1768" y="170"/>
                  <a:pt x="1734" y="206"/>
                  <a:pt x="1734" y="248"/>
                </a:cubicBezTo>
                <a:cubicBezTo>
                  <a:pt x="1734" y="340"/>
                  <a:pt x="1890" y="322"/>
                  <a:pt x="1890" y="396"/>
                </a:cubicBezTo>
                <a:cubicBezTo>
                  <a:pt x="1890" y="422"/>
                  <a:pt x="1866" y="436"/>
                  <a:pt x="1826" y="436"/>
                </a:cubicBezTo>
                <a:cubicBezTo>
                  <a:pt x="1788" y="436"/>
                  <a:pt x="1754" y="416"/>
                  <a:pt x="1744" y="366"/>
                </a:cubicBezTo>
                <a:cubicBezTo>
                  <a:pt x="1728" y="366"/>
                  <a:pt x="1728" y="366"/>
                  <a:pt x="1728" y="366"/>
                </a:cubicBezTo>
                <a:cubicBezTo>
                  <a:pt x="1728" y="386"/>
                  <a:pt x="1732" y="422"/>
                  <a:pt x="1734" y="428"/>
                </a:cubicBezTo>
                <a:cubicBezTo>
                  <a:pt x="1744" y="446"/>
                  <a:pt x="1788" y="454"/>
                  <a:pt x="1824" y="454"/>
                </a:cubicBezTo>
                <a:cubicBezTo>
                  <a:pt x="1888" y="454"/>
                  <a:pt x="1928" y="416"/>
                  <a:pt x="1928" y="372"/>
                </a:cubicBezTo>
                <a:cubicBezTo>
                  <a:pt x="1932" y="270"/>
                  <a:pt x="1776" y="286"/>
                  <a:pt x="1776" y="222"/>
                </a:cubicBezTo>
                <a:moveTo>
                  <a:pt x="2030" y="270"/>
                </a:moveTo>
                <a:cubicBezTo>
                  <a:pt x="2034" y="220"/>
                  <a:pt x="2058" y="192"/>
                  <a:pt x="2102" y="192"/>
                </a:cubicBezTo>
                <a:cubicBezTo>
                  <a:pt x="2144" y="192"/>
                  <a:pt x="2170" y="220"/>
                  <a:pt x="2172" y="270"/>
                </a:cubicBezTo>
                <a:lnTo>
                  <a:pt x="2030" y="270"/>
                </a:lnTo>
                <a:close/>
                <a:moveTo>
                  <a:pt x="2030" y="290"/>
                </a:moveTo>
                <a:cubicBezTo>
                  <a:pt x="2222" y="290"/>
                  <a:pt x="2222" y="290"/>
                  <a:pt x="2222" y="290"/>
                </a:cubicBezTo>
                <a:cubicBezTo>
                  <a:pt x="2226" y="228"/>
                  <a:pt x="2192" y="168"/>
                  <a:pt x="2114" y="168"/>
                </a:cubicBezTo>
                <a:cubicBezTo>
                  <a:pt x="2034" y="168"/>
                  <a:pt x="1982" y="232"/>
                  <a:pt x="1982" y="320"/>
                </a:cubicBezTo>
                <a:cubicBezTo>
                  <a:pt x="1982" y="388"/>
                  <a:pt x="2018" y="456"/>
                  <a:pt x="2112" y="456"/>
                </a:cubicBezTo>
                <a:cubicBezTo>
                  <a:pt x="2150" y="456"/>
                  <a:pt x="2198" y="440"/>
                  <a:pt x="2224" y="412"/>
                </a:cubicBezTo>
                <a:cubicBezTo>
                  <a:pt x="2218" y="400"/>
                  <a:pt x="2218" y="400"/>
                  <a:pt x="2218" y="400"/>
                </a:cubicBezTo>
                <a:cubicBezTo>
                  <a:pt x="2192" y="416"/>
                  <a:pt x="2164" y="422"/>
                  <a:pt x="2138" y="422"/>
                </a:cubicBezTo>
                <a:cubicBezTo>
                  <a:pt x="2058" y="420"/>
                  <a:pt x="2028" y="352"/>
                  <a:pt x="2030" y="290"/>
                </a:cubicBezTo>
                <a:moveTo>
                  <a:pt x="2478" y="242"/>
                </a:moveTo>
                <a:cubicBezTo>
                  <a:pt x="2490" y="206"/>
                  <a:pt x="2510" y="192"/>
                  <a:pt x="2528" y="192"/>
                </a:cubicBezTo>
                <a:cubicBezTo>
                  <a:pt x="2528" y="180"/>
                  <a:pt x="2528" y="180"/>
                  <a:pt x="2528" y="180"/>
                </a:cubicBezTo>
                <a:cubicBezTo>
                  <a:pt x="2430" y="180"/>
                  <a:pt x="2430" y="180"/>
                  <a:pt x="2430" y="180"/>
                </a:cubicBezTo>
                <a:cubicBezTo>
                  <a:pt x="2430" y="192"/>
                  <a:pt x="2430" y="192"/>
                  <a:pt x="2430" y="192"/>
                </a:cubicBezTo>
                <a:cubicBezTo>
                  <a:pt x="2454" y="194"/>
                  <a:pt x="2466" y="206"/>
                  <a:pt x="2458" y="234"/>
                </a:cubicBezTo>
                <a:cubicBezTo>
                  <a:pt x="2406" y="390"/>
                  <a:pt x="2406" y="390"/>
                  <a:pt x="2406" y="390"/>
                </a:cubicBezTo>
                <a:cubicBezTo>
                  <a:pt x="2354" y="270"/>
                  <a:pt x="2354" y="270"/>
                  <a:pt x="2354" y="270"/>
                </a:cubicBezTo>
                <a:cubicBezTo>
                  <a:pt x="2340" y="238"/>
                  <a:pt x="2334" y="224"/>
                  <a:pt x="2334" y="212"/>
                </a:cubicBezTo>
                <a:cubicBezTo>
                  <a:pt x="2334" y="202"/>
                  <a:pt x="2340" y="196"/>
                  <a:pt x="2360" y="192"/>
                </a:cubicBezTo>
                <a:cubicBezTo>
                  <a:pt x="2360" y="180"/>
                  <a:pt x="2360" y="180"/>
                  <a:pt x="2360" y="180"/>
                </a:cubicBezTo>
                <a:cubicBezTo>
                  <a:pt x="2234" y="180"/>
                  <a:pt x="2234" y="180"/>
                  <a:pt x="2234" y="180"/>
                </a:cubicBezTo>
                <a:cubicBezTo>
                  <a:pt x="2234" y="192"/>
                  <a:pt x="2234" y="192"/>
                  <a:pt x="2234" y="192"/>
                </a:cubicBezTo>
                <a:cubicBezTo>
                  <a:pt x="2266" y="194"/>
                  <a:pt x="2268" y="198"/>
                  <a:pt x="2310" y="292"/>
                </a:cubicBezTo>
                <a:cubicBezTo>
                  <a:pt x="2382" y="450"/>
                  <a:pt x="2382" y="450"/>
                  <a:pt x="2382" y="450"/>
                </a:cubicBezTo>
                <a:cubicBezTo>
                  <a:pt x="2358" y="512"/>
                  <a:pt x="2320" y="546"/>
                  <a:pt x="2242" y="564"/>
                </a:cubicBezTo>
                <a:cubicBezTo>
                  <a:pt x="2246" y="576"/>
                  <a:pt x="2260" y="600"/>
                  <a:pt x="2268" y="606"/>
                </a:cubicBezTo>
                <a:cubicBezTo>
                  <a:pt x="2370" y="564"/>
                  <a:pt x="2390" y="498"/>
                  <a:pt x="2426" y="396"/>
                </a:cubicBezTo>
                <a:lnTo>
                  <a:pt x="2478" y="242"/>
                </a:lnTo>
                <a:close/>
                <a:moveTo>
                  <a:pt x="2844" y="394"/>
                </a:moveTo>
                <a:cubicBezTo>
                  <a:pt x="2822" y="412"/>
                  <a:pt x="2782" y="416"/>
                  <a:pt x="2750" y="416"/>
                </a:cubicBezTo>
                <a:cubicBezTo>
                  <a:pt x="2670" y="416"/>
                  <a:pt x="2606" y="360"/>
                  <a:pt x="2606" y="284"/>
                </a:cubicBezTo>
                <a:cubicBezTo>
                  <a:pt x="2606" y="236"/>
                  <a:pt x="2626" y="206"/>
                  <a:pt x="2658" y="198"/>
                </a:cubicBezTo>
                <a:cubicBezTo>
                  <a:pt x="2698" y="266"/>
                  <a:pt x="2770" y="338"/>
                  <a:pt x="2844" y="394"/>
                </a:cubicBezTo>
                <a:moveTo>
                  <a:pt x="2928" y="448"/>
                </a:moveTo>
                <a:cubicBezTo>
                  <a:pt x="3022" y="448"/>
                  <a:pt x="3022" y="448"/>
                  <a:pt x="3022" y="448"/>
                </a:cubicBezTo>
                <a:cubicBezTo>
                  <a:pt x="3022" y="436"/>
                  <a:pt x="3022" y="436"/>
                  <a:pt x="3022" y="436"/>
                </a:cubicBezTo>
                <a:cubicBezTo>
                  <a:pt x="2992" y="432"/>
                  <a:pt x="2946" y="408"/>
                  <a:pt x="2896" y="372"/>
                </a:cubicBezTo>
                <a:cubicBezTo>
                  <a:pt x="2914" y="342"/>
                  <a:pt x="2918" y="300"/>
                  <a:pt x="2922" y="270"/>
                </a:cubicBezTo>
                <a:cubicBezTo>
                  <a:pt x="2926" y="244"/>
                  <a:pt x="2946" y="244"/>
                  <a:pt x="2958" y="242"/>
                </a:cubicBezTo>
                <a:cubicBezTo>
                  <a:pt x="2958" y="230"/>
                  <a:pt x="2958" y="230"/>
                  <a:pt x="2958" y="230"/>
                </a:cubicBezTo>
                <a:cubicBezTo>
                  <a:pt x="2834" y="230"/>
                  <a:pt x="2834" y="230"/>
                  <a:pt x="2834" y="230"/>
                </a:cubicBezTo>
                <a:cubicBezTo>
                  <a:pt x="2834" y="242"/>
                  <a:pt x="2834" y="242"/>
                  <a:pt x="2834" y="242"/>
                </a:cubicBezTo>
                <a:cubicBezTo>
                  <a:pt x="2864" y="246"/>
                  <a:pt x="2892" y="250"/>
                  <a:pt x="2892" y="294"/>
                </a:cubicBezTo>
                <a:cubicBezTo>
                  <a:pt x="2892" y="318"/>
                  <a:pt x="2888" y="342"/>
                  <a:pt x="2878" y="358"/>
                </a:cubicBezTo>
                <a:cubicBezTo>
                  <a:pt x="2770" y="274"/>
                  <a:pt x="2670" y="156"/>
                  <a:pt x="2670" y="96"/>
                </a:cubicBezTo>
                <a:cubicBezTo>
                  <a:pt x="2670" y="66"/>
                  <a:pt x="2688" y="54"/>
                  <a:pt x="2716" y="54"/>
                </a:cubicBezTo>
                <a:cubicBezTo>
                  <a:pt x="2752" y="54"/>
                  <a:pt x="2784" y="78"/>
                  <a:pt x="2800" y="124"/>
                </a:cubicBezTo>
                <a:cubicBezTo>
                  <a:pt x="2812" y="124"/>
                  <a:pt x="2812" y="124"/>
                  <a:pt x="2812" y="124"/>
                </a:cubicBezTo>
                <a:cubicBezTo>
                  <a:pt x="2810" y="42"/>
                  <a:pt x="2810" y="42"/>
                  <a:pt x="2810" y="42"/>
                </a:cubicBezTo>
                <a:cubicBezTo>
                  <a:pt x="2798" y="42"/>
                  <a:pt x="2798" y="42"/>
                  <a:pt x="2798" y="42"/>
                </a:cubicBezTo>
                <a:cubicBezTo>
                  <a:pt x="2798" y="48"/>
                  <a:pt x="2792" y="52"/>
                  <a:pt x="2788" y="52"/>
                </a:cubicBezTo>
                <a:cubicBezTo>
                  <a:pt x="2772" y="52"/>
                  <a:pt x="2752" y="36"/>
                  <a:pt x="2714" y="36"/>
                </a:cubicBezTo>
                <a:cubicBezTo>
                  <a:pt x="2672" y="36"/>
                  <a:pt x="2630" y="62"/>
                  <a:pt x="2630" y="118"/>
                </a:cubicBezTo>
                <a:cubicBezTo>
                  <a:pt x="2630" y="140"/>
                  <a:pt x="2636" y="160"/>
                  <a:pt x="2648" y="182"/>
                </a:cubicBezTo>
                <a:cubicBezTo>
                  <a:pt x="2592" y="200"/>
                  <a:pt x="2562" y="248"/>
                  <a:pt x="2562" y="304"/>
                </a:cubicBezTo>
                <a:cubicBezTo>
                  <a:pt x="2562" y="406"/>
                  <a:pt x="2640" y="460"/>
                  <a:pt x="2726" y="460"/>
                </a:cubicBezTo>
                <a:cubicBezTo>
                  <a:pt x="2780" y="460"/>
                  <a:pt x="2824" y="444"/>
                  <a:pt x="2862" y="410"/>
                </a:cubicBezTo>
                <a:cubicBezTo>
                  <a:pt x="2888" y="424"/>
                  <a:pt x="2912" y="442"/>
                  <a:pt x="2928" y="448"/>
                </a:cubicBezTo>
                <a:moveTo>
                  <a:pt x="3094" y="212"/>
                </a:moveTo>
                <a:cubicBezTo>
                  <a:pt x="3094" y="88"/>
                  <a:pt x="3154" y="20"/>
                  <a:pt x="3252" y="20"/>
                </a:cubicBezTo>
                <a:cubicBezTo>
                  <a:pt x="3328" y="20"/>
                  <a:pt x="3372" y="58"/>
                  <a:pt x="3392" y="134"/>
                </a:cubicBezTo>
                <a:cubicBezTo>
                  <a:pt x="3404" y="134"/>
                  <a:pt x="3404" y="134"/>
                  <a:pt x="3404" y="134"/>
                </a:cubicBezTo>
                <a:cubicBezTo>
                  <a:pt x="3400" y="4"/>
                  <a:pt x="3400" y="4"/>
                  <a:pt x="3400" y="4"/>
                </a:cubicBezTo>
                <a:cubicBezTo>
                  <a:pt x="3388" y="4"/>
                  <a:pt x="3388" y="4"/>
                  <a:pt x="3388" y="4"/>
                </a:cubicBezTo>
                <a:cubicBezTo>
                  <a:pt x="3384" y="14"/>
                  <a:pt x="3376" y="18"/>
                  <a:pt x="3364" y="18"/>
                </a:cubicBezTo>
                <a:cubicBezTo>
                  <a:pt x="3338" y="18"/>
                  <a:pt x="3314" y="0"/>
                  <a:pt x="3248" y="0"/>
                </a:cubicBezTo>
                <a:cubicBezTo>
                  <a:pt x="3118" y="0"/>
                  <a:pt x="3030" y="102"/>
                  <a:pt x="3030" y="242"/>
                </a:cubicBezTo>
                <a:cubicBezTo>
                  <a:pt x="3030" y="376"/>
                  <a:pt x="3110" y="460"/>
                  <a:pt x="3238" y="460"/>
                </a:cubicBezTo>
                <a:cubicBezTo>
                  <a:pt x="3320" y="460"/>
                  <a:pt x="3384" y="420"/>
                  <a:pt x="3408" y="380"/>
                </a:cubicBezTo>
                <a:cubicBezTo>
                  <a:pt x="3396" y="366"/>
                  <a:pt x="3396" y="366"/>
                  <a:pt x="3396" y="366"/>
                </a:cubicBezTo>
                <a:cubicBezTo>
                  <a:pt x="3370" y="402"/>
                  <a:pt x="3314" y="426"/>
                  <a:pt x="3256" y="426"/>
                </a:cubicBezTo>
                <a:cubicBezTo>
                  <a:pt x="3156" y="426"/>
                  <a:pt x="3094" y="340"/>
                  <a:pt x="3094" y="212"/>
                </a:cubicBezTo>
                <a:moveTo>
                  <a:pt x="3678" y="328"/>
                </a:moveTo>
                <a:cubicBezTo>
                  <a:pt x="3678" y="392"/>
                  <a:pt x="3650" y="430"/>
                  <a:pt x="3592" y="430"/>
                </a:cubicBezTo>
                <a:cubicBezTo>
                  <a:pt x="3542" y="430"/>
                  <a:pt x="3496" y="384"/>
                  <a:pt x="3496" y="292"/>
                </a:cubicBezTo>
                <a:cubicBezTo>
                  <a:pt x="3496" y="226"/>
                  <a:pt x="3528" y="190"/>
                  <a:pt x="3580" y="190"/>
                </a:cubicBezTo>
                <a:cubicBezTo>
                  <a:pt x="3628" y="192"/>
                  <a:pt x="3678" y="238"/>
                  <a:pt x="3678" y="328"/>
                </a:cubicBezTo>
                <a:moveTo>
                  <a:pt x="3732" y="312"/>
                </a:moveTo>
                <a:cubicBezTo>
                  <a:pt x="3732" y="260"/>
                  <a:pt x="3710" y="214"/>
                  <a:pt x="3672" y="190"/>
                </a:cubicBezTo>
                <a:cubicBezTo>
                  <a:pt x="3650" y="176"/>
                  <a:pt x="3620" y="168"/>
                  <a:pt x="3588" y="168"/>
                </a:cubicBezTo>
                <a:cubicBezTo>
                  <a:pt x="3502" y="168"/>
                  <a:pt x="3442" y="230"/>
                  <a:pt x="3442" y="310"/>
                </a:cubicBezTo>
                <a:cubicBezTo>
                  <a:pt x="3442" y="364"/>
                  <a:pt x="3464" y="408"/>
                  <a:pt x="3502" y="432"/>
                </a:cubicBezTo>
                <a:cubicBezTo>
                  <a:pt x="3524" y="446"/>
                  <a:pt x="3554" y="452"/>
                  <a:pt x="3586" y="452"/>
                </a:cubicBezTo>
                <a:cubicBezTo>
                  <a:pt x="3672" y="454"/>
                  <a:pt x="3732" y="394"/>
                  <a:pt x="3732" y="312"/>
                </a:cubicBezTo>
                <a:moveTo>
                  <a:pt x="4136" y="448"/>
                </a:moveTo>
                <a:cubicBezTo>
                  <a:pt x="4280" y="448"/>
                  <a:pt x="4280" y="448"/>
                  <a:pt x="4280" y="448"/>
                </a:cubicBezTo>
                <a:cubicBezTo>
                  <a:pt x="4280" y="436"/>
                  <a:pt x="4280" y="436"/>
                  <a:pt x="4280" y="436"/>
                </a:cubicBezTo>
                <a:cubicBezTo>
                  <a:pt x="4230" y="434"/>
                  <a:pt x="4232" y="426"/>
                  <a:pt x="4232" y="348"/>
                </a:cubicBezTo>
                <a:cubicBezTo>
                  <a:pt x="4232" y="276"/>
                  <a:pt x="4232" y="276"/>
                  <a:pt x="4232" y="276"/>
                </a:cubicBezTo>
                <a:cubicBezTo>
                  <a:pt x="4232" y="200"/>
                  <a:pt x="4190" y="172"/>
                  <a:pt x="4142" y="172"/>
                </a:cubicBezTo>
                <a:cubicBezTo>
                  <a:pt x="4098" y="172"/>
                  <a:pt x="4064" y="196"/>
                  <a:pt x="4038" y="232"/>
                </a:cubicBezTo>
                <a:cubicBezTo>
                  <a:pt x="4028" y="194"/>
                  <a:pt x="4000" y="172"/>
                  <a:pt x="3954" y="172"/>
                </a:cubicBezTo>
                <a:cubicBezTo>
                  <a:pt x="3916" y="172"/>
                  <a:pt x="3880" y="196"/>
                  <a:pt x="3858" y="224"/>
                </a:cubicBezTo>
                <a:cubicBezTo>
                  <a:pt x="3858" y="176"/>
                  <a:pt x="3858" y="176"/>
                  <a:pt x="3858" y="176"/>
                </a:cubicBezTo>
                <a:cubicBezTo>
                  <a:pt x="3756" y="176"/>
                  <a:pt x="3756" y="176"/>
                  <a:pt x="3756" y="176"/>
                </a:cubicBezTo>
                <a:cubicBezTo>
                  <a:pt x="3756" y="188"/>
                  <a:pt x="3756" y="188"/>
                  <a:pt x="3756" y="188"/>
                </a:cubicBezTo>
                <a:cubicBezTo>
                  <a:pt x="3800" y="190"/>
                  <a:pt x="3806" y="192"/>
                  <a:pt x="3806" y="268"/>
                </a:cubicBezTo>
                <a:cubicBezTo>
                  <a:pt x="3806" y="346"/>
                  <a:pt x="3806" y="346"/>
                  <a:pt x="3806" y="346"/>
                </a:cubicBezTo>
                <a:cubicBezTo>
                  <a:pt x="3806" y="434"/>
                  <a:pt x="3804" y="434"/>
                  <a:pt x="3758" y="434"/>
                </a:cubicBezTo>
                <a:cubicBezTo>
                  <a:pt x="3758" y="446"/>
                  <a:pt x="3758" y="446"/>
                  <a:pt x="3758" y="446"/>
                </a:cubicBezTo>
                <a:cubicBezTo>
                  <a:pt x="3902" y="446"/>
                  <a:pt x="3902" y="446"/>
                  <a:pt x="3902" y="446"/>
                </a:cubicBezTo>
                <a:cubicBezTo>
                  <a:pt x="3902" y="434"/>
                  <a:pt x="3902" y="434"/>
                  <a:pt x="3902" y="434"/>
                </a:cubicBezTo>
                <a:cubicBezTo>
                  <a:pt x="3862" y="430"/>
                  <a:pt x="3858" y="430"/>
                  <a:pt x="3858" y="342"/>
                </a:cubicBezTo>
                <a:cubicBezTo>
                  <a:pt x="3858" y="262"/>
                  <a:pt x="3858" y="262"/>
                  <a:pt x="3858" y="262"/>
                </a:cubicBezTo>
                <a:cubicBezTo>
                  <a:pt x="3858" y="234"/>
                  <a:pt x="3894" y="204"/>
                  <a:pt x="3932" y="204"/>
                </a:cubicBezTo>
                <a:cubicBezTo>
                  <a:pt x="3974" y="204"/>
                  <a:pt x="3990" y="226"/>
                  <a:pt x="3990" y="282"/>
                </a:cubicBezTo>
                <a:cubicBezTo>
                  <a:pt x="3990" y="338"/>
                  <a:pt x="3990" y="338"/>
                  <a:pt x="3990" y="338"/>
                </a:cubicBezTo>
                <a:cubicBezTo>
                  <a:pt x="3990" y="428"/>
                  <a:pt x="3988" y="432"/>
                  <a:pt x="3950" y="436"/>
                </a:cubicBezTo>
                <a:cubicBezTo>
                  <a:pt x="3950" y="448"/>
                  <a:pt x="3950" y="448"/>
                  <a:pt x="3950" y="448"/>
                </a:cubicBezTo>
                <a:cubicBezTo>
                  <a:pt x="4086" y="448"/>
                  <a:pt x="4086" y="448"/>
                  <a:pt x="4086" y="448"/>
                </a:cubicBezTo>
                <a:cubicBezTo>
                  <a:pt x="4086" y="436"/>
                  <a:pt x="4086" y="436"/>
                  <a:pt x="4086" y="436"/>
                </a:cubicBezTo>
                <a:cubicBezTo>
                  <a:pt x="4040" y="432"/>
                  <a:pt x="4042" y="428"/>
                  <a:pt x="4042" y="342"/>
                </a:cubicBezTo>
                <a:cubicBezTo>
                  <a:pt x="4042" y="264"/>
                  <a:pt x="4042" y="264"/>
                  <a:pt x="4042" y="264"/>
                </a:cubicBezTo>
                <a:cubicBezTo>
                  <a:pt x="4042" y="236"/>
                  <a:pt x="4078" y="206"/>
                  <a:pt x="4118" y="206"/>
                </a:cubicBezTo>
                <a:cubicBezTo>
                  <a:pt x="4152" y="206"/>
                  <a:pt x="4174" y="226"/>
                  <a:pt x="4174" y="284"/>
                </a:cubicBezTo>
                <a:cubicBezTo>
                  <a:pt x="4174" y="346"/>
                  <a:pt x="4174" y="346"/>
                  <a:pt x="4174" y="346"/>
                </a:cubicBezTo>
                <a:cubicBezTo>
                  <a:pt x="4174" y="428"/>
                  <a:pt x="4174" y="432"/>
                  <a:pt x="4134" y="436"/>
                </a:cubicBezTo>
                <a:cubicBezTo>
                  <a:pt x="4134" y="448"/>
                  <a:pt x="4134" y="448"/>
                  <a:pt x="4134" y="448"/>
                </a:cubicBezTo>
                <a:lnTo>
                  <a:pt x="4136" y="448"/>
                </a:lnTo>
                <a:close/>
                <a:moveTo>
                  <a:pt x="4546" y="316"/>
                </a:moveTo>
                <a:cubicBezTo>
                  <a:pt x="4546" y="388"/>
                  <a:pt x="4516" y="432"/>
                  <a:pt x="4460" y="432"/>
                </a:cubicBezTo>
                <a:cubicBezTo>
                  <a:pt x="4424" y="432"/>
                  <a:pt x="4384" y="412"/>
                  <a:pt x="4384" y="384"/>
                </a:cubicBezTo>
                <a:cubicBezTo>
                  <a:pt x="4384" y="248"/>
                  <a:pt x="4384" y="248"/>
                  <a:pt x="4384" y="248"/>
                </a:cubicBezTo>
                <a:cubicBezTo>
                  <a:pt x="4384" y="226"/>
                  <a:pt x="4416" y="202"/>
                  <a:pt x="4454" y="202"/>
                </a:cubicBezTo>
                <a:cubicBezTo>
                  <a:pt x="4510" y="206"/>
                  <a:pt x="4546" y="248"/>
                  <a:pt x="4546" y="316"/>
                </a:cubicBezTo>
                <a:moveTo>
                  <a:pt x="4600" y="310"/>
                </a:moveTo>
                <a:cubicBezTo>
                  <a:pt x="4600" y="230"/>
                  <a:pt x="4548" y="170"/>
                  <a:pt x="4478" y="170"/>
                </a:cubicBezTo>
                <a:cubicBezTo>
                  <a:pt x="4438" y="170"/>
                  <a:pt x="4406" y="188"/>
                  <a:pt x="4384" y="214"/>
                </a:cubicBezTo>
                <a:cubicBezTo>
                  <a:pt x="4384" y="174"/>
                  <a:pt x="4384" y="174"/>
                  <a:pt x="4384" y="174"/>
                </a:cubicBezTo>
                <a:cubicBezTo>
                  <a:pt x="4284" y="174"/>
                  <a:pt x="4284" y="174"/>
                  <a:pt x="4284" y="174"/>
                </a:cubicBezTo>
                <a:cubicBezTo>
                  <a:pt x="4284" y="186"/>
                  <a:pt x="4284" y="186"/>
                  <a:pt x="4284" y="186"/>
                </a:cubicBezTo>
                <a:cubicBezTo>
                  <a:pt x="4326" y="188"/>
                  <a:pt x="4332" y="190"/>
                  <a:pt x="4332" y="280"/>
                </a:cubicBezTo>
                <a:cubicBezTo>
                  <a:pt x="4332" y="466"/>
                  <a:pt x="4332" y="466"/>
                  <a:pt x="4332" y="466"/>
                </a:cubicBezTo>
                <a:cubicBezTo>
                  <a:pt x="4332" y="564"/>
                  <a:pt x="4334" y="570"/>
                  <a:pt x="4286" y="574"/>
                </a:cubicBezTo>
                <a:cubicBezTo>
                  <a:pt x="4286" y="588"/>
                  <a:pt x="4286" y="588"/>
                  <a:pt x="4286" y="588"/>
                </a:cubicBezTo>
                <a:cubicBezTo>
                  <a:pt x="4432" y="588"/>
                  <a:pt x="4432" y="588"/>
                  <a:pt x="4432" y="588"/>
                </a:cubicBezTo>
                <a:cubicBezTo>
                  <a:pt x="4432" y="574"/>
                  <a:pt x="4432" y="574"/>
                  <a:pt x="4432" y="574"/>
                </a:cubicBezTo>
                <a:cubicBezTo>
                  <a:pt x="4380" y="572"/>
                  <a:pt x="4384" y="564"/>
                  <a:pt x="4384" y="462"/>
                </a:cubicBezTo>
                <a:cubicBezTo>
                  <a:pt x="4384" y="424"/>
                  <a:pt x="4384" y="424"/>
                  <a:pt x="4384" y="424"/>
                </a:cubicBezTo>
                <a:cubicBezTo>
                  <a:pt x="4404" y="444"/>
                  <a:pt x="4436" y="454"/>
                  <a:pt x="4466" y="454"/>
                </a:cubicBezTo>
                <a:cubicBezTo>
                  <a:pt x="4548" y="454"/>
                  <a:pt x="4600" y="392"/>
                  <a:pt x="4600" y="310"/>
                </a:cubicBezTo>
                <a:moveTo>
                  <a:pt x="4792" y="382"/>
                </a:moveTo>
                <a:cubicBezTo>
                  <a:pt x="4792" y="404"/>
                  <a:pt x="4762" y="424"/>
                  <a:pt x="4736" y="424"/>
                </a:cubicBezTo>
                <a:cubicBezTo>
                  <a:pt x="4712" y="424"/>
                  <a:pt x="4694" y="410"/>
                  <a:pt x="4694" y="378"/>
                </a:cubicBezTo>
                <a:cubicBezTo>
                  <a:pt x="4694" y="322"/>
                  <a:pt x="4752" y="328"/>
                  <a:pt x="4792" y="306"/>
                </a:cubicBezTo>
                <a:cubicBezTo>
                  <a:pt x="4792" y="382"/>
                  <a:pt x="4792" y="382"/>
                  <a:pt x="4792" y="382"/>
                </a:cubicBezTo>
                <a:close/>
                <a:moveTo>
                  <a:pt x="5240" y="434"/>
                </a:moveTo>
                <a:cubicBezTo>
                  <a:pt x="5192" y="432"/>
                  <a:pt x="5192" y="430"/>
                  <a:pt x="5192" y="340"/>
                </a:cubicBezTo>
                <a:cubicBezTo>
                  <a:pt x="5192" y="278"/>
                  <a:pt x="5192" y="278"/>
                  <a:pt x="5192" y="278"/>
                </a:cubicBezTo>
                <a:cubicBezTo>
                  <a:pt x="5192" y="196"/>
                  <a:pt x="5146" y="170"/>
                  <a:pt x="5104" y="170"/>
                </a:cubicBezTo>
                <a:cubicBezTo>
                  <a:pt x="5068" y="170"/>
                  <a:pt x="5032" y="186"/>
                  <a:pt x="5004" y="222"/>
                </a:cubicBezTo>
                <a:cubicBezTo>
                  <a:pt x="5004" y="174"/>
                  <a:pt x="5004" y="174"/>
                  <a:pt x="5004" y="174"/>
                </a:cubicBezTo>
                <a:cubicBezTo>
                  <a:pt x="4902" y="174"/>
                  <a:pt x="4902" y="174"/>
                  <a:pt x="4902" y="174"/>
                </a:cubicBezTo>
                <a:cubicBezTo>
                  <a:pt x="4902" y="186"/>
                  <a:pt x="4902" y="186"/>
                  <a:pt x="4902" y="186"/>
                </a:cubicBezTo>
                <a:cubicBezTo>
                  <a:pt x="4946" y="188"/>
                  <a:pt x="4952" y="190"/>
                  <a:pt x="4952" y="266"/>
                </a:cubicBezTo>
                <a:cubicBezTo>
                  <a:pt x="4952" y="334"/>
                  <a:pt x="4952" y="334"/>
                  <a:pt x="4952" y="334"/>
                </a:cubicBezTo>
                <a:cubicBezTo>
                  <a:pt x="4952" y="430"/>
                  <a:pt x="4952" y="432"/>
                  <a:pt x="4904" y="434"/>
                </a:cubicBezTo>
                <a:cubicBezTo>
                  <a:pt x="4892" y="434"/>
                  <a:pt x="4892" y="434"/>
                  <a:pt x="4892" y="434"/>
                </a:cubicBezTo>
                <a:cubicBezTo>
                  <a:pt x="4854" y="434"/>
                  <a:pt x="4850" y="422"/>
                  <a:pt x="4850" y="366"/>
                </a:cubicBezTo>
                <a:cubicBezTo>
                  <a:pt x="4850" y="274"/>
                  <a:pt x="4850" y="274"/>
                  <a:pt x="4850" y="274"/>
                </a:cubicBezTo>
                <a:cubicBezTo>
                  <a:pt x="4850" y="256"/>
                  <a:pt x="4848" y="240"/>
                  <a:pt x="4844" y="228"/>
                </a:cubicBezTo>
                <a:cubicBezTo>
                  <a:pt x="4830" y="186"/>
                  <a:pt x="4796" y="170"/>
                  <a:pt x="4748" y="170"/>
                </a:cubicBezTo>
                <a:cubicBezTo>
                  <a:pt x="4718" y="170"/>
                  <a:pt x="4674" y="180"/>
                  <a:pt x="4650" y="202"/>
                </a:cubicBezTo>
                <a:cubicBezTo>
                  <a:pt x="4652" y="214"/>
                  <a:pt x="4664" y="240"/>
                  <a:pt x="4670" y="248"/>
                </a:cubicBezTo>
                <a:cubicBezTo>
                  <a:pt x="4676" y="246"/>
                  <a:pt x="4676" y="246"/>
                  <a:pt x="4676" y="246"/>
                </a:cubicBezTo>
                <a:cubicBezTo>
                  <a:pt x="4688" y="216"/>
                  <a:pt x="4708" y="194"/>
                  <a:pt x="4742" y="194"/>
                </a:cubicBezTo>
                <a:cubicBezTo>
                  <a:pt x="4778" y="194"/>
                  <a:pt x="4794" y="220"/>
                  <a:pt x="4794" y="250"/>
                </a:cubicBezTo>
                <a:cubicBezTo>
                  <a:pt x="4794" y="282"/>
                  <a:pt x="4794" y="282"/>
                  <a:pt x="4794" y="282"/>
                </a:cubicBezTo>
                <a:cubicBezTo>
                  <a:pt x="4794" y="302"/>
                  <a:pt x="4702" y="306"/>
                  <a:pt x="4664" y="338"/>
                </a:cubicBezTo>
                <a:cubicBezTo>
                  <a:pt x="4652" y="350"/>
                  <a:pt x="4642" y="364"/>
                  <a:pt x="4642" y="384"/>
                </a:cubicBezTo>
                <a:cubicBezTo>
                  <a:pt x="4642" y="426"/>
                  <a:pt x="4672" y="456"/>
                  <a:pt x="4716" y="456"/>
                </a:cubicBezTo>
                <a:cubicBezTo>
                  <a:pt x="4744" y="456"/>
                  <a:pt x="4768" y="446"/>
                  <a:pt x="4794" y="418"/>
                </a:cubicBezTo>
                <a:cubicBezTo>
                  <a:pt x="4798" y="438"/>
                  <a:pt x="4814" y="448"/>
                  <a:pt x="4842" y="448"/>
                </a:cubicBezTo>
                <a:cubicBezTo>
                  <a:pt x="4906" y="448"/>
                  <a:pt x="4906" y="448"/>
                  <a:pt x="4906" y="448"/>
                </a:cubicBezTo>
                <a:cubicBezTo>
                  <a:pt x="4906" y="448"/>
                  <a:pt x="4906" y="448"/>
                  <a:pt x="4906" y="448"/>
                </a:cubicBezTo>
                <a:cubicBezTo>
                  <a:pt x="5048" y="448"/>
                  <a:pt x="5048" y="448"/>
                  <a:pt x="5048" y="448"/>
                </a:cubicBezTo>
                <a:cubicBezTo>
                  <a:pt x="5048" y="436"/>
                  <a:pt x="5048" y="436"/>
                  <a:pt x="5048" y="436"/>
                </a:cubicBezTo>
                <a:cubicBezTo>
                  <a:pt x="5006" y="432"/>
                  <a:pt x="5004" y="434"/>
                  <a:pt x="5004" y="338"/>
                </a:cubicBezTo>
                <a:cubicBezTo>
                  <a:pt x="5004" y="262"/>
                  <a:pt x="5004" y="262"/>
                  <a:pt x="5004" y="262"/>
                </a:cubicBezTo>
                <a:cubicBezTo>
                  <a:pt x="5004" y="236"/>
                  <a:pt x="5038" y="206"/>
                  <a:pt x="5080" y="206"/>
                </a:cubicBezTo>
                <a:cubicBezTo>
                  <a:pt x="5114" y="206"/>
                  <a:pt x="5140" y="220"/>
                  <a:pt x="5140" y="286"/>
                </a:cubicBezTo>
                <a:cubicBezTo>
                  <a:pt x="5140" y="340"/>
                  <a:pt x="5140" y="340"/>
                  <a:pt x="5140" y="340"/>
                </a:cubicBezTo>
                <a:cubicBezTo>
                  <a:pt x="5140" y="432"/>
                  <a:pt x="5136" y="432"/>
                  <a:pt x="5098" y="434"/>
                </a:cubicBezTo>
                <a:cubicBezTo>
                  <a:pt x="5098" y="446"/>
                  <a:pt x="5098" y="446"/>
                  <a:pt x="5098" y="446"/>
                </a:cubicBezTo>
                <a:cubicBezTo>
                  <a:pt x="5240" y="446"/>
                  <a:pt x="5240" y="446"/>
                  <a:pt x="5240" y="446"/>
                </a:cubicBezTo>
                <a:lnTo>
                  <a:pt x="5240" y="434"/>
                </a:lnTo>
                <a:close/>
                <a:moveTo>
                  <a:pt x="5516" y="192"/>
                </a:moveTo>
                <a:cubicBezTo>
                  <a:pt x="5516" y="180"/>
                  <a:pt x="5516" y="180"/>
                  <a:pt x="5516" y="180"/>
                </a:cubicBezTo>
                <a:cubicBezTo>
                  <a:pt x="5418" y="180"/>
                  <a:pt x="5418" y="180"/>
                  <a:pt x="5418" y="180"/>
                </a:cubicBezTo>
                <a:cubicBezTo>
                  <a:pt x="5418" y="192"/>
                  <a:pt x="5418" y="192"/>
                  <a:pt x="5418" y="192"/>
                </a:cubicBezTo>
                <a:cubicBezTo>
                  <a:pt x="5442" y="194"/>
                  <a:pt x="5454" y="206"/>
                  <a:pt x="5446" y="234"/>
                </a:cubicBezTo>
                <a:cubicBezTo>
                  <a:pt x="5394" y="390"/>
                  <a:pt x="5394" y="390"/>
                  <a:pt x="5394" y="390"/>
                </a:cubicBezTo>
                <a:cubicBezTo>
                  <a:pt x="5342" y="270"/>
                  <a:pt x="5342" y="270"/>
                  <a:pt x="5342" y="270"/>
                </a:cubicBezTo>
                <a:cubicBezTo>
                  <a:pt x="5328" y="238"/>
                  <a:pt x="5322" y="224"/>
                  <a:pt x="5322" y="212"/>
                </a:cubicBezTo>
                <a:cubicBezTo>
                  <a:pt x="5322" y="202"/>
                  <a:pt x="5328" y="196"/>
                  <a:pt x="5348" y="192"/>
                </a:cubicBezTo>
                <a:cubicBezTo>
                  <a:pt x="5348" y="180"/>
                  <a:pt x="5348" y="180"/>
                  <a:pt x="5348" y="180"/>
                </a:cubicBezTo>
                <a:cubicBezTo>
                  <a:pt x="5220" y="180"/>
                  <a:pt x="5220" y="180"/>
                  <a:pt x="5220" y="180"/>
                </a:cubicBezTo>
                <a:cubicBezTo>
                  <a:pt x="5220" y="192"/>
                  <a:pt x="5220" y="192"/>
                  <a:pt x="5220" y="192"/>
                </a:cubicBezTo>
                <a:cubicBezTo>
                  <a:pt x="5252" y="194"/>
                  <a:pt x="5254" y="198"/>
                  <a:pt x="5296" y="292"/>
                </a:cubicBezTo>
                <a:cubicBezTo>
                  <a:pt x="5368" y="450"/>
                  <a:pt x="5368" y="450"/>
                  <a:pt x="5368" y="450"/>
                </a:cubicBezTo>
                <a:cubicBezTo>
                  <a:pt x="5344" y="512"/>
                  <a:pt x="5306" y="546"/>
                  <a:pt x="5228" y="564"/>
                </a:cubicBezTo>
                <a:cubicBezTo>
                  <a:pt x="5232" y="576"/>
                  <a:pt x="5246" y="600"/>
                  <a:pt x="5254" y="606"/>
                </a:cubicBezTo>
                <a:cubicBezTo>
                  <a:pt x="5356" y="564"/>
                  <a:pt x="5376" y="498"/>
                  <a:pt x="5412" y="396"/>
                </a:cubicBezTo>
                <a:cubicBezTo>
                  <a:pt x="5466" y="242"/>
                  <a:pt x="5466" y="242"/>
                  <a:pt x="5466" y="242"/>
                </a:cubicBezTo>
                <a:cubicBezTo>
                  <a:pt x="5478" y="206"/>
                  <a:pt x="5498" y="192"/>
                  <a:pt x="5516" y="192"/>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600" kern="1200">
                <a:solidFill>
                  <a:schemeClr val="tx1"/>
                </a:solidFill>
                <a:latin typeface="Arial" charset="0"/>
                <a:ea typeface="+mn-ea"/>
                <a:cs typeface="+mn-cs"/>
              </a:defRPr>
            </a:lvl1pPr>
            <a:lvl2pPr marL="457200" algn="l" rtl="0" fontAlgn="base">
              <a:spcBef>
                <a:spcPct val="0"/>
              </a:spcBef>
              <a:spcAft>
                <a:spcPct val="0"/>
              </a:spcAft>
              <a:defRPr sz="1600" kern="1200">
                <a:solidFill>
                  <a:schemeClr val="tx1"/>
                </a:solidFill>
                <a:latin typeface="Arial" charset="0"/>
                <a:ea typeface="+mn-ea"/>
                <a:cs typeface="+mn-cs"/>
              </a:defRPr>
            </a:lvl2pPr>
            <a:lvl3pPr marL="914400" algn="l" rtl="0" fontAlgn="base">
              <a:spcBef>
                <a:spcPct val="0"/>
              </a:spcBef>
              <a:spcAft>
                <a:spcPct val="0"/>
              </a:spcAft>
              <a:defRPr sz="1600" kern="1200">
                <a:solidFill>
                  <a:schemeClr val="tx1"/>
                </a:solidFill>
                <a:latin typeface="Arial" charset="0"/>
                <a:ea typeface="+mn-ea"/>
                <a:cs typeface="+mn-cs"/>
              </a:defRPr>
            </a:lvl3pPr>
            <a:lvl4pPr marL="1371600" algn="l" rtl="0" fontAlgn="base">
              <a:spcBef>
                <a:spcPct val="0"/>
              </a:spcBef>
              <a:spcAft>
                <a:spcPct val="0"/>
              </a:spcAft>
              <a:defRPr sz="1600" kern="1200">
                <a:solidFill>
                  <a:schemeClr val="tx1"/>
                </a:solidFill>
                <a:latin typeface="Arial" charset="0"/>
                <a:ea typeface="+mn-ea"/>
                <a:cs typeface="+mn-cs"/>
              </a:defRPr>
            </a:lvl4pPr>
            <a:lvl5pPr marL="1828800" algn="l" rtl="0" fontAlgn="base">
              <a:spcBef>
                <a:spcPct val="0"/>
              </a:spcBef>
              <a:spcAft>
                <a:spcPct val="0"/>
              </a:spcAft>
              <a:defRPr sz="1600" kern="1200">
                <a:solidFill>
                  <a:schemeClr val="tx1"/>
                </a:solidFill>
                <a:latin typeface="Arial" charset="0"/>
                <a:ea typeface="+mn-ea"/>
                <a:cs typeface="+mn-cs"/>
              </a:defRPr>
            </a:lvl5pPr>
            <a:lvl6pPr marL="2286000" algn="l" defTabSz="914400" rtl="0" eaLnBrk="1" latinLnBrk="0" hangingPunct="1">
              <a:defRPr sz="1600" kern="1200">
                <a:solidFill>
                  <a:schemeClr val="tx1"/>
                </a:solidFill>
                <a:latin typeface="Arial" charset="0"/>
                <a:ea typeface="+mn-ea"/>
                <a:cs typeface="+mn-cs"/>
              </a:defRPr>
            </a:lvl6pPr>
            <a:lvl7pPr marL="2743200" algn="l" defTabSz="914400" rtl="0" eaLnBrk="1" latinLnBrk="0" hangingPunct="1">
              <a:defRPr sz="1600" kern="1200">
                <a:solidFill>
                  <a:schemeClr val="tx1"/>
                </a:solidFill>
                <a:latin typeface="Arial" charset="0"/>
                <a:ea typeface="+mn-ea"/>
                <a:cs typeface="+mn-cs"/>
              </a:defRPr>
            </a:lvl7pPr>
            <a:lvl8pPr marL="3200400" algn="l" defTabSz="914400" rtl="0" eaLnBrk="1" latinLnBrk="0" hangingPunct="1">
              <a:defRPr sz="1600" kern="1200">
                <a:solidFill>
                  <a:schemeClr val="tx1"/>
                </a:solidFill>
                <a:latin typeface="Arial" charset="0"/>
                <a:ea typeface="+mn-ea"/>
                <a:cs typeface="+mn-cs"/>
              </a:defRPr>
            </a:lvl8pPr>
            <a:lvl9pPr marL="3657600" algn="l" defTabSz="914400" rtl="0" eaLnBrk="1" latinLnBrk="0" hangingPunct="1">
              <a:defRPr sz="1600" kern="1200">
                <a:solidFill>
                  <a:schemeClr val="tx1"/>
                </a:solidFill>
                <a:latin typeface="Arial" charset="0"/>
                <a:ea typeface="+mn-ea"/>
                <a:cs typeface="+mn-cs"/>
              </a:defRPr>
            </a:lvl9pPr>
          </a:lstStyle>
          <a:p>
            <a:endParaRPr lang="en-US" baseline="0" dirty="0">
              <a:solidFill>
                <a:srgbClr val="000000"/>
              </a:solidFill>
              <a:latin typeface="+mn-lt"/>
            </a:endParaRPr>
          </a:p>
        </p:txBody>
      </p:sp>
      <p:sp>
        <p:nvSpPr>
          <p:cNvPr id="27" name="Disclaimer-English (United States)" hidden="1"/>
          <p:cNvSpPr>
            <a:spLocks noChangeArrowheads="1"/>
          </p:cNvSpPr>
          <p:nvPr/>
        </p:nvSpPr>
        <p:spPr bwMode="black">
          <a:xfrm>
            <a:off x="2268266" y="6287785"/>
            <a:ext cx="3544453" cy="36908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t" anchorCtr="0">
            <a:noAutofit/>
          </a:bodyPr>
          <a:lstStyle/>
          <a:p>
            <a:pPr defTabSz="804863" eaLnBrk="0" hangingPunct="0"/>
            <a:r>
              <a:rPr lang="en-US" sz="800" baseline="0" dirty="0">
                <a:solidFill>
                  <a:srgbClr val="FFFFFF"/>
                </a:solidFill>
                <a:latin typeface="+mn-lt"/>
              </a:rPr>
              <a:t>CONFIDENTIAL AND PROPRIETARY</a:t>
            </a:r>
          </a:p>
          <a:p>
            <a:pPr defTabSz="804863" eaLnBrk="0" hangingPunct="0"/>
            <a:r>
              <a:rPr lang="en-US" sz="800" baseline="0" dirty="0">
                <a:solidFill>
                  <a:srgbClr val="FFFFFF"/>
                </a:solidFill>
                <a:latin typeface="+mn-lt"/>
              </a:rPr>
              <a:t>Any use of this material without specific permission of McKinsey &amp; Company is strictly prohibited</a:t>
            </a:r>
          </a:p>
        </p:txBody>
      </p:sp>
    </p:spTree>
    <p:extLst>
      <p:ext uri="{BB962C8B-B14F-4D97-AF65-F5344CB8AC3E}">
        <p14:creationId xmlns:p14="http://schemas.microsoft.com/office/powerpoint/2010/main" val="328071871"/>
      </p:ext>
    </p:extLst>
  </p:cSld>
  <p:clrMapOvr>
    <a:masterClrMapping/>
  </p:clrMapOvr>
  <p:extLst mod="1">
    <p:ext uri="{DCECCB84-F9BA-43D5-87BE-67443E8EF086}">
      <p15:sldGuideLst xmlns:p15="http://schemas.microsoft.com/office/powerpoint/2012/main">
        <p15:guide id="1" orient="horz" pos="2117">
          <p15:clr>
            <a:srgbClr val="FBAE40"/>
          </p15:clr>
        </p15:guide>
        <p15:guide id="2" pos="1416">
          <p15:clr>
            <a:srgbClr val="FBAE40"/>
          </p15:clr>
        </p15:guide>
      </p15:sldGuideLst>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6E228F5-5CF1-42E1-9748-97D7582A107A}"/>
              </a:ext>
            </a:extLst>
          </p:cNvPr>
          <p:cNvGraphicFramePr>
            <a:graphicFrameLocks noChangeAspect="1"/>
          </p:cNvGraphicFramePr>
          <p:nvPr>
            <p:custDataLst>
              <p:tags r:id="rId2"/>
            </p:custDataLst>
            <p:extLst>
              <p:ext uri="{D42A27DB-BD31-4B8C-83A1-F6EECF244321}">
                <p14:modId xmlns:p14="http://schemas.microsoft.com/office/powerpoint/2010/main" val="369441524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1812" name="think-cell Slide" r:id="rId5" imgW="353" imgH="353" progId="TCLayout.ActiveDocument.1">
                  <p:embed/>
                </p:oleObj>
              </mc:Choice>
              <mc:Fallback>
                <p:oleObj name="think-cell Slide" r:id="rId5" imgW="353" imgH="353" progId="TCLayout.ActiveDocument.1">
                  <p:embed/>
                  <p:pic>
                    <p:nvPicPr>
                      <p:cNvPr id="3" name="Object 2" hidden="1">
                        <a:extLst>
                          <a:ext uri="{FF2B5EF4-FFF2-40B4-BE49-F238E27FC236}">
                            <a16:creationId xmlns:a16="http://schemas.microsoft.com/office/drawing/2014/main" id="{C6E228F5-5CF1-42E1-9748-97D7582A107A}"/>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2. Slide Title"/>
          <p:cNvSpPr>
            <a:spLocks noGrp="1"/>
          </p:cNvSpPr>
          <p:nvPr>
            <p:ph type="title"/>
          </p:nvPr>
        </p:nvSpPr>
        <p:spPr bwMode="auto"/>
        <p:txBody>
          <a:bodyPr/>
          <a:lstStyle/>
          <a:p>
            <a:r>
              <a:rPr lang="en-US"/>
              <a:t>Click to edit Master title style</a:t>
            </a:r>
            <a:endParaRPr lang="en-US" dirty="0"/>
          </a:p>
        </p:txBody>
      </p:sp>
      <p:sp>
        <p:nvSpPr>
          <p:cNvPr id="8" name="Slide Number"/>
          <p:cNvSpPr txBox="1">
            <a:spLocks/>
          </p:cNvSpPr>
          <p:nvPr/>
        </p:nvSpPr>
        <p:spPr bwMode="auto">
          <a:xfrm>
            <a:off x="8564563" y="6508272"/>
            <a:ext cx="125034" cy="123111"/>
          </a:xfrm>
          <a:prstGeom prst="rect">
            <a:avLst/>
          </a:prstGeom>
        </p:spPr>
        <p:txBody>
          <a:bodyPr vert="horz" wrap="none" lIns="0" tIns="0" rIns="0" bIns="0" rtlCol="0" anchor="ctr">
            <a:spAutoFit/>
          </a:bodyPr>
          <a:lstStyle>
            <a:defPPr>
              <a:defRPr lang="en-US"/>
            </a:defPPr>
            <a:lvl1pPr>
              <a:defRPr sz="1000" baseline="0">
                <a:latin typeface="+mn-lt"/>
              </a:defRPr>
            </a:lvl1pPr>
          </a:lstStyle>
          <a:p>
            <a:fld id="{42C328C1-A84F-4A39-A664-DBA00541A8C6}" type="slidenum">
              <a:rPr lang="en-US" sz="800" baseline="0" smtClean="0">
                <a:solidFill>
                  <a:srgbClr val="808080"/>
                </a:solidFill>
                <a:latin typeface="+mn-lt"/>
              </a:rPr>
              <a:pPr/>
              <a:t>‹#›</a:t>
            </a:fld>
            <a:endParaRPr lang="en-US" sz="800" baseline="0" dirty="0">
              <a:solidFill>
                <a:srgbClr val="808080"/>
              </a:solidFill>
              <a:latin typeface="+mn-lt"/>
            </a:endParaRPr>
          </a:p>
        </p:txBody>
      </p:sp>
      <p:sp>
        <p:nvSpPr>
          <p:cNvPr id="9" name="SlideLogoText"/>
          <p:cNvSpPr>
            <a:spLocks noChangeArrowheads="1"/>
          </p:cNvSpPr>
          <p:nvPr>
            <p:custDataLst>
              <p:tags r:id="rId3"/>
            </p:custDataLst>
          </p:nvPr>
        </p:nvSpPr>
        <p:spPr bwMode="auto">
          <a:xfrm>
            <a:off x="7450817" y="6508272"/>
            <a:ext cx="1013098"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algn="r" defTabSz="895350"/>
            <a:r>
              <a:rPr lang="en-US" sz="800" baseline="0" dirty="0">
                <a:solidFill>
                  <a:srgbClr val="808080"/>
                </a:solidFill>
                <a:latin typeface="+mn-lt"/>
              </a:rPr>
              <a:t>McKinsey &amp; Company</a:t>
            </a:r>
          </a:p>
        </p:txBody>
      </p:sp>
      <p:sp>
        <p:nvSpPr>
          <p:cNvPr id="5" name="doc id" hidden="1"/>
          <p:cNvSpPr txBox="1">
            <a:spLocks noChangeArrowheads="1"/>
          </p:cNvSpPr>
          <p:nvPr/>
        </p:nvSpPr>
        <p:spPr bwMode="white">
          <a:xfrm>
            <a:off x="8104473" y="36513"/>
            <a:ext cx="634716" cy="115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hangingPunct="1">
              <a:defRPr/>
            </a:pPr>
            <a:endParaRPr lang="en-US" sz="800" baseline="0" dirty="0">
              <a:solidFill>
                <a:schemeClr val="accent1"/>
              </a:solidFill>
              <a:latin typeface="+mn-lt"/>
              <a:ea typeface="+mn-ea"/>
            </a:endParaRPr>
          </a:p>
        </p:txBody>
      </p:sp>
    </p:spTree>
    <p:extLst>
      <p:ext uri="{BB962C8B-B14F-4D97-AF65-F5344CB8AC3E}">
        <p14:creationId xmlns:p14="http://schemas.microsoft.com/office/powerpoint/2010/main" val="1942871480"/>
      </p:ext>
    </p:extLst>
  </p:cSld>
  <p:clrMapOvr>
    <a:masterClrMapping/>
  </p:clrMapOvr>
  <p:extLst mod="1">
    <p:ext uri="{DCECCB84-F9BA-43D5-87BE-67443E8EF086}">
      <p15:sldGuideLst xmlns:p15="http://schemas.microsoft.com/office/powerpoint/2012/main">
        <p15:guide id="1" pos="5505">
          <p15:clr>
            <a:srgbClr val="F26B43"/>
          </p15:clr>
        </p15:guide>
        <p15:guide id="2" pos="74">
          <p15:clr>
            <a:srgbClr val="F26B43"/>
          </p15:clr>
        </p15:guide>
        <p15:guide id="3" orient="horz" pos="571">
          <p15:clr>
            <a:srgbClr val="F26B43"/>
          </p15:clr>
        </p15:guide>
        <p15:guide id="4" orient="horz" pos="3911">
          <p15:clr>
            <a:srgbClr val="F26B43"/>
          </p15:clr>
        </p15:guide>
      </p15:sldGuideLst>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p:cSld name="1_Title Only">
    <p:bg>
      <p:bgPr>
        <a:solidFill>
          <a:schemeClr val="accent2"/>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F4AD34F-3B47-47E2-A09C-FFEB949F6A10}"/>
              </a:ext>
            </a:extLst>
          </p:cNvPr>
          <p:cNvGraphicFramePr>
            <a:graphicFrameLocks noChangeAspect="1"/>
          </p:cNvGraphicFramePr>
          <p:nvPr>
            <p:custDataLst>
              <p:tags r:id="rId2"/>
            </p:custDataLst>
            <p:extLst>
              <p:ext uri="{D42A27DB-BD31-4B8C-83A1-F6EECF244321}">
                <p14:modId xmlns:p14="http://schemas.microsoft.com/office/powerpoint/2010/main" val="77430107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2836" name="think-cell Slide" r:id="rId5" imgW="395" imgH="394" progId="TCLayout.ActiveDocument.1">
                  <p:embed/>
                </p:oleObj>
              </mc:Choice>
              <mc:Fallback>
                <p:oleObj name="think-cell Slide" r:id="rId5" imgW="395" imgH="394" progId="TCLayout.ActiveDocument.1">
                  <p:embed/>
                  <p:pic>
                    <p:nvPicPr>
                      <p:cNvPr id="3" name="Object 2" hidden="1">
                        <a:extLst>
                          <a:ext uri="{FF2B5EF4-FFF2-40B4-BE49-F238E27FC236}">
                            <a16:creationId xmlns:a16="http://schemas.microsoft.com/office/drawing/2014/main" id="{EF4AD34F-3B47-47E2-A09C-FFEB949F6A10}"/>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endParaRPr lang="en-US" dirty="0"/>
          </a:p>
        </p:txBody>
      </p:sp>
      <p:sp>
        <p:nvSpPr>
          <p:cNvPr id="15" name="Slide Number"/>
          <p:cNvSpPr txBox="1">
            <a:spLocks/>
          </p:cNvSpPr>
          <p:nvPr/>
        </p:nvSpPr>
        <p:spPr>
          <a:xfrm>
            <a:off x="8564563" y="6508272"/>
            <a:ext cx="125034" cy="123111"/>
          </a:xfrm>
          <a:prstGeom prst="rect">
            <a:avLst/>
          </a:prstGeom>
        </p:spPr>
        <p:txBody>
          <a:bodyPr vert="horz" wrap="none" lIns="0" tIns="0" rIns="0" bIns="0" rtlCol="0" anchor="ctr">
            <a:spAutoFit/>
          </a:bodyPr>
          <a:lstStyle>
            <a:defPPr>
              <a:defRPr lang="en-US"/>
            </a:defPPr>
            <a:lvl1pPr>
              <a:defRPr sz="1000" baseline="0">
                <a:latin typeface="+mn-lt"/>
              </a:defRPr>
            </a:lvl1pPr>
          </a:lstStyle>
          <a:p>
            <a:fld id="{42C328C1-A84F-4A39-A664-DBA00541A8C6}" type="slidenum">
              <a:rPr lang="en-US" sz="800" baseline="0" smtClean="0">
                <a:solidFill>
                  <a:srgbClr val="FFFFFF"/>
                </a:solidFill>
                <a:latin typeface="+mn-lt"/>
              </a:rPr>
              <a:pPr/>
              <a:t>‹#›</a:t>
            </a:fld>
            <a:endParaRPr lang="en-US" sz="800" baseline="0" dirty="0">
              <a:solidFill>
                <a:srgbClr val="FFFFFF"/>
              </a:solidFill>
              <a:latin typeface="+mn-lt"/>
            </a:endParaRPr>
          </a:p>
        </p:txBody>
      </p:sp>
      <p:sp>
        <p:nvSpPr>
          <p:cNvPr id="16" name="SlideLogoText"/>
          <p:cNvSpPr>
            <a:spLocks noChangeArrowheads="1"/>
          </p:cNvSpPr>
          <p:nvPr>
            <p:custDataLst>
              <p:tags r:id="rId3"/>
            </p:custDataLst>
          </p:nvPr>
        </p:nvSpPr>
        <p:spPr bwMode="auto">
          <a:xfrm>
            <a:off x="7450817" y="6508272"/>
            <a:ext cx="1013098"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algn="r" defTabSz="895350"/>
            <a:r>
              <a:rPr lang="en-US" sz="800" baseline="0" dirty="0">
                <a:solidFill>
                  <a:srgbClr val="FFFFFF"/>
                </a:solidFill>
                <a:latin typeface="+mn-lt"/>
              </a:rPr>
              <a:t>McKinsey &amp; Company</a:t>
            </a:r>
          </a:p>
        </p:txBody>
      </p:sp>
      <p:sp>
        <p:nvSpPr>
          <p:cNvPr id="5" name="doc id" hidden="1"/>
          <p:cNvSpPr txBox="1">
            <a:spLocks noChangeArrowheads="1"/>
          </p:cNvSpPr>
          <p:nvPr/>
        </p:nvSpPr>
        <p:spPr bwMode="white">
          <a:xfrm>
            <a:off x="8104473" y="36513"/>
            <a:ext cx="634716" cy="115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hangingPunct="1">
              <a:defRPr/>
            </a:pPr>
            <a:endParaRPr lang="en-US" sz="800" baseline="0" dirty="0">
              <a:solidFill>
                <a:schemeClr val="accent1"/>
              </a:solidFill>
              <a:latin typeface="+mn-lt"/>
              <a:ea typeface="+mn-ea"/>
            </a:endParaRPr>
          </a:p>
        </p:txBody>
      </p:sp>
    </p:spTree>
    <p:extLst>
      <p:ext uri="{BB962C8B-B14F-4D97-AF65-F5344CB8AC3E}">
        <p14:creationId xmlns:p14="http://schemas.microsoft.com/office/powerpoint/2010/main" val="3636708946"/>
      </p:ext>
    </p:extLst>
  </p:cSld>
  <p:clrMapOvr>
    <a:masterClrMapping/>
  </p:clrMapOvr>
  <p:extLst mod="1">
    <p:ext uri="{DCECCB84-F9BA-43D5-87BE-67443E8EF086}">
      <p15:sldGuideLst xmlns:p15="http://schemas.microsoft.com/office/powerpoint/2012/main">
        <p15:guide id="1" pos="3978">
          <p15:clr>
            <a:srgbClr val="000000"/>
          </p15:clr>
        </p15:guide>
        <p15:guide id="2" orient="horz" pos="570">
          <p15:clr>
            <a:srgbClr val="000000"/>
          </p15:clr>
        </p15:guide>
        <p15:guide id="3" orient="horz" pos="3912">
          <p15:clr>
            <a:srgbClr val="000000"/>
          </p15:clr>
        </p15:guide>
        <p15:guide id="4" pos="72">
          <p15:clr>
            <a:srgbClr val="000000"/>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type="titleOnly">
  <p:cSld name="2_Title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ECD524A-1569-4253-8CD8-48D288AD883C}"/>
              </a:ext>
            </a:extLst>
          </p:cNvPr>
          <p:cNvGraphicFramePr>
            <a:graphicFrameLocks noChangeAspect="1"/>
          </p:cNvGraphicFramePr>
          <p:nvPr>
            <p:custDataLst>
              <p:tags r:id="rId2"/>
            </p:custDataLst>
            <p:extLst>
              <p:ext uri="{D42A27DB-BD31-4B8C-83A1-F6EECF244321}">
                <p14:modId xmlns:p14="http://schemas.microsoft.com/office/powerpoint/2010/main" val="153680492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3860" name="think-cell Slide" r:id="rId4" imgW="395" imgH="394" progId="TCLayout.ActiveDocument.1">
                  <p:embed/>
                </p:oleObj>
              </mc:Choice>
              <mc:Fallback>
                <p:oleObj name="think-cell Slide" r:id="rId4" imgW="395" imgH="394" progId="TCLayout.ActiveDocument.1">
                  <p:embed/>
                  <p:pic>
                    <p:nvPicPr>
                      <p:cNvPr id="3" name="Object 2" hidden="1">
                        <a:extLst>
                          <a:ext uri="{FF2B5EF4-FFF2-40B4-BE49-F238E27FC236}">
                            <a16:creationId xmlns:a16="http://schemas.microsoft.com/office/drawing/2014/main" id="{5ECD524A-1569-4253-8CD8-48D288AD883C}"/>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91198283"/>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pic>
        <p:nvPicPr>
          <p:cNvPr id="2" name="background"/>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0" y="198"/>
            <a:ext cx="8961438" cy="6721079"/>
          </a:xfrm>
          <a:prstGeom prst="rect">
            <a:avLst/>
          </a:prstGeom>
        </p:spPr>
      </p:pic>
      <p:sp>
        <p:nvSpPr>
          <p:cNvPr id="28" name="TitleRectangle"/>
          <p:cNvSpPr txBox="1">
            <a:spLocks/>
          </p:cNvSpPr>
          <p:nvPr/>
        </p:nvSpPr>
        <p:spPr>
          <a:xfrm>
            <a:off x="2084388" y="0"/>
            <a:ext cx="6875462" cy="3575976"/>
          </a:xfrm>
          <a:prstGeom prst="rect">
            <a:avLst/>
          </a:prstGeom>
          <a:solidFill>
            <a:srgbClr val="002960">
              <a:alpha val="92000"/>
            </a:srgbClr>
          </a:solidFill>
        </p:spPr>
        <p:txBody>
          <a:bodyPr vert="horz" wrap="square" lIns="216000" tIns="1440000" rIns="216000" bIns="108000" rtlCol="0">
            <a:noAutofit/>
          </a:bodyPr>
          <a:lstStyle>
            <a:lvl1pPr marL="0" indent="0" algn="l" defTabSz="914400" rtl="0" eaLnBrk="1" latinLnBrk="0" hangingPunct="1">
              <a:spcBef>
                <a:spcPct val="20000"/>
              </a:spcBef>
              <a:spcAft>
                <a:spcPts val="6000"/>
              </a:spcAft>
              <a:buFont typeface="Arial" pitchFamily="34" charset="0"/>
              <a:buNone/>
              <a:defRPr sz="3200" kern="1200">
                <a:solidFill>
                  <a:schemeClr val="accent1"/>
                </a:solidFill>
                <a:latin typeface="+mn-lt"/>
                <a:ea typeface="+mn-ea"/>
                <a:cs typeface="+mn-cs"/>
              </a:defRPr>
            </a:lvl1pPr>
            <a:lvl2pPr marL="0" indent="0" algn="l" defTabSz="914400" rtl="0" eaLnBrk="1" latinLnBrk="0" hangingPunct="1">
              <a:spcBef>
                <a:spcPct val="20000"/>
              </a:spcBef>
              <a:buFont typeface="Wingdings" charset="2"/>
              <a:buNone/>
              <a:defRPr sz="1400" kern="1200">
                <a:solidFill>
                  <a:schemeClr val="tx1">
                    <a:lumMod val="50000"/>
                    <a:lumOff val="50000"/>
                  </a:schemeClr>
                </a:solidFill>
                <a:latin typeface="+mn-lt"/>
                <a:ea typeface="+mn-ea"/>
                <a:cs typeface="+mn-cs"/>
              </a:defRPr>
            </a:lvl2pPr>
            <a:lvl3pPr marL="1143000" indent="-228600" algn="l" defTabSz="914400" rtl="0" eaLnBrk="1" latinLnBrk="0" hangingPunct="1">
              <a:spcBef>
                <a:spcPct val="20000"/>
              </a:spcBef>
              <a:buFont typeface="Lucida Grande"/>
              <a:buChar char="–"/>
              <a:defRPr sz="16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fontAlgn="auto">
              <a:defRPr/>
            </a:pPr>
            <a:r>
              <a:rPr lang="en-US" baseline="0" dirty="0">
                <a:solidFill>
                  <a:srgbClr val="00ADEF"/>
                </a:solidFill>
                <a:latin typeface="+mn-lt"/>
              </a:rPr>
              <a:t>
              </a:t>
            </a:r>
            <a:br>
              <a:rPr lang="en-US" baseline="0" dirty="0">
                <a:solidFill>
                  <a:srgbClr val="00ADEF"/>
                </a:solidFill>
                <a:latin typeface="+mn-lt"/>
              </a:rPr>
            </a:br>
            <a:endParaRPr lang="en-US" baseline="0" dirty="0">
              <a:solidFill>
                <a:srgbClr val="00ADEF"/>
              </a:solidFill>
              <a:latin typeface="+mn-lt"/>
            </a:endParaRPr>
          </a:p>
        </p:txBody>
      </p:sp>
      <p:graphicFrame>
        <p:nvGraphicFramePr>
          <p:cNvPr id="3" name="Object 2"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5908"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Working Draft Text" hidden="1"/>
          <p:cNvSpPr txBox="1">
            <a:spLocks noChangeArrowheads="1"/>
          </p:cNvSpPr>
          <p:nvPr/>
        </p:nvSpPr>
        <p:spPr bwMode="black">
          <a:xfrm>
            <a:off x="5992719" y="6287538"/>
            <a:ext cx="2790000"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800" b="1" baseline="0" dirty="0">
                <a:solidFill>
                  <a:srgbClr val="FFFFFF"/>
                </a:solidFill>
                <a:latin typeface="+mn-lt"/>
              </a:rPr>
              <a:t>WORKING DRAFT</a:t>
            </a:r>
          </a:p>
        </p:txBody>
      </p:sp>
      <p:sp>
        <p:nvSpPr>
          <p:cNvPr id="6" name="Working Draft" hidden="1"/>
          <p:cNvSpPr txBox="1">
            <a:spLocks noChangeArrowheads="1"/>
          </p:cNvSpPr>
          <p:nvPr/>
        </p:nvSpPr>
        <p:spPr bwMode="black">
          <a:xfrm>
            <a:off x="5992718" y="6410648"/>
            <a:ext cx="2968719"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800" baseline="0">
                <a:solidFill>
                  <a:srgbClr val="FFFFFF"/>
                </a:solidFill>
                <a:latin typeface="+mn-lt"/>
              </a:rPr>
              <a:t>Last Modified 21/05/2018 17:44 India Standard Time</a:t>
            </a:r>
            <a:endParaRPr lang="en-US" sz="800" baseline="0" dirty="0">
              <a:solidFill>
                <a:srgbClr val="FFFFFF"/>
              </a:solidFill>
              <a:latin typeface="+mn-lt"/>
            </a:endParaRPr>
          </a:p>
        </p:txBody>
      </p:sp>
      <p:sp>
        <p:nvSpPr>
          <p:cNvPr id="7" name="Printed" hidden="1"/>
          <p:cNvSpPr txBox="1">
            <a:spLocks noChangeArrowheads="1"/>
          </p:cNvSpPr>
          <p:nvPr/>
        </p:nvSpPr>
        <p:spPr bwMode="black">
          <a:xfrm>
            <a:off x="5992719" y="6533759"/>
            <a:ext cx="2790000"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800" baseline="0" dirty="0">
                <a:solidFill>
                  <a:srgbClr val="FFFFFF"/>
                </a:solidFill>
                <a:latin typeface="+mn-lt"/>
              </a:rPr>
              <a:t>Printed</a:t>
            </a:r>
          </a:p>
        </p:txBody>
      </p:sp>
      <p:sp>
        <p:nvSpPr>
          <p:cNvPr id="13314" name="Title"/>
          <p:cNvSpPr>
            <a:spLocks noGrp="1" noChangeArrowheads="1"/>
          </p:cNvSpPr>
          <p:nvPr>
            <p:ph type="ctrTitle"/>
          </p:nvPr>
        </p:nvSpPr>
        <p:spPr>
          <a:xfrm>
            <a:off x="2268266" y="1434419"/>
            <a:ext cx="6231663" cy="492443"/>
          </a:xfrm>
          <a:prstGeom prst="rect">
            <a:avLst/>
          </a:prstGeom>
        </p:spPr>
        <p:txBody>
          <a:bodyPr>
            <a:spAutoFit/>
          </a:bodyPr>
          <a:lstStyle>
            <a:lvl1pPr>
              <a:defRPr sz="3200" b="0" baseline="0">
                <a:solidFill>
                  <a:schemeClr val="accent2"/>
                </a:solidFill>
                <a:latin typeface="+mj-lt"/>
                <a:ea typeface="+mj-ea"/>
              </a:defRPr>
            </a:lvl1pPr>
          </a:lstStyle>
          <a:p>
            <a:pPr lvl="0" latinLnBrk="0"/>
            <a:r>
              <a:rPr lang="en-US" noProof="0"/>
              <a:t>Click to edit Master title style</a:t>
            </a:r>
            <a:endParaRPr lang="en-US" noProof="0" dirty="0"/>
          </a:p>
        </p:txBody>
      </p:sp>
      <p:sp>
        <p:nvSpPr>
          <p:cNvPr id="13315" name="Subtitle"/>
          <p:cNvSpPr>
            <a:spLocks noGrp="1" noChangeArrowheads="1"/>
          </p:cNvSpPr>
          <p:nvPr>
            <p:ph type="subTitle" idx="1"/>
          </p:nvPr>
        </p:nvSpPr>
        <p:spPr>
          <a:xfrm>
            <a:off x="2268266" y="2819401"/>
            <a:ext cx="6231663" cy="215444"/>
          </a:xfrm>
          <a:prstGeom prst="rect">
            <a:avLst/>
          </a:prstGeom>
        </p:spPr>
        <p:txBody>
          <a:bodyPr wrap="square">
            <a:spAutoFit/>
          </a:bodyPr>
          <a:lstStyle>
            <a:lvl1pPr>
              <a:defRPr sz="1400" cap="all" baseline="0">
                <a:solidFill>
                  <a:schemeClr val="bg1"/>
                </a:solidFill>
                <a:latin typeface="+mn-lt"/>
                <a:ea typeface="+mn-ea"/>
              </a:defRPr>
            </a:lvl1pPr>
          </a:lstStyle>
          <a:p>
            <a:pPr lvl="0" latinLnBrk="0"/>
            <a:r>
              <a:rPr lang="en-US" noProof="0"/>
              <a:t>Click to edit Master subtitle style</a:t>
            </a:r>
            <a:endParaRPr lang="en-US" noProof="0" dirty="0"/>
          </a:p>
        </p:txBody>
      </p:sp>
      <p:sp>
        <p:nvSpPr>
          <p:cNvPr id="57" name="Document type" hidden="1"/>
          <p:cNvSpPr txBox="1">
            <a:spLocks noChangeArrowheads="1"/>
          </p:cNvSpPr>
          <p:nvPr/>
        </p:nvSpPr>
        <p:spPr bwMode="gray">
          <a:xfrm>
            <a:off x="2268266" y="3227411"/>
            <a:ext cx="6231663"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00" baseline="0" dirty="0">
                <a:solidFill>
                  <a:schemeClr val="bg1"/>
                </a:solidFill>
                <a:latin typeface="+mn-lt"/>
              </a:rPr>
              <a:t>Document type | Date</a:t>
            </a:r>
          </a:p>
        </p:txBody>
      </p:sp>
      <p:sp>
        <p:nvSpPr>
          <p:cNvPr id="5" name="doc id" hidden="1"/>
          <p:cNvSpPr txBox="1">
            <a:spLocks noChangeArrowheads="1"/>
          </p:cNvSpPr>
          <p:nvPr/>
        </p:nvSpPr>
        <p:spPr bwMode="white">
          <a:xfrm>
            <a:off x="8443913" y="36513"/>
            <a:ext cx="295275" cy="1222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hangingPunct="1">
              <a:defRPr/>
            </a:pPr>
            <a:endParaRPr lang="en-US" sz="800" baseline="0" dirty="0">
              <a:solidFill>
                <a:srgbClr val="FFFFFF"/>
              </a:solidFill>
              <a:latin typeface="+mn-lt"/>
            </a:endParaRPr>
          </a:p>
        </p:txBody>
      </p:sp>
      <p:sp>
        <p:nvSpPr>
          <p:cNvPr id="43" name="LogoImage"/>
          <p:cNvSpPr>
            <a:spLocks noEditPoints="1"/>
          </p:cNvSpPr>
          <p:nvPr/>
        </p:nvSpPr>
        <p:spPr bwMode="white">
          <a:xfrm>
            <a:off x="2269098" y="182925"/>
            <a:ext cx="2176978" cy="238073"/>
          </a:xfrm>
          <a:custGeom>
            <a:avLst/>
            <a:gdLst>
              <a:gd name="T0" fmla="*/ 504 w 5516"/>
              <a:gd name="T1" fmla="*/ 26 h 606"/>
              <a:gd name="T2" fmla="*/ 18 w 5516"/>
              <a:gd name="T3" fmla="*/ 22 h 606"/>
              <a:gd name="T4" fmla="*/ 140 w 5516"/>
              <a:gd name="T5" fmla="*/ 436 h 606"/>
              <a:gd name="T6" fmla="*/ 408 w 5516"/>
              <a:gd name="T7" fmla="*/ 372 h 606"/>
              <a:gd name="T8" fmla="*/ 696 w 5516"/>
              <a:gd name="T9" fmla="*/ 422 h 606"/>
              <a:gd name="T10" fmla="*/ 768 w 5516"/>
              <a:gd name="T11" fmla="*/ 196 h 606"/>
              <a:gd name="T12" fmla="*/ 1272 w 5516"/>
              <a:gd name="T13" fmla="*/ 26 h 606"/>
              <a:gd name="T14" fmla="*/ 1302 w 5516"/>
              <a:gd name="T15" fmla="*/ 338 h 606"/>
              <a:gd name="T16" fmla="*/ 1202 w 5516"/>
              <a:gd name="T17" fmla="*/ 436 h 606"/>
              <a:gd name="T18" fmla="*/ 1030 w 5516"/>
              <a:gd name="T19" fmla="*/ 10 h 606"/>
              <a:gd name="T20" fmla="*/ 960 w 5516"/>
              <a:gd name="T21" fmla="*/ 22 h 606"/>
              <a:gd name="T22" fmla="*/ 804 w 5516"/>
              <a:gd name="T23" fmla="*/ 434 h 606"/>
              <a:gd name="T24" fmla="*/ 930 w 5516"/>
              <a:gd name="T25" fmla="*/ 246 h 606"/>
              <a:gd name="T26" fmla="*/ 1658 w 5516"/>
              <a:gd name="T27" fmla="*/ 342 h 606"/>
              <a:gd name="T28" fmla="*/ 1368 w 5516"/>
              <a:gd name="T29" fmla="*/ 188 h 606"/>
              <a:gd name="T30" fmla="*/ 1514 w 5516"/>
              <a:gd name="T31" fmla="*/ 436 h 606"/>
              <a:gd name="T32" fmla="*/ 1564 w 5516"/>
              <a:gd name="T33" fmla="*/ 434 h 606"/>
              <a:gd name="T34" fmla="*/ 1904 w 5516"/>
              <a:gd name="T35" fmla="*/ 184 h 606"/>
              <a:gd name="T36" fmla="*/ 1728 w 5516"/>
              <a:gd name="T37" fmla="*/ 366 h 606"/>
              <a:gd name="T38" fmla="*/ 2102 w 5516"/>
              <a:gd name="T39" fmla="*/ 192 h 606"/>
              <a:gd name="T40" fmla="*/ 1982 w 5516"/>
              <a:gd name="T41" fmla="*/ 320 h 606"/>
              <a:gd name="T42" fmla="*/ 2478 w 5516"/>
              <a:gd name="T43" fmla="*/ 242 h 606"/>
              <a:gd name="T44" fmla="*/ 2406 w 5516"/>
              <a:gd name="T45" fmla="*/ 390 h 606"/>
              <a:gd name="T46" fmla="*/ 2234 w 5516"/>
              <a:gd name="T47" fmla="*/ 192 h 606"/>
              <a:gd name="T48" fmla="*/ 2478 w 5516"/>
              <a:gd name="T49" fmla="*/ 242 h 606"/>
              <a:gd name="T50" fmla="*/ 2928 w 5516"/>
              <a:gd name="T51" fmla="*/ 448 h 606"/>
              <a:gd name="T52" fmla="*/ 2958 w 5516"/>
              <a:gd name="T53" fmla="*/ 230 h 606"/>
              <a:gd name="T54" fmla="*/ 2716 w 5516"/>
              <a:gd name="T55" fmla="*/ 54 h 606"/>
              <a:gd name="T56" fmla="*/ 2714 w 5516"/>
              <a:gd name="T57" fmla="*/ 36 h 606"/>
              <a:gd name="T58" fmla="*/ 2928 w 5516"/>
              <a:gd name="T59" fmla="*/ 448 h 606"/>
              <a:gd name="T60" fmla="*/ 3388 w 5516"/>
              <a:gd name="T61" fmla="*/ 4 h 606"/>
              <a:gd name="T62" fmla="*/ 3396 w 5516"/>
              <a:gd name="T63" fmla="*/ 366 h 606"/>
              <a:gd name="T64" fmla="*/ 3580 w 5516"/>
              <a:gd name="T65" fmla="*/ 190 h 606"/>
              <a:gd name="T66" fmla="*/ 3502 w 5516"/>
              <a:gd name="T67" fmla="*/ 432 h 606"/>
              <a:gd name="T68" fmla="*/ 4232 w 5516"/>
              <a:gd name="T69" fmla="*/ 348 h 606"/>
              <a:gd name="T70" fmla="*/ 3858 w 5516"/>
              <a:gd name="T71" fmla="*/ 176 h 606"/>
              <a:gd name="T72" fmla="*/ 3758 w 5516"/>
              <a:gd name="T73" fmla="*/ 446 h 606"/>
              <a:gd name="T74" fmla="*/ 3990 w 5516"/>
              <a:gd name="T75" fmla="*/ 282 h 606"/>
              <a:gd name="T76" fmla="*/ 4042 w 5516"/>
              <a:gd name="T77" fmla="*/ 342 h 606"/>
              <a:gd name="T78" fmla="*/ 4134 w 5516"/>
              <a:gd name="T79" fmla="*/ 448 h 606"/>
              <a:gd name="T80" fmla="*/ 4454 w 5516"/>
              <a:gd name="T81" fmla="*/ 202 h 606"/>
              <a:gd name="T82" fmla="*/ 4284 w 5516"/>
              <a:gd name="T83" fmla="*/ 174 h 606"/>
              <a:gd name="T84" fmla="*/ 4432 w 5516"/>
              <a:gd name="T85" fmla="*/ 588 h 606"/>
              <a:gd name="T86" fmla="*/ 4792 w 5516"/>
              <a:gd name="T87" fmla="*/ 382 h 606"/>
              <a:gd name="T88" fmla="*/ 5192 w 5516"/>
              <a:gd name="T89" fmla="*/ 340 h 606"/>
              <a:gd name="T90" fmla="*/ 4902 w 5516"/>
              <a:gd name="T91" fmla="*/ 186 h 606"/>
              <a:gd name="T92" fmla="*/ 4850 w 5516"/>
              <a:gd name="T93" fmla="*/ 274 h 606"/>
              <a:gd name="T94" fmla="*/ 4742 w 5516"/>
              <a:gd name="T95" fmla="*/ 194 h 606"/>
              <a:gd name="T96" fmla="*/ 4794 w 5516"/>
              <a:gd name="T97" fmla="*/ 418 h 606"/>
              <a:gd name="T98" fmla="*/ 5004 w 5516"/>
              <a:gd name="T99" fmla="*/ 338 h 606"/>
              <a:gd name="T100" fmla="*/ 5098 w 5516"/>
              <a:gd name="T101" fmla="*/ 446 h 606"/>
              <a:gd name="T102" fmla="*/ 5418 w 5516"/>
              <a:gd name="T103" fmla="*/ 192 h 606"/>
              <a:gd name="T104" fmla="*/ 5348 w 5516"/>
              <a:gd name="T105" fmla="*/ 180 h 606"/>
              <a:gd name="T106" fmla="*/ 5254 w 5516"/>
              <a:gd name="T107" fmla="*/ 606 h 6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516" h="606">
                <a:moveTo>
                  <a:pt x="366" y="448"/>
                </a:moveTo>
                <a:cubicBezTo>
                  <a:pt x="524" y="448"/>
                  <a:pt x="524" y="448"/>
                  <a:pt x="524" y="448"/>
                </a:cubicBezTo>
                <a:cubicBezTo>
                  <a:pt x="524" y="436"/>
                  <a:pt x="524" y="436"/>
                  <a:pt x="524" y="436"/>
                </a:cubicBezTo>
                <a:cubicBezTo>
                  <a:pt x="486" y="432"/>
                  <a:pt x="470" y="414"/>
                  <a:pt x="468" y="362"/>
                </a:cubicBezTo>
                <a:cubicBezTo>
                  <a:pt x="454" y="86"/>
                  <a:pt x="454" y="86"/>
                  <a:pt x="454" y="86"/>
                </a:cubicBezTo>
                <a:cubicBezTo>
                  <a:pt x="452" y="46"/>
                  <a:pt x="470" y="30"/>
                  <a:pt x="504" y="26"/>
                </a:cubicBezTo>
                <a:cubicBezTo>
                  <a:pt x="504" y="12"/>
                  <a:pt x="504" y="12"/>
                  <a:pt x="504" y="12"/>
                </a:cubicBezTo>
                <a:cubicBezTo>
                  <a:pt x="394" y="12"/>
                  <a:pt x="394" y="12"/>
                  <a:pt x="394" y="12"/>
                </a:cubicBezTo>
                <a:cubicBezTo>
                  <a:pt x="264" y="350"/>
                  <a:pt x="264" y="350"/>
                  <a:pt x="264" y="350"/>
                </a:cubicBezTo>
                <a:cubicBezTo>
                  <a:pt x="132" y="10"/>
                  <a:pt x="132" y="10"/>
                  <a:pt x="132" y="10"/>
                </a:cubicBezTo>
                <a:cubicBezTo>
                  <a:pt x="18" y="10"/>
                  <a:pt x="18" y="10"/>
                  <a:pt x="18" y="10"/>
                </a:cubicBezTo>
                <a:cubicBezTo>
                  <a:pt x="18" y="22"/>
                  <a:pt x="18" y="22"/>
                  <a:pt x="18" y="22"/>
                </a:cubicBezTo>
                <a:cubicBezTo>
                  <a:pt x="40" y="26"/>
                  <a:pt x="74" y="32"/>
                  <a:pt x="72" y="84"/>
                </a:cubicBezTo>
                <a:cubicBezTo>
                  <a:pt x="58" y="352"/>
                  <a:pt x="58" y="352"/>
                  <a:pt x="58" y="352"/>
                </a:cubicBezTo>
                <a:cubicBezTo>
                  <a:pt x="54" y="410"/>
                  <a:pt x="38" y="430"/>
                  <a:pt x="0" y="436"/>
                </a:cubicBezTo>
                <a:cubicBezTo>
                  <a:pt x="0" y="448"/>
                  <a:pt x="0" y="448"/>
                  <a:pt x="0" y="448"/>
                </a:cubicBezTo>
                <a:cubicBezTo>
                  <a:pt x="140" y="448"/>
                  <a:pt x="140" y="448"/>
                  <a:pt x="140" y="448"/>
                </a:cubicBezTo>
                <a:cubicBezTo>
                  <a:pt x="140" y="436"/>
                  <a:pt x="140" y="436"/>
                  <a:pt x="140" y="436"/>
                </a:cubicBezTo>
                <a:cubicBezTo>
                  <a:pt x="98" y="428"/>
                  <a:pt x="84" y="414"/>
                  <a:pt x="88" y="356"/>
                </a:cubicBezTo>
                <a:cubicBezTo>
                  <a:pt x="100" y="86"/>
                  <a:pt x="100" y="86"/>
                  <a:pt x="100" y="86"/>
                </a:cubicBezTo>
                <a:cubicBezTo>
                  <a:pt x="240" y="444"/>
                  <a:pt x="240" y="444"/>
                  <a:pt x="240" y="444"/>
                </a:cubicBezTo>
                <a:cubicBezTo>
                  <a:pt x="258" y="444"/>
                  <a:pt x="258" y="444"/>
                  <a:pt x="258" y="444"/>
                </a:cubicBezTo>
                <a:cubicBezTo>
                  <a:pt x="396" y="86"/>
                  <a:pt x="396" y="86"/>
                  <a:pt x="396" y="86"/>
                </a:cubicBezTo>
                <a:cubicBezTo>
                  <a:pt x="408" y="372"/>
                  <a:pt x="408" y="372"/>
                  <a:pt x="408" y="372"/>
                </a:cubicBezTo>
                <a:cubicBezTo>
                  <a:pt x="410" y="416"/>
                  <a:pt x="398" y="430"/>
                  <a:pt x="366" y="434"/>
                </a:cubicBezTo>
                <a:lnTo>
                  <a:pt x="366" y="448"/>
                </a:lnTo>
                <a:close/>
                <a:moveTo>
                  <a:pt x="670" y="456"/>
                </a:moveTo>
                <a:cubicBezTo>
                  <a:pt x="708" y="456"/>
                  <a:pt x="756" y="440"/>
                  <a:pt x="782" y="412"/>
                </a:cubicBezTo>
                <a:cubicBezTo>
                  <a:pt x="776" y="400"/>
                  <a:pt x="776" y="400"/>
                  <a:pt x="776" y="400"/>
                </a:cubicBezTo>
                <a:cubicBezTo>
                  <a:pt x="750" y="416"/>
                  <a:pt x="722" y="422"/>
                  <a:pt x="696" y="422"/>
                </a:cubicBezTo>
                <a:cubicBezTo>
                  <a:pt x="620" y="422"/>
                  <a:pt x="592" y="358"/>
                  <a:pt x="592" y="290"/>
                </a:cubicBezTo>
                <a:cubicBezTo>
                  <a:pt x="592" y="258"/>
                  <a:pt x="600" y="236"/>
                  <a:pt x="614" y="222"/>
                </a:cubicBezTo>
                <a:cubicBezTo>
                  <a:pt x="626" y="210"/>
                  <a:pt x="646" y="204"/>
                  <a:pt x="664" y="204"/>
                </a:cubicBezTo>
                <a:cubicBezTo>
                  <a:pt x="690" y="204"/>
                  <a:pt x="722" y="214"/>
                  <a:pt x="744" y="244"/>
                </a:cubicBezTo>
                <a:cubicBezTo>
                  <a:pt x="750" y="244"/>
                  <a:pt x="750" y="244"/>
                  <a:pt x="750" y="244"/>
                </a:cubicBezTo>
                <a:cubicBezTo>
                  <a:pt x="758" y="234"/>
                  <a:pt x="766" y="212"/>
                  <a:pt x="768" y="196"/>
                </a:cubicBezTo>
                <a:cubicBezTo>
                  <a:pt x="748" y="180"/>
                  <a:pt x="720" y="172"/>
                  <a:pt x="686" y="172"/>
                </a:cubicBezTo>
                <a:cubicBezTo>
                  <a:pt x="604" y="172"/>
                  <a:pt x="544" y="246"/>
                  <a:pt x="544" y="326"/>
                </a:cubicBezTo>
                <a:cubicBezTo>
                  <a:pt x="540" y="390"/>
                  <a:pt x="576" y="456"/>
                  <a:pt x="670" y="456"/>
                </a:cubicBezTo>
                <a:moveTo>
                  <a:pt x="1272" y="98"/>
                </a:moveTo>
                <a:cubicBezTo>
                  <a:pt x="1292" y="98"/>
                  <a:pt x="1308" y="82"/>
                  <a:pt x="1308" y="62"/>
                </a:cubicBezTo>
                <a:cubicBezTo>
                  <a:pt x="1308" y="42"/>
                  <a:pt x="1292" y="26"/>
                  <a:pt x="1272" y="26"/>
                </a:cubicBezTo>
                <a:cubicBezTo>
                  <a:pt x="1252" y="26"/>
                  <a:pt x="1238" y="42"/>
                  <a:pt x="1238" y="62"/>
                </a:cubicBezTo>
                <a:cubicBezTo>
                  <a:pt x="1238" y="82"/>
                  <a:pt x="1252" y="98"/>
                  <a:pt x="1272" y="98"/>
                </a:cubicBezTo>
                <a:moveTo>
                  <a:pt x="1202" y="448"/>
                </a:moveTo>
                <a:cubicBezTo>
                  <a:pt x="1346" y="448"/>
                  <a:pt x="1346" y="448"/>
                  <a:pt x="1346" y="448"/>
                </a:cubicBezTo>
                <a:cubicBezTo>
                  <a:pt x="1346" y="436"/>
                  <a:pt x="1346" y="436"/>
                  <a:pt x="1346" y="436"/>
                </a:cubicBezTo>
                <a:cubicBezTo>
                  <a:pt x="1304" y="432"/>
                  <a:pt x="1302" y="434"/>
                  <a:pt x="1302" y="338"/>
                </a:cubicBezTo>
                <a:cubicBezTo>
                  <a:pt x="1302" y="176"/>
                  <a:pt x="1302" y="176"/>
                  <a:pt x="1302" y="176"/>
                </a:cubicBezTo>
                <a:cubicBezTo>
                  <a:pt x="1200" y="176"/>
                  <a:pt x="1200" y="176"/>
                  <a:pt x="1200" y="176"/>
                </a:cubicBezTo>
                <a:cubicBezTo>
                  <a:pt x="1200" y="188"/>
                  <a:pt x="1200" y="188"/>
                  <a:pt x="1200" y="188"/>
                </a:cubicBezTo>
                <a:cubicBezTo>
                  <a:pt x="1244" y="190"/>
                  <a:pt x="1250" y="192"/>
                  <a:pt x="1250" y="268"/>
                </a:cubicBezTo>
                <a:cubicBezTo>
                  <a:pt x="1250" y="336"/>
                  <a:pt x="1250" y="336"/>
                  <a:pt x="1250" y="336"/>
                </a:cubicBezTo>
                <a:cubicBezTo>
                  <a:pt x="1250" y="432"/>
                  <a:pt x="1248" y="432"/>
                  <a:pt x="1202" y="436"/>
                </a:cubicBezTo>
                <a:cubicBezTo>
                  <a:pt x="1178" y="434"/>
                  <a:pt x="1154" y="426"/>
                  <a:pt x="1076" y="338"/>
                </a:cubicBezTo>
                <a:cubicBezTo>
                  <a:pt x="1046" y="302"/>
                  <a:pt x="996" y="244"/>
                  <a:pt x="968" y="206"/>
                </a:cubicBezTo>
                <a:cubicBezTo>
                  <a:pt x="1062" y="102"/>
                  <a:pt x="1062" y="102"/>
                  <a:pt x="1062" y="102"/>
                </a:cubicBezTo>
                <a:cubicBezTo>
                  <a:pt x="1108" y="52"/>
                  <a:pt x="1132" y="26"/>
                  <a:pt x="1176" y="24"/>
                </a:cubicBezTo>
                <a:cubicBezTo>
                  <a:pt x="1176" y="10"/>
                  <a:pt x="1176" y="10"/>
                  <a:pt x="1176" y="10"/>
                </a:cubicBezTo>
                <a:cubicBezTo>
                  <a:pt x="1030" y="10"/>
                  <a:pt x="1030" y="10"/>
                  <a:pt x="1030" y="10"/>
                </a:cubicBezTo>
                <a:cubicBezTo>
                  <a:pt x="1030" y="22"/>
                  <a:pt x="1030" y="22"/>
                  <a:pt x="1030" y="22"/>
                </a:cubicBezTo>
                <a:cubicBezTo>
                  <a:pt x="1050" y="26"/>
                  <a:pt x="1056" y="32"/>
                  <a:pt x="1056" y="46"/>
                </a:cubicBezTo>
                <a:cubicBezTo>
                  <a:pt x="1056" y="56"/>
                  <a:pt x="1054" y="72"/>
                  <a:pt x="1026" y="102"/>
                </a:cubicBezTo>
                <a:cubicBezTo>
                  <a:pt x="910" y="230"/>
                  <a:pt x="910" y="230"/>
                  <a:pt x="910" y="230"/>
                </a:cubicBezTo>
                <a:cubicBezTo>
                  <a:pt x="910" y="148"/>
                  <a:pt x="910" y="148"/>
                  <a:pt x="910" y="148"/>
                </a:cubicBezTo>
                <a:cubicBezTo>
                  <a:pt x="910" y="36"/>
                  <a:pt x="916" y="28"/>
                  <a:pt x="960" y="22"/>
                </a:cubicBezTo>
                <a:cubicBezTo>
                  <a:pt x="960" y="8"/>
                  <a:pt x="960" y="8"/>
                  <a:pt x="960" y="8"/>
                </a:cubicBezTo>
                <a:cubicBezTo>
                  <a:pt x="804" y="8"/>
                  <a:pt x="804" y="8"/>
                  <a:pt x="804" y="8"/>
                </a:cubicBezTo>
                <a:cubicBezTo>
                  <a:pt x="804" y="22"/>
                  <a:pt x="804" y="22"/>
                  <a:pt x="804" y="22"/>
                </a:cubicBezTo>
                <a:cubicBezTo>
                  <a:pt x="852" y="26"/>
                  <a:pt x="854" y="36"/>
                  <a:pt x="854" y="148"/>
                </a:cubicBezTo>
                <a:cubicBezTo>
                  <a:pt x="854" y="300"/>
                  <a:pt x="854" y="300"/>
                  <a:pt x="854" y="300"/>
                </a:cubicBezTo>
                <a:cubicBezTo>
                  <a:pt x="854" y="422"/>
                  <a:pt x="850" y="430"/>
                  <a:pt x="804" y="434"/>
                </a:cubicBezTo>
                <a:cubicBezTo>
                  <a:pt x="804" y="446"/>
                  <a:pt x="804" y="446"/>
                  <a:pt x="804" y="446"/>
                </a:cubicBezTo>
                <a:cubicBezTo>
                  <a:pt x="960" y="446"/>
                  <a:pt x="960" y="446"/>
                  <a:pt x="960" y="446"/>
                </a:cubicBezTo>
                <a:cubicBezTo>
                  <a:pt x="960" y="434"/>
                  <a:pt x="960" y="434"/>
                  <a:pt x="960" y="434"/>
                </a:cubicBezTo>
                <a:cubicBezTo>
                  <a:pt x="910" y="428"/>
                  <a:pt x="910" y="424"/>
                  <a:pt x="910" y="292"/>
                </a:cubicBezTo>
                <a:cubicBezTo>
                  <a:pt x="910" y="268"/>
                  <a:pt x="910" y="268"/>
                  <a:pt x="910" y="268"/>
                </a:cubicBezTo>
                <a:cubicBezTo>
                  <a:pt x="930" y="246"/>
                  <a:pt x="930" y="246"/>
                  <a:pt x="930" y="246"/>
                </a:cubicBezTo>
                <a:cubicBezTo>
                  <a:pt x="982" y="310"/>
                  <a:pt x="1038" y="380"/>
                  <a:pt x="1098" y="448"/>
                </a:cubicBezTo>
                <a:cubicBezTo>
                  <a:pt x="1202" y="448"/>
                  <a:pt x="1202" y="448"/>
                  <a:pt x="1202" y="448"/>
                </a:cubicBezTo>
                <a:close/>
                <a:moveTo>
                  <a:pt x="1564" y="448"/>
                </a:moveTo>
                <a:cubicBezTo>
                  <a:pt x="1706" y="448"/>
                  <a:pt x="1706" y="448"/>
                  <a:pt x="1706" y="448"/>
                </a:cubicBezTo>
                <a:cubicBezTo>
                  <a:pt x="1706" y="436"/>
                  <a:pt x="1706" y="436"/>
                  <a:pt x="1706" y="436"/>
                </a:cubicBezTo>
                <a:cubicBezTo>
                  <a:pt x="1658" y="434"/>
                  <a:pt x="1658" y="432"/>
                  <a:pt x="1658" y="342"/>
                </a:cubicBezTo>
                <a:cubicBezTo>
                  <a:pt x="1658" y="280"/>
                  <a:pt x="1658" y="280"/>
                  <a:pt x="1658" y="280"/>
                </a:cubicBezTo>
                <a:cubicBezTo>
                  <a:pt x="1658" y="198"/>
                  <a:pt x="1612" y="172"/>
                  <a:pt x="1570" y="172"/>
                </a:cubicBezTo>
                <a:cubicBezTo>
                  <a:pt x="1534" y="172"/>
                  <a:pt x="1498" y="188"/>
                  <a:pt x="1470" y="224"/>
                </a:cubicBezTo>
                <a:cubicBezTo>
                  <a:pt x="1470" y="176"/>
                  <a:pt x="1470" y="176"/>
                  <a:pt x="1470" y="176"/>
                </a:cubicBezTo>
                <a:cubicBezTo>
                  <a:pt x="1368" y="176"/>
                  <a:pt x="1368" y="176"/>
                  <a:pt x="1368" y="176"/>
                </a:cubicBezTo>
                <a:cubicBezTo>
                  <a:pt x="1368" y="188"/>
                  <a:pt x="1368" y="188"/>
                  <a:pt x="1368" y="188"/>
                </a:cubicBezTo>
                <a:cubicBezTo>
                  <a:pt x="1412" y="190"/>
                  <a:pt x="1418" y="192"/>
                  <a:pt x="1418" y="268"/>
                </a:cubicBezTo>
                <a:cubicBezTo>
                  <a:pt x="1418" y="336"/>
                  <a:pt x="1418" y="336"/>
                  <a:pt x="1418" y="336"/>
                </a:cubicBezTo>
                <a:cubicBezTo>
                  <a:pt x="1418" y="434"/>
                  <a:pt x="1418" y="434"/>
                  <a:pt x="1370" y="436"/>
                </a:cubicBezTo>
                <a:cubicBezTo>
                  <a:pt x="1370" y="448"/>
                  <a:pt x="1370" y="448"/>
                  <a:pt x="1370" y="448"/>
                </a:cubicBezTo>
                <a:cubicBezTo>
                  <a:pt x="1514" y="448"/>
                  <a:pt x="1514" y="448"/>
                  <a:pt x="1514" y="448"/>
                </a:cubicBezTo>
                <a:cubicBezTo>
                  <a:pt x="1514" y="436"/>
                  <a:pt x="1514" y="436"/>
                  <a:pt x="1514" y="436"/>
                </a:cubicBezTo>
                <a:cubicBezTo>
                  <a:pt x="1472" y="432"/>
                  <a:pt x="1470" y="434"/>
                  <a:pt x="1470" y="338"/>
                </a:cubicBezTo>
                <a:cubicBezTo>
                  <a:pt x="1470" y="262"/>
                  <a:pt x="1470" y="262"/>
                  <a:pt x="1470" y="262"/>
                </a:cubicBezTo>
                <a:cubicBezTo>
                  <a:pt x="1470" y="236"/>
                  <a:pt x="1504" y="206"/>
                  <a:pt x="1546" y="206"/>
                </a:cubicBezTo>
                <a:cubicBezTo>
                  <a:pt x="1580" y="206"/>
                  <a:pt x="1606" y="220"/>
                  <a:pt x="1606" y="286"/>
                </a:cubicBezTo>
                <a:cubicBezTo>
                  <a:pt x="1606" y="340"/>
                  <a:pt x="1606" y="340"/>
                  <a:pt x="1606" y="340"/>
                </a:cubicBezTo>
                <a:cubicBezTo>
                  <a:pt x="1606" y="432"/>
                  <a:pt x="1602" y="432"/>
                  <a:pt x="1564" y="434"/>
                </a:cubicBezTo>
                <a:lnTo>
                  <a:pt x="1564" y="448"/>
                </a:lnTo>
                <a:close/>
                <a:moveTo>
                  <a:pt x="1776" y="222"/>
                </a:moveTo>
                <a:cubicBezTo>
                  <a:pt x="1776" y="200"/>
                  <a:pt x="1796" y="188"/>
                  <a:pt x="1822" y="188"/>
                </a:cubicBezTo>
                <a:cubicBezTo>
                  <a:pt x="1874" y="188"/>
                  <a:pt x="1896" y="236"/>
                  <a:pt x="1900" y="252"/>
                </a:cubicBezTo>
                <a:cubicBezTo>
                  <a:pt x="1912" y="252"/>
                  <a:pt x="1912" y="252"/>
                  <a:pt x="1912" y="252"/>
                </a:cubicBezTo>
                <a:cubicBezTo>
                  <a:pt x="1912" y="212"/>
                  <a:pt x="1908" y="188"/>
                  <a:pt x="1904" y="184"/>
                </a:cubicBezTo>
                <a:cubicBezTo>
                  <a:pt x="1900" y="180"/>
                  <a:pt x="1862" y="170"/>
                  <a:pt x="1824" y="170"/>
                </a:cubicBezTo>
                <a:cubicBezTo>
                  <a:pt x="1768" y="170"/>
                  <a:pt x="1734" y="206"/>
                  <a:pt x="1734" y="248"/>
                </a:cubicBezTo>
                <a:cubicBezTo>
                  <a:pt x="1734" y="340"/>
                  <a:pt x="1890" y="322"/>
                  <a:pt x="1890" y="396"/>
                </a:cubicBezTo>
                <a:cubicBezTo>
                  <a:pt x="1890" y="422"/>
                  <a:pt x="1866" y="436"/>
                  <a:pt x="1826" y="436"/>
                </a:cubicBezTo>
                <a:cubicBezTo>
                  <a:pt x="1788" y="436"/>
                  <a:pt x="1754" y="416"/>
                  <a:pt x="1744" y="366"/>
                </a:cubicBezTo>
                <a:cubicBezTo>
                  <a:pt x="1728" y="366"/>
                  <a:pt x="1728" y="366"/>
                  <a:pt x="1728" y="366"/>
                </a:cubicBezTo>
                <a:cubicBezTo>
                  <a:pt x="1728" y="386"/>
                  <a:pt x="1732" y="422"/>
                  <a:pt x="1734" y="428"/>
                </a:cubicBezTo>
                <a:cubicBezTo>
                  <a:pt x="1744" y="446"/>
                  <a:pt x="1788" y="454"/>
                  <a:pt x="1824" y="454"/>
                </a:cubicBezTo>
                <a:cubicBezTo>
                  <a:pt x="1888" y="454"/>
                  <a:pt x="1928" y="416"/>
                  <a:pt x="1928" y="372"/>
                </a:cubicBezTo>
                <a:cubicBezTo>
                  <a:pt x="1932" y="270"/>
                  <a:pt x="1776" y="286"/>
                  <a:pt x="1776" y="222"/>
                </a:cubicBezTo>
                <a:moveTo>
                  <a:pt x="2030" y="270"/>
                </a:moveTo>
                <a:cubicBezTo>
                  <a:pt x="2034" y="220"/>
                  <a:pt x="2058" y="192"/>
                  <a:pt x="2102" y="192"/>
                </a:cubicBezTo>
                <a:cubicBezTo>
                  <a:pt x="2144" y="192"/>
                  <a:pt x="2170" y="220"/>
                  <a:pt x="2172" y="270"/>
                </a:cubicBezTo>
                <a:lnTo>
                  <a:pt x="2030" y="270"/>
                </a:lnTo>
                <a:close/>
                <a:moveTo>
                  <a:pt x="2030" y="290"/>
                </a:moveTo>
                <a:cubicBezTo>
                  <a:pt x="2222" y="290"/>
                  <a:pt x="2222" y="290"/>
                  <a:pt x="2222" y="290"/>
                </a:cubicBezTo>
                <a:cubicBezTo>
                  <a:pt x="2226" y="228"/>
                  <a:pt x="2192" y="168"/>
                  <a:pt x="2114" y="168"/>
                </a:cubicBezTo>
                <a:cubicBezTo>
                  <a:pt x="2034" y="168"/>
                  <a:pt x="1982" y="232"/>
                  <a:pt x="1982" y="320"/>
                </a:cubicBezTo>
                <a:cubicBezTo>
                  <a:pt x="1982" y="388"/>
                  <a:pt x="2018" y="456"/>
                  <a:pt x="2112" y="456"/>
                </a:cubicBezTo>
                <a:cubicBezTo>
                  <a:pt x="2150" y="456"/>
                  <a:pt x="2198" y="440"/>
                  <a:pt x="2224" y="412"/>
                </a:cubicBezTo>
                <a:cubicBezTo>
                  <a:pt x="2218" y="400"/>
                  <a:pt x="2218" y="400"/>
                  <a:pt x="2218" y="400"/>
                </a:cubicBezTo>
                <a:cubicBezTo>
                  <a:pt x="2192" y="416"/>
                  <a:pt x="2164" y="422"/>
                  <a:pt x="2138" y="422"/>
                </a:cubicBezTo>
                <a:cubicBezTo>
                  <a:pt x="2058" y="420"/>
                  <a:pt x="2028" y="352"/>
                  <a:pt x="2030" y="290"/>
                </a:cubicBezTo>
                <a:moveTo>
                  <a:pt x="2478" y="242"/>
                </a:moveTo>
                <a:cubicBezTo>
                  <a:pt x="2490" y="206"/>
                  <a:pt x="2510" y="192"/>
                  <a:pt x="2528" y="192"/>
                </a:cubicBezTo>
                <a:cubicBezTo>
                  <a:pt x="2528" y="180"/>
                  <a:pt x="2528" y="180"/>
                  <a:pt x="2528" y="180"/>
                </a:cubicBezTo>
                <a:cubicBezTo>
                  <a:pt x="2430" y="180"/>
                  <a:pt x="2430" y="180"/>
                  <a:pt x="2430" y="180"/>
                </a:cubicBezTo>
                <a:cubicBezTo>
                  <a:pt x="2430" y="192"/>
                  <a:pt x="2430" y="192"/>
                  <a:pt x="2430" y="192"/>
                </a:cubicBezTo>
                <a:cubicBezTo>
                  <a:pt x="2454" y="194"/>
                  <a:pt x="2466" y="206"/>
                  <a:pt x="2458" y="234"/>
                </a:cubicBezTo>
                <a:cubicBezTo>
                  <a:pt x="2406" y="390"/>
                  <a:pt x="2406" y="390"/>
                  <a:pt x="2406" y="390"/>
                </a:cubicBezTo>
                <a:cubicBezTo>
                  <a:pt x="2354" y="270"/>
                  <a:pt x="2354" y="270"/>
                  <a:pt x="2354" y="270"/>
                </a:cubicBezTo>
                <a:cubicBezTo>
                  <a:pt x="2340" y="238"/>
                  <a:pt x="2334" y="224"/>
                  <a:pt x="2334" y="212"/>
                </a:cubicBezTo>
                <a:cubicBezTo>
                  <a:pt x="2334" y="202"/>
                  <a:pt x="2340" y="196"/>
                  <a:pt x="2360" y="192"/>
                </a:cubicBezTo>
                <a:cubicBezTo>
                  <a:pt x="2360" y="180"/>
                  <a:pt x="2360" y="180"/>
                  <a:pt x="2360" y="180"/>
                </a:cubicBezTo>
                <a:cubicBezTo>
                  <a:pt x="2234" y="180"/>
                  <a:pt x="2234" y="180"/>
                  <a:pt x="2234" y="180"/>
                </a:cubicBezTo>
                <a:cubicBezTo>
                  <a:pt x="2234" y="192"/>
                  <a:pt x="2234" y="192"/>
                  <a:pt x="2234" y="192"/>
                </a:cubicBezTo>
                <a:cubicBezTo>
                  <a:pt x="2266" y="194"/>
                  <a:pt x="2268" y="198"/>
                  <a:pt x="2310" y="292"/>
                </a:cubicBezTo>
                <a:cubicBezTo>
                  <a:pt x="2382" y="450"/>
                  <a:pt x="2382" y="450"/>
                  <a:pt x="2382" y="450"/>
                </a:cubicBezTo>
                <a:cubicBezTo>
                  <a:pt x="2358" y="512"/>
                  <a:pt x="2320" y="546"/>
                  <a:pt x="2242" y="564"/>
                </a:cubicBezTo>
                <a:cubicBezTo>
                  <a:pt x="2246" y="576"/>
                  <a:pt x="2260" y="600"/>
                  <a:pt x="2268" y="606"/>
                </a:cubicBezTo>
                <a:cubicBezTo>
                  <a:pt x="2370" y="564"/>
                  <a:pt x="2390" y="498"/>
                  <a:pt x="2426" y="396"/>
                </a:cubicBezTo>
                <a:lnTo>
                  <a:pt x="2478" y="242"/>
                </a:lnTo>
                <a:close/>
                <a:moveTo>
                  <a:pt x="2844" y="394"/>
                </a:moveTo>
                <a:cubicBezTo>
                  <a:pt x="2822" y="412"/>
                  <a:pt x="2782" y="416"/>
                  <a:pt x="2750" y="416"/>
                </a:cubicBezTo>
                <a:cubicBezTo>
                  <a:pt x="2670" y="416"/>
                  <a:pt x="2606" y="360"/>
                  <a:pt x="2606" y="284"/>
                </a:cubicBezTo>
                <a:cubicBezTo>
                  <a:pt x="2606" y="236"/>
                  <a:pt x="2626" y="206"/>
                  <a:pt x="2658" y="198"/>
                </a:cubicBezTo>
                <a:cubicBezTo>
                  <a:pt x="2698" y="266"/>
                  <a:pt x="2770" y="338"/>
                  <a:pt x="2844" y="394"/>
                </a:cubicBezTo>
                <a:moveTo>
                  <a:pt x="2928" y="448"/>
                </a:moveTo>
                <a:cubicBezTo>
                  <a:pt x="3022" y="448"/>
                  <a:pt x="3022" y="448"/>
                  <a:pt x="3022" y="448"/>
                </a:cubicBezTo>
                <a:cubicBezTo>
                  <a:pt x="3022" y="436"/>
                  <a:pt x="3022" y="436"/>
                  <a:pt x="3022" y="436"/>
                </a:cubicBezTo>
                <a:cubicBezTo>
                  <a:pt x="2992" y="432"/>
                  <a:pt x="2946" y="408"/>
                  <a:pt x="2896" y="372"/>
                </a:cubicBezTo>
                <a:cubicBezTo>
                  <a:pt x="2914" y="342"/>
                  <a:pt x="2918" y="300"/>
                  <a:pt x="2922" y="270"/>
                </a:cubicBezTo>
                <a:cubicBezTo>
                  <a:pt x="2926" y="244"/>
                  <a:pt x="2946" y="244"/>
                  <a:pt x="2958" y="242"/>
                </a:cubicBezTo>
                <a:cubicBezTo>
                  <a:pt x="2958" y="230"/>
                  <a:pt x="2958" y="230"/>
                  <a:pt x="2958" y="230"/>
                </a:cubicBezTo>
                <a:cubicBezTo>
                  <a:pt x="2834" y="230"/>
                  <a:pt x="2834" y="230"/>
                  <a:pt x="2834" y="230"/>
                </a:cubicBezTo>
                <a:cubicBezTo>
                  <a:pt x="2834" y="242"/>
                  <a:pt x="2834" y="242"/>
                  <a:pt x="2834" y="242"/>
                </a:cubicBezTo>
                <a:cubicBezTo>
                  <a:pt x="2864" y="246"/>
                  <a:pt x="2892" y="250"/>
                  <a:pt x="2892" y="294"/>
                </a:cubicBezTo>
                <a:cubicBezTo>
                  <a:pt x="2892" y="318"/>
                  <a:pt x="2888" y="342"/>
                  <a:pt x="2878" y="358"/>
                </a:cubicBezTo>
                <a:cubicBezTo>
                  <a:pt x="2770" y="274"/>
                  <a:pt x="2670" y="156"/>
                  <a:pt x="2670" y="96"/>
                </a:cubicBezTo>
                <a:cubicBezTo>
                  <a:pt x="2670" y="66"/>
                  <a:pt x="2688" y="54"/>
                  <a:pt x="2716" y="54"/>
                </a:cubicBezTo>
                <a:cubicBezTo>
                  <a:pt x="2752" y="54"/>
                  <a:pt x="2784" y="78"/>
                  <a:pt x="2800" y="124"/>
                </a:cubicBezTo>
                <a:cubicBezTo>
                  <a:pt x="2812" y="124"/>
                  <a:pt x="2812" y="124"/>
                  <a:pt x="2812" y="124"/>
                </a:cubicBezTo>
                <a:cubicBezTo>
                  <a:pt x="2810" y="42"/>
                  <a:pt x="2810" y="42"/>
                  <a:pt x="2810" y="42"/>
                </a:cubicBezTo>
                <a:cubicBezTo>
                  <a:pt x="2798" y="42"/>
                  <a:pt x="2798" y="42"/>
                  <a:pt x="2798" y="42"/>
                </a:cubicBezTo>
                <a:cubicBezTo>
                  <a:pt x="2798" y="48"/>
                  <a:pt x="2792" y="52"/>
                  <a:pt x="2788" y="52"/>
                </a:cubicBezTo>
                <a:cubicBezTo>
                  <a:pt x="2772" y="52"/>
                  <a:pt x="2752" y="36"/>
                  <a:pt x="2714" y="36"/>
                </a:cubicBezTo>
                <a:cubicBezTo>
                  <a:pt x="2672" y="36"/>
                  <a:pt x="2630" y="62"/>
                  <a:pt x="2630" y="118"/>
                </a:cubicBezTo>
                <a:cubicBezTo>
                  <a:pt x="2630" y="140"/>
                  <a:pt x="2636" y="160"/>
                  <a:pt x="2648" y="182"/>
                </a:cubicBezTo>
                <a:cubicBezTo>
                  <a:pt x="2592" y="200"/>
                  <a:pt x="2562" y="248"/>
                  <a:pt x="2562" y="304"/>
                </a:cubicBezTo>
                <a:cubicBezTo>
                  <a:pt x="2562" y="406"/>
                  <a:pt x="2640" y="460"/>
                  <a:pt x="2726" y="460"/>
                </a:cubicBezTo>
                <a:cubicBezTo>
                  <a:pt x="2780" y="460"/>
                  <a:pt x="2824" y="444"/>
                  <a:pt x="2862" y="410"/>
                </a:cubicBezTo>
                <a:cubicBezTo>
                  <a:pt x="2888" y="424"/>
                  <a:pt x="2912" y="442"/>
                  <a:pt x="2928" y="448"/>
                </a:cubicBezTo>
                <a:moveTo>
                  <a:pt x="3094" y="212"/>
                </a:moveTo>
                <a:cubicBezTo>
                  <a:pt x="3094" y="88"/>
                  <a:pt x="3154" y="20"/>
                  <a:pt x="3252" y="20"/>
                </a:cubicBezTo>
                <a:cubicBezTo>
                  <a:pt x="3328" y="20"/>
                  <a:pt x="3372" y="58"/>
                  <a:pt x="3392" y="134"/>
                </a:cubicBezTo>
                <a:cubicBezTo>
                  <a:pt x="3404" y="134"/>
                  <a:pt x="3404" y="134"/>
                  <a:pt x="3404" y="134"/>
                </a:cubicBezTo>
                <a:cubicBezTo>
                  <a:pt x="3400" y="4"/>
                  <a:pt x="3400" y="4"/>
                  <a:pt x="3400" y="4"/>
                </a:cubicBezTo>
                <a:cubicBezTo>
                  <a:pt x="3388" y="4"/>
                  <a:pt x="3388" y="4"/>
                  <a:pt x="3388" y="4"/>
                </a:cubicBezTo>
                <a:cubicBezTo>
                  <a:pt x="3384" y="14"/>
                  <a:pt x="3376" y="18"/>
                  <a:pt x="3364" y="18"/>
                </a:cubicBezTo>
                <a:cubicBezTo>
                  <a:pt x="3338" y="18"/>
                  <a:pt x="3314" y="0"/>
                  <a:pt x="3248" y="0"/>
                </a:cubicBezTo>
                <a:cubicBezTo>
                  <a:pt x="3118" y="0"/>
                  <a:pt x="3030" y="102"/>
                  <a:pt x="3030" y="242"/>
                </a:cubicBezTo>
                <a:cubicBezTo>
                  <a:pt x="3030" y="376"/>
                  <a:pt x="3110" y="460"/>
                  <a:pt x="3238" y="460"/>
                </a:cubicBezTo>
                <a:cubicBezTo>
                  <a:pt x="3320" y="460"/>
                  <a:pt x="3384" y="420"/>
                  <a:pt x="3408" y="380"/>
                </a:cubicBezTo>
                <a:cubicBezTo>
                  <a:pt x="3396" y="366"/>
                  <a:pt x="3396" y="366"/>
                  <a:pt x="3396" y="366"/>
                </a:cubicBezTo>
                <a:cubicBezTo>
                  <a:pt x="3370" y="402"/>
                  <a:pt x="3314" y="426"/>
                  <a:pt x="3256" y="426"/>
                </a:cubicBezTo>
                <a:cubicBezTo>
                  <a:pt x="3156" y="426"/>
                  <a:pt x="3094" y="340"/>
                  <a:pt x="3094" y="212"/>
                </a:cubicBezTo>
                <a:moveTo>
                  <a:pt x="3678" y="328"/>
                </a:moveTo>
                <a:cubicBezTo>
                  <a:pt x="3678" y="392"/>
                  <a:pt x="3650" y="430"/>
                  <a:pt x="3592" y="430"/>
                </a:cubicBezTo>
                <a:cubicBezTo>
                  <a:pt x="3542" y="430"/>
                  <a:pt x="3496" y="384"/>
                  <a:pt x="3496" y="292"/>
                </a:cubicBezTo>
                <a:cubicBezTo>
                  <a:pt x="3496" y="226"/>
                  <a:pt x="3528" y="190"/>
                  <a:pt x="3580" y="190"/>
                </a:cubicBezTo>
                <a:cubicBezTo>
                  <a:pt x="3628" y="192"/>
                  <a:pt x="3678" y="238"/>
                  <a:pt x="3678" y="328"/>
                </a:cubicBezTo>
                <a:moveTo>
                  <a:pt x="3732" y="312"/>
                </a:moveTo>
                <a:cubicBezTo>
                  <a:pt x="3732" y="260"/>
                  <a:pt x="3710" y="214"/>
                  <a:pt x="3672" y="190"/>
                </a:cubicBezTo>
                <a:cubicBezTo>
                  <a:pt x="3650" y="176"/>
                  <a:pt x="3620" y="168"/>
                  <a:pt x="3588" y="168"/>
                </a:cubicBezTo>
                <a:cubicBezTo>
                  <a:pt x="3502" y="168"/>
                  <a:pt x="3442" y="230"/>
                  <a:pt x="3442" y="310"/>
                </a:cubicBezTo>
                <a:cubicBezTo>
                  <a:pt x="3442" y="364"/>
                  <a:pt x="3464" y="408"/>
                  <a:pt x="3502" y="432"/>
                </a:cubicBezTo>
                <a:cubicBezTo>
                  <a:pt x="3524" y="446"/>
                  <a:pt x="3554" y="452"/>
                  <a:pt x="3586" y="452"/>
                </a:cubicBezTo>
                <a:cubicBezTo>
                  <a:pt x="3672" y="454"/>
                  <a:pt x="3732" y="394"/>
                  <a:pt x="3732" y="312"/>
                </a:cubicBezTo>
                <a:moveTo>
                  <a:pt x="4136" y="448"/>
                </a:moveTo>
                <a:cubicBezTo>
                  <a:pt x="4280" y="448"/>
                  <a:pt x="4280" y="448"/>
                  <a:pt x="4280" y="448"/>
                </a:cubicBezTo>
                <a:cubicBezTo>
                  <a:pt x="4280" y="436"/>
                  <a:pt x="4280" y="436"/>
                  <a:pt x="4280" y="436"/>
                </a:cubicBezTo>
                <a:cubicBezTo>
                  <a:pt x="4230" y="434"/>
                  <a:pt x="4232" y="426"/>
                  <a:pt x="4232" y="348"/>
                </a:cubicBezTo>
                <a:cubicBezTo>
                  <a:pt x="4232" y="276"/>
                  <a:pt x="4232" y="276"/>
                  <a:pt x="4232" y="276"/>
                </a:cubicBezTo>
                <a:cubicBezTo>
                  <a:pt x="4232" y="200"/>
                  <a:pt x="4190" y="172"/>
                  <a:pt x="4142" y="172"/>
                </a:cubicBezTo>
                <a:cubicBezTo>
                  <a:pt x="4098" y="172"/>
                  <a:pt x="4064" y="196"/>
                  <a:pt x="4038" y="232"/>
                </a:cubicBezTo>
                <a:cubicBezTo>
                  <a:pt x="4028" y="194"/>
                  <a:pt x="4000" y="172"/>
                  <a:pt x="3954" y="172"/>
                </a:cubicBezTo>
                <a:cubicBezTo>
                  <a:pt x="3916" y="172"/>
                  <a:pt x="3880" y="196"/>
                  <a:pt x="3858" y="224"/>
                </a:cubicBezTo>
                <a:cubicBezTo>
                  <a:pt x="3858" y="176"/>
                  <a:pt x="3858" y="176"/>
                  <a:pt x="3858" y="176"/>
                </a:cubicBezTo>
                <a:cubicBezTo>
                  <a:pt x="3756" y="176"/>
                  <a:pt x="3756" y="176"/>
                  <a:pt x="3756" y="176"/>
                </a:cubicBezTo>
                <a:cubicBezTo>
                  <a:pt x="3756" y="188"/>
                  <a:pt x="3756" y="188"/>
                  <a:pt x="3756" y="188"/>
                </a:cubicBezTo>
                <a:cubicBezTo>
                  <a:pt x="3800" y="190"/>
                  <a:pt x="3806" y="192"/>
                  <a:pt x="3806" y="268"/>
                </a:cubicBezTo>
                <a:cubicBezTo>
                  <a:pt x="3806" y="346"/>
                  <a:pt x="3806" y="346"/>
                  <a:pt x="3806" y="346"/>
                </a:cubicBezTo>
                <a:cubicBezTo>
                  <a:pt x="3806" y="434"/>
                  <a:pt x="3804" y="434"/>
                  <a:pt x="3758" y="434"/>
                </a:cubicBezTo>
                <a:cubicBezTo>
                  <a:pt x="3758" y="446"/>
                  <a:pt x="3758" y="446"/>
                  <a:pt x="3758" y="446"/>
                </a:cubicBezTo>
                <a:cubicBezTo>
                  <a:pt x="3902" y="446"/>
                  <a:pt x="3902" y="446"/>
                  <a:pt x="3902" y="446"/>
                </a:cubicBezTo>
                <a:cubicBezTo>
                  <a:pt x="3902" y="434"/>
                  <a:pt x="3902" y="434"/>
                  <a:pt x="3902" y="434"/>
                </a:cubicBezTo>
                <a:cubicBezTo>
                  <a:pt x="3862" y="430"/>
                  <a:pt x="3858" y="430"/>
                  <a:pt x="3858" y="342"/>
                </a:cubicBezTo>
                <a:cubicBezTo>
                  <a:pt x="3858" y="262"/>
                  <a:pt x="3858" y="262"/>
                  <a:pt x="3858" y="262"/>
                </a:cubicBezTo>
                <a:cubicBezTo>
                  <a:pt x="3858" y="234"/>
                  <a:pt x="3894" y="204"/>
                  <a:pt x="3932" y="204"/>
                </a:cubicBezTo>
                <a:cubicBezTo>
                  <a:pt x="3974" y="204"/>
                  <a:pt x="3990" y="226"/>
                  <a:pt x="3990" y="282"/>
                </a:cubicBezTo>
                <a:cubicBezTo>
                  <a:pt x="3990" y="338"/>
                  <a:pt x="3990" y="338"/>
                  <a:pt x="3990" y="338"/>
                </a:cubicBezTo>
                <a:cubicBezTo>
                  <a:pt x="3990" y="428"/>
                  <a:pt x="3988" y="432"/>
                  <a:pt x="3950" y="436"/>
                </a:cubicBezTo>
                <a:cubicBezTo>
                  <a:pt x="3950" y="448"/>
                  <a:pt x="3950" y="448"/>
                  <a:pt x="3950" y="448"/>
                </a:cubicBezTo>
                <a:cubicBezTo>
                  <a:pt x="4086" y="448"/>
                  <a:pt x="4086" y="448"/>
                  <a:pt x="4086" y="448"/>
                </a:cubicBezTo>
                <a:cubicBezTo>
                  <a:pt x="4086" y="436"/>
                  <a:pt x="4086" y="436"/>
                  <a:pt x="4086" y="436"/>
                </a:cubicBezTo>
                <a:cubicBezTo>
                  <a:pt x="4040" y="432"/>
                  <a:pt x="4042" y="428"/>
                  <a:pt x="4042" y="342"/>
                </a:cubicBezTo>
                <a:cubicBezTo>
                  <a:pt x="4042" y="264"/>
                  <a:pt x="4042" y="264"/>
                  <a:pt x="4042" y="264"/>
                </a:cubicBezTo>
                <a:cubicBezTo>
                  <a:pt x="4042" y="236"/>
                  <a:pt x="4078" y="206"/>
                  <a:pt x="4118" y="206"/>
                </a:cubicBezTo>
                <a:cubicBezTo>
                  <a:pt x="4152" y="206"/>
                  <a:pt x="4174" y="226"/>
                  <a:pt x="4174" y="284"/>
                </a:cubicBezTo>
                <a:cubicBezTo>
                  <a:pt x="4174" y="346"/>
                  <a:pt x="4174" y="346"/>
                  <a:pt x="4174" y="346"/>
                </a:cubicBezTo>
                <a:cubicBezTo>
                  <a:pt x="4174" y="428"/>
                  <a:pt x="4174" y="432"/>
                  <a:pt x="4134" y="436"/>
                </a:cubicBezTo>
                <a:cubicBezTo>
                  <a:pt x="4134" y="448"/>
                  <a:pt x="4134" y="448"/>
                  <a:pt x="4134" y="448"/>
                </a:cubicBezTo>
                <a:lnTo>
                  <a:pt x="4136" y="448"/>
                </a:lnTo>
                <a:close/>
                <a:moveTo>
                  <a:pt x="4546" y="316"/>
                </a:moveTo>
                <a:cubicBezTo>
                  <a:pt x="4546" y="388"/>
                  <a:pt x="4516" y="432"/>
                  <a:pt x="4460" y="432"/>
                </a:cubicBezTo>
                <a:cubicBezTo>
                  <a:pt x="4424" y="432"/>
                  <a:pt x="4384" y="412"/>
                  <a:pt x="4384" y="384"/>
                </a:cubicBezTo>
                <a:cubicBezTo>
                  <a:pt x="4384" y="248"/>
                  <a:pt x="4384" y="248"/>
                  <a:pt x="4384" y="248"/>
                </a:cubicBezTo>
                <a:cubicBezTo>
                  <a:pt x="4384" y="226"/>
                  <a:pt x="4416" y="202"/>
                  <a:pt x="4454" y="202"/>
                </a:cubicBezTo>
                <a:cubicBezTo>
                  <a:pt x="4510" y="206"/>
                  <a:pt x="4546" y="248"/>
                  <a:pt x="4546" y="316"/>
                </a:cubicBezTo>
                <a:moveTo>
                  <a:pt x="4600" y="310"/>
                </a:moveTo>
                <a:cubicBezTo>
                  <a:pt x="4600" y="230"/>
                  <a:pt x="4548" y="170"/>
                  <a:pt x="4478" y="170"/>
                </a:cubicBezTo>
                <a:cubicBezTo>
                  <a:pt x="4438" y="170"/>
                  <a:pt x="4406" y="188"/>
                  <a:pt x="4384" y="214"/>
                </a:cubicBezTo>
                <a:cubicBezTo>
                  <a:pt x="4384" y="174"/>
                  <a:pt x="4384" y="174"/>
                  <a:pt x="4384" y="174"/>
                </a:cubicBezTo>
                <a:cubicBezTo>
                  <a:pt x="4284" y="174"/>
                  <a:pt x="4284" y="174"/>
                  <a:pt x="4284" y="174"/>
                </a:cubicBezTo>
                <a:cubicBezTo>
                  <a:pt x="4284" y="186"/>
                  <a:pt x="4284" y="186"/>
                  <a:pt x="4284" y="186"/>
                </a:cubicBezTo>
                <a:cubicBezTo>
                  <a:pt x="4326" y="188"/>
                  <a:pt x="4332" y="190"/>
                  <a:pt x="4332" y="280"/>
                </a:cubicBezTo>
                <a:cubicBezTo>
                  <a:pt x="4332" y="466"/>
                  <a:pt x="4332" y="466"/>
                  <a:pt x="4332" y="466"/>
                </a:cubicBezTo>
                <a:cubicBezTo>
                  <a:pt x="4332" y="564"/>
                  <a:pt x="4334" y="570"/>
                  <a:pt x="4286" y="574"/>
                </a:cubicBezTo>
                <a:cubicBezTo>
                  <a:pt x="4286" y="588"/>
                  <a:pt x="4286" y="588"/>
                  <a:pt x="4286" y="588"/>
                </a:cubicBezTo>
                <a:cubicBezTo>
                  <a:pt x="4432" y="588"/>
                  <a:pt x="4432" y="588"/>
                  <a:pt x="4432" y="588"/>
                </a:cubicBezTo>
                <a:cubicBezTo>
                  <a:pt x="4432" y="574"/>
                  <a:pt x="4432" y="574"/>
                  <a:pt x="4432" y="574"/>
                </a:cubicBezTo>
                <a:cubicBezTo>
                  <a:pt x="4380" y="572"/>
                  <a:pt x="4384" y="564"/>
                  <a:pt x="4384" y="462"/>
                </a:cubicBezTo>
                <a:cubicBezTo>
                  <a:pt x="4384" y="424"/>
                  <a:pt x="4384" y="424"/>
                  <a:pt x="4384" y="424"/>
                </a:cubicBezTo>
                <a:cubicBezTo>
                  <a:pt x="4404" y="444"/>
                  <a:pt x="4436" y="454"/>
                  <a:pt x="4466" y="454"/>
                </a:cubicBezTo>
                <a:cubicBezTo>
                  <a:pt x="4548" y="454"/>
                  <a:pt x="4600" y="392"/>
                  <a:pt x="4600" y="310"/>
                </a:cubicBezTo>
                <a:moveTo>
                  <a:pt x="4792" y="382"/>
                </a:moveTo>
                <a:cubicBezTo>
                  <a:pt x="4792" y="404"/>
                  <a:pt x="4762" y="424"/>
                  <a:pt x="4736" y="424"/>
                </a:cubicBezTo>
                <a:cubicBezTo>
                  <a:pt x="4712" y="424"/>
                  <a:pt x="4694" y="410"/>
                  <a:pt x="4694" y="378"/>
                </a:cubicBezTo>
                <a:cubicBezTo>
                  <a:pt x="4694" y="322"/>
                  <a:pt x="4752" y="328"/>
                  <a:pt x="4792" y="306"/>
                </a:cubicBezTo>
                <a:cubicBezTo>
                  <a:pt x="4792" y="382"/>
                  <a:pt x="4792" y="382"/>
                  <a:pt x="4792" y="382"/>
                </a:cubicBezTo>
                <a:close/>
                <a:moveTo>
                  <a:pt x="5240" y="434"/>
                </a:moveTo>
                <a:cubicBezTo>
                  <a:pt x="5192" y="432"/>
                  <a:pt x="5192" y="430"/>
                  <a:pt x="5192" y="340"/>
                </a:cubicBezTo>
                <a:cubicBezTo>
                  <a:pt x="5192" y="278"/>
                  <a:pt x="5192" y="278"/>
                  <a:pt x="5192" y="278"/>
                </a:cubicBezTo>
                <a:cubicBezTo>
                  <a:pt x="5192" y="196"/>
                  <a:pt x="5146" y="170"/>
                  <a:pt x="5104" y="170"/>
                </a:cubicBezTo>
                <a:cubicBezTo>
                  <a:pt x="5068" y="170"/>
                  <a:pt x="5032" y="186"/>
                  <a:pt x="5004" y="222"/>
                </a:cubicBezTo>
                <a:cubicBezTo>
                  <a:pt x="5004" y="174"/>
                  <a:pt x="5004" y="174"/>
                  <a:pt x="5004" y="174"/>
                </a:cubicBezTo>
                <a:cubicBezTo>
                  <a:pt x="4902" y="174"/>
                  <a:pt x="4902" y="174"/>
                  <a:pt x="4902" y="174"/>
                </a:cubicBezTo>
                <a:cubicBezTo>
                  <a:pt x="4902" y="186"/>
                  <a:pt x="4902" y="186"/>
                  <a:pt x="4902" y="186"/>
                </a:cubicBezTo>
                <a:cubicBezTo>
                  <a:pt x="4946" y="188"/>
                  <a:pt x="4952" y="190"/>
                  <a:pt x="4952" y="266"/>
                </a:cubicBezTo>
                <a:cubicBezTo>
                  <a:pt x="4952" y="334"/>
                  <a:pt x="4952" y="334"/>
                  <a:pt x="4952" y="334"/>
                </a:cubicBezTo>
                <a:cubicBezTo>
                  <a:pt x="4952" y="430"/>
                  <a:pt x="4952" y="432"/>
                  <a:pt x="4904" y="434"/>
                </a:cubicBezTo>
                <a:cubicBezTo>
                  <a:pt x="4892" y="434"/>
                  <a:pt x="4892" y="434"/>
                  <a:pt x="4892" y="434"/>
                </a:cubicBezTo>
                <a:cubicBezTo>
                  <a:pt x="4854" y="434"/>
                  <a:pt x="4850" y="422"/>
                  <a:pt x="4850" y="366"/>
                </a:cubicBezTo>
                <a:cubicBezTo>
                  <a:pt x="4850" y="274"/>
                  <a:pt x="4850" y="274"/>
                  <a:pt x="4850" y="274"/>
                </a:cubicBezTo>
                <a:cubicBezTo>
                  <a:pt x="4850" y="256"/>
                  <a:pt x="4848" y="240"/>
                  <a:pt x="4844" y="228"/>
                </a:cubicBezTo>
                <a:cubicBezTo>
                  <a:pt x="4830" y="186"/>
                  <a:pt x="4796" y="170"/>
                  <a:pt x="4748" y="170"/>
                </a:cubicBezTo>
                <a:cubicBezTo>
                  <a:pt x="4718" y="170"/>
                  <a:pt x="4674" y="180"/>
                  <a:pt x="4650" y="202"/>
                </a:cubicBezTo>
                <a:cubicBezTo>
                  <a:pt x="4652" y="214"/>
                  <a:pt x="4664" y="240"/>
                  <a:pt x="4670" y="248"/>
                </a:cubicBezTo>
                <a:cubicBezTo>
                  <a:pt x="4676" y="246"/>
                  <a:pt x="4676" y="246"/>
                  <a:pt x="4676" y="246"/>
                </a:cubicBezTo>
                <a:cubicBezTo>
                  <a:pt x="4688" y="216"/>
                  <a:pt x="4708" y="194"/>
                  <a:pt x="4742" y="194"/>
                </a:cubicBezTo>
                <a:cubicBezTo>
                  <a:pt x="4778" y="194"/>
                  <a:pt x="4794" y="220"/>
                  <a:pt x="4794" y="250"/>
                </a:cubicBezTo>
                <a:cubicBezTo>
                  <a:pt x="4794" y="282"/>
                  <a:pt x="4794" y="282"/>
                  <a:pt x="4794" y="282"/>
                </a:cubicBezTo>
                <a:cubicBezTo>
                  <a:pt x="4794" y="302"/>
                  <a:pt x="4702" y="306"/>
                  <a:pt x="4664" y="338"/>
                </a:cubicBezTo>
                <a:cubicBezTo>
                  <a:pt x="4652" y="350"/>
                  <a:pt x="4642" y="364"/>
                  <a:pt x="4642" y="384"/>
                </a:cubicBezTo>
                <a:cubicBezTo>
                  <a:pt x="4642" y="426"/>
                  <a:pt x="4672" y="456"/>
                  <a:pt x="4716" y="456"/>
                </a:cubicBezTo>
                <a:cubicBezTo>
                  <a:pt x="4744" y="456"/>
                  <a:pt x="4768" y="446"/>
                  <a:pt x="4794" y="418"/>
                </a:cubicBezTo>
                <a:cubicBezTo>
                  <a:pt x="4798" y="438"/>
                  <a:pt x="4814" y="448"/>
                  <a:pt x="4842" y="448"/>
                </a:cubicBezTo>
                <a:cubicBezTo>
                  <a:pt x="4906" y="448"/>
                  <a:pt x="4906" y="448"/>
                  <a:pt x="4906" y="448"/>
                </a:cubicBezTo>
                <a:cubicBezTo>
                  <a:pt x="4906" y="448"/>
                  <a:pt x="4906" y="448"/>
                  <a:pt x="4906" y="448"/>
                </a:cubicBezTo>
                <a:cubicBezTo>
                  <a:pt x="5048" y="448"/>
                  <a:pt x="5048" y="448"/>
                  <a:pt x="5048" y="448"/>
                </a:cubicBezTo>
                <a:cubicBezTo>
                  <a:pt x="5048" y="436"/>
                  <a:pt x="5048" y="436"/>
                  <a:pt x="5048" y="436"/>
                </a:cubicBezTo>
                <a:cubicBezTo>
                  <a:pt x="5006" y="432"/>
                  <a:pt x="5004" y="434"/>
                  <a:pt x="5004" y="338"/>
                </a:cubicBezTo>
                <a:cubicBezTo>
                  <a:pt x="5004" y="262"/>
                  <a:pt x="5004" y="262"/>
                  <a:pt x="5004" y="262"/>
                </a:cubicBezTo>
                <a:cubicBezTo>
                  <a:pt x="5004" y="236"/>
                  <a:pt x="5038" y="206"/>
                  <a:pt x="5080" y="206"/>
                </a:cubicBezTo>
                <a:cubicBezTo>
                  <a:pt x="5114" y="206"/>
                  <a:pt x="5140" y="220"/>
                  <a:pt x="5140" y="286"/>
                </a:cubicBezTo>
                <a:cubicBezTo>
                  <a:pt x="5140" y="340"/>
                  <a:pt x="5140" y="340"/>
                  <a:pt x="5140" y="340"/>
                </a:cubicBezTo>
                <a:cubicBezTo>
                  <a:pt x="5140" y="432"/>
                  <a:pt x="5136" y="432"/>
                  <a:pt x="5098" y="434"/>
                </a:cubicBezTo>
                <a:cubicBezTo>
                  <a:pt x="5098" y="446"/>
                  <a:pt x="5098" y="446"/>
                  <a:pt x="5098" y="446"/>
                </a:cubicBezTo>
                <a:cubicBezTo>
                  <a:pt x="5240" y="446"/>
                  <a:pt x="5240" y="446"/>
                  <a:pt x="5240" y="446"/>
                </a:cubicBezTo>
                <a:lnTo>
                  <a:pt x="5240" y="434"/>
                </a:lnTo>
                <a:close/>
                <a:moveTo>
                  <a:pt x="5516" y="192"/>
                </a:moveTo>
                <a:cubicBezTo>
                  <a:pt x="5516" y="180"/>
                  <a:pt x="5516" y="180"/>
                  <a:pt x="5516" y="180"/>
                </a:cubicBezTo>
                <a:cubicBezTo>
                  <a:pt x="5418" y="180"/>
                  <a:pt x="5418" y="180"/>
                  <a:pt x="5418" y="180"/>
                </a:cubicBezTo>
                <a:cubicBezTo>
                  <a:pt x="5418" y="192"/>
                  <a:pt x="5418" y="192"/>
                  <a:pt x="5418" y="192"/>
                </a:cubicBezTo>
                <a:cubicBezTo>
                  <a:pt x="5442" y="194"/>
                  <a:pt x="5454" y="206"/>
                  <a:pt x="5446" y="234"/>
                </a:cubicBezTo>
                <a:cubicBezTo>
                  <a:pt x="5394" y="390"/>
                  <a:pt x="5394" y="390"/>
                  <a:pt x="5394" y="390"/>
                </a:cubicBezTo>
                <a:cubicBezTo>
                  <a:pt x="5342" y="270"/>
                  <a:pt x="5342" y="270"/>
                  <a:pt x="5342" y="270"/>
                </a:cubicBezTo>
                <a:cubicBezTo>
                  <a:pt x="5328" y="238"/>
                  <a:pt x="5322" y="224"/>
                  <a:pt x="5322" y="212"/>
                </a:cubicBezTo>
                <a:cubicBezTo>
                  <a:pt x="5322" y="202"/>
                  <a:pt x="5328" y="196"/>
                  <a:pt x="5348" y="192"/>
                </a:cubicBezTo>
                <a:cubicBezTo>
                  <a:pt x="5348" y="180"/>
                  <a:pt x="5348" y="180"/>
                  <a:pt x="5348" y="180"/>
                </a:cubicBezTo>
                <a:cubicBezTo>
                  <a:pt x="5220" y="180"/>
                  <a:pt x="5220" y="180"/>
                  <a:pt x="5220" y="180"/>
                </a:cubicBezTo>
                <a:cubicBezTo>
                  <a:pt x="5220" y="192"/>
                  <a:pt x="5220" y="192"/>
                  <a:pt x="5220" y="192"/>
                </a:cubicBezTo>
                <a:cubicBezTo>
                  <a:pt x="5252" y="194"/>
                  <a:pt x="5254" y="198"/>
                  <a:pt x="5296" y="292"/>
                </a:cubicBezTo>
                <a:cubicBezTo>
                  <a:pt x="5368" y="450"/>
                  <a:pt x="5368" y="450"/>
                  <a:pt x="5368" y="450"/>
                </a:cubicBezTo>
                <a:cubicBezTo>
                  <a:pt x="5344" y="512"/>
                  <a:pt x="5306" y="546"/>
                  <a:pt x="5228" y="564"/>
                </a:cubicBezTo>
                <a:cubicBezTo>
                  <a:pt x="5232" y="576"/>
                  <a:pt x="5246" y="600"/>
                  <a:pt x="5254" y="606"/>
                </a:cubicBezTo>
                <a:cubicBezTo>
                  <a:pt x="5356" y="564"/>
                  <a:pt x="5376" y="498"/>
                  <a:pt x="5412" y="396"/>
                </a:cubicBezTo>
                <a:cubicBezTo>
                  <a:pt x="5466" y="242"/>
                  <a:pt x="5466" y="242"/>
                  <a:pt x="5466" y="242"/>
                </a:cubicBezTo>
                <a:cubicBezTo>
                  <a:pt x="5478" y="206"/>
                  <a:pt x="5498" y="192"/>
                  <a:pt x="5516" y="192"/>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600" kern="1200">
                <a:solidFill>
                  <a:schemeClr val="tx1"/>
                </a:solidFill>
                <a:latin typeface="Arial" charset="0"/>
                <a:ea typeface="+mn-ea"/>
                <a:cs typeface="+mn-cs"/>
              </a:defRPr>
            </a:lvl1pPr>
            <a:lvl2pPr marL="457200" algn="l" rtl="0" fontAlgn="base">
              <a:spcBef>
                <a:spcPct val="0"/>
              </a:spcBef>
              <a:spcAft>
                <a:spcPct val="0"/>
              </a:spcAft>
              <a:defRPr sz="1600" kern="1200">
                <a:solidFill>
                  <a:schemeClr val="tx1"/>
                </a:solidFill>
                <a:latin typeface="Arial" charset="0"/>
                <a:ea typeface="+mn-ea"/>
                <a:cs typeface="+mn-cs"/>
              </a:defRPr>
            </a:lvl2pPr>
            <a:lvl3pPr marL="914400" algn="l" rtl="0" fontAlgn="base">
              <a:spcBef>
                <a:spcPct val="0"/>
              </a:spcBef>
              <a:spcAft>
                <a:spcPct val="0"/>
              </a:spcAft>
              <a:defRPr sz="1600" kern="1200">
                <a:solidFill>
                  <a:schemeClr val="tx1"/>
                </a:solidFill>
                <a:latin typeface="Arial" charset="0"/>
                <a:ea typeface="+mn-ea"/>
                <a:cs typeface="+mn-cs"/>
              </a:defRPr>
            </a:lvl3pPr>
            <a:lvl4pPr marL="1371600" algn="l" rtl="0" fontAlgn="base">
              <a:spcBef>
                <a:spcPct val="0"/>
              </a:spcBef>
              <a:spcAft>
                <a:spcPct val="0"/>
              </a:spcAft>
              <a:defRPr sz="1600" kern="1200">
                <a:solidFill>
                  <a:schemeClr val="tx1"/>
                </a:solidFill>
                <a:latin typeface="Arial" charset="0"/>
                <a:ea typeface="+mn-ea"/>
                <a:cs typeface="+mn-cs"/>
              </a:defRPr>
            </a:lvl4pPr>
            <a:lvl5pPr marL="1828800" algn="l" rtl="0" fontAlgn="base">
              <a:spcBef>
                <a:spcPct val="0"/>
              </a:spcBef>
              <a:spcAft>
                <a:spcPct val="0"/>
              </a:spcAft>
              <a:defRPr sz="1600" kern="1200">
                <a:solidFill>
                  <a:schemeClr val="tx1"/>
                </a:solidFill>
                <a:latin typeface="Arial" charset="0"/>
                <a:ea typeface="+mn-ea"/>
                <a:cs typeface="+mn-cs"/>
              </a:defRPr>
            </a:lvl5pPr>
            <a:lvl6pPr marL="2286000" algn="l" defTabSz="914400" rtl="0" eaLnBrk="1" latinLnBrk="0" hangingPunct="1">
              <a:defRPr sz="1600" kern="1200">
                <a:solidFill>
                  <a:schemeClr val="tx1"/>
                </a:solidFill>
                <a:latin typeface="Arial" charset="0"/>
                <a:ea typeface="+mn-ea"/>
                <a:cs typeface="+mn-cs"/>
              </a:defRPr>
            </a:lvl6pPr>
            <a:lvl7pPr marL="2743200" algn="l" defTabSz="914400" rtl="0" eaLnBrk="1" latinLnBrk="0" hangingPunct="1">
              <a:defRPr sz="1600" kern="1200">
                <a:solidFill>
                  <a:schemeClr val="tx1"/>
                </a:solidFill>
                <a:latin typeface="Arial" charset="0"/>
                <a:ea typeface="+mn-ea"/>
                <a:cs typeface="+mn-cs"/>
              </a:defRPr>
            </a:lvl7pPr>
            <a:lvl8pPr marL="3200400" algn="l" defTabSz="914400" rtl="0" eaLnBrk="1" latinLnBrk="0" hangingPunct="1">
              <a:defRPr sz="1600" kern="1200">
                <a:solidFill>
                  <a:schemeClr val="tx1"/>
                </a:solidFill>
                <a:latin typeface="Arial" charset="0"/>
                <a:ea typeface="+mn-ea"/>
                <a:cs typeface="+mn-cs"/>
              </a:defRPr>
            </a:lvl8pPr>
            <a:lvl9pPr marL="3657600" algn="l" defTabSz="914400" rtl="0" eaLnBrk="1" latinLnBrk="0" hangingPunct="1">
              <a:defRPr sz="1600" kern="1200">
                <a:solidFill>
                  <a:schemeClr val="tx1"/>
                </a:solidFill>
                <a:latin typeface="Arial" charset="0"/>
                <a:ea typeface="+mn-ea"/>
                <a:cs typeface="+mn-cs"/>
              </a:defRPr>
            </a:lvl9pPr>
          </a:lstStyle>
          <a:p>
            <a:endParaRPr lang="en-US" baseline="0" dirty="0">
              <a:solidFill>
                <a:srgbClr val="000000"/>
              </a:solidFill>
              <a:latin typeface="+mn-lt"/>
            </a:endParaRPr>
          </a:p>
        </p:txBody>
      </p:sp>
      <p:sp>
        <p:nvSpPr>
          <p:cNvPr id="27" name="Disclaimer-English (United States)" hidden="1"/>
          <p:cNvSpPr>
            <a:spLocks noChangeArrowheads="1"/>
          </p:cNvSpPr>
          <p:nvPr/>
        </p:nvSpPr>
        <p:spPr bwMode="black">
          <a:xfrm>
            <a:off x="2268266" y="6287785"/>
            <a:ext cx="3544453" cy="36908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t" anchorCtr="0">
            <a:noAutofit/>
          </a:bodyPr>
          <a:lstStyle/>
          <a:p>
            <a:pPr defTabSz="804863" eaLnBrk="0" hangingPunct="0"/>
            <a:r>
              <a:rPr lang="en-US" sz="800" baseline="0" dirty="0">
                <a:solidFill>
                  <a:srgbClr val="FFFFFF"/>
                </a:solidFill>
                <a:latin typeface="+mn-lt"/>
              </a:rPr>
              <a:t>CONFIDENTIAL AND PROPRIETARY</a:t>
            </a:r>
          </a:p>
          <a:p>
            <a:pPr defTabSz="804863" eaLnBrk="0" hangingPunct="0"/>
            <a:r>
              <a:rPr lang="en-US" sz="800" baseline="0" dirty="0">
                <a:solidFill>
                  <a:srgbClr val="FFFFFF"/>
                </a:solidFill>
                <a:latin typeface="+mn-lt"/>
              </a:rPr>
              <a:t>Any use of this material without specific permission of McKinsey &amp; Company is strictly prohibited</a:t>
            </a:r>
          </a:p>
        </p:txBody>
      </p:sp>
    </p:spTree>
    <p:extLst>
      <p:ext uri="{BB962C8B-B14F-4D97-AF65-F5344CB8AC3E}">
        <p14:creationId xmlns:p14="http://schemas.microsoft.com/office/powerpoint/2010/main" val="3623644876"/>
      </p:ext>
    </p:extLst>
  </p:cSld>
  <p:clrMapOvr>
    <a:masterClrMapping/>
  </p:clrMapOvr>
  <p:extLst mod="1">
    <p:ext uri="{DCECCB84-F9BA-43D5-87BE-67443E8EF086}">
      <p15:sldGuideLst xmlns:p15="http://schemas.microsoft.com/office/powerpoint/2012/main">
        <p15:guide id="1" orient="horz" pos="2117">
          <p15:clr>
            <a:srgbClr val="FBAE40"/>
          </p15:clr>
        </p15:guide>
        <p15:guide id="2" pos="1416">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pic>
        <p:nvPicPr>
          <p:cNvPr id="2" name="background"/>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0" y="198"/>
            <a:ext cx="8961438" cy="6721079"/>
          </a:xfrm>
          <a:prstGeom prst="rect">
            <a:avLst/>
          </a:prstGeom>
        </p:spPr>
      </p:pic>
      <p:sp>
        <p:nvSpPr>
          <p:cNvPr id="28" name="TitleRectangle"/>
          <p:cNvSpPr txBox="1">
            <a:spLocks/>
          </p:cNvSpPr>
          <p:nvPr/>
        </p:nvSpPr>
        <p:spPr>
          <a:xfrm>
            <a:off x="2084388" y="0"/>
            <a:ext cx="6875462" cy="3575976"/>
          </a:xfrm>
          <a:prstGeom prst="rect">
            <a:avLst/>
          </a:prstGeom>
          <a:solidFill>
            <a:srgbClr val="002960">
              <a:alpha val="92000"/>
            </a:srgbClr>
          </a:solidFill>
        </p:spPr>
        <p:txBody>
          <a:bodyPr vert="horz" wrap="square" lIns="216000" tIns="1440000" rIns="216000" bIns="108000" rtlCol="0">
            <a:noAutofit/>
          </a:bodyPr>
          <a:lstStyle>
            <a:lvl1pPr marL="0" indent="0" algn="l" defTabSz="914400" rtl="0" eaLnBrk="1" latinLnBrk="0" hangingPunct="1">
              <a:spcBef>
                <a:spcPct val="20000"/>
              </a:spcBef>
              <a:spcAft>
                <a:spcPts val="6000"/>
              </a:spcAft>
              <a:buFont typeface="Arial" pitchFamily="34" charset="0"/>
              <a:buNone/>
              <a:defRPr sz="3200" kern="1200">
                <a:solidFill>
                  <a:schemeClr val="accent1"/>
                </a:solidFill>
                <a:latin typeface="+mn-lt"/>
                <a:ea typeface="+mn-ea"/>
                <a:cs typeface="+mn-cs"/>
              </a:defRPr>
            </a:lvl1pPr>
            <a:lvl2pPr marL="0" indent="0" algn="l" defTabSz="914400" rtl="0" eaLnBrk="1" latinLnBrk="0" hangingPunct="1">
              <a:spcBef>
                <a:spcPct val="20000"/>
              </a:spcBef>
              <a:buFont typeface="Wingdings" charset="2"/>
              <a:buNone/>
              <a:defRPr sz="1400" kern="1200">
                <a:solidFill>
                  <a:schemeClr val="tx1">
                    <a:lumMod val="50000"/>
                    <a:lumOff val="50000"/>
                  </a:schemeClr>
                </a:solidFill>
                <a:latin typeface="+mn-lt"/>
                <a:ea typeface="+mn-ea"/>
                <a:cs typeface="+mn-cs"/>
              </a:defRPr>
            </a:lvl2pPr>
            <a:lvl3pPr marL="1143000" indent="-228600" algn="l" defTabSz="914400" rtl="0" eaLnBrk="1" latinLnBrk="0" hangingPunct="1">
              <a:spcBef>
                <a:spcPct val="20000"/>
              </a:spcBef>
              <a:buFont typeface="Lucida Grande"/>
              <a:buChar char="–"/>
              <a:defRPr sz="16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fontAlgn="auto">
              <a:defRPr/>
            </a:pPr>
            <a:r>
              <a:rPr lang="en-US" baseline="0" dirty="0">
                <a:solidFill>
                  <a:srgbClr val="00ADEF"/>
                </a:solidFill>
                <a:latin typeface="+mn-lt"/>
              </a:rPr>
              <a:t>
              </a:t>
            </a:r>
            <a:br>
              <a:rPr lang="en-US" baseline="0" dirty="0">
                <a:solidFill>
                  <a:srgbClr val="00ADEF"/>
                </a:solidFill>
                <a:latin typeface="+mn-lt"/>
              </a:rPr>
            </a:br>
            <a:endParaRPr lang="en-US" baseline="0" dirty="0">
              <a:solidFill>
                <a:srgbClr val="00ADEF"/>
              </a:solidFill>
              <a:latin typeface="+mn-lt"/>
            </a:endParaRPr>
          </a:p>
        </p:txBody>
      </p:sp>
      <p:graphicFrame>
        <p:nvGraphicFramePr>
          <p:cNvPr id="3" name="Object 2"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428"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Working Draft Text" hidden="1"/>
          <p:cNvSpPr txBox="1">
            <a:spLocks noChangeArrowheads="1"/>
          </p:cNvSpPr>
          <p:nvPr/>
        </p:nvSpPr>
        <p:spPr bwMode="black">
          <a:xfrm>
            <a:off x="5992719" y="6287538"/>
            <a:ext cx="2790000"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800" b="1" baseline="0" dirty="0">
                <a:solidFill>
                  <a:srgbClr val="FFFFFF"/>
                </a:solidFill>
                <a:latin typeface="+mn-lt"/>
              </a:rPr>
              <a:t>WORKING DRAFT</a:t>
            </a:r>
          </a:p>
        </p:txBody>
      </p:sp>
      <p:sp>
        <p:nvSpPr>
          <p:cNvPr id="6" name="Working Draft" hidden="1"/>
          <p:cNvSpPr txBox="1">
            <a:spLocks noChangeArrowheads="1"/>
          </p:cNvSpPr>
          <p:nvPr/>
        </p:nvSpPr>
        <p:spPr bwMode="black">
          <a:xfrm>
            <a:off x="5992718" y="6410648"/>
            <a:ext cx="2968719"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800" baseline="0">
                <a:solidFill>
                  <a:srgbClr val="FFFFFF"/>
                </a:solidFill>
                <a:latin typeface="+mn-lt"/>
              </a:rPr>
              <a:t>Last Modified 21/05/2018 17:44 India Standard Time</a:t>
            </a:r>
            <a:endParaRPr lang="en-US" sz="800" baseline="0" dirty="0">
              <a:solidFill>
                <a:srgbClr val="FFFFFF"/>
              </a:solidFill>
              <a:latin typeface="+mn-lt"/>
            </a:endParaRPr>
          </a:p>
        </p:txBody>
      </p:sp>
      <p:sp>
        <p:nvSpPr>
          <p:cNvPr id="7" name="Printed" hidden="1"/>
          <p:cNvSpPr txBox="1">
            <a:spLocks noChangeArrowheads="1"/>
          </p:cNvSpPr>
          <p:nvPr/>
        </p:nvSpPr>
        <p:spPr bwMode="black">
          <a:xfrm>
            <a:off x="5992719" y="6533759"/>
            <a:ext cx="2790000"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800" baseline="0" dirty="0">
                <a:solidFill>
                  <a:srgbClr val="FFFFFF"/>
                </a:solidFill>
                <a:latin typeface="+mn-lt"/>
              </a:rPr>
              <a:t>Printed</a:t>
            </a:r>
          </a:p>
        </p:txBody>
      </p:sp>
      <p:sp>
        <p:nvSpPr>
          <p:cNvPr id="13314" name="Title"/>
          <p:cNvSpPr>
            <a:spLocks noGrp="1" noChangeArrowheads="1"/>
          </p:cNvSpPr>
          <p:nvPr>
            <p:ph type="ctrTitle"/>
          </p:nvPr>
        </p:nvSpPr>
        <p:spPr>
          <a:xfrm>
            <a:off x="2268266" y="1434419"/>
            <a:ext cx="6231663" cy="492443"/>
          </a:xfrm>
          <a:prstGeom prst="rect">
            <a:avLst/>
          </a:prstGeom>
        </p:spPr>
        <p:txBody>
          <a:bodyPr>
            <a:spAutoFit/>
          </a:bodyPr>
          <a:lstStyle>
            <a:lvl1pPr>
              <a:defRPr sz="3200" b="0" baseline="0">
                <a:solidFill>
                  <a:schemeClr val="accent2"/>
                </a:solidFill>
                <a:latin typeface="+mj-lt"/>
                <a:ea typeface="+mj-ea"/>
              </a:defRPr>
            </a:lvl1pPr>
          </a:lstStyle>
          <a:p>
            <a:pPr lvl="0" latinLnBrk="0"/>
            <a:r>
              <a:rPr lang="en-US" noProof="0"/>
              <a:t>Click to edit Master title style</a:t>
            </a:r>
            <a:endParaRPr lang="en-US" noProof="0" dirty="0"/>
          </a:p>
        </p:txBody>
      </p:sp>
      <p:sp>
        <p:nvSpPr>
          <p:cNvPr id="13315" name="Subtitle"/>
          <p:cNvSpPr>
            <a:spLocks noGrp="1" noChangeArrowheads="1"/>
          </p:cNvSpPr>
          <p:nvPr>
            <p:ph type="subTitle" idx="1"/>
          </p:nvPr>
        </p:nvSpPr>
        <p:spPr>
          <a:xfrm>
            <a:off x="2268266" y="2819401"/>
            <a:ext cx="6231663" cy="215444"/>
          </a:xfrm>
          <a:prstGeom prst="rect">
            <a:avLst/>
          </a:prstGeom>
        </p:spPr>
        <p:txBody>
          <a:bodyPr wrap="square">
            <a:spAutoFit/>
          </a:bodyPr>
          <a:lstStyle>
            <a:lvl1pPr>
              <a:defRPr sz="1400" cap="all" baseline="0">
                <a:solidFill>
                  <a:schemeClr val="bg1"/>
                </a:solidFill>
                <a:latin typeface="+mn-lt"/>
                <a:ea typeface="+mn-ea"/>
              </a:defRPr>
            </a:lvl1pPr>
          </a:lstStyle>
          <a:p>
            <a:pPr lvl="0" latinLnBrk="0"/>
            <a:r>
              <a:rPr lang="en-US" noProof="0"/>
              <a:t>Click to edit Master subtitle style</a:t>
            </a:r>
            <a:endParaRPr lang="en-US" noProof="0" dirty="0"/>
          </a:p>
        </p:txBody>
      </p:sp>
      <p:sp>
        <p:nvSpPr>
          <p:cNvPr id="57" name="Document type" hidden="1"/>
          <p:cNvSpPr txBox="1">
            <a:spLocks noChangeArrowheads="1"/>
          </p:cNvSpPr>
          <p:nvPr/>
        </p:nvSpPr>
        <p:spPr bwMode="gray">
          <a:xfrm>
            <a:off x="2268266" y="3227411"/>
            <a:ext cx="6231663"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00" baseline="0" dirty="0">
                <a:solidFill>
                  <a:schemeClr val="bg1"/>
                </a:solidFill>
                <a:latin typeface="+mn-lt"/>
              </a:rPr>
              <a:t>Document type | Date</a:t>
            </a:r>
          </a:p>
        </p:txBody>
      </p:sp>
      <p:sp>
        <p:nvSpPr>
          <p:cNvPr id="5" name="doc id" hidden="1"/>
          <p:cNvSpPr txBox="1">
            <a:spLocks noChangeArrowheads="1"/>
          </p:cNvSpPr>
          <p:nvPr/>
        </p:nvSpPr>
        <p:spPr bwMode="white">
          <a:xfrm>
            <a:off x="8443913" y="36513"/>
            <a:ext cx="295275" cy="1222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hangingPunct="1">
              <a:defRPr/>
            </a:pPr>
            <a:endParaRPr lang="en-US" sz="800" baseline="0" dirty="0">
              <a:solidFill>
                <a:srgbClr val="FFFFFF"/>
              </a:solidFill>
              <a:latin typeface="+mn-lt"/>
            </a:endParaRPr>
          </a:p>
        </p:txBody>
      </p:sp>
      <p:sp>
        <p:nvSpPr>
          <p:cNvPr id="43" name="LogoImage"/>
          <p:cNvSpPr>
            <a:spLocks noEditPoints="1"/>
          </p:cNvSpPr>
          <p:nvPr/>
        </p:nvSpPr>
        <p:spPr bwMode="white">
          <a:xfrm>
            <a:off x="2269098" y="182925"/>
            <a:ext cx="2176978" cy="238073"/>
          </a:xfrm>
          <a:custGeom>
            <a:avLst/>
            <a:gdLst>
              <a:gd name="T0" fmla="*/ 504 w 5516"/>
              <a:gd name="T1" fmla="*/ 26 h 606"/>
              <a:gd name="T2" fmla="*/ 18 w 5516"/>
              <a:gd name="T3" fmla="*/ 22 h 606"/>
              <a:gd name="T4" fmla="*/ 140 w 5516"/>
              <a:gd name="T5" fmla="*/ 436 h 606"/>
              <a:gd name="T6" fmla="*/ 408 w 5516"/>
              <a:gd name="T7" fmla="*/ 372 h 606"/>
              <a:gd name="T8" fmla="*/ 696 w 5516"/>
              <a:gd name="T9" fmla="*/ 422 h 606"/>
              <a:gd name="T10" fmla="*/ 768 w 5516"/>
              <a:gd name="T11" fmla="*/ 196 h 606"/>
              <a:gd name="T12" fmla="*/ 1272 w 5516"/>
              <a:gd name="T13" fmla="*/ 26 h 606"/>
              <a:gd name="T14" fmla="*/ 1302 w 5516"/>
              <a:gd name="T15" fmla="*/ 338 h 606"/>
              <a:gd name="T16" fmla="*/ 1202 w 5516"/>
              <a:gd name="T17" fmla="*/ 436 h 606"/>
              <a:gd name="T18" fmla="*/ 1030 w 5516"/>
              <a:gd name="T19" fmla="*/ 10 h 606"/>
              <a:gd name="T20" fmla="*/ 960 w 5516"/>
              <a:gd name="T21" fmla="*/ 22 h 606"/>
              <a:gd name="T22" fmla="*/ 804 w 5516"/>
              <a:gd name="T23" fmla="*/ 434 h 606"/>
              <a:gd name="T24" fmla="*/ 930 w 5516"/>
              <a:gd name="T25" fmla="*/ 246 h 606"/>
              <a:gd name="T26" fmla="*/ 1658 w 5516"/>
              <a:gd name="T27" fmla="*/ 342 h 606"/>
              <a:gd name="T28" fmla="*/ 1368 w 5516"/>
              <a:gd name="T29" fmla="*/ 188 h 606"/>
              <a:gd name="T30" fmla="*/ 1514 w 5516"/>
              <a:gd name="T31" fmla="*/ 436 h 606"/>
              <a:gd name="T32" fmla="*/ 1564 w 5516"/>
              <a:gd name="T33" fmla="*/ 434 h 606"/>
              <a:gd name="T34" fmla="*/ 1904 w 5516"/>
              <a:gd name="T35" fmla="*/ 184 h 606"/>
              <a:gd name="T36" fmla="*/ 1728 w 5516"/>
              <a:gd name="T37" fmla="*/ 366 h 606"/>
              <a:gd name="T38" fmla="*/ 2102 w 5516"/>
              <a:gd name="T39" fmla="*/ 192 h 606"/>
              <a:gd name="T40" fmla="*/ 1982 w 5516"/>
              <a:gd name="T41" fmla="*/ 320 h 606"/>
              <a:gd name="T42" fmla="*/ 2478 w 5516"/>
              <a:gd name="T43" fmla="*/ 242 h 606"/>
              <a:gd name="T44" fmla="*/ 2406 w 5516"/>
              <a:gd name="T45" fmla="*/ 390 h 606"/>
              <a:gd name="T46" fmla="*/ 2234 w 5516"/>
              <a:gd name="T47" fmla="*/ 192 h 606"/>
              <a:gd name="T48" fmla="*/ 2478 w 5516"/>
              <a:gd name="T49" fmla="*/ 242 h 606"/>
              <a:gd name="T50" fmla="*/ 2928 w 5516"/>
              <a:gd name="T51" fmla="*/ 448 h 606"/>
              <a:gd name="T52" fmla="*/ 2958 w 5516"/>
              <a:gd name="T53" fmla="*/ 230 h 606"/>
              <a:gd name="T54" fmla="*/ 2716 w 5516"/>
              <a:gd name="T55" fmla="*/ 54 h 606"/>
              <a:gd name="T56" fmla="*/ 2714 w 5516"/>
              <a:gd name="T57" fmla="*/ 36 h 606"/>
              <a:gd name="T58" fmla="*/ 2928 w 5516"/>
              <a:gd name="T59" fmla="*/ 448 h 606"/>
              <a:gd name="T60" fmla="*/ 3388 w 5516"/>
              <a:gd name="T61" fmla="*/ 4 h 606"/>
              <a:gd name="T62" fmla="*/ 3396 w 5516"/>
              <a:gd name="T63" fmla="*/ 366 h 606"/>
              <a:gd name="T64" fmla="*/ 3580 w 5516"/>
              <a:gd name="T65" fmla="*/ 190 h 606"/>
              <a:gd name="T66" fmla="*/ 3502 w 5516"/>
              <a:gd name="T67" fmla="*/ 432 h 606"/>
              <a:gd name="T68" fmla="*/ 4232 w 5516"/>
              <a:gd name="T69" fmla="*/ 348 h 606"/>
              <a:gd name="T70" fmla="*/ 3858 w 5516"/>
              <a:gd name="T71" fmla="*/ 176 h 606"/>
              <a:gd name="T72" fmla="*/ 3758 w 5516"/>
              <a:gd name="T73" fmla="*/ 446 h 606"/>
              <a:gd name="T74" fmla="*/ 3990 w 5516"/>
              <a:gd name="T75" fmla="*/ 282 h 606"/>
              <a:gd name="T76" fmla="*/ 4042 w 5516"/>
              <a:gd name="T77" fmla="*/ 342 h 606"/>
              <a:gd name="T78" fmla="*/ 4134 w 5516"/>
              <a:gd name="T79" fmla="*/ 448 h 606"/>
              <a:gd name="T80" fmla="*/ 4454 w 5516"/>
              <a:gd name="T81" fmla="*/ 202 h 606"/>
              <a:gd name="T82" fmla="*/ 4284 w 5516"/>
              <a:gd name="T83" fmla="*/ 174 h 606"/>
              <a:gd name="T84" fmla="*/ 4432 w 5516"/>
              <a:gd name="T85" fmla="*/ 588 h 606"/>
              <a:gd name="T86" fmla="*/ 4792 w 5516"/>
              <a:gd name="T87" fmla="*/ 382 h 606"/>
              <a:gd name="T88" fmla="*/ 5192 w 5516"/>
              <a:gd name="T89" fmla="*/ 340 h 606"/>
              <a:gd name="T90" fmla="*/ 4902 w 5516"/>
              <a:gd name="T91" fmla="*/ 186 h 606"/>
              <a:gd name="T92" fmla="*/ 4850 w 5516"/>
              <a:gd name="T93" fmla="*/ 274 h 606"/>
              <a:gd name="T94" fmla="*/ 4742 w 5516"/>
              <a:gd name="T95" fmla="*/ 194 h 606"/>
              <a:gd name="T96" fmla="*/ 4794 w 5516"/>
              <a:gd name="T97" fmla="*/ 418 h 606"/>
              <a:gd name="T98" fmla="*/ 5004 w 5516"/>
              <a:gd name="T99" fmla="*/ 338 h 606"/>
              <a:gd name="T100" fmla="*/ 5098 w 5516"/>
              <a:gd name="T101" fmla="*/ 446 h 606"/>
              <a:gd name="T102" fmla="*/ 5418 w 5516"/>
              <a:gd name="T103" fmla="*/ 192 h 606"/>
              <a:gd name="T104" fmla="*/ 5348 w 5516"/>
              <a:gd name="T105" fmla="*/ 180 h 606"/>
              <a:gd name="T106" fmla="*/ 5254 w 5516"/>
              <a:gd name="T107" fmla="*/ 606 h 6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516" h="606">
                <a:moveTo>
                  <a:pt x="366" y="448"/>
                </a:moveTo>
                <a:cubicBezTo>
                  <a:pt x="524" y="448"/>
                  <a:pt x="524" y="448"/>
                  <a:pt x="524" y="448"/>
                </a:cubicBezTo>
                <a:cubicBezTo>
                  <a:pt x="524" y="436"/>
                  <a:pt x="524" y="436"/>
                  <a:pt x="524" y="436"/>
                </a:cubicBezTo>
                <a:cubicBezTo>
                  <a:pt x="486" y="432"/>
                  <a:pt x="470" y="414"/>
                  <a:pt x="468" y="362"/>
                </a:cubicBezTo>
                <a:cubicBezTo>
                  <a:pt x="454" y="86"/>
                  <a:pt x="454" y="86"/>
                  <a:pt x="454" y="86"/>
                </a:cubicBezTo>
                <a:cubicBezTo>
                  <a:pt x="452" y="46"/>
                  <a:pt x="470" y="30"/>
                  <a:pt x="504" y="26"/>
                </a:cubicBezTo>
                <a:cubicBezTo>
                  <a:pt x="504" y="12"/>
                  <a:pt x="504" y="12"/>
                  <a:pt x="504" y="12"/>
                </a:cubicBezTo>
                <a:cubicBezTo>
                  <a:pt x="394" y="12"/>
                  <a:pt x="394" y="12"/>
                  <a:pt x="394" y="12"/>
                </a:cubicBezTo>
                <a:cubicBezTo>
                  <a:pt x="264" y="350"/>
                  <a:pt x="264" y="350"/>
                  <a:pt x="264" y="350"/>
                </a:cubicBezTo>
                <a:cubicBezTo>
                  <a:pt x="132" y="10"/>
                  <a:pt x="132" y="10"/>
                  <a:pt x="132" y="10"/>
                </a:cubicBezTo>
                <a:cubicBezTo>
                  <a:pt x="18" y="10"/>
                  <a:pt x="18" y="10"/>
                  <a:pt x="18" y="10"/>
                </a:cubicBezTo>
                <a:cubicBezTo>
                  <a:pt x="18" y="22"/>
                  <a:pt x="18" y="22"/>
                  <a:pt x="18" y="22"/>
                </a:cubicBezTo>
                <a:cubicBezTo>
                  <a:pt x="40" y="26"/>
                  <a:pt x="74" y="32"/>
                  <a:pt x="72" y="84"/>
                </a:cubicBezTo>
                <a:cubicBezTo>
                  <a:pt x="58" y="352"/>
                  <a:pt x="58" y="352"/>
                  <a:pt x="58" y="352"/>
                </a:cubicBezTo>
                <a:cubicBezTo>
                  <a:pt x="54" y="410"/>
                  <a:pt x="38" y="430"/>
                  <a:pt x="0" y="436"/>
                </a:cubicBezTo>
                <a:cubicBezTo>
                  <a:pt x="0" y="448"/>
                  <a:pt x="0" y="448"/>
                  <a:pt x="0" y="448"/>
                </a:cubicBezTo>
                <a:cubicBezTo>
                  <a:pt x="140" y="448"/>
                  <a:pt x="140" y="448"/>
                  <a:pt x="140" y="448"/>
                </a:cubicBezTo>
                <a:cubicBezTo>
                  <a:pt x="140" y="436"/>
                  <a:pt x="140" y="436"/>
                  <a:pt x="140" y="436"/>
                </a:cubicBezTo>
                <a:cubicBezTo>
                  <a:pt x="98" y="428"/>
                  <a:pt x="84" y="414"/>
                  <a:pt x="88" y="356"/>
                </a:cubicBezTo>
                <a:cubicBezTo>
                  <a:pt x="100" y="86"/>
                  <a:pt x="100" y="86"/>
                  <a:pt x="100" y="86"/>
                </a:cubicBezTo>
                <a:cubicBezTo>
                  <a:pt x="240" y="444"/>
                  <a:pt x="240" y="444"/>
                  <a:pt x="240" y="444"/>
                </a:cubicBezTo>
                <a:cubicBezTo>
                  <a:pt x="258" y="444"/>
                  <a:pt x="258" y="444"/>
                  <a:pt x="258" y="444"/>
                </a:cubicBezTo>
                <a:cubicBezTo>
                  <a:pt x="396" y="86"/>
                  <a:pt x="396" y="86"/>
                  <a:pt x="396" y="86"/>
                </a:cubicBezTo>
                <a:cubicBezTo>
                  <a:pt x="408" y="372"/>
                  <a:pt x="408" y="372"/>
                  <a:pt x="408" y="372"/>
                </a:cubicBezTo>
                <a:cubicBezTo>
                  <a:pt x="410" y="416"/>
                  <a:pt x="398" y="430"/>
                  <a:pt x="366" y="434"/>
                </a:cubicBezTo>
                <a:lnTo>
                  <a:pt x="366" y="448"/>
                </a:lnTo>
                <a:close/>
                <a:moveTo>
                  <a:pt x="670" y="456"/>
                </a:moveTo>
                <a:cubicBezTo>
                  <a:pt x="708" y="456"/>
                  <a:pt x="756" y="440"/>
                  <a:pt x="782" y="412"/>
                </a:cubicBezTo>
                <a:cubicBezTo>
                  <a:pt x="776" y="400"/>
                  <a:pt x="776" y="400"/>
                  <a:pt x="776" y="400"/>
                </a:cubicBezTo>
                <a:cubicBezTo>
                  <a:pt x="750" y="416"/>
                  <a:pt x="722" y="422"/>
                  <a:pt x="696" y="422"/>
                </a:cubicBezTo>
                <a:cubicBezTo>
                  <a:pt x="620" y="422"/>
                  <a:pt x="592" y="358"/>
                  <a:pt x="592" y="290"/>
                </a:cubicBezTo>
                <a:cubicBezTo>
                  <a:pt x="592" y="258"/>
                  <a:pt x="600" y="236"/>
                  <a:pt x="614" y="222"/>
                </a:cubicBezTo>
                <a:cubicBezTo>
                  <a:pt x="626" y="210"/>
                  <a:pt x="646" y="204"/>
                  <a:pt x="664" y="204"/>
                </a:cubicBezTo>
                <a:cubicBezTo>
                  <a:pt x="690" y="204"/>
                  <a:pt x="722" y="214"/>
                  <a:pt x="744" y="244"/>
                </a:cubicBezTo>
                <a:cubicBezTo>
                  <a:pt x="750" y="244"/>
                  <a:pt x="750" y="244"/>
                  <a:pt x="750" y="244"/>
                </a:cubicBezTo>
                <a:cubicBezTo>
                  <a:pt x="758" y="234"/>
                  <a:pt x="766" y="212"/>
                  <a:pt x="768" y="196"/>
                </a:cubicBezTo>
                <a:cubicBezTo>
                  <a:pt x="748" y="180"/>
                  <a:pt x="720" y="172"/>
                  <a:pt x="686" y="172"/>
                </a:cubicBezTo>
                <a:cubicBezTo>
                  <a:pt x="604" y="172"/>
                  <a:pt x="544" y="246"/>
                  <a:pt x="544" y="326"/>
                </a:cubicBezTo>
                <a:cubicBezTo>
                  <a:pt x="540" y="390"/>
                  <a:pt x="576" y="456"/>
                  <a:pt x="670" y="456"/>
                </a:cubicBezTo>
                <a:moveTo>
                  <a:pt x="1272" y="98"/>
                </a:moveTo>
                <a:cubicBezTo>
                  <a:pt x="1292" y="98"/>
                  <a:pt x="1308" y="82"/>
                  <a:pt x="1308" y="62"/>
                </a:cubicBezTo>
                <a:cubicBezTo>
                  <a:pt x="1308" y="42"/>
                  <a:pt x="1292" y="26"/>
                  <a:pt x="1272" y="26"/>
                </a:cubicBezTo>
                <a:cubicBezTo>
                  <a:pt x="1252" y="26"/>
                  <a:pt x="1238" y="42"/>
                  <a:pt x="1238" y="62"/>
                </a:cubicBezTo>
                <a:cubicBezTo>
                  <a:pt x="1238" y="82"/>
                  <a:pt x="1252" y="98"/>
                  <a:pt x="1272" y="98"/>
                </a:cubicBezTo>
                <a:moveTo>
                  <a:pt x="1202" y="448"/>
                </a:moveTo>
                <a:cubicBezTo>
                  <a:pt x="1346" y="448"/>
                  <a:pt x="1346" y="448"/>
                  <a:pt x="1346" y="448"/>
                </a:cubicBezTo>
                <a:cubicBezTo>
                  <a:pt x="1346" y="436"/>
                  <a:pt x="1346" y="436"/>
                  <a:pt x="1346" y="436"/>
                </a:cubicBezTo>
                <a:cubicBezTo>
                  <a:pt x="1304" y="432"/>
                  <a:pt x="1302" y="434"/>
                  <a:pt x="1302" y="338"/>
                </a:cubicBezTo>
                <a:cubicBezTo>
                  <a:pt x="1302" y="176"/>
                  <a:pt x="1302" y="176"/>
                  <a:pt x="1302" y="176"/>
                </a:cubicBezTo>
                <a:cubicBezTo>
                  <a:pt x="1200" y="176"/>
                  <a:pt x="1200" y="176"/>
                  <a:pt x="1200" y="176"/>
                </a:cubicBezTo>
                <a:cubicBezTo>
                  <a:pt x="1200" y="188"/>
                  <a:pt x="1200" y="188"/>
                  <a:pt x="1200" y="188"/>
                </a:cubicBezTo>
                <a:cubicBezTo>
                  <a:pt x="1244" y="190"/>
                  <a:pt x="1250" y="192"/>
                  <a:pt x="1250" y="268"/>
                </a:cubicBezTo>
                <a:cubicBezTo>
                  <a:pt x="1250" y="336"/>
                  <a:pt x="1250" y="336"/>
                  <a:pt x="1250" y="336"/>
                </a:cubicBezTo>
                <a:cubicBezTo>
                  <a:pt x="1250" y="432"/>
                  <a:pt x="1248" y="432"/>
                  <a:pt x="1202" y="436"/>
                </a:cubicBezTo>
                <a:cubicBezTo>
                  <a:pt x="1178" y="434"/>
                  <a:pt x="1154" y="426"/>
                  <a:pt x="1076" y="338"/>
                </a:cubicBezTo>
                <a:cubicBezTo>
                  <a:pt x="1046" y="302"/>
                  <a:pt x="996" y="244"/>
                  <a:pt x="968" y="206"/>
                </a:cubicBezTo>
                <a:cubicBezTo>
                  <a:pt x="1062" y="102"/>
                  <a:pt x="1062" y="102"/>
                  <a:pt x="1062" y="102"/>
                </a:cubicBezTo>
                <a:cubicBezTo>
                  <a:pt x="1108" y="52"/>
                  <a:pt x="1132" y="26"/>
                  <a:pt x="1176" y="24"/>
                </a:cubicBezTo>
                <a:cubicBezTo>
                  <a:pt x="1176" y="10"/>
                  <a:pt x="1176" y="10"/>
                  <a:pt x="1176" y="10"/>
                </a:cubicBezTo>
                <a:cubicBezTo>
                  <a:pt x="1030" y="10"/>
                  <a:pt x="1030" y="10"/>
                  <a:pt x="1030" y="10"/>
                </a:cubicBezTo>
                <a:cubicBezTo>
                  <a:pt x="1030" y="22"/>
                  <a:pt x="1030" y="22"/>
                  <a:pt x="1030" y="22"/>
                </a:cubicBezTo>
                <a:cubicBezTo>
                  <a:pt x="1050" y="26"/>
                  <a:pt x="1056" y="32"/>
                  <a:pt x="1056" y="46"/>
                </a:cubicBezTo>
                <a:cubicBezTo>
                  <a:pt x="1056" y="56"/>
                  <a:pt x="1054" y="72"/>
                  <a:pt x="1026" y="102"/>
                </a:cubicBezTo>
                <a:cubicBezTo>
                  <a:pt x="910" y="230"/>
                  <a:pt x="910" y="230"/>
                  <a:pt x="910" y="230"/>
                </a:cubicBezTo>
                <a:cubicBezTo>
                  <a:pt x="910" y="148"/>
                  <a:pt x="910" y="148"/>
                  <a:pt x="910" y="148"/>
                </a:cubicBezTo>
                <a:cubicBezTo>
                  <a:pt x="910" y="36"/>
                  <a:pt x="916" y="28"/>
                  <a:pt x="960" y="22"/>
                </a:cubicBezTo>
                <a:cubicBezTo>
                  <a:pt x="960" y="8"/>
                  <a:pt x="960" y="8"/>
                  <a:pt x="960" y="8"/>
                </a:cubicBezTo>
                <a:cubicBezTo>
                  <a:pt x="804" y="8"/>
                  <a:pt x="804" y="8"/>
                  <a:pt x="804" y="8"/>
                </a:cubicBezTo>
                <a:cubicBezTo>
                  <a:pt x="804" y="22"/>
                  <a:pt x="804" y="22"/>
                  <a:pt x="804" y="22"/>
                </a:cubicBezTo>
                <a:cubicBezTo>
                  <a:pt x="852" y="26"/>
                  <a:pt x="854" y="36"/>
                  <a:pt x="854" y="148"/>
                </a:cubicBezTo>
                <a:cubicBezTo>
                  <a:pt x="854" y="300"/>
                  <a:pt x="854" y="300"/>
                  <a:pt x="854" y="300"/>
                </a:cubicBezTo>
                <a:cubicBezTo>
                  <a:pt x="854" y="422"/>
                  <a:pt x="850" y="430"/>
                  <a:pt x="804" y="434"/>
                </a:cubicBezTo>
                <a:cubicBezTo>
                  <a:pt x="804" y="446"/>
                  <a:pt x="804" y="446"/>
                  <a:pt x="804" y="446"/>
                </a:cubicBezTo>
                <a:cubicBezTo>
                  <a:pt x="960" y="446"/>
                  <a:pt x="960" y="446"/>
                  <a:pt x="960" y="446"/>
                </a:cubicBezTo>
                <a:cubicBezTo>
                  <a:pt x="960" y="434"/>
                  <a:pt x="960" y="434"/>
                  <a:pt x="960" y="434"/>
                </a:cubicBezTo>
                <a:cubicBezTo>
                  <a:pt x="910" y="428"/>
                  <a:pt x="910" y="424"/>
                  <a:pt x="910" y="292"/>
                </a:cubicBezTo>
                <a:cubicBezTo>
                  <a:pt x="910" y="268"/>
                  <a:pt x="910" y="268"/>
                  <a:pt x="910" y="268"/>
                </a:cubicBezTo>
                <a:cubicBezTo>
                  <a:pt x="930" y="246"/>
                  <a:pt x="930" y="246"/>
                  <a:pt x="930" y="246"/>
                </a:cubicBezTo>
                <a:cubicBezTo>
                  <a:pt x="982" y="310"/>
                  <a:pt x="1038" y="380"/>
                  <a:pt x="1098" y="448"/>
                </a:cubicBezTo>
                <a:cubicBezTo>
                  <a:pt x="1202" y="448"/>
                  <a:pt x="1202" y="448"/>
                  <a:pt x="1202" y="448"/>
                </a:cubicBezTo>
                <a:close/>
                <a:moveTo>
                  <a:pt x="1564" y="448"/>
                </a:moveTo>
                <a:cubicBezTo>
                  <a:pt x="1706" y="448"/>
                  <a:pt x="1706" y="448"/>
                  <a:pt x="1706" y="448"/>
                </a:cubicBezTo>
                <a:cubicBezTo>
                  <a:pt x="1706" y="436"/>
                  <a:pt x="1706" y="436"/>
                  <a:pt x="1706" y="436"/>
                </a:cubicBezTo>
                <a:cubicBezTo>
                  <a:pt x="1658" y="434"/>
                  <a:pt x="1658" y="432"/>
                  <a:pt x="1658" y="342"/>
                </a:cubicBezTo>
                <a:cubicBezTo>
                  <a:pt x="1658" y="280"/>
                  <a:pt x="1658" y="280"/>
                  <a:pt x="1658" y="280"/>
                </a:cubicBezTo>
                <a:cubicBezTo>
                  <a:pt x="1658" y="198"/>
                  <a:pt x="1612" y="172"/>
                  <a:pt x="1570" y="172"/>
                </a:cubicBezTo>
                <a:cubicBezTo>
                  <a:pt x="1534" y="172"/>
                  <a:pt x="1498" y="188"/>
                  <a:pt x="1470" y="224"/>
                </a:cubicBezTo>
                <a:cubicBezTo>
                  <a:pt x="1470" y="176"/>
                  <a:pt x="1470" y="176"/>
                  <a:pt x="1470" y="176"/>
                </a:cubicBezTo>
                <a:cubicBezTo>
                  <a:pt x="1368" y="176"/>
                  <a:pt x="1368" y="176"/>
                  <a:pt x="1368" y="176"/>
                </a:cubicBezTo>
                <a:cubicBezTo>
                  <a:pt x="1368" y="188"/>
                  <a:pt x="1368" y="188"/>
                  <a:pt x="1368" y="188"/>
                </a:cubicBezTo>
                <a:cubicBezTo>
                  <a:pt x="1412" y="190"/>
                  <a:pt x="1418" y="192"/>
                  <a:pt x="1418" y="268"/>
                </a:cubicBezTo>
                <a:cubicBezTo>
                  <a:pt x="1418" y="336"/>
                  <a:pt x="1418" y="336"/>
                  <a:pt x="1418" y="336"/>
                </a:cubicBezTo>
                <a:cubicBezTo>
                  <a:pt x="1418" y="434"/>
                  <a:pt x="1418" y="434"/>
                  <a:pt x="1370" y="436"/>
                </a:cubicBezTo>
                <a:cubicBezTo>
                  <a:pt x="1370" y="448"/>
                  <a:pt x="1370" y="448"/>
                  <a:pt x="1370" y="448"/>
                </a:cubicBezTo>
                <a:cubicBezTo>
                  <a:pt x="1514" y="448"/>
                  <a:pt x="1514" y="448"/>
                  <a:pt x="1514" y="448"/>
                </a:cubicBezTo>
                <a:cubicBezTo>
                  <a:pt x="1514" y="436"/>
                  <a:pt x="1514" y="436"/>
                  <a:pt x="1514" y="436"/>
                </a:cubicBezTo>
                <a:cubicBezTo>
                  <a:pt x="1472" y="432"/>
                  <a:pt x="1470" y="434"/>
                  <a:pt x="1470" y="338"/>
                </a:cubicBezTo>
                <a:cubicBezTo>
                  <a:pt x="1470" y="262"/>
                  <a:pt x="1470" y="262"/>
                  <a:pt x="1470" y="262"/>
                </a:cubicBezTo>
                <a:cubicBezTo>
                  <a:pt x="1470" y="236"/>
                  <a:pt x="1504" y="206"/>
                  <a:pt x="1546" y="206"/>
                </a:cubicBezTo>
                <a:cubicBezTo>
                  <a:pt x="1580" y="206"/>
                  <a:pt x="1606" y="220"/>
                  <a:pt x="1606" y="286"/>
                </a:cubicBezTo>
                <a:cubicBezTo>
                  <a:pt x="1606" y="340"/>
                  <a:pt x="1606" y="340"/>
                  <a:pt x="1606" y="340"/>
                </a:cubicBezTo>
                <a:cubicBezTo>
                  <a:pt x="1606" y="432"/>
                  <a:pt x="1602" y="432"/>
                  <a:pt x="1564" y="434"/>
                </a:cubicBezTo>
                <a:lnTo>
                  <a:pt x="1564" y="448"/>
                </a:lnTo>
                <a:close/>
                <a:moveTo>
                  <a:pt x="1776" y="222"/>
                </a:moveTo>
                <a:cubicBezTo>
                  <a:pt x="1776" y="200"/>
                  <a:pt x="1796" y="188"/>
                  <a:pt x="1822" y="188"/>
                </a:cubicBezTo>
                <a:cubicBezTo>
                  <a:pt x="1874" y="188"/>
                  <a:pt x="1896" y="236"/>
                  <a:pt x="1900" y="252"/>
                </a:cubicBezTo>
                <a:cubicBezTo>
                  <a:pt x="1912" y="252"/>
                  <a:pt x="1912" y="252"/>
                  <a:pt x="1912" y="252"/>
                </a:cubicBezTo>
                <a:cubicBezTo>
                  <a:pt x="1912" y="212"/>
                  <a:pt x="1908" y="188"/>
                  <a:pt x="1904" y="184"/>
                </a:cubicBezTo>
                <a:cubicBezTo>
                  <a:pt x="1900" y="180"/>
                  <a:pt x="1862" y="170"/>
                  <a:pt x="1824" y="170"/>
                </a:cubicBezTo>
                <a:cubicBezTo>
                  <a:pt x="1768" y="170"/>
                  <a:pt x="1734" y="206"/>
                  <a:pt x="1734" y="248"/>
                </a:cubicBezTo>
                <a:cubicBezTo>
                  <a:pt x="1734" y="340"/>
                  <a:pt x="1890" y="322"/>
                  <a:pt x="1890" y="396"/>
                </a:cubicBezTo>
                <a:cubicBezTo>
                  <a:pt x="1890" y="422"/>
                  <a:pt x="1866" y="436"/>
                  <a:pt x="1826" y="436"/>
                </a:cubicBezTo>
                <a:cubicBezTo>
                  <a:pt x="1788" y="436"/>
                  <a:pt x="1754" y="416"/>
                  <a:pt x="1744" y="366"/>
                </a:cubicBezTo>
                <a:cubicBezTo>
                  <a:pt x="1728" y="366"/>
                  <a:pt x="1728" y="366"/>
                  <a:pt x="1728" y="366"/>
                </a:cubicBezTo>
                <a:cubicBezTo>
                  <a:pt x="1728" y="386"/>
                  <a:pt x="1732" y="422"/>
                  <a:pt x="1734" y="428"/>
                </a:cubicBezTo>
                <a:cubicBezTo>
                  <a:pt x="1744" y="446"/>
                  <a:pt x="1788" y="454"/>
                  <a:pt x="1824" y="454"/>
                </a:cubicBezTo>
                <a:cubicBezTo>
                  <a:pt x="1888" y="454"/>
                  <a:pt x="1928" y="416"/>
                  <a:pt x="1928" y="372"/>
                </a:cubicBezTo>
                <a:cubicBezTo>
                  <a:pt x="1932" y="270"/>
                  <a:pt x="1776" y="286"/>
                  <a:pt x="1776" y="222"/>
                </a:cubicBezTo>
                <a:moveTo>
                  <a:pt x="2030" y="270"/>
                </a:moveTo>
                <a:cubicBezTo>
                  <a:pt x="2034" y="220"/>
                  <a:pt x="2058" y="192"/>
                  <a:pt x="2102" y="192"/>
                </a:cubicBezTo>
                <a:cubicBezTo>
                  <a:pt x="2144" y="192"/>
                  <a:pt x="2170" y="220"/>
                  <a:pt x="2172" y="270"/>
                </a:cubicBezTo>
                <a:lnTo>
                  <a:pt x="2030" y="270"/>
                </a:lnTo>
                <a:close/>
                <a:moveTo>
                  <a:pt x="2030" y="290"/>
                </a:moveTo>
                <a:cubicBezTo>
                  <a:pt x="2222" y="290"/>
                  <a:pt x="2222" y="290"/>
                  <a:pt x="2222" y="290"/>
                </a:cubicBezTo>
                <a:cubicBezTo>
                  <a:pt x="2226" y="228"/>
                  <a:pt x="2192" y="168"/>
                  <a:pt x="2114" y="168"/>
                </a:cubicBezTo>
                <a:cubicBezTo>
                  <a:pt x="2034" y="168"/>
                  <a:pt x="1982" y="232"/>
                  <a:pt x="1982" y="320"/>
                </a:cubicBezTo>
                <a:cubicBezTo>
                  <a:pt x="1982" y="388"/>
                  <a:pt x="2018" y="456"/>
                  <a:pt x="2112" y="456"/>
                </a:cubicBezTo>
                <a:cubicBezTo>
                  <a:pt x="2150" y="456"/>
                  <a:pt x="2198" y="440"/>
                  <a:pt x="2224" y="412"/>
                </a:cubicBezTo>
                <a:cubicBezTo>
                  <a:pt x="2218" y="400"/>
                  <a:pt x="2218" y="400"/>
                  <a:pt x="2218" y="400"/>
                </a:cubicBezTo>
                <a:cubicBezTo>
                  <a:pt x="2192" y="416"/>
                  <a:pt x="2164" y="422"/>
                  <a:pt x="2138" y="422"/>
                </a:cubicBezTo>
                <a:cubicBezTo>
                  <a:pt x="2058" y="420"/>
                  <a:pt x="2028" y="352"/>
                  <a:pt x="2030" y="290"/>
                </a:cubicBezTo>
                <a:moveTo>
                  <a:pt x="2478" y="242"/>
                </a:moveTo>
                <a:cubicBezTo>
                  <a:pt x="2490" y="206"/>
                  <a:pt x="2510" y="192"/>
                  <a:pt x="2528" y="192"/>
                </a:cubicBezTo>
                <a:cubicBezTo>
                  <a:pt x="2528" y="180"/>
                  <a:pt x="2528" y="180"/>
                  <a:pt x="2528" y="180"/>
                </a:cubicBezTo>
                <a:cubicBezTo>
                  <a:pt x="2430" y="180"/>
                  <a:pt x="2430" y="180"/>
                  <a:pt x="2430" y="180"/>
                </a:cubicBezTo>
                <a:cubicBezTo>
                  <a:pt x="2430" y="192"/>
                  <a:pt x="2430" y="192"/>
                  <a:pt x="2430" y="192"/>
                </a:cubicBezTo>
                <a:cubicBezTo>
                  <a:pt x="2454" y="194"/>
                  <a:pt x="2466" y="206"/>
                  <a:pt x="2458" y="234"/>
                </a:cubicBezTo>
                <a:cubicBezTo>
                  <a:pt x="2406" y="390"/>
                  <a:pt x="2406" y="390"/>
                  <a:pt x="2406" y="390"/>
                </a:cubicBezTo>
                <a:cubicBezTo>
                  <a:pt x="2354" y="270"/>
                  <a:pt x="2354" y="270"/>
                  <a:pt x="2354" y="270"/>
                </a:cubicBezTo>
                <a:cubicBezTo>
                  <a:pt x="2340" y="238"/>
                  <a:pt x="2334" y="224"/>
                  <a:pt x="2334" y="212"/>
                </a:cubicBezTo>
                <a:cubicBezTo>
                  <a:pt x="2334" y="202"/>
                  <a:pt x="2340" y="196"/>
                  <a:pt x="2360" y="192"/>
                </a:cubicBezTo>
                <a:cubicBezTo>
                  <a:pt x="2360" y="180"/>
                  <a:pt x="2360" y="180"/>
                  <a:pt x="2360" y="180"/>
                </a:cubicBezTo>
                <a:cubicBezTo>
                  <a:pt x="2234" y="180"/>
                  <a:pt x="2234" y="180"/>
                  <a:pt x="2234" y="180"/>
                </a:cubicBezTo>
                <a:cubicBezTo>
                  <a:pt x="2234" y="192"/>
                  <a:pt x="2234" y="192"/>
                  <a:pt x="2234" y="192"/>
                </a:cubicBezTo>
                <a:cubicBezTo>
                  <a:pt x="2266" y="194"/>
                  <a:pt x="2268" y="198"/>
                  <a:pt x="2310" y="292"/>
                </a:cubicBezTo>
                <a:cubicBezTo>
                  <a:pt x="2382" y="450"/>
                  <a:pt x="2382" y="450"/>
                  <a:pt x="2382" y="450"/>
                </a:cubicBezTo>
                <a:cubicBezTo>
                  <a:pt x="2358" y="512"/>
                  <a:pt x="2320" y="546"/>
                  <a:pt x="2242" y="564"/>
                </a:cubicBezTo>
                <a:cubicBezTo>
                  <a:pt x="2246" y="576"/>
                  <a:pt x="2260" y="600"/>
                  <a:pt x="2268" y="606"/>
                </a:cubicBezTo>
                <a:cubicBezTo>
                  <a:pt x="2370" y="564"/>
                  <a:pt x="2390" y="498"/>
                  <a:pt x="2426" y="396"/>
                </a:cubicBezTo>
                <a:lnTo>
                  <a:pt x="2478" y="242"/>
                </a:lnTo>
                <a:close/>
                <a:moveTo>
                  <a:pt x="2844" y="394"/>
                </a:moveTo>
                <a:cubicBezTo>
                  <a:pt x="2822" y="412"/>
                  <a:pt x="2782" y="416"/>
                  <a:pt x="2750" y="416"/>
                </a:cubicBezTo>
                <a:cubicBezTo>
                  <a:pt x="2670" y="416"/>
                  <a:pt x="2606" y="360"/>
                  <a:pt x="2606" y="284"/>
                </a:cubicBezTo>
                <a:cubicBezTo>
                  <a:pt x="2606" y="236"/>
                  <a:pt x="2626" y="206"/>
                  <a:pt x="2658" y="198"/>
                </a:cubicBezTo>
                <a:cubicBezTo>
                  <a:pt x="2698" y="266"/>
                  <a:pt x="2770" y="338"/>
                  <a:pt x="2844" y="394"/>
                </a:cubicBezTo>
                <a:moveTo>
                  <a:pt x="2928" y="448"/>
                </a:moveTo>
                <a:cubicBezTo>
                  <a:pt x="3022" y="448"/>
                  <a:pt x="3022" y="448"/>
                  <a:pt x="3022" y="448"/>
                </a:cubicBezTo>
                <a:cubicBezTo>
                  <a:pt x="3022" y="436"/>
                  <a:pt x="3022" y="436"/>
                  <a:pt x="3022" y="436"/>
                </a:cubicBezTo>
                <a:cubicBezTo>
                  <a:pt x="2992" y="432"/>
                  <a:pt x="2946" y="408"/>
                  <a:pt x="2896" y="372"/>
                </a:cubicBezTo>
                <a:cubicBezTo>
                  <a:pt x="2914" y="342"/>
                  <a:pt x="2918" y="300"/>
                  <a:pt x="2922" y="270"/>
                </a:cubicBezTo>
                <a:cubicBezTo>
                  <a:pt x="2926" y="244"/>
                  <a:pt x="2946" y="244"/>
                  <a:pt x="2958" y="242"/>
                </a:cubicBezTo>
                <a:cubicBezTo>
                  <a:pt x="2958" y="230"/>
                  <a:pt x="2958" y="230"/>
                  <a:pt x="2958" y="230"/>
                </a:cubicBezTo>
                <a:cubicBezTo>
                  <a:pt x="2834" y="230"/>
                  <a:pt x="2834" y="230"/>
                  <a:pt x="2834" y="230"/>
                </a:cubicBezTo>
                <a:cubicBezTo>
                  <a:pt x="2834" y="242"/>
                  <a:pt x="2834" y="242"/>
                  <a:pt x="2834" y="242"/>
                </a:cubicBezTo>
                <a:cubicBezTo>
                  <a:pt x="2864" y="246"/>
                  <a:pt x="2892" y="250"/>
                  <a:pt x="2892" y="294"/>
                </a:cubicBezTo>
                <a:cubicBezTo>
                  <a:pt x="2892" y="318"/>
                  <a:pt x="2888" y="342"/>
                  <a:pt x="2878" y="358"/>
                </a:cubicBezTo>
                <a:cubicBezTo>
                  <a:pt x="2770" y="274"/>
                  <a:pt x="2670" y="156"/>
                  <a:pt x="2670" y="96"/>
                </a:cubicBezTo>
                <a:cubicBezTo>
                  <a:pt x="2670" y="66"/>
                  <a:pt x="2688" y="54"/>
                  <a:pt x="2716" y="54"/>
                </a:cubicBezTo>
                <a:cubicBezTo>
                  <a:pt x="2752" y="54"/>
                  <a:pt x="2784" y="78"/>
                  <a:pt x="2800" y="124"/>
                </a:cubicBezTo>
                <a:cubicBezTo>
                  <a:pt x="2812" y="124"/>
                  <a:pt x="2812" y="124"/>
                  <a:pt x="2812" y="124"/>
                </a:cubicBezTo>
                <a:cubicBezTo>
                  <a:pt x="2810" y="42"/>
                  <a:pt x="2810" y="42"/>
                  <a:pt x="2810" y="42"/>
                </a:cubicBezTo>
                <a:cubicBezTo>
                  <a:pt x="2798" y="42"/>
                  <a:pt x="2798" y="42"/>
                  <a:pt x="2798" y="42"/>
                </a:cubicBezTo>
                <a:cubicBezTo>
                  <a:pt x="2798" y="48"/>
                  <a:pt x="2792" y="52"/>
                  <a:pt x="2788" y="52"/>
                </a:cubicBezTo>
                <a:cubicBezTo>
                  <a:pt x="2772" y="52"/>
                  <a:pt x="2752" y="36"/>
                  <a:pt x="2714" y="36"/>
                </a:cubicBezTo>
                <a:cubicBezTo>
                  <a:pt x="2672" y="36"/>
                  <a:pt x="2630" y="62"/>
                  <a:pt x="2630" y="118"/>
                </a:cubicBezTo>
                <a:cubicBezTo>
                  <a:pt x="2630" y="140"/>
                  <a:pt x="2636" y="160"/>
                  <a:pt x="2648" y="182"/>
                </a:cubicBezTo>
                <a:cubicBezTo>
                  <a:pt x="2592" y="200"/>
                  <a:pt x="2562" y="248"/>
                  <a:pt x="2562" y="304"/>
                </a:cubicBezTo>
                <a:cubicBezTo>
                  <a:pt x="2562" y="406"/>
                  <a:pt x="2640" y="460"/>
                  <a:pt x="2726" y="460"/>
                </a:cubicBezTo>
                <a:cubicBezTo>
                  <a:pt x="2780" y="460"/>
                  <a:pt x="2824" y="444"/>
                  <a:pt x="2862" y="410"/>
                </a:cubicBezTo>
                <a:cubicBezTo>
                  <a:pt x="2888" y="424"/>
                  <a:pt x="2912" y="442"/>
                  <a:pt x="2928" y="448"/>
                </a:cubicBezTo>
                <a:moveTo>
                  <a:pt x="3094" y="212"/>
                </a:moveTo>
                <a:cubicBezTo>
                  <a:pt x="3094" y="88"/>
                  <a:pt x="3154" y="20"/>
                  <a:pt x="3252" y="20"/>
                </a:cubicBezTo>
                <a:cubicBezTo>
                  <a:pt x="3328" y="20"/>
                  <a:pt x="3372" y="58"/>
                  <a:pt x="3392" y="134"/>
                </a:cubicBezTo>
                <a:cubicBezTo>
                  <a:pt x="3404" y="134"/>
                  <a:pt x="3404" y="134"/>
                  <a:pt x="3404" y="134"/>
                </a:cubicBezTo>
                <a:cubicBezTo>
                  <a:pt x="3400" y="4"/>
                  <a:pt x="3400" y="4"/>
                  <a:pt x="3400" y="4"/>
                </a:cubicBezTo>
                <a:cubicBezTo>
                  <a:pt x="3388" y="4"/>
                  <a:pt x="3388" y="4"/>
                  <a:pt x="3388" y="4"/>
                </a:cubicBezTo>
                <a:cubicBezTo>
                  <a:pt x="3384" y="14"/>
                  <a:pt x="3376" y="18"/>
                  <a:pt x="3364" y="18"/>
                </a:cubicBezTo>
                <a:cubicBezTo>
                  <a:pt x="3338" y="18"/>
                  <a:pt x="3314" y="0"/>
                  <a:pt x="3248" y="0"/>
                </a:cubicBezTo>
                <a:cubicBezTo>
                  <a:pt x="3118" y="0"/>
                  <a:pt x="3030" y="102"/>
                  <a:pt x="3030" y="242"/>
                </a:cubicBezTo>
                <a:cubicBezTo>
                  <a:pt x="3030" y="376"/>
                  <a:pt x="3110" y="460"/>
                  <a:pt x="3238" y="460"/>
                </a:cubicBezTo>
                <a:cubicBezTo>
                  <a:pt x="3320" y="460"/>
                  <a:pt x="3384" y="420"/>
                  <a:pt x="3408" y="380"/>
                </a:cubicBezTo>
                <a:cubicBezTo>
                  <a:pt x="3396" y="366"/>
                  <a:pt x="3396" y="366"/>
                  <a:pt x="3396" y="366"/>
                </a:cubicBezTo>
                <a:cubicBezTo>
                  <a:pt x="3370" y="402"/>
                  <a:pt x="3314" y="426"/>
                  <a:pt x="3256" y="426"/>
                </a:cubicBezTo>
                <a:cubicBezTo>
                  <a:pt x="3156" y="426"/>
                  <a:pt x="3094" y="340"/>
                  <a:pt x="3094" y="212"/>
                </a:cubicBezTo>
                <a:moveTo>
                  <a:pt x="3678" y="328"/>
                </a:moveTo>
                <a:cubicBezTo>
                  <a:pt x="3678" y="392"/>
                  <a:pt x="3650" y="430"/>
                  <a:pt x="3592" y="430"/>
                </a:cubicBezTo>
                <a:cubicBezTo>
                  <a:pt x="3542" y="430"/>
                  <a:pt x="3496" y="384"/>
                  <a:pt x="3496" y="292"/>
                </a:cubicBezTo>
                <a:cubicBezTo>
                  <a:pt x="3496" y="226"/>
                  <a:pt x="3528" y="190"/>
                  <a:pt x="3580" y="190"/>
                </a:cubicBezTo>
                <a:cubicBezTo>
                  <a:pt x="3628" y="192"/>
                  <a:pt x="3678" y="238"/>
                  <a:pt x="3678" y="328"/>
                </a:cubicBezTo>
                <a:moveTo>
                  <a:pt x="3732" y="312"/>
                </a:moveTo>
                <a:cubicBezTo>
                  <a:pt x="3732" y="260"/>
                  <a:pt x="3710" y="214"/>
                  <a:pt x="3672" y="190"/>
                </a:cubicBezTo>
                <a:cubicBezTo>
                  <a:pt x="3650" y="176"/>
                  <a:pt x="3620" y="168"/>
                  <a:pt x="3588" y="168"/>
                </a:cubicBezTo>
                <a:cubicBezTo>
                  <a:pt x="3502" y="168"/>
                  <a:pt x="3442" y="230"/>
                  <a:pt x="3442" y="310"/>
                </a:cubicBezTo>
                <a:cubicBezTo>
                  <a:pt x="3442" y="364"/>
                  <a:pt x="3464" y="408"/>
                  <a:pt x="3502" y="432"/>
                </a:cubicBezTo>
                <a:cubicBezTo>
                  <a:pt x="3524" y="446"/>
                  <a:pt x="3554" y="452"/>
                  <a:pt x="3586" y="452"/>
                </a:cubicBezTo>
                <a:cubicBezTo>
                  <a:pt x="3672" y="454"/>
                  <a:pt x="3732" y="394"/>
                  <a:pt x="3732" y="312"/>
                </a:cubicBezTo>
                <a:moveTo>
                  <a:pt x="4136" y="448"/>
                </a:moveTo>
                <a:cubicBezTo>
                  <a:pt x="4280" y="448"/>
                  <a:pt x="4280" y="448"/>
                  <a:pt x="4280" y="448"/>
                </a:cubicBezTo>
                <a:cubicBezTo>
                  <a:pt x="4280" y="436"/>
                  <a:pt x="4280" y="436"/>
                  <a:pt x="4280" y="436"/>
                </a:cubicBezTo>
                <a:cubicBezTo>
                  <a:pt x="4230" y="434"/>
                  <a:pt x="4232" y="426"/>
                  <a:pt x="4232" y="348"/>
                </a:cubicBezTo>
                <a:cubicBezTo>
                  <a:pt x="4232" y="276"/>
                  <a:pt x="4232" y="276"/>
                  <a:pt x="4232" y="276"/>
                </a:cubicBezTo>
                <a:cubicBezTo>
                  <a:pt x="4232" y="200"/>
                  <a:pt x="4190" y="172"/>
                  <a:pt x="4142" y="172"/>
                </a:cubicBezTo>
                <a:cubicBezTo>
                  <a:pt x="4098" y="172"/>
                  <a:pt x="4064" y="196"/>
                  <a:pt x="4038" y="232"/>
                </a:cubicBezTo>
                <a:cubicBezTo>
                  <a:pt x="4028" y="194"/>
                  <a:pt x="4000" y="172"/>
                  <a:pt x="3954" y="172"/>
                </a:cubicBezTo>
                <a:cubicBezTo>
                  <a:pt x="3916" y="172"/>
                  <a:pt x="3880" y="196"/>
                  <a:pt x="3858" y="224"/>
                </a:cubicBezTo>
                <a:cubicBezTo>
                  <a:pt x="3858" y="176"/>
                  <a:pt x="3858" y="176"/>
                  <a:pt x="3858" y="176"/>
                </a:cubicBezTo>
                <a:cubicBezTo>
                  <a:pt x="3756" y="176"/>
                  <a:pt x="3756" y="176"/>
                  <a:pt x="3756" y="176"/>
                </a:cubicBezTo>
                <a:cubicBezTo>
                  <a:pt x="3756" y="188"/>
                  <a:pt x="3756" y="188"/>
                  <a:pt x="3756" y="188"/>
                </a:cubicBezTo>
                <a:cubicBezTo>
                  <a:pt x="3800" y="190"/>
                  <a:pt x="3806" y="192"/>
                  <a:pt x="3806" y="268"/>
                </a:cubicBezTo>
                <a:cubicBezTo>
                  <a:pt x="3806" y="346"/>
                  <a:pt x="3806" y="346"/>
                  <a:pt x="3806" y="346"/>
                </a:cubicBezTo>
                <a:cubicBezTo>
                  <a:pt x="3806" y="434"/>
                  <a:pt x="3804" y="434"/>
                  <a:pt x="3758" y="434"/>
                </a:cubicBezTo>
                <a:cubicBezTo>
                  <a:pt x="3758" y="446"/>
                  <a:pt x="3758" y="446"/>
                  <a:pt x="3758" y="446"/>
                </a:cubicBezTo>
                <a:cubicBezTo>
                  <a:pt x="3902" y="446"/>
                  <a:pt x="3902" y="446"/>
                  <a:pt x="3902" y="446"/>
                </a:cubicBezTo>
                <a:cubicBezTo>
                  <a:pt x="3902" y="434"/>
                  <a:pt x="3902" y="434"/>
                  <a:pt x="3902" y="434"/>
                </a:cubicBezTo>
                <a:cubicBezTo>
                  <a:pt x="3862" y="430"/>
                  <a:pt x="3858" y="430"/>
                  <a:pt x="3858" y="342"/>
                </a:cubicBezTo>
                <a:cubicBezTo>
                  <a:pt x="3858" y="262"/>
                  <a:pt x="3858" y="262"/>
                  <a:pt x="3858" y="262"/>
                </a:cubicBezTo>
                <a:cubicBezTo>
                  <a:pt x="3858" y="234"/>
                  <a:pt x="3894" y="204"/>
                  <a:pt x="3932" y="204"/>
                </a:cubicBezTo>
                <a:cubicBezTo>
                  <a:pt x="3974" y="204"/>
                  <a:pt x="3990" y="226"/>
                  <a:pt x="3990" y="282"/>
                </a:cubicBezTo>
                <a:cubicBezTo>
                  <a:pt x="3990" y="338"/>
                  <a:pt x="3990" y="338"/>
                  <a:pt x="3990" y="338"/>
                </a:cubicBezTo>
                <a:cubicBezTo>
                  <a:pt x="3990" y="428"/>
                  <a:pt x="3988" y="432"/>
                  <a:pt x="3950" y="436"/>
                </a:cubicBezTo>
                <a:cubicBezTo>
                  <a:pt x="3950" y="448"/>
                  <a:pt x="3950" y="448"/>
                  <a:pt x="3950" y="448"/>
                </a:cubicBezTo>
                <a:cubicBezTo>
                  <a:pt x="4086" y="448"/>
                  <a:pt x="4086" y="448"/>
                  <a:pt x="4086" y="448"/>
                </a:cubicBezTo>
                <a:cubicBezTo>
                  <a:pt x="4086" y="436"/>
                  <a:pt x="4086" y="436"/>
                  <a:pt x="4086" y="436"/>
                </a:cubicBezTo>
                <a:cubicBezTo>
                  <a:pt x="4040" y="432"/>
                  <a:pt x="4042" y="428"/>
                  <a:pt x="4042" y="342"/>
                </a:cubicBezTo>
                <a:cubicBezTo>
                  <a:pt x="4042" y="264"/>
                  <a:pt x="4042" y="264"/>
                  <a:pt x="4042" y="264"/>
                </a:cubicBezTo>
                <a:cubicBezTo>
                  <a:pt x="4042" y="236"/>
                  <a:pt x="4078" y="206"/>
                  <a:pt x="4118" y="206"/>
                </a:cubicBezTo>
                <a:cubicBezTo>
                  <a:pt x="4152" y="206"/>
                  <a:pt x="4174" y="226"/>
                  <a:pt x="4174" y="284"/>
                </a:cubicBezTo>
                <a:cubicBezTo>
                  <a:pt x="4174" y="346"/>
                  <a:pt x="4174" y="346"/>
                  <a:pt x="4174" y="346"/>
                </a:cubicBezTo>
                <a:cubicBezTo>
                  <a:pt x="4174" y="428"/>
                  <a:pt x="4174" y="432"/>
                  <a:pt x="4134" y="436"/>
                </a:cubicBezTo>
                <a:cubicBezTo>
                  <a:pt x="4134" y="448"/>
                  <a:pt x="4134" y="448"/>
                  <a:pt x="4134" y="448"/>
                </a:cubicBezTo>
                <a:lnTo>
                  <a:pt x="4136" y="448"/>
                </a:lnTo>
                <a:close/>
                <a:moveTo>
                  <a:pt x="4546" y="316"/>
                </a:moveTo>
                <a:cubicBezTo>
                  <a:pt x="4546" y="388"/>
                  <a:pt x="4516" y="432"/>
                  <a:pt x="4460" y="432"/>
                </a:cubicBezTo>
                <a:cubicBezTo>
                  <a:pt x="4424" y="432"/>
                  <a:pt x="4384" y="412"/>
                  <a:pt x="4384" y="384"/>
                </a:cubicBezTo>
                <a:cubicBezTo>
                  <a:pt x="4384" y="248"/>
                  <a:pt x="4384" y="248"/>
                  <a:pt x="4384" y="248"/>
                </a:cubicBezTo>
                <a:cubicBezTo>
                  <a:pt x="4384" y="226"/>
                  <a:pt x="4416" y="202"/>
                  <a:pt x="4454" y="202"/>
                </a:cubicBezTo>
                <a:cubicBezTo>
                  <a:pt x="4510" y="206"/>
                  <a:pt x="4546" y="248"/>
                  <a:pt x="4546" y="316"/>
                </a:cubicBezTo>
                <a:moveTo>
                  <a:pt x="4600" y="310"/>
                </a:moveTo>
                <a:cubicBezTo>
                  <a:pt x="4600" y="230"/>
                  <a:pt x="4548" y="170"/>
                  <a:pt x="4478" y="170"/>
                </a:cubicBezTo>
                <a:cubicBezTo>
                  <a:pt x="4438" y="170"/>
                  <a:pt x="4406" y="188"/>
                  <a:pt x="4384" y="214"/>
                </a:cubicBezTo>
                <a:cubicBezTo>
                  <a:pt x="4384" y="174"/>
                  <a:pt x="4384" y="174"/>
                  <a:pt x="4384" y="174"/>
                </a:cubicBezTo>
                <a:cubicBezTo>
                  <a:pt x="4284" y="174"/>
                  <a:pt x="4284" y="174"/>
                  <a:pt x="4284" y="174"/>
                </a:cubicBezTo>
                <a:cubicBezTo>
                  <a:pt x="4284" y="186"/>
                  <a:pt x="4284" y="186"/>
                  <a:pt x="4284" y="186"/>
                </a:cubicBezTo>
                <a:cubicBezTo>
                  <a:pt x="4326" y="188"/>
                  <a:pt x="4332" y="190"/>
                  <a:pt x="4332" y="280"/>
                </a:cubicBezTo>
                <a:cubicBezTo>
                  <a:pt x="4332" y="466"/>
                  <a:pt x="4332" y="466"/>
                  <a:pt x="4332" y="466"/>
                </a:cubicBezTo>
                <a:cubicBezTo>
                  <a:pt x="4332" y="564"/>
                  <a:pt x="4334" y="570"/>
                  <a:pt x="4286" y="574"/>
                </a:cubicBezTo>
                <a:cubicBezTo>
                  <a:pt x="4286" y="588"/>
                  <a:pt x="4286" y="588"/>
                  <a:pt x="4286" y="588"/>
                </a:cubicBezTo>
                <a:cubicBezTo>
                  <a:pt x="4432" y="588"/>
                  <a:pt x="4432" y="588"/>
                  <a:pt x="4432" y="588"/>
                </a:cubicBezTo>
                <a:cubicBezTo>
                  <a:pt x="4432" y="574"/>
                  <a:pt x="4432" y="574"/>
                  <a:pt x="4432" y="574"/>
                </a:cubicBezTo>
                <a:cubicBezTo>
                  <a:pt x="4380" y="572"/>
                  <a:pt x="4384" y="564"/>
                  <a:pt x="4384" y="462"/>
                </a:cubicBezTo>
                <a:cubicBezTo>
                  <a:pt x="4384" y="424"/>
                  <a:pt x="4384" y="424"/>
                  <a:pt x="4384" y="424"/>
                </a:cubicBezTo>
                <a:cubicBezTo>
                  <a:pt x="4404" y="444"/>
                  <a:pt x="4436" y="454"/>
                  <a:pt x="4466" y="454"/>
                </a:cubicBezTo>
                <a:cubicBezTo>
                  <a:pt x="4548" y="454"/>
                  <a:pt x="4600" y="392"/>
                  <a:pt x="4600" y="310"/>
                </a:cubicBezTo>
                <a:moveTo>
                  <a:pt x="4792" y="382"/>
                </a:moveTo>
                <a:cubicBezTo>
                  <a:pt x="4792" y="404"/>
                  <a:pt x="4762" y="424"/>
                  <a:pt x="4736" y="424"/>
                </a:cubicBezTo>
                <a:cubicBezTo>
                  <a:pt x="4712" y="424"/>
                  <a:pt x="4694" y="410"/>
                  <a:pt x="4694" y="378"/>
                </a:cubicBezTo>
                <a:cubicBezTo>
                  <a:pt x="4694" y="322"/>
                  <a:pt x="4752" y="328"/>
                  <a:pt x="4792" y="306"/>
                </a:cubicBezTo>
                <a:cubicBezTo>
                  <a:pt x="4792" y="382"/>
                  <a:pt x="4792" y="382"/>
                  <a:pt x="4792" y="382"/>
                </a:cubicBezTo>
                <a:close/>
                <a:moveTo>
                  <a:pt x="5240" y="434"/>
                </a:moveTo>
                <a:cubicBezTo>
                  <a:pt x="5192" y="432"/>
                  <a:pt x="5192" y="430"/>
                  <a:pt x="5192" y="340"/>
                </a:cubicBezTo>
                <a:cubicBezTo>
                  <a:pt x="5192" y="278"/>
                  <a:pt x="5192" y="278"/>
                  <a:pt x="5192" y="278"/>
                </a:cubicBezTo>
                <a:cubicBezTo>
                  <a:pt x="5192" y="196"/>
                  <a:pt x="5146" y="170"/>
                  <a:pt x="5104" y="170"/>
                </a:cubicBezTo>
                <a:cubicBezTo>
                  <a:pt x="5068" y="170"/>
                  <a:pt x="5032" y="186"/>
                  <a:pt x="5004" y="222"/>
                </a:cubicBezTo>
                <a:cubicBezTo>
                  <a:pt x="5004" y="174"/>
                  <a:pt x="5004" y="174"/>
                  <a:pt x="5004" y="174"/>
                </a:cubicBezTo>
                <a:cubicBezTo>
                  <a:pt x="4902" y="174"/>
                  <a:pt x="4902" y="174"/>
                  <a:pt x="4902" y="174"/>
                </a:cubicBezTo>
                <a:cubicBezTo>
                  <a:pt x="4902" y="186"/>
                  <a:pt x="4902" y="186"/>
                  <a:pt x="4902" y="186"/>
                </a:cubicBezTo>
                <a:cubicBezTo>
                  <a:pt x="4946" y="188"/>
                  <a:pt x="4952" y="190"/>
                  <a:pt x="4952" y="266"/>
                </a:cubicBezTo>
                <a:cubicBezTo>
                  <a:pt x="4952" y="334"/>
                  <a:pt x="4952" y="334"/>
                  <a:pt x="4952" y="334"/>
                </a:cubicBezTo>
                <a:cubicBezTo>
                  <a:pt x="4952" y="430"/>
                  <a:pt x="4952" y="432"/>
                  <a:pt x="4904" y="434"/>
                </a:cubicBezTo>
                <a:cubicBezTo>
                  <a:pt x="4892" y="434"/>
                  <a:pt x="4892" y="434"/>
                  <a:pt x="4892" y="434"/>
                </a:cubicBezTo>
                <a:cubicBezTo>
                  <a:pt x="4854" y="434"/>
                  <a:pt x="4850" y="422"/>
                  <a:pt x="4850" y="366"/>
                </a:cubicBezTo>
                <a:cubicBezTo>
                  <a:pt x="4850" y="274"/>
                  <a:pt x="4850" y="274"/>
                  <a:pt x="4850" y="274"/>
                </a:cubicBezTo>
                <a:cubicBezTo>
                  <a:pt x="4850" y="256"/>
                  <a:pt x="4848" y="240"/>
                  <a:pt x="4844" y="228"/>
                </a:cubicBezTo>
                <a:cubicBezTo>
                  <a:pt x="4830" y="186"/>
                  <a:pt x="4796" y="170"/>
                  <a:pt x="4748" y="170"/>
                </a:cubicBezTo>
                <a:cubicBezTo>
                  <a:pt x="4718" y="170"/>
                  <a:pt x="4674" y="180"/>
                  <a:pt x="4650" y="202"/>
                </a:cubicBezTo>
                <a:cubicBezTo>
                  <a:pt x="4652" y="214"/>
                  <a:pt x="4664" y="240"/>
                  <a:pt x="4670" y="248"/>
                </a:cubicBezTo>
                <a:cubicBezTo>
                  <a:pt x="4676" y="246"/>
                  <a:pt x="4676" y="246"/>
                  <a:pt x="4676" y="246"/>
                </a:cubicBezTo>
                <a:cubicBezTo>
                  <a:pt x="4688" y="216"/>
                  <a:pt x="4708" y="194"/>
                  <a:pt x="4742" y="194"/>
                </a:cubicBezTo>
                <a:cubicBezTo>
                  <a:pt x="4778" y="194"/>
                  <a:pt x="4794" y="220"/>
                  <a:pt x="4794" y="250"/>
                </a:cubicBezTo>
                <a:cubicBezTo>
                  <a:pt x="4794" y="282"/>
                  <a:pt x="4794" y="282"/>
                  <a:pt x="4794" y="282"/>
                </a:cubicBezTo>
                <a:cubicBezTo>
                  <a:pt x="4794" y="302"/>
                  <a:pt x="4702" y="306"/>
                  <a:pt x="4664" y="338"/>
                </a:cubicBezTo>
                <a:cubicBezTo>
                  <a:pt x="4652" y="350"/>
                  <a:pt x="4642" y="364"/>
                  <a:pt x="4642" y="384"/>
                </a:cubicBezTo>
                <a:cubicBezTo>
                  <a:pt x="4642" y="426"/>
                  <a:pt x="4672" y="456"/>
                  <a:pt x="4716" y="456"/>
                </a:cubicBezTo>
                <a:cubicBezTo>
                  <a:pt x="4744" y="456"/>
                  <a:pt x="4768" y="446"/>
                  <a:pt x="4794" y="418"/>
                </a:cubicBezTo>
                <a:cubicBezTo>
                  <a:pt x="4798" y="438"/>
                  <a:pt x="4814" y="448"/>
                  <a:pt x="4842" y="448"/>
                </a:cubicBezTo>
                <a:cubicBezTo>
                  <a:pt x="4906" y="448"/>
                  <a:pt x="4906" y="448"/>
                  <a:pt x="4906" y="448"/>
                </a:cubicBezTo>
                <a:cubicBezTo>
                  <a:pt x="4906" y="448"/>
                  <a:pt x="4906" y="448"/>
                  <a:pt x="4906" y="448"/>
                </a:cubicBezTo>
                <a:cubicBezTo>
                  <a:pt x="5048" y="448"/>
                  <a:pt x="5048" y="448"/>
                  <a:pt x="5048" y="448"/>
                </a:cubicBezTo>
                <a:cubicBezTo>
                  <a:pt x="5048" y="436"/>
                  <a:pt x="5048" y="436"/>
                  <a:pt x="5048" y="436"/>
                </a:cubicBezTo>
                <a:cubicBezTo>
                  <a:pt x="5006" y="432"/>
                  <a:pt x="5004" y="434"/>
                  <a:pt x="5004" y="338"/>
                </a:cubicBezTo>
                <a:cubicBezTo>
                  <a:pt x="5004" y="262"/>
                  <a:pt x="5004" y="262"/>
                  <a:pt x="5004" y="262"/>
                </a:cubicBezTo>
                <a:cubicBezTo>
                  <a:pt x="5004" y="236"/>
                  <a:pt x="5038" y="206"/>
                  <a:pt x="5080" y="206"/>
                </a:cubicBezTo>
                <a:cubicBezTo>
                  <a:pt x="5114" y="206"/>
                  <a:pt x="5140" y="220"/>
                  <a:pt x="5140" y="286"/>
                </a:cubicBezTo>
                <a:cubicBezTo>
                  <a:pt x="5140" y="340"/>
                  <a:pt x="5140" y="340"/>
                  <a:pt x="5140" y="340"/>
                </a:cubicBezTo>
                <a:cubicBezTo>
                  <a:pt x="5140" y="432"/>
                  <a:pt x="5136" y="432"/>
                  <a:pt x="5098" y="434"/>
                </a:cubicBezTo>
                <a:cubicBezTo>
                  <a:pt x="5098" y="446"/>
                  <a:pt x="5098" y="446"/>
                  <a:pt x="5098" y="446"/>
                </a:cubicBezTo>
                <a:cubicBezTo>
                  <a:pt x="5240" y="446"/>
                  <a:pt x="5240" y="446"/>
                  <a:pt x="5240" y="446"/>
                </a:cubicBezTo>
                <a:lnTo>
                  <a:pt x="5240" y="434"/>
                </a:lnTo>
                <a:close/>
                <a:moveTo>
                  <a:pt x="5516" y="192"/>
                </a:moveTo>
                <a:cubicBezTo>
                  <a:pt x="5516" y="180"/>
                  <a:pt x="5516" y="180"/>
                  <a:pt x="5516" y="180"/>
                </a:cubicBezTo>
                <a:cubicBezTo>
                  <a:pt x="5418" y="180"/>
                  <a:pt x="5418" y="180"/>
                  <a:pt x="5418" y="180"/>
                </a:cubicBezTo>
                <a:cubicBezTo>
                  <a:pt x="5418" y="192"/>
                  <a:pt x="5418" y="192"/>
                  <a:pt x="5418" y="192"/>
                </a:cubicBezTo>
                <a:cubicBezTo>
                  <a:pt x="5442" y="194"/>
                  <a:pt x="5454" y="206"/>
                  <a:pt x="5446" y="234"/>
                </a:cubicBezTo>
                <a:cubicBezTo>
                  <a:pt x="5394" y="390"/>
                  <a:pt x="5394" y="390"/>
                  <a:pt x="5394" y="390"/>
                </a:cubicBezTo>
                <a:cubicBezTo>
                  <a:pt x="5342" y="270"/>
                  <a:pt x="5342" y="270"/>
                  <a:pt x="5342" y="270"/>
                </a:cubicBezTo>
                <a:cubicBezTo>
                  <a:pt x="5328" y="238"/>
                  <a:pt x="5322" y="224"/>
                  <a:pt x="5322" y="212"/>
                </a:cubicBezTo>
                <a:cubicBezTo>
                  <a:pt x="5322" y="202"/>
                  <a:pt x="5328" y="196"/>
                  <a:pt x="5348" y="192"/>
                </a:cubicBezTo>
                <a:cubicBezTo>
                  <a:pt x="5348" y="180"/>
                  <a:pt x="5348" y="180"/>
                  <a:pt x="5348" y="180"/>
                </a:cubicBezTo>
                <a:cubicBezTo>
                  <a:pt x="5220" y="180"/>
                  <a:pt x="5220" y="180"/>
                  <a:pt x="5220" y="180"/>
                </a:cubicBezTo>
                <a:cubicBezTo>
                  <a:pt x="5220" y="192"/>
                  <a:pt x="5220" y="192"/>
                  <a:pt x="5220" y="192"/>
                </a:cubicBezTo>
                <a:cubicBezTo>
                  <a:pt x="5252" y="194"/>
                  <a:pt x="5254" y="198"/>
                  <a:pt x="5296" y="292"/>
                </a:cubicBezTo>
                <a:cubicBezTo>
                  <a:pt x="5368" y="450"/>
                  <a:pt x="5368" y="450"/>
                  <a:pt x="5368" y="450"/>
                </a:cubicBezTo>
                <a:cubicBezTo>
                  <a:pt x="5344" y="512"/>
                  <a:pt x="5306" y="546"/>
                  <a:pt x="5228" y="564"/>
                </a:cubicBezTo>
                <a:cubicBezTo>
                  <a:pt x="5232" y="576"/>
                  <a:pt x="5246" y="600"/>
                  <a:pt x="5254" y="606"/>
                </a:cubicBezTo>
                <a:cubicBezTo>
                  <a:pt x="5356" y="564"/>
                  <a:pt x="5376" y="498"/>
                  <a:pt x="5412" y="396"/>
                </a:cubicBezTo>
                <a:cubicBezTo>
                  <a:pt x="5466" y="242"/>
                  <a:pt x="5466" y="242"/>
                  <a:pt x="5466" y="242"/>
                </a:cubicBezTo>
                <a:cubicBezTo>
                  <a:pt x="5478" y="206"/>
                  <a:pt x="5498" y="192"/>
                  <a:pt x="5516" y="192"/>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600" kern="1200">
                <a:solidFill>
                  <a:schemeClr val="tx1"/>
                </a:solidFill>
                <a:latin typeface="Arial" charset="0"/>
                <a:ea typeface="+mn-ea"/>
                <a:cs typeface="+mn-cs"/>
              </a:defRPr>
            </a:lvl1pPr>
            <a:lvl2pPr marL="457200" algn="l" rtl="0" fontAlgn="base">
              <a:spcBef>
                <a:spcPct val="0"/>
              </a:spcBef>
              <a:spcAft>
                <a:spcPct val="0"/>
              </a:spcAft>
              <a:defRPr sz="1600" kern="1200">
                <a:solidFill>
                  <a:schemeClr val="tx1"/>
                </a:solidFill>
                <a:latin typeface="Arial" charset="0"/>
                <a:ea typeface="+mn-ea"/>
                <a:cs typeface="+mn-cs"/>
              </a:defRPr>
            </a:lvl2pPr>
            <a:lvl3pPr marL="914400" algn="l" rtl="0" fontAlgn="base">
              <a:spcBef>
                <a:spcPct val="0"/>
              </a:spcBef>
              <a:spcAft>
                <a:spcPct val="0"/>
              </a:spcAft>
              <a:defRPr sz="1600" kern="1200">
                <a:solidFill>
                  <a:schemeClr val="tx1"/>
                </a:solidFill>
                <a:latin typeface="Arial" charset="0"/>
                <a:ea typeface="+mn-ea"/>
                <a:cs typeface="+mn-cs"/>
              </a:defRPr>
            </a:lvl3pPr>
            <a:lvl4pPr marL="1371600" algn="l" rtl="0" fontAlgn="base">
              <a:spcBef>
                <a:spcPct val="0"/>
              </a:spcBef>
              <a:spcAft>
                <a:spcPct val="0"/>
              </a:spcAft>
              <a:defRPr sz="1600" kern="1200">
                <a:solidFill>
                  <a:schemeClr val="tx1"/>
                </a:solidFill>
                <a:latin typeface="Arial" charset="0"/>
                <a:ea typeface="+mn-ea"/>
                <a:cs typeface="+mn-cs"/>
              </a:defRPr>
            </a:lvl4pPr>
            <a:lvl5pPr marL="1828800" algn="l" rtl="0" fontAlgn="base">
              <a:spcBef>
                <a:spcPct val="0"/>
              </a:spcBef>
              <a:spcAft>
                <a:spcPct val="0"/>
              </a:spcAft>
              <a:defRPr sz="1600" kern="1200">
                <a:solidFill>
                  <a:schemeClr val="tx1"/>
                </a:solidFill>
                <a:latin typeface="Arial" charset="0"/>
                <a:ea typeface="+mn-ea"/>
                <a:cs typeface="+mn-cs"/>
              </a:defRPr>
            </a:lvl5pPr>
            <a:lvl6pPr marL="2286000" algn="l" defTabSz="914400" rtl="0" eaLnBrk="1" latinLnBrk="0" hangingPunct="1">
              <a:defRPr sz="1600" kern="1200">
                <a:solidFill>
                  <a:schemeClr val="tx1"/>
                </a:solidFill>
                <a:latin typeface="Arial" charset="0"/>
                <a:ea typeface="+mn-ea"/>
                <a:cs typeface="+mn-cs"/>
              </a:defRPr>
            </a:lvl6pPr>
            <a:lvl7pPr marL="2743200" algn="l" defTabSz="914400" rtl="0" eaLnBrk="1" latinLnBrk="0" hangingPunct="1">
              <a:defRPr sz="1600" kern="1200">
                <a:solidFill>
                  <a:schemeClr val="tx1"/>
                </a:solidFill>
                <a:latin typeface="Arial" charset="0"/>
                <a:ea typeface="+mn-ea"/>
                <a:cs typeface="+mn-cs"/>
              </a:defRPr>
            </a:lvl7pPr>
            <a:lvl8pPr marL="3200400" algn="l" defTabSz="914400" rtl="0" eaLnBrk="1" latinLnBrk="0" hangingPunct="1">
              <a:defRPr sz="1600" kern="1200">
                <a:solidFill>
                  <a:schemeClr val="tx1"/>
                </a:solidFill>
                <a:latin typeface="Arial" charset="0"/>
                <a:ea typeface="+mn-ea"/>
                <a:cs typeface="+mn-cs"/>
              </a:defRPr>
            </a:lvl8pPr>
            <a:lvl9pPr marL="3657600" algn="l" defTabSz="914400" rtl="0" eaLnBrk="1" latinLnBrk="0" hangingPunct="1">
              <a:defRPr sz="1600" kern="1200">
                <a:solidFill>
                  <a:schemeClr val="tx1"/>
                </a:solidFill>
                <a:latin typeface="Arial" charset="0"/>
                <a:ea typeface="+mn-ea"/>
                <a:cs typeface="+mn-cs"/>
              </a:defRPr>
            </a:lvl9pPr>
          </a:lstStyle>
          <a:p>
            <a:endParaRPr lang="en-US" baseline="0" dirty="0">
              <a:solidFill>
                <a:srgbClr val="000000"/>
              </a:solidFill>
              <a:latin typeface="+mn-lt"/>
            </a:endParaRPr>
          </a:p>
        </p:txBody>
      </p:sp>
      <p:sp>
        <p:nvSpPr>
          <p:cNvPr id="27" name="Disclaimer-English (United States)" hidden="1"/>
          <p:cNvSpPr>
            <a:spLocks noChangeArrowheads="1"/>
          </p:cNvSpPr>
          <p:nvPr/>
        </p:nvSpPr>
        <p:spPr bwMode="black">
          <a:xfrm>
            <a:off x="2268266" y="6287785"/>
            <a:ext cx="3544453" cy="36908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t" anchorCtr="0">
            <a:noAutofit/>
          </a:bodyPr>
          <a:lstStyle/>
          <a:p>
            <a:pPr defTabSz="804863" eaLnBrk="0" hangingPunct="0"/>
            <a:r>
              <a:rPr lang="en-US" sz="800" baseline="0" dirty="0">
                <a:solidFill>
                  <a:srgbClr val="FFFFFF"/>
                </a:solidFill>
                <a:latin typeface="+mn-lt"/>
              </a:rPr>
              <a:t>CONFIDENTIAL AND PROPRIETARY</a:t>
            </a:r>
          </a:p>
          <a:p>
            <a:pPr defTabSz="804863" eaLnBrk="0" hangingPunct="0"/>
            <a:r>
              <a:rPr lang="en-US" sz="800" baseline="0" dirty="0">
                <a:solidFill>
                  <a:srgbClr val="FFFFFF"/>
                </a:solidFill>
                <a:latin typeface="+mn-lt"/>
              </a:rPr>
              <a:t>Any use of this material without specific permission of McKinsey &amp; Company is strictly prohibited</a:t>
            </a:r>
          </a:p>
        </p:txBody>
      </p:sp>
    </p:spTree>
    <p:extLst>
      <p:ext uri="{BB962C8B-B14F-4D97-AF65-F5344CB8AC3E}">
        <p14:creationId xmlns:p14="http://schemas.microsoft.com/office/powerpoint/2010/main" val="1750832389"/>
      </p:ext>
    </p:extLst>
  </p:cSld>
  <p:clrMapOvr>
    <a:masterClrMapping/>
  </p:clrMapOvr>
  <p:extLst mod="1">
    <p:ext uri="{DCECCB84-F9BA-43D5-87BE-67443E8EF086}">
      <p15:sldGuideLst xmlns:p15="http://schemas.microsoft.com/office/powerpoint/2012/main">
        <p15:guide id="1" orient="horz" pos="2117">
          <p15:clr>
            <a:srgbClr val="FBAE40"/>
          </p15:clr>
        </p15:guide>
        <p15:guide id="2" pos="1416">
          <p15:clr>
            <a:srgbClr val="FBAE40"/>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6E228F5-5CF1-42E1-9748-97D7582A107A}"/>
              </a:ext>
            </a:extLst>
          </p:cNvPr>
          <p:cNvGraphicFramePr>
            <a:graphicFrameLocks noChangeAspect="1"/>
          </p:cNvGraphicFramePr>
          <p:nvPr>
            <p:custDataLst>
              <p:tags r:id="rId2"/>
            </p:custDataLst>
            <p:extLst>
              <p:ext uri="{D42A27DB-BD31-4B8C-83A1-F6EECF244321}">
                <p14:modId xmlns:p14="http://schemas.microsoft.com/office/powerpoint/2010/main" val="66023647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6932" name="think-cell Slide" r:id="rId5" imgW="353" imgH="353" progId="TCLayout.ActiveDocument.1">
                  <p:embed/>
                </p:oleObj>
              </mc:Choice>
              <mc:Fallback>
                <p:oleObj name="think-cell Slide" r:id="rId5" imgW="353" imgH="353" progId="TCLayout.ActiveDocument.1">
                  <p:embed/>
                  <p:pic>
                    <p:nvPicPr>
                      <p:cNvPr id="3" name="Object 2" hidden="1">
                        <a:extLst>
                          <a:ext uri="{FF2B5EF4-FFF2-40B4-BE49-F238E27FC236}">
                            <a16:creationId xmlns:a16="http://schemas.microsoft.com/office/drawing/2014/main" id="{C6E228F5-5CF1-42E1-9748-97D7582A107A}"/>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2. Slide Title"/>
          <p:cNvSpPr>
            <a:spLocks noGrp="1"/>
          </p:cNvSpPr>
          <p:nvPr>
            <p:ph type="title"/>
          </p:nvPr>
        </p:nvSpPr>
        <p:spPr bwMode="auto"/>
        <p:txBody>
          <a:bodyPr/>
          <a:lstStyle/>
          <a:p>
            <a:r>
              <a:rPr lang="en-US"/>
              <a:t>Click to edit Master title style</a:t>
            </a:r>
            <a:endParaRPr lang="en-US" dirty="0"/>
          </a:p>
        </p:txBody>
      </p:sp>
      <p:sp>
        <p:nvSpPr>
          <p:cNvPr id="8" name="Slide Number"/>
          <p:cNvSpPr txBox="1">
            <a:spLocks/>
          </p:cNvSpPr>
          <p:nvPr/>
        </p:nvSpPr>
        <p:spPr bwMode="auto">
          <a:xfrm>
            <a:off x="8564563" y="6508272"/>
            <a:ext cx="125034" cy="123111"/>
          </a:xfrm>
          <a:prstGeom prst="rect">
            <a:avLst/>
          </a:prstGeom>
        </p:spPr>
        <p:txBody>
          <a:bodyPr vert="horz" wrap="none" lIns="0" tIns="0" rIns="0" bIns="0" rtlCol="0" anchor="ctr">
            <a:spAutoFit/>
          </a:bodyPr>
          <a:lstStyle>
            <a:defPPr>
              <a:defRPr lang="en-US"/>
            </a:defPPr>
            <a:lvl1pPr>
              <a:defRPr sz="1000" baseline="0">
                <a:latin typeface="+mn-lt"/>
              </a:defRPr>
            </a:lvl1pPr>
          </a:lstStyle>
          <a:p>
            <a:fld id="{42C328C1-A84F-4A39-A664-DBA00541A8C6}" type="slidenum">
              <a:rPr lang="en-US" sz="800" baseline="0" smtClean="0">
                <a:solidFill>
                  <a:srgbClr val="808080"/>
                </a:solidFill>
                <a:latin typeface="+mn-lt"/>
              </a:rPr>
              <a:pPr/>
              <a:t>‹#›</a:t>
            </a:fld>
            <a:endParaRPr lang="en-US" sz="800" baseline="0" dirty="0">
              <a:solidFill>
                <a:srgbClr val="808080"/>
              </a:solidFill>
              <a:latin typeface="+mn-lt"/>
            </a:endParaRPr>
          </a:p>
        </p:txBody>
      </p:sp>
      <p:sp>
        <p:nvSpPr>
          <p:cNvPr id="9" name="SlideLogoText"/>
          <p:cNvSpPr>
            <a:spLocks noChangeArrowheads="1"/>
          </p:cNvSpPr>
          <p:nvPr>
            <p:custDataLst>
              <p:tags r:id="rId3"/>
            </p:custDataLst>
          </p:nvPr>
        </p:nvSpPr>
        <p:spPr bwMode="auto">
          <a:xfrm>
            <a:off x="7450817" y="6508272"/>
            <a:ext cx="1013098"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algn="r" defTabSz="895350"/>
            <a:r>
              <a:rPr lang="en-US" sz="800" baseline="0" dirty="0">
                <a:solidFill>
                  <a:srgbClr val="808080"/>
                </a:solidFill>
                <a:latin typeface="+mn-lt"/>
              </a:rPr>
              <a:t>McKinsey &amp; Company</a:t>
            </a:r>
          </a:p>
        </p:txBody>
      </p:sp>
      <p:sp>
        <p:nvSpPr>
          <p:cNvPr id="5" name="doc id" hidden="1"/>
          <p:cNvSpPr txBox="1">
            <a:spLocks noChangeArrowheads="1"/>
          </p:cNvSpPr>
          <p:nvPr/>
        </p:nvSpPr>
        <p:spPr bwMode="white">
          <a:xfrm>
            <a:off x="8104473" y="36513"/>
            <a:ext cx="634716" cy="115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hangingPunct="1">
              <a:defRPr/>
            </a:pPr>
            <a:endParaRPr lang="en-US" sz="800" baseline="0" dirty="0">
              <a:solidFill>
                <a:schemeClr val="accent1"/>
              </a:solidFill>
              <a:latin typeface="+mn-lt"/>
              <a:ea typeface="+mn-ea"/>
            </a:endParaRPr>
          </a:p>
        </p:txBody>
      </p:sp>
    </p:spTree>
    <p:extLst>
      <p:ext uri="{BB962C8B-B14F-4D97-AF65-F5344CB8AC3E}">
        <p14:creationId xmlns:p14="http://schemas.microsoft.com/office/powerpoint/2010/main" val="3675855920"/>
      </p:ext>
    </p:extLst>
  </p:cSld>
  <p:clrMapOvr>
    <a:masterClrMapping/>
  </p:clrMapOvr>
  <p:extLst mod="1">
    <p:ext uri="{DCECCB84-F9BA-43D5-87BE-67443E8EF086}">
      <p15:sldGuideLst xmlns:p15="http://schemas.microsoft.com/office/powerpoint/2012/main">
        <p15:guide id="1" pos="5505">
          <p15:clr>
            <a:srgbClr val="F26B43"/>
          </p15:clr>
        </p15:guide>
        <p15:guide id="2" pos="74">
          <p15:clr>
            <a:srgbClr val="F26B43"/>
          </p15:clr>
        </p15:guide>
        <p15:guide id="3" orient="horz" pos="571">
          <p15:clr>
            <a:srgbClr val="F26B43"/>
          </p15:clr>
        </p15:guide>
        <p15:guide id="4" orient="horz" pos="3911">
          <p15:clr>
            <a:srgbClr val="F26B43"/>
          </p15:clr>
        </p15:guide>
      </p15:sldGuideLst>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p:cSld name="1_Title Only">
    <p:bg>
      <p:bgPr>
        <a:solidFill>
          <a:schemeClr val="accent2"/>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F4AD34F-3B47-47E2-A09C-FFEB949F6A10}"/>
              </a:ext>
            </a:extLst>
          </p:cNvPr>
          <p:cNvGraphicFramePr>
            <a:graphicFrameLocks noChangeAspect="1"/>
          </p:cNvGraphicFramePr>
          <p:nvPr>
            <p:custDataLst>
              <p:tags r:id="rId2"/>
            </p:custDataLst>
            <p:extLst>
              <p:ext uri="{D42A27DB-BD31-4B8C-83A1-F6EECF244321}">
                <p14:modId xmlns:p14="http://schemas.microsoft.com/office/powerpoint/2010/main" val="268419564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7956" name="think-cell Slide" r:id="rId5" imgW="395" imgH="394" progId="TCLayout.ActiveDocument.1">
                  <p:embed/>
                </p:oleObj>
              </mc:Choice>
              <mc:Fallback>
                <p:oleObj name="think-cell Slide" r:id="rId5" imgW="395" imgH="394" progId="TCLayout.ActiveDocument.1">
                  <p:embed/>
                  <p:pic>
                    <p:nvPicPr>
                      <p:cNvPr id="3" name="Object 2" hidden="1">
                        <a:extLst>
                          <a:ext uri="{FF2B5EF4-FFF2-40B4-BE49-F238E27FC236}">
                            <a16:creationId xmlns:a16="http://schemas.microsoft.com/office/drawing/2014/main" id="{EF4AD34F-3B47-47E2-A09C-FFEB949F6A10}"/>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endParaRPr lang="en-US" dirty="0"/>
          </a:p>
        </p:txBody>
      </p:sp>
      <p:sp>
        <p:nvSpPr>
          <p:cNvPr id="15" name="Slide Number"/>
          <p:cNvSpPr txBox="1">
            <a:spLocks/>
          </p:cNvSpPr>
          <p:nvPr/>
        </p:nvSpPr>
        <p:spPr>
          <a:xfrm>
            <a:off x="8564563" y="6508272"/>
            <a:ext cx="125034" cy="123111"/>
          </a:xfrm>
          <a:prstGeom prst="rect">
            <a:avLst/>
          </a:prstGeom>
        </p:spPr>
        <p:txBody>
          <a:bodyPr vert="horz" wrap="none" lIns="0" tIns="0" rIns="0" bIns="0" rtlCol="0" anchor="ctr">
            <a:spAutoFit/>
          </a:bodyPr>
          <a:lstStyle>
            <a:defPPr>
              <a:defRPr lang="en-US"/>
            </a:defPPr>
            <a:lvl1pPr>
              <a:defRPr sz="1000" baseline="0">
                <a:latin typeface="+mn-lt"/>
              </a:defRPr>
            </a:lvl1pPr>
          </a:lstStyle>
          <a:p>
            <a:fld id="{42C328C1-A84F-4A39-A664-DBA00541A8C6}" type="slidenum">
              <a:rPr lang="en-US" sz="800" baseline="0" smtClean="0">
                <a:solidFill>
                  <a:srgbClr val="FFFFFF"/>
                </a:solidFill>
                <a:latin typeface="+mn-lt"/>
              </a:rPr>
              <a:pPr/>
              <a:t>‹#›</a:t>
            </a:fld>
            <a:endParaRPr lang="en-US" sz="800" baseline="0" dirty="0">
              <a:solidFill>
                <a:srgbClr val="FFFFFF"/>
              </a:solidFill>
              <a:latin typeface="+mn-lt"/>
            </a:endParaRPr>
          </a:p>
        </p:txBody>
      </p:sp>
      <p:sp>
        <p:nvSpPr>
          <p:cNvPr id="16" name="SlideLogoText"/>
          <p:cNvSpPr>
            <a:spLocks noChangeArrowheads="1"/>
          </p:cNvSpPr>
          <p:nvPr>
            <p:custDataLst>
              <p:tags r:id="rId3"/>
            </p:custDataLst>
          </p:nvPr>
        </p:nvSpPr>
        <p:spPr bwMode="auto">
          <a:xfrm>
            <a:off x="7450817" y="6508272"/>
            <a:ext cx="1013098"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algn="r" defTabSz="895350"/>
            <a:r>
              <a:rPr lang="en-US" sz="800" baseline="0" dirty="0">
                <a:solidFill>
                  <a:srgbClr val="FFFFFF"/>
                </a:solidFill>
                <a:latin typeface="+mn-lt"/>
              </a:rPr>
              <a:t>McKinsey &amp; Company</a:t>
            </a:r>
          </a:p>
        </p:txBody>
      </p:sp>
      <p:sp>
        <p:nvSpPr>
          <p:cNvPr id="5" name="doc id" hidden="1"/>
          <p:cNvSpPr txBox="1">
            <a:spLocks noChangeArrowheads="1"/>
          </p:cNvSpPr>
          <p:nvPr/>
        </p:nvSpPr>
        <p:spPr bwMode="white">
          <a:xfrm>
            <a:off x="8104473" y="36513"/>
            <a:ext cx="634716" cy="115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hangingPunct="1">
              <a:defRPr/>
            </a:pPr>
            <a:endParaRPr lang="en-US" sz="800" baseline="0" dirty="0">
              <a:solidFill>
                <a:schemeClr val="accent1"/>
              </a:solidFill>
              <a:latin typeface="+mn-lt"/>
              <a:ea typeface="+mn-ea"/>
            </a:endParaRPr>
          </a:p>
        </p:txBody>
      </p:sp>
    </p:spTree>
    <p:extLst>
      <p:ext uri="{BB962C8B-B14F-4D97-AF65-F5344CB8AC3E}">
        <p14:creationId xmlns:p14="http://schemas.microsoft.com/office/powerpoint/2010/main" val="1351420404"/>
      </p:ext>
    </p:extLst>
  </p:cSld>
  <p:clrMapOvr>
    <a:masterClrMapping/>
  </p:clrMapOvr>
  <p:extLst mod="1">
    <p:ext uri="{DCECCB84-F9BA-43D5-87BE-67443E8EF086}">
      <p15:sldGuideLst xmlns:p15="http://schemas.microsoft.com/office/powerpoint/2012/main">
        <p15:guide id="1" pos="3978">
          <p15:clr>
            <a:srgbClr val="000000"/>
          </p15:clr>
        </p15:guide>
        <p15:guide id="2" orient="horz" pos="570">
          <p15:clr>
            <a:srgbClr val="000000"/>
          </p15:clr>
        </p15:guide>
        <p15:guide id="3" orient="horz" pos="3912">
          <p15:clr>
            <a:srgbClr val="000000"/>
          </p15:clr>
        </p15:guide>
        <p15:guide id="4" pos="72">
          <p15:clr>
            <a:srgbClr val="000000"/>
          </p15:clr>
        </p15:guide>
      </p15:sldGuideLst>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pic>
        <p:nvPicPr>
          <p:cNvPr id="2" name="background"/>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0" y="198"/>
            <a:ext cx="8961438" cy="6721079"/>
          </a:xfrm>
          <a:prstGeom prst="rect">
            <a:avLst/>
          </a:prstGeom>
        </p:spPr>
      </p:pic>
      <p:sp>
        <p:nvSpPr>
          <p:cNvPr id="28" name="TitleRectangle"/>
          <p:cNvSpPr txBox="1">
            <a:spLocks/>
          </p:cNvSpPr>
          <p:nvPr/>
        </p:nvSpPr>
        <p:spPr>
          <a:xfrm>
            <a:off x="2084388" y="0"/>
            <a:ext cx="6875462" cy="3575976"/>
          </a:xfrm>
          <a:prstGeom prst="rect">
            <a:avLst/>
          </a:prstGeom>
          <a:solidFill>
            <a:srgbClr val="002960">
              <a:alpha val="92000"/>
            </a:srgbClr>
          </a:solidFill>
        </p:spPr>
        <p:txBody>
          <a:bodyPr vert="horz" wrap="square" lIns="216000" tIns="1440000" rIns="216000" bIns="108000" rtlCol="0">
            <a:noAutofit/>
          </a:bodyPr>
          <a:lstStyle>
            <a:lvl1pPr marL="0" indent="0" algn="l" defTabSz="914400" rtl="0" eaLnBrk="1" latinLnBrk="0" hangingPunct="1">
              <a:spcBef>
                <a:spcPct val="20000"/>
              </a:spcBef>
              <a:spcAft>
                <a:spcPts val="6000"/>
              </a:spcAft>
              <a:buFont typeface="Arial" pitchFamily="34" charset="0"/>
              <a:buNone/>
              <a:defRPr sz="3200" kern="1200">
                <a:solidFill>
                  <a:schemeClr val="accent1"/>
                </a:solidFill>
                <a:latin typeface="+mn-lt"/>
                <a:ea typeface="+mn-ea"/>
                <a:cs typeface="+mn-cs"/>
              </a:defRPr>
            </a:lvl1pPr>
            <a:lvl2pPr marL="0" indent="0" algn="l" defTabSz="914400" rtl="0" eaLnBrk="1" latinLnBrk="0" hangingPunct="1">
              <a:spcBef>
                <a:spcPct val="20000"/>
              </a:spcBef>
              <a:buFont typeface="Wingdings" charset="2"/>
              <a:buNone/>
              <a:defRPr sz="1400" kern="1200">
                <a:solidFill>
                  <a:schemeClr val="tx1">
                    <a:lumMod val="50000"/>
                    <a:lumOff val="50000"/>
                  </a:schemeClr>
                </a:solidFill>
                <a:latin typeface="+mn-lt"/>
                <a:ea typeface="+mn-ea"/>
                <a:cs typeface="+mn-cs"/>
              </a:defRPr>
            </a:lvl2pPr>
            <a:lvl3pPr marL="1143000" indent="-228600" algn="l" defTabSz="914400" rtl="0" eaLnBrk="1" latinLnBrk="0" hangingPunct="1">
              <a:spcBef>
                <a:spcPct val="20000"/>
              </a:spcBef>
              <a:buFont typeface="Lucida Grande"/>
              <a:buChar char="–"/>
              <a:defRPr sz="16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fontAlgn="auto">
              <a:defRPr/>
            </a:pPr>
            <a:r>
              <a:rPr lang="en-US" baseline="0" dirty="0">
                <a:solidFill>
                  <a:srgbClr val="00ADEF"/>
                </a:solidFill>
                <a:latin typeface="+mn-lt"/>
              </a:rPr>
              <a:t>
              </a:t>
            </a:r>
            <a:br>
              <a:rPr lang="en-US" baseline="0" dirty="0">
                <a:solidFill>
                  <a:srgbClr val="00ADEF"/>
                </a:solidFill>
                <a:latin typeface="+mn-lt"/>
              </a:rPr>
            </a:br>
            <a:endParaRPr lang="en-US" baseline="0" dirty="0">
              <a:solidFill>
                <a:srgbClr val="00ADEF"/>
              </a:solidFill>
              <a:latin typeface="+mn-lt"/>
            </a:endParaRPr>
          </a:p>
        </p:txBody>
      </p:sp>
      <p:graphicFrame>
        <p:nvGraphicFramePr>
          <p:cNvPr id="3" name="Object 2"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0004"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Working Draft Text" hidden="1"/>
          <p:cNvSpPr txBox="1">
            <a:spLocks noChangeArrowheads="1"/>
          </p:cNvSpPr>
          <p:nvPr/>
        </p:nvSpPr>
        <p:spPr bwMode="black">
          <a:xfrm>
            <a:off x="5992719" y="6287538"/>
            <a:ext cx="2790000"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800" b="1" baseline="0" dirty="0">
                <a:solidFill>
                  <a:srgbClr val="FFFFFF"/>
                </a:solidFill>
                <a:latin typeface="+mn-lt"/>
              </a:rPr>
              <a:t>WORKING DRAFT</a:t>
            </a:r>
          </a:p>
        </p:txBody>
      </p:sp>
      <p:sp>
        <p:nvSpPr>
          <p:cNvPr id="6" name="Working Draft" hidden="1"/>
          <p:cNvSpPr txBox="1">
            <a:spLocks noChangeArrowheads="1"/>
          </p:cNvSpPr>
          <p:nvPr/>
        </p:nvSpPr>
        <p:spPr bwMode="black">
          <a:xfrm>
            <a:off x="5992718" y="6410648"/>
            <a:ext cx="2968719"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800" baseline="0">
                <a:solidFill>
                  <a:srgbClr val="FFFFFF"/>
                </a:solidFill>
                <a:latin typeface="+mn-lt"/>
              </a:rPr>
              <a:t>Last Modified 21/05/2018 17:44 India Standard Time</a:t>
            </a:r>
            <a:endParaRPr lang="en-US" sz="800" baseline="0" dirty="0">
              <a:solidFill>
                <a:srgbClr val="FFFFFF"/>
              </a:solidFill>
              <a:latin typeface="+mn-lt"/>
            </a:endParaRPr>
          </a:p>
        </p:txBody>
      </p:sp>
      <p:sp>
        <p:nvSpPr>
          <p:cNvPr id="7" name="Printed" hidden="1"/>
          <p:cNvSpPr txBox="1">
            <a:spLocks noChangeArrowheads="1"/>
          </p:cNvSpPr>
          <p:nvPr/>
        </p:nvSpPr>
        <p:spPr bwMode="black">
          <a:xfrm>
            <a:off x="5992719" y="6533759"/>
            <a:ext cx="2790000"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800" baseline="0" dirty="0">
                <a:solidFill>
                  <a:srgbClr val="FFFFFF"/>
                </a:solidFill>
                <a:latin typeface="+mn-lt"/>
              </a:rPr>
              <a:t>Printed</a:t>
            </a:r>
          </a:p>
        </p:txBody>
      </p:sp>
      <p:sp>
        <p:nvSpPr>
          <p:cNvPr id="13314" name="Title"/>
          <p:cNvSpPr>
            <a:spLocks noGrp="1" noChangeArrowheads="1"/>
          </p:cNvSpPr>
          <p:nvPr>
            <p:ph type="ctrTitle"/>
          </p:nvPr>
        </p:nvSpPr>
        <p:spPr>
          <a:xfrm>
            <a:off x="2268266" y="1434419"/>
            <a:ext cx="6231663" cy="492443"/>
          </a:xfrm>
          <a:prstGeom prst="rect">
            <a:avLst/>
          </a:prstGeom>
        </p:spPr>
        <p:txBody>
          <a:bodyPr>
            <a:spAutoFit/>
          </a:bodyPr>
          <a:lstStyle>
            <a:lvl1pPr>
              <a:defRPr sz="3200" b="0" baseline="0">
                <a:solidFill>
                  <a:schemeClr val="accent2"/>
                </a:solidFill>
                <a:latin typeface="+mj-lt"/>
                <a:ea typeface="+mj-ea"/>
              </a:defRPr>
            </a:lvl1pPr>
          </a:lstStyle>
          <a:p>
            <a:pPr lvl="0" latinLnBrk="0"/>
            <a:r>
              <a:rPr lang="en-US" noProof="0"/>
              <a:t>Click to edit Master title style</a:t>
            </a:r>
            <a:endParaRPr lang="en-US" noProof="0" dirty="0"/>
          </a:p>
        </p:txBody>
      </p:sp>
      <p:sp>
        <p:nvSpPr>
          <p:cNvPr id="13315" name="Subtitle"/>
          <p:cNvSpPr>
            <a:spLocks noGrp="1" noChangeArrowheads="1"/>
          </p:cNvSpPr>
          <p:nvPr>
            <p:ph type="subTitle" idx="1"/>
          </p:nvPr>
        </p:nvSpPr>
        <p:spPr>
          <a:xfrm>
            <a:off x="2268266" y="2819401"/>
            <a:ext cx="6231663" cy="215444"/>
          </a:xfrm>
          <a:prstGeom prst="rect">
            <a:avLst/>
          </a:prstGeom>
        </p:spPr>
        <p:txBody>
          <a:bodyPr wrap="square">
            <a:spAutoFit/>
          </a:bodyPr>
          <a:lstStyle>
            <a:lvl1pPr>
              <a:defRPr sz="1400" cap="all" baseline="0">
                <a:solidFill>
                  <a:schemeClr val="bg1"/>
                </a:solidFill>
                <a:latin typeface="+mn-lt"/>
                <a:ea typeface="+mn-ea"/>
              </a:defRPr>
            </a:lvl1pPr>
          </a:lstStyle>
          <a:p>
            <a:pPr lvl="0" latinLnBrk="0"/>
            <a:r>
              <a:rPr lang="en-US" noProof="0"/>
              <a:t>Click to edit Master subtitle style</a:t>
            </a:r>
            <a:endParaRPr lang="en-US" noProof="0" dirty="0"/>
          </a:p>
        </p:txBody>
      </p:sp>
      <p:sp>
        <p:nvSpPr>
          <p:cNvPr id="57" name="Document type" hidden="1"/>
          <p:cNvSpPr txBox="1">
            <a:spLocks noChangeArrowheads="1"/>
          </p:cNvSpPr>
          <p:nvPr/>
        </p:nvSpPr>
        <p:spPr bwMode="gray">
          <a:xfrm>
            <a:off x="2268266" y="3227411"/>
            <a:ext cx="6231663"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00" baseline="0" dirty="0">
                <a:solidFill>
                  <a:schemeClr val="bg1"/>
                </a:solidFill>
                <a:latin typeface="+mn-lt"/>
              </a:rPr>
              <a:t>Document type | Date</a:t>
            </a:r>
          </a:p>
        </p:txBody>
      </p:sp>
      <p:sp>
        <p:nvSpPr>
          <p:cNvPr id="5" name="doc id" hidden="1"/>
          <p:cNvSpPr txBox="1">
            <a:spLocks noChangeArrowheads="1"/>
          </p:cNvSpPr>
          <p:nvPr/>
        </p:nvSpPr>
        <p:spPr bwMode="white">
          <a:xfrm>
            <a:off x="8443913" y="36513"/>
            <a:ext cx="295275" cy="1222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hangingPunct="1">
              <a:defRPr/>
            </a:pPr>
            <a:endParaRPr lang="en-US" sz="800" baseline="0" dirty="0">
              <a:solidFill>
                <a:srgbClr val="FFFFFF"/>
              </a:solidFill>
              <a:latin typeface="+mn-lt"/>
            </a:endParaRPr>
          </a:p>
        </p:txBody>
      </p:sp>
      <p:sp>
        <p:nvSpPr>
          <p:cNvPr id="43" name="LogoImage"/>
          <p:cNvSpPr>
            <a:spLocks noEditPoints="1"/>
          </p:cNvSpPr>
          <p:nvPr/>
        </p:nvSpPr>
        <p:spPr bwMode="white">
          <a:xfrm>
            <a:off x="2269098" y="182925"/>
            <a:ext cx="2176978" cy="238073"/>
          </a:xfrm>
          <a:custGeom>
            <a:avLst/>
            <a:gdLst>
              <a:gd name="T0" fmla="*/ 504 w 5516"/>
              <a:gd name="T1" fmla="*/ 26 h 606"/>
              <a:gd name="T2" fmla="*/ 18 w 5516"/>
              <a:gd name="T3" fmla="*/ 22 h 606"/>
              <a:gd name="T4" fmla="*/ 140 w 5516"/>
              <a:gd name="T5" fmla="*/ 436 h 606"/>
              <a:gd name="T6" fmla="*/ 408 w 5516"/>
              <a:gd name="T7" fmla="*/ 372 h 606"/>
              <a:gd name="T8" fmla="*/ 696 w 5516"/>
              <a:gd name="T9" fmla="*/ 422 h 606"/>
              <a:gd name="T10" fmla="*/ 768 w 5516"/>
              <a:gd name="T11" fmla="*/ 196 h 606"/>
              <a:gd name="T12" fmla="*/ 1272 w 5516"/>
              <a:gd name="T13" fmla="*/ 26 h 606"/>
              <a:gd name="T14" fmla="*/ 1302 w 5516"/>
              <a:gd name="T15" fmla="*/ 338 h 606"/>
              <a:gd name="T16" fmla="*/ 1202 w 5516"/>
              <a:gd name="T17" fmla="*/ 436 h 606"/>
              <a:gd name="T18" fmla="*/ 1030 w 5516"/>
              <a:gd name="T19" fmla="*/ 10 h 606"/>
              <a:gd name="T20" fmla="*/ 960 w 5516"/>
              <a:gd name="T21" fmla="*/ 22 h 606"/>
              <a:gd name="T22" fmla="*/ 804 w 5516"/>
              <a:gd name="T23" fmla="*/ 434 h 606"/>
              <a:gd name="T24" fmla="*/ 930 w 5516"/>
              <a:gd name="T25" fmla="*/ 246 h 606"/>
              <a:gd name="T26" fmla="*/ 1658 w 5516"/>
              <a:gd name="T27" fmla="*/ 342 h 606"/>
              <a:gd name="T28" fmla="*/ 1368 w 5516"/>
              <a:gd name="T29" fmla="*/ 188 h 606"/>
              <a:gd name="T30" fmla="*/ 1514 w 5516"/>
              <a:gd name="T31" fmla="*/ 436 h 606"/>
              <a:gd name="T32" fmla="*/ 1564 w 5516"/>
              <a:gd name="T33" fmla="*/ 434 h 606"/>
              <a:gd name="T34" fmla="*/ 1904 w 5516"/>
              <a:gd name="T35" fmla="*/ 184 h 606"/>
              <a:gd name="T36" fmla="*/ 1728 w 5516"/>
              <a:gd name="T37" fmla="*/ 366 h 606"/>
              <a:gd name="T38" fmla="*/ 2102 w 5516"/>
              <a:gd name="T39" fmla="*/ 192 h 606"/>
              <a:gd name="T40" fmla="*/ 1982 w 5516"/>
              <a:gd name="T41" fmla="*/ 320 h 606"/>
              <a:gd name="T42" fmla="*/ 2478 w 5516"/>
              <a:gd name="T43" fmla="*/ 242 h 606"/>
              <a:gd name="T44" fmla="*/ 2406 w 5516"/>
              <a:gd name="T45" fmla="*/ 390 h 606"/>
              <a:gd name="T46" fmla="*/ 2234 w 5516"/>
              <a:gd name="T47" fmla="*/ 192 h 606"/>
              <a:gd name="T48" fmla="*/ 2478 w 5516"/>
              <a:gd name="T49" fmla="*/ 242 h 606"/>
              <a:gd name="T50" fmla="*/ 2928 w 5516"/>
              <a:gd name="T51" fmla="*/ 448 h 606"/>
              <a:gd name="T52" fmla="*/ 2958 w 5516"/>
              <a:gd name="T53" fmla="*/ 230 h 606"/>
              <a:gd name="T54" fmla="*/ 2716 w 5516"/>
              <a:gd name="T55" fmla="*/ 54 h 606"/>
              <a:gd name="T56" fmla="*/ 2714 w 5516"/>
              <a:gd name="T57" fmla="*/ 36 h 606"/>
              <a:gd name="T58" fmla="*/ 2928 w 5516"/>
              <a:gd name="T59" fmla="*/ 448 h 606"/>
              <a:gd name="T60" fmla="*/ 3388 w 5516"/>
              <a:gd name="T61" fmla="*/ 4 h 606"/>
              <a:gd name="T62" fmla="*/ 3396 w 5516"/>
              <a:gd name="T63" fmla="*/ 366 h 606"/>
              <a:gd name="T64" fmla="*/ 3580 w 5516"/>
              <a:gd name="T65" fmla="*/ 190 h 606"/>
              <a:gd name="T66" fmla="*/ 3502 w 5516"/>
              <a:gd name="T67" fmla="*/ 432 h 606"/>
              <a:gd name="T68" fmla="*/ 4232 w 5516"/>
              <a:gd name="T69" fmla="*/ 348 h 606"/>
              <a:gd name="T70" fmla="*/ 3858 w 5516"/>
              <a:gd name="T71" fmla="*/ 176 h 606"/>
              <a:gd name="T72" fmla="*/ 3758 w 5516"/>
              <a:gd name="T73" fmla="*/ 446 h 606"/>
              <a:gd name="T74" fmla="*/ 3990 w 5516"/>
              <a:gd name="T75" fmla="*/ 282 h 606"/>
              <a:gd name="T76" fmla="*/ 4042 w 5516"/>
              <a:gd name="T77" fmla="*/ 342 h 606"/>
              <a:gd name="T78" fmla="*/ 4134 w 5516"/>
              <a:gd name="T79" fmla="*/ 448 h 606"/>
              <a:gd name="T80" fmla="*/ 4454 w 5516"/>
              <a:gd name="T81" fmla="*/ 202 h 606"/>
              <a:gd name="T82" fmla="*/ 4284 w 5516"/>
              <a:gd name="T83" fmla="*/ 174 h 606"/>
              <a:gd name="T84" fmla="*/ 4432 w 5516"/>
              <a:gd name="T85" fmla="*/ 588 h 606"/>
              <a:gd name="T86" fmla="*/ 4792 w 5516"/>
              <a:gd name="T87" fmla="*/ 382 h 606"/>
              <a:gd name="T88" fmla="*/ 5192 w 5516"/>
              <a:gd name="T89" fmla="*/ 340 h 606"/>
              <a:gd name="T90" fmla="*/ 4902 w 5516"/>
              <a:gd name="T91" fmla="*/ 186 h 606"/>
              <a:gd name="T92" fmla="*/ 4850 w 5516"/>
              <a:gd name="T93" fmla="*/ 274 h 606"/>
              <a:gd name="T94" fmla="*/ 4742 w 5516"/>
              <a:gd name="T95" fmla="*/ 194 h 606"/>
              <a:gd name="T96" fmla="*/ 4794 w 5516"/>
              <a:gd name="T97" fmla="*/ 418 h 606"/>
              <a:gd name="T98" fmla="*/ 5004 w 5516"/>
              <a:gd name="T99" fmla="*/ 338 h 606"/>
              <a:gd name="T100" fmla="*/ 5098 w 5516"/>
              <a:gd name="T101" fmla="*/ 446 h 606"/>
              <a:gd name="T102" fmla="*/ 5418 w 5516"/>
              <a:gd name="T103" fmla="*/ 192 h 606"/>
              <a:gd name="T104" fmla="*/ 5348 w 5516"/>
              <a:gd name="T105" fmla="*/ 180 h 606"/>
              <a:gd name="T106" fmla="*/ 5254 w 5516"/>
              <a:gd name="T107" fmla="*/ 606 h 6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516" h="606">
                <a:moveTo>
                  <a:pt x="366" y="448"/>
                </a:moveTo>
                <a:cubicBezTo>
                  <a:pt x="524" y="448"/>
                  <a:pt x="524" y="448"/>
                  <a:pt x="524" y="448"/>
                </a:cubicBezTo>
                <a:cubicBezTo>
                  <a:pt x="524" y="436"/>
                  <a:pt x="524" y="436"/>
                  <a:pt x="524" y="436"/>
                </a:cubicBezTo>
                <a:cubicBezTo>
                  <a:pt x="486" y="432"/>
                  <a:pt x="470" y="414"/>
                  <a:pt x="468" y="362"/>
                </a:cubicBezTo>
                <a:cubicBezTo>
                  <a:pt x="454" y="86"/>
                  <a:pt x="454" y="86"/>
                  <a:pt x="454" y="86"/>
                </a:cubicBezTo>
                <a:cubicBezTo>
                  <a:pt x="452" y="46"/>
                  <a:pt x="470" y="30"/>
                  <a:pt x="504" y="26"/>
                </a:cubicBezTo>
                <a:cubicBezTo>
                  <a:pt x="504" y="12"/>
                  <a:pt x="504" y="12"/>
                  <a:pt x="504" y="12"/>
                </a:cubicBezTo>
                <a:cubicBezTo>
                  <a:pt x="394" y="12"/>
                  <a:pt x="394" y="12"/>
                  <a:pt x="394" y="12"/>
                </a:cubicBezTo>
                <a:cubicBezTo>
                  <a:pt x="264" y="350"/>
                  <a:pt x="264" y="350"/>
                  <a:pt x="264" y="350"/>
                </a:cubicBezTo>
                <a:cubicBezTo>
                  <a:pt x="132" y="10"/>
                  <a:pt x="132" y="10"/>
                  <a:pt x="132" y="10"/>
                </a:cubicBezTo>
                <a:cubicBezTo>
                  <a:pt x="18" y="10"/>
                  <a:pt x="18" y="10"/>
                  <a:pt x="18" y="10"/>
                </a:cubicBezTo>
                <a:cubicBezTo>
                  <a:pt x="18" y="22"/>
                  <a:pt x="18" y="22"/>
                  <a:pt x="18" y="22"/>
                </a:cubicBezTo>
                <a:cubicBezTo>
                  <a:pt x="40" y="26"/>
                  <a:pt x="74" y="32"/>
                  <a:pt x="72" y="84"/>
                </a:cubicBezTo>
                <a:cubicBezTo>
                  <a:pt x="58" y="352"/>
                  <a:pt x="58" y="352"/>
                  <a:pt x="58" y="352"/>
                </a:cubicBezTo>
                <a:cubicBezTo>
                  <a:pt x="54" y="410"/>
                  <a:pt x="38" y="430"/>
                  <a:pt x="0" y="436"/>
                </a:cubicBezTo>
                <a:cubicBezTo>
                  <a:pt x="0" y="448"/>
                  <a:pt x="0" y="448"/>
                  <a:pt x="0" y="448"/>
                </a:cubicBezTo>
                <a:cubicBezTo>
                  <a:pt x="140" y="448"/>
                  <a:pt x="140" y="448"/>
                  <a:pt x="140" y="448"/>
                </a:cubicBezTo>
                <a:cubicBezTo>
                  <a:pt x="140" y="436"/>
                  <a:pt x="140" y="436"/>
                  <a:pt x="140" y="436"/>
                </a:cubicBezTo>
                <a:cubicBezTo>
                  <a:pt x="98" y="428"/>
                  <a:pt x="84" y="414"/>
                  <a:pt x="88" y="356"/>
                </a:cubicBezTo>
                <a:cubicBezTo>
                  <a:pt x="100" y="86"/>
                  <a:pt x="100" y="86"/>
                  <a:pt x="100" y="86"/>
                </a:cubicBezTo>
                <a:cubicBezTo>
                  <a:pt x="240" y="444"/>
                  <a:pt x="240" y="444"/>
                  <a:pt x="240" y="444"/>
                </a:cubicBezTo>
                <a:cubicBezTo>
                  <a:pt x="258" y="444"/>
                  <a:pt x="258" y="444"/>
                  <a:pt x="258" y="444"/>
                </a:cubicBezTo>
                <a:cubicBezTo>
                  <a:pt x="396" y="86"/>
                  <a:pt x="396" y="86"/>
                  <a:pt x="396" y="86"/>
                </a:cubicBezTo>
                <a:cubicBezTo>
                  <a:pt x="408" y="372"/>
                  <a:pt x="408" y="372"/>
                  <a:pt x="408" y="372"/>
                </a:cubicBezTo>
                <a:cubicBezTo>
                  <a:pt x="410" y="416"/>
                  <a:pt x="398" y="430"/>
                  <a:pt x="366" y="434"/>
                </a:cubicBezTo>
                <a:lnTo>
                  <a:pt x="366" y="448"/>
                </a:lnTo>
                <a:close/>
                <a:moveTo>
                  <a:pt x="670" y="456"/>
                </a:moveTo>
                <a:cubicBezTo>
                  <a:pt x="708" y="456"/>
                  <a:pt x="756" y="440"/>
                  <a:pt x="782" y="412"/>
                </a:cubicBezTo>
                <a:cubicBezTo>
                  <a:pt x="776" y="400"/>
                  <a:pt x="776" y="400"/>
                  <a:pt x="776" y="400"/>
                </a:cubicBezTo>
                <a:cubicBezTo>
                  <a:pt x="750" y="416"/>
                  <a:pt x="722" y="422"/>
                  <a:pt x="696" y="422"/>
                </a:cubicBezTo>
                <a:cubicBezTo>
                  <a:pt x="620" y="422"/>
                  <a:pt x="592" y="358"/>
                  <a:pt x="592" y="290"/>
                </a:cubicBezTo>
                <a:cubicBezTo>
                  <a:pt x="592" y="258"/>
                  <a:pt x="600" y="236"/>
                  <a:pt x="614" y="222"/>
                </a:cubicBezTo>
                <a:cubicBezTo>
                  <a:pt x="626" y="210"/>
                  <a:pt x="646" y="204"/>
                  <a:pt x="664" y="204"/>
                </a:cubicBezTo>
                <a:cubicBezTo>
                  <a:pt x="690" y="204"/>
                  <a:pt x="722" y="214"/>
                  <a:pt x="744" y="244"/>
                </a:cubicBezTo>
                <a:cubicBezTo>
                  <a:pt x="750" y="244"/>
                  <a:pt x="750" y="244"/>
                  <a:pt x="750" y="244"/>
                </a:cubicBezTo>
                <a:cubicBezTo>
                  <a:pt x="758" y="234"/>
                  <a:pt x="766" y="212"/>
                  <a:pt x="768" y="196"/>
                </a:cubicBezTo>
                <a:cubicBezTo>
                  <a:pt x="748" y="180"/>
                  <a:pt x="720" y="172"/>
                  <a:pt x="686" y="172"/>
                </a:cubicBezTo>
                <a:cubicBezTo>
                  <a:pt x="604" y="172"/>
                  <a:pt x="544" y="246"/>
                  <a:pt x="544" y="326"/>
                </a:cubicBezTo>
                <a:cubicBezTo>
                  <a:pt x="540" y="390"/>
                  <a:pt x="576" y="456"/>
                  <a:pt x="670" y="456"/>
                </a:cubicBezTo>
                <a:moveTo>
                  <a:pt x="1272" y="98"/>
                </a:moveTo>
                <a:cubicBezTo>
                  <a:pt x="1292" y="98"/>
                  <a:pt x="1308" y="82"/>
                  <a:pt x="1308" y="62"/>
                </a:cubicBezTo>
                <a:cubicBezTo>
                  <a:pt x="1308" y="42"/>
                  <a:pt x="1292" y="26"/>
                  <a:pt x="1272" y="26"/>
                </a:cubicBezTo>
                <a:cubicBezTo>
                  <a:pt x="1252" y="26"/>
                  <a:pt x="1238" y="42"/>
                  <a:pt x="1238" y="62"/>
                </a:cubicBezTo>
                <a:cubicBezTo>
                  <a:pt x="1238" y="82"/>
                  <a:pt x="1252" y="98"/>
                  <a:pt x="1272" y="98"/>
                </a:cubicBezTo>
                <a:moveTo>
                  <a:pt x="1202" y="448"/>
                </a:moveTo>
                <a:cubicBezTo>
                  <a:pt x="1346" y="448"/>
                  <a:pt x="1346" y="448"/>
                  <a:pt x="1346" y="448"/>
                </a:cubicBezTo>
                <a:cubicBezTo>
                  <a:pt x="1346" y="436"/>
                  <a:pt x="1346" y="436"/>
                  <a:pt x="1346" y="436"/>
                </a:cubicBezTo>
                <a:cubicBezTo>
                  <a:pt x="1304" y="432"/>
                  <a:pt x="1302" y="434"/>
                  <a:pt x="1302" y="338"/>
                </a:cubicBezTo>
                <a:cubicBezTo>
                  <a:pt x="1302" y="176"/>
                  <a:pt x="1302" y="176"/>
                  <a:pt x="1302" y="176"/>
                </a:cubicBezTo>
                <a:cubicBezTo>
                  <a:pt x="1200" y="176"/>
                  <a:pt x="1200" y="176"/>
                  <a:pt x="1200" y="176"/>
                </a:cubicBezTo>
                <a:cubicBezTo>
                  <a:pt x="1200" y="188"/>
                  <a:pt x="1200" y="188"/>
                  <a:pt x="1200" y="188"/>
                </a:cubicBezTo>
                <a:cubicBezTo>
                  <a:pt x="1244" y="190"/>
                  <a:pt x="1250" y="192"/>
                  <a:pt x="1250" y="268"/>
                </a:cubicBezTo>
                <a:cubicBezTo>
                  <a:pt x="1250" y="336"/>
                  <a:pt x="1250" y="336"/>
                  <a:pt x="1250" y="336"/>
                </a:cubicBezTo>
                <a:cubicBezTo>
                  <a:pt x="1250" y="432"/>
                  <a:pt x="1248" y="432"/>
                  <a:pt x="1202" y="436"/>
                </a:cubicBezTo>
                <a:cubicBezTo>
                  <a:pt x="1178" y="434"/>
                  <a:pt x="1154" y="426"/>
                  <a:pt x="1076" y="338"/>
                </a:cubicBezTo>
                <a:cubicBezTo>
                  <a:pt x="1046" y="302"/>
                  <a:pt x="996" y="244"/>
                  <a:pt x="968" y="206"/>
                </a:cubicBezTo>
                <a:cubicBezTo>
                  <a:pt x="1062" y="102"/>
                  <a:pt x="1062" y="102"/>
                  <a:pt x="1062" y="102"/>
                </a:cubicBezTo>
                <a:cubicBezTo>
                  <a:pt x="1108" y="52"/>
                  <a:pt x="1132" y="26"/>
                  <a:pt x="1176" y="24"/>
                </a:cubicBezTo>
                <a:cubicBezTo>
                  <a:pt x="1176" y="10"/>
                  <a:pt x="1176" y="10"/>
                  <a:pt x="1176" y="10"/>
                </a:cubicBezTo>
                <a:cubicBezTo>
                  <a:pt x="1030" y="10"/>
                  <a:pt x="1030" y="10"/>
                  <a:pt x="1030" y="10"/>
                </a:cubicBezTo>
                <a:cubicBezTo>
                  <a:pt x="1030" y="22"/>
                  <a:pt x="1030" y="22"/>
                  <a:pt x="1030" y="22"/>
                </a:cubicBezTo>
                <a:cubicBezTo>
                  <a:pt x="1050" y="26"/>
                  <a:pt x="1056" y="32"/>
                  <a:pt x="1056" y="46"/>
                </a:cubicBezTo>
                <a:cubicBezTo>
                  <a:pt x="1056" y="56"/>
                  <a:pt x="1054" y="72"/>
                  <a:pt x="1026" y="102"/>
                </a:cubicBezTo>
                <a:cubicBezTo>
                  <a:pt x="910" y="230"/>
                  <a:pt x="910" y="230"/>
                  <a:pt x="910" y="230"/>
                </a:cubicBezTo>
                <a:cubicBezTo>
                  <a:pt x="910" y="148"/>
                  <a:pt x="910" y="148"/>
                  <a:pt x="910" y="148"/>
                </a:cubicBezTo>
                <a:cubicBezTo>
                  <a:pt x="910" y="36"/>
                  <a:pt x="916" y="28"/>
                  <a:pt x="960" y="22"/>
                </a:cubicBezTo>
                <a:cubicBezTo>
                  <a:pt x="960" y="8"/>
                  <a:pt x="960" y="8"/>
                  <a:pt x="960" y="8"/>
                </a:cubicBezTo>
                <a:cubicBezTo>
                  <a:pt x="804" y="8"/>
                  <a:pt x="804" y="8"/>
                  <a:pt x="804" y="8"/>
                </a:cubicBezTo>
                <a:cubicBezTo>
                  <a:pt x="804" y="22"/>
                  <a:pt x="804" y="22"/>
                  <a:pt x="804" y="22"/>
                </a:cubicBezTo>
                <a:cubicBezTo>
                  <a:pt x="852" y="26"/>
                  <a:pt x="854" y="36"/>
                  <a:pt x="854" y="148"/>
                </a:cubicBezTo>
                <a:cubicBezTo>
                  <a:pt x="854" y="300"/>
                  <a:pt x="854" y="300"/>
                  <a:pt x="854" y="300"/>
                </a:cubicBezTo>
                <a:cubicBezTo>
                  <a:pt x="854" y="422"/>
                  <a:pt x="850" y="430"/>
                  <a:pt x="804" y="434"/>
                </a:cubicBezTo>
                <a:cubicBezTo>
                  <a:pt x="804" y="446"/>
                  <a:pt x="804" y="446"/>
                  <a:pt x="804" y="446"/>
                </a:cubicBezTo>
                <a:cubicBezTo>
                  <a:pt x="960" y="446"/>
                  <a:pt x="960" y="446"/>
                  <a:pt x="960" y="446"/>
                </a:cubicBezTo>
                <a:cubicBezTo>
                  <a:pt x="960" y="434"/>
                  <a:pt x="960" y="434"/>
                  <a:pt x="960" y="434"/>
                </a:cubicBezTo>
                <a:cubicBezTo>
                  <a:pt x="910" y="428"/>
                  <a:pt x="910" y="424"/>
                  <a:pt x="910" y="292"/>
                </a:cubicBezTo>
                <a:cubicBezTo>
                  <a:pt x="910" y="268"/>
                  <a:pt x="910" y="268"/>
                  <a:pt x="910" y="268"/>
                </a:cubicBezTo>
                <a:cubicBezTo>
                  <a:pt x="930" y="246"/>
                  <a:pt x="930" y="246"/>
                  <a:pt x="930" y="246"/>
                </a:cubicBezTo>
                <a:cubicBezTo>
                  <a:pt x="982" y="310"/>
                  <a:pt x="1038" y="380"/>
                  <a:pt x="1098" y="448"/>
                </a:cubicBezTo>
                <a:cubicBezTo>
                  <a:pt x="1202" y="448"/>
                  <a:pt x="1202" y="448"/>
                  <a:pt x="1202" y="448"/>
                </a:cubicBezTo>
                <a:close/>
                <a:moveTo>
                  <a:pt x="1564" y="448"/>
                </a:moveTo>
                <a:cubicBezTo>
                  <a:pt x="1706" y="448"/>
                  <a:pt x="1706" y="448"/>
                  <a:pt x="1706" y="448"/>
                </a:cubicBezTo>
                <a:cubicBezTo>
                  <a:pt x="1706" y="436"/>
                  <a:pt x="1706" y="436"/>
                  <a:pt x="1706" y="436"/>
                </a:cubicBezTo>
                <a:cubicBezTo>
                  <a:pt x="1658" y="434"/>
                  <a:pt x="1658" y="432"/>
                  <a:pt x="1658" y="342"/>
                </a:cubicBezTo>
                <a:cubicBezTo>
                  <a:pt x="1658" y="280"/>
                  <a:pt x="1658" y="280"/>
                  <a:pt x="1658" y="280"/>
                </a:cubicBezTo>
                <a:cubicBezTo>
                  <a:pt x="1658" y="198"/>
                  <a:pt x="1612" y="172"/>
                  <a:pt x="1570" y="172"/>
                </a:cubicBezTo>
                <a:cubicBezTo>
                  <a:pt x="1534" y="172"/>
                  <a:pt x="1498" y="188"/>
                  <a:pt x="1470" y="224"/>
                </a:cubicBezTo>
                <a:cubicBezTo>
                  <a:pt x="1470" y="176"/>
                  <a:pt x="1470" y="176"/>
                  <a:pt x="1470" y="176"/>
                </a:cubicBezTo>
                <a:cubicBezTo>
                  <a:pt x="1368" y="176"/>
                  <a:pt x="1368" y="176"/>
                  <a:pt x="1368" y="176"/>
                </a:cubicBezTo>
                <a:cubicBezTo>
                  <a:pt x="1368" y="188"/>
                  <a:pt x="1368" y="188"/>
                  <a:pt x="1368" y="188"/>
                </a:cubicBezTo>
                <a:cubicBezTo>
                  <a:pt x="1412" y="190"/>
                  <a:pt x="1418" y="192"/>
                  <a:pt x="1418" y="268"/>
                </a:cubicBezTo>
                <a:cubicBezTo>
                  <a:pt x="1418" y="336"/>
                  <a:pt x="1418" y="336"/>
                  <a:pt x="1418" y="336"/>
                </a:cubicBezTo>
                <a:cubicBezTo>
                  <a:pt x="1418" y="434"/>
                  <a:pt x="1418" y="434"/>
                  <a:pt x="1370" y="436"/>
                </a:cubicBezTo>
                <a:cubicBezTo>
                  <a:pt x="1370" y="448"/>
                  <a:pt x="1370" y="448"/>
                  <a:pt x="1370" y="448"/>
                </a:cubicBezTo>
                <a:cubicBezTo>
                  <a:pt x="1514" y="448"/>
                  <a:pt x="1514" y="448"/>
                  <a:pt x="1514" y="448"/>
                </a:cubicBezTo>
                <a:cubicBezTo>
                  <a:pt x="1514" y="436"/>
                  <a:pt x="1514" y="436"/>
                  <a:pt x="1514" y="436"/>
                </a:cubicBezTo>
                <a:cubicBezTo>
                  <a:pt x="1472" y="432"/>
                  <a:pt x="1470" y="434"/>
                  <a:pt x="1470" y="338"/>
                </a:cubicBezTo>
                <a:cubicBezTo>
                  <a:pt x="1470" y="262"/>
                  <a:pt x="1470" y="262"/>
                  <a:pt x="1470" y="262"/>
                </a:cubicBezTo>
                <a:cubicBezTo>
                  <a:pt x="1470" y="236"/>
                  <a:pt x="1504" y="206"/>
                  <a:pt x="1546" y="206"/>
                </a:cubicBezTo>
                <a:cubicBezTo>
                  <a:pt x="1580" y="206"/>
                  <a:pt x="1606" y="220"/>
                  <a:pt x="1606" y="286"/>
                </a:cubicBezTo>
                <a:cubicBezTo>
                  <a:pt x="1606" y="340"/>
                  <a:pt x="1606" y="340"/>
                  <a:pt x="1606" y="340"/>
                </a:cubicBezTo>
                <a:cubicBezTo>
                  <a:pt x="1606" y="432"/>
                  <a:pt x="1602" y="432"/>
                  <a:pt x="1564" y="434"/>
                </a:cubicBezTo>
                <a:lnTo>
                  <a:pt x="1564" y="448"/>
                </a:lnTo>
                <a:close/>
                <a:moveTo>
                  <a:pt x="1776" y="222"/>
                </a:moveTo>
                <a:cubicBezTo>
                  <a:pt x="1776" y="200"/>
                  <a:pt x="1796" y="188"/>
                  <a:pt x="1822" y="188"/>
                </a:cubicBezTo>
                <a:cubicBezTo>
                  <a:pt x="1874" y="188"/>
                  <a:pt x="1896" y="236"/>
                  <a:pt x="1900" y="252"/>
                </a:cubicBezTo>
                <a:cubicBezTo>
                  <a:pt x="1912" y="252"/>
                  <a:pt x="1912" y="252"/>
                  <a:pt x="1912" y="252"/>
                </a:cubicBezTo>
                <a:cubicBezTo>
                  <a:pt x="1912" y="212"/>
                  <a:pt x="1908" y="188"/>
                  <a:pt x="1904" y="184"/>
                </a:cubicBezTo>
                <a:cubicBezTo>
                  <a:pt x="1900" y="180"/>
                  <a:pt x="1862" y="170"/>
                  <a:pt x="1824" y="170"/>
                </a:cubicBezTo>
                <a:cubicBezTo>
                  <a:pt x="1768" y="170"/>
                  <a:pt x="1734" y="206"/>
                  <a:pt x="1734" y="248"/>
                </a:cubicBezTo>
                <a:cubicBezTo>
                  <a:pt x="1734" y="340"/>
                  <a:pt x="1890" y="322"/>
                  <a:pt x="1890" y="396"/>
                </a:cubicBezTo>
                <a:cubicBezTo>
                  <a:pt x="1890" y="422"/>
                  <a:pt x="1866" y="436"/>
                  <a:pt x="1826" y="436"/>
                </a:cubicBezTo>
                <a:cubicBezTo>
                  <a:pt x="1788" y="436"/>
                  <a:pt x="1754" y="416"/>
                  <a:pt x="1744" y="366"/>
                </a:cubicBezTo>
                <a:cubicBezTo>
                  <a:pt x="1728" y="366"/>
                  <a:pt x="1728" y="366"/>
                  <a:pt x="1728" y="366"/>
                </a:cubicBezTo>
                <a:cubicBezTo>
                  <a:pt x="1728" y="386"/>
                  <a:pt x="1732" y="422"/>
                  <a:pt x="1734" y="428"/>
                </a:cubicBezTo>
                <a:cubicBezTo>
                  <a:pt x="1744" y="446"/>
                  <a:pt x="1788" y="454"/>
                  <a:pt x="1824" y="454"/>
                </a:cubicBezTo>
                <a:cubicBezTo>
                  <a:pt x="1888" y="454"/>
                  <a:pt x="1928" y="416"/>
                  <a:pt x="1928" y="372"/>
                </a:cubicBezTo>
                <a:cubicBezTo>
                  <a:pt x="1932" y="270"/>
                  <a:pt x="1776" y="286"/>
                  <a:pt x="1776" y="222"/>
                </a:cubicBezTo>
                <a:moveTo>
                  <a:pt x="2030" y="270"/>
                </a:moveTo>
                <a:cubicBezTo>
                  <a:pt x="2034" y="220"/>
                  <a:pt x="2058" y="192"/>
                  <a:pt x="2102" y="192"/>
                </a:cubicBezTo>
                <a:cubicBezTo>
                  <a:pt x="2144" y="192"/>
                  <a:pt x="2170" y="220"/>
                  <a:pt x="2172" y="270"/>
                </a:cubicBezTo>
                <a:lnTo>
                  <a:pt x="2030" y="270"/>
                </a:lnTo>
                <a:close/>
                <a:moveTo>
                  <a:pt x="2030" y="290"/>
                </a:moveTo>
                <a:cubicBezTo>
                  <a:pt x="2222" y="290"/>
                  <a:pt x="2222" y="290"/>
                  <a:pt x="2222" y="290"/>
                </a:cubicBezTo>
                <a:cubicBezTo>
                  <a:pt x="2226" y="228"/>
                  <a:pt x="2192" y="168"/>
                  <a:pt x="2114" y="168"/>
                </a:cubicBezTo>
                <a:cubicBezTo>
                  <a:pt x="2034" y="168"/>
                  <a:pt x="1982" y="232"/>
                  <a:pt x="1982" y="320"/>
                </a:cubicBezTo>
                <a:cubicBezTo>
                  <a:pt x="1982" y="388"/>
                  <a:pt x="2018" y="456"/>
                  <a:pt x="2112" y="456"/>
                </a:cubicBezTo>
                <a:cubicBezTo>
                  <a:pt x="2150" y="456"/>
                  <a:pt x="2198" y="440"/>
                  <a:pt x="2224" y="412"/>
                </a:cubicBezTo>
                <a:cubicBezTo>
                  <a:pt x="2218" y="400"/>
                  <a:pt x="2218" y="400"/>
                  <a:pt x="2218" y="400"/>
                </a:cubicBezTo>
                <a:cubicBezTo>
                  <a:pt x="2192" y="416"/>
                  <a:pt x="2164" y="422"/>
                  <a:pt x="2138" y="422"/>
                </a:cubicBezTo>
                <a:cubicBezTo>
                  <a:pt x="2058" y="420"/>
                  <a:pt x="2028" y="352"/>
                  <a:pt x="2030" y="290"/>
                </a:cubicBezTo>
                <a:moveTo>
                  <a:pt x="2478" y="242"/>
                </a:moveTo>
                <a:cubicBezTo>
                  <a:pt x="2490" y="206"/>
                  <a:pt x="2510" y="192"/>
                  <a:pt x="2528" y="192"/>
                </a:cubicBezTo>
                <a:cubicBezTo>
                  <a:pt x="2528" y="180"/>
                  <a:pt x="2528" y="180"/>
                  <a:pt x="2528" y="180"/>
                </a:cubicBezTo>
                <a:cubicBezTo>
                  <a:pt x="2430" y="180"/>
                  <a:pt x="2430" y="180"/>
                  <a:pt x="2430" y="180"/>
                </a:cubicBezTo>
                <a:cubicBezTo>
                  <a:pt x="2430" y="192"/>
                  <a:pt x="2430" y="192"/>
                  <a:pt x="2430" y="192"/>
                </a:cubicBezTo>
                <a:cubicBezTo>
                  <a:pt x="2454" y="194"/>
                  <a:pt x="2466" y="206"/>
                  <a:pt x="2458" y="234"/>
                </a:cubicBezTo>
                <a:cubicBezTo>
                  <a:pt x="2406" y="390"/>
                  <a:pt x="2406" y="390"/>
                  <a:pt x="2406" y="390"/>
                </a:cubicBezTo>
                <a:cubicBezTo>
                  <a:pt x="2354" y="270"/>
                  <a:pt x="2354" y="270"/>
                  <a:pt x="2354" y="270"/>
                </a:cubicBezTo>
                <a:cubicBezTo>
                  <a:pt x="2340" y="238"/>
                  <a:pt x="2334" y="224"/>
                  <a:pt x="2334" y="212"/>
                </a:cubicBezTo>
                <a:cubicBezTo>
                  <a:pt x="2334" y="202"/>
                  <a:pt x="2340" y="196"/>
                  <a:pt x="2360" y="192"/>
                </a:cubicBezTo>
                <a:cubicBezTo>
                  <a:pt x="2360" y="180"/>
                  <a:pt x="2360" y="180"/>
                  <a:pt x="2360" y="180"/>
                </a:cubicBezTo>
                <a:cubicBezTo>
                  <a:pt x="2234" y="180"/>
                  <a:pt x="2234" y="180"/>
                  <a:pt x="2234" y="180"/>
                </a:cubicBezTo>
                <a:cubicBezTo>
                  <a:pt x="2234" y="192"/>
                  <a:pt x="2234" y="192"/>
                  <a:pt x="2234" y="192"/>
                </a:cubicBezTo>
                <a:cubicBezTo>
                  <a:pt x="2266" y="194"/>
                  <a:pt x="2268" y="198"/>
                  <a:pt x="2310" y="292"/>
                </a:cubicBezTo>
                <a:cubicBezTo>
                  <a:pt x="2382" y="450"/>
                  <a:pt x="2382" y="450"/>
                  <a:pt x="2382" y="450"/>
                </a:cubicBezTo>
                <a:cubicBezTo>
                  <a:pt x="2358" y="512"/>
                  <a:pt x="2320" y="546"/>
                  <a:pt x="2242" y="564"/>
                </a:cubicBezTo>
                <a:cubicBezTo>
                  <a:pt x="2246" y="576"/>
                  <a:pt x="2260" y="600"/>
                  <a:pt x="2268" y="606"/>
                </a:cubicBezTo>
                <a:cubicBezTo>
                  <a:pt x="2370" y="564"/>
                  <a:pt x="2390" y="498"/>
                  <a:pt x="2426" y="396"/>
                </a:cubicBezTo>
                <a:lnTo>
                  <a:pt x="2478" y="242"/>
                </a:lnTo>
                <a:close/>
                <a:moveTo>
                  <a:pt x="2844" y="394"/>
                </a:moveTo>
                <a:cubicBezTo>
                  <a:pt x="2822" y="412"/>
                  <a:pt x="2782" y="416"/>
                  <a:pt x="2750" y="416"/>
                </a:cubicBezTo>
                <a:cubicBezTo>
                  <a:pt x="2670" y="416"/>
                  <a:pt x="2606" y="360"/>
                  <a:pt x="2606" y="284"/>
                </a:cubicBezTo>
                <a:cubicBezTo>
                  <a:pt x="2606" y="236"/>
                  <a:pt x="2626" y="206"/>
                  <a:pt x="2658" y="198"/>
                </a:cubicBezTo>
                <a:cubicBezTo>
                  <a:pt x="2698" y="266"/>
                  <a:pt x="2770" y="338"/>
                  <a:pt x="2844" y="394"/>
                </a:cubicBezTo>
                <a:moveTo>
                  <a:pt x="2928" y="448"/>
                </a:moveTo>
                <a:cubicBezTo>
                  <a:pt x="3022" y="448"/>
                  <a:pt x="3022" y="448"/>
                  <a:pt x="3022" y="448"/>
                </a:cubicBezTo>
                <a:cubicBezTo>
                  <a:pt x="3022" y="436"/>
                  <a:pt x="3022" y="436"/>
                  <a:pt x="3022" y="436"/>
                </a:cubicBezTo>
                <a:cubicBezTo>
                  <a:pt x="2992" y="432"/>
                  <a:pt x="2946" y="408"/>
                  <a:pt x="2896" y="372"/>
                </a:cubicBezTo>
                <a:cubicBezTo>
                  <a:pt x="2914" y="342"/>
                  <a:pt x="2918" y="300"/>
                  <a:pt x="2922" y="270"/>
                </a:cubicBezTo>
                <a:cubicBezTo>
                  <a:pt x="2926" y="244"/>
                  <a:pt x="2946" y="244"/>
                  <a:pt x="2958" y="242"/>
                </a:cubicBezTo>
                <a:cubicBezTo>
                  <a:pt x="2958" y="230"/>
                  <a:pt x="2958" y="230"/>
                  <a:pt x="2958" y="230"/>
                </a:cubicBezTo>
                <a:cubicBezTo>
                  <a:pt x="2834" y="230"/>
                  <a:pt x="2834" y="230"/>
                  <a:pt x="2834" y="230"/>
                </a:cubicBezTo>
                <a:cubicBezTo>
                  <a:pt x="2834" y="242"/>
                  <a:pt x="2834" y="242"/>
                  <a:pt x="2834" y="242"/>
                </a:cubicBezTo>
                <a:cubicBezTo>
                  <a:pt x="2864" y="246"/>
                  <a:pt x="2892" y="250"/>
                  <a:pt x="2892" y="294"/>
                </a:cubicBezTo>
                <a:cubicBezTo>
                  <a:pt x="2892" y="318"/>
                  <a:pt x="2888" y="342"/>
                  <a:pt x="2878" y="358"/>
                </a:cubicBezTo>
                <a:cubicBezTo>
                  <a:pt x="2770" y="274"/>
                  <a:pt x="2670" y="156"/>
                  <a:pt x="2670" y="96"/>
                </a:cubicBezTo>
                <a:cubicBezTo>
                  <a:pt x="2670" y="66"/>
                  <a:pt x="2688" y="54"/>
                  <a:pt x="2716" y="54"/>
                </a:cubicBezTo>
                <a:cubicBezTo>
                  <a:pt x="2752" y="54"/>
                  <a:pt x="2784" y="78"/>
                  <a:pt x="2800" y="124"/>
                </a:cubicBezTo>
                <a:cubicBezTo>
                  <a:pt x="2812" y="124"/>
                  <a:pt x="2812" y="124"/>
                  <a:pt x="2812" y="124"/>
                </a:cubicBezTo>
                <a:cubicBezTo>
                  <a:pt x="2810" y="42"/>
                  <a:pt x="2810" y="42"/>
                  <a:pt x="2810" y="42"/>
                </a:cubicBezTo>
                <a:cubicBezTo>
                  <a:pt x="2798" y="42"/>
                  <a:pt x="2798" y="42"/>
                  <a:pt x="2798" y="42"/>
                </a:cubicBezTo>
                <a:cubicBezTo>
                  <a:pt x="2798" y="48"/>
                  <a:pt x="2792" y="52"/>
                  <a:pt x="2788" y="52"/>
                </a:cubicBezTo>
                <a:cubicBezTo>
                  <a:pt x="2772" y="52"/>
                  <a:pt x="2752" y="36"/>
                  <a:pt x="2714" y="36"/>
                </a:cubicBezTo>
                <a:cubicBezTo>
                  <a:pt x="2672" y="36"/>
                  <a:pt x="2630" y="62"/>
                  <a:pt x="2630" y="118"/>
                </a:cubicBezTo>
                <a:cubicBezTo>
                  <a:pt x="2630" y="140"/>
                  <a:pt x="2636" y="160"/>
                  <a:pt x="2648" y="182"/>
                </a:cubicBezTo>
                <a:cubicBezTo>
                  <a:pt x="2592" y="200"/>
                  <a:pt x="2562" y="248"/>
                  <a:pt x="2562" y="304"/>
                </a:cubicBezTo>
                <a:cubicBezTo>
                  <a:pt x="2562" y="406"/>
                  <a:pt x="2640" y="460"/>
                  <a:pt x="2726" y="460"/>
                </a:cubicBezTo>
                <a:cubicBezTo>
                  <a:pt x="2780" y="460"/>
                  <a:pt x="2824" y="444"/>
                  <a:pt x="2862" y="410"/>
                </a:cubicBezTo>
                <a:cubicBezTo>
                  <a:pt x="2888" y="424"/>
                  <a:pt x="2912" y="442"/>
                  <a:pt x="2928" y="448"/>
                </a:cubicBezTo>
                <a:moveTo>
                  <a:pt x="3094" y="212"/>
                </a:moveTo>
                <a:cubicBezTo>
                  <a:pt x="3094" y="88"/>
                  <a:pt x="3154" y="20"/>
                  <a:pt x="3252" y="20"/>
                </a:cubicBezTo>
                <a:cubicBezTo>
                  <a:pt x="3328" y="20"/>
                  <a:pt x="3372" y="58"/>
                  <a:pt x="3392" y="134"/>
                </a:cubicBezTo>
                <a:cubicBezTo>
                  <a:pt x="3404" y="134"/>
                  <a:pt x="3404" y="134"/>
                  <a:pt x="3404" y="134"/>
                </a:cubicBezTo>
                <a:cubicBezTo>
                  <a:pt x="3400" y="4"/>
                  <a:pt x="3400" y="4"/>
                  <a:pt x="3400" y="4"/>
                </a:cubicBezTo>
                <a:cubicBezTo>
                  <a:pt x="3388" y="4"/>
                  <a:pt x="3388" y="4"/>
                  <a:pt x="3388" y="4"/>
                </a:cubicBezTo>
                <a:cubicBezTo>
                  <a:pt x="3384" y="14"/>
                  <a:pt x="3376" y="18"/>
                  <a:pt x="3364" y="18"/>
                </a:cubicBezTo>
                <a:cubicBezTo>
                  <a:pt x="3338" y="18"/>
                  <a:pt x="3314" y="0"/>
                  <a:pt x="3248" y="0"/>
                </a:cubicBezTo>
                <a:cubicBezTo>
                  <a:pt x="3118" y="0"/>
                  <a:pt x="3030" y="102"/>
                  <a:pt x="3030" y="242"/>
                </a:cubicBezTo>
                <a:cubicBezTo>
                  <a:pt x="3030" y="376"/>
                  <a:pt x="3110" y="460"/>
                  <a:pt x="3238" y="460"/>
                </a:cubicBezTo>
                <a:cubicBezTo>
                  <a:pt x="3320" y="460"/>
                  <a:pt x="3384" y="420"/>
                  <a:pt x="3408" y="380"/>
                </a:cubicBezTo>
                <a:cubicBezTo>
                  <a:pt x="3396" y="366"/>
                  <a:pt x="3396" y="366"/>
                  <a:pt x="3396" y="366"/>
                </a:cubicBezTo>
                <a:cubicBezTo>
                  <a:pt x="3370" y="402"/>
                  <a:pt x="3314" y="426"/>
                  <a:pt x="3256" y="426"/>
                </a:cubicBezTo>
                <a:cubicBezTo>
                  <a:pt x="3156" y="426"/>
                  <a:pt x="3094" y="340"/>
                  <a:pt x="3094" y="212"/>
                </a:cubicBezTo>
                <a:moveTo>
                  <a:pt x="3678" y="328"/>
                </a:moveTo>
                <a:cubicBezTo>
                  <a:pt x="3678" y="392"/>
                  <a:pt x="3650" y="430"/>
                  <a:pt x="3592" y="430"/>
                </a:cubicBezTo>
                <a:cubicBezTo>
                  <a:pt x="3542" y="430"/>
                  <a:pt x="3496" y="384"/>
                  <a:pt x="3496" y="292"/>
                </a:cubicBezTo>
                <a:cubicBezTo>
                  <a:pt x="3496" y="226"/>
                  <a:pt x="3528" y="190"/>
                  <a:pt x="3580" y="190"/>
                </a:cubicBezTo>
                <a:cubicBezTo>
                  <a:pt x="3628" y="192"/>
                  <a:pt x="3678" y="238"/>
                  <a:pt x="3678" y="328"/>
                </a:cubicBezTo>
                <a:moveTo>
                  <a:pt x="3732" y="312"/>
                </a:moveTo>
                <a:cubicBezTo>
                  <a:pt x="3732" y="260"/>
                  <a:pt x="3710" y="214"/>
                  <a:pt x="3672" y="190"/>
                </a:cubicBezTo>
                <a:cubicBezTo>
                  <a:pt x="3650" y="176"/>
                  <a:pt x="3620" y="168"/>
                  <a:pt x="3588" y="168"/>
                </a:cubicBezTo>
                <a:cubicBezTo>
                  <a:pt x="3502" y="168"/>
                  <a:pt x="3442" y="230"/>
                  <a:pt x="3442" y="310"/>
                </a:cubicBezTo>
                <a:cubicBezTo>
                  <a:pt x="3442" y="364"/>
                  <a:pt x="3464" y="408"/>
                  <a:pt x="3502" y="432"/>
                </a:cubicBezTo>
                <a:cubicBezTo>
                  <a:pt x="3524" y="446"/>
                  <a:pt x="3554" y="452"/>
                  <a:pt x="3586" y="452"/>
                </a:cubicBezTo>
                <a:cubicBezTo>
                  <a:pt x="3672" y="454"/>
                  <a:pt x="3732" y="394"/>
                  <a:pt x="3732" y="312"/>
                </a:cubicBezTo>
                <a:moveTo>
                  <a:pt x="4136" y="448"/>
                </a:moveTo>
                <a:cubicBezTo>
                  <a:pt x="4280" y="448"/>
                  <a:pt x="4280" y="448"/>
                  <a:pt x="4280" y="448"/>
                </a:cubicBezTo>
                <a:cubicBezTo>
                  <a:pt x="4280" y="436"/>
                  <a:pt x="4280" y="436"/>
                  <a:pt x="4280" y="436"/>
                </a:cubicBezTo>
                <a:cubicBezTo>
                  <a:pt x="4230" y="434"/>
                  <a:pt x="4232" y="426"/>
                  <a:pt x="4232" y="348"/>
                </a:cubicBezTo>
                <a:cubicBezTo>
                  <a:pt x="4232" y="276"/>
                  <a:pt x="4232" y="276"/>
                  <a:pt x="4232" y="276"/>
                </a:cubicBezTo>
                <a:cubicBezTo>
                  <a:pt x="4232" y="200"/>
                  <a:pt x="4190" y="172"/>
                  <a:pt x="4142" y="172"/>
                </a:cubicBezTo>
                <a:cubicBezTo>
                  <a:pt x="4098" y="172"/>
                  <a:pt x="4064" y="196"/>
                  <a:pt x="4038" y="232"/>
                </a:cubicBezTo>
                <a:cubicBezTo>
                  <a:pt x="4028" y="194"/>
                  <a:pt x="4000" y="172"/>
                  <a:pt x="3954" y="172"/>
                </a:cubicBezTo>
                <a:cubicBezTo>
                  <a:pt x="3916" y="172"/>
                  <a:pt x="3880" y="196"/>
                  <a:pt x="3858" y="224"/>
                </a:cubicBezTo>
                <a:cubicBezTo>
                  <a:pt x="3858" y="176"/>
                  <a:pt x="3858" y="176"/>
                  <a:pt x="3858" y="176"/>
                </a:cubicBezTo>
                <a:cubicBezTo>
                  <a:pt x="3756" y="176"/>
                  <a:pt x="3756" y="176"/>
                  <a:pt x="3756" y="176"/>
                </a:cubicBezTo>
                <a:cubicBezTo>
                  <a:pt x="3756" y="188"/>
                  <a:pt x="3756" y="188"/>
                  <a:pt x="3756" y="188"/>
                </a:cubicBezTo>
                <a:cubicBezTo>
                  <a:pt x="3800" y="190"/>
                  <a:pt x="3806" y="192"/>
                  <a:pt x="3806" y="268"/>
                </a:cubicBezTo>
                <a:cubicBezTo>
                  <a:pt x="3806" y="346"/>
                  <a:pt x="3806" y="346"/>
                  <a:pt x="3806" y="346"/>
                </a:cubicBezTo>
                <a:cubicBezTo>
                  <a:pt x="3806" y="434"/>
                  <a:pt x="3804" y="434"/>
                  <a:pt x="3758" y="434"/>
                </a:cubicBezTo>
                <a:cubicBezTo>
                  <a:pt x="3758" y="446"/>
                  <a:pt x="3758" y="446"/>
                  <a:pt x="3758" y="446"/>
                </a:cubicBezTo>
                <a:cubicBezTo>
                  <a:pt x="3902" y="446"/>
                  <a:pt x="3902" y="446"/>
                  <a:pt x="3902" y="446"/>
                </a:cubicBezTo>
                <a:cubicBezTo>
                  <a:pt x="3902" y="434"/>
                  <a:pt x="3902" y="434"/>
                  <a:pt x="3902" y="434"/>
                </a:cubicBezTo>
                <a:cubicBezTo>
                  <a:pt x="3862" y="430"/>
                  <a:pt x="3858" y="430"/>
                  <a:pt x="3858" y="342"/>
                </a:cubicBezTo>
                <a:cubicBezTo>
                  <a:pt x="3858" y="262"/>
                  <a:pt x="3858" y="262"/>
                  <a:pt x="3858" y="262"/>
                </a:cubicBezTo>
                <a:cubicBezTo>
                  <a:pt x="3858" y="234"/>
                  <a:pt x="3894" y="204"/>
                  <a:pt x="3932" y="204"/>
                </a:cubicBezTo>
                <a:cubicBezTo>
                  <a:pt x="3974" y="204"/>
                  <a:pt x="3990" y="226"/>
                  <a:pt x="3990" y="282"/>
                </a:cubicBezTo>
                <a:cubicBezTo>
                  <a:pt x="3990" y="338"/>
                  <a:pt x="3990" y="338"/>
                  <a:pt x="3990" y="338"/>
                </a:cubicBezTo>
                <a:cubicBezTo>
                  <a:pt x="3990" y="428"/>
                  <a:pt x="3988" y="432"/>
                  <a:pt x="3950" y="436"/>
                </a:cubicBezTo>
                <a:cubicBezTo>
                  <a:pt x="3950" y="448"/>
                  <a:pt x="3950" y="448"/>
                  <a:pt x="3950" y="448"/>
                </a:cubicBezTo>
                <a:cubicBezTo>
                  <a:pt x="4086" y="448"/>
                  <a:pt x="4086" y="448"/>
                  <a:pt x="4086" y="448"/>
                </a:cubicBezTo>
                <a:cubicBezTo>
                  <a:pt x="4086" y="436"/>
                  <a:pt x="4086" y="436"/>
                  <a:pt x="4086" y="436"/>
                </a:cubicBezTo>
                <a:cubicBezTo>
                  <a:pt x="4040" y="432"/>
                  <a:pt x="4042" y="428"/>
                  <a:pt x="4042" y="342"/>
                </a:cubicBezTo>
                <a:cubicBezTo>
                  <a:pt x="4042" y="264"/>
                  <a:pt x="4042" y="264"/>
                  <a:pt x="4042" y="264"/>
                </a:cubicBezTo>
                <a:cubicBezTo>
                  <a:pt x="4042" y="236"/>
                  <a:pt x="4078" y="206"/>
                  <a:pt x="4118" y="206"/>
                </a:cubicBezTo>
                <a:cubicBezTo>
                  <a:pt x="4152" y="206"/>
                  <a:pt x="4174" y="226"/>
                  <a:pt x="4174" y="284"/>
                </a:cubicBezTo>
                <a:cubicBezTo>
                  <a:pt x="4174" y="346"/>
                  <a:pt x="4174" y="346"/>
                  <a:pt x="4174" y="346"/>
                </a:cubicBezTo>
                <a:cubicBezTo>
                  <a:pt x="4174" y="428"/>
                  <a:pt x="4174" y="432"/>
                  <a:pt x="4134" y="436"/>
                </a:cubicBezTo>
                <a:cubicBezTo>
                  <a:pt x="4134" y="448"/>
                  <a:pt x="4134" y="448"/>
                  <a:pt x="4134" y="448"/>
                </a:cubicBezTo>
                <a:lnTo>
                  <a:pt x="4136" y="448"/>
                </a:lnTo>
                <a:close/>
                <a:moveTo>
                  <a:pt x="4546" y="316"/>
                </a:moveTo>
                <a:cubicBezTo>
                  <a:pt x="4546" y="388"/>
                  <a:pt x="4516" y="432"/>
                  <a:pt x="4460" y="432"/>
                </a:cubicBezTo>
                <a:cubicBezTo>
                  <a:pt x="4424" y="432"/>
                  <a:pt x="4384" y="412"/>
                  <a:pt x="4384" y="384"/>
                </a:cubicBezTo>
                <a:cubicBezTo>
                  <a:pt x="4384" y="248"/>
                  <a:pt x="4384" y="248"/>
                  <a:pt x="4384" y="248"/>
                </a:cubicBezTo>
                <a:cubicBezTo>
                  <a:pt x="4384" y="226"/>
                  <a:pt x="4416" y="202"/>
                  <a:pt x="4454" y="202"/>
                </a:cubicBezTo>
                <a:cubicBezTo>
                  <a:pt x="4510" y="206"/>
                  <a:pt x="4546" y="248"/>
                  <a:pt x="4546" y="316"/>
                </a:cubicBezTo>
                <a:moveTo>
                  <a:pt x="4600" y="310"/>
                </a:moveTo>
                <a:cubicBezTo>
                  <a:pt x="4600" y="230"/>
                  <a:pt x="4548" y="170"/>
                  <a:pt x="4478" y="170"/>
                </a:cubicBezTo>
                <a:cubicBezTo>
                  <a:pt x="4438" y="170"/>
                  <a:pt x="4406" y="188"/>
                  <a:pt x="4384" y="214"/>
                </a:cubicBezTo>
                <a:cubicBezTo>
                  <a:pt x="4384" y="174"/>
                  <a:pt x="4384" y="174"/>
                  <a:pt x="4384" y="174"/>
                </a:cubicBezTo>
                <a:cubicBezTo>
                  <a:pt x="4284" y="174"/>
                  <a:pt x="4284" y="174"/>
                  <a:pt x="4284" y="174"/>
                </a:cubicBezTo>
                <a:cubicBezTo>
                  <a:pt x="4284" y="186"/>
                  <a:pt x="4284" y="186"/>
                  <a:pt x="4284" y="186"/>
                </a:cubicBezTo>
                <a:cubicBezTo>
                  <a:pt x="4326" y="188"/>
                  <a:pt x="4332" y="190"/>
                  <a:pt x="4332" y="280"/>
                </a:cubicBezTo>
                <a:cubicBezTo>
                  <a:pt x="4332" y="466"/>
                  <a:pt x="4332" y="466"/>
                  <a:pt x="4332" y="466"/>
                </a:cubicBezTo>
                <a:cubicBezTo>
                  <a:pt x="4332" y="564"/>
                  <a:pt x="4334" y="570"/>
                  <a:pt x="4286" y="574"/>
                </a:cubicBezTo>
                <a:cubicBezTo>
                  <a:pt x="4286" y="588"/>
                  <a:pt x="4286" y="588"/>
                  <a:pt x="4286" y="588"/>
                </a:cubicBezTo>
                <a:cubicBezTo>
                  <a:pt x="4432" y="588"/>
                  <a:pt x="4432" y="588"/>
                  <a:pt x="4432" y="588"/>
                </a:cubicBezTo>
                <a:cubicBezTo>
                  <a:pt x="4432" y="574"/>
                  <a:pt x="4432" y="574"/>
                  <a:pt x="4432" y="574"/>
                </a:cubicBezTo>
                <a:cubicBezTo>
                  <a:pt x="4380" y="572"/>
                  <a:pt x="4384" y="564"/>
                  <a:pt x="4384" y="462"/>
                </a:cubicBezTo>
                <a:cubicBezTo>
                  <a:pt x="4384" y="424"/>
                  <a:pt x="4384" y="424"/>
                  <a:pt x="4384" y="424"/>
                </a:cubicBezTo>
                <a:cubicBezTo>
                  <a:pt x="4404" y="444"/>
                  <a:pt x="4436" y="454"/>
                  <a:pt x="4466" y="454"/>
                </a:cubicBezTo>
                <a:cubicBezTo>
                  <a:pt x="4548" y="454"/>
                  <a:pt x="4600" y="392"/>
                  <a:pt x="4600" y="310"/>
                </a:cubicBezTo>
                <a:moveTo>
                  <a:pt x="4792" y="382"/>
                </a:moveTo>
                <a:cubicBezTo>
                  <a:pt x="4792" y="404"/>
                  <a:pt x="4762" y="424"/>
                  <a:pt x="4736" y="424"/>
                </a:cubicBezTo>
                <a:cubicBezTo>
                  <a:pt x="4712" y="424"/>
                  <a:pt x="4694" y="410"/>
                  <a:pt x="4694" y="378"/>
                </a:cubicBezTo>
                <a:cubicBezTo>
                  <a:pt x="4694" y="322"/>
                  <a:pt x="4752" y="328"/>
                  <a:pt x="4792" y="306"/>
                </a:cubicBezTo>
                <a:cubicBezTo>
                  <a:pt x="4792" y="382"/>
                  <a:pt x="4792" y="382"/>
                  <a:pt x="4792" y="382"/>
                </a:cubicBezTo>
                <a:close/>
                <a:moveTo>
                  <a:pt x="5240" y="434"/>
                </a:moveTo>
                <a:cubicBezTo>
                  <a:pt x="5192" y="432"/>
                  <a:pt x="5192" y="430"/>
                  <a:pt x="5192" y="340"/>
                </a:cubicBezTo>
                <a:cubicBezTo>
                  <a:pt x="5192" y="278"/>
                  <a:pt x="5192" y="278"/>
                  <a:pt x="5192" y="278"/>
                </a:cubicBezTo>
                <a:cubicBezTo>
                  <a:pt x="5192" y="196"/>
                  <a:pt x="5146" y="170"/>
                  <a:pt x="5104" y="170"/>
                </a:cubicBezTo>
                <a:cubicBezTo>
                  <a:pt x="5068" y="170"/>
                  <a:pt x="5032" y="186"/>
                  <a:pt x="5004" y="222"/>
                </a:cubicBezTo>
                <a:cubicBezTo>
                  <a:pt x="5004" y="174"/>
                  <a:pt x="5004" y="174"/>
                  <a:pt x="5004" y="174"/>
                </a:cubicBezTo>
                <a:cubicBezTo>
                  <a:pt x="4902" y="174"/>
                  <a:pt x="4902" y="174"/>
                  <a:pt x="4902" y="174"/>
                </a:cubicBezTo>
                <a:cubicBezTo>
                  <a:pt x="4902" y="186"/>
                  <a:pt x="4902" y="186"/>
                  <a:pt x="4902" y="186"/>
                </a:cubicBezTo>
                <a:cubicBezTo>
                  <a:pt x="4946" y="188"/>
                  <a:pt x="4952" y="190"/>
                  <a:pt x="4952" y="266"/>
                </a:cubicBezTo>
                <a:cubicBezTo>
                  <a:pt x="4952" y="334"/>
                  <a:pt x="4952" y="334"/>
                  <a:pt x="4952" y="334"/>
                </a:cubicBezTo>
                <a:cubicBezTo>
                  <a:pt x="4952" y="430"/>
                  <a:pt x="4952" y="432"/>
                  <a:pt x="4904" y="434"/>
                </a:cubicBezTo>
                <a:cubicBezTo>
                  <a:pt x="4892" y="434"/>
                  <a:pt x="4892" y="434"/>
                  <a:pt x="4892" y="434"/>
                </a:cubicBezTo>
                <a:cubicBezTo>
                  <a:pt x="4854" y="434"/>
                  <a:pt x="4850" y="422"/>
                  <a:pt x="4850" y="366"/>
                </a:cubicBezTo>
                <a:cubicBezTo>
                  <a:pt x="4850" y="274"/>
                  <a:pt x="4850" y="274"/>
                  <a:pt x="4850" y="274"/>
                </a:cubicBezTo>
                <a:cubicBezTo>
                  <a:pt x="4850" y="256"/>
                  <a:pt x="4848" y="240"/>
                  <a:pt x="4844" y="228"/>
                </a:cubicBezTo>
                <a:cubicBezTo>
                  <a:pt x="4830" y="186"/>
                  <a:pt x="4796" y="170"/>
                  <a:pt x="4748" y="170"/>
                </a:cubicBezTo>
                <a:cubicBezTo>
                  <a:pt x="4718" y="170"/>
                  <a:pt x="4674" y="180"/>
                  <a:pt x="4650" y="202"/>
                </a:cubicBezTo>
                <a:cubicBezTo>
                  <a:pt x="4652" y="214"/>
                  <a:pt x="4664" y="240"/>
                  <a:pt x="4670" y="248"/>
                </a:cubicBezTo>
                <a:cubicBezTo>
                  <a:pt x="4676" y="246"/>
                  <a:pt x="4676" y="246"/>
                  <a:pt x="4676" y="246"/>
                </a:cubicBezTo>
                <a:cubicBezTo>
                  <a:pt x="4688" y="216"/>
                  <a:pt x="4708" y="194"/>
                  <a:pt x="4742" y="194"/>
                </a:cubicBezTo>
                <a:cubicBezTo>
                  <a:pt x="4778" y="194"/>
                  <a:pt x="4794" y="220"/>
                  <a:pt x="4794" y="250"/>
                </a:cubicBezTo>
                <a:cubicBezTo>
                  <a:pt x="4794" y="282"/>
                  <a:pt x="4794" y="282"/>
                  <a:pt x="4794" y="282"/>
                </a:cubicBezTo>
                <a:cubicBezTo>
                  <a:pt x="4794" y="302"/>
                  <a:pt x="4702" y="306"/>
                  <a:pt x="4664" y="338"/>
                </a:cubicBezTo>
                <a:cubicBezTo>
                  <a:pt x="4652" y="350"/>
                  <a:pt x="4642" y="364"/>
                  <a:pt x="4642" y="384"/>
                </a:cubicBezTo>
                <a:cubicBezTo>
                  <a:pt x="4642" y="426"/>
                  <a:pt x="4672" y="456"/>
                  <a:pt x="4716" y="456"/>
                </a:cubicBezTo>
                <a:cubicBezTo>
                  <a:pt x="4744" y="456"/>
                  <a:pt x="4768" y="446"/>
                  <a:pt x="4794" y="418"/>
                </a:cubicBezTo>
                <a:cubicBezTo>
                  <a:pt x="4798" y="438"/>
                  <a:pt x="4814" y="448"/>
                  <a:pt x="4842" y="448"/>
                </a:cubicBezTo>
                <a:cubicBezTo>
                  <a:pt x="4906" y="448"/>
                  <a:pt x="4906" y="448"/>
                  <a:pt x="4906" y="448"/>
                </a:cubicBezTo>
                <a:cubicBezTo>
                  <a:pt x="4906" y="448"/>
                  <a:pt x="4906" y="448"/>
                  <a:pt x="4906" y="448"/>
                </a:cubicBezTo>
                <a:cubicBezTo>
                  <a:pt x="5048" y="448"/>
                  <a:pt x="5048" y="448"/>
                  <a:pt x="5048" y="448"/>
                </a:cubicBezTo>
                <a:cubicBezTo>
                  <a:pt x="5048" y="436"/>
                  <a:pt x="5048" y="436"/>
                  <a:pt x="5048" y="436"/>
                </a:cubicBezTo>
                <a:cubicBezTo>
                  <a:pt x="5006" y="432"/>
                  <a:pt x="5004" y="434"/>
                  <a:pt x="5004" y="338"/>
                </a:cubicBezTo>
                <a:cubicBezTo>
                  <a:pt x="5004" y="262"/>
                  <a:pt x="5004" y="262"/>
                  <a:pt x="5004" y="262"/>
                </a:cubicBezTo>
                <a:cubicBezTo>
                  <a:pt x="5004" y="236"/>
                  <a:pt x="5038" y="206"/>
                  <a:pt x="5080" y="206"/>
                </a:cubicBezTo>
                <a:cubicBezTo>
                  <a:pt x="5114" y="206"/>
                  <a:pt x="5140" y="220"/>
                  <a:pt x="5140" y="286"/>
                </a:cubicBezTo>
                <a:cubicBezTo>
                  <a:pt x="5140" y="340"/>
                  <a:pt x="5140" y="340"/>
                  <a:pt x="5140" y="340"/>
                </a:cubicBezTo>
                <a:cubicBezTo>
                  <a:pt x="5140" y="432"/>
                  <a:pt x="5136" y="432"/>
                  <a:pt x="5098" y="434"/>
                </a:cubicBezTo>
                <a:cubicBezTo>
                  <a:pt x="5098" y="446"/>
                  <a:pt x="5098" y="446"/>
                  <a:pt x="5098" y="446"/>
                </a:cubicBezTo>
                <a:cubicBezTo>
                  <a:pt x="5240" y="446"/>
                  <a:pt x="5240" y="446"/>
                  <a:pt x="5240" y="446"/>
                </a:cubicBezTo>
                <a:lnTo>
                  <a:pt x="5240" y="434"/>
                </a:lnTo>
                <a:close/>
                <a:moveTo>
                  <a:pt x="5516" y="192"/>
                </a:moveTo>
                <a:cubicBezTo>
                  <a:pt x="5516" y="180"/>
                  <a:pt x="5516" y="180"/>
                  <a:pt x="5516" y="180"/>
                </a:cubicBezTo>
                <a:cubicBezTo>
                  <a:pt x="5418" y="180"/>
                  <a:pt x="5418" y="180"/>
                  <a:pt x="5418" y="180"/>
                </a:cubicBezTo>
                <a:cubicBezTo>
                  <a:pt x="5418" y="192"/>
                  <a:pt x="5418" y="192"/>
                  <a:pt x="5418" y="192"/>
                </a:cubicBezTo>
                <a:cubicBezTo>
                  <a:pt x="5442" y="194"/>
                  <a:pt x="5454" y="206"/>
                  <a:pt x="5446" y="234"/>
                </a:cubicBezTo>
                <a:cubicBezTo>
                  <a:pt x="5394" y="390"/>
                  <a:pt x="5394" y="390"/>
                  <a:pt x="5394" y="390"/>
                </a:cubicBezTo>
                <a:cubicBezTo>
                  <a:pt x="5342" y="270"/>
                  <a:pt x="5342" y="270"/>
                  <a:pt x="5342" y="270"/>
                </a:cubicBezTo>
                <a:cubicBezTo>
                  <a:pt x="5328" y="238"/>
                  <a:pt x="5322" y="224"/>
                  <a:pt x="5322" y="212"/>
                </a:cubicBezTo>
                <a:cubicBezTo>
                  <a:pt x="5322" y="202"/>
                  <a:pt x="5328" y="196"/>
                  <a:pt x="5348" y="192"/>
                </a:cubicBezTo>
                <a:cubicBezTo>
                  <a:pt x="5348" y="180"/>
                  <a:pt x="5348" y="180"/>
                  <a:pt x="5348" y="180"/>
                </a:cubicBezTo>
                <a:cubicBezTo>
                  <a:pt x="5220" y="180"/>
                  <a:pt x="5220" y="180"/>
                  <a:pt x="5220" y="180"/>
                </a:cubicBezTo>
                <a:cubicBezTo>
                  <a:pt x="5220" y="192"/>
                  <a:pt x="5220" y="192"/>
                  <a:pt x="5220" y="192"/>
                </a:cubicBezTo>
                <a:cubicBezTo>
                  <a:pt x="5252" y="194"/>
                  <a:pt x="5254" y="198"/>
                  <a:pt x="5296" y="292"/>
                </a:cubicBezTo>
                <a:cubicBezTo>
                  <a:pt x="5368" y="450"/>
                  <a:pt x="5368" y="450"/>
                  <a:pt x="5368" y="450"/>
                </a:cubicBezTo>
                <a:cubicBezTo>
                  <a:pt x="5344" y="512"/>
                  <a:pt x="5306" y="546"/>
                  <a:pt x="5228" y="564"/>
                </a:cubicBezTo>
                <a:cubicBezTo>
                  <a:pt x="5232" y="576"/>
                  <a:pt x="5246" y="600"/>
                  <a:pt x="5254" y="606"/>
                </a:cubicBezTo>
                <a:cubicBezTo>
                  <a:pt x="5356" y="564"/>
                  <a:pt x="5376" y="498"/>
                  <a:pt x="5412" y="396"/>
                </a:cubicBezTo>
                <a:cubicBezTo>
                  <a:pt x="5466" y="242"/>
                  <a:pt x="5466" y="242"/>
                  <a:pt x="5466" y="242"/>
                </a:cubicBezTo>
                <a:cubicBezTo>
                  <a:pt x="5478" y="206"/>
                  <a:pt x="5498" y="192"/>
                  <a:pt x="5516" y="192"/>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600" kern="1200">
                <a:solidFill>
                  <a:schemeClr val="tx1"/>
                </a:solidFill>
                <a:latin typeface="Arial" charset="0"/>
                <a:ea typeface="+mn-ea"/>
                <a:cs typeface="+mn-cs"/>
              </a:defRPr>
            </a:lvl1pPr>
            <a:lvl2pPr marL="457200" algn="l" rtl="0" fontAlgn="base">
              <a:spcBef>
                <a:spcPct val="0"/>
              </a:spcBef>
              <a:spcAft>
                <a:spcPct val="0"/>
              </a:spcAft>
              <a:defRPr sz="1600" kern="1200">
                <a:solidFill>
                  <a:schemeClr val="tx1"/>
                </a:solidFill>
                <a:latin typeface="Arial" charset="0"/>
                <a:ea typeface="+mn-ea"/>
                <a:cs typeface="+mn-cs"/>
              </a:defRPr>
            </a:lvl2pPr>
            <a:lvl3pPr marL="914400" algn="l" rtl="0" fontAlgn="base">
              <a:spcBef>
                <a:spcPct val="0"/>
              </a:spcBef>
              <a:spcAft>
                <a:spcPct val="0"/>
              </a:spcAft>
              <a:defRPr sz="1600" kern="1200">
                <a:solidFill>
                  <a:schemeClr val="tx1"/>
                </a:solidFill>
                <a:latin typeface="Arial" charset="0"/>
                <a:ea typeface="+mn-ea"/>
                <a:cs typeface="+mn-cs"/>
              </a:defRPr>
            </a:lvl3pPr>
            <a:lvl4pPr marL="1371600" algn="l" rtl="0" fontAlgn="base">
              <a:spcBef>
                <a:spcPct val="0"/>
              </a:spcBef>
              <a:spcAft>
                <a:spcPct val="0"/>
              </a:spcAft>
              <a:defRPr sz="1600" kern="1200">
                <a:solidFill>
                  <a:schemeClr val="tx1"/>
                </a:solidFill>
                <a:latin typeface="Arial" charset="0"/>
                <a:ea typeface="+mn-ea"/>
                <a:cs typeface="+mn-cs"/>
              </a:defRPr>
            </a:lvl4pPr>
            <a:lvl5pPr marL="1828800" algn="l" rtl="0" fontAlgn="base">
              <a:spcBef>
                <a:spcPct val="0"/>
              </a:spcBef>
              <a:spcAft>
                <a:spcPct val="0"/>
              </a:spcAft>
              <a:defRPr sz="1600" kern="1200">
                <a:solidFill>
                  <a:schemeClr val="tx1"/>
                </a:solidFill>
                <a:latin typeface="Arial" charset="0"/>
                <a:ea typeface="+mn-ea"/>
                <a:cs typeface="+mn-cs"/>
              </a:defRPr>
            </a:lvl5pPr>
            <a:lvl6pPr marL="2286000" algn="l" defTabSz="914400" rtl="0" eaLnBrk="1" latinLnBrk="0" hangingPunct="1">
              <a:defRPr sz="1600" kern="1200">
                <a:solidFill>
                  <a:schemeClr val="tx1"/>
                </a:solidFill>
                <a:latin typeface="Arial" charset="0"/>
                <a:ea typeface="+mn-ea"/>
                <a:cs typeface="+mn-cs"/>
              </a:defRPr>
            </a:lvl6pPr>
            <a:lvl7pPr marL="2743200" algn="l" defTabSz="914400" rtl="0" eaLnBrk="1" latinLnBrk="0" hangingPunct="1">
              <a:defRPr sz="1600" kern="1200">
                <a:solidFill>
                  <a:schemeClr val="tx1"/>
                </a:solidFill>
                <a:latin typeface="Arial" charset="0"/>
                <a:ea typeface="+mn-ea"/>
                <a:cs typeface="+mn-cs"/>
              </a:defRPr>
            </a:lvl7pPr>
            <a:lvl8pPr marL="3200400" algn="l" defTabSz="914400" rtl="0" eaLnBrk="1" latinLnBrk="0" hangingPunct="1">
              <a:defRPr sz="1600" kern="1200">
                <a:solidFill>
                  <a:schemeClr val="tx1"/>
                </a:solidFill>
                <a:latin typeface="Arial" charset="0"/>
                <a:ea typeface="+mn-ea"/>
                <a:cs typeface="+mn-cs"/>
              </a:defRPr>
            </a:lvl8pPr>
            <a:lvl9pPr marL="3657600" algn="l" defTabSz="914400" rtl="0" eaLnBrk="1" latinLnBrk="0" hangingPunct="1">
              <a:defRPr sz="1600" kern="1200">
                <a:solidFill>
                  <a:schemeClr val="tx1"/>
                </a:solidFill>
                <a:latin typeface="Arial" charset="0"/>
                <a:ea typeface="+mn-ea"/>
                <a:cs typeface="+mn-cs"/>
              </a:defRPr>
            </a:lvl9pPr>
          </a:lstStyle>
          <a:p>
            <a:endParaRPr lang="en-US" baseline="0" dirty="0">
              <a:solidFill>
                <a:srgbClr val="000000"/>
              </a:solidFill>
              <a:latin typeface="+mn-lt"/>
            </a:endParaRPr>
          </a:p>
        </p:txBody>
      </p:sp>
      <p:sp>
        <p:nvSpPr>
          <p:cNvPr id="27" name="Disclaimer-English (United States)" hidden="1"/>
          <p:cNvSpPr>
            <a:spLocks noChangeArrowheads="1"/>
          </p:cNvSpPr>
          <p:nvPr/>
        </p:nvSpPr>
        <p:spPr bwMode="black">
          <a:xfrm>
            <a:off x="2268266" y="6287785"/>
            <a:ext cx="3544453" cy="36908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t" anchorCtr="0">
            <a:noAutofit/>
          </a:bodyPr>
          <a:lstStyle/>
          <a:p>
            <a:pPr defTabSz="804863" eaLnBrk="0" hangingPunct="0"/>
            <a:r>
              <a:rPr lang="en-US" sz="800" baseline="0" dirty="0">
                <a:solidFill>
                  <a:srgbClr val="FFFFFF"/>
                </a:solidFill>
                <a:latin typeface="+mn-lt"/>
              </a:rPr>
              <a:t>CONFIDENTIAL AND PROPRIETARY</a:t>
            </a:r>
          </a:p>
          <a:p>
            <a:pPr defTabSz="804863" eaLnBrk="0" hangingPunct="0"/>
            <a:r>
              <a:rPr lang="en-US" sz="800" baseline="0" dirty="0">
                <a:solidFill>
                  <a:srgbClr val="FFFFFF"/>
                </a:solidFill>
                <a:latin typeface="+mn-lt"/>
              </a:rPr>
              <a:t>Any use of this material without specific permission of McKinsey &amp; Company is strictly prohibited</a:t>
            </a:r>
          </a:p>
        </p:txBody>
      </p:sp>
    </p:spTree>
    <p:extLst>
      <p:ext uri="{BB962C8B-B14F-4D97-AF65-F5344CB8AC3E}">
        <p14:creationId xmlns:p14="http://schemas.microsoft.com/office/powerpoint/2010/main" val="2742957978"/>
      </p:ext>
    </p:extLst>
  </p:cSld>
  <p:clrMapOvr>
    <a:masterClrMapping/>
  </p:clrMapOvr>
  <p:extLst mod="1">
    <p:ext uri="{DCECCB84-F9BA-43D5-87BE-67443E8EF086}">
      <p15:sldGuideLst xmlns:p15="http://schemas.microsoft.com/office/powerpoint/2012/main">
        <p15:guide id="1" orient="horz" pos="2117">
          <p15:clr>
            <a:srgbClr val="FBAE40"/>
          </p15:clr>
        </p15:guide>
        <p15:guide id="2" pos="1416">
          <p15:clr>
            <a:srgbClr val="FBAE40"/>
          </p15:clr>
        </p15:guide>
      </p15:sldGuideLst>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6E228F5-5CF1-42E1-9748-97D7582A107A}"/>
              </a:ext>
            </a:extLst>
          </p:cNvPr>
          <p:cNvGraphicFramePr>
            <a:graphicFrameLocks noChangeAspect="1"/>
          </p:cNvGraphicFramePr>
          <p:nvPr>
            <p:custDataLst>
              <p:tags r:id="rId2"/>
            </p:custDataLst>
            <p:extLst>
              <p:ext uri="{D42A27DB-BD31-4B8C-83A1-F6EECF244321}">
                <p14:modId xmlns:p14="http://schemas.microsoft.com/office/powerpoint/2010/main" val="80945429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1028" name="think-cell Slide" r:id="rId5" imgW="353" imgH="353" progId="TCLayout.ActiveDocument.1">
                  <p:embed/>
                </p:oleObj>
              </mc:Choice>
              <mc:Fallback>
                <p:oleObj name="think-cell Slide" r:id="rId5" imgW="353" imgH="353" progId="TCLayout.ActiveDocument.1">
                  <p:embed/>
                  <p:pic>
                    <p:nvPicPr>
                      <p:cNvPr id="3" name="Object 2" hidden="1">
                        <a:extLst>
                          <a:ext uri="{FF2B5EF4-FFF2-40B4-BE49-F238E27FC236}">
                            <a16:creationId xmlns:a16="http://schemas.microsoft.com/office/drawing/2014/main" id="{C6E228F5-5CF1-42E1-9748-97D7582A107A}"/>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2. Slide Title"/>
          <p:cNvSpPr>
            <a:spLocks noGrp="1"/>
          </p:cNvSpPr>
          <p:nvPr>
            <p:ph type="title"/>
          </p:nvPr>
        </p:nvSpPr>
        <p:spPr bwMode="auto"/>
        <p:txBody>
          <a:bodyPr/>
          <a:lstStyle/>
          <a:p>
            <a:r>
              <a:rPr lang="en-US"/>
              <a:t>Click to edit Master title style</a:t>
            </a:r>
            <a:endParaRPr lang="en-US" dirty="0"/>
          </a:p>
        </p:txBody>
      </p:sp>
      <p:sp>
        <p:nvSpPr>
          <p:cNvPr id="8" name="Slide Number"/>
          <p:cNvSpPr txBox="1">
            <a:spLocks/>
          </p:cNvSpPr>
          <p:nvPr/>
        </p:nvSpPr>
        <p:spPr bwMode="auto">
          <a:xfrm>
            <a:off x="8564563" y="6508272"/>
            <a:ext cx="125034" cy="123111"/>
          </a:xfrm>
          <a:prstGeom prst="rect">
            <a:avLst/>
          </a:prstGeom>
        </p:spPr>
        <p:txBody>
          <a:bodyPr vert="horz" wrap="none" lIns="0" tIns="0" rIns="0" bIns="0" rtlCol="0" anchor="ctr">
            <a:spAutoFit/>
          </a:bodyPr>
          <a:lstStyle>
            <a:defPPr>
              <a:defRPr lang="en-US"/>
            </a:defPPr>
            <a:lvl1pPr>
              <a:defRPr sz="1000" baseline="0">
                <a:latin typeface="+mn-lt"/>
              </a:defRPr>
            </a:lvl1pPr>
          </a:lstStyle>
          <a:p>
            <a:fld id="{42C328C1-A84F-4A39-A664-DBA00541A8C6}" type="slidenum">
              <a:rPr lang="en-US" sz="800" baseline="0" smtClean="0">
                <a:solidFill>
                  <a:srgbClr val="808080"/>
                </a:solidFill>
                <a:latin typeface="+mn-lt"/>
              </a:rPr>
              <a:pPr/>
              <a:t>‹#›</a:t>
            </a:fld>
            <a:endParaRPr lang="en-US" sz="800" baseline="0" dirty="0">
              <a:solidFill>
                <a:srgbClr val="808080"/>
              </a:solidFill>
              <a:latin typeface="+mn-lt"/>
            </a:endParaRPr>
          </a:p>
        </p:txBody>
      </p:sp>
      <p:sp>
        <p:nvSpPr>
          <p:cNvPr id="9" name="SlideLogoText"/>
          <p:cNvSpPr>
            <a:spLocks noChangeArrowheads="1"/>
          </p:cNvSpPr>
          <p:nvPr>
            <p:custDataLst>
              <p:tags r:id="rId3"/>
            </p:custDataLst>
          </p:nvPr>
        </p:nvSpPr>
        <p:spPr bwMode="auto">
          <a:xfrm>
            <a:off x="7450817" y="6508272"/>
            <a:ext cx="1013098"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algn="r" defTabSz="895350"/>
            <a:r>
              <a:rPr lang="en-US" sz="800" baseline="0" dirty="0">
                <a:solidFill>
                  <a:srgbClr val="808080"/>
                </a:solidFill>
                <a:latin typeface="+mn-lt"/>
              </a:rPr>
              <a:t>McKinsey &amp; Company</a:t>
            </a:r>
          </a:p>
        </p:txBody>
      </p:sp>
      <p:sp>
        <p:nvSpPr>
          <p:cNvPr id="5" name="doc id" hidden="1"/>
          <p:cNvSpPr txBox="1">
            <a:spLocks noChangeArrowheads="1"/>
          </p:cNvSpPr>
          <p:nvPr/>
        </p:nvSpPr>
        <p:spPr bwMode="white">
          <a:xfrm>
            <a:off x="8104473" y="36513"/>
            <a:ext cx="634716" cy="115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hangingPunct="1">
              <a:defRPr/>
            </a:pPr>
            <a:endParaRPr lang="en-US" sz="800" baseline="0" dirty="0">
              <a:solidFill>
                <a:schemeClr val="accent1"/>
              </a:solidFill>
              <a:latin typeface="+mn-lt"/>
              <a:ea typeface="+mn-ea"/>
            </a:endParaRPr>
          </a:p>
        </p:txBody>
      </p:sp>
    </p:spTree>
    <p:extLst>
      <p:ext uri="{BB962C8B-B14F-4D97-AF65-F5344CB8AC3E}">
        <p14:creationId xmlns:p14="http://schemas.microsoft.com/office/powerpoint/2010/main" val="4207924998"/>
      </p:ext>
    </p:extLst>
  </p:cSld>
  <p:clrMapOvr>
    <a:masterClrMapping/>
  </p:clrMapOvr>
  <p:extLst mod="1">
    <p:ext uri="{DCECCB84-F9BA-43D5-87BE-67443E8EF086}">
      <p15:sldGuideLst xmlns:p15="http://schemas.microsoft.com/office/powerpoint/2012/main">
        <p15:guide id="1" pos="5505">
          <p15:clr>
            <a:srgbClr val="F26B43"/>
          </p15:clr>
        </p15:guide>
        <p15:guide id="2" pos="74">
          <p15:clr>
            <a:srgbClr val="F26B43"/>
          </p15:clr>
        </p15:guide>
        <p15:guide id="3" orient="horz" pos="571">
          <p15:clr>
            <a:srgbClr val="F26B43"/>
          </p15:clr>
        </p15:guide>
        <p15:guide id="4" orient="horz" pos="3911">
          <p15:clr>
            <a:srgbClr val="F26B43"/>
          </p15:clr>
        </p15:guide>
      </p15:sldGuideLst>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p:cSld name="1_Title Only">
    <p:bg>
      <p:bgPr>
        <a:solidFill>
          <a:schemeClr val="accent2"/>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F4AD34F-3B47-47E2-A09C-FFEB949F6A10}"/>
              </a:ext>
            </a:extLst>
          </p:cNvPr>
          <p:cNvGraphicFramePr>
            <a:graphicFrameLocks noChangeAspect="1"/>
          </p:cNvGraphicFramePr>
          <p:nvPr>
            <p:custDataLst>
              <p:tags r:id="rId2"/>
            </p:custDataLst>
            <p:extLst>
              <p:ext uri="{D42A27DB-BD31-4B8C-83A1-F6EECF244321}">
                <p14:modId xmlns:p14="http://schemas.microsoft.com/office/powerpoint/2010/main" val="53959186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2052" name="think-cell Slide" r:id="rId5" imgW="395" imgH="394" progId="TCLayout.ActiveDocument.1">
                  <p:embed/>
                </p:oleObj>
              </mc:Choice>
              <mc:Fallback>
                <p:oleObj name="think-cell Slide" r:id="rId5" imgW="395" imgH="394" progId="TCLayout.ActiveDocument.1">
                  <p:embed/>
                  <p:pic>
                    <p:nvPicPr>
                      <p:cNvPr id="3" name="Object 2" hidden="1">
                        <a:extLst>
                          <a:ext uri="{FF2B5EF4-FFF2-40B4-BE49-F238E27FC236}">
                            <a16:creationId xmlns:a16="http://schemas.microsoft.com/office/drawing/2014/main" id="{EF4AD34F-3B47-47E2-A09C-FFEB949F6A10}"/>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endParaRPr lang="en-US" dirty="0"/>
          </a:p>
        </p:txBody>
      </p:sp>
      <p:sp>
        <p:nvSpPr>
          <p:cNvPr id="15" name="Slide Number"/>
          <p:cNvSpPr txBox="1">
            <a:spLocks/>
          </p:cNvSpPr>
          <p:nvPr/>
        </p:nvSpPr>
        <p:spPr>
          <a:xfrm>
            <a:off x="8564563" y="6508272"/>
            <a:ext cx="125034" cy="123111"/>
          </a:xfrm>
          <a:prstGeom prst="rect">
            <a:avLst/>
          </a:prstGeom>
        </p:spPr>
        <p:txBody>
          <a:bodyPr vert="horz" wrap="none" lIns="0" tIns="0" rIns="0" bIns="0" rtlCol="0" anchor="ctr">
            <a:spAutoFit/>
          </a:bodyPr>
          <a:lstStyle>
            <a:defPPr>
              <a:defRPr lang="en-US"/>
            </a:defPPr>
            <a:lvl1pPr>
              <a:defRPr sz="1000" baseline="0">
                <a:latin typeface="+mn-lt"/>
              </a:defRPr>
            </a:lvl1pPr>
          </a:lstStyle>
          <a:p>
            <a:fld id="{42C328C1-A84F-4A39-A664-DBA00541A8C6}" type="slidenum">
              <a:rPr lang="en-US" sz="800" baseline="0" smtClean="0">
                <a:solidFill>
                  <a:srgbClr val="FFFFFF"/>
                </a:solidFill>
                <a:latin typeface="+mn-lt"/>
              </a:rPr>
              <a:pPr/>
              <a:t>‹#›</a:t>
            </a:fld>
            <a:endParaRPr lang="en-US" sz="800" baseline="0" dirty="0">
              <a:solidFill>
                <a:srgbClr val="FFFFFF"/>
              </a:solidFill>
              <a:latin typeface="+mn-lt"/>
            </a:endParaRPr>
          </a:p>
        </p:txBody>
      </p:sp>
      <p:sp>
        <p:nvSpPr>
          <p:cNvPr id="16" name="SlideLogoText"/>
          <p:cNvSpPr>
            <a:spLocks noChangeArrowheads="1"/>
          </p:cNvSpPr>
          <p:nvPr>
            <p:custDataLst>
              <p:tags r:id="rId3"/>
            </p:custDataLst>
          </p:nvPr>
        </p:nvSpPr>
        <p:spPr bwMode="auto">
          <a:xfrm>
            <a:off x="7450817" y="6508272"/>
            <a:ext cx="1013098"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algn="r" defTabSz="895350"/>
            <a:r>
              <a:rPr lang="en-US" sz="800" baseline="0" dirty="0">
                <a:solidFill>
                  <a:srgbClr val="FFFFFF"/>
                </a:solidFill>
                <a:latin typeface="+mn-lt"/>
              </a:rPr>
              <a:t>McKinsey &amp; Company</a:t>
            </a:r>
          </a:p>
        </p:txBody>
      </p:sp>
      <p:sp>
        <p:nvSpPr>
          <p:cNvPr id="5" name="doc id" hidden="1"/>
          <p:cNvSpPr txBox="1">
            <a:spLocks noChangeArrowheads="1"/>
          </p:cNvSpPr>
          <p:nvPr/>
        </p:nvSpPr>
        <p:spPr bwMode="white">
          <a:xfrm>
            <a:off x="8104473" y="36513"/>
            <a:ext cx="634716" cy="115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hangingPunct="1">
              <a:defRPr/>
            </a:pPr>
            <a:endParaRPr lang="en-US" sz="800" baseline="0" dirty="0">
              <a:solidFill>
                <a:schemeClr val="accent1"/>
              </a:solidFill>
              <a:latin typeface="+mn-lt"/>
              <a:ea typeface="+mn-ea"/>
            </a:endParaRPr>
          </a:p>
        </p:txBody>
      </p:sp>
    </p:spTree>
    <p:extLst>
      <p:ext uri="{BB962C8B-B14F-4D97-AF65-F5344CB8AC3E}">
        <p14:creationId xmlns:p14="http://schemas.microsoft.com/office/powerpoint/2010/main" val="617944495"/>
      </p:ext>
    </p:extLst>
  </p:cSld>
  <p:clrMapOvr>
    <a:masterClrMapping/>
  </p:clrMapOvr>
  <p:extLst mod="1">
    <p:ext uri="{DCECCB84-F9BA-43D5-87BE-67443E8EF086}">
      <p15:sldGuideLst xmlns:p15="http://schemas.microsoft.com/office/powerpoint/2012/main">
        <p15:guide id="1" pos="3978">
          <p15:clr>
            <a:srgbClr val="000000"/>
          </p15:clr>
        </p15:guide>
        <p15:guide id="2" orient="horz" pos="570">
          <p15:clr>
            <a:srgbClr val="000000"/>
          </p15:clr>
        </p15:guide>
        <p15:guide id="3" orient="horz" pos="3912">
          <p15:clr>
            <a:srgbClr val="000000"/>
          </p15:clr>
        </p15:guide>
        <p15:guide id="4" pos="72">
          <p15:clr>
            <a:srgbClr val="000000"/>
          </p15:clr>
        </p15:guide>
      </p15:sldGuideLst>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type="titleOnly">
  <p:cSld name="2_Title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ECD524A-1569-4253-8CD8-48D288AD883C}"/>
              </a:ext>
            </a:extLst>
          </p:cNvPr>
          <p:cNvGraphicFramePr>
            <a:graphicFrameLocks noChangeAspect="1"/>
          </p:cNvGraphicFramePr>
          <p:nvPr>
            <p:custDataLst>
              <p:tags r:id="rId2"/>
            </p:custDataLst>
            <p:extLst>
              <p:ext uri="{D42A27DB-BD31-4B8C-83A1-F6EECF244321}">
                <p14:modId xmlns:p14="http://schemas.microsoft.com/office/powerpoint/2010/main" val="379313661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3076" name="think-cell Slide" r:id="rId4" imgW="395" imgH="394" progId="TCLayout.ActiveDocument.1">
                  <p:embed/>
                </p:oleObj>
              </mc:Choice>
              <mc:Fallback>
                <p:oleObj name="think-cell Slide" r:id="rId4" imgW="395" imgH="394" progId="TCLayout.ActiveDocument.1">
                  <p:embed/>
                  <p:pic>
                    <p:nvPicPr>
                      <p:cNvPr id="3" name="Object 2" hidden="1">
                        <a:extLst>
                          <a:ext uri="{FF2B5EF4-FFF2-40B4-BE49-F238E27FC236}">
                            <a16:creationId xmlns:a16="http://schemas.microsoft.com/office/drawing/2014/main" id="{5ECD524A-1569-4253-8CD8-48D288AD883C}"/>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964056345"/>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pic>
        <p:nvPicPr>
          <p:cNvPr id="2" name="background"/>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0" y="198"/>
            <a:ext cx="8961438" cy="6721079"/>
          </a:xfrm>
          <a:prstGeom prst="rect">
            <a:avLst/>
          </a:prstGeom>
        </p:spPr>
      </p:pic>
      <p:sp>
        <p:nvSpPr>
          <p:cNvPr id="28" name="TitleRectangle"/>
          <p:cNvSpPr txBox="1">
            <a:spLocks/>
          </p:cNvSpPr>
          <p:nvPr/>
        </p:nvSpPr>
        <p:spPr>
          <a:xfrm>
            <a:off x="2084388" y="0"/>
            <a:ext cx="6875462" cy="3575976"/>
          </a:xfrm>
          <a:prstGeom prst="rect">
            <a:avLst/>
          </a:prstGeom>
          <a:solidFill>
            <a:srgbClr val="002960">
              <a:alpha val="92000"/>
            </a:srgbClr>
          </a:solidFill>
        </p:spPr>
        <p:txBody>
          <a:bodyPr vert="horz" wrap="square" lIns="216000" tIns="1440000" rIns="216000" bIns="108000" rtlCol="0">
            <a:noAutofit/>
          </a:bodyPr>
          <a:lstStyle>
            <a:lvl1pPr marL="0" indent="0" algn="l" defTabSz="914400" rtl="0" eaLnBrk="1" latinLnBrk="0" hangingPunct="1">
              <a:spcBef>
                <a:spcPct val="20000"/>
              </a:spcBef>
              <a:spcAft>
                <a:spcPts val="6000"/>
              </a:spcAft>
              <a:buFont typeface="Arial" pitchFamily="34" charset="0"/>
              <a:buNone/>
              <a:defRPr sz="3200" kern="1200">
                <a:solidFill>
                  <a:schemeClr val="accent1"/>
                </a:solidFill>
                <a:latin typeface="+mn-lt"/>
                <a:ea typeface="+mn-ea"/>
                <a:cs typeface="+mn-cs"/>
              </a:defRPr>
            </a:lvl1pPr>
            <a:lvl2pPr marL="0" indent="0" algn="l" defTabSz="914400" rtl="0" eaLnBrk="1" latinLnBrk="0" hangingPunct="1">
              <a:spcBef>
                <a:spcPct val="20000"/>
              </a:spcBef>
              <a:buFont typeface="Wingdings" charset="2"/>
              <a:buNone/>
              <a:defRPr sz="1400" kern="1200">
                <a:solidFill>
                  <a:schemeClr val="tx1">
                    <a:lumMod val="50000"/>
                    <a:lumOff val="50000"/>
                  </a:schemeClr>
                </a:solidFill>
                <a:latin typeface="+mn-lt"/>
                <a:ea typeface="+mn-ea"/>
                <a:cs typeface="+mn-cs"/>
              </a:defRPr>
            </a:lvl2pPr>
            <a:lvl3pPr marL="1143000" indent="-228600" algn="l" defTabSz="914400" rtl="0" eaLnBrk="1" latinLnBrk="0" hangingPunct="1">
              <a:spcBef>
                <a:spcPct val="20000"/>
              </a:spcBef>
              <a:buFont typeface="Lucida Grande"/>
              <a:buChar char="–"/>
              <a:defRPr sz="16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fontAlgn="auto">
              <a:defRPr/>
            </a:pPr>
            <a:r>
              <a:rPr lang="en-US" baseline="0" dirty="0">
                <a:solidFill>
                  <a:srgbClr val="00ADEF"/>
                </a:solidFill>
                <a:latin typeface="+mn-lt"/>
              </a:rPr>
              <a:t>
              </a:t>
            </a:r>
            <a:br>
              <a:rPr lang="en-US" baseline="0" dirty="0">
                <a:solidFill>
                  <a:srgbClr val="00ADEF"/>
                </a:solidFill>
                <a:latin typeface="+mn-lt"/>
              </a:rPr>
            </a:br>
            <a:endParaRPr lang="en-US" baseline="0" dirty="0">
              <a:solidFill>
                <a:srgbClr val="00ADEF"/>
              </a:solidFill>
              <a:latin typeface="+mn-lt"/>
            </a:endParaRPr>
          </a:p>
        </p:txBody>
      </p:sp>
      <p:graphicFrame>
        <p:nvGraphicFramePr>
          <p:cNvPr id="3" name="Object 2"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5124"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Working Draft Text" hidden="1"/>
          <p:cNvSpPr txBox="1">
            <a:spLocks noChangeArrowheads="1"/>
          </p:cNvSpPr>
          <p:nvPr/>
        </p:nvSpPr>
        <p:spPr bwMode="black">
          <a:xfrm>
            <a:off x="5992719" y="6287538"/>
            <a:ext cx="2790000"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800" b="1" baseline="0" dirty="0">
                <a:solidFill>
                  <a:srgbClr val="FFFFFF"/>
                </a:solidFill>
                <a:latin typeface="+mn-lt"/>
              </a:rPr>
              <a:t>WORKING DRAFT</a:t>
            </a:r>
          </a:p>
        </p:txBody>
      </p:sp>
      <p:sp>
        <p:nvSpPr>
          <p:cNvPr id="6" name="Working Draft" hidden="1"/>
          <p:cNvSpPr txBox="1">
            <a:spLocks noChangeArrowheads="1"/>
          </p:cNvSpPr>
          <p:nvPr/>
        </p:nvSpPr>
        <p:spPr bwMode="black">
          <a:xfrm>
            <a:off x="5992718" y="6410648"/>
            <a:ext cx="2968719"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800" baseline="0">
                <a:solidFill>
                  <a:srgbClr val="FFFFFF"/>
                </a:solidFill>
                <a:latin typeface="+mn-lt"/>
              </a:rPr>
              <a:t>Last Modified 21/05/2018 17:44 India Standard Time</a:t>
            </a:r>
            <a:endParaRPr lang="en-US" sz="800" baseline="0" dirty="0">
              <a:solidFill>
                <a:srgbClr val="FFFFFF"/>
              </a:solidFill>
              <a:latin typeface="+mn-lt"/>
            </a:endParaRPr>
          </a:p>
        </p:txBody>
      </p:sp>
      <p:sp>
        <p:nvSpPr>
          <p:cNvPr id="7" name="Printed" hidden="1"/>
          <p:cNvSpPr txBox="1">
            <a:spLocks noChangeArrowheads="1"/>
          </p:cNvSpPr>
          <p:nvPr/>
        </p:nvSpPr>
        <p:spPr bwMode="black">
          <a:xfrm>
            <a:off x="5992719" y="6533759"/>
            <a:ext cx="2790000"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800" baseline="0" dirty="0">
                <a:solidFill>
                  <a:srgbClr val="FFFFFF"/>
                </a:solidFill>
                <a:latin typeface="+mn-lt"/>
              </a:rPr>
              <a:t>Printed</a:t>
            </a:r>
          </a:p>
        </p:txBody>
      </p:sp>
      <p:sp>
        <p:nvSpPr>
          <p:cNvPr id="13314" name="Title"/>
          <p:cNvSpPr>
            <a:spLocks noGrp="1" noChangeArrowheads="1"/>
          </p:cNvSpPr>
          <p:nvPr>
            <p:ph type="ctrTitle"/>
          </p:nvPr>
        </p:nvSpPr>
        <p:spPr>
          <a:xfrm>
            <a:off x="2268266" y="1434419"/>
            <a:ext cx="6231663" cy="492443"/>
          </a:xfrm>
          <a:prstGeom prst="rect">
            <a:avLst/>
          </a:prstGeom>
        </p:spPr>
        <p:txBody>
          <a:bodyPr>
            <a:spAutoFit/>
          </a:bodyPr>
          <a:lstStyle>
            <a:lvl1pPr>
              <a:defRPr sz="3200" b="0" baseline="0">
                <a:solidFill>
                  <a:schemeClr val="accent2"/>
                </a:solidFill>
                <a:latin typeface="+mj-lt"/>
                <a:ea typeface="+mj-ea"/>
              </a:defRPr>
            </a:lvl1pPr>
          </a:lstStyle>
          <a:p>
            <a:pPr lvl="0" latinLnBrk="0"/>
            <a:r>
              <a:rPr lang="en-US" noProof="0"/>
              <a:t>Click to edit Master title style</a:t>
            </a:r>
            <a:endParaRPr lang="en-US" noProof="0" dirty="0"/>
          </a:p>
        </p:txBody>
      </p:sp>
      <p:sp>
        <p:nvSpPr>
          <p:cNvPr id="13315" name="Subtitle"/>
          <p:cNvSpPr>
            <a:spLocks noGrp="1" noChangeArrowheads="1"/>
          </p:cNvSpPr>
          <p:nvPr>
            <p:ph type="subTitle" idx="1"/>
          </p:nvPr>
        </p:nvSpPr>
        <p:spPr>
          <a:xfrm>
            <a:off x="2268266" y="2819401"/>
            <a:ext cx="6231663" cy="215444"/>
          </a:xfrm>
          <a:prstGeom prst="rect">
            <a:avLst/>
          </a:prstGeom>
        </p:spPr>
        <p:txBody>
          <a:bodyPr wrap="square">
            <a:spAutoFit/>
          </a:bodyPr>
          <a:lstStyle>
            <a:lvl1pPr>
              <a:defRPr sz="1400" cap="all" baseline="0">
                <a:solidFill>
                  <a:schemeClr val="bg1"/>
                </a:solidFill>
                <a:latin typeface="+mn-lt"/>
                <a:ea typeface="+mn-ea"/>
              </a:defRPr>
            </a:lvl1pPr>
          </a:lstStyle>
          <a:p>
            <a:pPr lvl="0" latinLnBrk="0"/>
            <a:r>
              <a:rPr lang="en-US" noProof="0"/>
              <a:t>Click to edit Master subtitle style</a:t>
            </a:r>
            <a:endParaRPr lang="en-US" noProof="0" dirty="0"/>
          </a:p>
        </p:txBody>
      </p:sp>
      <p:sp>
        <p:nvSpPr>
          <p:cNvPr id="57" name="Document type" hidden="1"/>
          <p:cNvSpPr txBox="1">
            <a:spLocks noChangeArrowheads="1"/>
          </p:cNvSpPr>
          <p:nvPr/>
        </p:nvSpPr>
        <p:spPr bwMode="gray">
          <a:xfrm>
            <a:off x="2268266" y="3227411"/>
            <a:ext cx="6231663"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00" baseline="0" dirty="0">
                <a:solidFill>
                  <a:schemeClr val="bg1"/>
                </a:solidFill>
                <a:latin typeface="+mn-lt"/>
              </a:rPr>
              <a:t>Document type | Date</a:t>
            </a:r>
          </a:p>
        </p:txBody>
      </p:sp>
      <p:sp>
        <p:nvSpPr>
          <p:cNvPr id="5" name="doc id" hidden="1"/>
          <p:cNvSpPr txBox="1">
            <a:spLocks noChangeArrowheads="1"/>
          </p:cNvSpPr>
          <p:nvPr/>
        </p:nvSpPr>
        <p:spPr bwMode="white">
          <a:xfrm>
            <a:off x="8443913" y="36513"/>
            <a:ext cx="295275" cy="1222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hangingPunct="1">
              <a:defRPr/>
            </a:pPr>
            <a:endParaRPr lang="en-US" sz="800" baseline="0" dirty="0">
              <a:solidFill>
                <a:srgbClr val="FFFFFF"/>
              </a:solidFill>
              <a:latin typeface="+mn-lt"/>
            </a:endParaRPr>
          </a:p>
        </p:txBody>
      </p:sp>
      <p:sp>
        <p:nvSpPr>
          <p:cNvPr id="43" name="LogoImage"/>
          <p:cNvSpPr>
            <a:spLocks noEditPoints="1"/>
          </p:cNvSpPr>
          <p:nvPr/>
        </p:nvSpPr>
        <p:spPr bwMode="white">
          <a:xfrm>
            <a:off x="2269098" y="182925"/>
            <a:ext cx="2176978" cy="238073"/>
          </a:xfrm>
          <a:custGeom>
            <a:avLst/>
            <a:gdLst>
              <a:gd name="T0" fmla="*/ 504 w 5516"/>
              <a:gd name="T1" fmla="*/ 26 h 606"/>
              <a:gd name="T2" fmla="*/ 18 w 5516"/>
              <a:gd name="T3" fmla="*/ 22 h 606"/>
              <a:gd name="T4" fmla="*/ 140 w 5516"/>
              <a:gd name="T5" fmla="*/ 436 h 606"/>
              <a:gd name="T6" fmla="*/ 408 w 5516"/>
              <a:gd name="T7" fmla="*/ 372 h 606"/>
              <a:gd name="T8" fmla="*/ 696 w 5516"/>
              <a:gd name="T9" fmla="*/ 422 h 606"/>
              <a:gd name="T10" fmla="*/ 768 w 5516"/>
              <a:gd name="T11" fmla="*/ 196 h 606"/>
              <a:gd name="T12" fmla="*/ 1272 w 5516"/>
              <a:gd name="T13" fmla="*/ 26 h 606"/>
              <a:gd name="T14" fmla="*/ 1302 w 5516"/>
              <a:gd name="T15" fmla="*/ 338 h 606"/>
              <a:gd name="T16" fmla="*/ 1202 w 5516"/>
              <a:gd name="T17" fmla="*/ 436 h 606"/>
              <a:gd name="T18" fmla="*/ 1030 w 5516"/>
              <a:gd name="T19" fmla="*/ 10 h 606"/>
              <a:gd name="T20" fmla="*/ 960 w 5516"/>
              <a:gd name="T21" fmla="*/ 22 h 606"/>
              <a:gd name="T22" fmla="*/ 804 w 5516"/>
              <a:gd name="T23" fmla="*/ 434 h 606"/>
              <a:gd name="T24" fmla="*/ 930 w 5516"/>
              <a:gd name="T25" fmla="*/ 246 h 606"/>
              <a:gd name="T26" fmla="*/ 1658 w 5516"/>
              <a:gd name="T27" fmla="*/ 342 h 606"/>
              <a:gd name="T28" fmla="*/ 1368 w 5516"/>
              <a:gd name="T29" fmla="*/ 188 h 606"/>
              <a:gd name="T30" fmla="*/ 1514 w 5516"/>
              <a:gd name="T31" fmla="*/ 436 h 606"/>
              <a:gd name="T32" fmla="*/ 1564 w 5516"/>
              <a:gd name="T33" fmla="*/ 434 h 606"/>
              <a:gd name="T34" fmla="*/ 1904 w 5516"/>
              <a:gd name="T35" fmla="*/ 184 h 606"/>
              <a:gd name="T36" fmla="*/ 1728 w 5516"/>
              <a:gd name="T37" fmla="*/ 366 h 606"/>
              <a:gd name="T38" fmla="*/ 2102 w 5516"/>
              <a:gd name="T39" fmla="*/ 192 h 606"/>
              <a:gd name="T40" fmla="*/ 1982 w 5516"/>
              <a:gd name="T41" fmla="*/ 320 h 606"/>
              <a:gd name="T42" fmla="*/ 2478 w 5516"/>
              <a:gd name="T43" fmla="*/ 242 h 606"/>
              <a:gd name="T44" fmla="*/ 2406 w 5516"/>
              <a:gd name="T45" fmla="*/ 390 h 606"/>
              <a:gd name="T46" fmla="*/ 2234 w 5516"/>
              <a:gd name="T47" fmla="*/ 192 h 606"/>
              <a:gd name="T48" fmla="*/ 2478 w 5516"/>
              <a:gd name="T49" fmla="*/ 242 h 606"/>
              <a:gd name="T50" fmla="*/ 2928 w 5516"/>
              <a:gd name="T51" fmla="*/ 448 h 606"/>
              <a:gd name="T52" fmla="*/ 2958 w 5516"/>
              <a:gd name="T53" fmla="*/ 230 h 606"/>
              <a:gd name="T54" fmla="*/ 2716 w 5516"/>
              <a:gd name="T55" fmla="*/ 54 h 606"/>
              <a:gd name="T56" fmla="*/ 2714 w 5516"/>
              <a:gd name="T57" fmla="*/ 36 h 606"/>
              <a:gd name="T58" fmla="*/ 2928 w 5516"/>
              <a:gd name="T59" fmla="*/ 448 h 606"/>
              <a:gd name="T60" fmla="*/ 3388 w 5516"/>
              <a:gd name="T61" fmla="*/ 4 h 606"/>
              <a:gd name="T62" fmla="*/ 3396 w 5516"/>
              <a:gd name="T63" fmla="*/ 366 h 606"/>
              <a:gd name="T64" fmla="*/ 3580 w 5516"/>
              <a:gd name="T65" fmla="*/ 190 h 606"/>
              <a:gd name="T66" fmla="*/ 3502 w 5516"/>
              <a:gd name="T67" fmla="*/ 432 h 606"/>
              <a:gd name="T68" fmla="*/ 4232 w 5516"/>
              <a:gd name="T69" fmla="*/ 348 h 606"/>
              <a:gd name="T70" fmla="*/ 3858 w 5516"/>
              <a:gd name="T71" fmla="*/ 176 h 606"/>
              <a:gd name="T72" fmla="*/ 3758 w 5516"/>
              <a:gd name="T73" fmla="*/ 446 h 606"/>
              <a:gd name="T74" fmla="*/ 3990 w 5516"/>
              <a:gd name="T75" fmla="*/ 282 h 606"/>
              <a:gd name="T76" fmla="*/ 4042 w 5516"/>
              <a:gd name="T77" fmla="*/ 342 h 606"/>
              <a:gd name="T78" fmla="*/ 4134 w 5516"/>
              <a:gd name="T79" fmla="*/ 448 h 606"/>
              <a:gd name="T80" fmla="*/ 4454 w 5516"/>
              <a:gd name="T81" fmla="*/ 202 h 606"/>
              <a:gd name="T82" fmla="*/ 4284 w 5516"/>
              <a:gd name="T83" fmla="*/ 174 h 606"/>
              <a:gd name="T84" fmla="*/ 4432 w 5516"/>
              <a:gd name="T85" fmla="*/ 588 h 606"/>
              <a:gd name="T86" fmla="*/ 4792 w 5516"/>
              <a:gd name="T87" fmla="*/ 382 h 606"/>
              <a:gd name="T88" fmla="*/ 5192 w 5516"/>
              <a:gd name="T89" fmla="*/ 340 h 606"/>
              <a:gd name="T90" fmla="*/ 4902 w 5516"/>
              <a:gd name="T91" fmla="*/ 186 h 606"/>
              <a:gd name="T92" fmla="*/ 4850 w 5516"/>
              <a:gd name="T93" fmla="*/ 274 h 606"/>
              <a:gd name="T94" fmla="*/ 4742 w 5516"/>
              <a:gd name="T95" fmla="*/ 194 h 606"/>
              <a:gd name="T96" fmla="*/ 4794 w 5516"/>
              <a:gd name="T97" fmla="*/ 418 h 606"/>
              <a:gd name="T98" fmla="*/ 5004 w 5516"/>
              <a:gd name="T99" fmla="*/ 338 h 606"/>
              <a:gd name="T100" fmla="*/ 5098 w 5516"/>
              <a:gd name="T101" fmla="*/ 446 h 606"/>
              <a:gd name="T102" fmla="*/ 5418 w 5516"/>
              <a:gd name="T103" fmla="*/ 192 h 606"/>
              <a:gd name="T104" fmla="*/ 5348 w 5516"/>
              <a:gd name="T105" fmla="*/ 180 h 606"/>
              <a:gd name="T106" fmla="*/ 5254 w 5516"/>
              <a:gd name="T107" fmla="*/ 606 h 6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516" h="606">
                <a:moveTo>
                  <a:pt x="366" y="448"/>
                </a:moveTo>
                <a:cubicBezTo>
                  <a:pt x="524" y="448"/>
                  <a:pt x="524" y="448"/>
                  <a:pt x="524" y="448"/>
                </a:cubicBezTo>
                <a:cubicBezTo>
                  <a:pt x="524" y="436"/>
                  <a:pt x="524" y="436"/>
                  <a:pt x="524" y="436"/>
                </a:cubicBezTo>
                <a:cubicBezTo>
                  <a:pt x="486" y="432"/>
                  <a:pt x="470" y="414"/>
                  <a:pt x="468" y="362"/>
                </a:cubicBezTo>
                <a:cubicBezTo>
                  <a:pt x="454" y="86"/>
                  <a:pt x="454" y="86"/>
                  <a:pt x="454" y="86"/>
                </a:cubicBezTo>
                <a:cubicBezTo>
                  <a:pt x="452" y="46"/>
                  <a:pt x="470" y="30"/>
                  <a:pt x="504" y="26"/>
                </a:cubicBezTo>
                <a:cubicBezTo>
                  <a:pt x="504" y="12"/>
                  <a:pt x="504" y="12"/>
                  <a:pt x="504" y="12"/>
                </a:cubicBezTo>
                <a:cubicBezTo>
                  <a:pt x="394" y="12"/>
                  <a:pt x="394" y="12"/>
                  <a:pt x="394" y="12"/>
                </a:cubicBezTo>
                <a:cubicBezTo>
                  <a:pt x="264" y="350"/>
                  <a:pt x="264" y="350"/>
                  <a:pt x="264" y="350"/>
                </a:cubicBezTo>
                <a:cubicBezTo>
                  <a:pt x="132" y="10"/>
                  <a:pt x="132" y="10"/>
                  <a:pt x="132" y="10"/>
                </a:cubicBezTo>
                <a:cubicBezTo>
                  <a:pt x="18" y="10"/>
                  <a:pt x="18" y="10"/>
                  <a:pt x="18" y="10"/>
                </a:cubicBezTo>
                <a:cubicBezTo>
                  <a:pt x="18" y="22"/>
                  <a:pt x="18" y="22"/>
                  <a:pt x="18" y="22"/>
                </a:cubicBezTo>
                <a:cubicBezTo>
                  <a:pt x="40" y="26"/>
                  <a:pt x="74" y="32"/>
                  <a:pt x="72" y="84"/>
                </a:cubicBezTo>
                <a:cubicBezTo>
                  <a:pt x="58" y="352"/>
                  <a:pt x="58" y="352"/>
                  <a:pt x="58" y="352"/>
                </a:cubicBezTo>
                <a:cubicBezTo>
                  <a:pt x="54" y="410"/>
                  <a:pt x="38" y="430"/>
                  <a:pt x="0" y="436"/>
                </a:cubicBezTo>
                <a:cubicBezTo>
                  <a:pt x="0" y="448"/>
                  <a:pt x="0" y="448"/>
                  <a:pt x="0" y="448"/>
                </a:cubicBezTo>
                <a:cubicBezTo>
                  <a:pt x="140" y="448"/>
                  <a:pt x="140" y="448"/>
                  <a:pt x="140" y="448"/>
                </a:cubicBezTo>
                <a:cubicBezTo>
                  <a:pt x="140" y="436"/>
                  <a:pt x="140" y="436"/>
                  <a:pt x="140" y="436"/>
                </a:cubicBezTo>
                <a:cubicBezTo>
                  <a:pt x="98" y="428"/>
                  <a:pt x="84" y="414"/>
                  <a:pt x="88" y="356"/>
                </a:cubicBezTo>
                <a:cubicBezTo>
                  <a:pt x="100" y="86"/>
                  <a:pt x="100" y="86"/>
                  <a:pt x="100" y="86"/>
                </a:cubicBezTo>
                <a:cubicBezTo>
                  <a:pt x="240" y="444"/>
                  <a:pt x="240" y="444"/>
                  <a:pt x="240" y="444"/>
                </a:cubicBezTo>
                <a:cubicBezTo>
                  <a:pt x="258" y="444"/>
                  <a:pt x="258" y="444"/>
                  <a:pt x="258" y="444"/>
                </a:cubicBezTo>
                <a:cubicBezTo>
                  <a:pt x="396" y="86"/>
                  <a:pt x="396" y="86"/>
                  <a:pt x="396" y="86"/>
                </a:cubicBezTo>
                <a:cubicBezTo>
                  <a:pt x="408" y="372"/>
                  <a:pt x="408" y="372"/>
                  <a:pt x="408" y="372"/>
                </a:cubicBezTo>
                <a:cubicBezTo>
                  <a:pt x="410" y="416"/>
                  <a:pt x="398" y="430"/>
                  <a:pt x="366" y="434"/>
                </a:cubicBezTo>
                <a:lnTo>
                  <a:pt x="366" y="448"/>
                </a:lnTo>
                <a:close/>
                <a:moveTo>
                  <a:pt x="670" y="456"/>
                </a:moveTo>
                <a:cubicBezTo>
                  <a:pt x="708" y="456"/>
                  <a:pt x="756" y="440"/>
                  <a:pt x="782" y="412"/>
                </a:cubicBezTo>
                <a:cubicBezTo>
                  <a:pt x="776" y="400"/>
                  <a:pt x="776" y="400"/>
                  <a:pt x="776" y="400"/>
                </a:cubicBezTo>
                <a:cubicBezTo>
                  <a:pt x="750" y="416"/>
                  <a:pt x="722" y="422"/>
                  <a:pt x="696" y="422"/>
                </a:cubicBezTo>
                <a:cubicBezTo>
                  <a:pt x="620" y="422"/>
                  <a:pt x="592" y="358"/>
                  <a:pt x="592" y="290"/>
                </a:cubicBezTo>
                <a:cubicBezTo>
                  <a:pt x="592" y="258"/>
                  <a:pt x="600" y="236"/>
                  <a:pt x="614" y="222"/>
                </a:cubicBezTo>
                <a:cubicBezTo>
                  <a:pt x="626" y="210"/>
                  <a:pt x="646" y="204"/>
                  <a:pt x="664" y="204"/>
                </a:cubicBezTo>
                <a:cubicBezTo>
                  <a:pt x="690" y="204"/>
                  <a:pt x="722" y="214"/>
                  <a:pt x="744" y="244"/>
                </a:cubicBezTo>
                <a:cubicBezTo>
                  <a:pt x="750" y="244"/>
                  <a:pt x="750" y="244"/>
                  <a:pt x="750" y="244"/>
                </a:cubicBezTo>
                <a:cubicBezTo>
                  <a:pt x="758" y="234"/>
                  <a:pt x="766" y="212"/>
                  <a:pt x="768" y="196"/>
                </a:cubicBezTo>
                <a:cubicBezTo>
                  <a:pt x="748" y="180"/>
                  <a:pt x="720" y="172"/>
                  <a:pt x="686" y="172"/>
                </a:cubicBezTo>
                <a:cubicBezTo>
                  <a:pt x="604" y="172"/>
                  <a:pt x="544" y="246"/>
                  <a:pt x="544" y="326"/>
                </a:cubicBezTo>
                <a:cubicBezTo>
                  <a:pt x="540" y="390"/>
                  <a:pt x="576" y="456"/>
                  <a:pt x="670" y="456"/>
                </a:cubicBezTo>
                <a:moveTo>
                  <a:pt x="1272" y="98"/>
                </a:moveTo>
                <a:cubicBezTo>
                  <a:pt x="1292" y="98"/>
                  <a:pt x="1308" y="82"/>
                  <a:pt x="1308" y="62"/>
                </a:cubicBezTo>
                <a:cubicBezTo>
                  <a:pt x="1308" y="42"/>
                  <a:pt x="1292" y="26"/>
                  <a:pt x="1272" y="26"/>
                </a:cubicBezTo>
                <a:cubicBezTo>
                  <a:pt x="1252" y="26"/>
                  <a:pt x="1238" y="42"/>
                  <a:pt x="1238" y="62"/>
                </a:cubicBezTo>
                <a:cubicBezTo>
                  <a:pt x="1238" y="82"/>
                  <a:pt x="1252" y="98"/>
                  <a:pt x="1272" y="98"/>
                </a:cubicBezTo>
                <a:moveTo>
                  <a:pt x="1202" y="448"/>
                </a:moveTo>
                <a:cubicBezTo>
                  <a:pt x="1346" y="448"/>
                  <a:pt x="1346" y="448"/>
                  <a:pt x="1346" y="448"/>
                </a:cubicBezTo>
                <a:cubicBezTo>
                  <a:pt x="1346" y="436"/>
                  <a:pt x="1346" y="436"/>
                  <a:pt x="1346" y="436"/>
                </a:cubicBezTo>
                <a:cubicBezTo>
                  <a:pt x="1304" y="432"/>
                  <a:pt x="1302" y="434"/>
                  <a:pt x="1302" y="338"/>
                </a:cubicBezTo>
                <a:cubicBezTo>
                  <a:pt x="1302" y="176"/>
                  <a:pt x="1302" y="176"/>
                  <a:pt x="1302" y="176"/>
                </a:cubicBezTo>
                <a:cubicBezTo>
                  <a:pt x="1200" y="176"/>
                  <a:pt x="1200" y="176"/>
                  <a:pt x="1200" y="176"/>
                </a:cubicBezTo>
                <a:cubicBezTo>
                  <a:pt x="1200" y="188"/>
                  <a:pt x="1200" y="188"/>
                  <a:pt x="1200" y="188"/>
                </a:cubicBezTo>
                <a:cubicBezTo>
                  <a:pt x="1244" y="190"/>
                  <a:pt x="1250" y="192"/>
                  <a:pt x="1250" y="268"/>
                </a:cubicBezTo>
                <a:cubicBezTo>
                  <a:pt x="1250" y="336"/>
                  <a:pt x="1250" y="336"/>
                  <a:pt x="1250" y="336"/>
                </a:cubicBezTo>
                <a:cubicBezTo>
                  <a:pt x="1250" y="432"/>
                  <a:pt x="1248" y="432"/>
                  <a:pt x="1202" y="436"/>
                </a:cubicBezTo>
                <a:cubicBezTo>
                  <a:pt x="1178" y="434"/>
                  <a:pt x="1154" y="426"/>
                  <a:pt x="1076" y="338"/>
                </a:cubicBezTo>
                <a:cubicBezTo>
                  <a:pt x="1046" y="302"/>
                  <a:pt x="996" y="244"/>
                  <a:pt x="968" y="206"/>
                </a:cubicBezTo>
                <a:cubicBezTo>
                  <a:pt x="1062" y="102"/>
                  <a:pt x="1062" y="102"/>
                  <a:pt x="1062" y="102"/>
                </a:cubicBezTo>
                <a:cubicBezTo>
                  <a:pt x="1108" y="52"/>
                  <a:pt x="1132" y="26"/>
                  <a:pt x="1176" y="24"/>
                </a:cubicBezTo>
                <a:cubicBezTo>
                  <a:pt x="1176" y="10"/>
                  <a:pt x="1176" y="10"/>
                  <a:pt x="1176" y="10"/>
                </a:cubicBezTo>
                <a:cubicBezTo>
                  <a:pt x="1030" y="10"/>
                  <a:pt x="1030" y="10"/>
                  <a:pt x="1030" y="10"/>
                </a:cubicBezTo>
                <a:cubicBezTo>
                  <a:pt x="1030" y="22"/>
                  <a:pt x="1030" y="22"/>
                  <a:pt x="1030" y="22"/>
                </a:cubicBezTo>
                <a:cubicBezTo>
                  <a:pt x="1050" y="26"/>
                  <a:pt x="1056" y="32"/>
                  <a:pt x="1056" y="46"/>
                </a:cubicBezTo>
                <a:cubicBezTo>
                  <a:pt x="1056" y="56"/>
                  <a:pt x="1054" y="72"/>
                  <a:pt x="1026" y="102"/>
                </a:cubicBezTo>
                <a:cubicBezTo>
                  <a:pt x="910" y="230"/>
                  <a:pt x="910" y="230"/>
                  <a:pt x="910" y="230"/>
                </a:cubicBezTo>
                <a:cubicBezTo>
                  <a:pt x="910" y="148"/>
                  <a:pt x="910" y="148"/>
                  <a:pt x="910" y="148"/>
                </a:cubicBezTo>
                <a:cubicBezTo>
                  <a:pt x="910" y="36"/>
                  <a:pt x="916" y="28"/>
                  <a:pt x="960" y="22"/>
                </a:cubicBezTo>
                <a:cubicBezTo>
                  <a:pt x="960" y="8"/>
                  <a:pt x="960" y="8"/>
                  <a:pt x="960" y="8"/>
                </a:cubicBezTo>
                <a:cubicBezTo>
                  <a:pt x="804" y="8"/>
                  <a:pt x="804" y="8"/>
                  <a:pt x="804" y="8"/>
                </a:cubicBezTo>
                <a:cubicBezTo>
                  <a:pt x="804" y="22"/>
                  <a:pt x="804" y="22"/>
                  <a:pt x="804" y="22"/>
                </a:cubicBezTo>
                <a:cubicBezTo>
                  <a:pt x="852" y="26"/>
                  <a:pt x="854" y="36"/>
                  <a:pt x="854" y="148"/>
                </a:cubicBezTo>
                <a:cubicBezTo>
                  <a:pt x="854" y="300"/>
                  <a:pt x="854" y="300"/>
                  <a:pt x="854" y="300"/>
                </a:cubicBezTo>
                <a:cubicBezTo>
                  <a:pt x="854" y="422"/>
                  <a:pt x="850" y="430"/>
                  <a:pt x="804" y="434"/>
                </a:cubicBezTo>
                <a:cubicBezTo>
                  <a:pt x="804" y="446"/>
                  <a:pt x="804" y="446"/>
                  <a:pt x="804" y="446"/>
                </a:cubicBezTo>
                <a:cubicBezTo>
                  <a:pt x="960" y="446"/>
                  <a:pt x="960" y="446"/>
                  <a:pt x="960" y="446"/>
                </a:cubicBezTo>
                <a:cubicBezTo>
                  <a:pt x="960" y="434"/>
                  <a:pt x="960" y="434"/>
                  <a:pt x="960" y="434"/>
                </a:cubicBezTo>
                <a:cubicBezTo>
                  <a:pt x="910" y="428"/>
                  <a:pt x="910" y="424"/>
                  <a:pt x="910" y="292"/>
                </a:cubicBezTo>
                <a:cubicBezTo>
                  <a:pt x="910" y="268"/>
                  <a:pt x="910" y="268"/>
                  <a:pt x="910" y="268"/>
                </a:cubicBezTo>
                <a:cubicBezTo>
                  <a:pt x="930" y="246"/>
                  <a:pt x="930" y="246"/>
                  <a:pt x="930" y="246"/>
                </a:cubicBezTo>
                <a:cubicBezTo>
                  <a:pt x="982" y="310"/>
                  <a:pt x="1038" y="380"/>
                  <a:pt x="1098" y="448"/>
                </a:cubicBezTo>
                <a:cubicBezTo>
                  <a:pt x="1202" y="448"/>
                  <a:pt x="1202" y="448"/>
                  <a:pt x="1202" y="448"/>
                </a:cubicBezTo>
                <a:close/>
                <a:moveTo>
                  <a:pt x="1564" y="448"/>
                </a:moveTo>
                <a:cubicBezTo>
                  <a:pt x="1706" y="448"/>
                  <a:pt x="1706" y="448"/>
                  <a:pt x="1706" y="448"/>
                </a:cubicBezTo>
                <a:cubicBezTo>
                  <a:pt x="1706" y="436"/>
                  <a:pt x="1706" y="436"/>
                  <a:pt x="1706" y="436"/>
                </a:cubicBezTo>
                <a:cubicBezTo>
                  <a:pt x="1658" y="434"/>
                  <a:pt x="1658" y="432"/>
                  <a:pt x="1658" y="342"/>
                </a:cubicBezTo>
                <a:cubicBezTo>
                  <a:pt x="1658" y="280"/>
                  <a:pt x="1658" y="280"/>
                  <a:pt x="1658" y="280"/>
                </a:cubicBezTo>
                <a:cubicBezTo>
                  <a:pt x="1658" y="198"/>
                  <a:pt x="1612" y="172"/>
                  <a:pt x="1570" y="172"/>
                </a:cubicBezTo>
                <a:cubicBezTo>
                  <a:pt x="1534" y="172"/>
                  <a:pt x="1498" y="188"/>
                  <a:pt x="1470" y="224"/>
                </a:cubicBezTo>
                <a:cubicBezTo>
                  <a:pt x="1470" y="176"/>
                  <a:pt x="1470" y="176"/>
                  <a:pt x="1470" y="176"/>
                </a:cubicBezTo>
                <a:cubicBezTo>
                  <a:pt x="1368" y="176"/>
                  <a:pt x="1368" y="176"/>
                  <a:pt x="1368" y="176"/>
                </a:cubicBezTo>
                <a:cubicBezTo>
                  <a:pt x="1368" y="188"/>
                  <a:pt x="1368" y="188"/>
                  <a:pt x="1368" y="188"/>
                </a:cubicBezTo>
                <a:cubicBezTo>
                  <a:pt x="1412" y="190"/>
                  <a:pt x="1418" y="192"/>
                  <a:pt x="1418" y="268"/>
                </a:cubicBezTo>
                <a:cubicBezTo>
                  <a:pt x="1418" y="336"/>
                  <a:pt x="1418" y="336"/>
                  <a:pt x="1418" y="336"/>
                </a:cubicBezTo>
                <a:cubicBezTo>
                  <a:pt x="1418" y="434"/>
                  <a:pt x="1418" y="434"/>
                  <a:pt x="1370" y="436"/>
                </a:cubicBezTo>
                <a:cubicBezTo>
                  <a:pt x="1370" y="448"/>
                  <a:pt x="1370" y="448"/>
                  <a:pt x="1370" y="448"/>
                </a:cubicBezTo>
                <a:cubicBezTo>
                  <a:pt x="1514" y="448"/>
                  <a:pt x="1514" y="448"/>
                  <a:pt x="1514" y="448"/>
                </a:cubicBezTo>
                <a:cubicBezTo>
                  <a:pt x="1514" y="436"/>
                  <a:pt x="1514" y="436"/>
                  <a:pt x="1514" y="436"/>
                </a:cubicBezTo>
                <a:cubicBezTo>
                  <a:pt x="1472" y="432"/>
                  <a:pt x="1470" y="434"/>
                  <a:pt x="1470" y="338"/>
                </a:cubicBezTo>
                <a:cubicBezTo>
                  <a:pt x="1470" y="262"/>
                  <a:pt x="1470" y="262"/>
                  <a:pt x="1470" y="262"/>
                </a:cubicBezTo>
                <a:cubicBezTo>
                  <a:pt x="1470" y="236"/>
                  <a:pt x="1504" y="206"/>
                  <a:pt x="1546" y="206"/>
                </a:cubicBezTo>
                <a:cubicBezTo>
                  <a:pt x="1580" y="206"/>
                  <a:pt x="1606" y="220"/>
                  <a:pt x="1606" y="286"/>
                </a:cubicBezTo>
                <a:cubicBezTo>
                  <a:pt x="1606" y="340"/>
                  <a:pt x="1606" y="340"/>
                  <a:pt x="1606" y="340"/>
                </a:cubicBezTo>
                <a:cubicBezTo>
                  <a:pt x="1606" y="432"/>
                  <a:pt x="1602" y="432"/>
                  <a:pt x="1564" y="434"/>
                </a:cubicBezTo>
                <a:lnTo>
                  <a:pt x="1564" y="448"/>
                </a:lnTo>
                <a:close/>
                <a:moveTo>
                  <a:pt x="1776" y="222"/>
                </a:moveTo>
                <a:cubicBezTo>
                  <a:pt x="1776" y="200"/>
                  <a:pt x="1796" y="188"/>
                  <a:pt x="1822" y="188"/>
                </a:cubicBezTo>
                <a:cubicBezTo>
                  <a:pt x="1874" y="188"/>
                  <a:pt x="1896" y="236"/>
                  <a:pt x="1900" y="252"/>
                </a:cubicBezTo>
                <a:cubicBezTo>
                  <a:pt x="1912" y="252"/>
                  <a:pt x="1912" y="252"/>
                  <a:pt x="1912" y="252"/>
                </a:cubicBezTo>
                <a:cubicBezTo>
                  <a:pt x="1912" y="212"/>
                  <a:pt x="1908" y="188"/>
                  <a:pt x="1904" y="184"/>
                </a:cubicBezTo>
                <a:cubicBezTo>
                  <a:pt x="1900" y="180"/>
                  <a:pt x="1862" y="170"/>
                  <a:pt x="1824" y="170"/>
                </a:cubicBezTo>
                <a:cubicBezTo>
                  <a:pt x="1768" y="170"/>
                  <a:pt x="1734" y="206"/>
                  <a:pt x="1734" y="248"/>
                </a:cubicBezTo>
                <a:cubicBezTo>
                  <a:pt x="1734" y="340"/>
                  <a:pt x="1890" y="322"/>
                  <a:pt x="1890" y="396"/>
                </a:cubicBezTo>
                <a:cubicBezTo>
                  <a:pt x="1890" y="422"/>
                  <a:pt x="1866" y="436"/>
                  <a:pt x="1826" y="436"/>
                </a:cubicBezTo>
                <a:cubicBezTo>
                  <a:pt x="1788" y="436"/>
                  <a:pt x="1754" y="416"/>
                  <a:pt x="1744" y="366"/>
                </a:cubicBezTo>
                <a:cubicBezTo>
                  <a:pt x="1728" y="366"/>
                  <a:pt x="1728" y="366"/>
                  <a:pt x="1728" y="366"/>
                </a:cubicBezTo>
                <a:cubicBezTo>
                  <a:pt x="1728" y="386"/>
                  <a:pt x="1732" y="422"/>
                  <a:pt x="1734" y="428"/>
                </a:cubicBezTo>
                <a:cubicBezTo>
                  <a:pt x="1744" y="446"/>
                  <a:pt x="1788" y="454"/>
                  <a:pt x="1824" y="454"/>
                </a:cubicBezTo>
                <a:cubicBezTo>
                  <a:pt x="1888" y="454"/>
                  <a:pt x="1928" y="416"/>
                  <a:pt x="1928" y="372"/>
                </a:cubicBezTo>
                <a:cubicBezTo>
                  <a:pt x="1932" y="270"/>
                  <a:pt x="1776" y="286"/>
                  <a:pt x="1776" y="222"/>
                </a:cubicBezTo>
                <a:moveTo>
                  <a:pt x="2030" y="270"/>
                </a:moveTo>
                <a:cubicBezTo>
                  <a:pt x="2034" y="220"/>
                  <a:pt x="2058" y="192"/>
                  <a:pt x="2102" y="192"/>
                </a:cubicBezTo>
                <a:cubicBezTo>
                  <a:pt x="2144" y="192"/>
                  <a:pt x="2170" y="220"/>
                  <a:pt x="2172" y="270"/>
                </a:cubicBezTo>
                <a:lnTo>
                  <a:pt x="2030" y="270"/>
                </a:lnTo>
                <a:close/>
                <a:moveTo>
                  <a:pt x="2030" y="290"/>
                </a:moveTo>
                <a:cubicBezTo>
                  <a:pt x="2222" y="290"/>
                  <a:pt x="2222" y="290"/>
                  <a:pt x="2222" y="290"/>
                </a:cubicBezTo>
                <a:cubicBezTo>
                  <a:pt x="2226" y="228"/>
                  <a:pt x="2192" y="168"/>
                  <a:pt x="2114" y="168"/>
                </a:cubicBezTo>
                <a:cubicBezTo>
                  <a:pt x="2034" y="168"/>
                  <a:pt x="1982" y="232"/>
                  <a:pt x="1982" y="320"/>
                </a:cubicBezTo>
                <a:cubicBezTo>
                  <a:pt x="1982" y="388"/>
                  <a:pt x="2018" y="456"/>
                  <a:pt x="2112" y="456"/>
                </a:cubicBezTo>
                <a:cubicBezTo>
                  <a:pt x="2150" y="456"/>
                  <a:pt x="2198" y="440"/>
                  <a:pt x="2224" y="412"/>
                </a:cubicBezTo>
                <a:cubicBezTo>
                  <a:pt x="2218" y="400"/>
                  <a:pt x="2218" y="400"/>
                  <a:pt x="2218" y="400"/>
                </a:cubicBezTo>
                <a:cubicBezTo>
                  <a:pt x="2192" y="416"/>
                  <a:pt x="2164" y="422"/>
                  <a:pt x="2138" y="422"/>
                </a:cubicBezTo>
                <a:cubicBezTo>
                  <a:pt x="2058" y="420"/>
                  <a:pt x="2028" y="352"/>
                  <a:pt x="2030" y="290"/>
                </a:cubicBezTo>
                <a:moveTo>
                  <a:pt x="2478" y="242"/>
                </a:moveTo>
                <a:cubicBezTo>
                  <a:pt x="2490" y="206"/>
                  <a:pt x="2510" y="192"/>
                  <a:pt x="2528" y="192"/>
                </a:cubicBezTo>
                <a:cubicBezTo>
                  <a:pt x="2528" y="180"/>
                  <a:pt x="2528" y="180"/>
                  <a:pt x="2528" y="180"/>
                </a:cubicBezTo>
                <a:cubicBezTo>
                  <a:pt x="2430" y="180"/>
                  <a:pt x="2430" y="180"/>
                  <a:pt x="2430" y="180"/>
                </a:cubicBezTo>
                <a:cubicBezTo>
                  <a:pt x="2430" y="192"/>
                  <a:pt x="2430" y="192"/>
                  <a:pt x="2430" y="192"/>
                </a:cubicBezTo>
                <a:cubicBezTo>
                  <a:pt x="2454" y="194"/>
                  <a:pt x="2466" y="206"/>
                  <a:pt x="2458" y="234"/>
                </a:cubicBezTo>
                <a:cubicBezTo>
                  <a:pt x="2406" y="390"/>
                  <a:pt x="2406" y="390"/>
                  <a:pt x="2406" y="390"/>
                </a:cubicBezTo>
                <a:cubicBezTo>
                  <a:pt x="2354" y="270"/>
                  <a:pt x="2354" y="270"/>
                  <a:pt x="2354" y="270"/>
                </a:cubicBezTo>
                <a:cubicBezTo>
                  <a:pt x="2340" y="238"/>
                  <a:pt x="2334" y="224"/>
                  <a:pt x="2334" y="212"/>
                </a:cubicBezTo>
                <a:cubicBezTo>
                  <a:pt x="2334" y="202"/>
                  <a:pt x="2340" y="196"/>
                  <a:pt x="2360" y="192"/>
                </a:cubicBezTo>
                <a:cubicBezTo>
                  <a:pt x="2360" y="180"/>
                  <a:pt x="2360" y="180"/>
                  <a:pt x="2360" y="180"/>
                </a:cubicBezTo>
                <a:cubicBezTo>
                  <a:pt x="2234" y="180"/>
                  <a:pt x="2234" y="180"/>
                  <a:pt x="2234" y="180"/>
                </a:cubicBezTo>
                <a:cubicBezTo>
                  <a:pt x="2234" y="192"/>
                  <a:pt x="2234" y="192"/>
                  <a:pt x="2234" y="192"/>
                </a:cubicBezTo>
                <a:cubicBezTo>
                  <a:pt x="2266" y="194"/>
                  <a:pt x="2268" y="198"/>
                  <a:pt x="2310" y="292"/>
                </a:cubicBezTo>
                <a:cubicBezTo>
                  <a:pt x="2382" y="450"/>
                  <a:pt x="2382" y="450"/>
                  <a:pt x="2382" y="450"/>
                </a:cubicBezTo>
                <a:cubicBezTo>
                  <a:pt x="2358" y="512"/>
                  <a:pt x="2320" y="546"/>
                  <a:pt x="2242" y="564"/>
                </a:cubicBezTo>
                <a:cubicBezTo>
                  <a:pt x="2246" y="576"/>
                  <a:pt x="2260" y="600"/>
                  <a:pt x="2268" y="606"/>
                </a:cubicBezTo>
                <a:cubicBezTo>
                  <a:pt x="2370" y="564"/>
                  <a:pt x="2390" y="498"/>
                  <a:pt x="2426" y="396"/>
                </a:cubicBezTo>
                <a:lnTo>
                  <a:pt x="2478" y="242"/>
                </a:lnTo>
                <a:close/>
                <a:moveTo>
                  <a:pt x="2844" y="394"/>
                </a:moveTo>
                <a:cubicBezTo>
                  <a:pt x="2822" y="412"/>
                  <a:pt x="2782" y="416"/>
                  <a:pt x="2750" y="416"/>
                </a:cubicBezTo>
                <a:cubicBezTo>
                  <a:pt x="2670" y="416"/>
                  <a:pt x="2606" y="360"/>
                  <a:pt x="2606" y="284"/>
                </a:cubicBezTo>
                <a:cubicBezTo>
                  <a:pt x="2606" y="236"/>
                  <a:pt x="2626" y="206"/>
                  <a:pt x="2658" y="198"/>
                </a:cubicBezTo>
                <a:cubicBezTo>
                  <a:pt x="2698" y="266"/>
                  <a:pt x="2770" y="338"/>
                  <a:pt x="2844" y="394"/>
                </a:cubicBezTo>
                <a:moveTo>
                  <a:pt x="2928" y="448"/>
                </a:moveTo>
                <a:cubicBezTo>
                  <a:pt x="3022" y="448"/>
                  <a:pt x="3022" y="448"/>
                  <a:pt x="3022" y="448"/>
                </a:cubicBezTo>
                <a:cubicBezTo>
                  <a:pt x="3022" y="436"/>
                  <a:pt x="3022" y="436"/>
                  <a:pt x="3022" y="436"/>
                </a:cubicBezTo>
                <a:cubicBezTo>
                  <a:pt x="2992" y="432"/>
                  <a:pt x="2946" y="408"/>
                  <a:pt x="2896" y="372"/>
                </a:cubicBezTo>
                <a:cubicBezTo>
                  <a:pt x="2914" y="342"/>
                  <a:pt x="2918" y="300"/>
                  <a:pt x="2922" y="270"/>
                </a:cubicBezTo>
                <a:cubicBezTo>
                  <a:pt x="2926" y="244"/>
                  <a:pt x="2946" y="244"/>
                  <a:pt x="2958" y="242"/>
                </a:cubicBezTo>
                <a:cubicBezTo>
                  <a:pt x="2958" y="230"/>
                  <a:pt x="2958" y="230"/>
                  <a:pt x="2958" y="230"/>
                </a:cubicBezTo>
                <a:cubicBezTo>
                  <a:pt x="2834" y="230"/>
                  <a:pt x="2834" y="230"/>
                  <a:pt x="2834" y="230"/>
                </a:cubicBezTo>
                <a:cubicBezTo>
                  <a:pt x="2834" y="242"/>
                  <a:pt x="2834" y="242"/>
                  <a:pt x="2834" y="242"/>
                </a:cubicBezTo>
                <a:cubicBezTo>
                  <a:pt x="2864" y="246"/>
                  <a:pt x="2892" y="250"/>
                  <a:pt x="2892" y="294"/>
                </a:cubicBezTo>
                <a:cubicBezTo>
                  <a:pt x="2892" y="318"/>
                  <a:pt x="2888" y="342"/>
                  <a:pt x="2878" y="358"/>
                </a:cubicBezTo>
                <a:cubicBezTo>
                  <a:pt x="2770" y="274"/>
                  <a:pt x="2670" y="156"/>
                  <a:pt x="2670" y="96"/>
                </a:cubicBezTo>
                <a:cubicBezTo>
                  <a:pt x="2670" y="66"/>
                  <a:pt x="2688" y="54"/>
                  <a:pt x="2716" y="54"/>
                </a:cubicBezTo>
                <a:cubicBezTo>
                  <a:pt x="2752" y="54"/>
                  <a:pt x="2784" y="78"/>
                  <a:pt x="2800" y="124"/>
                </a:cubicBezTo>
                <a:cubicBezTo>
                  <a:pt x="2812" y="124"/>
                  <a:pt x="2812" y="124"/>
                  <a:pt x="2812" y="124"/>
                </a:cubicBezTo>
                <a:cubicBezTo>
                  <a:pt x="2810" y="42"/>
                  <a:pt x="2810" y="42"/>
                  <a:pt x="2810" y="42"/>
                </a:cubicBezTo>
                <a:cubicBezTo>
                  <a:pt x="2798" y="42"/>
                  <a:pt x="2798" y="42"/>
                  <a:pt x="2798" y="42"/>
                </a:cubicBezTo>
                <a:cubicBezTo>
                  <a:pt x="2798" y="48"/>
                  <a:pt x="2792" y="52"/>
                  <a:pt x="2788" y="52"/>
                </a:cubicBezTo>
                <a:cubicBezTo>
                  <a:pt x="2772" y="52"/>
                  <a:pt x="2752" y="36"/>
                  <a:pt x="2714" y="36"/>
                </a:cubicBezTo>
                <a:cubicBezTo>
                  <a:pt x="2672" y="36"/>
                  <a:pt x="2630" y="62"/>
                  <a:pt x="2630" y="118"/>
                </a:cubicBezTo>
                <a:cubicBezTo>
                  <a:pt x="2630" y="140"/>
                  <a:pt x="2636" y="160"/>
                  <a:pt x="2648" y="182"/>
                </a:cubicBezTo>
                <a:cubicBezTo>
                  <a:pt x="2592" y="200"/>
                  <a:pt x="2562" y="248"/>
                  <a:pt x="2562" y="304"/>
                </a:cubicBezTo>
                <a:cubicBezTo>
                  <a:pt x="2562" y="406"/>
                  <a:pt x="2640" y="460"/>
                  <a:pt x="2726" y="460"/>
                </a:cubicBezTo>
                <a:cubicBezTo>
                  <a:pt x="2780" y="460"/>
                  <a:pt x="2824" y="444"/>
                  <a:pt x="2862" y="410"/>
                </a:cubicBezTo>
                <a:cubicBezTo>
                  <a:pt x="2888" y="424"/>
                  <a:pt x="2912" y="442"/>
                  <a:pt x="2928" y="448"/>
                </a:cubicBezTo>
                <a:moveTo>
                  <a:pt x="3094" y="212"/>
                </a:moveTo>
                <a:cubicBezTo>
                  <a:pt x="3094" y="88"/>
                  <a:pt x="3154" y="20"/>
                  <a:pt x="3252" y="20"/>
                </a:cubicBezTo>
                <a:cubicBezTo>
                  <a:pt x="3328" y="20"/>
                  <a:pt x="3372" y="58"/>
                  <a:pt x="3392" y="134"/>
                </a:cubicBezTo>
                <a:cubicBezTo>
                  <a:pt x="3404" y="134"/>
                  <a:pt x="3404" y="134"/>
                  <a:pt x="3404" y="134"/>
                </a:cubicBezTo>
                <a:cubicBezTo>
                  <a:pt x="3400" y="4"/>
                  <a:pt x="3400" y="4"/>
                  <a:pt x="3400" y="4"/>
                </a:cubicBezTo>
                <a:cubicBezTo>
                  <a:pt x="3388" y="4"/>
                  <a:pt x="3388" y="4"/>
                  <a:pt x="3388" y="4"/>
                </a:cubicBezTo>
                <a:cubicBezTo>
                  <a:pt x="3384" y="14"/>
                  <a:pt x="3376" y="18"/>
                  <a:pt x="3364" y="18"/>
                </a:cubicBezTo>
                <a:cubicBezTo>
                  <a:pt x="3338" y="18"/>
                  <a:pt x="3314" y="0"/>
                  <a:pt x="3248" y="0"/>
                </a:cubicBezTo>
                <a:cubicBezTo>
                  <a:pt x="3118" y="0"/>
                  <a:pt x="3030" y="102"/>
                  <a:pt x="3030" y="242"/>
                </a:cubicBezTo>
                <a:cubicBezTo>
                  <a:pt x="3030" y="376"/>
                  <a:pt x="3110" y="460"/>
                  <a:pt x="3238" y="460"/>
                </a:cubicBezTo>
                <a:cubicBezTo>
                  <a:pt x="3320" y="460"/>
                  <a:pt x="3384" y="420"/>
                  <a:pt x="3408" y="380"/>
                </a:cubicBezTo>
                <a:cubicBezTo>
                  <a:pt x="3396" y="366"/>
                  <a:pt x="3396" y="366"/>
                  <a:pt x="3396" y="366"/>
                </a:cubicBezTo>
                <a:cubicBezTo>
                  <a:pt x="3370" y="402"/>
                  <a:pt x="3314" y="426"/>
                  <a:pt x="3256" y="426"/>
                </a:cubicBezTo>
                <a:cubicBezTo>
                  <a:pt x="3156" y="426"/>
                  <a:pt x="3094" y="340"/>
                  <a:pt x="3094" y="212"/>
                </a:cubicBezTo>
                <a:moveTo>
                  <a:pt x="3678" y="328"/>
                </a:moveTo>
                <a:cubicBezTo>
                  <a:pt x="3678" y="392"/>
                  <a:pt x="3650" y="430"/>
                  <a:pt x="3592" y="430"/>
                </a:cubicBezTo>
                <a:cubicBezTo>
                  <a:pt x="3542" y="430"/>
                  <a:pt x="3496" y="384"/>
                  <a:pt x="3496" y="292"/>
                </a:cubicBezTo>
                <a:cubicBezTo>
                  <a:pt x="3496" y="226"/>
                  <a:pt x="3528" y="190"/>
                  <a:pt x="3580" y="190"/>
                </a:cubicBezTo>
                <a:cubicBezTo>
                  <a:pt x="3628" y="192"/>
                  <a:pt x="3678" y="238"/>
                  <a:pt x="3678" y="328"/>
                </a:cubicBezTo>
                <a:moveTo>
                  <a:pt x="3732" y="312"/>
                </a:moveTo>
                <a:cubicBezTo>
                  <a:pt x="3732" y="260"/>
                  <a:pt x="3710" y="214"/>
                  <a:pt x="3672" y="190"/>
                </a:cubicBezTo>
                <a:cubicBezTo>
                  <a:pt x="3650" y="176"/>
                  <a:pt x="3620" y="168"/>
                  <a:pt x="3588" y="168"/>
                </a:cubicBezTo>
                <a:cubicBezTo>
                  <a:pt x="3502" y="168"/>
                  <a:pt x="3442" y="230"/>
                  <a:pt x="3442" y="310"/>
                </a:cubicBezTo>
                <a:cubicBezTo>
                  <a:pt x="3442" y="364"/>
                  <a:pt x="3464" y="408"/>
                  <a:pt x="3502" y="432"/>
                </a:cubicBezTo>
                <a:cubicBezTo>
                  <a:pt x="3524" y="446"/>
                  <a:pt x="3554" y="452"/>
                  <a:pt x="3586" y="452"/>
                </a:cubicBezTo>
                <a:cubicBezTo>
                  <a:pt x="3672" y="454"/>
                  <a:pt x="3732" y="394"/>
                  <a:pt x="3732" y="312"/>
                </a:cubicBezTo>
                <a:moveTo>
                  <a:pt x="4136" y="448"/>
                </a:moveTo>
                <a:cubicBezTo>
                  <a:pt x="4280" y="448"/>
                  <a:pt x="4280" y="448"/>
                  <a:pt x="4280" y="448"/>
                </a:cubicBezTo>
                <a:cubicBezTo>
                  <a:pt x="4280" y="436"/>
                  <a:pt x="4280" y="436"/>
                  <a:pt x="4280" y="436"/>
                </a:cubicBezTo>
                <a:cubicBezTo>
                  <a:pt x="4230" y="434"/>
                  <a:pt x="4232" y="426"/>
                  <a:pt x="4232" y="348"/>
                </a:cubicBezTo>
                <a:cubicBezTo>
                  <a:pt x="4232" y="276"/>
                  <a:pt x="4232" y="276"/>
                  <a:pt x="4232" y="276"/>
                </a:cubicBezTo>
                <a:cubicBezTo>
                  <a:pt x="4232" y="200"/>
                  <a:pt x="4190" y="172"/>
                  <a:pt x="4142" y="172"/>
                </a:cubicBezTo>
                <a:cubicBezTo>
                  <a:pt x="4098" y="172"/>
                  <a:pt x="4064" y="196"/>
                  <a:pt x="4038" y="232"/>
                </a:cubicBezTo>
                <a:cubicBezTo>
                  <a:pt x="4028" y="194"/>
                  <a:pt x="4000" y="172"/>
                  <a:pt x="3954" y="172"/>
                </a:cubicBezTo>
                <a:cubicBezTo>
                  <a:pt x="3916" y="172"/>
                  <a:pt x="3880" y="196"/>
                  <a:pt x="3858" y="224"/>
                </a:cubicBezTo>
                <a:cubicBezTo>
                  <a:pt x="3858" y="176"/>
                  <a:pt x="3858" y="176"/>
                  <a:pt x="3858" y="176"/>
                </a:cubicBezTo>
                <a:cubicBezTo>
                  <a:pt x="3756" y="176"/>
                  <a:pt x="3756" y="176"/>
                  <a:pt x="3756" y="176"/>
                </a:cubicBezTo>
                <a:cubicBezTo>
                  <a:pt x="3756" y="188"/>
                  <a:pt x="3756" y="188"/>
                  <a:pt x="3756" y="188"/>
                </a:cubicBezTo>
                <a:cubicBezTo>
                  <a:pt x="3800" y="190"/>
                  <a:pt x="3806" y="192"/>
                  <a:pt x="3806" y="268"/>
                </a:cubicBezTo>
                <a:cubicBezTo>
                  <a:pt x="3806" y="346"/>
                  <a:pt x="3806" y="346"/>
                  <a:pt x="3806" y="346"/>
                </a:cubicBezTo>
                <a:cubicBezTo>
                  <a:pt x="3806" y="434"/>
                  <a:pt x="3804" y="434"/>
                  <a:pt x="3758" y="434"/>
                </a:cubicBezTo>
                <a:cubicBezTo>
                  <a:pt x="3758" y="446"/>
                  <a:pt x="3758" y="446"/>
                  <a:pt x="3758" y="446"/>
                </a:cubicBezTo>
                <a:cubicBezTo>
                  <a:pt x="3902" y="446"/>
                  <a:pt x="3902" y="446"/>
                  <a:pt x="3902" y="446"/>
                </a:cubicBezTo>
                <a:cubicBezTo>
                  <a:pt x="3902" y="434"/>
                  <a:pt x="3902" y="434"/>
                  <a:pt x="3902" y="434"/>
                </a:cubicBezTo>
                <a:cubicBezTo>
                  <a:pt x="3862" y="430"/>
                  <a:pt x="3858" y="430"/>
                  <a:pt x="3858" y="342"/>
                </a:cubicBezTo>
                <a:cubicBezTo>
                  <a:pt x="3858" y="262"/>
                  <a:pt x="3858" y="262"/>
                  <a:pt x="3858" y="262"/>
                </a:cubicBezTo>
                <a:cubicBezTo>
                  <a:pt x="3858" y="234"/>
                  <a:pt x="3894" y="204"/>
                  <a:pt x="3932" y="204"/>
                </a:cubicBezTo>
                <a:cubicBezTo>
                  <a:pt x="3974" y="204"/>
                  <a:pt x="3990" y="226"/>
                  <a:pt x="3990" y="282"/>
                </a:cubicBezTo>
                <a:cubicBezTo>
                  <a:pt x="3990" y="338"/>
                  <a:pt x="3990" y="338"/>
                  <a:pt x="3990" y="338"/>
                </a:cubicBezTo>
                <a:cubicBezTo>
                  <a:pt x="3990" y="428"/>
                  <a:pt x="3988" y="432"/>
                  <a:pt x="3950" y="436"/>
                </a:cubicBezTo>
                <a:cubicBezTo>
                  <a:pt x="3950" y="448"/>
                  <a:pt x="3950" y="448"/>
                  <a:pt x="3950" y="448"/>
                </a:cubicBezTo>
                <a:cubicBezTo>
                  <a:pt x="4086" y="448"/>
                  <a:pt x="4086" y="448"/>
                  <a:pt x="4086" y="448"/>
                </a:cubicBezTo>
                <a:cubicBezTo>
                  <a:pt x="4086" y="436"/>
                  <a:pt x="4086" y="436"/>
                  <a:pt x="4086" y="436"/>
                </a:cubicBezTo>
                <a:cubicBezTo>
                  <a:pt x="4040" y="432"/>
                  <a:pt x="4042" y="428"/>
                  <a:pt x="4042" y="342"/>
                </a:cubicBezTo>
                <a:cubicBezTo>
                  <a:pt x="4042" y="264"/>
                  <a:pt x="4042" y="264"/>
                  <a:pt x="4042" y="264"/>
                </a:cubicBezTo>
                <a:cubicBezTo>
                  <a:pt x="4042" y="236"/>
                  <a:pt x="4078" y="206"/>
                  <a:pt x="4118" y="206"/>
                </a:cubicBezTo>
                <a:cubicBezTo>
                  <a:pt x="4152" y="206"/>
                  <a:pt x="4174" y="226"/>
                  <a:pt x="4174" y="284"/>
                </a:cubicBezTo>
                <a:cubicBezTo>
                  <a:pt x="4174" y="346"/>
                  <a:pt x="4174" y="346"/>
                  <a:pt x="4174" y="346"/>
                </a:cubicBezTo>
                <a:cubicBezTo>
                  <a:pt x="4174" y="428"/>
                  <a:pt x="4174" y="432"/>
                  <a:pt x="4134" y="436"/>
                </a:cubicBezTo>
                <a:cubicBezTo>
                  <a:pt x="4134" y="448"/>
                  <a:pt x="4134" y="448"/>
                  <a:pt x="4134" y="448"/>
                </a:cubicBezTo>
                <a:lnTo>
                  <a:pt x="4136" y="448"/>
                </a:lnTo>
                <a:close/>
                <a:moveTo>
                  <a:pt x="4546" y="316"/>
                </a:moveTo>
                <a:cubicBezTo>
                  <a:pt x="4546" y="388"/>
                  <a:pt x="4516" y="432"/>
                  <a:pt x="4460" y="432"/>
                </a:cubicBezTo>
                <a:cubicBezTo>
                  <a:pt x="4424" y="432"/>
                  <a:pt x="4384" y="412"/>
                  <a:pt x="4384" y="384"/>
                </a:cubicBezTo>
                <a:cubicBezTo>
                  <a:pt x="4384" y="248"/>
                  <a:pt x="4384" y="248"/>
                  <a:pt x="4384" y="248"/>
                </a:cubicBezTo>
                <a:cubicBezTo>
                  <a:pt x="4384" y="226"/>
                  <a:pt x="4416" y="202"/>
                  <a:pt x="4454" y="202"/>
                </a:cubicBezTo>
                <a:cubicBezTo>
                  <a:pt x="4510" y="206"/>
                  <a:pt x="4546" y="248"/>
                  <a:pt x="4546" y="316"/>
                </a:cubicBezTo>
                <a:moveTo>
                  <a:pt x="4600" y="310"/>
                </a:moveTo>
                <a:cubicBezTo>
                  <a:pt x="4600" y="230"/>
                  <a:pt x="4548" y="170"/>
                  <a:pt x="4478" y="170"/>
                </a:cubicBezTo>
                <a:cubicBezTo>
                  <a:pt x="4438" y="170"/>
                  <a:pt x="4406" y="188"/>
                  <a:pt x="4384" y="214"/>
                </a:cubicBezTo>
                <a:cubicBezTo>
                  <a:pt x="4384" y="174"/>
                  <a:pt x="4384" y="174"/>
                  <a:pt x="4384" y="174"/>
                </a:cubicBezTo>
                <a:cubicBezTo>
                  <a:pt x="4284" y="174"/>
                  <a:pt x="4284" y="174"/>
                  <a:pt x="4284" y="174"/>
                </a:cubicBezTo>
                <a:cubicBezTo>
                  <a:pt x="4284" y="186"/>
                  <a:pt x="4284" y="186"/>
                  <a:pt x="4284" y="186"/>
                </a:cubicBezTo>
                <a:cubicBezTo>
                  <a:pt x="4326" y="188"/>
                  <a:pt x="4332" y="190"/>
                  <a:pt x="4332" y="280"/>
                </a:cubicBezTo>
                <a:cubicBezTo>
                  <a:pt x="4332" y="466"/>
                  <a:pt x="4332" y="466"/>
                  <a:pt x="4332" y="466"/>
                </a:cubicBezTo>
                <a:cubicBezTo>
                  <a:pt x="4332" y="564"/>
                  <a:pt x="4334" y="570"/>
                  <a:pt x="4286" y="574"/>
                </a:cubicBezTo>
                <a:cubicBezTo>
                  <a:pt x="4286" y="588"/>
                  <a:pt x="4286" y="588"/>
                  <a:pt x="4286" y="588"/>
                </a:cubicBezTo>
                <a:cubicBezTo>
                  <a:pt x="4432" y="588"/>
                  <a:pt x="4432" y="588"/>
                  <a:pt x="4432" y="588"/>
                </a:cubicBezTo>
                <a:cubicBezTo>
                  <a:pt x="4432" y="574"/>
                  <a:pt x="4432" y="574"/>
                  <a:pt x="4432" y="574"/>
                </a:cubicBezTo>
                <a:cubicBezTo>
                  <a:pt x="4380" y="572"/>
                  <a:pt x="4384" y="564"/>
                  <a:pt x="4384" y="462"/>
                </a:cubicBezTo>
                <a:cubicBezTo>
                  <a:pt x="4384" y="424"/>
                  <a:pt x="4384" y="424"/>
                  <a:pt x="4384" y="424"/>
                </a:cubicBezTo>
                <a:cubicBezTo>
                  <a:pt x="4404" y="444"/>
                  <a:pt x="4436" y="454"/>
                  <a:pt x="4466" y="454"/>
                </a:cubicBezTo>
                <a:cubicBezTo>
                  <a:pt x="4548" y="454"/>
                  <a:pt x="4600" y="392"/>
                  <a:pt x="4600" y="310"/>
                </a:cubicBezTo>
                <a:moveTo>
                  <a:pt x="4792" y="382"/>
                </a:moveTo>
                <a:cubicBezTo>
                  <a:pt x="4792" y="404"/>
                  <a:pt x="4762" y="424"/>
                  <a:pt x="4736" y="424"/>
                </a:cubicBezTo>
                <a:cubicBezTo>
                  <a:pt x="4712" y="424"/>
                  <a:pt x="4694" y="410"/>
                  <a:pt x="4694" y="378"/>
                </a:cubicBezTo>
                <a:cubicBezTo>
                  <a:pt x="4694" y="322"/>
                  <a:pt x="4752" y="328"/>
                  <a:pt x="4792" y="306"/>
                </a:cubicBezTo>
                <a:cubicBezTo>
                  <a:pt x="4792" y="382"/>
                  <a:pt x="4792" y="382"/>
                  <a:pt x="4792" y="382"/>
                </a:cubicBezTo>
                <a:close/>
                <a:moveTo>
                  <a:pt x="5240" y="434"/>
                </a:moveTo>
                <a:cubicBezTo>
                  <a:pt x="5192" y="432"/>
                  <a:pt x="5192" y="430"/>
                  <a:pt x="5192" y="340"/>
                </a:cubicBezTo>
                <a:cubicBezTo>
                  <a:pt x="5192" y="278"/>
                  <a:pt x="5192" y="278"/>
                  <a:pt x="5192" y="278"/>
                </a:cubicBezTo>
                <a:cubicBezTo>
                  <a:pt x="5192" y="196"/>
                  <a:pt x="5146" y="170"/>
                  <a:pt x="5104" y="170"/>
                </a:cubicBezTo>
                <a:cubicBezTo>
                  <a:pt x="5068" y="170"/>
                  <a:pt x="5032" y="186"/>
                  <a:pt x="5004" y="222"/>
                </a:cubicBezTo>
                <a:cubicBezTo>
                  <a:pt x="5004" y="174"/>
                  <a:pt x="5004" y="174"/>
                  <a:pt x="5004" y="174"/>
                </a:cubicBezTo>
                <a:cubicBezTo>
                  <a:pt x="4902" y="174"/>
                  <a:pt x="4902" y="174"/>
                  <a:pt x="4902" y="174"/>
                </a:cubicBezTo>
                <a:cubicBezTo>
                  <a:pt x="4902" y="186"/>
                  <a:pt x="4902" y="186"/>
                  <a:pt x="4902" y="186"/>
                </a:cubicBezTo>
                <a:cubicBezTo>
                  <a:pt x="4946" y="188"/>
                  <a:pt x="4952" y="190"/>
                  <a:pt x="4952" y="266"/>
                </a:cubicBezTo>
                <a:cubicBezTo>
                  <a:pt x="4952" y="334"/>
                  <a:pt x="4952" y="334"/>
                  <a:pt x="4952" y="334"/>
                </a:cubicBezTo>
                <a:cubicBezTo>
                  <a:pt x="4952" y="430"/>
                  <a:pt x="4952" y="432"/>
                  <a:pt x="4904" y="434"/>
                </a:cubicBezTo>
                <a:cubicBezTo>
                  <a:pt x="4892" y="434"/>
                  <a:pt x="4892" y="434"/>
                  <a:pt x="4892" y="434"/>
                </a:cubicBezTo>
                <a:cubicBezTo>
                  <a:pt x="4854" y="434"/>
                  <a:pt x="4850" y="422"/>
                  <a:pt x="4850" y="366"/>
                </a:cubicBezTo>
                <a:cubicBezTo>
                  <a:pt x="4850" y="274"/>
                  <a:pt x="4850" y="274"/>
                  <a:pt x="4850" y="274"/>
                </a:cubicBezTo>
                <a:cubicBezTo>
                  <a:pt x="4850" y="256"/>
                  <a:pt x="4848" y="240"/>
                  <a:pt x="4844" y="228"/>
                </a:cubicBezTo>
                <a:cubicBezTo>
                  <a:pt x="4830" y="186"/>
                  <a:pt x="4796" y="170"/>
                  <a:pt x="4748" y="170"/>
                </a:cubicBezTo>
                <a:cubicBezTo>
                  <a:pt x="4718" y="170"/>
                  <a:pt x="4674" y="180"/>
                  <a:pt x="4650" y="202"/>
                </a:cubicBezTo>
                <a:cubicBezTo>
                  <a:pt x="4652" y="214"/>
                  <a:pt x="4664" y="240"/>
                  <a:pt x="4670" y="248"/>
                </a:cubicBezTo>
                <a:cubicBezTo>
                  <a:pt x="4676" y="246"/>
                  <a:pt x="4676" y="246"/>
                  <a:pt x="4676" y="246"/>
                </a:cubicBezTo>
                <a:cubicBezTo>
                  <a:pt x="4688" y="216"/>
                  <a:pt x="4708" y="194"/>
                  <a:pt x="4742" y="194"/>
                </a:cubicBezTo>
                <a:cubicBezTo>
                  <a:pt x="4778" y="194"/>
                  <a:pt x="4794" y="220"/>
                  <a:pt x="4794" y="250"/>
                </a:cubicBezTo>
                <a:cubicBezTo>
                  <a:pt x="4794" y="282"/>
                  <a:pt x="4794" y="282"/>
                  <a:pt x="4794" y="282"/>
                </a:cubicBezTo>
                <a:cubicBezTo>
                  <a:pt x="4794" y="302"/>
                  <a:pt x="4702" y="306"/>
                  <a:pt x="4664" y="338"/>
                </a:cubicBezTo>
                <a:cubicBezTo>
                  <a:pt x="4652" y="350"/>
                  <a:pt x="4642" y="364"/>
                  <a:pt x="4642" y="384"/>
                </a:cubicBezTo>
                <a:cubicBezTo>
                  <a:pt x="4642" y="426"/>
                  <a:pt x="4672" y="456"/>
                  <a:pt x="4716" y="456"/>
                </a:cubicBezTo>
                <a:cubicBezTo>
                  <a:pt x="4744" y="456"/>
                  <a:pt x="4768" y="446"/>
                  <a:pt x="4794" y="418"/>
                </a:cubicBezTo>
                <a:cubicBezTo>
                  <a:pt x="4798" y="438"/>
                  <a:pt x="4814" y="448"/>
                  <a:pt x="4842" y="448"/>
                </a:cubicBezTo>
                <a:cubicBezTo>
                  <a:pt x="4906" y="448"/>
                  <a:pt x="4906" y="448"/>
                  <a:pt x="4906" y="448"/>
                </a:cubicBezTo>
                <a:cubicBezTo>
                  <a:pt x="4906" y="448"/>
                  <a:pt x="4906" y="448"/>
                  <a:pt x="4906" y="448"/>
                </a:cubicBezTo>
                <a:cubicBezTo>
                  <a:pt x="5048" y="448"/>
                  <a:pt x="5048" y="448"/>
                  <a:pt x="5048" y="448"/>
                </a:cubicBezTo>
                <a:cubicBezTo>
                  <a:pt x="5048" y="436"/>
                  <a:pt x="5048" y="436"/>
                  <a:pt x="5048" y="436"/>
                </a:cubicBezTo>
                <a:cubicBezTo>
                  <a:pt x="5006" y="432"/>
                  <a:pt x="5004" y="434"/>
                  <a:pt x="5004" y="338"/>
                </a:cubicBezTo>
                <a:cubicBezTo>
                  <a:pt x="5004" y="262"/>
                  <a:pt x="5004" y="262"/>
                  <a:pt x="5004" y="262"/>
                </a:cubicBezTo>
                <a:cubicBezTo>
                  <a:pt x="5004" y="236"/>
                  <a:pt x="5038" y="206"/>
                  <a:pt x="5080" y="206"/>
                </a:cubicBezTo>
                <a:cubicBezTo>
                  <a:pt x="5114" y="206"/>
                  <a:pt x="5140" y="220"/>
                  <a:pt x="5140" y="286"/>
                </a:cubicBezTo>
                <a:cubicBezTo>
                  <a:pt x="5140" y="340"/>
                  <a:pt x="5140" y="340"/>
                  <a:pt x="5140" y="340"/>
                </a:cubicBezTo>
                <a:cubicBezTo>
                  <a:pt x="5140" y="432"/>
                  <a:pt x="5136" y="432"/>
                  <a:pt x="5098" y="434"/>
                </a:cubicBezTo>
                <a:cubicBezTo>
                  <a:pt x="5098" y="446"/>
                  <a:pt x="5098" y="446"/>
                  <a:pt x="5098" y="446"/>
                </a:cubicBezTo>
                <a:cubicBezTo>
                  <a:pt x="5240" y="446"/>
                  <a:pt x="5240" y="446"/>
                  <a:pt x="5240" y="446"/>
                </a:cubicBezTo>
                <a:lnTo>
                  <a:pt x="5240" y="434"/>
                </a:lnTo>
                <a:close/>
                <a:moveTo>
                  <a:pt x="5516" y="192"/>
                </a:moveTo>
                <a:cubicBezTo>
                  <a:pt x="5516" y="180"/>
                  <a:pt x="5516" y="180"/>
                  <a:pt x="5516" y="180"/>
                </a:cubicBezTo>
                <a:cubicBezTo>
                  <a:pt x="5418" y="180"/>
                  <a:pt x="5418" y="180"/>
                  <a:pt x="5418" y="180"/>
                </a:cubicBezTo>
                <a:cubicBezTo>
                  <a:pt x="5418" y="192"/>
                  <a:pt x="5418" y="192"/>
                  <a:pt x="5418" y="192"/>
                </a:cubicBezTo>
                <a:cubicBezTo>
                  <a:pt x="5442" y="194"/>
                  <a:pt x="5454" y="206"/>
                  <a:pt x="5446" y="234"/>
                </a:cubicBezTo>
                <a:cubicBezTo>
                  <a:pt x="5394" y="390"/>
                  <a:pt x="5394" y="390"/>
                  <a:pt x="5394" y="390"/>
                </a:cubicBezTo>
                <a:cubicBezTo>
                  <a:pt x="5342" y="270"/>
                  <a:pt x="5342" y="270"/>
                  <a:pt x="5342" y="270"/>
                </a:cubicBezTo>
                <a:cubicBezTo>
                  <a:pt x="5328" y="238"/>
                  <a:pt x="5322" y="224"/>
                  <a:pt x="5322" y="212"/>
                </a:cubicBezTo>
                <a:cubicBezTo>
                  <a:pt x="5322" y="202"/>
                  <a:pt x="5328" y="196"/>
                  <a:pt x="5348" y="192"/>
                </a:cubicBezTo>
                <a:cubicBezTo>
                  <a:pt x="5348" y="180"/>
                  <a:pt x="5348" y="180"/>
                  <a:pt x="5348" y="180"/>
                </a:cubicBezTo>
                <a:cubicBezTo>
                  <a:pt x="5220" y="180"/>
                  <a:pt x="5220" y="180"/>
                  <a:pt x="5220" y="180"/>
                </a:cubicBezTo>
                <a:cubicBezTo>
                  <a:pt x="5220" y="192"/>
                  <a:pt x="5220" y="192"/>
                  <a:pt x="5220" y="192"/>
                </a:cubicBezTo>
                <a:cubicBezTo>
                  <a:pt x="5252" y="194"/>
                  <a:pt x="5254" y="198"/>
                  <a:pt x="5296" y="292"/>
                </a:cubicBezTo>
                <a:cubicBezTo>
                  <a:pt x="5368" y="450"/>
                  <a:pt x="5368" y="450"/>
                  <a:pt x="5368" y="450"/>
                </a:cubicBezTo>
                <a:cubicBezTo>
                  <a:pt x="5344" y="512"/>
                  <a:pt x="5306" y="546"/>
                  <a:pt x="5228" y="564"/>
                </a:cubicBezTo>
                <a:cubicBezTo>
                  <a:pt x="5232" y="576"/>
                  <a:pt x="5246" y="600"/>
                  <a:pt x="5254" y="606"/>
                </a:cubicBezTo>
                <a:cubicBezTo>
                  <a:pt x="5356" y="564"/>
                  <a:pt x="5376" y="498"/>
                  <a:pt x="5412" y="396"/>
                </a:cubicBezTo>
                <a:cubicBezTo>
                  <a:pt x="5466" y="242"/>
                  <a:pt x="5466" y="242"/>
                  <a:pt x="5466" y="242"/>
                </a:cubicBezTo>
                <a:cubicBezTo>
                  <a:pt x="5478" y="206"/>
                  <a:pt x="5498" y="192"/>
                  <a:pt x="5516" y="192"/>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600" kern="1200">
                <a:solidFill>
                  <a:schemeClr val="tx1"/>
                </a:solidFill>
                <a:latin typeface="Arial" charset="0"/>
                <a:ea typeface="+mn-ea"/>
                <a:cs typeface="+mn-cs"/>
              </a:defRPr>
            </a:lvl1pPr>
            <a:lvl2pPr marL="457200" algn="l" rtl="0" fontAlgn="base">
              <a:spcBef>
                <a:spcPct val="0"/>
              </a:spcBef>
              <a:spcAft>
                <a:spcPct val="0"/>
              </a:spcAft>
              <a:defRPr sz="1600" kern="1200">
                <a:solidFill>
                  <a:schemeClr val="tx1"/>
                </a:solidFill>
                <a:latin typeface="Arial" charset="0"/>
                <a:ea typeface="+mn-ea"/>
                <a:cs typeface="+mn-cs"/>
              </a:defRPr>
            </a:lvl2pPr>
            <a:lvl3pPr marL="914400" algn="l" rtl="0" fontAlgn="base">
              <a:spcBef>
                <a:spcPct val="0"/>
              </a:spcBef>
              <a:spcAft>
                <a:spcPct val="0"/>
              </a:spcAft>
              <a:defRPr sz="1600" kern="1200">
                <a:solidFill>
                  <a:schemeClr val="tx1"/>
                </a:solidFill>
                <a:latin typeface="Arial" charset="0"/>
                <a:ea typeface="+mn-ea"/>
                <a:cs typeface="+mn-cs"/>
              </a:defRPr>
            </a:lvl3pPr>
            <a:lvl4pPr marL="1371600" algn="l" rtl="0" fontAlgn="base">
              <a:spcBef>
                <a:spcPct val="0"/>
              </a:spcBef>
              <a:spcAft>
                <a:spcPct val="0"/>
              </a:spcAft>
              <a:defRPr sz="1600" kern="1200">
                <a:solidFill>
                  <a:schemeClr val="tx1"/>
                </a:solidFill>
                <a:latin typeface="Arial" charset="0"/>
                <a:ea typeface="+mn-ea"/>
                <a:cs typeface="+mn-cs"/>
              </a:defRPr>
            </a:lvl4pPr>
            <a:lvl5pPr marL="1828800" algn="l" rtl="0" fontAlgn="base">
              <a:spcBef>
                <a:spcPct val="0"/>
              </a:spcBef>
              <a:spcAft>
                <a:spcPct val="0"/>
              </a:spcAft>
              <a:defRPr sz="1600" kern="1200">
                <a:solidFill>
                  <a:schemeClr val="tx1"/>
                </a:solidFill>
                <a:latin typeface="Arial" charset="0"/>
                <a:ea typeface="+mn-ea"/>
                <a:cs typeface="+mn-cs"/>
              </a:defRPr>
            </a:lvl5pPr>
            <a:lvl6pPr marL="2286000" algn="l" defTabSz="914400" rtl="0" eaLnBrk="1" latinLnBrk="0" hangingPunct="1">
              <a:defRPr sz="1600" kern="1200">
                <a:solidFill>
                  <a:schemeClr val="tx1"/>
                </a:solidFill>
                <a:latin typeface="Arial" charset="0"/>
                <a:ea typeface="+mn-ea"/>
                <a:cs typeface="+mn-cs"/>
              </a:defRPr>
            </a:lvl6pPr>
            <a:lvl7pPr marL="2743200" algn="l" defTabSz="914400" rtl="0" eaLnBrk="1" latinLnBrk="0" hangingPunct="1">
              <a:defRPr sz="1600" kern="1200">
                <a:solidFill>
                  <a:schemeClr val="tx1"/>
                </a:solidFill>
                <a:latin typeface="Arial" charset="0"/>
                <a:ea typeface="+mn-ea"/>
                <a:cs typeface="+mn-cs"/>
              </a:defRPr>
            </a:lvl7pPr>
            <a:lvl8pPr marL="3200400" algn="l" defTabSz="914400" rtl="0" eaLnBrk="1" latinLnBrk="0" hangingPunct="1">
              <a:defRPr sz="1600" kern="1200">
                <a:solidFill>
                  <a:schemeClr val="tx1"/>
                </a:solidFill>
                <a:latin typeface="Arial" charset="0"/>
                <a:ea typeface="+mn-ea"/>
                <a:cs typeface="+mn-cs"/>
              </a:defRPr>
            </a:lvl8pPr>
            <a:lvl9pPr marL="3657600" algn="l" defTabSz="914400" rtl="0" eaLnBrk="1" latinLnBrk="0" hangingPunct="1">
              <a:defRPr sz="1600" kern="1200">
                <a:solidFill>
                  <a:schemeClr val="tx1"/>
                </a:solidFill>
                <a:latin typeface="Arial" charset="0"/>
                <a:ea typeface="+mn-ea"/>
                <a:cs typeface="+mn-cs"/>
              </a:defRPr>
            </a:lvl9pPr>
          </a:lstStyle>
          <a:p>
            <a:endParaRPr lang="en-US" baseline="0" dirty="0">
              <a:solidFill>
                <a:srgbClr val="000000"/>
              </a:solidFill>
              <a:latin typeface="+mn-lt"/>
            </a:endParaRPr>
          </a:p>
        </p:txBody>
      </p:sp>
      <p:sp>
        <p:nvSpPr>
          <p:cNvPr id="27" name="Disclaimer-English (United States)" hidden="1"/>
          <p:cNvSpPr>
            <a:spLocks noChangeArrowheads="1"/>
          </p:cNvSpPr>
          <p:nvPr/>
        </p:nvSpPr>
        <p:spPr bwMode="black">
          <a:xfrm>
            <a:off x="2268266" y="6287785"/>
            <a:ext cx="3544453" cy="36908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t" anchorCtr="0">
            <a:noAutofit/>
          </a:bodyPr>
          <a:lstStyle/>
          <a:p>
            <a:pPr defTabSz="804863" eaLnBrk="0" hangingPunct="0"/>
            <a:r>
              <a:rPr lang="en-US" sz="800" baseline="0" dirty="0">
                <a:solidFill>
                  <a:srgbClr val="FFFFFF"/>
                </a:solidFill>
                <a:latin typeface="+mn-lt"/>
              </a:rPr>
              <a:t>CONFIDENTIAL AND PROPRIETARY</a:t>
            </a:r>
          </a:p>
          <a:p>
            <a:pPr defTabSz="804863" eaLnBrk="0" hangingPunct="0"/>
            <a:r>
              <a:rPr lang="en-US" sz="800" baseline="0" dirty="0">
                <a:solidFill>
                  <a:srgbClr val="FFFFFF"/>
                </a:solidFill>
                <a:latin typeface="+mn-lt"/>
              </a:rPr>
              <a:t>Any use of this material without specific permission of McKinsey &amp; Company is strictly prohibited</a:t>
            </a:r>
          </a:p>
        </p:txBody>
      </p:sp>
    </p:spTree>
    <p:extLst>
      <p:ext uri="{BB962C8B-B14F-4D97-AF65-F5344CB8AC3E}">
        <p14:creationId xmlns:p14="http://schemas.microsoft.com/office/powerpoint/2010/main" val="4194165248"/>
      </p:ext>
    </p:extLst>
  </p:cSld>
  <p:clrMapOvr>
    <a:masterClrMapping/>
  </p:clrMapOvr>
  <p:extLst mod="1">
    <p:ext uri="{DCECCB84-F9BA-43D5-87BE-67443E8EF086}">
      <p15:sldGuideLst xmlns:p15="http://schemas.microsoft.com/office/powerpoint/2012/main">
        <p15:guide id="1" orient="horz" pos="2117">
          <p15:clr>
            <a:srgbClr val="FBAE40"/>
          </p15:clr>
        </p15:guide>
        <p15:guide id="2" pos="1416">
          <p15:clr>
            <a:srgbClr val="FBAE40"/>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6E228F5-5CF1-42E1-9748-97D7582A107A}"/>
              </a:ext>
            </a:extLst>
          </p:cNvPr>
          <p:cNvGraphicFramePr>
            <a:graphicFrameLocks noChangeAspect="1"/>
          </p:cNvGraphicFramePr>
          <p:nvPr>
            <p:custDataLst>
              <p:tags r:id="rId2"/>
            </p:custDataLst>
            <p:extLst>
              <p:ext uri="{D42A27DB-BD31-4B8C-83A1-F6EECF244321}">
                <p14:modId xmlns:p14="http://schemas.microsoft.com/office/powerpoint/2010/main" val="80004148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6148" name="think-cell Slide" r:id="rId5" imgW="353" imgH="353" progId="TCLayout.ActiveDocument.1">
                  <p:embed/>
                </p:oleObj>
              </mc:Choice>
              <mc:Fallback>
                <p:oleObj name="think-cell Slide" r:id="rId5" imgW="353" imgH="353" progId="TCLayout.ActiveDocument.1">
                  <p:embed/>
                  <p:pic>
                    <p:nvPicPr>
                      <p:cNvPr id="3" name="Object 2" hidden="1">
                        <a:extLst>
                          <a:ext uri="{FF2B5EF4-FFF2-40B4-BE49-F238E27FC236}">
                            <a16:creationId xmlns:a16="http://schemas.microsoft.com/office/drawing/2014/main" id="{C6E228F5-5CF1-42E1-9748-97D7582A107A}"/>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2. Slide Title"/>
          <p:cNvSpPr>
            <a:spLocks noGrp="1"/>
          </p:cNvSpPr>
          <p:nvPr>
            <p:ph type="title"/>
          </p:nvPr>
        </p:nvSpPr>
        <p:spPr bwMode="auto"/>
        <p:txBody>
          <a:bodyPr/>
          <a:lstStyle/>
          <a:p>
            <a:r>
              <a:rPr lang="en-US"/>
              <a:t>Click to edit Master title style</a:t>
            </a:r>
            <a:endParaRPr lang="en-US" dirty="0"/>
          </a:p>
        </p:txBody>
      </p:sp>
      <p:sp>
        <p:nvSpPr>
          <p:cNvPr id="8" name="Slide Number"/>
          <p:cNvSpPr txBox="1">
            <a:spLocks/>
          </p:cNvSpPr>
          <p:nvPr/>
        </p:nvSpPr>
        <p:spPr bwMode="auto">
          <a:xfrm>
            <a:off x="8564563" y="6508272"/>
            <a:ext cx="125034" cy="123111"/>
          </a:xfrm>
          <a:prstGeom prst="rect">
            <a:avLst/>
          </a:prstGeom>
        </p:spPr>
        <p:txBody>
          <a:bodyPr vert="horz" wrap="none" lIns="0" tIns="0" rIns="0" bIns="0" rtlCol="0" anchor="ctr">
            <a:spAutoFit/>
          </a:bodyPr>
          <a:lstStyle>
            <a:defPPr>
              <a:defRPr lang="en-US"/>
            </a:defPPr>
            <a:lvl1pPr>
              <a:defRPr sz="1000" baseline="0">
                <a:latin typeface="+mn-lt"/>
              </a:defRPr>
            </a:lvl1pPr>
          </a:lstStyle>
          <a:p>
            <a:fld id="{42C328C1-A84F-4A39-A664-DBA00541A8C6}" type="slidenum">
              <a:rPr lang="en-US" sz="800" baseline="0" smtClean="0">
                <a:solidFill>
                  <a:srgbClr val="808080"/>
                </a:solidFill>
                <a:latin typeface="+mn-lt"/>
              </a:rPr>
              <a:pPr/>
              <a:t>‹#›</a:t>
            </a:fld>
            <a:endParaRPr lang="en-US" sz="800" baseline="0" dirty="0">
              <a:solidFill>
                <a:srgbClr val="808080"/>
              </a:solidFill>
              <a:latin typeface="+mn-lt"/>
            </a:endParaRPr>
          </a:p>
        </p:txBody>
      </p:sp>
      <p:sp>
        <p:nvSpPr>
          <p:cNvPr id="9" name="SlideLogoText"/>
          <p:cNvSpPr>
            <a:spLocks noChangeArrowheads="1"/>
          </p:cNvSpPr>
          <p:nvPr>
            <p:custDataLst>
              <p:tags r:id="rId3"/>
            </p:custDataLst>
          </p:nvPr>
        </p:nvSpPr>
        <p:spPr bwMode="auto">
          <a:xfrm>
            <a:off x="7450817" y="6508272"/>
            <a:ext cx="1013098"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algn="r" defTabSz="895350"/>
            <a:r>
              <a:rPr lang="en-US" sz="800" baseline="0" dirty="0">
                <a:solidFill>
                  <a:srgbClr val="808080"/>
                </a:solidFill>
                <a:latin typeface="+mn-lt"/>
              </a:rPr>
              <a:t>McKinsey &amp; Company</a:t>
            </a:r>
          </a:p>
        </p:txBody>
      </p:sp>
      <p:sp>
        <p:nvSpPr>
          <p:cNvPr id="5" name="doc id" hidden="1"/>
          <p:cNvSpPr txBox="1">
            <a:spLocks noChangeArrowheads="1"/>
          </p:cNvSpPr>
          <p:nvPr/>
        </p:nvSpPr>
        <p:spPr bwMode="white">
          <a:xfrm>
            <a:off x="8104473" y="36513"/>
            <a:ext cx="634716" cy="115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hangingPunct="1">
              <a:defRPr/>
            </a:pPr>
            <a:endParaRPr lang="en-US" sz="800" baseline="0" dirty="0">
              <a:solidFill>
                <a:schemeClr val="accent1"/>
              </a:solidFill>
              <a:latin typeface="+mn-lt"/>
              <a:ea typeface="+mn-ea"/>
            </a:endParaRPr>
          </a:p>
        </p:txBody>
      </p:sp>
    </p:spTree>
    <p:extLst>
      <p:ext uri="{BB962C8B-B14F-4D97-AF65-F5344CB8AC3E}">
        <p14:creationId xmlns:p14="http://schemas.microsoft.com/office/powerpoint/2010/main" val="2792169541"/>
      </p:ext>
    </p:extLst>
  </p:cSld>
  <p:clrMapOvr>
    <a:masterClrMapping/>
  </p:clrMapOvr>
  <p:extLst mod="1">
    <p:ext uri="{DCECCB84-F9BA-43D5-87BE-67443E8EF086}">
      <p15:sldGuideLst xmlns:p15="http://schemas.microsoft.com/office/powerpoint/2012/main">
        <p15:guide id="1" pos="5505">
          <p15:clr>
            <a:srgbClr val="F26B43"/>
          </p15:clr>
        </p15:guide>
        <p15:guide id="2" pos="74">
          <p15:clr>
            <a:srgbClr val="F26B43"/>
          </p15:clr>
        </p15:guide>
        <p15:guide id="3" orient="horz" pos="571">
          <p15:clr>
            <a:srgbClr val="F26B43"/>
          </p15:clr>
        </p15:guide>
        <p15:guide id="4" orient="horz" pos="3911">
          <p15:clr>
            <a:srgbClr val="F26B43"/>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p:cSld name="1_Title Only">
    <p:bg>
      <p:bgPr>
        <a:solidFill>
          <a:schemeClr val="accent2"/>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F4AD34F-3B47-47E2-A09C-FFEB949F6A10}"/>
              </a:ext>
            </a:extLst>
          </p:cNvPr>
          <p:cNvGraphicFramePr>
            <a:graphicFrameLocks noChangeAspect="1"/>
          </p:cNvGraphicFramePr>
          <p:nvPr>
            <p:custDataLst>
              <p:tags r:id="rId2"/>
            </p:custDataLst>
            <p:extLst>
              <p:ext uri="{D42A27DB-BD31-4B8C-83A1-F6EECF244321}">
                <p14:modId xmlns:p14="http://schemas.microsoft.com/office/powerpoint/2010/main" val="79594341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7172" name="think-cell Slide" r:id="rId5" imgW="395" imgH="394" progId="TCLayout.ActiveDocument.1">
                  <p:embed/>
                </p:oleObj>
              </mc:Choice>
              <mc:Fallback>
                <p:oleObj name="think-cell Slide" r:id="rId5" imgW="395" imgH="394" progId="TCLayout.ActiveDocument.1">
                  <p:embed/>
                  <p:pic>
                    <p:nvPicPr>
                      <p:cNvPr id="3" name="Object 2" hidden="1">
                        <a:extLst>
                          <a:ext uri="{FF2B5EF4-FFF2-40B4-BE49-F238E27FC236}">
                            <a16:creationId xmlns:a16="http://schemas.microsoft.com/office/drawing/2014/main" id="{EF4AD34F-3B47-47E2-A09C-FFEB949F6A10}"/>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endParaRPr lang="en-US" dirty="0"/>
          </a:p>
        </p:txBody>
      </p:sp>
      <p:sp>
        <p:nvSpPr>
          <p:cNvPr id="15" name="Slide Number"/>
          <p:cNvSpPr txBox="1">
            <a:spLocks/>
          </p:cNvSpPr>
          <p:nvPr/>
        </p:nvSpPr>
        <p:spPr>
          <a:xfrm>
            <a:off x="8564563" y="6508272"/>
            <a:ext cx="125034" cy="123111"/>
          </a:xfrm>
          <a:prstGeom prst="rect">
            <a:avLst/>
          </a:prstGeom>
        </p:spPr>
        <p:txBody>
          <a:bodyPr vert="horz" wrap="none" lIns="0" tIns="0" rIns="0" bIns="0" rtlCol="0" anchor="ctr">
            <a:spAutoFit/>
          </a:bodyPr>
          <a:lstStyle>
            <a:defPPr>
              <a:defRPr lang="en-US"/>
            </a:defPPr>
            <a:lvl1pPr>
              <a:defRPr sz="1000" baseline="0">
                <a:latin typeface="+mn-lt"/>
              </a:defRPr>
            </a:lvl1pPr>
          </a:lstStyle>
          <a:p>
            <a:fld id="{42C328C1-A84F-4A39-A664-DBA00541A8C6}" type="slidenum">
              <a:rPr lang="en-US" sz="800" baseline="0" smtClean="0">
                <a:solidFill>
                  <a:srgbClr val="FFFFFF"/>
                </a:solidFill>
                <a:latin typeface="+mn-lt"/>
              </a:rPr>
              <a:pPr/>
              <a:t>‹#›</a:t>
            </a:fld>
            <a:endParaRPr lang="en-US" sz="800" baseline="0" dirty="0">
              <a:solidFill>
                <a:srgbClr val="FFFFFF"/>
              </a:solidFill>
              <a:latin typeface="+mn-lt"/>
            </a:endParaRPr>
          </a:p>
        </p:txBody>
      </p:sp>
      <p:sp>
        <p:nvSpPr>
          <p:cNvPr id="16" name="SlideLogoText"/>
          <p:cNvSpPr>
            <a:spLocks noChangeArrowheads="1"/>
          </p:cNvSpPr>
          <p:nvPr>
            <p:custDataLst>
              <p:tags r:id="rId3"/>
            </p:custDataLst>
          </p:nvPr>
        </p:nvSpPr>
        <p:spPr bwMode="auto">
          <a:xfrm>
            <a:off x="7450817" y="6508272"/>
            <a:ext cx="1013098"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algn="r" defTabSz="895350"/>
            <a:r>
              <a:rPr lang="en-US" sz="800" baseline="0" dirty="0">
                <a:solidFill>
                  <a:srgbClr val="FFFFFF"/>
                </a:solidFill>
                <a:latin typeface="+mn-lt"/>
              </a:rPr>
              <a:t>McKinsey &amp; Company</a:t>
            </a:r>
          </a:p>
        </p:txBody>
      </p:sp>
      <p:sp>
        <p:nvSpPr>
          <p:cNvPr id="5" name="doc id" hidden="1"/>
          <p:cNvSpPr txBox="1">
            <a:spLocks noChangeArrowheads="1"/>
          </p:cNvSpPr>
          <p:nvPr/>
        </p:nvSpPr>
        <p:spPr bwMode="white">
          <a:xfrm>
            <a:off x="8104473" y="36513"/>
            <a:ext cx="634716" cy="115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hangingPunct="1">
              <a:defRPr/>
            </a:pPr>
            <a:endParaRPr lang="en-US" sz="800" baseline="0" dirty="0">
              <a:solidFill>
                <a:schemeClr val="accent1"/>
              </a:solidFill>
              <a:latin typeface="+mn-lt"/>
              <a:ea typeface="+mn-ea"/>
            </a:endParaRPr>
          </a:p>
        </p:txBody>
      </p:sp>
    </p:spTree>
    <p:extLst>
      <p:ext uri="{BB962C8B-B14F-4D97-AF65-F5344CB8AC3E}">
        <p14:creationId xmlns:p14="http://schemas.microsoft.com/office/powerpoint/2010/main" val="1965207192"/>
      </p:ext>
    </p:extLst>
  </p:cSld>
  <p:clrMapOvr>
    <a:masterClrMapping/>
  </p:clrMapOvr>
  <p:extLst mod="1">
    <p:ext uri="{DCECCB84-F9BA-43D5-87BE-67443E8EF086}">
      <p15:sldGuideLst xmlns:p15="http://schemas.microsoft.com/office/powerpoint/2012/main">
        <p15:guide id="1" pos="3978">
          <p15:clr>
            <a:srgbClr val="000000"/>
          </p15:clr>
        </p15:guide>
        <p15:guide id="2" orient="horz" pos="570">
          <p15:clr>
            <a:srgbClr val="000000"/>
          </p15:clr>
        </p15:guide>
        <p15:guide id="3" orient="horz" pos="3912">
          <p15:clr>
            <a:srgbClr val="000000"/>
          </p15:clr>
        </p15:guide>
        <p15:guide id="4" pos="72">
          <p15:clr>
            <a:srgbClr val="000000"/>
          </p15:clr>
        </p15:guide>
      </p15:sldGuideLst>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type="titleOnly">
  <p:cSld name="2_Title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ECD524A-1569-4253-8CD8-48D288AD883C}"/>
              </a:ext>
            </a:extLst>
          </p:cNvPr>
          <p:cNvGraphicFramePr>
            <a:graphicFrameLocks noChangeAspect="1"/>
          </p:cNvGraphicFramePr>
          <p:nvPr>
            <p:custDataLst>
              <p:tags r:id="rId2"/>
            </p:custDataLst>
            <p:extLst>
              <p:ext uri="{D42A27DB-BD31-4B8C-83A1-F6EECF244321}">
                <p14:modId xmlns:p14="http://schemas.microsoft.com/office/powerpoint/2010/main" val="317095553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8196" name="think-cell Slide" r:id="rId4" imgW="395" imgH="394" progId="TCLayout.ActiveDocument.1">
                  <p:embed/>
                </p:oleObj>
              </mc:Choice>
              <mc:Fallback>
                <p:oleObj name="think-cell Slide" r:id="rId4" imgW="395" imgH="394" progId="TCLayout.ActiveDocument.1">
                  <p:embed/>
                  <p:pic>
                    <p:nvPicPr>
                      <p:cNvPr id="3" name="Object 2" hidden="1">
                        <a:extLst>
                          <a:ext uri="{FF2B5EF4-FFF2-40B4-BE49-F238E27FC236}">
                            <a16:creationId xmlns:a16="http://schemas.microsoft.com/office/drawing/2014/main" id="{5ECD524A-1569-4253-8CD8-48D288AD883C}"/>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99962661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6E228F5-5CF1-42E1-9748-97D7582A107A}"/>
              </a:ext>
            </a:extLst>
          </p:cNvPr>
          <p:cNvGraphicFramePr>
            <a:graphicFrameLocks noChangeAspect="1"/>
          </p:cNvGraphicFramePr>
          <p:nvPr>
            <p:custDataLst>
              <p:tags r:id="rId2"/>
            </p:custDataLst>
            <p:extLst>
              <p:ext uri="{D42A27DB-BD31-4B8C-83A1-F6EECF244321}">
                <p14:modId xmlns:p14="http://schemas.microsoft.com/office/powerpoint/2010/main" val="106485574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452" name="think-cell Slide" r:id="rId5" imgW="353" imgH="353" progId="TCLayout.ActiveDocument.1">
                  <p:embed/>
                </p:oleObj>
              </mc:Choice>
              <mc:Fallback>
                <p:oleObj name="think-cell Slide" r:id="rId5" imgW="353" imgH="353" progId="TCLayout.ActiveDocument.1">
                  <p:embed/>
                  <p:pic>
                    <p:nvPicPr>
                      <p:cNvPr id="3" name="Object 2" hidden="1">
                        <a:extLst>
                          <a:ext uri="{FF2B5EF4-FFF2-40B4-BE49-F238E27FC236}">
                            <a16:creationId xmlns:a16="http://schemas.microsoft.com/office/drawing/2014/main" id="{C6E228F5-5CF1-42E1-9748-97D7582A107A}"/>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2. Slide Title"/>
          <p:cNvSpPr>
            <a:spLocks noGrp="1"/>
          </p:cNvSpPr>
          <p:nvPr>
            <p:ph type="title"/>
          </p:nvPr>
        </p:nvSpPr>
        <p:spPr bwMode="auto"/>
        <p:txBody>
          <a:bodyPr/>
          <a:lstStyle/>
          <a:p>
            <a:r>
              <a:rPr lang="en-US"/>
              <a:t>Click to edit Master title style</a:t>
            </a:r>
            <a:endParaRPr lang="en-US" dirty="0"/>
          </a:p>
        </p:txBody>
      </p:sp>
      <p:sp>
        <p:nvSpPr>
          <p:cNvPr id="8" name="Slide Number"/>
          <p:cNvSpPr txBox="1">
            <a:spLocks/>
          </p:cNvSpPr>
          <p:nvPr/>
        </p:nvSpPr>
        <p:spPr bwMode="auto">
          <a:xfrm>
            <a:off x="8564563" y="6508272"/>
            <a:ext cx="125034" cy="123111"/>
          </a:xfrm>
          <a:prstGeom prst="rect">
            <a:avLst/>
          </a:prstGeom>
        </p:spPr>
        <p:txBody>
          <a:bodyPr vert="horz" wrap="none" lIns="0" tIns="0" rIns="0" bIns="0" rtlCol="0" anchor="ctr">
            <a:spAutoFit/>
          </a:bodyPr>
          <a:lstStyle>
            <a:defPPr>
              <a:defRPr lang="en-US"/>
            </a:defPPr>
            <a:lvl1pPr>
              <a:defRPr sz="1000" baseline="0">
                <a:latin typeface="+mn-lt"/>
              </a:defRPr>
            </a:lvl1pPr>
          </a:lstStyle>
          <a:p>
            <a:fld id="{42C328C1-A84F-4A39-A664-DBA00541A8C6}" type="slidenum">
              <a:rPr lang="en-US" sz="800" baseline="0" smtClean="0">
                <a:solidFill>
                  <a:srgbClr val="808080"/>
                </a:solidFill>
                <a:latin typeface="+mn-lt"/>
              </a:rPr>
              <a:pPr/>
              <a:t>‹#›</a:t>
            </a:fld>
            <a:endParaRPr lang="en-US" sz="800" baseline="0" dirty="0">
              <a:solidFill>
                <a:srgbClr val="808080"/>
              </a:solidFill>
              <a:latin typeface="+mn-lt"/>
            </a:endParaRPr>
          </a:p>
        </p:txBody>
      </p:sp>
      <p:sp>
        <p:nvSpPr>
          <p:cNvPr id="9" name="SlideLogoText"/>
          <p:cNvSpPr>
            <a:spLocks noChangeArrowheads="1"/>
          </p:cNvSpPr>
          <p:nvPr>
            <p:custDataLst>
              <p:tags r:id="rId3"/>
            </p:custDataLst>
          </p:nvPr>
        </p:nvSpPr>
        <p:spPr bwMode="auto">
          <a:xfrm>
            <a:off x="7450817" y="6508272"/>
            <a:ext cx="1013098"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algn="r" defTabSz="895350"/>
            <a:r>
              <a:rPr lang="en-US" sz="800" baseline="0" dirty="0">
                <a:solidFill>
                  <a:srgbClr val="808080"/>
                </a:solidFill>
                <a:latin typeface="+mn-lt"/>
              </a:rPr>
              <a:t>McKinsey &amp; Company</a:t>
            </a:r>
          </a:p>
        </p:txBody>
      </p:sp>
      <p:sp>
        <p:nvSpPr>
          <p:cNvPr id="5" name="doc id" hidden="1"/>
          <p:cNvSpPr txBox="1">
            <a:spLocks noChangeArrowheads="1"/>
          </p:cNvSpPr>
          <p:nvPr/>
        </p:nvSpPr>
        <p:spPr bwMode="white">
          <a:xfrm>
            <a:off x="8104473" y="36513"/>
            <a:ext cx="634716" cy="115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hangingPunct="1">
              <a:defRPr/>
            </a:pPr>
            <a:endParaRPr lang="en-US" sz="800" baseline="0" dirty="0">
              <a:solidFill>
                <a:schemeClr val="accent1"/>
              </a:solidFill>
              <a:latin typeface="+mn-lt"/>
              <a:ea typeface="+mn-ea"/>
            </a:endParaRPr>
          </a:p>
        </p:txBody>
      </p:sp>
    </p:spTree>
    <p:extLst>
      <p:ext uri="{BB962C8B-B14F-4D97-AF65-F5344CB8AC3E}">
        <p14:creationId xmlns:p14="http://schemas.microsoft.com/office/powerpoint/2010/main" val="1870847525"/>
      </p:ext>
    </p:extLst>
  </p:cSld>
  <p:clrMapOvr>
    <a:masterClrMapping/>
  </p:clrMapOvr>
  <p:extLst mod="1">
    <p:ext uri="{DCECCB84-F9BA-43D5-87BE-67443E8EF086}">
      <p15:sldGuideLst xmlns:p15="http://schemas.microsoft.com/office/powerpoint/2012/main">
        <p15:guide id="1" pos="5505">
          <p15:clr>
            <a:srgbClr val="F26B43"/>
          </p15:clr>
        </p15:guide>
        <p15:guide id="2" pos="74">
          <p15:clr>
            <a:srgbClr val="F26B43"/>
          </p15:clr>
        </p15:guide>
        <p15:guide id="3" orient="horz" pos="571">
          <p15:clr>
            <a:srgbClr val="F26B43"/>
          </p15:clr>
        </p15:guide>
        <p15:guide id="4" orient="horz" pos="3911">
          <p15:clr>
            <a:srgbClr val="F26B43"/>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pic>
        <p:nvPicPr>
          <p:cNvPr id="2" name="background"/>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0" y="198"/>
            <a:ext cx="8961438" cy="6721079"/>
          </a:xfrm>
          <a:prstGeom prst="rect">
            <a:avLst/>
          </a:prstGeom>
        </p:spPr>
      </p:pic>
      <p:sp>
        <p:nvSpPr>
          <p:cNvPr id="28" name="TitleRectangle"/>
          <p:cNvSpPr txBox="1">
            <a:spLocks/>
          </p:cNvSpPr>
          <p:nvPr/>
        </p:nvSpPr>
        <p:spPr>
          <a:xfrm>
            <a:off x="2084388" y="0"/>
            <a:ext cx="6875462" cy="3575976"/>
          </a:xfrm>
          <a:prstGeom prst="rect">
            <a:avLst/>
          </a:prstGeom>
          <a:solidFill>
            <a:srgbClr val="002960">
              <a:alpha val="92000"/>
            </a:srgbClr>
          </a:solidFill>
        </p:spPr>
        <p:txBody>
          <a:bodyPr vert="horz" wrap="square" lIns="216000" tIns="1440000" rIns="216000" bIns="108000" rtlCol="0">
            <a:noAutofit/>
          </a:bodyPr>
          <a:lstStyle>
            <a:lvl1pPr marL="0" indent="0" algn="l" defTabSz="914400" rtl="0" eaLnBrk="1" latinLnBrk="0" hangingPunct="1">
              <a:spcBef>
                <a:spcPct val="20000"/>
              </a:spcBef>
              <a:spcAft>
                <a:spcPts val="6000"/>
              </a:spcAft>
              <a:buFont typeface="Arial" pitchFamily="34" charset="0"/>
              <a:buNone/>
              <a:defRPr sz="3200" kern="1200">
                <a:solidFill>
                  <a:schemeClr val="accent1"/>
                </a:solidFill>
                <a:latin typeface="+mn-lt"/>
                <a:ea typeface="+mn-ea"/>
                <a:cs typeface="+mn-cs"/>
              </a:defRPr>
            </a:lvl1pPr>
            <a:lvl2pPr marL="0" indent="0" algn="l" defTabSz="914400" rtl="0" eaLnBrk="1" latinLnBrk="0" hangingPunct="1">
              <a:spcBef>
                <a:spcPct val="20000"/>
              </a:spcBef>
              <a:buFont typeface="Wingdings" charset="2"/>
              <a:buNone/>
              <a:defRPr sz="1400" kern="1200">
                <a:solidFill>
                  <a:schemeClr val="tx1">
                    <a:lumMod val="50000"/>
                    <a:lumOff val="50000"/>
                  </a:schemeClr>
                </a:solidFill>
                <a:latin typeface="+mn-lt"/>
                <a:ea typeface="+mn-ea"/>
                <a:cs typeface="+mn-cs"/>
              </a:defRPr>
            </a:lvl2pPr>
            <a:lvl3pPr marL="1143000" indent="-228600" algn="l" defTabSz="914400" rtl="0" eaLnBrk="1" latinLnBrk="0" hangingPunct="1">
              <a:spcBef>
                <a:spcPct val="20000"/>
              </a:spcBef>
              <a:buFont typeface="Lucida Grande"/>
              <a:buChar char="–"/>
              <a:defRPr sz="16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fontAlgn="auto">
              <a:defRPr/>
            </a:pPr>
            <a:r>
              <a:rPr lang="en-US" baseline="0" dirty="0">
                <a:solidFill>
                  <a:srgbClr val="00ADEF"/>
                </a:solidFill>
                <a:latin typeface="+mn-lt"/>
              </a:rPr>
              <a:t>
              </a:t>
            </a:r>
            <a:br>
              <a:rPr lang="en-US" baseline="0" dirty="0">
                <a:solidFill>
                  <a:srgbClr val="00ADEF"/>
                </a:solidFill>
                <a:latin typeface="+mn-lt"/>
              </a:rPr>
            </a:br>
            <a:endParaRPr lang="en-US" baseline="0" dirty="0">
              <a:solidFill>
                <a:srgbClr val="00ADEF"/>
              </a:solidFill>
              <a:latin typeface="+mn-lt"/>
            </a:endParaRPr>
          </a:p>
        </p:txBody>
      </p:sp>
      <p:graphicFrame>
        <p:nvGraphicFramePr>
          <p:cNvPr id="3" name="Object 2"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0244"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Working Draft Text" hidden="1"/>
          <p:cNvSpPr txBox="1">
            <a:spLocks noChangeArrowheads="1"/>
          </p:cNvSpPr>
          <p:nvPr/>
        </p:nvSpPr>
        <p:spPr bwMode="black">
          <a:xfrm>
            <a:off x="5992719" y="6287538"/>
            <a:ext cx="2790000"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800" b="1" baseline="0" dirty="0">
                <a:solidFill>
                  <a:srgbClr val="FFFFFF"/>
                </a:solidFill>
                <a:latin typeface="+mn-lt"/>
              </a:rPr>
              <a:t>WORKING DRAFT</a:t>
            </a:r>
          </a:p>
        </p:txBody>
      </p:sp>
      <p:sp>
        <p:nvSpPr>
          <p:cNvPr id="6" name="Working Draft" hidden="1"/>
          <p:cNvSpPr txBox="1">
            <a:spLocks noChangeArrowheads="1"/>
          </p:cNvSpPr>
          <p:nvPr/>
        </p:nvSpPr>
        <p:spPr bwMode="black">
          <a:xfrm>
            <a:off x="5992718" y="6410648"/>
            <a:ext cx="2968719"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800" baseline="0">
                <a:solidFill>
                  <a:srgbClr val="FFFFFF"/>
                </a:solidFill>
                <a:latin typeface="+mn-lt"/>
              </a:rPr>
              <a:t>Last Modified 21/05/2018 17:44 India Standard Time</a:t>
            </a:r>
            <a:endParaRPr lang="en-US" sz="800" baseline="0" dirty="0">
              <a:solidFill>
                <a:srgbClr val="FFFFFF"/>
              </a:solidFill>
              <a:latin typeface="+mn-lt"/>
            </a:endParaRPr>
          </a:p>
        </p:txBody>
      </p:sp>
      <p:sp>
        <p:nvSpPr>
          <p:cNvPr id="7" name="Printed" hidden="1"/>
          <p:cNvSpPr txBox="1">
            <a:spLocks noChangeArrowheads="1"/>
          </p:cNvSpPr>
          <p:nvPr/>
        </p:nvSpPr>
        <p:spPr bwMode="black">
          <a:xfrm>
            <a:off x="5992719" y="6533759"/>
            <a:ext cx="2790000"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800" baseline="0" dirty="0">
                <a:solidFill>
                  <a:srgbClr val="FFFFFF"/>
                </a:solidFill>
                <a:latin typeface="+mn-lt"/>
              </a:rPr>
              <a:t>Printed</a:t>
            </a:r>
          </a:p>
        </p:txBody>
      </p:sp>
      <p:sp>
        <p:nvSpPr>
          <p:cNvPr id="13314" name="Title"/>
          <p:cNvSpPr>
            <a:spLocks noGrp="1" noChangeArrowheads="1"/>
          </p:cNvSpPr>
          <p:nvPr>
            <p:ph type="ctrTitle"/>
          </p:nvPr>
        </p:nvSpPr>
        <p:spPr>
          <a:xfrm>
            <a:off x="2268266" y="1434419"/>
            <a:ext cx="6231663" cy="492443"/>
          </a:xfrm>
          <a:prstGeom prst="rect">
            <a:avLst/>
          </a:prstGeom>
        </p:spPr>
        <p:txBody>
          <a:bodyPr>
            <a:spAutoFit/>
          </a:bodyPr>
          <a:lstStyle>
            <a:lvl1pPr>
              <a:defRPr sz="3200" b="0" baseline="0">
                <a:solidFill>
                  <a:schemeClr val="accent2"/>
                </a:solidFill>
                <a:latin typeface="+mj-lt"/>
                <a:ea typeface="+mj-ea"/>
              </a:defRPr>
            </a:lvl1pPr>
          </a:lstStyle>
          <a:p>
            <a:pPr lvl="0" latinLnBrk="0"/>
            <a:r>
              <a:rPr lang="en-US" noProof="0"/>
              <a:t>Click to edit Master title style</a:t>
            </a:r>
            <a:endParaRPr lang="en-US" noProof="0" dirty="0"/>
          </a:p>
        </p:txBody>
      </p:sp>
      <p:sp>
        <p:nvSpPr>
          <p:cNvPr id="13315" name="Subtitle"/>
          <p:cNvSpPr>
            <a:spLocks noGrp="1" noChangeArrowheads="1"/>
          </p:cNvSpPr>
          <p:nvPr>
            <p:ph type="subTitle" idx="1"/>
          </p:nvPr>
        </p:nvSpPr>
        <p:spPr>
          <a:xfrm>
            <a:off x="2268266" y="2819401"/>
            <a:ext cx="6231663" cy="215444"/>
          </a:xfrm>
          <a:prstGeom prst="rect">
            <a:avLst/>
          </a:prstGeom>
        </p:spPr>
        <p:txBody>
          <a:bodyPr wrap="square">
            <a:spAutoFit/>
          </a:bodyPr>
          <a:lstStyle>
            <a:lvl1pPr>
              <a:defRPr sz="1400" cap="all" baseline="0">
                <a:solidFill>
                  <a:schemeClr val="bg1"/>
                </a:solidFill>
                <a:latin typeface="+mn-lt"/>
                <a:ea typeface="+mn-ea"/>
              </a:defRPr>
            </a:lvl1pPr>
          </a:lstStyle>
          <a:p>
            <a:pPr lvl="0" latinLnBrk="0"/>
            <a:r>
              <a:rPr lang="en-US" noProof="0"/>
              <a:t>Click to edit Master subtitle style</a:t>
            </a:r>
            <a:endParaRPr lang="en-US" noProof="0" dirty="0"/>
          </a:p>
        </p:txBody>
      </p:sp>
      <p:sp>
        <p:nvSpPr>
          <p:cNvPr id="57" name="Document type" hidden="1"/>
          <p:cNvSpPr txBox="1">
            <a:spLocks noChangeArrowheads="1"/>
          </p:cNvSpPr>
          <p:nvPr/>
        </p:nvSpPr>
        <p:spPr bwMode="gray">
          <a:xfrm>
            <a:off x="2268266" y="3227411"/>
            <a:ext cx="6231663"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00" baseline="0" dirty="0">
                <a:solidFill>
                  <a:schemeClr val="bg1"/>
                </a:solidFill>
                <a:latin typeface="+mn-lt"/>
              </a:rPr>
              <a:t>Document type | Date</a:t>
            </a:r>
          </a:p>
        </p:txBody>
      </p:sp>
      <p:sp>
        <p:nvSpPr>
          <p:cNvPr id="5" name="doc id" hidden="1"/>
          <p:cNvSpPr txBox="1">
            <a:spLocks noChangeArrowheads="1"/>
          </p:cNvSpPr>
          <p:nvPr/>
        </p:nvSpPr>
        <p:spPr bwMode="white">
          <a:xfrm>
            <a:off x="8443913" y="36513"/>
            <a:ext cx="295275" cy="1222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hangingPunct="1">
              <a:defRPr/>
            </a:pPr>
            <a:endParaRPr lang="en-US" sz="800" baseline="0" dirty="0">
              <a:solidFill>
                <a:srgbClr val="FFFFFF"/>
              </a:solidFill>
              <a:latin typeface="+mn-lt"/>
            </a:endParaRPr>
          </a:p>
        </p:txBody>
      </p:sp>
      <p:sp>
        <p:nvSpPr>
          <p:cNvPr id="43" name="LogoImage"/>
          <p:cNvSpPr>
            <a:spLocks noEditPoints="1"/>
          </p:cNvSpPr>
          <p:nvPr/>
        </p:nvSpPr>
        <p:spPr bwMode="white">
          <a:xfrm>
            <a:off x="2269098" y="182925"/>
            <a:ext cx="2176978" cy="238073"/>
          </a:xfrm>
          <a:custGeom>
            <a:avLst/>
            <a:gdLst>
              <a:gd name="T0" fmla="*/ 504 w 5516"/>
              <a:gd name="T1" fmla="*/ 26 h 606"/>
              <a:gd name="T2" fmla="*/ 18 w 5516"/>
              <a:gd name="T3" fmla="*/ 22 h 606"/>
              <a:gd name="T4" fmla="*/ 140 w 5516"/>
              <a:gd name="T5" fmla="*/ 436 h 606"/>
              <a:gd name="T6" fmla="*/ 408 w 5516"/>
              <a:gd name="T7" fmla="*/ 372 h 606"/>
              <a:gd name="T8" fmla="*/ 696 w 5516"/>
              <a:gd name="T9" fmla="*/ 422 h 606"/>
              <a:gd name="T10" fmla="*/ 768 w 5516"/>
              <a:gd name="T11" fmla="*/ 196 h 606"/>
              <a:gd name="T12" fmla="*/ 1272 w 5516"/>
              <a:gd name="T13" fmla="*/ 26 h 606"/>
              <a:gd name="T14" fmla="*/ 1302 w 5516"/>
              <a:gd name="T15" fmla="*/ 338 h 606"/>
              <a:gd name="T16" fmla="*/ 1202 w 5516"/>
              <a:gd name="T17" fmla="*/ 436 h 606"/>
              <a:gd name="T18" fmla="*/ 1030 w 5516"/>
              <a:gd name="T19" fmla="*/ 10 h 606"/>
              <a:gd name="T20" fmla="*/ 960 w 5516"/>
              <a:gd name="T21" fmla="*/ 22 h 606"/>
              <a:gd name="T22" fmla="*/ 804 w 5516"/>
              <a:gd name="T23" fmla="*/ 434 h 606"/>
              <a:gd name="T24" fmla="*/ 930 w 5516"/>
              <a:gd name="T25" fmla="*/ 246 h 606"/>
              <a:gd name="T26" fmla="*/ 1658 w 5516"/>
              <a:gd name="T27" fmla="*/ 342 h 606"/>
              <a:gd name="T28" fmla="*/ 1368 w 5516"/>
              <a:gd name="T29" fmla="*/ 188 h 606"/>
              <a:gd name="T30" fmla="*/ 1514 w 5516"/>
              <a:gd name="T31" fmla="*/ 436 h 606"/>
              <a:gd name="T32" fmla="*/ 1564 w 5516"/>
              <a:gd name="T33" fmla="*/ 434 h 606"/>
              <a:gd name="T34" fmla="*/ 1904 w 5516"/>
              <a:gd name="T35" fmla="*/ 184 h 606"/>
              <a:gd name="T36" fmla="*/ 1728 w 5516"/>
              <a:gd name="T37" fmla="*/ 366 h 606"/>
              <a:gd name="T38" fmla="*/ 2102 w 5516"/>
              <a:gd name="T39" fmla="*/ 192 h 606"/>
              <a:gd name="T40" fmla="*/ 1982 w 5516"/>
              <a:gd name="T41" fmla="*/ 320 h 606"/>
              <a:gd name="T42" fmla="*/ 2478 w 5516"/>
              <a:gd name="T43" fmla="*/ 242 h 606"/>
              <a:gd name="T44" fmla="*/ 2406 w 5516"/>
              <a:gd name="T45" fmla="*/ 390 h 606"/>
              <a:gd name="T46" fmla="*/ 2234 w 5516"/>
              <a:gd name="T47" fmla="*/ 192 h 606"/>
              <a:gd name="T48" fmla="*/ 2478 w 5516"/>
              <a:gd name="T49" fmla="*/ 242 h 606"/>
              <a:gd name="T50" fmla="*/ 2928 w 5516"/>
              <a:gd name="T51" fmla="*/ 448 h 606"/>
              <a:gd name="T52" fmla="*/ 2958 w 5516"/>
              <a:gd name="T53" fmla="*/ 230 h 606"/>
              <a:gd name="T54" fmla="*/ 2716 w 5516"/>
              <a:gd name="T55" fmla="*/ 54 h 606"/>
              <a:gd name="T56" fmla="*/ 2714 w 5516"/>
              <a:gd name="T57" fmla="*/ 36 h 606"/>
              <a:gd name="T58" fmla="*/ 2928 w 5516"/>
              <a:gd name="T59" fmla="*/ 448 h 606"/>
              <a:gd name="T60" fmla="*/ 3388 w 5516"/>
              <a:gd name="T61" fmla="*/ 4 h 606"/>
              <a:gd name="T62" fmla="*/ 3396 w 5516"/>
              <a:gd name="T63" fmla="*/ 366 h 606"/>
              <a:gd name="T64" fmla="*/ 3580 w 5516"/>
              <a:gd name="T65" fmla="*/ 190 h 606"/>
              <a:gd name="T66" fmla="*/ 3502 w 5516"/>
              <a:gd name="T67" fmla="*/ 432 h 606"/>
              <a:gd name="T68" fmla="*/ 4232 w 5516"/>
              <a:gd name="T69" fmla="*/ 348 h 606"/>
              <a:gd name="T70" fmla="*/ 3858 w 5516"/>
              <a:gd name="T71" fmla="*/ 176 h 606"/>
              <a:gd name="T72" fmla="*/ 3758 w 5516"/>
              <a:gd name="T73" fmla="*/ 446 h 606"/>
              <a:gd name="T74" fmla="*/ 3990 w 5516"/>
              <a:gd name="T75" fmla="*/ 282 h 606"/>
              <a:gd name="T76" fmla="*/ 4042 w 5516"/>
              <a:gd name="T77" fmla="*/ 342 h 606"/>
              <a:gd name="T78" fmla="*/ 4134 w 5516"/>
              <a:gd name="T79" fmla="*/ 448 h 606"/>
              <a:gd name="T80" fmla="*/ 4454 w 5516"/>
              <a:gd name="T81" fmla="*/ 202 h 606"/>
              <a:gd name="T82" fmla="*/ 4284 w 5516"/>
              <a:gd name="T83" fmla="*/ 174 h 606"/>
              <a:gd name="T84" fmla="*/ 4432 w 5516"/>
              <a:gd name="T85" fmla="*/ 588 h 606"/>
              <a:gd name="T86" fmla="*/ 4792 w 5516"/>
              <a:gd name="T87" fmla="*/ 382 h 606"/>
              <a:gd name="T88" fmla="*/ 5192 w 5516"/>
              <a:gd name="T89" fmla="*/ 340 h 606"/>
              <a:gd name="T90" fmla="*/ 4902 w 5516"/>
              <a:gd name="T91" fmla="*/ 186 h 606"/>
              <a:gd name="T92" fmla="*/ 4850 w 5516"/>
              <a:gd name="T93" fmla="*/ 274 h 606"/>
              <a:gd name="T94" fmla="*/ 4742 w 5516"/>
              <a:gd name="T95" fmla="*/ 194 h 606"/>
              <a:gd name="T96" fmla="*/ 4794 w 5516"/>
              <a:gd name="T97" fmla="*/ 418 h 606"/>
              <a:gd name="T98" fmla="*/ 5004 w 5516"/>
              <a:gd name="T99" fmla="*/ 338 h 606"/>
              <a:gd name="T100" fmla="*/ 5098 w 5516"/>
              <a:gd name="T101" fmla="*/ 446 h 606"/>
              <a:gd name="T102" fmla="*/ 5418 w 5516"/>
              <a:gd name="T103" fmla="*/ 192 h 606"/>
              <a:gd name="T104" fmla="*/ 5348 w 5516"/>
              <a:gd name="T105" fmla="*/ 180 h 606"/>
              <a:gd name="T106" fmla="*/ 5254 w 5516"/>
              <a:gd name="T107" fmla="*/ 606 h 6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516" h="606">
                <a:moveTo>
                  <a:pt x="366" y="448"/>
                </a:moveTo>
                <a:cubicBezTo>
                  <a:pt x="524" y="448"/>
                  <a:pt x="524" y="448"/>
                  <a:pt x="524" y="448"/>
                </a:cubicBezTo>
                <a:cubicBezTo>
                  <a:pt x="524" y="436"/>
                  <a:pt x="524" y="436"/>
                  <a:pt x="524" y="436"/>
                </a:cubicBezTo>
                <a:cubicBezTo>
                  <a:pt x="486" y="432"/>
                  <a:pt x="470" y="414"/>
                  <a:pt x="468" y="362"/>
                </a:cubicBezTo>
                <a:cubicBezTo>
                  <a:pt x="454" y="86"/>
                  <a:pt x="454" y="86"/>
                  <a:pt x="454" y="86"/>
                </a:cubicBezTo>
                <a:cubicBezTo>
                  <a:pt x="452" y="46"/>
                  <a:pt x="470" y="30"/>
                  <a:pt x="504" y="26"/>
                </a:cubicBezTo>
                <a:cubicBezTo>
                  <a:pt x="504" y="12"/>
                  <a:pt x="504" y="12"/>
                  <a:pt x="504" y="12"/>
                </a:cubicBezTo>
                <a:cubicBezTo>
                  <a:pt x="394" y="12"/>
                  <a:pt x="394" y="12"/>
                  <a:pt x="394" y="12"/>
                </a:cubicBezTo>
                <a:cubicBezTo>
                  <a:pt x="264" y="350"/>
                  <a:pt x="264" y="350"/>
                  <a:pt x="264" y="350"/>
                </a:cubicBezTo>
                <a:cubicBezTo>
                  <a:pt x="132" y="10"/>
                  <a:pt x="132" y="10"/>
                  <a:pt x="132" y="10"/>
                </a:cubicBezTo>
                <a:cubicBezTo>
                  <a:pt x="18" y="10"/>
                  <a:pt x="18" y="10"/>
                  <a:pt x="18" y="10"/>
                </a:cubicBezTo>
                <a:cubicBezTo>
                  <a:pt x="18" y="22"/>
                  <a:pt x="18" y="22"/>
                  <a:pt x="18" y="22"/>
                </a:cubicBezTo>
                <a:cubicBezTo>
                  <a:pt x="40" y="26"/>
                  <a:pt x="74" y="32"/>
                  <a:pt x="72" y="84"/>
                </a:cubicBezTo>
                <a:cubicBezTo>
                  <a:pt x="58" y="352"/>
                  <a:pt x="58" y="352"/>
                  <a:pt x="58" y="352"/>
                </a:cubicBezTo>
                <a:cubicBezTo>
                  <a:pt x="54" y="410"/>
                  <a:pt x="38" y="430"/>
                  <a:pt x="0" y="436"/>
                </a:cubicBezTo>
                <a:cubicBezTo>
                  <a:pt x="0" y="448"/>
                  <a:pt x="0" y="448"/>
                  <a:pt x="0" y="448"/>
                </a:cubicBezTo>
                <a:cubicBezTo>
                  <a:pt x="140" y="448"/>
                  <a:pt x="140" y="448"/>
                  <a:pt x="140" y="448"/>
                </a:cubicBezTo>
                <a:cubicBezTo>
                  <a:pt x="140" y="436"/>
                  <a:pt x="140" y="436"/>
                  <a:pt x="140" y="436"/>
                </a:cubicBezTo>
                <a:cubicBezTo>
                  <a:pt x="98" y="428"/>
                  <a:pt x="84" y="414"/>
                  <a:pt x="88" y="356"/>
                </a:cubicBezTo>
                <a:cubicBezTo>
                  <a:pt x="100" y="86"/>
                  <a:pt x="100" y="86"/>
                  <a:pt x="100" y="86"/>
                </a:cubicBezTo>
                <a:cubicBezTo>
                  <a:pt x="240" y="444"/>
                  <a:pt x="240" y="444"/>
                  <a:pt x="240" y="444"/>
                </a:cubicBezTo>
                <a:cubicBezTo>
                  <a:pt x="258" y="444"/>
                  <a:pt x="258" y="444"/>
                  <a:pt x="258" y="444"/>
                </a:cubicBezTo>
                <a:cubicBezTo>
                  <a:pt x="396" y="86"/>
                  <a:pt x="396" y="86"/>
                  <a:pt x="396" y="86"/>
                </a:cubicBezTo>
                <a:cubicBezTo>
                  <a:pt x="408" y="372"/>
                  <a:pt x="408" y="372"/>
                  <a:pt x="408" y="372"/>
                </a:cubicBezTo>
                <a:cubicBezTo>
                  <a:pt x="410" y="416"/>
                  <a:pt x="398" y="430"/>
                  <a:pt x="366" y="434"/>
                </a:cubicBezTo>
                <a:lnTo>
                  <a:pt x="366" y="448"/>
                </a:lnTo>
                <a:close/>
                <a:moveTo>
                  <a:pt x="670" y="456"/>
                </a:moveTo>
                <a:cubicBezTo>
                  <a:pt x="708" y="456"/>
                  <a:pt x="756" y="440"/>
                  <a:pt x="782" y="412"/>
                </a:cubicBezTo>
                <a:cubicBezTo>
                  <a:pt x="776" y="400"/>
                  <a:pt x="776" y="400"/>
                  <a:pt x="776" y="400"/>
                </a:cubicBezTo>
                <a:cubicBezTo>
                  <a:pt x="750" y="416"/>
                  <a:pt x="722" y="422"/>
                  <a:pt x="696" y="422"/>
                </a:cubicBezTo>
                <a:cubicBezTo>
                  <a:pt x="620" y="422"/>
                  <a:pt x="592" y="358"/>
                  <a:pt x="592" y="290"/>
                </a:cubicBezTo>
                <a:cubicBezTo>
                  <a:pt x="592" y="258"/>
                  <a:pt x="600" y="236"/>
                  <a:pt x="614" y="222"/>
                </a:cubicBezTo>
                <a:cubicBezTo>
                  <a:pt x="626" y="210"/>
                  <a:pt x="646" y="204"/>
                  <a:pt x="664" y="204"/>
                </a:cubicBezTo>
                <a:cubicBezTo>
                  <a:pt x="690" y="204"/>
                  <a:pt x="722" y="214"/>
                  <a:pt x="744" y="244"/>
                </a:cubicBezTo>
                <a:cubicBezTo>
                  <a:pt x="750" y="244"/>
                  <a:pt x="750" y="244"/>
                  <a:pt x="750" y="244"/>
                </a:cubicBezTo>
                <a:cubicBezTo>
                  <a:pt x="758" y="234"/>
                  <a:pt x="766" y="212"/>
                  <a:pt x="768" y="196"/>
                </a:cubicBezTo>
                <a:cubicBezTo>
                  <a:pt x="748" y="180"/>
                  <a:pt x="720" y="172"/>
                  <a:pt x="686" y="172"/>
                </a:cubicBezTo>
                <a:cubicBezTo>
                  <a:pt x="604" y="172"/>
                  <a:pt x="544" y="246"/>
                  <a:pt x="544" y="326"/>
                </a:cubicBezTo>
                <a:cubicBezTo>
                  <a:pt x="540" y="390"/>
                  <a:pt x="576" y="456"/>
                  <a:pt x="670" y="456"/>
                </a:cubicBezTo>
                <a:moveTo>
                  <a:pt x="1272" y="98"/>
                </a:moveTo>
                <a:cubicBezTo>
                  <a:pt x="1292" y="98"/>
                  <a:pt x="1308" y="82"/>
                  <a:pt x="1308" y="62"/>
                </a:cubicBezTo>
                <a:cubicBezTo>
                  <a:pt x="1308" y="42"/>
                  <a:pt x="1292" y="26"/>
                  <a:pt x="1272" y="26"/>
                </a:cubicBezTo>
                <a:cubicBezTo>
                  <a:pt x="1252" y="26"/>
                  <a:pt x="1238" y="42"/>
                  <a:pt x="1238" y="62"/>
                </a:cubicBezTo>
                <a:cubicBezTo>
                  <a:pt x="1238" y="82"/>
                  <a:pt x="1252" y="98"/>
                  <a:pt x="1272" y="98"/>
                </a:cubicBezTo>
                <a:moveTo>
                  <a:pt x="1202" y="448"/>
                </a:moveTo>
                <a:cubicBezTo>
                  <a:pt x="1346" y="448"/>
                  <a:pt x="1346" y="448"/>
                  <a:pt x="1346" y="448"/>
                </a:cubicBezTo>
                <a:cubicBezTo>
                  <a:pt x="1346" y="436"/>
                  <a:pt x="1346" y="436"/>
                  <a:pt x="1346" y="436"/>
                </a:cubicBezTo>
                <a:cubicBezTo>
                  <a:pt x="1304" y="432"/>
                  <a:pt x="1302" y="434"/>
                  <a:pt x="1302" y="338"/>
                </a:cubicBezTo>
                <a:cubicBezTo>
                  <a:pt x="1302" y="176"/>
                  <a:pt x="1302" y="176"/>
                  <a:pt x="1302" y="176"/>
                </a:cubicBezTo>
                <a:cubicBezTo>
                  <a:pt x="1200" y="176"/>
                  <a:pt x="1200" y="176"/>
                  <a:pt x="1200" y="176"/>
                </a:cubicBezTo>
                <a:cubicBezTo>
                  <a:pt x="1200" y="188"/>
                  <a:pt x="1200" y="188"/>
                  <a:pt x="1200" y="188"/>
                </a:cubicBezTo>
                <a:cubicBezTo>
                  <a:pt x="1244" y="190"/>
                  <a:pt x="1250" y="192"/>
                  <a:pt x="1250" y="268"/>
                </a:cubicBezTo>
                <a:cubicBezTo>
                  <a:pt x="1250" y="336"/>
                  <a:pt x="1250" y="336"/>
                  <a:pt x="1250" y="336"/>
                </a:cubicBezTo>
                <a:cubicBezTo>
                  <a:pt x="1250" y="432"/>
                  <a:pt x="1248" y="432"/>
                  <a:pt x="1202" y="436"/>
                </a:cubicBezTo>
                <a:cubicBezTo>
                  <a:pt x="1178" y="434"/>
                  <a:pt x="1154" y="426"/>
                  <a:pt x="1076" y="338"/>
                </a:cubicBezTo>
                <a:cubicBezTo>
                  <a:pt x="1046" y="302"/>
                  <a:pt x="996" y="244"/>
                  <a:pt x="968" y="206"/>
                </a:cubicBezTo>
                <a:cubicBezTo>
                  <a:pt x="1062" y="102"/>
                  <a:pt x="1062" y="102"/>
                  <a:pt x="1062" y="102"/>
                </a:cubicBezTo>
                <a:cubicBezTo>
                  <a:pt x="1108" y="52"/>
                  <a:pt x="1132" y="26"/>
                  <a:pt x="1176" y="24"/>
                </a:cubicBezTo>
                <a:cubicBezTo>
                  <a:pt x="1176" y="10"/>
                  <a:pt x="1176" y="10"/>
                  <a:pt x="1176" y="10"/>
                </a:cubicBezTo>
                <a:cubicBezTo>
                  <a:pt x="1030" y="10"/>
                  <a:pt x="1030" y="10"/>
                  <a:pt x="1030" y="10"/>
                </a:cubicBezTo>
                <a:cubicBezTo>
                  <a:pt x="1030" y="22"/>
                  <a:pt x="1030" y="22"/>
                  <a:pt x="1030" y="22"/>
                </a:cubicBezTo>
                <a:cubicBezTo>
                  <a:pt x="1050" y="26"/>
                  <a:pt x="1056" y="32"/>
                  <a:pt x="1056" y="46"/>
                </a:cubicBezTo>
                <a:cubicBezTo>
                  <a:pt x="1056" y="56"/>
                  <a:pt x="1054" y="72"/>
                  <a:pt x="1026" y="102"/>
                </a:cubicBezTo>
                <a:cubicBezTo>
                  <a:pt x="910" y="230"/>
                  <a:pt x="910" y="230"/>
                  <a:pt x="910" y="230"/>
                </a:cubicBezTo>
                <a:cubicBezTo>
                  <a:pt x="910" y="148"/>
                  <a:pt x="910" y="148"/>
                  <a:pt x="910" y="148"/>
                </a:cubicBezTo>
                <a:cubicBezTo>
                  <a:pt x="910" y="36"/>
                  <a:pt x="916" y="28"/>
                  <a:pt x="960" y="22"/>
                </a:cubicBezTo>
                <a:cubicBezTo>
                  <a:pt x="960" y="8"/>
                  <a:pt x="960" y="8"/>
                  <a:pt x="960" y="8"/>
                </a:cubicBezTo>
                <a:cubicBezTo>
                  <a:pt x="804" y="8"/>
                  <a:pt x="804" y="8"/>
                  <a:pt x="804" y="8"/>
                </a:cubicBezTo>
                <a:cubicBezTo>
                  <a:pt x="804" y="22"/>
                  <a:pt x="804" y="22"/>
                  <a:pt x="804" y="22"/>
                </a:cubicBezTo>
                <a:cubicBezTo>
                  <a:pt x="852" y="26"/>
                  <a:pt x="854" y="36"/>
                  <a:pt x="854" y="148"/>
                </a:cubicBezTo>
                <a:cubicBezTo>
                  <a:pt x="854" y="300"/>
                  <a:pt x="854" y="300"/>
                  <a:pt x="854" y="300"/>
                </a:cubicBezTo>
                <a:cubicBezTo>
                  <a:pt x="854" y="422"/>
                  <a:pt x="850" y="430"/>
                  <a:pt x="804" y="434"/>
                </a:cubicBezTo>
                <a:cubicBezTo>
                  <a:pt x="804" y="446"/>
                  <a:pt x="804" y="446"/>
                  <a:pt x="804" y="446"/>
                </a:cubicBezTo>
                <a:cubicBezTo>
                  <a:pt x="960" y="446"/>
                  <a:pt x="960" y="446"/>
                  <a:pt x="960" y="446"/>
                </a:cubicBezTo>
                <a:cubicBezTo>
                  <a:pt x="960" y="434"/>
                  <a:pt x="960" y="434"/>
                  <a:pt x="960" y="434"/>
                </a:cubicBezTo>
                <a:cubicBezTo>
                  <a:pt x="910" y="428"/>
                  <a:pt x="910" y="424"/>
                  <a:pt x="910" y="292"/>
                </a:cubicBezTo>
                <a:cubicBezTo>
                  <a:pt x="910" y="268"/>
                  <a:pt x="910" y="268"/>
                  <a:pt x="910" y="268"/>
                </a:cubicBezTo>
                <a:cubicBezTo>
                  <a:pt x="930" y="246"/>
                  <a:pt x="930" y="246"/>
                  <a:pt x="930" y="246"/>
                </a:cubicBezTo>
                <a:cubicBezTo>
                  <a:pt x="982" y="310"/>
                  <a:pt x="1038" y="380"/>
                  <a:pt x="1098" y="448"/>
                </a:cubicBezTo>
                <a:cubicBezTo>
                  <a:pt x="1202" y="448"/>
                  <a:pt x="1202" y="448"/>
                  <a:pt x="1202" y="448"/>
                </a:cubicBezTo>
                <a:close/>
                <a:moveTo>
                  <a:pt x="1564" y="448"/>
                </a:moveTo>
                <a:cubicBezTo>
                  <a:pt x="1706" y="448"/>
                  <a:pt x="1706" y="448"/>
                  <a:pt x="1706" y="448"/>
                </a:cubicBezTo>
                <a:cubicBezTo>
                  <a:pt x="1706" y="436"/>
                  <a:pt x="1706" y="436"/>
                  <a:pt x="1706" y="436"/>
                </a:cubicBezTo>
                <a:cubicBezTo>
                  <a:pt x="1658" y="434"/>
                  <a:pt x="1658" y="432"/>
                  <a:pt x="1658" y="342"/>
                </a:cubicBezTo>
                <a:cubicBezTo>
                  <a:pt x="1658" y="280"/>
                  <a:pt x="1658" y="280"/>
                  <a:pt x="1658" y="280"/>
                </a:cubicBezTo>
                <a:cubicBezTo>
                  <a:pt x="1658" y="198"/>
                  <a:pt x="1612" y="172"/>
                  <a:pt x="1570" y="172"/>
                </a:cubicBezTo>
                <a:cubicBezTo>
                  <a:pt x="1534" y="172"/>
                  <a:pt x="1498" y="188"/>
                  <a:pt x="1470" y="224"/>
                </a:cubicBezTo>
                <a:cubicBezTo>
                  <a:pt x="1470" y="176"/>
                  <a:pt x="1470" y="176"/>
                  <a:pt x="1470" y="176"/>
                </a:cubicBezTo>
                <a:cubicBezTo>
                  <a:pt x="1368" y="176"/>
                  <a:pt x="1368" y="176"/>
                  <a:pt x="1368" y="176"/>
                </a:cubicBezTo>
                <a:cubicBezTo>
                  <a:pt x="1368" y="188"/>
                  <a:pt x="1368" y="188"/>
                  <a:pt x="1368" y="188"/>
                </a:cubicBezTo>
                <a:cubicBezTo>
                  <a:pt x="1412" y="190"/>
                  <a:pt x="1418" y="192"/>
                  <a:pt x="1418" y="268"/>
                </a:cubicBezTo>
                <a:cubicBezTo>
                  <a:pt x="1418" y="336"/>
                  <a:pt x="1418" y="336"/>
                  <a:pt x="1418" y="336"/>
                </a:cubicBezTo>
                <a:cubicBezTo>
                  <a:pt x="1418" y="434"/>
                  <a:pt x="1418" y="434"/>
                  <a:pt x="1370" y="436"/>
                </a:cubicBezTo>
                <a:cubicBezTo>
                  <a:pt x="1370" y="448"/>
                  <a:pt x="1370" y="448"/>
                  <a:pt x="1370" y="448"/>
                </a:cubicBezTo>
                <a:cubicBezTo>
                  <a:pt x="1514" y="448"/>
                  <a:pt x="1514" y="448"/>
                  <a:pt x="1514" y="448"/>
                </a:cubicBezTo>
                <a:cubicBezTo>
                  <a:pt x="1514" y="436"/>
                  <a:pt x="1514" y="436"/>
                  <a:pt x="1514" y="436"/>
                </a:cubicBezTo>
                <a:cubicBezTo>
                  <a:pt x="1472" y="432"/>
                  <a:pt x="1470" y="434"/>
                  <a:pt x="1470" y="338"/>
                </a:cubicBezTo>
                <a:cubicBezTo>
                  <a:pt x="1470" y="262"/>
                  <a:pt x="1470" y="262"/>
                  <a:pt x="1470" y="262"/>
                </a:cubicBezTo>
                <a:cubicBezTo>
                  <a:pt x="1470" y="236"/>
                  <a:pt x="1504" y="206"/>
                  <a:pt x="1546" y="206"/>
                </a:cubicBezTo>
                <a:cubicBezTo>
                  <a:pt x="1580" y="206"/>
                  <a:pt x="1606" y="220"/>
                  <a:pt x="1606" y="286"/>
                </a:cubicBezTo>
                <a:cubicBezTo>
                  <a:pt x="1606" y="340"/>
                  <a:pt x="1606" y="340"/>
                  <a:pt x="1606" y="340"/>
                </a:cubicBezTo>
                <a:cubicBezTo>
                  <a:pt x="1606" y="432"/>
                  <a:pt x="1602" y="432"/>
                  <a:pt x="1564" y="434"/>
                </a:cubicBezTo>
                <a:lnTo>
                  <a:pt x="1564" y="448"/>
                </a:lnTo>
                <a:close/>
                <a:moveTo>
                  <a:pt x="1776" y="222"/>
                </a:moveTo>
                <a:cubicBezTo>
                  <a:pt x="1776" y="200"/>
                  <a:pt x="1796" y="188"/>
                  <a:pt x="1822" y="188"/>
                </a:cubicBezTo>
                <a:cubicBezTo>
                  <a:pt x="1874" y="188"/>
                  <a:pt x="1896" y="236"/>
                  <a:pt x="1900" y="252"/>
                </a:cubicBezTo>
                <a:cubicBezTo>
                  <a:pt x="1912" y="252"/>
                  <a:pt x="1912" y="252"/>
                  <a:pt x="1912" y="252"/>
                </a:cubicBezTo>
                <a:cubicBezTo>
                  <a:pt x="1912" y="212"/>
                  <a:pt x="1908" y="188"/>
                  <a:pt x="1904" y="184"/>
                </a:cubicBezTo>
                <a:cubicBezTo>
                  <a:pt x="1900" y="180"/>
                  <a:pt x="1862" y="170"/>
                  <a:pt x="1824" y="170"/>
                </a:cubicBezTo>
                <a:cubicBezTo>
                  <a:pt x="1768" y="170"/>
                  <a:pt x="1734" y="206"/>
                  <a:pt x="1734" y="248"/>
                </a:cubicBezTo>
                <a:cubicBezTo>
                  <a:pt x="1734" y="340"/>
                  <a:pt x="1890" y="322"/>
                  <a:pt x="1890" y="396"/>
                </a:cubicBezTo>
                <a:cubicBezTo>
                  <a:pt x="1890" y="422"/>
                  <a:pt x="1866" y="436"/>
                  <a:pt x="1826" y="436"/>
                </a:cubicBezTo>
                <a:cubicBezTo>
                  <a:pt x="1788" y="436"/>
                  <a:pt x="1754" y="416"/>
                  <a:pt x="1744" y="366"/>
                </a:cubicBezTo>
                <a:cubicBezTo>
                  <a:pt x="1728" y="366"/>
                  <a:pt x="1728" y="366"/>
                  <a:pt x="1728" y="366"/>
                </a:cubicBezTo>
                <a:cubicBezTo>
                  <a:pt x="1728" y="386"/>
                  <a:pt x="1732" y="422"/>
                  <a:pt x="1734" y="428"/>
                </a:cubicBezTo>
                <a:cubicBezTo>
                  <a:pt x="1744" y="446"/>
                  <a:pt x="1788" y="454"/>
                  <a:pt x="1824" y="454"/>
                </a:cubicBezTo>
                <a:cubicBezTo>
                  <a:pt x="1888" y="454"/>
                  <a:pt x="1928" y="416"/>
                  <a:pt x="1928" y="372"/>
                </a:cubicBezTo>
                <a:cubicBezTo>
                  <a:pt x="1932" y="270"/>
                  <a:pt x="1776" y="286"/>
                  <a:pt x="1776" y="222"/>
                </a:cubicBezTo>
                <a:moveTo>
                  <a:pt x="2030" y="270"/>
                </a:moveTo>
                <a:cubicBezTo>
                  <a:pt x="2034" y="220"/>
                  <a:pt x="2058" y="192"/>
                  <a:pt x="2102" y="192"/>
                </a:cubicBezTo>
                <a:cubicBezTo>
                  <a:pt x="2144" y="192"/>
                  <a:pt x="2170" y="220"/>
                  <a:pt x="2172" y="270"/>
                </a:cubicBezTo>
                <a:lnTo>
                  <a:pt x="2030" y="270"/>
                </a:lnTo>
                <a:close/>
                <a:moveTo>
                  <a:pt x="2030" y="290"/>
                </a:moveTo>
                <a:cubicBezTo>
                  <a:pt x="2222" y="290"/>
                  <a:pt x="2222" y="290"/>
                  <a:pt x="2222" y="290"/>
                </a:cubicBezTo>
                <a:cubicBezTo>
                  <a:pt x="2226" y="228"/>
                  <a:pt x="2192" y="168"/>
                  <a:pt x="2114" y="168"/>
                </a:cubicBezTo>
                <a:cubicBezTo>
                  <a:pt x="2034" y="168"/>
                  <a:pt x="1982" y="232"/>
                  <a:pt x="1982" y="320"/>
                </a:cubicBezTo>
                <a:cubicBezTo>
                  <a:pt x="1982" y="388"/>
                  <a:pt x="2018" y="456"/>
                  <a:pt x="2112" y="456"/>
                </a:cubicBezTo>
                <a:cubicBezTo>
                  <a:pt x="2150" y="456"/>
                  <a:pt x="2198" y="440"/>
                  <a:pt x="2224" y="412"/>
                </a:cubicBezTo>
                <a:cubicBezTo>
                  <a:pt x="2218" y="400"/>
                  <a:pt x="2218" y="400"/>
                  <a:pt x="2218" y="400"/>
                </a:cubicBezTo>
                <a:cubicBezTo>
                  <a:pt x="2192" y="416"/>
                  <a:pt x="2164" y="422"/>
                  <a:pt x="2138" y="422"/>
                </a:cubicBezTo>
                <a:cubicBezTo>
                  <a:pt x="2058" y="420"/>
                  <a:pt x="2028" y="352"/>
                  <a:pt x="2030" y="290"/>
                </a:cubicBezTo>
                <a:moveTo>
                  <a:pt x="2478" y="242"/>
                </a:moveTo>
                <a:cubicBezTo>
                  <a:pt x="2490" y="206"/>
                  <a:pt x="2510" y="192"/>
                  <a:pt x="2528" y="192"/>
                </a:cubicBezTo>
                <a:cubicBezTo>
                  <a:pt x="2528" y="180"/>
                  <a:pt x="2528" y="180"/>
                  <a:pt x="2528" y="180"/>
                </a:cubicBezTo>
                <a:cubicBezTo>
                  <a:pt x="2430" y="180"/>
                  <a:pt x="2430" y="180"/>
                  <a:pt x="2430" y="180"/>
                </a:cubicBezTo>
                <a:cubicBezTo>
                  <a:pt x="2430" y="192"/>
                  <a:pt x="2430" y="192"/>
                  <a:pt x="2430" y="192"/>
                </a:cubicBezTo>
                <a:cubicBezTo>
                  <a:pt x="2454" y="194"/>
                  <a:pt x="2466" y="206"/>
                  <a:pt x="2458" y="234"/>
                </a:cubicBezTo>
                <a:cubicBezTo>
                  <a:pt x="2406" y="390"/>
                  <a:pt x="2406" y="390"/>
                  <a:pt x="2406" y="390"/>
                </a:cubicBezTo>
                <a:cubicBezTo>
                  <a:pt x="2354" y="270"/>
                  <a:pt x="2354" y="270"/>
                  <a:pt x="2354" y="270"/>
                </a:cubicBezTo>
                <a:cubicBezTo>
                  <a:pt x="2340" y="238"/>
                  <a:pt x="2334" y="224"/>
                  <a:pt x="2334" y="212"/>
                </a:cubicBezTo>
                <a:cubicBezTo>
                  <a:pt x="2334" y="202"/>
                  <a:pt x="2340" y="196"/>
                  <a:pt x="2360" y="192"/>
                </a:cubicBezTo>
                <a:cubicBezTo>
                  <a:pt x="2360" y="180"/>
                  <a:pt x="2360" y="180"/>
                  <a:pt x="2360" y="180"/>
                </a:cubicBezTo>
                <a:cubicBezTo>
                  <a:pt x="2234" y="180"/>
                  <a:pt x="2234" y="180"/>
                  <a:pt x="2234" y="180"/>
                </a:cubicBezTo>
                <a:cubicBezTo>
                  <a:pt x="2234" y="192"/>
                  <a:pt x="2234" y="192"/>
                  <a:pt x="2234" y="192"/>
                </a:cubicBezTo>
                <a:cubicBezTo>
                  <a:pt x="2266" y="194"/>
                  <a:pt x="2268" y="198"/>
                  <a:pt x="2310" y="292"/>
                </a:cubicBezTo>
                <a:cubicBezTo>
                  <a:pt x="2382" y="450"/>
                  <a:pt x="2382" y="450"/>
                  <a:pt x="2382" y="450"/>
                </a:cubicBezTo>
                <a:cubicBezTo>
                  <a:pt x="2358" y="512"/>
                  <a:pt x="2320" y="546"/>
                  <a:pt x="2242" y="564"/>
                </a:cubicBezTo>
                <a:cubicBezTo>
                  <a:pt x="2246" y="576"/>
                  <a:pt x="2260" y="600"/>
                  <a:pt x="2268" y="606"/>
                </a:cubicBezTo>
                <a:cubicBezTo>
                  <a:pt x="2370" y="564"/>
                  <a:pt x="2390" y="498"/>
                  <a:pt x="2426" y="396"/>
                </a:cubicBezTo>
                <a:lnTo>
                  <a:pt x="2478" y="242"/>
                </a:lnTo>
                <a:close/>
                <a:moveTo>
                  <a:pt x="2844" y="394"/>
                </a:moveTo>
                <a:cubicBezTo>
                  <a:pt x="2822" y="412"/>
                  <a:pt x="2782" y="416"/>
                  <a:pt x="2750" y="416"/>
                </a:cubicBezTo>
                <a:cubicBezTo>
                  <a:pt x="2670" y="416"/>
                  <a:pt x="2606" y="360"/>
                  <a:pt x="2606" y="284"/>
                </a:cubicBezTo>
                <a:cubicBezTo>
                  <a:pt x="2606" y="236"/>
                  <a:pt x="2626" y="206"/>
                  <a:pt x="2658" y="198"/>
                </a:cubicBezTo>
                <a:cubicBezTo>
                  <a:pt x="2698" y="266"/>
                  <a:pt x="2770" y="338"/>
                  <a:pt x="2844" y="394"/>
                </a:cubicBezTo>
                <a:moveTo>
                  <a:pt x="2928" y="448"/>
                </a:moveTo>
                <a:cubicBezTo>
                  <a:pt x="3022" y="448"/>
                  <a:pt x="3022" y="448"/>
                  <a:pt x="3022" y="448"/>
                </a:cubicBezTo>
                <a:cubicBezTo>
                  <a:pt x="3022" y="436"/>
                  <a:pt x="3022" y="436"/>
                  <a:pt x="3022" y="436"/>
                </a:cubicBezTo>
                <a:cubicBezTo>
                  <a:pt x="2992" y="432"/>
                  <a:pt x="2946" y="408"/>
                  <a:pt x="2896" y="372"/>
                </a:cubicBezTo>
                <a:cubicBezTo>
                  <a:pt x="2914" y="342"/>
                  <a:pt x="2918" y="300"/>
                  <a:pt x="2922" y="270"/>
                </a:cubicBezTo>
                <a:cubicBezTo>
                  <a:pt x="2926" y="244"/>
                  <a:pt x="2946" y="244"/>
                  <a:pt x="2958" y="242"/>
                </a:cubicBezTo>
                <a:cubicBezTo>
                  <a:pt x="2958" y="230"/>
                  <a:pt x="2958" y="230"/>
                  <a:pt x="2958" y="230"/>
                </a:cubicBezTo>
                <a:cubicBezTo>
                  <a:pt x="2834" y="230"/>
                  <a:pt x="2834" y="230"/>
                  <a:pt x="2834" y="230"/>
                </a:cubicBezTo>
                <a:cubicBezTo>
                  <a:pt x="2834" y="242"/>
                  <a:pt x="2834" y="242"/>
                  <a:pt x="2834" y="242"/>
                </a:cubicBezTo>
                <a:cubicBezTo>
                  <a:pt x="2864" y="246"/>
                  <a:pt x="2892" y="250"/>
                  <a:pt x="2892" y="294"/>
                </a:cubicBezTo>
                <a:cubicBezTo>
                  <a:pt x="2892" y="318"/>
                  <a:pt x="2888" y="342"/>
                  <a:pt x="2878" y="358"/>
                </a:cubicBezTo>
                <a:cubicBezTo>
                  <a:pt x="2770" y="274"/>
                  <a:pt x="2670" y="156"/>
                  <a:pt x="2670" y="96"/>
                </a:cubicBezTo>
                <a:cubicBezTo>
                  <a:pt x="2670" y="66"/>
                  <a:pt x="2688" y="54"/>
                  <a:pt x="2716" y="54"/>
                </a:cubicBezTo>
                <a:cubicBezTo>
                  <a:pt x="2752" y="54"/>
                  <a:pt x="2784" y="78"/>
                  <a:pt x="2800" y="124"/>
                </a:cubicBezTo>
                <a:cubicBezTo>
                  <a:pt x="2812" y="124"/>
                  <a:pt x="2812" y="124"/>
                  <a:pt x="2812" y="124"/>
                </a:cubicBezTo>
                <a:cubicBezTo>
                  <a:pt x="2810" y="42"/>
                  <a:pt x="2810" y="42"/>
                  <a:pt x="2810" y="42"/>
                </a:cubicBezTo>
                <a:cubicBezTo>
                  <a:pt x="2798" y="42"/>
                  <a:pt x="2798" y="42"/>
                  <a:pt x="2798" y="42"/>
                </a:cubicBezTo>
                <a:cubicBezTo>
                  <a:pt x="2798" y="48"/>
                  <a:pt x="2792" y="52"/>
                  <a:pt x="2788" y="52"/>
                </a:cubicBezTo>
                <a:cubicBezTo>
                  <a:pt x="2772" y="52"/>
                  <a:pt x="2752" y="36"/>
                  <a:pt x="2714" y="36"/>
                </a:cubicBezTo>
                <a:cubicBezTo>
                  <a:pt x="2672" y="36"/>
                  <a:pt x="2630" y="62"/>
                  <a:pt x="2630" y="118"/>
                </a:cubicBezTo>
                <a:cubicBezTo>
                  <a:pt x="2630" y="140"/>
                  <a:pt x="2636" y="160"/>
                  <a:pt x="2648" y="182"/>
                </a:cubicBezTo>
                <a:cubicBezTo>
                  <a:pt x="2592" y="200"/>
                  <a:pt x="2562" y="248"/>
                  <a:pt x="2562" y="304"/>
                </a:cubicBezTo>
                <a:cubicBezTo>
                  <a:pt x="2562" y="406"/>
                  <a:pt x="2640" y="460"/>
                  <a:pt x="2726" y="460"/>
                </a:cubicBezTo>
                <a:cubicBezTo>
                  <a:pt x="2780" y="460"/>
                  <a:pt x="2824" y="444"/>
                  <a:pt x="2862" y="410"/>
                </a:cubicBezTo>
                <a:cubicBezTo>
                  <a:pt x="2888" y="424"/>
                  <a:pt x="2912" y="442"/>
                  <a:pt x="2928" y="448"/>
                </a:cubicBezTo>
                <a:moveTo>
                  <a:pt x="3094" y="212"/>
                </a:moveTo>
                <a:cubicBezTo>
                  <a:pt x="3094" y="88"/>
                  <a:pt x="3154" y="20"/>
                  <a:pt x="3252" y="20"/>
                </a:cubicBezTo>
                <a:cubicBezTo>
                  <a:pt x="3328" y="20"/>
                  <a:pt x="3372" y="58"/>
                  <a:pt x="3392" y="134"/>
                </a:cubicBezTo>
                <a:cubicBezTo>
                  <a:pt x="3404" y="134"/>
                  <a:pt x="3404" y="134"/>
                  <a:pt x="3404" y="134"/>
                </a:cubicBezTo>
                <a:cubicBezTo>
                  <a:pt x="3400" y="4"/>
                  <a:pt x="3400" y="4"/>
                  <a:pt x="3400" y="4"/>
                </a:cubicBezTo>
                <a:cubicBezTo>
                  <a:pt x="3388" y="4"/>
                  <a:pt x="3388" y="4"/>
                  <a:pt x="3388" y="4"/>
                </a:cubicBezTo>
                <a:cubicBezTo>
                  <a:pt x="3384" y="14"/>
                  <a:pt x="3376" y="18"/>
                  <a:pt x="3364" y="18"/>
                </a:cubicBezTo>
                <a:cubicBezTo>
                  <a:pt x="3338" y="18"/>
                  <a:pt x="3314" y="0"/>
                  <a:pt x="3248" y="0"/>
                </a:cubicBezTo>
                <a:cubicBezTo>
                  <a:pt x="3118" y="0"/>
                  <a:pt x="3030" y="102"/>
                  <a:pt x="3030" y="242"/>
                </a:cubicBezTo>
                <a:cubicBezTo>
                  <a:pt x="3030" y="376"/>
                  <a:pt x="3110" y="460"/>
                  <a:pt x="3238" y="460"/>
                </a:cubicBezTo>
                <a:cubicBezTo>
                  <a:pt x="3320" y="460"/>
                  <a:pt x="3384" y="420"/>
                  <a:pt x="3408" y="380"/>
                </a:cubicBezTo>
                <a:cubicBezTo>
                  <a:pt x="3396" y="366"/>
                  <a:pt x="3396" y="366"/>
                  <a:pt x="3396" y="366"/>
                </a:cubicBezTo>
                <a:cubicBezTo>
                  <a:pt x="3370" y="402"/>
                  <a:pt x="3314" y="426"/>
                  <a:pt x="3256" y="426"/>
                </a:cubicBezTo>
                <a:cubicBezTo>
                  <a:pt x="3156" y="426"/>
                  <a:pt x="3094" y="340"/>
                  <a:pt x="3094" y="212"/>
                </a:cubicBezTo>
                <a:moveTo>
                  <a:pt x="3678" y="328"/>
                </a:moveTo>
                <a:cubicBezTo>
                  <a:pt x="3678" y="392"/>
                  <a:pt x="3650" y="430"/>
                  <a:pt x="3592" y="430"/>
                </a:cubicBezTo>
                <a:cubicBezTo>
                  <a:pt x="3542" y="430"/>
                  <a:pt x="3496" y="384"/>
                  <a:pt x="3496" y="292"/>
                </a:cubicBezTo>
                <a:cubicBezTo>
                  <a:pt x="3496" y="226"/>
                  <a:pt x="3528" y="190"/>
                  <a:pt x="3580" y="190"/>
                </a:cubicBezTo>
                <a:cubicBezTo>
                  <a:pt x="3628" y="192"/>
                  <a:pt x="3678" y="238"/>
                  <a:pt x="3678" y="328"/>
                </a:cubicBezTo>
                <a:moveTo>
                  <a:pt x="3732" y="312"/>
                </a:moveTo>
                <a:cubicBezTo>
                  <a:pt x="3732" y="260"/>
                  <a:pt x="3710" y="214"/>
                  <a:pt x="3672" y="190"/>
                </a:cubicBezTo>
                <a:cubicBezTo>
                  <a:pt x="3650" y="176"/>
                  <a:pt x="3620" y="168"/>
                  <a:pt x="3588" y="168"/>
                </a:cubicBezTo>
                <a:cubicBezTo>
                  <a:pt x="3502" y="168"/>
                  <a:pt x="3442" y="230"/>
                  <a:pt x="3442" y="310"/>
                </a:cubicBezTo>
                <a:cubicBezTo>
                  <a:pt x="3442" y="364"/>
                  <a:pt x="3464" y="408"/>
                  <a:pt x="3502" y="432"/>
                </a:cubicBezTo>
                <a:cubicBezTo>
                  <a:pt x="3524" y="446"/>
                  <a:pt x="3554" y="452"/>
                  <a:pt x="3586" y="452"/>
                </a:cubicBezTo>
                <a:cubicBezTo>
                  <a:pt x="3672" y="454"/>
                  <a:pt x="3732" y="394"/>
                  <a:pt x="3732" y="312"/>
                </a:cubicBezTo>
                <a:moveTo>
                  <a:pt x="4136" y="448"/>
                </a:moveTo>
                <a:cubicBezTo>
                  <a:pt x="4280" y="448"/>
                  <a:pt x="4280" y="448"/>
                  <a:pt x="4280" y="448"/>
                </a:cubicBezTo>
                <a:cubicBezTo>
                  <a:pt x="4280" y="436"/>
                  <a:pt x="4280" y="436"/>
                  <a:pt x="4280" y="436"/>
                </a:cubicBezTo>
                <a:cubicBezTo>
                  <a:pt x="4230" y="434"/>
                  <a:pt x="4232" y="426"/>
                  <a:pt x="4232" y="348"/>
                </a:cubicBezTo>
                <a:cubicBezTo>
                  <a:pt x="4232" y="276"/>
                  <a:pt x="4232" y="276"/>
                  <a:pt x="4232" y="276"/>
                </a:cubicBezTo>
                <a:cubicBezTo>
                  <a:pt x="4232" y="200"/>
                  <a:pt x="4190" y="172"/>
                  <a:pt x="4142" y="172"/>
                </a:cubicBezTo>
                <a:cubicBezTo>
                  <a:pt x="4098" y="172"/>
                  <a:pt x="4064" y="196"/>
                  <a:pt x="4038" y="232"/>
                </a:cubicBezTo>
                <a:cubicBezTo>
                  <a:pt x="4028" y="194"/>
                  <a:pt x="4000" y="172"/>
                  <a:pt x="3954" y="172"/>
                </a:cubicBezTo>
                <a:cubicBezTo>
                  <a:pt x="3916" y="172"/>
                  <a:pt x="3880" y="196"/>
                  <a:pt x="3858" y="224"/>
                </a:cubicBezTo>
                <a:cubicBezTo>
                  <a:pt x="3858" y="176"/>
                  <a:pt x="3858" y="176"/>
                  <a:pt x="3858" y="176"/>
                </a:cubicBezTo>
                <a:cubicBezTo>
                  <a:pt x="3756" y="176"/>
                  <a:pt x="3756" y="176"/>
                  <a:pt x="3756" y="176"/>
                </a:cubicBezTo>
                <a:cubicBezTo>
                  <a:pt x="3756" y="188"/>
                  <a:pt x="3756" y="188"/>
                  <a:pt x="3756" y="188"/>
                </a:cubicBezTo>
                <a:cubicBezTo>
                  <a:pt x="3800" y="190"/>
                  <a:pt x="3806" y="192"/>
                  <a:pt x="3806" y="268"/>
                </a:cubicBezTo>
                <a:cubicBezTo>
                  <a:pt x="3806" y="346"/>
                  <a:pt x="3806" y="346"/>
                  <a:pt x="3806" y="346"/>
                </a:cubicBezTo>
                <a:cubicBezTo>
                  <a:pt x="3806" y="434"/>
                  <a:pt x="3804" y="434"/>
                  <a:pt x="3758" y="434"/>
                </a:cubicBezTo>
                <a:cubicBezTo>
                  <a:pt x="3758" y="446"/>
                  <a:pt x="3758" y="446"/>
                  <a:pt x="3758" y="446"/>
                </a:cubicBezTo>
                <a:cubicBezTo>
                  <a:pt x="3902" y="446"/>
                  <a:pt x="3902" y="446"/>
                  <a:pt x="3902" y="446"/>
                </a:cubicBezTo>
                <a:cubicBezTo>
                  <a:pt x="3902" y="434"/>
                  <a:pt x="3902" y="434"/>
                  <a:pt x="3902" y="434"/>
                </a:cubicBezTo>
                <a:cubicBezTo>
                  <a:pt x="3862" y="430"/>
                  <a:pt x="3858" y="430"/>
                  <a:pt x="3858" y="342"/>
                </a:cubicBezTo>
                <a:cubicBezTo>
                  <a:pt x="3858" y="262"/>
                  <a:pt x="3858" y="262"/>
                  <a:pt x="3858" y="262"/>
                </a:cubicBezTo>
                <a:cubicBezTo>
                  <a:pt x="3858" y="234"/>
                  <a:pt x="3894" y="204"/>
                  <a:pt x="3932" y="204"/>
                </a:cubicBezTo>
                <a:cubicBezTo>
                  <a:pt x="3974" y="204"/>
                  <a:pt x="3990" y="226"/>
                  <a:pt x="3990" y="282"/>
                </a:cubicBezTo>
                <a:cubicBezTo>
                  <a:pt x="3990" y="338"/>
                  <a:pt x="3990" y="338"/>
                  <a:pt x="3990" y="338"/>
                </a:cubicBezTo>
                <a:cubicBezTo>
                  <a:pt x="3990" y="428"/>
                  <a:pt x="3988" y="432"/>
                  <a:pt x="3950" y="436"/>
                </a:cubicBezTo>
                <a:cubicBezTo>
                  <a:pt x="3950" y="448"/>
                  <a:pt x="3950" y="448"/>
                  <a:pt x="3950" y="448"/>
                </a:cubicBezTo>
                <a:cubicBezTo>
                  <a:pt x="4086" y="448"/>
                  <a:pt x="4086" y="448"/>
                  <a:pt x="4086" y="448"/>
                </a:cubicBezTo>
                <a:cubicBezTo>
                  <a:pt x="4086" y="436"/>
                  <a:pt x="4086" y="436"/>
                  <a:pt x="4086" y="436"/>
                </a:cubicBezTo>
                <a:cubicBezTo>
                  <a:pt x="4040" y="432"/>
                  <a:pt x="4042" y="428"/>
                  <a:pt x="4042" y="342"/>
                </a:cubicBezTo>
                <a:cubicBezTo>
                  <a:pt x="4042" y="264"/>
                  <a:pt x="4042" y="264"/>
                  <a:pt x="4042" y="264"/>
                </a:cubicBezTo>
                <a:cubicBezTo>
                  <a:pt x="4042" y="236"/>
                  <a:pt x="4078" y="206"/>
                  <a:pt x="4118" y="206"/>
                </a:cubicBezTo>
                <a:cubicBezTo>
                  <a:pt x="4152" y="206"/>
                  <a:pt x="4174" y="226"/>
                  <a:pt x="4174" y="284"/>
                </a:cubicBezTo>
                <a:cubicBezTo>
                  <a:pt x="4174" y="346"/>
                  <a:pt x="4174" y="346"/>
                  <a:pt x="4174" y="346"/>
                </a:cubicBezTo>
                <a:cubicBezTo>
                  <a:pt x="4174" y="428"/>
                  <a:pt x="4174" y="432"/>
                  <a:pt x="4134" y="436"/>
                </a:cubicBezTo>
                <a:cubicBezTo>
                  <a:pt x="4134" y="448"/>
                  <a:pt x="4134" y="448"/>
                  <a:pt x="4134" y="448"/>
                </a:cubicBezTo>
                <a:lnTo>
                  <a:pt x="4136" y="448"/>
                </a:lnTo>
                <a:close/>
                <a:moveTo>
                  <a:pt x="4546" y="316"/>
                </a:moveTo>
                <a:cubicBezTo>
                  <a:pt x="4546" y="388"/>
                  <a:pt x="4516" y="432"/>
                  <a:pt x="4460" y="432"/>
                </a:cubicBezTo>
                <a:cubicBezTo>
                  <a:pt x="4424" y="432"/>
                  <a:pt x="4384" y="412"/>
                  <a:pt x="4384" y="384"/>
                </a:cubicBezTo>
                <a:cubicBezTo>
                  <a:pt x="4384" y="248"/>
                  <a:pt x="4384" y="248"/>
                  <a:pt x="4384" y="248"/>
                </a:cubicBezTo>
                <a:cubicBezTo>
                  <a:pt x="4384" y="226"/>
                  <a:pt x="4416" y="202"/>
                  <a:pt x="4454" y="202"/>
                </a:cubicBezTo>
                <a:cubicBezTo>
                  <a:pt x="4510" y="206"/>
                  <a:pt x="4546" y="248"/>
                  <a:pt x="4546" y="316"/>
                </a:cubicBezTo>
                <a:moveTo>
                  <a:pt x="4600" y="310"/>
                </a:moveTo>
                <a:cubicBezTo>
                  <a:pt x="4600" y="230"/>
                  <a:pt x="4548" y="170"/>
                  <a:pt x="4478" y="170"/>
                </a:cubicBezTo>
                <a:cubicBezTo>
                  <a:pt x="4438" y="170"/>
                  <a:pt x="4406" y="188"/>
                  <a:pt x="4384" y="214"/>
                </a:cubicBezTo>
                <a:cubicBezTo>
                  <a:pt x="4384" y="174"/>
                  <a:pt x="4384" y="174"/>
                  <a:pt x="4384" y="174"/>
                </a:cubicBezTo>
                <a:cubicBezTo>
                  <a:pt x="4284" y="174"/>
                  <a:pt x="4284" y="174"/>
                  <a:pt x="4284" y="174"/>
                </a:cubicBezTo>
                <a:cubicBezTo>
                  <a:pt x="4284" y="186"/>
                  <a:pt x="4284" y="186"/>
                  <a:pt x="4284" y="186"/>
                </a:cubicBezTo>
                <a:cubicBezTo>
                  <a:pt x="4326" y="188"/>
                  <a:pt x="4332" y="190"/>
                  <a:pt x="4332" y="280"/>
                </a:cubicBezTo>
                <a:cubicBezTo>
                  <a:pt x="4332" y="466"/>
                  <a:pt x="4332" y="466"/>
                  <a:pt x="4332" y="466"/>
                </a:cubicBezTo>
                <a:cubicBezTo>
                  <a:pt x="4332" y="564"/>
                  <a:pt x="4334" y="570"/>
                  <a:pt x="4286" y="574"/>
                </a:cubicBezTo>
                <a:cubicBezTo>
                  <a:pt x="4286" y="588"/>
                  <a:pt x="4286" y="588"/>
                  <a:pt x="4286" y="588"/>
                </a:cubicBezTo>
                <a:cubicBezTo>
                  <a:pt x="4432" y="588"/>
                  <a:pt x="4432" y="588"/>
                  <a:pt x="4432" y="588"/>
                </a:cubicBezTo>
                <a:cubicBezTo>
                  <a:pt x="4432" y="574"/>
                  <a:pt x="4432" y="574"/>
                  <a:pt x="4432" y="574"/>
                </a:cubicBezTo>
                <a:cubicBezTo>
                  <a:pt x="4380" y="572"/>
                  <a:pt x="4384" y="564"/>
                  <a:pt x="4384" y="462"/>
                </a:cubicBezTo>
                <a:cubicBezTo>
                  <a:pt x="4384" y="424"/>
                  <a:pt x="4384" y="424"/>
                  <a:pt x="4384" y="424"/>
                </a:cubicBezTo>
                <a:cubicBezTo>
                  <a:pt x="4404" y="444"/>
                  <a:pt x="4436" y="454"/>
                  <a:pt x="4466" y="454"/>
                </a:cubicBezTo>
                <a:cubicBezTo>
                  <a:pt x="4548" y="454"/>
                  <a:pt x="4600" y="392"/>
                  <a:pt x="4600" y="310"/>
                </a:cubicBezTo>
                <a:moveTo>
                  <a:pt x="4792" y="382"/>
                </a:moveTo>
                <a:cubicBezTo>
                  <a:pt x="4792" y="404"/>
                  <a:pt x="4762" y="424"/>
                  <a:pt x="4736" y="424"/>
                </a:cubicBezTo>
                <a:cubicBezTo>
                  <a:pt x="4712" y="424"/>
                  <a:pt x="4694" y="410"/>
                  <a:pt x="4694" y="378"/>
                </a:cubicBezTo>
                <a:cubicBezTo>
                  <a:pt x="4694" y="322"/>
                  <a:pt x="4752" y="328"/>
                  <a:pt x="4792" y="306"/>
                </a:cubicBezTo>
                <a:cubicBezTo>
                  <a:pt x="4792" y="382"/>
                  <a:pt x="4792" y="382"/>
                  <a:pt x="4792" y="382"/>
                </a:cubicBezTo>
                <a:close/>
                <a:moveTo>
                  <a:pt x="5240" y="434"/>
                </a:moveTo>
                <a:cubicBezTo>
                  <a:pt x="5192" y="432"/>
                  <a:pt x="5192" y="430"/>
                  <a:pt x="5192" y="340"/>
                </a:cubicBezTo>
                <a:cubicBezTo>
                  <a:pt x="5192" y="278"/>
                  <a:pt x="5192" y="278"/>
                  <a:pt x="5192" y="278"/>
                </a:cubicBezTo>
                <a:cubicBezTo>
                  <a:pt x="5192" y="196"/>
                  <a:pt x="5146" y="170"/>
                  <a:pt x="5104" y="170"/>
                </a:cubicBezTo>
                <a:cubicBezTo>
                  <a:pt x="5068" y="170"/>
                  <a:pt x="5032" y="186"/>
                  <a:pt x="5004" y="222"/>
                </a:cubicBezTo>
                <a:cubicBezTo>
                  <a:pt x="5004" y="174"/>
                  <a:pt x="5004" y="174"/>
                  <a:pt x="5004" y="174"/>
                </a:cubicBezTo>
                <a:cubicBezTo>
                  <a:pt x="4902" y="174"/>
                  <a:pt x="4902" y="174"/>
                  <a:pt x="4902" y="174"/>
                </a:cubicBezTo>
                <a:cubicBezTo>
                  <a:pt x="4902" y="186"/>
                  <a:pt x="4902" y="186"/>
                  <a:pt x="4902" y="186"/>
                </a:cubicBezTo>
                <a:cubicBezTo>
                  <a:pt x="4946" y="188"/>
                  <a:pt x="4952" y="190"/>
                  <a:pt x="4952" y="266"/>
                </a:cubicBezTo>
                <a:cubicBezTo>
                  <a:pt x="4952" y="334"/>
                  <a:pt x="4952" y="334"/>
                  <a:pt x="4952" y="334"/>
                </a:cubicBezTo>
                <a:cubicBezTo>
                  <a:pt x="4952" y="430"/>
                  <a:pt x="4952" y="432"/>
                  <a:pt x="4904" y="434"/>
                </a:cubicBezTo>
                <a:cubicBezTo>
                  <a:pt x="4892" y="434"/>
                  <a:pt x="4892" y="434"/>
                  <a:pt x="4892" y="434"/>
                </a:cubicBezTo>
                <a:cubicBezTo>
                  <a:pt x="4854" y="434"/>
                  <a:pt x="4850" y="422"/>
                  <a:pt x="4850" y="366"/>
                </a:cubicBezTo>
                <a:cubicBezTo>
                  <a:pt x="4850" y="274"/>
                  <a:pt x="4850" y="274"/>
                  <a:pt x="4850" y="274"/>
                </a:cubicBezTo>
                <a:cubicBezTo>
                  <a:pt x="4850" y="256"/>
                  <a:pt x="4848" y="240"/>
                  <a:pt x="4844" y="228"/>
                </a:cubicBezTo>
                <a:cubicBezTo>
                  <a:pt x="4830" y="186"/>
                  <a:pt x="4796" y="170"/>
                  <a:pt x="4748" y="170"/>
                </a:cubicBezTo>
                <a:cubicBezTo>
                  <a:pt x="4718" y="170"/>
                  <a:pt x="4674" y="180"/>
                  <a:pt x="4650" y="202"/>
                </a:cubicBezTo>
                <a:cubicBezTo>
                  <a:pt x="4652" y="214"/>
                  <a:pt x="4664" y="240"/>
                  <a:pt x="4670" y="248"/>
                </a:cubicBezTo>
                <a:cubicBezTo>
                  <a:pt x="4676" y="246"/>
                  <a:pt x="4676" y="246"/>
                  <a:pt x="4676" y="246"/>
                </a:cubicBezTo>
                <a:cubicBezTo>
                  <a:pt x="4688" y="216"/>
                  <a:pt x="4708" y="194"/>
                  <a:pt x="4742" y="194"/>
                </a:cubicBezTo>
                <a:cubicBezTo>
                  <a:pt x="4778" y="194"/>
                  <a:pt x="4794" y="220"/>
                  <a:pt x="4794" y="250"/>
                </a:cubicBezTo>
                <a:cubicBezTo>
                  <a:pt x="4794" y="282"/>
                  <a:pt x="4794" y="282"/>
                  <a:pt x="4794" y="282"/>
                </a:cubicBezTo>
                <a:cubicBezTo>
                  <a:pt x="4794" y="302"/>
                  <a:pt x="4702" y="306"/>
                  <a:pt x="4664" y="338"/>
                </a:cubicBezTo>
                <a:cubicBezTo>
                  <a:pt x="4652" y="350"/>
                  <a:pt x="4642" y="364"/>
                  <a:pt x="4642" y="384"/>
                </a:cubicBezTo>
                <a:cubicBezTo>
                  <a:pt x="4642" y="426"/>
                  <a:pt x="4672" y="456"/>
                  <a:pt x="4716" y="456"/>
                </a:cubicBezTo>
                <a:cubicBezTo>
                  <a:pt x="4744" y="456"/>
                  <a:pt x="4768" y="446"/>
                  <a:pt x="4794" y="418"/>
                </a:cubicBezTo>
                <a:cubicBezTo>
                  <a:pt x="4798" y="438"/>
                  <a:pt x="4814" y="448"/>
                  <a:pt x="4842" y="448"/>
                </a:cubicBezTo>
                <a:cubicBezTo>
                  <a:pt x="4906" y="448"/>
                  <a:pt x="4906" y="448"/>
                  <a:pt x="4906" y="448"/>
                </a:cubicBezTo>
                <a:cubicBezTo>
                  <a:pt x="4906" y="448"/>
                  <a:pt x="4906" y="448"/>
                  <a:pt x="4906" y="448"/>
                </a:cubicBezTo>
                <a:cubicBezTo>
                  <a:pt x="5048" y="448"/>
                  <a:pt x="5048" y="448"/>
                  <a:pt x="5048" y="448"/>
                </a:cubicBezTo>
                <a:cubicBezTo>
                  <a:pt x="5048" y="436"/>
                  <a:pt x="5048" y="436"/>
                  <a:pt x="5048" y="436"/>
                </a:cubicBezTo>
                <a:cubicBezTo>
                  <a:pt x="5006" y="432"/>
                  <a:pt x="5004" y="434"/>
                  <a:pt x="5004" y="338"/>
                </a:cubicBezTo>
                <a:cubicBezTo>
                  <a:pt x="5004" y="262"/>
                  <a:pt x="5004" y="262"/>
                  <a:pt x="5004" y="262"/>
                </a:cubicBezTo>
                <a:cubicBezTo>
                  <a:pt x="5004" y="236"/>
                  <a:pt x="5038" y="206"/>
                  <a:pt x="5080" y="206"/>
                </a:cubicBezTo>
                <a:cubicBezTo>
                  <a:pt x="5114" y="206"/>
                  <a:pt x="5140" y="220"/>
                  <a:pt x="5140" y="286"/>
                </a:cubicBezTo>
                <a:cubicBezTo>
                  <a:pt x="5140" y="340"/>
                  <a:pt x="5140" y="340"/>
                  <a:pt x="5140" y="340"/>
                </a:cubicBezTo>
                <a:cubicBezTo>
                  <a:pt x="5140" y="432"/>
                  <a:pt x="5136" y="432"/>
                  <a:pt x="5098" y="434"/>
                </a:cubicBezTo>
                <a:cubicBezTo>
                  <a:pt x="5098" y="446"/>
                  <a:pt x="5098" y="446"/>
                  <a:pt x="5098" y="446"/>
                </a:cubicBezTo>
                <a:cubicBezTo>
                  <a:pt x="5240" y="446"/>
                  <a:pt x="5240" y="446"/>
                  <a:pt x="5240" y="446"/>
                </a:cubicBezTo>
                <a:lnTo>
                  <a:pt x="5240" y="434"/>
                </a:lnTo>
                <a:close/>
                <a:moveTo>
                  <a:pt x="5516" y="192"/>
                </a:moveTo>
                <a:cubicBezTo>
                  <a:pt x="5516" y="180"/>
                  <a:pt x="5516" y="180"/>
                  <a:pt x="5516" y="180"/>
                </a:cubicBezTo>
                <a:cubicBezTo>
                  <a:pt x="5418" y="180"/>
                  <a:pt x="5418" y="180"/>
                  <a:pt x="5418" y="180"/>
                </a:cubicBezTo>
                <a:cubicBezTo>
                  <a:pt x="5418" y="192"/>
                  <a:pt x="5418" y="192"/>
                  <a:pt x="5418" y="192"/>
                </a:cubicBezTo>
                <a:cubicBezTo>
                  <a:pt x="5442" y="194"/>
                  <a:pt x="5454" y="206"/>
                  <a:pt x="5446" y="234"/>
                </a:cubicBezTo>
                <a:cubicBezTo>
                  <a:pt x="5394" y="390"/>
                  <a:pt x="5394" y="390"/>
                  <a:pt x="5394" y="390"/>
                </a:cubicBezTo>
                <a:cubicBezTo>
                  <a:pt x="5342" y="270"/>
                  <a:pt x="5342" y="270"/>
                  <a:pt x="5342" y="270"/>
                </a:cubicBezTo>
                <a:cubicBezTo>
                  <a:pt x="5328" y="238"/>
                  <a:pt x="5322" y="224"/>
                  <a:pt x="5322" y="212"/>
                </a:cubicBezTo>
                <a:cubicBezTo>
                  <a:pt x="5322" y="202"/>
                  <a:pt x="5328" y="196"/>
                  <a:pt x="5348" y="192"/>
                </a:cubicBezTo>
                <a:cubicBezTo>
                  <a:pt x="5348" y="180"/>
                  <a:pt x="5348" y="180"/>
                  <a:pt x="5348" y="180"/>
                </a:cubicBezTo>
                <a:cubicBezTo>
                  <a:pt x="5220" y="180"/>
                  <a:pt x="5220" y="180"/>
                  <a:pt x="5220" y="180"/>
                </a:cubicBezTo>
                <a:cubicBezTo>
                  <a:pt x="5220" y="192"/>
                  <a:pt x="5220" y="192"/>
                  <a:pt x="5220" y="192"/>
                </a:cubicBezTo>
                <a:cubicBezTo>
                  <a:pt x="5252" y="194"/>
                  <a:pt x="5254" y="198"/>
                  <a:pt x="5296" y="292"/>
                </a:cubicBezTo>
                <a:cubicBezTo>
                  <a:pt x="5368" y="450"/>
                  <a:pt x="5368" y="450"/>
                  <a:pt x="5368" y="450"/>
                </a:cubicBezTo>
                <a:cubicBezTo>
                  <a:pt x="5344" y="512"/>
                  <a:pt x="5306" y="546"/>
                  <a:pt x="5228" y="564"/>
                </a:cubicBezTo>
                <a:cubicBezTo>
                  <a:pt x="5232" y="576"/>
                  <a:pt x="5246" y="600"/>
                  <a:pt x="5254" y="606"/>
                </a:cubicBezTo>
                <a:cubicBezTo>
                  <a:pt x="5356" y="564"/>
                  <a:pt x="5376" y="498"/>
                  <a:pt x="5412" y="396"/>
                </a:cubicBezTo>
                <a:cubicBezTo>
                  <a:pt x="5466" y="242"/>
                  <a:pt x="5466" y="242"/>
                  <a:pt x="5466" y="242"/>
                </a:cubicBezTo>
                <a:cubicBezTo>
                  <a:pt x="5478" y="206"/>
                  <a:pt x="5498" y="192"/>
                  <a:pt x="5516" y="192"/>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600" kern="1200">
                <a:solidFill>
                  <a:schemeClr val="tx1"/>
                </a:solidFill>
                <a:latin typeface="Arial" charset="0"/>
                <a:ea typeface="+mn-ea"/>
                <a:cs typeface="+mn-cs"/>
              </a:defRPr>
            </a:lvl1pPr>
            <a:lvl2pPr marL="457200" algn="l" rtl="0" fontAlgn="base">
              <a:spcBef>
                <a:spcPct val="0"/>
              </a:spcBef>
              <a:spcAft>
                <a:spcPct val="0"/>
              </a:spcAft>
              <a:defRPr sz="1600" kern="1200">
                <a:solidFill>
                  <a:schemeClr val="tx1"/>
                </a:solidFill>
                <a:latin typeface="Arial" charset="0"/>
                <a:ea typeface="+mn-ea"/>
                <a:cs typeface="+mn-cs"/>
              </a:defRPr>
            </a:lvl2pPr>
            <a:lvl3pPr marL="914400" algn="l" rtl="0" fontAlgn="base">
              <a:spcBef>
                <a:spcPct val="0"/>
              </a:spcBef>
              <a:spcAft>
                <a:spcPct val="0"/>
              </a:spcAft>
              <a:defRPr sz="1600" kern="1200">
                <a:solidFill>
                  <a:schemeClr val="tx1"/>
                </a:solidFill>
                <a:latin typeface="Arial" charset="0"/>
                <a:ea typeface="+mn-ea"/>
                <a:cs typeface="+mn-cs"/>
              </a:defRPr>
            </a:lvl3pPr>
            <a:lvl4pPr marL="1371600" algn="l" rtl="0" fontAlgn="base">
              <a:spcBef>
                <a:spcPct val="0"/>
              </a:spcBef>
              <a:spcAft>
                <a:spcPct val="0"/>
              </a:spcAft>
              <a:defRPr sz="1600" kern="1200">
                <a:solidFill>
                  <a:schemeClr val="tx1"/>
                </a:solidFill>
                <a:latin typeface="Arial" charset="0"/>
                <a:ea typeface="+mn-ea"/>
                <a:cs typeface="+mn-cs"/>
              </a:defRPr>
            </a:lvl4pPr>
            <a:lvl5pPr marL="1828800" algn="l" rtl="0" fontAlgn="base">
              <a:spcBef>
                <a:spcPct val="0"/>
              </a:spcBef>
              <a:spcAft>
                <a:spcPct val="0"/>
              </a:spcAft>
              <a:defRPr sz="1600" kern="1200">
                <a:solidFill>
                  <a:schemeClr val="tx1"/>
                </a:solidFill>
                <a:latin typeface="Arial" charset="0"/>
                <a:ea typeface="+mn-ea"/>
                <a:cs typeface="+mn-cs"/>
              </a:defRPr>
            </a:lvl5pPr>
            <a:lvl6pPr marL="2286000" algn="l" defTabSz="914400" rtl="0" eaLnBrk="1" latinLnBrk="0" hangingPunct="1">
              <a:defRPr sz="1600" kern="1200">
                <a:solidFill>
                  <a:schemeClr val="tx1"/>
                </a:solidFill>
                <a:latin typeface="Arial" charset="0"/>
                <a:ea typeface="+mn-ea"/>
                <a:cs typeface="+mn-cs"/>
              </a:defRPr>
            </a:lvl6pPr>
            <a:lvl7pPr marL="2743200" algn="l" defTabSz="914400" rtl="0" eaLnBrk="1" latinLnBrk="0" hangingPunct="1">
              <a:defRPr sz="1600" kern="1200">
                <a:solidFill>
                  <a:schemeClr val="tx1"/>
                </a:solidFill>
                <a:latin typeface="Arial" charset="0"/>
                <a:ea typeface="+mn-ea"/>
                <a:cs typeface="+mn-cs"/>
              </a:defRPr>
            </a:lvl7pPr>
            <a:lvl8pPr marL="3200400" algn="l" defTabSz="914400" rtl="0" eaLnBrk="1" latinLnBrk="0" hangingPunct="1">
              <a:defRPr sz="1600" kern="1200">
                <a:solidFill>
                  <a:schemeClr val="tx1"/>
                </a:solidFill>
                <a:latin typeface="Arial" charset="0"/>
                <a:ea typeface="+mn-ea"/>
                <a:cs typeface="+mn-cs"/>
              </a:defRPr>
            </a:lvl8pPr>
            <a:lvl9pPr marL="3657600" algn="l" defTabSz="914400" rtl="0" eaLnBrk="1" latinLnBrk="0" hangingPunct="1">
              <a:defRPr sz="1600" kern="1200">
                <a:solidFill>
                  <a:schemeClr val="tx1"/>
                </a:solidFill>
                <a:latin typeface="Arial" charset="0"/>
                <a:ea typeface="+mn-ea"/>
                <a:cs typeface="+mn-cs"/>
              </a:defRPr>
            </a:lvl9pPr>
          </a:lstStyle>
          <a:p>
            <a:endParaRPr lang="en-US" baseline="0" dirty="0">
              <a:solidFill>
                <a:srgbClr val="000000"/>
              </a:solidFill>
              <a:latin typeface="+mn-lt"/>
            </a:endParaRPr>
          </a:p>
        </p:txBody>
      </p:sp>
      <p:sp>
        <p:nvSpPr>
          <p:cNvPr id="27" name="Disclaimer-English (United States)" hidden="1"/>
          <p:cNvSpPr>
            <a:spLocks noChangeArrowheads="1"/>
          </p:cNvSpPr>
          <p:nvPr/>
        </p:nvSpPr>
        <p:spPr bwMode="black">
          <a:xfrm>
            <a:off x="2268266" y="6287785"/>
            <a:ext cx="3544453" cy="36908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t" anchorCtr="0">
            <a:noAutofit/>
          </a:bodyPr>
          <a:lstStyle/>
          <a:p>
            <a:pPr defTabSz="804863" eaLnBrk="0" hangingPunct="0"/>
            <a:r>
              <a:rPr lang="en-US" sz="800" baseline="0" dirty="0">
                <a:solidFill>
                  <a:srgbClr val="FFFFFF"/>
                </a:solidFill>
                <a:latin typeface="+mn-lt"/>
              </a:rPr>
              <a:t>CONFIDENTIAL AND PROPRIETARY</a:t>
            </a:r>
          </a:p>
          <a:p>
            <a:pPr defTabSz="804863" eaLnBrk="0" hangingPunct="0"/>
            <a:r>
              <a:rPr lang="en-US" sz="800" baseline="0" dirty="0">
                <a:solidFill>
                  <a:srgbClr val="FFFFFF"/>
                </a:solidFill>
                <a:latin typeface="+mn-lt"/>
              </a:rPr>
              <a:t>Any use of this material without specific permission of McKinsey &amp; Company is strictly prohibited</a:t>
            </a:r>
          </a:p>
        </p:txBody>
      </p:sp>
    </p:spTree>
    <p:extLst>
      <p:ext uri="{BB962C8B-B14F-4D97-AF65-F5344CB8AC3E}">
        <p14:creationId xmlns:p14="http://schemas.microsoft.com/office/powerpoint/2010/main" val="140115154"/>
      </p:ext>
    </p:extLst>
  </p:cSld>
  <p:clrMapOvr>
    <a:masterClrMapping/>
  </p:clrMapOvr>
  <p:extLst mod="1">
    <p:ext uri="{DCECCB84-F9BA-43D5-87BE-67443E8EF086}">
      <p15:sldGuideLst xmlns:p15="http://schemas.microsoft.com/office/powerpoint/2012/main">
        <p15:guide id="1" orient="horz" pos="2117">
          <p15:clr>
            <a:srgbClr val="FBAE40"/>
          </p15:clr>
        </p15:guide>
        <p15:guide id="2" pos="1416">
          <p15:clr>
            <a:srgbClr val="FBAE40"/>
          </p15:clr>
        </p15:guide>
      </p15:sldGuideLst>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6E228F5-5CF1-42E1-9748-97D7582A107A}"/>
              </a:ext>
            </a:extLst>
          </p:cNvPr>
          <p:cNvGraphicFramePr>
            <a:graphicFrameLocks noChangeAspect="1"/>
          </p:cNvGraphicFramePr>
          <p:nvPr>
            <p:custDataLst>
              <p:tags r:id="rId2"/>
            </p:custDataLst>
            <p:extLst>
              <p:ext uri="{D42A27DB-BD31-4B8C-83A1-F6EECF244321}">
                <p14:modId xmlns:p14="http://schemas.microsoft.com/office/powerpoint/2010/main" val="48449879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1268" name="think-cell Slide" r:id="rId5" imgW="353" imgH="353" progId="TCLayout.ActiveDocument.1">
                  <p:embed/>
                </p:oleObj>
              </mc:Choice>
              <mc:Fallback>
                <p:oleObj name="think-cell Slide" r:id="rId5" imgW="353" imgH="353" progId="TCLayout.ActiveDocument.1">
                  <p:embed/>
                  <p:pic>
                    <p:nvPicPr>
                      <p:cNvPr id="3" name="Object 2" hidden="1">
                        <a:extLst>
                          <a:ext uri="{FF2B5EF4-FFF2-40B4-BE49-F238E27FC236}">
                            <a16:creationId xmlns:a16="http://schemas.microsoft.com/office/drawing/2014/main" id="{C6E228F5-5CF1-42E1-9748-97D7582A107A}"/>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2. Slide Title"/>
          <p:cNvSpPr>
            <a:spLocks noGrp="1"/>
          </p:cNvSpPr>
          <p:nvPr>
            <p:ph type="title"/>
          </p:nvPr>
        </p:nvSpPr>
        <p:spPr bwMode="auto"/>
        <p:txBody>
          <a:bodyPr/>
          <a:lstStyle/>
          <a:p>
            <a:r>
              <a:rPr lang="en-US"/>
              <a:t>Click to edit Master title style</a:t>
            </a:r>
            <a:endParaRPr lang="en-US" dirty="0"/>
          </a:p>
        </p:txBody>
      </p:sp>
      <p:sp>
        <p:nvSpPr>
          <p:cNvPr id="8" name="Slide Number"/>
          <p:cNvSpPr txBox="1">
            <a:spLocks/>
          </p:cNvSpPr>
          <p:nvPr/>
        </p:nvSpPr>
        <p:spPr bwMode="auto">
          <a:xfrm>
            <a:off x="8564563" y="6508272"/>
            <a:ext cx="125034" cy="123111"/>
          </a:xfrm>
          <a:prstGeom prst="rect">
            <a:avLst/>
          </a:prstGeom>
        </p:spPr>
        <p:txBody>
          <a:bodyPr vert="horz" wrap="none" lIns="0" tIns="0" rIns="0" bIns="0" rtlCol="0" anchor="ctr">
            <a:spAutoFit/>
          </a:bodyPr>
          <a:lstStyle>
            <a:defPPr>
              <a:defRPr lang="en-US"/>
            </a:defPPr>
            <a:lvl1pPr>
              <a:defRPr sz="1000" baseline="0">
                <a:latin typeface="+mn-lt"/>
              </a:defRPr>
            </a:lvl1pPr>
          </a:lstStyle>
          <a:p>
            <a:fld id="{42C328C1-A84F-4A39-A664-DBA00541A8C6}" type="slidenum">
              <a:rPr lang="en-US" sz="800" baseline="0" smtClean="0">
                <a:solidFill>
                  <a:srgbClr val="808080"/>
                </a:solidFill>
                <a:latin typeface="+mn-lt"/>
              </a:rPr>
              <a:pPr/>
              <a:t>‹#›</a:t>
            </a:fld>
            <a:endParaRPr lang="en-US" sz="800" baseline="0" dirty="0">
              <a:solidFill>
                <a:srgbClr val="808080"/>
              </a:solidFill>
              <a:latin typeface="+mn-lt"/>
            </a:endParaRPr>
          </a:p>
        </p:txBody>
      </p:sp>
      <p:sp>
        <p:nvSpPr>
          <p:cNvPr id="9" name="SlideLogoText"/>
          <p:cNvSpPr>
            <a:spLocks noChangeArrowheads="1"/>
          </p:cNvSpPr>
          <p:nvPr>
            <p:custDataLst>
              <p:tags r:id="rId3"/>
            </p:custDataLst>
          </p:nvPr>
        </p:nvSpPr>
        <p:spPr bwMode="auto">
          <a:xfrm>
            <a:off x="7450817" y="6508272"/>
            <a:ext cx="1013098"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algn="r" defTabSz="895350"/>
            <a:r>
              <a:rPr lang="en-US" sz="800" baseline="0" dirty="0">
                <a:solidFill>
                  <a:srgbClr val="808080"/>
                </a:solidFill>
                <a:latin typeface="+mn-lt"/>
              </a:rPr>
              <a:t>McKinsey &amp; Company</a:t>
            </a:r>
          </a:p>
        </p:txBody>
      </p:sp>
      <p:sp>
        <p:nvSpPr>
          <p:cNvPr id="5" name="doc id" hidden="1"/>
          <p:cNvSpPr txBox="1">
            <a:spLocks noChangeArrowheads="1"/>
          </p:cNvSpPr>
          <p:nvPr/>
        </p:nvSpPr>
        <p:spPr bwMode="white">
          <a:xfrm>
            <a:off x="8104473" y="36513"/>
            <a:ext cx="634716" cy="115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hangingPunct="1">
              <a:defRPr/>
            </a:pPr>
            <a:endParaRPr lang="en-US" sz="800" baseline="0" dirty="0">
              <a:solidFill>
                <a:schemeClr val="accent1"/>
              </a:solidFill>
              <a:latin typeface="+mn-lt"/>
              <a:ea typeface="+mn-ea"/>
            </a:endParaRPr>
          </a:p>
        </p:txBody>
      </p:sp>
    </p:spTree>
    <p:extLst>
      <p:ext uri="{BB962C8B-B14F-4D97-AF65-F5344CB8AC3E}">
        <p14:creationId xmlns:p14="http://schemas.microsoft.com/office/powerpoint/2010/main" val="1703051971"/>
      </p:ext>
    </p:extLst>
  </p:cSld>
  <p:clrMapOvr>
    <a:masterClrMapping/>
  </p:clrMapOvr>
  <p:extLst mod="1">
    <p:ext uri="{DCECCB84-F9BA-43D5-87BE-67443E8EF086}">
      <p15:sldGuideLst xmlns:p15="http://schemas.microsoft.com/office/powerpoint/2012/main">
        <p15:guide id="1" pos="5505">
          <p15:clr>
            <a:srgbClr val="F26B43"/>
          </p15:clr>
        </p15:guide>
        <p15:guide id="2" pos="74">
          <p15:clr>
            <a:srgbClr val="F26B43"/>
          </p15:clr>
        </p15:guide>
        <p15:guide id="3" orient="horz" pos="571">
          <p15:clr>
            <a:srgbClr val="F26B43"/>
          </p15:clr>
        </p15:guide>
        <p15:guide id="4" orient="horz" pos="3911">
          <p15:clr>
            <a:srgbClr val="F26B43"/>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p:cSld name="1_Title Only">
    <p:bg>
      <p:bgPr>
        <a:solidFill>
          <a:schemeClr val="accent2"/>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F4AD34F-3B47-47E2-A09C-FFEB949F6A10}"/>
              </a:ext>
            </a:extLst>
          </p:cNvPr>
          <p:cNvGraphicFramePr>
            <a:graphicFrameLocks noChangeAspect="1"/>
          </p:cNvGraphicFramePr>
          <p:nvPr>
            <p:custDataLst>
              <p:tags r:id="rId2"/>
            </p:custDataLst>
            <p:extLst>
              <p:ext uri="{D42A27DB-BD31-4B8C-83A1-F6EECF244321}">
                <p14:modId xmlns:p14="http://schemas.microsoft.com/office/powerpoint/2010/main" val="11566047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2292" name="think-cell Slide" r:id="rId5" imgW="395" imgH="394" progId="TCLayout.ActiveDocument.1">
                  <p:embed/>
                </p:oleObj>
              </mc:Choice>
              <mc:Fallback>
                <p:oleObj name="think-cell Slide" r:id="rId5" imgW="395" imgH="394" progId="TCLayout.ActiveDocument.1">
                  <p:embed/>
                  <p:pic>
                    <p:nvPicPr>
                      <p:cNvPr id="3" name="Object 2" hidden="1">
                        <a:extLst>
                          <a:ext uri="{FF2B5EF4-FFF2-40B4-BE49-F238E27FC236}">
                            <a16:creationId xmlns:a16="http://schemas.microsoft.com/office/drawing/2014/main" id="{EF4AD34F-3B47-47E2-A09C-FFEB949F6A10}"/>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endParaRPr lang="en-US" dirty="0"/>
          </a:p>
        </p:txBody>
      </p:sp>
      <p:sp>
        <p:nvSpPr>
          <p:cNvPr id="15" name="Slide Number"/>
          <p:cNvSpPr txBox="1">
            <a:spLocks/>
          </p:cNvSpPr>
          <p:nvPr/>
        </p:nvSpPr>
        <p:spPr>
          <a:xfrm>
            <a:off x="8564563" y="6508272"/>
            <a:ext cx="125034" cy="123111"/>
          </a:xfrm>
          <a:prstGeom prst="rect">
            <a:avLst/>
          </a:prstGeom>
        </p:spPr>
        <p:txBody>
          <a:bodyPr vert="horz" wrap="none" lIns="0" tIns="0" rIns="0" bIns="0" rtlCol="0" anchor="ctr">
            <a:spAutoFit/>
          </a:bodyPr>
          <a:lstStyle>
            <a:defPPr>
              <a:defRPr lang="en-US"/>
            </a:defPPr>
            <a:lvl1pPr>
              <a:defRPr sz="1000" baseline="0">
                <a:latin typeface="+mn-lt"/>
              </a:defRPr>
            </a:lvl1pPr>
          </a:lstStyle>
          <a:p>
            <a:fld id="{42C328C1-A84F-4A39-A664-DBA00541A8C6}" type="slidenum">
              <a:rPr lang="en-US" sz="800" baseline="0" smtClean="0">
                <a:solidFill>
                  <a:srgbClr val="FFFFFF"/>
                </a:solidFill>
                <a:latin typeface="+mn-lt"/>
              </a:rPr>
              <a:pPr/>
              <a:t>‹#›</a:t>
            </a:fld>
            <a:endParaRPr lang="en-US" sz="800" baseline="0" dirty="0">
              <a:solidFill>
                <a:srgbClr val="FFFFFF"/>
              </a:solidFill>
              <a:latin typeface="+mn-lt"/>
            </a:endParaRPr>
          </a:p>
        </p:txBody>
      </p:sp>
      <p:sp>
        <p:nvSpPr>
          <p:cNvPr id="16" name="SlideLogoText"/>
          <p:cNvSpPr>
            <a:spLocks noChangeArrowheads="1"/>
          </p:cNvSpPr>
          <p:nvPr>
            <p:custDataLst>
              <p:tags r:id="rId3"/>
            </p:custDataLst>
          </p:nvPr>
        </p:nvSpPr>
        <p:spPr bwMode="auto">
          <a:xfrm>
            <a:off x="7450817" y="6508272"/>
            <a:ext cx="1013098"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algn="r" defTabSz="895350"/>
            <a:r>
              <a:rPr lang="en-US" sz="800" baseline="0" dirty="0">
                <a:solidFill>
                  <a:srgbClr val="FFFFFF"/>
                </a:solidFill>
                <a:latin typeface="+mn-lt"/>
              </a:rPr>
              <a:t>McKinsey &amp; Company</a:t>
            </a:r>
          </a:p>
        </p:txBody>
      </p:sp>
      <p:sp>
        <p:nvSpPr>
          <p:cNvPr id="5" name="doc id" hidden="1"/>
          <p:cNvSpPr txBox="1">
            <a:spLocks noChangeArrowheads="1"/>
          </p:cNvSpPr>
          <p:nvPr/>
        </p:nvSpPr>
        <p:spPr bwMode="white">
          <a:xfrm>
            <a:off x="8104473" y="36513"/>
            <a:ext cx="634716" cy="115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hangingPunct="1">
              <a:defRPr/>
            </a:pPr>
            <a:endParaRPr lang="en-US" sz="800" baseline="0" dirty="0">
              <a:solidFill>
                <a:schemeClr val="accent1"/>
              </a:solidFill>
              <a:latin typeface="+mn-lt"/>
              <a:ea typeface="+mn-ea"/>
            </a:endParaRPr>
          </a:p>
        </p:txBody>
      </p:sp>
    </p:spTree>
    <p:extLst>
      <p:ext uri="{BB962C8B-B14F-4D97-AF65-F5344CB8AC3E}">
        <p14:creationId xmlns:p14="http://schemas.microsoft.com/office/powerpoint/2010/main" val="3418513382"/>
      </p:ext>
    </p:extLst>
  </p:cSld>
  <p:clrMapOvr>
    <a:masterClrMapping/>
  </p:clrMapOvr>
  <p:extLst mod="1">
    <p:ext uri="{DCECCB84-F9BA-43D5-87BE-67443E8EF086}">
      <p15:sldGuideLst xmlns:p15="http://schemas.microsoft.com/office/powerpoint/2012/main">
        <p15:guide id="1" pos="3978">
          <p15:clr>
            <a:srgbClr val="000000"/>
          </p15:clr>
        </p15:guide>
        <p15:guide id="2" orient="horz" pos="570">
          <p15:clr>
            <a:srgbClr val="000000"/>
          </p15:clr>
        </p15:guide>
        <p15:guide id="3" orient="horz" pos="3912">
          <p15:clr>
            <a:srgbClr val="000000"/>
          </p15:clr>
        </p15:guide>
        <p15:guide id="4" pos="72">
          <p15:clr>
            <a:srgbClr val="000000"/>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type="titleOnly">
  <p:cSld name="2_Title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ECD524A-1569-4253-8CD8-48D288AD883C}"/>
              </a:ext>
            </a:extLst>
          </p:cNvPr>
          <p:cNvGraphicFramePr>
            <a:graphicFrameLocks noChangeAspect="1"/>
          </p:cNvGraphicFramePr>
          <p:nvPr>
            <p:custDataLst>
              <p:tags r:id="rId2"/>
            </p:custDataLst>
            <p:extLst>
              <p:ext uri="{D42A27DB-BD31-4B8C-83A1-F6EECF244321}">
                <p14:modId xmlns:p14="http://schemas.microsoft.com/office/powerpoint/2010/main" val="154499676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3316" name="think-cell Slide" r:id="rId4" imgW="395" imgH="394" progId="TCLayout.ActiveDocument.1">
                  <p:embed/>
                </p:oleObj>
              </mc:Choice>
              <mc:Fallback>
                <p:oleObj name="think-cell Slide" r:id="rId4" imgW="395" imgH="394" progId="TCLayout.ActiveDocument.1">
                  <p:embed/>
                  <p:pic>
                    <p:nvPicPr>
                      <p:cNvPr id="3" name="Object 2" hidden="1">
                        <a:extLst>
                          <a:ext uri="{FF2B5EF4-FFF2-40B4-BE49-F238E27FC236}">
                            <a16:creationId xmlns:a16="http://schemas.microsoft.com/office/drawing/2014/main" id="{5ECD524A-1569-4253-8CD8-48D288AD883C}"/>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37613978"/>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pic>
        <p:nvPicPr>
          <p:cNvPr id="2" name="background"/>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0" y="198"/>
            <a:ext cx="8961438" cy="6721079"/>
          </a:xfrm>
          <a:prstGeom prst="rect">
            <a:avLst/>
          </a:prstGeom>
        </p:spPr>
      </p:pic>
      <p:sp>
        <p:nvSpPr>
          <p:cNvPr id="28" name="TitleRectangle"/>
          <p:cNvSpPr txBox="1">
            <a:spLocks/>
          </p:cNvSpPr>
          <p:nvPr/>
        </p:nvSpPr>
        <p:spPr>
          <a:xfrm>
            <a:off x="2084388" y="0"/>
            <a:ext cx="6875462" cy="3575976"/>
          </a:xfrm>
          <a:prstGeom prst="rect">
            <a:avLst/>
          </a:prstGeom>
          <a:solidFill>
            <a:srgbClr val="002960">
              <a:alpha val="92000"/>
            </a:srgbClr>
          </a:solidFill>
        </p:spPr>
        <p:txBody>
          <a:bodyPr vert="horz" wrap="square" lIns="216000" tIns="1440000" rIns="216000" bIns="108000" rtlCol="0">
            <a:noAutofit/>
          </a:bodyPr>
          <a:lstStyle>
            <a:lvl1pPr marL="0" indent="0" algn="l" defTabSz="914400" rtl="0" eaLnBrk="1" latinLnBrk="0" hangingPunct="1">
              <a:spcBef>
                <a:spcPct val="20000"/>
              </a:spcBef>
              <a:spcAft>
                <a:spcPts val="6000"/>
              </a:spcAft>
              <a:buFont typeface="Arial" pitchFamily="34" charset="0"/>
              <a:buNone/>
              <a:defRPr sz="3200" kern="1200">
                <a:solidFill>
                  <a:schemeClr val="accent1"/>
                </a:solidFill>
                <a:latin typeface="+mn-lt"/>
                <a:ea typeface="+mn-ea"/>
                <a:cs typeface="+mn-cs"/>
              </a:defRPr>
            </a:lvl1pPr>
            <a:lvl2pPr marL="0" indent="0" algn="l" defTabSz="914400" rtl="0" eaLnBrk="1" latinLnBrk="0" hangingPunct="1">
              <a:spcBef>
                <a:spcPct val="20000"/>
              </a:spcBef>
              <a:buFont typeface="Wingdings" charset="2"/>
              <a:buNone/>
              <a:defRPr sz="1400" kern="1200">
                <a:solidFill>
                  <a:schemeClr val="tx1">
                    <a:lumMod val="50000"/>
                    <a:lumOff val="50000"/>
                  </a:schemeClr>
                </a:solidFill>
                <a:latin typeface="+mn-lt"/>
                <a:ea typeface="+mn-ea"/>
                <a:cs typeface="+mn-cs"/>
              </a:defRPr>
            </a:lvl2pPr>
            <a:lvl3pPr marL="1143000" indent="-228600" algn="l" defTabSz="914400" rtl="0" eaLnBrk="1" latinLnBrk="0" hangingPunct="1">
              <a:spcBef>
                <a:spcPct val="20000"/>
              </a:spcBef>
              <a:buFont typeface="Lucida Grande"/>
              <a:buChar char="–"/>
              <a:defRPr sz="16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fontAlgn="auto">
              <a:defRPr/>
            </a:pPr>
            <a:r>
              <a:rPr lang="en-US" baseline="0" dirty="0">
                <a:solidFill>
                  <a:srgbClr val="00ADEF"/>
                </a:solidFill>
                <a:latin typeface="+mn-lt"/>
              </a:rPr>
              <a:t>
              </a:t>
            </a:r>
            <a:br>
              <a:rPr lang="en-US" baseline="0" dirty="0">
                <a:solidFill>
                  <a:srgbClr val="00ADEF"/>
                </a:solidFill>
                <a:latin typeface="+mn-lt"/>
              </a:rPr>
            </a:br>
            <a:endParaRPr lang="en-US" baseline="0" dirty="0">
              <a:solidFill>
                <a:srgbClr val="00ADEF"/>
              </a:solidFill>
              <a:latin typeface="+mn-lt"/>
            </a:endParaRPr>
          </a:p>
        </p:txBody>
      </p:sp>
      <p:graphicFrame>
        <p:nvGraphicFramePr>
          <p:cNvPr id="3" name="Object 2"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5364"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Working Draft Text" hidden="1"/>
          <p:cNvSpPr txBox="1">
            <a:spLocks noChangeArrowheads="1"/>
          </p:cNvSpPr>
          <p:nvPr/>
        </p:nvSpPr>
        <p:spPr bwMode="black">
          <a:xfrm>
            <a:off x="5992719" y="6287538"/>
            <a:ext cx="2790000"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800" b="1" baseline="0" dirty="0">
                <a:solidFill>
                  <a:srgbClr val="FFFFFF"/>
                </a:solidFill>
                <a:latin typeface="+mn-lt"/>
              </a:rPr>
              <a:t>WORKING DRAFT</a:t>
            </a:r>
          </a:p>
        </p:txBody>
      </p:sp>
      <p:sp>
        <p:nvSpPr>
          <p:cNvPr id="6" name="Working Draft" hidden="1"/>
          <p:cNvSpPr txBox="1">
            <a:spLocks noChangeArrowheads="1"/>
          </p:cNvSpPr>
          <p:nvPr/>
        </p:nvSpPr>
        <p:spPr bwMode="black">
          <a:xfrm>
            <a:off x="5992718" y="6410648"/>
            <a:ext cx="2968719"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800" baseline="0">
                <a:solidFill>
                  <a:srgbClr val="FFFFFF"/>
                </a:solidFill>
                <a:latin typeface="+mn-lt"/>
              </a:rPr>
              <a:t>Last Modified 21/05/2018 17:44 India Standard Time</a:t>
            </a:r>
            <a:endParaRPr lang="en-US" sz="800" baseline="0" dirty="0">
              <a:solidFill>
                <a:srgbClr val="FFFFFF"/>
              </a:solidFill>
              <a:latin typeface="+mn-lt"/>
            </a:endParaRPr>
          </a:p>
        </p:txBody>
      </p:sp>
      <p:sp>
        <p:nvSpPr>
          <p:cNvPr id="7" name="Printed" hidden="1"/>
          <p:cNvSpPr txBox="1">
            <a:spLocks noChangeArrowheads="1"/>
          </p:cNvSpPr>
          <p:nvPr/>
        </p:nvSpPr>
        <p:spPr bwMode="black">
          <a:xfrm>
            <a:off x="5992719" y="6533759"/>
            <a:ext cx="2790000"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800" baseline="0" dirty="0">
                <a:solidFill>
                  <a:srgbClr val="FFFFFF"/>
                </a:solidFill>
                <a:latin typeface="+mn-lt"/>
              </a:rPr>
              <a:t>Printed</a:t>
            </a:r>
          </a:p>
        </p:txBody>
      </p:sp>
      <p:sp>
        <p:nvSpPr>
          <p:cNvPr id="13314" name="Title"/>
          <p:cNvSpPr>
            <a:spLocks noGrp="1" noChangeArrowheads="1"/>
          </p:cNvSpPr>
          <p:nvPr>
            <p:ph type="ctrTitle"/>
          </p:nvPr>
        </p:nvSpPr>
        <p:spPr>
          <a:xfrm>
            <a:off x="2268266" y="1434419"/>
            <a:ext cx="6231663" cy="492443"/>
          </a:xfrm>
          <a:prstGeom prst="rect">
            <a:avLst/>
          </a:prstGeom>
        </p:spPr>
        <p:txBody>
          <a:bodyPr>
            <a:spAutoFit/>
          </a:bodyPr>
          <a:lstStyle>
            <a:lvl1pPr>
              <a:defRPr sz="3200" b="0" baseline="0">
                <a:solidFill>
                  <a:schemeClr val="accent2"/>
                </a:solidFill>
                <a:latin typeface="+mj-lt"/>
                <a:ea typeface="+mj-ea"/>
              </a:defRPr>
            </a:lvl1pPr>
          </a:lstStyle>
          <a:p>
            <a:pPr lvl="0" latinLnBrk="0"/>
            <a:r>
              <a:rPr lang="en-US" noProof="0"/>
              <a:t>Click to edit Master title style</a:t>
            </a:r>
            <a:endParaRPr lang="en-US" noProof="0" dirty="0"/>
          </a:p>
        </p:txBody>
      </p:sp>
      <p:sp>
        <p:nvSpPr>
          <p:cNvPr id="13315" name="Subtitle"/>
          <p:cNvSpPr>
            <a:spLocks noGrp="1" noChangeArrowheads="1"/>
          </p:cNvSpPr>
          <p:nvPr>
            <p:ph type="subTitle" idx="1"/>
          </p:nvPr>
        </p:nvSpPr>
        <p:spPr>
          <a:xfrm>
            <a:off x="2268266" y="2819401"/>
            <a:ext cx="6231663" cy="215444"/>
          </a:xfrm>
          <a:prstGeom prst="rect">
            <a:avLst/>
          </a:prstGeom>
        </p:spPr>
        <p:txBody>
          <a:bodyPr wrap="square">
            <a:spAutoFit/>
          </a:bodyPr>
          <a:lstStyle>
            <a:lvl1pPr>
              <a:defRPr sz="1400" cap="all" baseline="0">
                <a:solidFill>
                  <a:schemeClr val="bg1"/>
                </a:solidFill>
                <a:latin typeface="+mn-lt"/>
                <a:ea typeface="+mn-ea"/>
              </a:defRPr>
            </a:lvl1pPr>
          </a:lstStyle>
          <a:p>
            <a:pPr lvl="0" latinLnBrk="0"/>
            <a:r>
              <a:rPr lang="en-US" noProof="0"/>
              <a:t>Click to edit Master subtitle style</a:t>
            </a:r>
            <a:endParaRPr lang="en-US" noProof="0" dirty="0"/>
          </a:p>
        </p:txBody>
      </p:sp>
      <p:sp>
        <p:nvSpPr>
          <p:cNvPr id="57" name="Document type" hidden="1"/>
          <p:cNvSpPr txBox="1">
            <a:spLocks noChangeArrowheads="1"/>
          </p:cNvSpPr>
          <p:nvPr/>
        </p:nvSpPr>
        <p:spPr bwMode="gray">
          <a:xfrm>
            <a:off x="2268266" y="3227411"/>
            <a:ext cx="6231663"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00" baseline="0" dirty="0">
                <a:solidFill>
                  <a:schemeClr val="bg1"/>
                </a:solidFill>
                <a:latin typeface="+mn-lt"/>
              </a:rPr>
              <a:t>Document type | Date</a:t>
            </a:r>
          </a:p>
        </p:txBody>
      </p:sp>
      <p:sp>
        <p:nvSpPr>
          <p:cNvPr id="5" name="doc id" hidden="1"/>
          <p:cNvSpPr txBox="1">
            <a:spLocks noChangeArrowheads="1"/>
          </p:cNvSpPr>
          <p:nvPr/>
        </p:nvSpPr>
        <p:spPr bwMode="white">
          <a:xfrm>
            <a:off x="8443913" y="36513"/>
            <a:ext cx="295275" cy="1222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hangingPunct="1">
              <a:defRPr/>
            </a:pPr>
            <a:endParaRPr lang="en-US" sz="800" baseline="0" dirty="0">
              <a:solidFill>
                <a:srgbClr val="FFFFFF"/>
              </a:solidFill>
              <a:latin typeface="+mn-lt"/>
            </a:endParaRPr>
          </a:p>
        </p:txBody>
      </p:sp>
      <p:sp>
        <p:nvSpPr>
          <p:cNvPr id="43" name="LogoImage"/>
          <p:cNvSpPr>
            <a:spLocks noEditPoints="1"/>
          </p:cNvSpPr>
          <p:nvPr/>
        </p:nvSpPr>
        <p:spPr bwMode="white">
          <a:xfrm>
            <a:off x="2269098" y="182925"/>
            <a:ext cx="2176978" cy="238073"/>
          </a:xfrm>
          <a:custGeom>
            <a:avLst/>
            <a:gdLst>
              <a:gd name="T0" fmla="*/ 504 w 5516"/>
              <a:gd name="T1" fmla="*/ 26 h 606"/>
              <a:gd name="T2" fmla="*/ 18 w 5516"/>
              <a:gd name="T3" fmla="*/ 22 h 606"/>
              <a:gd name="T4" fmla="*/ 140 w 5516"/>
              <a:gd name="T5" fmla="*/ 436 h 606"/>
              <a:gd name="T6" fmla="*/ 408 w 5516"/>
              <a:gd name="T7" fmla="*/ 372 h 606"/>
              <a:gd name="T8" fmla="*/ 696 w 5516"/>
              <a:gd name="T9" fmla="*/ 422 h 606"/>
              <a:gd name="T10" fmla="*/ 768 w 5516"/>
              <a:gd name="T11" fmla="*/ 196 h 606"/>
              <a:gd name="T12" fmla="*/ 1272 w 5516"/>
              <a:gd name="T13" fmla="*/ 26 h 606"/>
              <a:gd name="T14" fmla="*/ 1302 w 5516"/>
              <a:gd name="T15" fmla="*/ 338 h 606"/>
              <a:gd name="T16" fmla="*/ 1202 w 5516"/>
              <a:gd name="T17" fmla="*/ 436 h 606"/>
              <a:gd name="T18" fmla="*/ 1030 w 5516"/>
              <a:gd name="T19" fmla="*/ 10 h 606"/>
              <a:gd name="T20" fmla="*/ 960 w 5516"/>
              <a:gd name="T21" fmla="*/ 22 h 606"/>
              <a:gd name="T22" fmla="*/ 804 w 5516"/>
              <a:gd name="T23" fmla="*/ 434 h 606"/>
              <a:gd name="T24" fmla="*/ 930 w 5516"/>
              <a:gd name="T25" fmla="*/ 246 h 606"/>
              <a:gd name="T26" fmla="*/ 1658 w 5516"/>
              <a:gd name="T27" fmla="*/ 342 h 606"/>
              <a:gd name="T28" fmla="*/ 1368 w 5516"/>
              <a:gd name="T29" fmla="*/ 188 h 606"/>
              <a:gd name="T30" fmla="*/ 1514 w 5516"/>
              <a:gd name="T31" fmla="*/ 436 h 606"/>
              <a:gd name="T32" fmla="*/ 1564 w 5516"/>
              <a:gd name="T33" fmla="*/ 434 h 606"/>
              <a:gd name="T34" fmla="*/ 1904 w 5516"/>
              <a:gd name="T35" fmla="*/ 184 h 606"/>
              <a:gd name="T36" fmla="*/ 1728 w 5516"/>
              <a:gd name="T37" fmla="*/ 366 h 606"/>
              <a:gd name="T38" fmla="*/ 2102 w 5516"/>
              <a:gd name="T39" fmla="*/ 192 h 606"/>
              <a:gd name="T40" fmla="*/ 1982 w 5516"/>
              <a:gd name="T41" fmla="*/ 320 h 606"/>
              <a:gd name="T42" fmla="*/ 2478 w 5516"/>
              <a:gd name="T43" fmla="*/ 242 h 606"/>
              <a:gd name="T44" fmla="*/ 2406 w 5516"/>
              <a:gd name="T45" fmla="*/ 390 h 606"/>
              <a:gd name="T46" fmla="*/ 2234 w 5516"/>
              <a:gd name="T47" fmla="*/ 192 h 606"/>
              <a:gd name="T48" fmla="*/ 2478 w 5516"/>
              <a:gd name="T49" fmla="*/ 242 h 606"/>
              <a:gd name="T50" fmla="*/ 2928 w 5516"/>
              <a:gd name="T51" fmla="*/ 448 h 606"/>
              <a:gd name="T52" fmla="*/ 2958 w 5516"/>
              <a:gd name="T53" fmla="*/ 230 h 606"/>
              <a:gd name="T54" fmla="*/ 2716 w 5516"/>
              <a:gd name="T55" fmla="*/ 54 h 606"/>
              <a:gd name="T56" fmla="*/ 2714 w 5516"/>
              <a:gd name="T57" fmla="*/ 36 h 606"/>
              <a:gd name="T58" fmla="*/ 2928 w 5516"/>
              <a:gd name="T59" fmla="*/ 448 h 606"/>
              <a:gd name="T60" fmla="*/ 3388 w 5516"/>
              <a:gd name="T61" fmla="*/ 4 h 606"/>
              <a:gd name="T62" fmla="*/ 3396 w 5516"/>
              <a:gd name="T63" fmla="*/ 366 h 606"/>
              <a:gd name="T64" fmla="*/ 3580 w 5516"/>
              <a:gd name="T65" fmla="*/ 190 h 606"/>
              <a:gd name="T66" fmla="*/ 3502 w 5516"/>
              <a:gd name="T67" fmla="*/ 432 h 606"/>
              <a:gd name="T68" fmla="*/ 4232 w 5516"/>
              <a:gd name="T69" fmla="*/ 348 h 606"/>
              <a:gd name="T70" fmla="*/ 3858 w 5516"/>
              <a:gd name="T71" fmla="*/ 176 h 606"/>
              <a:gd name="T72" fmla="*/ 3758 w 5516"/>
              <a:gd name="T73" fmla="*/ 446 h 606"/>
              <a:gd name="T74" fmla="*/ 3990 w 5516"/>
              <a:gd name="T75" fmla="*/ 282 h 606"/>
              <a:gd name="T76" fmla="*/ 4042 w 5516"/>
              <a:gd name="T77" fmla="*/ 342 h 606"/>
              <a:gd name="T78" fmla="*/ 4134 w 5516"/>
              <a:gd name="T79" fmla="*/ 448 h 606"/>
              <a:gd name="T80" fmla="*/ 4454 w 5516"/>
              <a:gd name="T81" fmla="*/ 202 h 606"/>
              <a:gd name="T82" fmla="*/ 4284 w 5516"/>
              <a:gd name="T83" fmla="*/ 174 h 606"/>
              <a:gd name="T84" fmla="*/ 4432 w 5516"/>
              <a:gd name="T85" fmla="*/ 588 h 606"/>
              <a:gd name="T86" fmla="*/ 4792 w 5516"/>
              <a:gd name="T87" fmla="*/ 382 h 606"/>
              <a:gd name="T88" fmla="*/ 5192 w 5516"/>
              <a:gd name="T89" fmla="*/ 340 h 606"/>
              <a:gd name="T90" fmla="*/ 4902 w 5516"/>
              <a:gd name="T91" fmla="*/ 186 h 606"/>
              <a:gd name="T92" fmla="*/ 4850 w 5516"/>
              <a:gd name="T93" fmla="*/ 274 h 606"/>
              <a:gd name="T94" fmla="*/ 4742 w 5516"/>
              <a:gd name="T95" fmla="*/ 194 h 606"/>
              <a:gd name="T96" fmla="*/ 4794 w 5516"/>
              <a:gd name="T97" fmla="*/ 418 h 606"/>
              <a:gd name="T98" fmla="*/ 5004 w 5516"/>
              <a:gd name="T99" fmla="*/ 338 h 606"/>
              <a:gd name="T100" fmla="*/ 5098 w 5516"/>
              <a:gd name="T101" fmla="*/ 446 h 606"/>
              <a:gd name="T102" fmla="*/ 5418 w 5516"/>
              <a:gd name="T103" fmla="*/ 192 h 606"/>
              <a:gd name="T104" fmla="*/ 5348 w 5516"/>
              <a:gd name="T105" fmla="*/ 180 h 606"/>
              <a:gd name="T106" fmla="*/ 5254 w 5516"/>
              <a:gd name="T107" fmla="*/ 606 h 6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516" h="606">
                <a:moveTo>
                  <a:pt x="366" y="448"/>
                </a:moveTo>
                <a:cubicBezTo>
                  <a:pt x="524" y="448"/>
                  <a:pt x="524" y="448"/>
                  <a:pt x="524" y="448"/>
                </a:cubicBezTo>
                <a:cubicBezTo>
                  <a:pt x="524" y="436"/>
                  <a:pt x="524" y="436"/>
                  <a:pt x="524" y="436"/>
                </a:cubicBezTo>
                <a:cubicBezTo>
                  <a:pt x="486" y="432"/>
                  <a:pt x="470" y="414"/>
                  <a:pt x="468" y="362"/>
                </a:cubicBezTo>
                <a:cubicBezTo>
                  <a:pt x="454" y="86"/>
                  <a:pt x="454" y="86"/>
                  <a:pt x="454" y="86"/>
                </a:cubicBezTo>
                <a:cubicBezTo>
                  <a:pt x="452" y="46"/>
                  <a:pt x="470" y="30"/>
                  <a:pt x="504" y="26"/>
                </a:cubicBezTo>
                <a:cubicBezTo>
                  <a:pt x="504" y="12"/>
                  <a:pt x="504" y="12"/>
                  <a:pt x="504" y="12"/>
                </a:cubicBezTo>
                <a:cubicBezTo>
                  <a:pt x="394" y="12"/>
                  <a:pt x="394" y="12"/>
                  <a:pt x="394" y="12"/>
                </a:cubicBezTo>
                <a:cubicBezTo>
                  <a:pt x="264" y="350"/>
                  <a:pt x="264" y="350"/>
                  <a:pt x="264" y="350"/>
                </a:cubicBezTo>
                <a:cubicBezTo>
                  <a:pt x="132" y="10"/>
                  <a:pt x="132" y="10"/>
                  <a:pt x="132" y="10"/>
                </a:cubicBezTo>
                <a:cubicBezTo>
                  <a:pt x="18" y="10"/>
                  <a:pt x="18" y="10"/>
                  <a:pt x="18" y="10"/>
                </a:cubicBezTo>
                <a:cubicBezTo>
                  <a:pt x="18" y="22"/>
                  <a:pt x="18" y="22"/>
                  <a:pt x="18" y="22"/>
                </a:cubicBezTo>
                <a:cubicBezTo>
                  <a:pt x="40" y="26"/>
                  <a:pt x="74" y="32"/>
                  <a:pt x="72" y="84"/>
                </a:cubicBezTo>
                <a:cubicBezTo>
                  <a:pt x="58" y="352"/>
                  <a:pt x="58" y="352"/>
                  <a:pt x="58" y="352"/>
                </a:cubicBezTo>
                <a:cubicBezTo>
                  <a:pt x="54" y="410"/>
                  <a:pt x="38" y="430"/>
                  <a:pt x="0" y="436"/>
                </a:cubicBezTo>
                <a:cubicBezTo>
                  <a:pt x="0" y="448"/>
                  <a:pt x="0" y="448"/>
                  <a:pt x="0" y="448"/>
                </a:cubicBezTo>
                <a:cubicBezTo>
                  <a:pt x="140" y="448"/>
                  <a:pt x="140" y="448"/>
                  <a:pt x="140" y="448"/>
                </a:cubicBezTo>
                <a:cubicBezTo>
                  <a:pt x="140" y="436"/>
                  <a:pt x="140" y="436"/>
                  <a:pt x="140" y="436"/>
                </a:cubicBezTo>
                <a:cubicBezTo>
                  <a:pt x="98" y="428"/>
                  <a:pt x="84" y="414"/>
                  <a:pt x="88" y="356"/>
                </a:cubicBezTo>
                <a:cubicBezTo>
                  <a:pt x="100" y="86"/>
                  <a:pt x="100" y="86"/>
                  <a:pt x="100" y="86"/>
                </a:cubicBezTo>
                <a:cubicBezTo>
                  <a:pt x="240" y="444"/>
                  <a:pt x="240" y="444"/>
                  <a:pt x="240" y="444"/>
                </a:cubicBezTo>
                <a:cubicBezTo>
                  <a:pt x="258" y="444"/>
                  <a:pt x="258" y="444"/>
                  <a:pt x="258" y="444"/>
                </a:cubicBezTo>
                <a:cubicBezTo>
                  <a:pt x="396" y="86"/>
                  <a:pt x="396" y="86"/>
                  <a:pt x="396" y="86"/>
                </a:cubicBezTo>
                <a:cubicBezTo>
                  <a:pt x="408" y="372"/>
                  <a:pt x="408" y="372"/>
                  <a:pt x="408" y="372"/>
                </a:cubicBezTo>
                <a:cubicBezTo>
                  <a:pt x="410" y="416"/>
                  <a:pt x="398" y="430"/>
                  <a:pt x="366" y="434"/>
                </a:cubicBezTo>
                <a:lnTo>
                  <a:pt x="366" y="448"/>
                </a:lnTo>
                <a:close/>
                <a:moveTo>
                  <a:pt x="670" y="456"/>
                </a:moveTo>
                <a:cubicBezTo>
                  <a:pt x="708" y="456"/>
                  <a:pt x="756" y="440"/>
                  <a:pt x="782" y="412"/>
                </a:cubicBezTo>
                <a:cubicBezTo>
                  <a:pt x="776" y="400"/>
                  <a:pt x="776" y="400"/>
                  <a:pt x="776" y="400"/>
                </a:cubicBezTo>
                <a:cubicBezTo>
                  <a:pt x="750" y="416"/>
                  <a:pt x="722" y="422"/>
                  <a:pt x="696" y="422"/>
                </a:cubicBezTo>
                <a:cubicBezTo>
                  <a:pt x="620" y="422"/>
                  <a:pt x="592" y="358"/>
                  <a:pt x="592" y="290"/>
                </a:cubicBezTo>
                <a:cubicBezTo>
                  <a:pt x="592" y="258"/>
                  <a:pt x="600" y="236"/>
                  <a:pt x="614" y="222"/>
                </a:cubicBezTo>
                <a:cubicBezTo>
                  <a:pt x="626" y="210"/>
                  <a:pt x="646" y="204"/>
                  <a:pt x="664" y="204"/>
                </a:cubicBezTo>
                <a:cubicBezTo>
                  <a:pt x="690" y="204"/>
                  <a:pt x="722" y="214"/>
                  <a:pt x="744" y="244"/>
                </a:cubicBezTo>
                <a:cubicBezTo>
                  <a:pt x="750" y="244"/>
                  <a:pt x="750" y="244"/>
                  <a:pt x="750" y="244"/>
                </a:cubicBezTo>
                <a:cubicBezTo>
                  <a:pt x="758" y="234"/>
                  <a:pt x="766" y="212"/>
                  <a:pt x="768" y="196"/>
                </a:cubicBezTo>
                <a:cubicBezTo>
                  <a:pt x="748" y="180"/>
                  <a:pt x="720" y="172"/>
                  <a:pt x="686" y="172"/>
                </a:cubicBezTo>
                <a:cubicBezTo>
                  <a:pt x="604" y="172"/>
                  <a:pt x="544" y="246"/>
                  <a:pt x="544" y="326"/>
                </a:cubicBezTo>
                <a:cubicBezTo>
                  <a:pt x="540" y="390"/>
                  <a:pt x="576" y="456"/>
                  <a:pt x="670" y="456"/>
                </a:cubicBezTo>
                <a:moveTo>
                  <a:pt x="1272" y="98"/>
                </a:moveTo>
                <a:cubicBezTo>
                  <a:pt x="1292" y="98"/>
                  <a:pt x="1308" y="82"/>
                  <a:pt x="1308" y="62"/>
                </a:cubicBezTo>
                <a:cubicBezTo>
                  <a:pt x="1308" y="42"/>
                  <a:pt x="1292" y="26"/>
                  <a:pt x="1272" y="26"/>
                </a:cubicBezTo>
                <a:cubicBezTo>
                  <a:pt x="1252" y="26"/>
                  <a:pt x="1238" y="42"/>
                  <a:pt x="1238" y="62"/>
                </a:cubicBezTo>
                <a:cubicBezTo>
                  <a:pt x="1238" y="82"/>
                  <a:pt x="1252" y="98"/>
                  <a:pt x="1272" y="98"/>
                </a:cubicBezTo>
                <a:moveTo>
                  <a:pt x="1202" y="448"/>
                </a:moveTo>
                <a:cubicBezTo>
                  <a:pt x="1346" y="448"/>
                  <a:pt x="1346" y="448"/>
                  <a:pt x="1346" y="448"/>
                </a:cubicBezTo>
                <a:cubicBezTo>
                  <a:pt x="1346" y="436"/>
                  <a:pt x="1346" y="436"/>
                  <a:pt x="1346" y="436"/>
                </a:cubicBezTo>
                <a:cubicBezTo>
                  <a:pt x="1304" y="432"/>
                  <a:pt x="1302" y="434"/>
                  <a:pt x="1302" y="338"/>
                </a:cubicBezTo>
                <a:cubicBezTo>
                  <a:pt x="1302" y="176"/>
                  <a:pt x="1302" y="176"/>
                  <a:pt x="1302" y="176"/>
                </a:cubicBezTo>
                <a:cubicBezTo>
                  <a:pt x="1200" y="176"/>
                  <a:pt x="1200" y="176"/>
                  <a:pt x="1200" y="176"/>
                </a:cubicBezTo>
                <a:cubicBezTo>
                  <a:pt x="1200" y="188"/>
                  <a:pt x="1200" y="188"/>
                  <a:pt x="1200" y="188"/>
                </a:cubicBezTo>
                <a:cubicBezTo>
                  <a:pt x="1244" y="190"/>
                  <a:pt x="1250" y="192"/>
                  <a:pt x="1250" y="268"/>
                </a:cubicBezTo>
                <a:cubicBezTo>
                  <a:pt x="1250" y="336"/>
                  <a:pt x="1250" y="336"/>
                  <a:pt x="1250" y="336"/>
                </a:cubicBezTo>
                <a:cubicBezTo>
                  <a:pt x="1250" y="432"/>
                  <a:pt x="1248" y="432"/>
                  <a:pt x="1202" y="436"/>
                </a:cubicBezTo>
                <a:cubicBezTo>
                  <a:pt x="1178" y="434"/>
                  <a:pt x="1154" y="426"/>
                  <a:pt x="1076" y="338"/>
                </a:cubicBezTo>
                <a:cubicBezTo>
                  <a:pt x="1046" y="302"/>
                  <a:pt x="996" y="244"/>
                  <a:pt x="968" y="206"/>
                </a:cubicBezTo>
                <a:cubicBezTo>
                  <a:pt x="1062" y="102"/>
                  <a:pt x="1062" y="102"/>
                  <a:pt x="1062" y="102"/>
                </a:cubicBezTo>
                <a:cubicBezTo>
                  <a:pt x="1108" y="52"/>
                  <a:pt x="1132" y="26"/>
                  <a:pt x="1176" y="24"/>
                </a:cubicBezTo>
                <a:cubicBezTo>
                  <a:pt x="1176" y="10"/>
                  <a:pt x="1176" y="10"/>
                  <a:pt x="1176" y="10"/>
                </a:cubicBezTo>
                <a:cubicBezTo>
                  <a:pt x="1030" y="10"/>
                  <a:pt x="1030" y="10"/>
                  <a:pt x="1030" y="10"/>
                </a:cubicBezTo>
                <a:cubicBezTo>
                  <a:pt x="1030" y="22"/>
                  <a:pt x="1030" y="22"/>
                  <a:pt x="1030" y="22"/>
                </a:cubicBezTo>
                <a:cubicBezTo>
                  <a:pt x="1050" y="26"/>
                  <a:pt x="1056" y="32"/>
                  <a:pt x="1056" y="46"/>
                </a:cubicBezTo>
                <a:cubicBezTo>
                  <a:pt x="1056" y="56"/>
                  <a:pt x="1054" y="72"/>
                  <a:pt x="1026" y="102"/>
                </a:cubicBezTo>
                <a:cubicBezTo>
                  <a:pt x="910" y="230"/>
                  <a:pt x="910" y="230"/>
                  <a:pt x="910" y="230"/>
                </a:cubicBezTo>
                <a:cubicBezTo>
                  <a:pt x="910" y="148"/>
                  <a:pt x="910" y="148"/>
                  <a:pt x="910" y="148"/>
                </a:cubicBezTo>
                <a:cubicBezTo>
                  <a:pt x="910" y="36"/>
                  <a:pt x="916" y="28"/>
                  <a:pt x="960" y="22"/>
                </a:cubicBezTo>
                <a:cubicBezTo>
                  <a:pt x="960" y="8"/>
                  <a:pt x="960" y="8"/>
                  <a:pt x="960" y="8"/>
                </a:cubicBezTo>
                <a:cubicBezTo>
                  <a:pt x="804" y="8"/>
                  <a:pt x="804" y="8"/>
                  <a:pt x="804" y="8"/>
                </a:cubicBezTo>
                <a:cubicBezTo>
                  <a:pt x="804" y="22"/>
                  <a:pt x="804" y="22"/>
                  <a:pt x="804" y="22"/>
                </a:cubicBezTo>
                <a:cubicBezTo>
                  <a:pt x="852" y="26"/>
                  <a:pt x="854" y="36"/>
                  <a:pt x="854" y="148"/>
                </a:cubicBezTo>
                <a:cubicBezTo>
                  <a:pt x="854" y="300"/>
                  <a:pt x="854" y="300"/>
                  <a:pt x="854" y="300"/>
                </a:cubicBezTo>
                <a:cubicBezTo>
                  <a:pt x="854" y="422"/>
                  <a:pt x="850" y="430"/>
                  <a:pt x="804" y="434"/>
                </a:cubicBezTo>
                <a:cubicBezTo>
                  <a:pt x="804" y="446"/>
                  <a:pt x="804" y="446"/>
                  <a:pt x="804" y="446"/>
                </a:cubicBezTo>
                <a:cubicBezTo>
                  <a:pt x="960" y="446"/>
                  <a:pt x="960" y="446"/>
                  <a:pt x="960" y="446"/>
                </a:cubicBezTo>
                <a:cubicBezTo>
                  <a:pt x="960" y="434"/>
                  <a:pt x="960" y="434"/>
                  <a:pt x="960" y="434"/>
                </a:cubicBezTo>
                <a:cubicBezTo>
                  <a:pt x="910" y="428"/>
                  <a:pt x="910" y="424"/>
                  <a:pt x="910" y="292"/>
                </a:cubicBezTo>
                <a:cubicBezTo>
                  <a:pt x="910" y="268"/>
                  <a:pt x="910" y="268"/>
                  <a:pt x="910" y="268"/>
                </a:cubicBezTo>
                <a:cubicBezTo>
                  <a:pt x="930" y="246"/>
                  <a:pt x="930" y="246"/>
                  <a:pt x="930" y="246"/>
                </a:cubicBezTo>
                <a:cubicBezTo>
                  <a:pt x="982" y="310"/>
                  <a:pt x="1038" y="380"/>
                  <a:pt x="1098" y="448"/>
                </a:cubicBezTo>
                <a:cubicBezTo>
                  <a:pt x="1202" y="448"/>
                  <a:pt x="1202" y="448"/>
                  <a:pt x="1202" y="448"/>
                </a:cubicBezTo>
                <a:close/>
                <a:moveTo>
                  <a:pt x="1564" y="448"/>
                </a:moveTo>
                <a:cubicBezTo>
                  <a:pt x="1706" y="448"/>
                  <a:pt x="1706" y="448"/>
                  <a:pt x="1706" y="448"/>
                </a:cubicBezTo>
                <a:cubicBezTo>
                  <a:pt x="1706" y="436"/>
                  <a:pt x="1706" y="436"/>
                  <a:pt x="1706" y="436"/>
                </a:cubicBezTo>
                <a:cubicBezTo>
                  <a:pt x="1658" y="434"/>
                  <a:pt x="1658" y="432"/>
                  <a:pt x="1658" y="342"/>
                </a:cubicBezTo>
                <a:cubicBezTo>
                  <a:pt x="1658" y="280"/>
                  <a:pt x="1658" y="280"/>
                  <a:pt x="1658" y="280"/>
                </a:cubicBezTo>
                <a:cubicBezTo>
                  <a:pt x="1658" y="198"/>
                  <a:pt x="1612" y="172"/>
                  <a:pt x="1570" y="172"/>
                </a:cubicBezTo>
                <a:cubicBezTo>
                  <a:pt x="1534" y="172"/>
                  <a:pt x="1498" y="188"/>
                  <a:pt x="1470" y="224"/>
                </a:cubicBezTo>
                <a:cubicBezTo>
                  <a:pt x="1470" y="176"/>
                  <a:pt x="1470" y="176"/>
                  <a:pt x="1470" y="176"/>
                </a:cubicBezTo>
                <a:cubicBezTo>
                  <a:pt x="1368" y="176"/>
                  <a:pt x="1368" y="176"/>
                  <a:pt x="1368" y="176"/>
                </a:cubicBezTo>
                <a:cubicBezTo>
                  <a:pt x="1368" y="188"/>
                  <a:pt x="1368" y="188"/>
                  <a:pt x="1368" y="188"/>
                </a:cubicBezTo>
                <a:cubicBezTo>
                  <a:pt x="1412" y="190"/>
                  <a:pt x="1418" y="192"/>
                  <a:pt x="1418" y="268"/>
                </a:cubicBezTo>
                <a:cubicBezTo>
                  <a:pt x="1418" y="336"/>
                  <a:pt x="1418" y="336"/>
                  <a:pt x="1418" y="336"/>
                </a:cubicBezTo>
                <a:cubicBezTo>
                  <a:pt x="1418" y="434"/>
                  <a:pt x="1418" y="434"/>
                  <a:pt x="1370" y="436"/>
                </a:cubicBezTo>
                <a:cubicBezTo>
                  <a:pt x="1370" y="448"/>
                  <a:pt x="1370" y="448"/>
                  <a:pt x="1370" y="448"/>
                </a:cubicBezTo>
                <a:cubicBezTo>
                  <a:pt x="1514" y="448"/>
                  <a:pt x="1514" y="448"/>
                  <a:pt x="1514" y="448"/>
                </a:cubicBezTo>
                <a:cubicBezTo>
                  <a:pt x="1514" y="436"/>
                  <a:pt x="1514" y="436"/>
                  <a:pt x="1514" y="436"/>
                </a:cubicBezTo>
                <a:cubicBezTo>
                  <a:pt x="1472" y="432"/>
                  <a:pt x="1470" y="434"/>
                  <a:pt x="1470" y="338"/>
                </a:cubicBezTo>
                <a:cubicBezTo>
                  <a:pt x="1470" y="262"/>
                  <a:pt x="1470" y="262"/>
                  <a:pt x="1470" y="262"/>
                </a:cubicBezTo>
                <a:cubicBezTo>
                  <a:pt x="1470" y="236"/>
                  <a:pt x="1504" y="206"/>
                  <a:pt x="1546" y="206"/>
                </a:cubicBezTo>
                <a:cubicBezTo>
                  <a:pt x="1580" y="206"/>
                  <a:pt x="1606" y="220"/>
                  <a:pt x="1606" y="286"/>
                </a:cubicBezTo>
                <a:cubicBezTo>
                  <a:pt x="1606" y="340"/>
                  <a:pt x="1606" y="340"/>
                  <a:pt x="1606" y="340"/>
                </a:cubicBezTo>
                <a:cubicBezTo>
                  <a:pt x="1606" y="432"/>
                  <a:pt x="1602" y="432"/>
                  <a:pt x="1564" y="434"/>
                </a:cubicBezTo>
                <a:lnTo>
                  <a:pt x="1564" y="448"/>
                </a:lnTo>
                <a:close/>
                <a:moveTo>
                  <a:pt x="1776" y="222"/>
                </a:moveTo>
                <a:cubicBezTo>
                  <a:pt x="1776" y="200"/>
                  <a:pt x="1796" y="188"/>
                  <a:pt x="1822" y="188"/>
                </a:cubicBezTo>
                <a:cubicBezTo>
                  <a:pt x="1874" y="188"/>
                  <a:pt x="1896" y="236"/>
                  <a:pt x="1900" y="252"/>
                </a:cubicBezTo>
                <a:cubicBezTo>
                  <a:pt x="1912" y="252"/>
                  <a:pt x="1912" y="252"/>
                  <a:pt x="1912" y="252"/>
                </a:cubicBezTo>
                <a:cubicBezTo>
                  <a:pt x="1912" y="212"/>
                  <a:pt x="1908" y="188"/>
                  <a:pt x="1904" y="184"/>
                </a:cubicBezTo>
                <a:cubicBezTo>
                  <a:pt x="1900" y="180"/>
                  <a:pt x="1862" y="170"/>
                  <a:pt x="1824" y="170"/>
                </a:cubicBezTo>
                <a:cubicBezTo>
                  <a:pt x="1768" y="170"/>
                  <a:pt x="1734" y="206"/>
                  <a:pt x="1734" y="248"/>
                </a:cubicBezTo>
                <a:cubicBezTo>
                  <a:pt x="1734" y="340"/>
                  <a:pt x="1890" y="322"/>
                  <a:pt x="1890" y="396"/>
                </a:cubicBezTo>
                <a:cubicBezTo>
                  <a:pt x="1890" y="422"/>
                  <a:pt x="1866" y="436"/>
                  <a:pt x="1826" y="436"/>
                </a:cubicBezTo>
                <a:cubicBezTo>
                  <a:pt x="1788" y="436"/>
                  <a:pt x="1754" y="416"/>
                  <a:pt x="1744" y="366"/>
                </a:cubicBezTo>
                <a:cubicBezTo>
                  <a:pt x="1728" y="366"/>
                  <a:pt x="1728" y="366"/>
                  <a:pt x="1728" y="366"/>
                </a:cubicBezTo>
                <a:cubicBezTo>
                  <a:pt x="1728" y="386"/>
                  <a:pt x="1732" y="422"/>
                  <a:pt x="1734" y="428"/>
                </a:cubicBezTo>
                <a:cubicBezTo>
                  <a:pt x="1744" y="446"/>
                  <a:pt x="1788" y="454"/>
                  <a:pt x="1824" y="454"/>
                </a:cubicBezTo>
                <a:cubicBezTo>
                  <a:pt x="1888" y="454"/>
                  <a:pt x="1928" y="416"/>
                  <a:pt x="1928" y="372"/>
                </a:cubicBezTo>
                <a:cubicBezTo>
                  <a:pt x="1932" y="270"/>
                  <a:pt x="1776" y="286"/>
                  <a:pt x="1776" y="222"/>
                </a:cubicBezTo>
                <a:moveTo>
                  <a:pt x="2030" y="270"/>
                </a:moveTo>
                <a:cubicBezTo>
                  <a:pt x="2034" y="220"/>
                  <a:pt x="2058" y="192"/>
                  <a:pt x="2102" y="192"/>
                </a:cubicBezTo>
                <a:cubicBezTo>
                  <a:pt x="2144" y="192"/>
                  <a:pt x="2170" y="220"/>
                  <a:pt x="2172" y="270"/>
                </a:cubicBezTo>
                <a:lnTo>
                  <a:pt x="2030" y="270"/>
                </a:lnTo>
                <a:close/>
                <a:moveTo>
                  <a:pt x="2030" y="290"/>
                </a:moveTo>
                <a:cubicBezTo>
                  <a:pt x="2222" y="290"/>
                  <a:pt x="2222" y="290"/>
                  <a:pt x="2222" y="290"/>
                </a:cubicBezTo>
                <a:cubicBezTo>
                  <a:pt x="2226" y="228"/>
                  <a:pt x="2192" y="168"/>
                  <a:pt x="2114" y="168"/>
                </a:cubicBezTo>
                <a:cubicBezTo>
                  <a:pt x="2034" y="168"/>
                  <a:pt x="1982" y="232"/>
                  <a:pt x="1982" y="320"/>
                </a:cubicBezTo>
                <a:cubicBezTo>
                  <a:pt x="1982" y="388"/>
                  <a:pt x="2018" y="456"/>
                  <a:pt x="2112" y="456"/>
                </a:cubicBezTo>
                <a:cubicBezTo>
                  <a:pt x="2150" y="456"/>
                  <a:pt x="2198" y="440"/>
                  <a:pt x="2224" y="412"/>
                </a:cubicBezTo>
                <a:cubicBezTo>
                  <a:pt x="2218" y="400"/>
                  <a:pt x="2218" y="400"/>
                  <a:pt x="2218" y="400"/>
                </a:cubicBezTo>
                <a:cubicBezTo>
                  <a:pt x="2192" y="416"/>
                  <a:pt x="2164" y="422"/>
                  <a:pt x="2138" y="422"/>
                </a:cubicBezTo>
                <a:cubicBezTo>
                  <a:pt x="2058" y="420"/>
                  <a:pt x="2028" y="352"/>
                  <a:pt x="2030" y="290"/>
                </a:cubicBezTo>
                <a:moveTo>
                  <a:pt x="2478" y="242"/>
                </a:moveTo>
                <a:cubicBezTo>
                  <a:pt x="2490" y="206"/>
                  <a:pt x="2510" y="192"/>
                  <a:pt x="2528" y="192"/>
                </a:cubicBezTo>
                <a:cubicBezTo>
                  <a:pt x="2528" y="180"/>
                  <a:pt x="2528" y="180"/>
                  <a:pt x="2528" y="180"/>
                </a:cubicBezTo>
                <a:cubicBezTo>
                  <a:pt x="2430" y="180"/>
                  <a:pt x="2430" y="180"/>
                  <a:pt x="2430" y="180"/>
                </a:cubicBezTo>
                <a:cubicBezTo>
                  <a:pt x="2430" y="192"/>
                  <a:pt x="2430" y="192"/>
                  <a:pt x="2430" y="192"/>
                </a:cubicBezTo>
                <a:cubicBezTo>
                  <a:pt x="2454" y="194"/>
                  <a:pt x="2466" y="206"/>
                  <a:pt x="2458" y="234"/>
                </a:cubicBezTo>
                <a:cubicBezTo>
                  <a:pt x="2406" y="390"/>
                  <a:pt x="2406" y="390"/>
                  <a:pt x="2406" y="390"/>
                </a:cubicBezTo>
                <a:cubicBezTo>
                  <a:pt x="2354" y="270"/>
                  <a:pt x="2354" y="270"/>
                  <a:pt x="2354" y="270"/>
                </a:cubicBezTo>
                <a:cubicBezTo>
                  <a:pt x="2340" y="238"/>
                  <a:pt x="2334" y="224"/>
                  <a:pt x="2334" y="212"/>
                </a:cubicBezTo>
                <a:cubicBezTo>
                  <a:pt x="2334" y="202"/>
                  <a:pt x="2340" y="196"/>
                  <a:pt x="2360" y="192"/>
                </a:cubicBezTo>
                <a:cubicBezTo>
                  <a:pt x="2360" y="180"/>
                  <a:pt x="2360" y="180"/>
                  <a:pt x="2360" y="180"/>
                </a:cubicBezTo>
                <a:cubicBezTo>
                  <a:pt x="2234" y="180"/>
                  <a:pt x="2234" y="180"/>
                  <a:pt x="2234" y="180"/>
                </a:cubicBezTo>
                <a:cubicBezTo>
                  <a:pt x="2234" y="192"/>
                  <a:pt x="2234" y="192"/>
                  <a:pt x="2234" y="192"/>
                </a:cubicBezTo>
                <a:cubicBezTo>
                  <a:pt x="2266" y="194"/>
                  <a:pt x="2268" y="198"/>
                  <a:pt x="2310" y="292"/>
                </a:cubicBezTo>
                <a:cubicBezTo>
                  <a:pt x="2382" y="450"/>
                  <a:pt x="2382" y="450"/>
                  <a:pt x="2382" y="450"/>
                </a:cubicBezTo>
                <a:cubicBezTo>
                  <a:pt x="2358" y="512"/>
                  <a:pt x="2320" y="546"/>
                  <a:pt x="2242" y="564"/>
                </a:cubicBezTo>
                <a:cubicBezTo>
                  <a:pt x="2246" y="576"/>
                  <a:pt x="2260" y="600"/>
                  <a:pt x="2268" y="606"/>
                </a:cubicBezTo>
                <a:cubicBezTo>
                  <a:pt x="2370" y="564"/>
                  <a:pt x="2390" y="498"/>
                  <a:pt x="2426" y="396"/>
                </a:cubicBezTo>
                <a:lnTo>
                  <a:pt x="2478" y="242"/>
                </a:lnTo>
                <a:close/>
                <a:moveTo>
                  <a:pt x="2844" y="394"/>
                </a:moveTo>
                <a:cubicBezTo>
                  <a:pt x="2822" y="412"/>
                  <a:pt x="2782" y="416"/>
                  <a:pt x="2750" y="416"/>
                </a:cubicBezTo>
                <a:cubicBezTo>
                  <a:pt x="2670" y="416"/>
                  <a:pt x="2606" y="360"/>
                  <a:pt x="2606" y="284"/>
                </a:cubicBezTo>
                <a:cubicBezTo>
                  <a:pt x="2606" y="236"/>
                  <a:pt x="2626" y="206"/>
                  <a:pt x="2658" y="198"/>
                </a:cubicBezTo>
                <a:cubicBezTo>
                  <a:pt x="2698" y="266"/>
                  <a:pt x="2770" y="338"/>
                  <a:pt x="2844" y="394"/>
                </a:cubicBezTo>
                <a:moveTo>
                  <a:pt x="2928" y="448"/>
                </a:moveTo>
                <a:cubicBezTo>
                  <a:pt x="3022" y="448"/>
                  <a:pt x="3022" y="448"/>
                  <a:pt x="3022" y="448"/>
                </a:cubicBezTo>
                <a:cubicBezTo>
                  <a:pt x="3022" y="436"/>
                  <a:pt x="3022" y="436"/>
                  <a:pt x="3022" y="436"/>
                </a:cubicBezTo>
                <a:cubicBezTo>
                  <a:pt x="2992" y="432"/>
                  <a:pt x="2946" y="408"/>
                  <a:pt x="2896" y="372"/>
                </a:cubicBezTo>
                <a:cubicBezTo>
                  <a:pt x="2914" y="342"/>
                  <a:pt x="2918" y="300"/>
                  <a:pt x="2922" y="270"/>
                </a:cubicBezTo>
                <a:cubicBezTo>
                  <a:pt x="2926" y="244"/>
                  <a:pt x="2946" y="244"/>
                  <a:pt x="2958" y="242"/>
                </a:cubicBezTo>
                <a:cubicBezTo>
                  <a:pt x="2958" y="230"/>
                  <a:pt x="2958" y="230"/>
                  <a:pt x="2958" y="230"/>
                </a:cubicBezTo>
                <a:cubicBezTo>
                  <a:pt x="2834" y="230"/>
                  <a:pt x="2834" y="230"/>
                  <a:pt x="2834" y="230"/>
                </a:cubicBezTo>
                <a:cubicBezTo>
                  <a:pt x="2834" y="242"/>
                  <a:pt x="2834" y="242"/>
                  <a:pt x="2834" y="242"/>
                </a:cubicBezTo>
                <a:cubicBezTo>
                  <a:pt x="2864" y="246"/>
                  <a:pt x="2892" y="250"/>
                  <a:pt x="2892" y="294"/>
                </a:cubicBezTo>
                <a:cubicBezTo>
                  <a:pt x="2892" y="318"/>
                  <a:pt x="2888" y="342"/>
                  <a:pt x="2878" y="358"/>
                </a:cubicBezTo>
                <a:cubicBezTo>
                  <a:pt x="2770" y="274"/>
                  <a:pt x="2670" y="156"/>
                  <a:pt x="2670" y="96"/>
                </a:cubicBezTo>
                <a:cubicBezTo>
                  <a:pt x="2670" y="66"/>
                  <a:pt x="2688" y="54"/>
                  <a:pt x="2716" y="54"/>
                </a:cubicBezTo>
                <a:cubicBezTo>
                  <a:pt x="2752" y="54"/>
                  <a:pt x="2784" y="78"/>
                  <a:pt x="2800" y="124"/>
                </a:cubicBezTo>
                <a:cubicBezTo>
                  <a:pt x="2812" y="124"/>
                  <a:pt x="2812" y="124"/>
                  <a:pt x="2812" y="124"/>
                </a:cubicBezTo>
                <a:cubicBezTo>
                  <a:pt x="2810" y="42"/>
                  <a:pt x="2810" y="42"/>
                  <a:pt x="2810" y="42"/>
                </a:cubicBezTo>
                <a:cubicBezTo>
                  <a:pt x="2798" y="42"/>
                  <a:pt x="2798" y="42"/>
                  <a:pt x="2798" y="42"/>
                </a:cubicBezTo>
                <a:cubicBezTo>
                  <a:pt x="2798" y="48"/>
                  <a:pt x="2792" y="52"/>
                  <a:pt x="2788" y="52"/>
                </a:cubicBezTo>
                <a:cubicBezTo>
                  <a:pt x="2772" y="52"/>
                  <a:pt x="2752" y="36"/>
                  <a:pt x="2714" y="36"/>
                </a:cubicBezTo>
                <a:cubicBezTo>
                  <a:pt x="2672" y="36"/>
                  <a:pt x="2630" y="62"/>
                  <a:pt x="2630" y="118"/>
                </a:cubicBezTo>
                <a:cubicBezTo>
                  <a:pt x="2630" y="140"/>
                  <a:pt x="2636" y="160"/>
                  <a:pt x="2648" y="182"/>
                </a:cubicBezTo>
                <a:cubicBezTo>
                  <a:pt x="2592" y="200"/>
                  <a:pt x="2562" y="248"/>
                  <a:pt x="2562" y="304"/>
                </a:cubicBezTo>
                <a:cubicBezTo>
                  <a:pt x="2562" y="406"/>
                  <a:pt x="2640" y="460"/>
                  <a:pt x="2726" y="460"/>
                </a:cubicBezTo>
                <a:cubicBezTo>
                  <a:pt x="2780" y="460"/>
                  <a:pt x="2824" y="444"/>
                  <a:pt x="2862" y="410"/>
                </a:cubicBezTo>
                <a:cubicBezTo>
                  <a:pt x="2888" y="424"/>
                  <a:pt x="2912" y="442"/>
                  <a:pt x="2928" y="448"/>
                </a:cubicBezTo>
                <a:moveTo>
                  <a:pt x="3094" y="212"/>
                </a:moveTo>
                <a:cubicBezTo>
                  <a:pt x="3094" y="88"/>
                  <a:pt x="3154" y="20"/>
                  <a:pt x="3252" y="20"/>
                </a:cubicBezTo>
                <a:cubicBezTo>
                  <a:pt x="3328" y="20"/>
                  <a:pt x="3372" y="58"/>
                  <a:pt x="3392" y="134"/>
                </a:cubicBezTo>
                <a:cubicBezTo>
                  <a:pt x="3404" y="134"/>
                  <a:pt x="3404" y="134"/>
                  <a:pt x="3404" y="134"/>
                </a:cubicBezTo>
                <a:cubicBezTo>
                  <a:pt x="3400" y="4"/>
                  <a:pt x="3400" y="4"/>
                  <a:pt x="3400" y="4"/>
                </a:cubicBezTo>
                <a:cubicBezTo>
                  <a:pt x="3388" y="4"/>
                  <a:pt x="3388" y="4"/>
                  <a:pt x="3388" y="4"/>
                </a:cubicBezTo>
                <a:cubicBezTo>
                  <a:pt x="3384" y="14"/>
                  <a:pt x="3376" y="18"/>
                  <a:pt x="3364" y="18"/>
                </a:cubicBezTo>
                <a:cubicBezTo>
                  <a:pt x="3338" y="18"/>
                  <a:pt x="3314" y="0"/>
                  <a:pt x="3248" y="0"/>
                </a:cubicBezTo>
                <a:cubicBezTo>
                  <a:pt x="3118" y="0"/>
                  <a:pt x="3030" y="102"/>
                  <a:pt x="3030" y="242"/>
                </a:cubicBezTo>
                <a:cubicBezTo>
                  <a:pt x="3030" y="376"/>
                  <a:pt x="3110" y="460"/>
                  <a:pt x="3238" y="460"/>
                </a:cubicBezTo>
                <a:cubicBezTo>
                  <a:pt x="3320" y="460"/>
                  <a:pt x="3384" y="420"/>
                  <a:pt x="3408" y="380"/>
                </a:cubicBezTo>
                <a:cubicBezTo>
                  <a:pt x="3396" y="366"/>
                  <a:pt x="3396" y="366"/>
                  <a:pt x="3396" y="366"/>
                </a:cubicBezTo>
                <a:cubicBezTo>
                  <a:pt x="3370" y="402"/>
                  <a:pt x="3314" y="426"/>
                  <a:pt x="3256" y="426"/>
                </a:cubicBezTo>
                <a:cubicBezTo>
                  <a:pt x="3156" y="426"/>
                  <a:pt x="3094" y="340"/>
                  <a:pt x="3094" y="212"/>
                </a:cubicBezTo>
                <a:moveTo>
                  <a:pt x="3678" y="328"/>
                </a:moveTo>
                <a:cubicBezTo>
                  <a:pt x="3678" y="392"/>
                  <a:pt x="3650" y="430"/>
                  <a:pt x="3592" y="430"/>
                </a:cubicBezTo>
                <a:cubicBezTo>
                  <a:pt x="3542" y="430"/>
                  <a:pt x="3496" y="384"/>
                  <a:pt x="3496" y="292"/>
                </a:cubicBezTo>
                <a:cubicBezTo>
                  <a:pt x="3496" y="226"/>
                  <a:pt x="3528" y="190"/>
                  <a:pt x="3580" y="190"/>
                </a:cubicBezTo>
                <a:cubicBezTo>
                  <a:pt x="3628" y="192"/>
                  <a:pt x="3678" y="238"/>
                  <a:pt x="3678" y="328"/>
                </a:cubicBezTo>
                <a:moveTo>
                  <a:pt x="3732" y="312"/>
                </a:moveTo>
                <a:cubicBezTo>
                  <a:pt x="3732" y="260"/>
                  <a:pt x="3710" y="214"/>
                  <a:pt x="3672" y="190"/>
                </a:cubicBezTo>
                <a:cubicBezTo>
                  <a:pt x="3650" y="176"/>
                  <a:pt x="3620" y="168"/>
                  <a:pt x="3588" y="168"/>
                </a:cubicBezTo>
                <a:cubicBezTo>
                  <a:pt x="3502" y="168"/>
                  <a:pt x="3442" y="230"/>
                  <a:pt x="3442" y="310"/>
                </a:cubicBezTo>
                <a:cubicBezTo>
                  <a:pt x="3442" y="364"/>
                  <a:pt x="3464" y="408"/>
                  <a:pt x="3502" y="432"/>
                </a:cubicBezTo>
                <a:cubicBezTo>
                  <a:pt x="3524" y="446"/>
                  <a:pt x="3554" y="452"/>
                  <a:pt x="3586" y="452"/>
                </a:cubicBezTo>
                <a:cubicBezTo>
                  <a:pt x="3672" y="454"/>
                  <a:pt x="3732" y="394"/>
                  <a:pt x="3732" y="312"/>
                </a:cubicBezTo>
                <a:moveTo>
                  <a:pt x="4136" y="448"/>
                </a:moveTo>
                <a:cubicBezTo>
                  <a:pt x="4280" y="448"/>
                  <a:pt x="4280" y="448"/>
                  <a:pt x="4280" y="448"/>
                </a:cubicBezTo>
                <a:cubicBezTo>
                  <a:pt x="4280" y="436"/>
                  <a:pt x="4280" y="436"/>
                  <a:pt x="4280" y="436"/>
                </a:cubicBezTo>
                <a:cubicBezTo>
                  <a:pt x="4230" y="434"/>
                  <a:pt x="4232" y="426"/>
                  <a:pt x="4232" y="348"/>
                </a:cubicBezTo>
                <a:cubicBezTo>
                  <a:pt x="4232" y="276"/>
                  <a:pt x="4232" y="276"/>
                  <a:pt x="4232" y="276"/>
                </a:cubicBezTo>
                <a:cubicBezTo>
                  <a:pt x="4232" y="200"/>
                  <a:pt x="4190" y="172"/>
                  <a:pt x="4142" y="172"/>
                </a:cubicBezTo>
                <a:cubicBezTo>
                  <a:pt x="4098" y="172"/>
                  <a:pt x="4064" y="196"/>
                  <a:pt x="4038" y="232"/>
                </a:cubicBezTo>
                <a:cubicBezTo>
                  <a:pt x="4028" y="194"/>
                  <a:pt x="4000" y="172"/>
                  <a:pt x="3954" y="172"/>
                </a:cubicBezTo>
                <a:cubicBezTo>
                  <a:pt x="3916" y="172"/>
                  <a:pt x="3880" y="196"/>
                  <a:pt x="3858" y="224"/>
                </a:cubicBezTo>
                <a:cubicBezTo>
                  <a:pt x="3858" y="176"/>
                  <a:pt x="3858" y="176"/>
                  <a:pt x="3858" y="176"/>
                </a:cubicBezTo>
                <a:cubicBezTo>
                  <a:pt x="3756" y="176"/>
                  <a:pt x="3756" y="176"/>
                  <a:pt x="3756" y="176"/>
                </a:cubicBezTo>
                <a:cubicBezTo>
                  <a:pt x="3756" y="188"/>
                  <a:pt x="3756" y="188"/>
                  <a:pt x="3756" y="188"/>
                </a:cubicBezTo>
                <a:cubicBezTo>
                  <a:pt x="3800" y="190"/>
                  <a:pt x="3806" y="192"/>
                  <a:pt x="3806" y="268"/>
                </a:cubicBezTo>
                <a:cubicBezTo>
                  <a:pt x="3806" y="346"/>
                  <a:pt x="3806" y="346"/>
                  <a:pt x="3806" y="346"/>
                </a:cubicBezTo>
                <a:cubicBezTo>
                  <a:pt x="3806" y="434"/>
                  <a:pt x="3804" y="434"/>
                  <a:pt x="3758" y="434"/>
                </a:cubicBezTo>
                <a:cubicBezTo>
                  <a:pt x="3758" y="446"/>
                  <a:pt x="3758" y="446"/>
                  <a:pt x="3758" y="446"/>
                </a:cubicBezTo>
                <a:cubicBezTo>
                  <a:pt x="3902" y="446"/>
                  <a:pt x="3902" y="446"/>
                  <a:pt x="3902" y="446"/>
                </a:cubicBezTo>
                <a:cubicBezTo>
                  <a:pt x="3902" y="434"/>
                  <a:pt x="3902" y="434"/>
                  <a:pt x="3902" y="434"/>
                </a:cubicBezTo>
                <a:cubicBezTo>
                  <a:pt x="3862" y="430"/>
                  <a:pt x="3858" y="430"/>
                  <a:pt x="3858" y="342"/>
                </a:cubicBezTo>
                <a:cubicBezTo>
                  <a:pt x="3858" y="262"/>
                  <a:pt x="3858" y="262"/>
                  <a:pt x="3858" y="262"/>
                </a:cubicBezTo>
                <a:cubicBezTo>
                  <a:pt x="3858" y="234"/>
                  <a:pt x="3894" y="204"/>
                  <a:pt x="3932" y="204"/>
                </a:cubicBezTo>
                <a:cubicBezTo>
                  <a:pt x="3974" y="204"/>
                  <a:pt x="3990" y="226"/>
                  <a:pt x="3990" y="282"/>
                </a:cubicBezTo>
                <a:cubicBezTo>
                  <a:pt x="3990" y="338"/>
                  <a:pt x="3990" y="338"/>
                  <a:pt x="3990" y="338"/>
                </a:cubicBezTo>
                <a:cubicBezTo>
                  <a:pt x="3990" y="428"/>
                  <a:pt x="3988" y="432"/>
                  <a:pt x="3950" y="436"/>
                </a:cubicBezTo>
                <a:cubicBezTo>
                  <a:pt x="3950" y="448"/>
                  <a:pt x="3950" y="448"/>
                  <a:pt x="3950" y="448"/>
                </a:cubicBezTo>
                <a:cubicBezTo>
                  <a:pt x="4086" y="448"/>
                  <a:pt x="4086" y="448"/>
                  <a:pt x="4086" y="448"/>
                </a:cubicBezTo>
                <a:cubicBezTo>
                  <a:pt x="4086" y="436"/>
                  <a:pt x="4086" y="436"/>
                  <a:pt x="4086" y="436"/>
                </a:cubicBezTo>
                <a:cubicBezTo>
                  <a:pt x="4040" y="432"/>
                  <a:pt x="4042" y="428"/>
                  <a:pt x="4042" y="342"/>
                </a:cubicBezTo>
                <a:cubicBezTo>
                  <a:pt x="4042" y="264"/>
                  <a:pt x="4042" y="264"/>
                  <a:pt x="4042" y="264"/>
                </a:cubicBezTo>
                <a:cubicBezTo>
                  <a:pt x="4042" y="236"/>
                  <a:pt x="4078" y="206"/>
                  <a:pt x="4118" y="206"/>
                </a:cubicBezTo>
                <a:cubicBezTo>
                  <a:pt x="4152" y="206"/>
                  <a:pt x="4174" y="226"/>
                  <a:pt x="4174" y="284"/>
                </a:cubicBezTo>
                <a:cubicBezTo>
                  <a:pt x="4174" y="346"/>
                  <a:pt x="4174" y="346"/>
                  <a:pt x="4174" y="346"/>
                </a:cubicBezTo>
                <a:cubicBezTo>
                  <a:pt x="4174" y="428"/>
                  <a:pt x="4174" y="432"/>
                  <a:pt x="4134" y="436"/>
                </a:cubicBezTo>
                <a:cubicBezTo>
                  <a:pt x="4134" y="448"/>
                  <a:pt x="4134" y="448"/>
                  <a:pt x="4134" y="448"/>
                </a:cubicBezTo>
                <a:lnTo>
                  <a:pt x="4136" y="448"/>
                </a:lnTo>
                <a:close/>
                <a:moveTo>
                  <a:pt x="4546" y="316"/>
                </a:moveTo>
                <a:cubicBezTo>
                  <a:pt x="4546" y="388"/>
                  <a:pt x="4516" y="432"/>
                  <a:pt x="4460" y="432"/>
                </a:cubicBezTo>
                <a:cubicBezTo>
                  <a:pt x="4424" y="432"/>
                  <a:pt x="4384" y="412"/>
                  <a:pt x="4384" y="384"/>
                </a:cubicBezTo>
                <a:cubicBezTo>
                  <a:pt x="4384" y="248"/>
                  <a:pt x="4384" y="248"/>
                  <a:pt x="4384" y="248"/>
                </a:cubicBezTo>
                <a:cubicBezTo>
                  <a:pt x="4384" y="226"/>
                  <a:pt x="4416" y="202"/>
                  <a:pt x="4454" y="202"/>
                </a:cubicBezTo>
                <a:cubicBezTo>
                  <a:pt x="4510" y="206"/>
                  <a:pt x="4546" y="248"/>
                  <a:pt x="4546" y="316"/>
                </a:cubicBezTo>
                <a:moveTo>
                  <a:pt x="4600" y="310"/>
                </a:moveTo>
                <a:cubicBezTo>
                  <a:pt x="4600" y="230"/>
                  <a:pt x="4548" y="170"/>
                  <a:pt x="4478" y="170"/>
                </a:cubicBezTo>
                <a:cubicBezTo>
                  <a:pt x="4438" y="170"/>
                  <a:pt x="4406" y="188"/>
                  <a:pt x="4384" y="214"/>
                </a:cubicBezTo>
                <a:cubicBezTo>
                  <a:pt x="4384" y="174"/>
                  <a:pt x="4384" y="174"/>
                  <a:pt x="4384" y="174"/>
                </a:cubicBezTo>
                <a:cubicBezTo>
                  <a:pt x="4284" y="174"/>
                  <a:pt x="4284" y="174"/>
                  <a:pt x="4284" y="174"/>
                </a:cubicBezTo>
                <a:cubicBezTo>
                  <a:pt x="4284" y="186"/>
                  <a:pt x="4284" y="186"/>
                  <a:pt x="4284" y="186"/>
                </a:cubicBezTo>
                <a:cubicBezTo>
                  <a:pt x="4326" y="188"/>
                  <a:pt x="4332" y="190"/>
                  <a:pt x="4332" y="280"/>
                </a:cubicBezTo>
                <a:cubicBezTo>
                  <a:pt x="4332" y="466"/>
                  <a:pt x="4332" y="466"/>
                  <a:pt x="4332" y="466"/>
                </a:cubicBezTo>
                <a:cubicBezTo>
                  <a:pt x="4332" y="564"/>
                  <a:pt x="4334" y="570"/>
                  <a:pt x="4286" y="574"/>
                </a:cubicBezTo>
                <a:cubicBezTo>
                  <a:pt x="4286" y="588"/>
                  <a:pt x="4286" y="588"/>
                  <a:pt x="4286" y="588"/>
                </a:cubicBezTo>
                <a:cubicBezTo>
                  <a:pt x="4432" y="588"/>
                  <a:pt x="4432" y="588"/>
                  <a:pt x="4432" y="588"/>
                </a:cubicBezTo>
                <a:cubicBezTo>
                  <a:pt x="4432" y="574"/>
                  <a:pt x="4432" y="574"/>
                  <a:pt x="4432" y="574"/>
                </a:cubicBezTo>
                <a:cubicBezTo>
                  <a:pt x="4380" y="572"/>
                  <a:pt x="4384" y="564"/>
                  <a:pt x="4384" y="462"/>
                </a:cubicBezTo>
                <a:cubicBezTo>
                  <a:pt x="4384" y="424"/>
                  <a:pt x="4384" y="424"/>
                  <a:pt x="4384" y="424"/>
                </a:cubicBezTo>
                <a:cubicBezTo>
                  <a:pt x="4404" y="444"/>
                  <a:pt x="4436" y="454"/>
                  <a:pt x="4466" y="454"/>
                </a:cubicBezTo>
                <a:cubicBezTo>
                  <a:pt x="4548" y="454"/>
                  <a:pt x="4600" y="392"/>
                  <a:pt x="4600" y="310"/>
                </a:cubicBezTo>
                <a:moveTo>
                  <a:pt x="4792" y="382"/>
                </a:moveTo>
                <a:cubicBezTo>
                  <a:pt x="4792" y="404"/>
                  <a:pt x="4762" y="424"/>
                  <a:pt x="4736" y="424"/>
                </a:cubicBezTo>
                <a:cubicBezTo>
                  <a:pt x="4712" y="424"/>
                  <a:pt x="4694" y="410"/>
                  <a:pt x="4694" y="378"/>
                </a:cubicBezTo>
                <a:cubicBezTo>
                  <a:pt x="4694" y="322"/>
                  <a:pt x="4752" y="328"/>
                  <a:pt x="4792" y="306"/>
                </a:cubicBezTo>
                <a:cubicBezTo>
                  <a:pt x="4792" y="382"/>
                  <a:pt x="4792" y="382"/>
                  <a:pt x="4792" y="382"/>
                </a:cubicBezTo>
                <a:close/>
                <a:moveTo>
                  <a:pt x="5240" y="434"/>
                </a:moveTo>
                <a:cubicBezTo>
                  <a:pt x="5192" y="432"/>
                  <a:pt x="5192" y="430"/>
                  <a:pt x="5192" y="340"/>
                </a:cubicBezTo>
                <a:cubicBezTo>
                  <a:pt x="5192" y="278"/>
                  <a:pt x="5192" y="278"/>
                  <a:pt x="5192" y="278"/>
                </a:cubicBezTo>
                <a:cubicBezTo>
                  <a:pt x="5192" y="196"/>
                  <a:pt x="5146" y="170"/>
                  <a:pt x="5104" y="170"/>
                </a:cubicBezTo>
                <a:cubicBezTo>
                  <a:pt x="5068" y="170"/>
                  <a:pt x="5032" y="186"/>
                  <a:pt x="5004" y="222"/>
                </a:cubicBezTo>
                <a:cubicBezTo>
                  <a:pt x="5004" y="174"/>
                  <a:pt x="5004" y="174"/>
                  <a:pt x="5004" y="174"/>
                </a:cubicBezTo>
                <a:cubicBezTo>
                  <a:pt x="4902" y="174"/>
                  <a:pt x="4902" y="174"/>
                  <a:pt x="4902" y="174"/>
                </a:cubicBezTo>
                <a:cubicBezTo>
                  <a:pt x="4902" y="186"/>
                  <a:pt x="4902" y="186"/>
                  <a:pt x="4902" y="186"/>
                </a:cubicBezTo>
                <a:cubicBezTo>
                  <a:pt x="4946" y="188"/>
                  <a:pt x="4952" y="190"/>
                  <a:pt x="4952" y="266"/>
                </a:cubicBezTo>
                <a:cubicBezTo>
                  <a:pt x="4952" y="334"/>
                  <a:pt x="4952" y="334"/>
                  <a:pt x="4952" y="334"/>
                </a:cubicBezTo>
                <a:cubicBezTo>
                  <a:pt x="4952" y="430"/>
                  <a:pt x="4952" y="432"/>
                  <a:pt x="4904" y="434"/>
                </a:cubicBezTo>
                <a:cubicBezTo>
                  <a:pt x="4892" y="434"/>
                  <a:pt x="4892" y="434"/>
                  <a:pt x="4892" y="434"/>
                </a:cubicBezTo>
                <a:cubicBezTo>
                  <a:pt x="4854" y="434"/>
                  <a:pt x="4850" y="422"/>
                  <a:pt x="4850" y="366"/>
                </a:cubicBezTo>
                <a:cubicBezTo>
                  <a:pt x="4850" y="274"/>
                  <a:pt x="4850" y="274"/>
                  <a:pt x="4850" y="274"/>
                </a:cubicBezTo>
                <a:cubicBezTo>
                  <a:pt x="4850" y="256"/>
                  <a:pt x="4848" y="240"/>
                  <a:pt x="4844" y="228"/>
                </a:cubicBezTo>
                <a:cubicBezTo>
                  <a:pt x="4830" y="186"/>
                  <a:pt x="4796" y="170"/>
                  <a:pt x="4748" y="170"/>
                </a:cubicBezTo>
                <a:cubicBezTo>
                  <a:pt x="4718" y="170"/>
                  <a:pt x="4674" y="180"/>
                  <a:pt x="4650" y="202"/>
                </a:cubicBezTo>
                <a:cubicBezTo>
                  <a:pt x="4652" y="214"/>
                  <a:pt x="4664" y="240"/>
                  <a:pt x="4670" y="248"/>
                </a:cubicBezTo>
                <a:cubicBezTo>
                  <a:pt x="4676" y="246"/>
                  <a:pt x="4676" y="246"/>
                  <a:pt x="4676" y="246"/>
                </a:cubicBezTo>
                <a:cubicBezTo>
                  <a:pt x="4688" y="216"/>
                  <a:pt x="4708" y="194"/>
                  <a:pt x="4742" y="194"/>
                </a:cubicBezTo>
                <a:cubicBezTo>
                  <a:pt x="4778" y="194"/>
                  <a:pt x="4794" y="220"/>
                  <a:pt x="4794" y="250"/>
                </a:cubicBezTo>
                <a:cubicBezTo>
                  <a:pt x="4794" y="282"/>
                  <a:pt x="4794" y="282"/>
                  <a:pt x="4794" y="282"/>
                </a:cubicBezTo>
                <a:cubicBezTo>
                  <a:pt x="4794" y="302"/>
                  <a:pt x="4702" y="306"/>
                  <a:pt x="4664" y="338"/>
                </a:cubicBezTo>
                <a:cubicBezTo>
                  <a:pt x="4652" y="350"/>
                  <a:pt x="4642" y="364"/>
                  <a:pt x="4642" y="384"/>
                </a:cubicBezTo>
                <a:cubicBezTo>
                  <a:pt x="4642" y="426"/>
                  <a:pt x="4672" y="456"/>
                  <a:pt x="4716" y="456"/>
                </a:cubicBezTo>
                <a:cubicBezTo>
                  <a:pt x="4744" y="456"/>
                  <a:pt x="4768" y="446"/>
                  <a:pt x="4794" y="418"/>
                </a:cubicBezTo>
                <a:cubicBezTo>
                  <a:pt x="4798" y="438"/>
                  <a:pt x="4814" y="448"/>
                  <a:pt x="4842" y="448"/>
                </a:cubicBezTo>
                <a:cubicBezTo>
                  <a:pt x="4906" y="448"/>
                  <a:pt x="4906" y="448"/>
                  <a:pt x="4906" y="448"/>
                </a:cubicBezTo>
                <a:cubicBezTo>
                  <a:pt x="4906" y="448"/>
                  <a:pt x="4906" y="448"/>
                  <a:pt x="4906" y="448"/>
                </a:cubicBezTo>
                <a:cubicBezTo>
                  <a:pt x="5048" y="448"/>
                  <a:pt x="5048" y="448"/>
                  <a:pt x="5048" y="448"/>
                </a:cubicBezTo>
                <a:cubicBezTo>
                  <a:pt x="5048" y="436"/>
                  <a:pt x="5048" y="436"/>
                  <a:pt x="5048" y="436"/>
                </a:cubicBezTo>
                <a:cubicBezTo>
                  <a:pt x="5006" y="432"/>
                  <a:pt x="5004" y="434"/>
                  <a:pt x="5004" y="338"/>
                </a:cubicBezTo>
                <a:cubicBezTo>
                  <a:pt x="5004" y="262"/>
                  <a:pt x="5004" y="262"/>
                  <a:pt x="5004" y="262"/>
                </a:cubicBezTo>
                <a:cubicBezTo>
                  <a:pt x="5004" y="236"/>
                  <a:pt x="5038" y="206"/>
                  <a:pt x="5080" y="206"/>
                </a:cubicBezTo>
                <a:cubicBezTo>
                  <a:pt x="5114" y="206"/>
                  <a:pt x="5140" y="220"/>
                  <a:pt x="5140" y="286"/>
                </a:cubicBezTo>
                <a:cubicBezTo>
                  <a:pt x="5140" y="340"/>
                  <a:pt x="5140" y="340"/>
                  <a:pt x="5140" y="340"/>
                </a:cubicBezTo>
                <a:cubicBezTo>
                  <a:pt x="5140" y="432"/>
                  <a:pt x="5136" y="432"/>
                  <a:pt x="5098" y="434"/>
                </a:cubicBezTo>
                <a:cubicBezTo>
                  <a:pt x="5098" y="446"/>
                  <a:pt x="5098" y="446"/>
                  <a:pt x="5098" y="446"/>
                </a:cubicBezTo>
                <a:cubicBezTo>
                  <a:pt x="5240" y="446"/>
                  <a:pt x="5240" y="446"/>
                  <a:pt x="5240" y="446"/>
                </a:cubicBezTo>
                <a:lnTo>
                  <a:pt x="5240" y="434"/>
                </a:lnTo>
                <a:close/>
                <a:moveTo>
                  <a:pt x="5516" y="192"/>
                </a:moveTo>
                <a:cubicBezTo>
                  <a:pt x="5516" y="180"/>
                  <a:pt x="5516" y="180"/>
                  <a:pt x="5516" y="180"/>
                </a:cubicBezTo>
                <a:cubicBezTo>
                  <a:pt x="5418" y="180"/>
                  <a:pt x="5418" y="180"/>
                  <a:pt x="5418" y="180"/>
                </a:cubicBezTo>
                <a:cubicBezTo>
                  <a:pt x="5418" y="192"/>
                  <a:pt x="5418" y="192"/>
                  <a:pt x="5418" y="192"/>
                </a:cubicBezTo>
                <a:cubicBezTo>
                  <a:pt x="5442" y="194"/>
                  <a:pt x="5454" y="206"/>
                  <a:pt x="5446" y="234"/>
                </a:cubicBezTo>
                <a:cubicBezTo>
                  <a:pt x="5394" y="390"/>
                  <a:pt x="5394" y="390"/>
                  <a:pt x="5394" y="390"/>
                </a:cubicBezTo>
                <a:cubicBezTo>
                  <a:pt x="5342" y="270"/>
                  <a:pt x="5342" y="270"/>
                  <a:pt x="5342" y="270"/>
                </a:cubicBezTo>
                <a:cubicBezTo>
                  <a:pt x="5328" y="238"/>
                  <a:pt x="5322" y="224"/>
                  <a:pt x="5322" y="212"/>
                </a:cubicBezTo>
                <a:cubicBezTo>
                  <a:pt x="5322" y="202"/>
                  <a:pt x="5328" y="196"/>
                  <a:pt x="5348" y="192"/>
                </a:cubicBezTo>
                <a:cubicBezTo>
                  <a:pt x="5348" y="180"/>
                  <a:pt x="5348" y="180"/>
                  <a:pt x="5348" y="180"/>
                </a:cubicBezTo>
                <a:cubicBezTo>
                  <a:pt x="5220" y="180"/>
                  <a:pt x="5220" y="180"/>
                  <a:pt x="5220" y="180"/>
                </a:cubicBezTo>
                <a:cubicBezTo>
                  <a:pt x="5220" y="192"/>
                  <a:pt x="5220" y="192"/>
                  <a:pt x="5220" y="192"/>
                </a:cubicBezTo>
                <a:cubicBezTo>
                  <a:pt x="5252" y="194"/>
                  <a:pt x="5254" y="198"/>
                  <a:pt x="5296" y="292"/>
                </a:cubicBezTo>
                <a:cubicBezTo>
                  <a:pt x="5368" y="450"/>
                  <a:pt x="5368" y="450"/>
                  <a:pt x="5368" y="450"/>
                </a:cubicBezTo>
                <a:cubicBezTo>
                  <a:pt x="5344" y="512"/>
                  <a:pt x="5306" y="546"/>
                  <a:pt x="5228" y="564"/>
                </a:cubicBezTo>
                <a:cubicBezTo>
                  <a:pt x="5232" y="576"/>
                  <a:pt x="5246" y="600"/>
                  <a:pt x="5254" y="606"/>
                </a:cubicBezTo>
                <a:cubicBezTo>
                  <a:pt x="5356" y="564"/>
                  <a:pt x="5376" y="498"/>
                  <a:pt x="5412" y="396"/>
                </a:cubicBezTo>
                <a:cubicBezTo>
                  <a:pt x="5466" y="242"/>
                  <a:pt x="5466" y="242"/>
                  <a:pt x="5466" y="242"/>
                </a:cubicBezTo>
                <a:cubicBezTo>
                  <a:pt x="5478" y="206"/>
                  <a:pt x="5498" y="192"/>
                  <a:pt x="5516" y="192"/>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600" kern="1200">
                <a:solidFill>
                  <a:schemeClr val="tx1"/>
                </a:solidFill>
                <a:latin typeface="Arial" charset="0"/>
                <a:ea typeface="+mn-ea"/>
                <a:cs typeface="+mn-cs"/>
              </a:defRPr>
            </a:lvl1pPr>
            <a:lvl2pPr marL="457200" algn="l" rtl="0" fontAlgn="base">
              <a:spcBef>
                <a:spcPct val="0"/>
              </a:spcBef>
              <a:spcAft>
                <a:spcPct val="0"/>
              </a:spcAft>
              <a:defRPr sz="1600" kern="1200">
                <a:solidFill>
                  <a:schemeClr val="tx1"/>
                </a:solidFill>
                <a:latin typeface="Arial" charset="0"/>
                <a:ea typeface="+mn-ea"/>
                <a:cs typeface="+mn-cs"/>
              </a:defRPr>
            </a:lvl2pPr>
            <a:lvl3pPr marL="914400" algn="l" rtl="0" fontAlgn="base">
              <a:spcBef>
                <a:spcPct val="0"/>
              </a:spcBef>
              <a:spcAft>
                <a:spcPct val="0"/>
              </a:spcAft>
              <a:defRPr sz="1600" kern="1200">
                <a:solidFill>
                  <a:schemeClr val="tx1"/>
                </a:solidFill>
                <a:latin typeface="Arial" charset="0"/>
                <a:ea typeface="+mn-ea"/>
                <a:cs typeface="+mn-cs"/>
              </a:defRPr>
            </a:lvl3pPr>
            <a:lvl4pPr marL="1371600" algn="l" rtl="0" fontAlgn="base">
              <a:spcBef>
                <a:spcPct val="0"/>
              </a:spcBef>
              <a:spcAft>
                <a:spcPct val="0"/>
              </a:spcAft>
              <a:defRPr sz="1600" kern="1200">
                <a:solidFill>
                  <a:schemeClr val="tx1"/>
                </a:solidFill>
                <a:latin typeface="Arial" charset="0"/>
                <a:ea typeface="+mn-ea"/>
                <a:cs typeface="+mn-cs"/>
              </a:defRPr>
            </a:lvl4pPr>
            <a:lvl5pPr marL="1828800" algn="l" rtl="0" fontAlgn="base">
              <a:spcBef>
                <a:spcPct val="0"/>
              </a:spcBef>
              <a:spcAft>
                <a:spcPct val="0"/>
              </a:spcAft>
              <a:defRPr sz="1600" kern="1200">
                <a:solidFill>
                  <a:schemeClr val="tx1"/>
                </a:solidFill>
                <a:latin typeface="Arial" charset="0"/>
                <a:ea typeface="+mn-ea"/>
                <a:cs typeface="+mn-cs"/>
              </a:defRPr>
            </a:lvl5pPr>
            <a:lvl6pPr marL="2286000" algn="l" defTabSz="914400" rtl="0" eaLnBrk="1" latinLnBrk="0" hangingPunct="1">
              <a:defRPr sz="1600" kern="1200">
                <a:solidFill>
                  <a:schemeClr val="tx1"/>
                </a:solidFill>
                <a:latin typeface="Arial" charset="0"/>
                <a:ea typeface="+mn-ea"/>
                <a:cs typeface="+mn-cs"/>
              </a:defRPr>
            </a:lvl6pPr>
            <a:lvl7pPr marL="2743200" algn="l" defTabSz="914400" rtl="0" eaLnBrk="1" latinLnBrk="0" hangingPunct="1">
              <a:defRPr sz="1600" kern="1200">
                <a:solidFill>
                  <a:schemeClr val="tx1"/>
                </a:solidFill>
                <a:latin typeface="Arial" charset="0"/>
                <a:ea typeface="+mn-ea"/>
                <a:cs typeface="+mn-cs"/>
              </a:defRPr>
            </a:lvl7pPr>
            <a:lvl8pPr marL="3200400" algn="l" defTabSz="914400" rtl="0" eaLnBrk="1" latinLnBrk="0" hangingPunct="1">
              <a:defRPr sz="1600" kern="1200">
                <a:solidFill>
                  <a:schemeClr val="tx1"/>
                </a:solidFill>
                <a:latin typeface="Arial" charset="0"/>
                <a:ea typeface="+mn-ea"/>
                <a:cs typeface="+mn-cs"/>
              </a:defRPr>
            </a:lvl8pPr>
            <a:lvl9pPr marL="3657600" algn="l" defTabSz="914400" rtl="0" eaLnBrk="1" latinLnBrk="0" hangingPunct="1">
              <a:defRPr sz="1600" kern="1200">
                <a:solidFill>
                  <a:schemeClr val="tx1"/>
                </a:solidFill>
                <a:latin typeface="Arial" charset="0"/>
                <a:ea typeface="+mn-ea"/>
                <a:cs typeface="+mn-cs"/>
              </a:defRPr>
            </a:lvl9pPr>
          </a:lstStyle>
          <a:p>
            <a:endParaRPr lang="en-US" baseline="0" dirty="0">
              <a:solidFill>
                <a:srgbClr val="000000"/>
              </a:solidFill>
              <a:latin typeface="+mn-lt"/>
            </a:endParaRPr>
          </a:p>
        </p:txBody>
      </p:sp>
      <p:sp>
        <p:nvSpPr>
          <p:cNvPr id="27" name="Disclaimer-English (United States)" hidden="1"/>
          <p:cNvSpPr>
            <a:spLocks noChangeArrowheads="1"/>
          </p:cNvSpPr>
          <p:nvPr/>
        </p:nvSpPr>
        <p:spPr bwMode="black">
          <a:xfrm>
            <a:off x="2268266" y="6287785"/>
            <a:ext cx="3544453" cy="36908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t" anchorCtr="0">
            <a:noAutofit/>
          </a:bodyPr>
          <a:lstStyle/>
          <a:p>
            <a:pPr defTabSz="804863" eaLnBrk="0" hangingPunct="0"/>
            <a:r>
              <a:rPr lang="en-US" sz="800" baseline="0" dirty="0">
                <a:solidFill>
                  <a:srgbClr val="FFFFFF"/>
                </a:solidFill>
                <a:latin typeface="+mn-lt"/>
              </a:rPr>
              <a:t>CONFIDENTIAL AND PROPRIETARY</a:t>
            </a:r>
          </a:p>
          <a:p>
            <a:pPr defTabSz="804863" eaLnBrk="0" hangingPunct="0"/>
            <a:r>
              <a:rPr lang="en-US" sz="800" baseline="0" dirty="0">
                <a:solidFill>
                  <a:srgbClr val="FFFFFF"/>
                </a:solidFill>
                <a:latin typeface="+mn-lt"/>
              </a:rPr>
              <a:t>Any use of this material without specific permission of McKinsey &amp; Company is strictly prohibited</a:t>
            </a:r>
          </a:p>
        </p:txBody>
      </p:sp>
    </p:spTree>
    <p:extLst>
      <p:ext uri="{BB962C8B-B14F-4D97-AF65-F5344CB8AC3E}">
        <p14:creationId xmlns:p14="http://schemas.microsoft.com/office/powerpoint/2010/main" val="16550103"/>
      </p:ext>
    </p:extLst>
  </p:cSld>
  <p:clrMapOvr>
    <a:masterClrMapping/>
  </p:clrMapOvr>
  <p:extLst mod="1">
    <p:ext uri="{DCECCB84-F9BA-43D5-87BE-67443E8EF086}">
      <p15:sldGuideLst xmlns:p15="http://schemas.microsoft.com/office/powerpoint/2012/main">
        <p15:guide id="1" orient="horz" pos="2117">
          <p15:clr>
            <a:srgbClr val="FBAE40"/>
          </p15:clr>
        </p15:guide>
        <p15:guide id="2" pos="1416">
          <p15:clr>
            <a:srgbClr val="FBAE40"/>
          </p15:clr>
        </p15:guide>
      </p15:sldGuideLst>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6E228F5-5CF1-42E1-9748-97D7582A107A}"/>
              </a:ext>
            </a:extLst>
          </p:cNvPr>
          <p:cNvGraphicFramePr>
            <a:graphicFrameLocks noChangeAspect="1"/>
          </p:cNvGraphicFramePr>
          <p:nvPr>
            <p:custDataLst>
              <p:tags r:id="rId2"/>
            </p:custDataLst>
            <p:extLst>
              <p:ext uri="{D42A27DB-BD31-4B8C-83A1-F6EECF244321}">
                <p14:modId xmlns:p14="http://schemas.microsoft.com/office/powerpoint/2010/main" val="263928460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6388" name="think-cell Slide" r:id="rId5" imgW="353" imgH="353" progId="TCLayout.ActiveDocument.1">
                  <p:embed/>
                </p:oleObj>
              </mc:Choice>
              <mc:Fallback>
                <p:oleObj name="think-cell Slide" r:id="rId5" imgW="353" imgH="353" progId="TCLayout.ActiveDocument.1">
                  <p:embed/>
                  <p:pic>
                    <p:nvPicPr>
                      <p:cNvPr id="3" name="Object 2" hidden="1">
                        <a:extLst>
                          <a:ext uri="{FF2B5EF4-FFF2-40B4-BE49-F238E27FC236}">
                            <a16:creationId xmlns:a16="http://schemas.microsoft.com/office/drawing/2014/main" id="{C6E228F5-5CF1-42E1-9748-97D7582A107A}"/>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2. Slide Title"/>
          <p:cNvSpPr>
            <a:spLocks noGrp="1"/>
          </p:cNvSpPr>
          <p:nvPr>
            <p:ph type="title"/>
          </p:nvPr>
        </p:nvSpPr>
        <p:spPr bwMode="auto"/>
        <p:txBody>
          <a:bodyPr/>
          <a:lstStyle/>
          <a:p>
            <a:r>
              <a:rPr lang="en-US"/>
              <a:t>Click to edit Master title style</a:t>
            </a:r>
            <a:endParaRPr lang="en-US" dirty="0"/>
          </a:p>
        </p:txBody>
      </p:sp>
      <p:sp>
        <p:nvSpPr>
          <p:cNvPr id="8" name="Slide Number"/>
          <p:cNvSpPr txBox="1">
            <a:spLocks/>
          </p:cNvSpPr>
          <p:nvPr/>
        </p:nvSpPr>
        <p:spPr bwMode="auto">
          <a:xfrm>
            <a:off x="8564563" y="6508272"/>
            <a:ext cx="125034" cy="123111"/>
          </a:xfrm>
          <a:prstGeom prst="rect">
            <a:avLst/>
          </a:prstGeom>
        </p:spPr>
        <p:txBody>
          <a:bodyPr vert="horz" wrap="none" lIns="0" tIns="0" rIns="0" bIns="0" rtlCol="0" anchor="ctr">
            <a:spAutoFit/>
          </a:bodyPr>
          <a:lstStyle>
            <a:defPPr>
              <a:defRPr lang="en-US"/>
            </a:defPPr>
            <a:lvl1pPr>
              <a:defRPr sz="1000" baseline="0">
                <a:latin typeface="+mn-lt"/>
              </a:defRPr>
            </a:lvl1pPr>
          </a:lstStyle>
          <a:p>
            <a:fld id="{42C328C1-A84F-4A39-A664-DBA00541A8C6}" type="slidenum">
              <a:rPr lang="en-US" sz="800" baseline="0" smtClean="0">
                <a:solidFill>
                  <a:srgbClr val="808080"/>
                </a:solidFill>
                <a:latin typeface="+mn-lt"/>
              </a:rPr>
              <a:pPr/>
              <a:t>‹#›</a:t>
            </a:fld>
            <a:endParaRPr lang="en-US" sz="800" baseline="0" dirty="0">
              <a:solidFill>
                <a:srgbClr val="808080"/>
              </a:solidFill>
              <a:latin typeface="+mn-lt"/>
            </a:endParaRPr>
          </a:p>
        </p:txBody>
      </p:sp>
      <p:sp>
        <p:nvSpPr>
          <p:cNvPr id="9" name="SlideLogoText"/>
          <p:cNvSpPr>
            <a:spLocks noChangeArrowheads="1"/>
          </p:cNvSpPr>
          <p:nvPr>
            <p:custDataLst>
              <p:tags r:id="rId3"/>
            </p:custDataLst>
          </p:nvPr>
        </p:nvSpPr>
        <p:spPr bwMode="auto">
          <a:xfrm>
            <a:off x="7450817" y="6508272"/>
            <a:ext cx="1013098"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algn="r" defTabSz="895350"/>
            <a:r>
              <a:rPr lang="en-US" sz="800" baseline="0" dirty="0">
                <a:solidFill>
                  <a:srgbClr val="808080"/>
                </a:solidFill>
                <a:latin typeface="+mn-lt"/>
              </a:rPr>
              <a:t>McKinsey &amp; Company</a:t>
            </a:r>
          </a:p>
        </p:txBody>
      </p:sp>
      <p:sp>
        <p:nvSpPr>
          <p:cNvPr id="5" name="doc id" hidden="1"/>
          <p:cNvSpPr txBox="1">
            <a:spLocks noChangeArrowheads="1"/>
          </p:cNvSpPr>
          <p:nvPr/>
        </p:nvSpPr>
        <p:spPr bwMode="white">
          <a:xfrm>
            <a:off x="8104473" y="36513"/>
            <a:ext cx="634716" cy="115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hangingPunct="1">
              <a:defRPr/>
            </a:pPr>
            <a:endParaRPr lang="en-US" sz="800" baseline="0" dirty="0">
              <a:solidFill>
                <a:schemeClr val="accent1"/>
              </a:solidFill>
              <a:latin typeface="+mn-lt"/>
              <a:ea typeface="+mn-ea"/>
            </a:endParaRPr>
          </a:p>
        </p:txBody>
      </p:sp>
    </p:spTree>
    <p:extLst>
      <p:ext uri="{BB962C8B-B14F-4D97-AF65-F5344CB8AC3E}">
        <p14:creationId xmlns:p14="http://schemas.microsoft.com/office/powerpoint/2010/main" val="2105902966"/>
      </p:ext>
    </p:extLst>
  </p:cSld>
  <p:clrMapOvr>
    <a:masterClrMapping/>
  </p:clrMapOvr>
  <p:extLst mod="1">
    <p:ext uri="{DCECCB84-F9BA-43D5-87BE-67443E8EF086}">
      <p15:sldGuideLst xmlns:p15="http://schemas.microsoft.com/office/powerpoint/2012/main">
        <p15:guide id="1" pos="5505">
          <p15:clr>
            <a:srgbClr val="F26B43"/>
          </p15:clr>
        </p15:guide>
        <p15:guide id="2" pos="74">
          <p15:clr>
            <a:srgbClr val="F26B43"/>
          </p15:clr>
        </p15:guide>
        <p15:guide id="3" orient="horz" pos="571">
          <p15:clr>
            <a:srgbClr val="F26B43"/>
          </p15:clr>
        </p15:guide>
        <p15:guide id="4" orient="horz" pos="3911">
          <p15:clr>
            <a:srgbClr val="F26B43"/>
          </p15:clr>
        </p15:guide>
      </p15:sldGuideLst>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p:cSld name="1_Title Only">
    <p:bg>
      <p:bgPr>
        <a:solidFill>
          <a:schemeClr val="accent2"/>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F4AD34F-3B47-47E2-A09C-FFEB949F6A10}"/>
              </a:ext>
            </a:extLst>
          </p:cNvPr>
          <p:cNvGraphicFramePr>
            <a:graphicFrameLocks noChangeAspect="1"/>
          </p:cNvGraphicFramePr>
          <p:nvPr>
            <p:custDataLst>
              <p:tags r:id="rId2"/>
            </p:custDataLst>
            <p:extLst>
              <p:ext uri="{D42A27DB-BD31-4B8C-83A1-F6EECF244321}">
                <p14:modId xmlns:p14="http://schemas.microsoft.com/office/powerpoint/2010/main" val="328137480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7412" name="think-cell Slide" r:id="rId5" imgW="395" imgH="394" progId="TCLayout.ActiveDocument.1">
                  <p:embed/>
                </p:oleObj>
              </mc:Choice>
              <mc:Fallback>
                <p:oleObj name="think-cell Slide" r:id="rId5" imgW="395" imgH="394" progId="TCLayout.ActiveDocument.1">
                  <p:embed/>
                  <p:pic>
                    <p:nvPicPr>
                      <p:cNvPr id="3" name="Object 2" hidden="1">
                        <a:extLst>
                          <a:ext uri="{FF2B5EF4-FFF2-40B4-BE49-F238E27FC236}">
                            <a16:creationId xmlns:a16="http://schemas.microsoft.com/office/drawing/2014/main" id="{EF4AD34F-3B47-47E2-A09C-FFEB949F6A10}"/>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endParaRPr lang="en-US" dirty="0"/>
          </a:p>
        </p:txBody>
      </p:sp>
      <p:sp>
        <p:nvSpPr>
          <p:cNvPr id="15" name="Slide Number"/>
          <p:cNvSpPr txBox="1">
            <a:spLocks/>
          </p:cNvSpPr>
          <p:nvPr/>
        </p:nvSpPr>
        <p:spPr>
          <a:xfrm>
            <a:off x="8564563" y="6508272"/>
            <a:ext cx="125034" cy="123111"/>
          </a:xfrm>
          <a:prstGeom prst="rect">
            <a:avLst/>
          </a:prstGeom>
        </p:spPr>
        <p:txBody>
          <a:bodyPr vert="horz" wrap="none" lIns="0" tIns="0" rIns="0" bIns="0" rtlCol="0" anchor="ctr">
            <a:spAutoFit/>
          </a:bodyPr>
          <a:lstStyle>
            <a:defPPr>
              <a:defRPr lang="en-US"/>
            </a:defPPr>
            <a:lvl1pPr>
              <a:defRPr sz="1000" baseline="0">
                <a:latin typeface="+mn-lt"/>
              </a:defRPr>
            </a:lvl1pPr>
          </a:lstStyle>
          <a:p>
            <a:fld id="{42C328C1-A84F-4A39-A664-DBA00541A8C6}" type="slidenum">
              <a:rPr lang="en-US" sz="800" baseline="0" smtClean="0">
                <a:solidFill>
                  <a:srgbClr val="FFFFFF"/>
                </a:solidFill>
                <a:latin typeface="+mn-lt"/>
              </a:rPr>
              <a:pPr/>
              <a:t>‹#›</a:t>
            </a:fld>
            <a:endParaRPr lang="en-US" sz="800" baseline="0" dirty="0">
              <a:solidFill>
                <a:srgbClr val="FFFFFF"/>
              </a:solidFill>
              <a:latin typeface="+mn-lt"/>
            </a:endParaRPr>
          </a:p>
        </p:txBody>
      </p:sp>
      <p:sp>
        <p:nvSpPr>
          <p:cNvPr id="16" name="SlideLogoText"/>
          <p:cNvSpPr>
            <a:spLocks noChangeArrowheads="1"/>
          </p:cNvSpPr>
          <p:nvPr>
            <p:custDataLst>
              <p:tags r:id="rId3"/>
            </p:custDataLst>
          </p:nvPr>
        </p:nvSpPr>
        <p:spPr bwMode="auto">
          <a:xfrm>
            <a:off x="7450817" y="6508272"/>
            <a:ext cx="1013098"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algn="r" defTabSz="895350"/>
            <a:r>
              <a:rPr lang="en-US" sz="800" baseline="0" dirty="0">
                <a:solidFill>
                  <a:srgbClr val="FFFFFF"/>
                </a:solidFill>
                <a:latin typeface="+mn-lt"/>
              </a:rPr>
              <a:t>McKinsey &amp; Company</a:t>
            </a:r>
          </a:p>
        </p:txBody>
      </p:sp>
      <p:sp>
        <p:nvSpPr>
          <p:cNvPr id="5" name="doc id" hidden="1"/>
          <p:cNvSpPr txBox="1">
            <a:spLocks noChangeArrowheads="1"/>
          </p:cNvSpPr>
          <p:nvPr/>
        </p:nvSpPr>
        <p:spPr bwMode="white">
          <a:xfrm>
            <a:off x="8104473" y="36513"/>
            <a:ext cx="634716" cy="115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hangingPunct="1">
              <a:defRPr/>
            </a:pPr>
            <a:endParaRPr lang="en-US" sz="800" baseline="0" dirty="0">
              <a:solidFill>
                <a:schemeClr val="accent1"/>
              </a:solidFill>
              <a:latin typeface="+mn-lt"/>
              <a:ea typeface="+mn-ea"/>
            </a:endParaRPr>
          </a:p>
        </p:txBody>
      </p:sp>
    </p:spTree>
    <p:extLst>
      <p:ext uri="{BB962C8B-B14F-4D97-AF65-F5344CB8AC3E}">
        <p14:creationId xmlns:p14="http://schemas.microsoft.com/office/powerpoint/2010/main" val="716427981"/>
      </p:ext>
    </p:extLst>
  </p:cSld>
  <p:clrMapOvr>
    <a:masterClrMapping/>
  </p:clrMapOvr>
  <p:extLst mod="1">
    <p:ext uri="{DCECCB84-F9BA-43D5-87BE-67443E8EF086}">
      <p15:sldGuideLst xmlns:p15="http://schemas.microsoft.com/office/powerpoint/2012/main">
        <p15:guide id="1" pos="3978">
          <p15:clr>
            <a:srgbClr val="000000"/>
          </p15:clr>
        </p15:guide>
        <p15:guide id="2" orient="horz" pos="570">
          <p15:clr>
            <a:srgbClr val="000000"/>
          </p15:clr>
        </p15:guide>
        <p15:guide id="3" orient="horz" pos="3912">
          <p15:clr>
            <a:srgbClr val="000000"/>
          </p15:clr>
        </p15:guide>
        <p15:guide id="4" pos="72">
          <p15:clr>
            <a:srgbClr val="000000"/>
          </p15:clr>
        </p15:guide>
      </p15:sldGuideLst>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type="titleOnly">
  <p:cSld name="2_Title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ECD524A-1569-4253-8CD8-48D288AD883C}"/>
              </a:ext>
            </a:extLst>
          </p:cNvPr>
          <p:cNvGraphicFramePr>
            <a:graphicFrameLocks noChangeAspect="1"/>
          </p:cNvGraphicFramePr>
          <p:nvPr>
            <p:custDataLst>
              <p:tags r:id="rId2"/>
            </p:custDataLst>
            <p:extLst>
              <p:ext uri="{D42A27DB-BD31-4B8C-83A1-F6EECF244321}">
                <p14:modId xmlns:p14="http://schemas.microsoft.com/office/powerpoint/2010/main" val="48242250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8436" name="think-cell Slide" r:id="rId4" imgW="395" imgH="394" progId="TCLayout.ActiveDocument.1">
                  <p:embed/>
                </p:oleObj>
              </mc:Choice>
              <mc:Fallback>
                <p:oleObj name="think-cell Slide" r:id="rId4" imgW="395" imgH="394" progId="TCLayout.ActiveDocument.1">
                  <p:embed/>
                  <p:pic>
                    <p:nvPicPr>
                      <p:cNvPr id="3" name="Object 2" hidden="1">
                        <a:extLst>
                          <a:ext uri="{FF2B5EF4-FFF2-40B4-BE49-F238E27FC236}">
                            <a16:creationId xmlns:a16="http://schemas.microsoft.com/office/drawing/2014/main" id="{5ECD524A-1569-4253-8CD8-48D288AD883C}"/>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93488506"/>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pic>
        <p:nvPicPr>
          <p:cNvPr id="2" name="background"/>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0" y="198"/>
            <a:ext cx="8961438" cy="6721079"/>
          </a:xfrm>
          <a:prstGeom prst="rect">
            <a:avLst/>
          </a:prstGeom>
        </p:spPr>
      </p:pic>
      <p:sp>
        <p:nvSpPr>
          <p:cNvPr id="28" name="TitleRectangle"/>
          <p:cNvSpPr txBox="1">
            <a:spLocks/>
          </p:cNvSpPr>
          <p:nvPr/>
        </p:nvSpPr>
        <p:spPr>
          <a:xfrm>
            <a:off x="2084388" y="0"/>
            <a:ext cx="6875462" cy="3575976"/>
          </a:xfrm>
          <a:prstGeom prst="rect">
            <a:avLst/>
          </a:prstGeom>
          <a:solidFill>
            <a:srgbClr val="002960">
              <a:alpha val="92000"/>
            </a:srgbClr>
          </a:solidFill>
        </p:spPr>
        <p:txBody>
          <a:bodyPr vert="horz" wrap="square" lIns="216000" tIns="1440000" rIns="216000" bIns="108000" rtlCol="0">
            <a:noAutofit/>
          </a:bodyPr>
          <a:lstStyle>
            <a:lvl1pPr marL="0" indent="0" algn="l" defTabSz="914400" rtl="0" eaLnBrk="1" latinLnBrk="0" hangingPunct="1">
              <a:spcBef>
                <a:spcPct val="20000"/>
              </a:spcBef>
              <a:spcAft>
                <a:spcPts val="6000"/>
              </a:spcAft>
              <a:buFont typeface="Arial" pitchFamily="34" charset="0"/>
              <a:buNone/>
              <a:defRPr sz="3200" kern="1200">
                <a:solidFill>
                  <a:schemeClr val="accent1"/>
                </a:solidFill>
                <a:latin typeface="+mn-lt"/>
                <a:ea typeface="+mn-ea"/>
                <a:cs typeface="+mn-cs"/>
              </a:defRPr>
            </a:lvl1pPr>
            <a:lvl2pPr marL="0" indent="0" algn="l" defTabSz="914400" rtl="0" eaLnBrk="1" latinLnBrk="0" hangingPunct="1">
              <a:spcBef>
                <a:spcPct val="20000"/>
              </a:spcBef>
              <a:buFont typeface="Wingdings" charset="2"/>
              <a:buNone/>
              <a:defRPr sz="1400" kern="1200">
                <a:solidFill>
                  <a:schemeClr val="tx1">
                    <a:lumMod val="50000"/>
                    <a:lumOff val="50000"/>
                  </a:schemeClr>
                </a:solidFill>
                <a:latin typeface="+mn-lt"/>
                <a:ea typeface="+mn-ea"/>
                <a:cs typeface="+mn-cs"/>
              </a:defRPr>
            </a:lvl2pPr>
            <a:lvl3pPr marL="1143000" indent="-228600" algn="l" defTabSz="914400" rtl="0" eaLnBrk="1" latinLnBrk="0" hangingPunct="1">
              <a:spcBef>
                <a:spcPct val="20000"/>
              </a:spcBef>
              <a:buFont typeface="Lucida Grande"/>
              <a:buChar char="–"/>
              <a:defRPr sz="16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fontAlgn="auto">
              <a:defRPr/>
            </a:pPr>
            <a:r>
              <a:rPr lang="en-US" baseline="0" dirty="0">
                <a:solidFill>
                  <a:srgbClr val="00ADEF"/>
                </a:solidFill>
                <a:latin typeface="+mn-lt"/>
              </a:rPr>
              <a:t>
              </a:t>
            </a:r>
            <a:br>
              <a:rPr lang="en-US" baseline="0" dirty="0">
                <a:solidFill>
                  <a:srgbClr val="00ADEF"/>
                </a:solidFill>
                <a:latin typeface="+mn-lt"/>
              </a:rPr>
            </a:br>
            <a:endParaRPr lang="en-US" baseline="0" dirty="0">
              <a:solidFill>
                <a:srgbClr val="00ADEF"/>
              </a:solidFill>
              <a:latin typeface="+mn-lt"/>
            </a:endParaRPr>
          </a:p>
        </p:txBody>
      </p:sp>
      <p:graphicFrame>
        <p:nvGraphicFramePr>
          <p:cNvPr id="3" name="Object 2"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0484"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Working Draft Text" hidden="1"/>
          <p:cNvSpPr txBox="1">
            <a:spLocks noChangeArrowheads="1"/>
          </p:cNvSpPr>
          <p:nvPr/>
        </p:nvSpPr>
        <p:spPr bwMode="black">
          <a:xfrm>
            <a:off x="5992719" y="6287538"/>
            <a:ext cx="2790000"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800" b="1" baseline="0" dirty="0">
                <a:solidFill>
                  <a:srgbClr val="FFFFFF"/>
                </a:solidFill>
                <a:latin typeface="+mn-lt"/>
              </a:rPr>
              <a:t>WORKING DRAFT</a:t>
            </a:r>
          </a:p>
        </p:txBody>
      </p:sp>
      <p:sp>
        <p:nvSpPr>
          <p:cNvPr id="6" name="Working Draft" hidden="1"/>
          <p:cNvSpPr txBox="1">
            <a:spLocks noChangeArrowheads="1"/>
          </p:cNvSpPr>
          <p:nvPr/>
        </p:nvSpPr>
        <p:spPr bwMode="black">
          <a:xfrm>
            <a:off x="5992718" y="6410648"/>
            <a:ext cx="2968719"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800" baseline="0">
                <a:solidFill>
                  <a:srgbClr val="FFFFFF"/>
                </a:solidFill>
                <a:latin typeface="+mn-lt"/>
              </a:rPr>
              <a:t>Last Modified 21/05/2018 17:44 India Standard Time</a:t>
            </a:r>
            <a:endParaRPr lang="en-US" sz="800" baseline="0" dirty="0">
              <a:solidFill>
                <a:srgbClr val="FFFFFF"/>
              </a:solidFill>
              <a:latin typeface="+mn-lt"/>
            </a:endParaRPr>
          </a:p>
        </p:txBody>
      </p:sp>
      <p:sp>
        <p:nvSpPr>
          <p:cNvPr id="7" name="Printed" hidden="1"/>
          <p:cNvSpPr txBox="1">
            <a:spLocks noChangeArrowheads="1"/>
          </p:cNvSpPr>
          <p:nvPr/>
        </p:nvSpPr>
        <p:spPr bwMode="black">
          <a:xfrm>
            <a:off x="5992719" y="6533759"/>
            <a:ext cx="2790000"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800" baseline="0" dirty="0">
                <a:solidFill>
                  <a:srgbClr val="FFFFFF"/>
                </a:solidFill>
                <a:latin typeface="+mn-lt"/>
              </a:rPr>
              <a:t>Printed</a:t>
            </a:r>
          </a:p>
        </p:txBody>
      </p:sp>
      <p:sp>
        <p:nvSpPr>
          <p:cNvPr id="13314" name="Title"/>
          <p:cNvSpPr>
            <a:spLocks noGrp="1" noChangeArrowheads="1"/>
          </p:cNvSpPr>
          <p:nvPr>
            <p:ph type="ctrTitle"/>
          </p:nvPr>
        </p:nvSpPr>
        <p:spPr>
          <a:xfrm>
            <a:off x="2268266" y="1434419"/>
            <a:ext cx="6231663" cy="492443"/>
          </a:xfrm>
          <a:prstGeom prst="rect">
            <a:avLst/>
          </a:prstGeom>
        </p:spPr>
        <p:txBody>
          <a:bodyPr>
            <a:spAutoFit/>
          </a:bodyPr>
          <a:lstStyle>
            <a:lvl1pPr>
              <a:defRPr sz="3200" b="0" baseline="0">
                <a:solidFill>
                  <a:schemeClr val="accent2"/>
                </a:solidFill>
                <a:latin typeface="+mj-lt"/>
                <a:ea typeface="+mj-ea"/>
              </a:defRPr>
            </a:lvl1pPr>
          </a:lstStyle>
          <a:p>
            <a:pPr lvl="0" latinLnBrk="0"/>
            <a:r>
              <a:rPr lang="en-US" noProof="0"/>
              <a:t>Click to edit Master title style</a:t>
            </a:r>
            <a:endParaRPr lang="en-US" noProof="0" dirty="0"/>
          </a:p>
        </p:txBody>
      </p:sp>
      <p:sp>
        <p:nvSpPr>
          <p:cNvPr id="13315" name="Subtitle"/>
          <p:cNvSpPr>
            <a:spLocks noGrp="1" noChangeArrowheads="1"/>
          </p:cNvSpPr>
          <p:nvPr>
            <p:ph type="subTitle" idx="1"/>
          </p:nvPr>
        </p:nvSpPr>
        <p:spPr>
          <a:xfrm>
            <a:off x="2268266" y="2819401"/>
            <a:ext cx="6231663" cy="215444"/>
          </a:xfrm>
          <a:prstGeom prst="rect">
            <a:avLst/>
          </a:prstGeom>
        </p:spPr>
        <p:txBody>
          <a:bodyPr wrap="square">
            <a:spAutoFit/>
          </a:bodyPr>
          <a:lstStyle>
            <a:lvl1pPr>
              <a:defRPr sz="1400" cap="all" baseline="0">
                <a:solidFill>
                  <a:schemeClr val="bg1"/>
                </a:solidFill>
                <a:latin typeface="+mn-lt"/>
                <a:ea typeface="+mn-ea"/>
              </a:defRPr>
            </a:lvl1pPr>
          </a:lstStyle>
          <a:p>
            <a:pPr lvl="0" latinLnBrk="0"/>
            <a:r>
              <a:rPr lang="en-US" noProof="0"/>
              <a:t>Click to edit Master subtitle style</a:t>
            </a:r>
            <a:endParaRPr lang="en-US" noProof="0" dirty="0"/>
          </a:p>
        </p:txBody>
      </p:sp>
      <p:sp>
        <p:nvSpPr>
          <p:cNvPr id="57" name="Document type" hidden="1"/>
          <p:cNvSpPr txBox="1">
            <a:spLocks noChangeArrowheads="1"/>
          </p:cNvSpPr>
          <p:nvPr/>
        </p:nvSpPr>
        <p:spPr bwMode="gray">
          <a:xfrm>
            <a:off x="2268266" y="3227411"/>
            <a:ext cx="6231663"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00" baseline="0" dirty="0">
                <a:solidFill>
                  <a:schemeClr val="bg1"/>
                </a:solidFill>
                <a:latin typeface="+mn-lt"/>
              </a:rPr>
              <a:t>Document type | Date</a:t>
            </a:r>
          </a:p>
        </p:txBody>
      </p:sp>
      <p:sp>
        <p:nvSpPr>
          <p:cNvPr id="5" name="doc id" hidden="1"/>
          <p:cNvSpPr txBox="1">
            <a:spLocks noChangeArrowheads="1"/>
          </p:cNvSpPr>
          <p:nvPr/>
        </p:nvSpPr>
        <p:spPr bwMode="white">
          <a:xfrm>
            <a:off x="8443913" y="36513"/>
            <a:ext cx="295275" cy="1222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hangingPunct="1">
              <a:defRPr/>
            </a:pPr>
            <a:endParaRPr lang="en-US" sz="800" baseline="0" dirty="0">
              <a:solidFill>
                <a:srgbClr val="FFFFFF"/>
              </a:solidFill>
              <a:latin typeface="+mn-lt"/>
            </a:endParaRPr>
          </a:p>
        </p:txBody>
      </p:sp>
      <p:sp>
        <p:nvSpPr>
          <p:cNvPr id="43" name="LogoImage"/>
          <p:cNvSpPr>
            <a:spLocks noEditPoints="1"/>
          </p:cNvSpPr>
          <p:nvPr/>
        </p:nvSpPr>
        <p:spPr bwMode="white">
          <a:xfrm>
            <a:off x="2269098" y="182925"/>
            <a:ext cx="2176978" cy="238073"/>
          </a:xfrm>
          <a:custGeom>
            <a:avLst/>
            <a:gdLst>
              <a:gd name="T0" fmla="*/ 504 w 5516"/>
              <a:gd name="T1" fmla="*/ 26 h 606"/>
              <a:gd name="T2" fmla="*/ 18 w 5516"/>
              <a:gd name="T3" fmla="*/ 22 h 606"/>
              <a:gd name="T4" fmla="*/ 140 w 5516"/>
              <a:gd name="T5" fmla="*/ 436 h 606"/>
              <a:gd name="T6" fmla="*/ 408 w 5516"/>
              <a:gd name="T7" fmla="*/ 372 h 606"/>
              <a:gd name="T8" fmla="*/ 696 w 5516"/>
              <a:gd name="T9" fmla="*/ 422 h 606"/>
              <a:gd name="T10" fmla="*/ 768 w 5516"/>
              <a:gd name="T11" fmla="*/ 196 h 606"/>
              <a:gd name="T12" fmla="*/ 1272 w 5516"/>
              <a:gd name="T13" fmla="*/ 26 h 606"/>
              <a:gd name="T14" fmla="*/ 1302 w 5516"/>
              <a:gd name="T15" fmla="*/ 338 h 606"/>
              <a:gd name="T16" fmla="*/ 1202 w 5516"/>
              <a:gd name="T17" fmla="*/ 436 h 606"/>
              <a:gd name="T18" fmla="*/ 1030 w 5516"/>
              <a:gd name="T19" fmla="*/ 10 h 606"/>
              <a:gd name="T20" fmla="*/ 960 w 5516"/>
              <a:gd name="T21" fmla="*/ 22 h 606"/>
              <a:gd name="T22" fmla="*/ 804 w 5516"/>
              <a:gd name="T23" fmla="*/ 434 h 606"/>
              <a:gd name="T24" fmla="*/ 930 w 5516"/>
              <a:gd name="T25" fmla="*/ 246 h 606"/>
              <a:gd name="T26" fmla="*/ 1658 w 5516"/>
              <a:gd name="T27" fmla="*/ 342 h 606"/>
              <a:gd name="T28" fmla="*/ 1368 w 5516"/>
              <a:gd name="T29" fmla="*/ 188 h 606"/>
              <a:gd name="T30" fmla="*/ 1514 w 5516"/>
              <a:gd name="T31" fmla="*/ 436 h 606"/>
              <a:gd name="T32" fmla="*/ 1564 w 5516"/>
              <a:gd name="T33" fmla="*/ 434 h 606"/>
              <a:gd name="T34" fmla="*/ 1904 w 5516"/>
              <a:gd name="T35" fmla="*/ 184 h 606"/>
              <a:gd name="T36" fmla="*/ 1728 w 5516"/>
              <a:gd name="T37" fmla="*/ 366 h 606"/>
              <a:gd name="T38" fmla="*/ 2102 w 5516"/>
              <a:gd name="T39" fmla="*/ 192 h 606"/>
              <a:gd name="T40" fmla="*/ 1982 w 5516"/>
              <a:gd name="T41" fmla="*/ 320 h 606"/>
              <a:gd name="T42" fmla="*/ 2478 w 5516"/>
              <a:gd name="T43" fmla="*/ 242 h 606"/>
              <a:gd name="T44" fmla="*/ 2406 w 5516"/>
              <a:gd name="T45" fmla="*/ 390 h 606"/>
              <a:gd name="T46" fmla="*/ 2234 w 5516"/>
              <a:gd name="T47" fmla="*/ 192 h 606"/>
              <a:gd name="T48" fmla="*/ 2478 w 5516"/>
              <a:gd name="T49" fmla="*/ 242 h 606"/>
              <a:gd name="T50" fmla="*/ 2928 w 5516"/>
              <a:gd name="T51" fmla="*/ 448 h 606"/>
              <a:gd name="T52" fmla="*/ 2958 w 5516"/>
              <a:gd name="T53" fmla="*/ 230 h 606"/>
              <a:gd name="T54" fmla="*/ 2716 w 5516"/>
              <a:gd name="T55" fmla="*/ 54 h 606"/>
              <a:gd name="T56" fmla="*/ 2714 w 5516"/>
              <a:gd name="T57" fmla="*/ 36 h 606"/>
              <a:gd name="T58" fmla="*/ 2928 w 5516"/>
              <a:gd name="T59" fmla="*/ 448 h 606"/>
              <a:gd name="T60" fmla="*/ 3388 w 5516"/>
              <a:gd name="T61" fmla="*/ 4 h 606"/>
              <a:gd name="T62" fmla="*/ 3396 w 5516"/>
              <a:gd name="T63" fmla="*/ 366 h 606"/>
              <a:gd name="T64" fmla="*/ 3580 w 5516"/>
              <a:gd name="T65" fmla="*/ 190 h 606"/>
              <a:gd name="T66" fmla="*/ 3502 w 5516"/>
              <a:gd name="T67" fmla="*/ 432 h 606"/>
              <a:gd name="T68" fmla="*/ 4232 w 5516"/>
              <a:gd name="T69" fmla="*/ 348 h 606"/>
              <a:gd name="T70" fmla="*/ 3858 w 5516"/>
              <a:gd name="T71" fmla="*/ 176 h 606"/>
              <a:gd name="T72" fmla="*/ 3758 w 5516"/>
              <a:gd name="T73" fmla="*/ 446 h 606"/>
              <a:gd name="T74" fmla="*/ 3990 w 5516"/>
              <a:gd name="T75" fmla="*/ 282 h 606"/>
              <a:gd name="T76" fmla="*/ 4042 w 5516"/>
              <a:gd name="T77" fmla="*/ 342 h 606"/>
              <a:gd name="T78" fmla="*/ 4134 w 5516"/>
              <a:gd name="T79" fmla="*/ 448 h 606"/>
              <a:gd name="T80" fmla="*/ 4454 w 5516"/>
              <a:gd name="T81" fmla="*/ 202 h 606"/>
              <a:gd name="T82" fmla="*/ 4284 w 5516"/>
              <a:gd name="T83" fmla="*/ 174 h 606"/>
              <a:gd name="T84" fmla="*/ 4432 w 5516"/>
              <a:gd name="T85" fmla="*/ 588 h 606"/>
              <a:gd name="T86" fmla="*/ 4792 w 5516"/>
              <a:gd name="T87" fmla="*/ 382 h 606"/>
              <a:gd name="T88" fmla="*/ 5192 w 5516"/>
              <a:gd name="T89" fmla="*/ 340 h 606"/>
              <a:gd name="T90" fmla="*/ 4902 w 5516"/>
              <a:gd name="T91" fmla="*/ 186 h 606"/>
              <a:gd name="T92" fmla="*/ 4850 w 5516"/>
              <a:gd name="T93" fmla="*/ 274 h 606"/>
              <a:gd name="T94" fmla="*/ 4742 w 5516"/>
              <a:gd name="T95" fmla="*/ 194 h 606"/>
              <a:gd name="T96" fmla="*/ 4794 w 5516"/>
              <a:gd name="T97" fmla="*/ 418 h 606"/>
              <a:gd name="T98" fmla="*/ 5004 w 5516"/>
              <a:gd name="T99" fmla="*/ 338 h 606"/>
              <a:gd name="T100" fmla="*/ 5098 w 5516"/>
              <a:gd name="T101" fmla="*/ 446 h 606"/>
              <a:gd name="T102" fmla="*/ 5418 w 5516"/>
              <a:gd name="T103" fmla="*/ 192 h 606"/>
              <a:gd name="T104" fmla="*/ 5348 w 5516"/>
              <a:gd name="T105" fmla="*/ 180 h 606"/>
              <a:gd name="T106" fmla="*/ 5254 w 5516"/>
              <a:gd name="T107" fmla="*/ 606 h 6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516" h="606">
                <a:moveTo>
                  <a:pt x="366" y="448"/>
                </a:moveTo>
                <a:cubicBezTo>
                  <a:pt x="524" y="448"/>
                  <a:pt x="524" y="448"/>
                  <a:pt x="524" y="448"/>
                </a:cubicBezTo>
                <a:cubicBezTo>
                  <a:pt x="524" y="436"/>
                  <a:pt x="524" y="436"/>
                  <a:pt x="524" y="436"/>
                </a:cubicBezTo>
                <a:cubicBezTo>
                  <a:pt x="486" y="432"/>
                  <a:pt x="470" y="414"/>
                  <a:pt x="468" y="362"/>
                </a:cubicBezTo>
                <a:cubicBezTo>
                  <a:pt x="454" y="86"/>
                  <a:pt x="454" y="86"/>
                  <a:pt x="454" y="86"/>
                </a:cubicBezTo>
                <a:cubicBezTo>
                  <a:pt x="452" y="46"/>
                  <a:pt x="470" y="30"/>
                  <a:pt x="504" y="26"/>
                </a:cubicBezTo>
                <a:cubicBezTo>
                  <a:pt x="504" y="12"/>
                  <a:pt x="504" y="12"/>
                  <a:pt x="504" y="12"/>
                </a:cubicBezTo>
                <a:cubicBezTo>
                  <a:pt x="394" y="12"/>
                  <a:pt x="394" y="12"/>
                  <a:pt x="394" y="12"/>
                </a:cubicBezTo>
                <a:cubicBezTo>
                  <a:pt x="264" y="350"/>
                  <a:pt x="264" y="350"/>
                  <a:pt x="264" y="350"/>
                </a:cubicBezTo>
                <a:cubicBezTo>
                  <a:pt x="132" y="10"/>
                  <a:pt x="132" y="10"/>
                  <a:pt x="132" y="10"/>
                </a:cubicBezTo>
                <a:cubicBezTo>
                  <a:pt x="18" y="10"/>
                  <a:pt x="18" y="10"/>
                  <a:pt x="18" y="10"/>
                </a:cubicBezTo>
                <a:cubicBezTo>
                  <a:pt x="18" y="22"/>
                  <a:pt x="18" y="22"/>
                  <a:pt x="18" y="22"/>
                </a:cubicBezTo>
                <a:cubicBezTo>
                  <a:pt x="40" y="26"/>
                  <a:pt x="74" y="32"/>
                  <a:pt x="72" y="84"/>
                </a:cubicBezTo>
                <a:cubicBezTo>
                  <a:pt x="58" y="352"/>
                  <a:pt x="58" y="352"/>
                  <a:pt x="58" y="352"/>
                </a:cubicBezTo>
                <a:cubicBezTo>
                  <a:pt x="54" y="410"/>
                  <a:pt x="38" y="430"/>
                  <a:pt x="0" y="436"/>
                </a:cubicBezTo>
                <a:cubicBezTo>
                  <a:pt x="0" y="448"/>
                  <a:pt x="0" y="448"/>
                  <a:pt x="0" y="448"/>
                </a:cubicBezTo>
                <a:cubicBezTo>
                  <a:pt x="140" y="448"/>
                  <a:pt x="140" y="448"/>
                  <a:pt x="140" y="448"/>
                </a:cubicBezTo>
                <a:cubicBezTo>
                  <a:pt x="140" y="436"/>
                  <a:pt x="140" y="436"/>
                  <a:pt x="140" y="436"/>
                </a:cubicBezTo>
                <a:cubicBezTo>
                  <a:pt x="98" y="428"/>
                  <a:pt x="84" y="414"/>
                  <a:pt x="88" y="356"/>
                </a:cubicBezTo>
                <a:cubicBezTo>
                  <a:pt x="100" y="86"/>
                  <a:pt x="100" y="86"/>
                  <a:pt x="100" y="86"/>
                </a:cubicBezTo>
                <a:cubicBezTo>
                  <a:pt x="240" y="444"/>
                  <a:pt x="240" y="444"/>
                  <a:pt x="240" y="444"/>
                </a:cubicBezTo>
                <a:cubicBezTo>
                  <a:pt x="258" y="444"/>
                  <a:pt x="258" y="444"/>
                  <a:pt x="258" y="444"/>
                </a:cubicBezTo>
                <a:cubicBezTo>
                  <a:pt x="396" y="86"/>
                  <a:pt x="396" y="86"/>
                  <a:pt x="396" y="86"/>
                </a:cubicBezTo>
                <a:cubicBezTo>
                  <a:pt x="408" y="372"/>
                  <a:pt x="408" y="372"/>
                  <a:pt x="408" y="372"/>
                </a:cubicBezTo>
                <a:cubicBezTo>
                  <a:pt x="410" y="416"/>
                  <a:pt x="398" y="430"/>
                  <a:pt x="366" y="434"/>
                </a:cubicBezTo>
                <a:lnTo>
                  <a:pt x="366" y="448"/>
                </a:lnTo>
                <a:close/>
                <a:moveTo>
                  <a:pt x="670" y="456"/>
                </a:moveTo>
                <a:cubicBezTo>
                  <a:pt x="708" y="456"/>
                  <a:pt x="756" y="440"/>
                  <a:pt x="782" y="412"/>
                </a:cubicBezTo>
                <a:cubicBezTo>
                  <a:pt x="776" y="400"/>
                  <a:pt x="776" y="400"/>
                  <a:pt x="776" y="400"/>
                </a:cubicBezTo>
                <a:cubicBezTo>
                  <a:pt x="750" y="416"/>
                  <a:pt x="722" y="422"/>
                  <a:pt x="696" y="422"/>
                </a:cubicBezTo>
                <a:cubicBezTo>
                  <a:pt x="620" y="422"/>
                  <a:pt x="592" y="358"/>
                  <a:pt x="592" y="290"/>
                </a:cubicBezTo>
                <a:cubicBezTo>
                  <a:pt x="592" y="258"/>
                  <a:pt x="600" y="236"/>
                  <a:pt x="614" y="222"/>
                </a:cubicBezTo>
                <a:cubicBezTo>
                  <a:pt x="626" y="210"/>
                  <a:pt x="646" y="204"/>
                  <a:pt x="664" y="204"/>
                </a:cubicBezTo>
                <a:cubicBezTo>
                  <a:pt x="690" y="204"/>
                  <a:pt x="722" y="214"/>
                  <a:pt x="744" y="244"/>
                </a:cubicBezTo>
                <a:cubicBezTo>
                  <a:pt x="750" y="244"/>
                  <a:pt x="750" y="244"/>
                  <a:pt x="750" y="244"/>
                </a:cubicBezTo>
                <a:cubicBezTo>
                  <a:pt x="758" y="234"/>
                  <a:pt x="766" y="212"/>
                  <a:pt x="768" y="196"/>
                </a:cubicBezTo>
                <a:cubicBezTo>
                  <a:pt x="748" y="180"/>
                  <a:pt x="720" y="172"/>
                  <a:pt x="686" y="172"/>
                </a:cubicBezTo>
                <a:cubicBezTo>
                  <a:pt x="604" y="172"/>
                  <a:pt x="544" y="246"/>
                  <a:pt x="544" y="326"/>
                </a:cubicBezTo>
                <a:cubicBezTo>
                  <a:pt x="540" y="390"/>
                  <a:pt x="576" y="456"/>
                  <a:pt x="670" y="456"/>
                </a:cubicBezTo>
                <a:moveTo>
                  <a:pt x="1272" y="98"/>
                </a:moveTo>
                <a:cubicBezTo>
                  <a:pt x="1292" y="98"/>
                  <a:pt x="1308" y="82"/>
                  <a:pt x="1308" y="62"/>
                </a:cubicBezTo>
                <a:cubicBezTo>
                  <a:pt x="1308" y="42"/>
                  <a:pt x="1292" y="26"/>
                  <a:pt x="1272" y="26"/>
                </a:cubicBezTo>
                <a:cubicBezTo>
                  <a:pt x="1252" y="26"/>
                  <a:pt x="1238" y="42"/>
                  <a:pt x="1238" y="62"/>
                </a:cubicBezTo>
                <a:cubicBezTo>
                  <a:pt x="1238" y="82"/>
                  <a:pt x="1252" y="98"/>
                  <a:pt x="1272" y="98"/>
                </a:cubicBezTo>
                <a:moveTo>
                  <a:pt x="1202" y="448"/>
                </a:moveTo>
                <a:cubicBezTo>
                  <a:pt x="1346" y="448"/>
                  <a:pt x="1346" y="448"/>
                  <a:pt x="1346" y="448"/>
                </a:cubicBezTo>
                <a:cubicBezTo>
                  <a:pt x="1346" y="436"/>
                  <a:pt x="1346" y="436"/>
                  <a:pt x="1346" y="436"/>
                </a:cubicBezTo>
                <a:cubicBezTo>
                  <a:pt x="1304" y="432"/>
                  <a:pt x="1302" y="434"/>
                  <a:pt x="1302" y="338"/>
                </a:cubicBezTo>
                <a:cubicBezTo>
                  <a:pt x="1302" y="176"/>
                  <a:pt x="1302" y="176"/>
                  <a:pt x="1302" y="176"/>
                </a:cubicBezTo>
                <a:cubicBezTo>
                  <a:pt x="1200" y="176"/>
                  <a:pt x="1200" y="176"/>
                  <a:pt x="1200" y="176"/>
                </a:cubicBezTo>
                <a:cubicBezTo>
                  <a:pt x="1200" y="188"/>
                  <a:pt x="1200" y="188"/>
                  <a:pt x="1200" y="188"/>
                </a:cubicBezTo>
                <a:cubicBezTo>
                  <a:pt x="1244" y="190"/>
                  <a:pt x="1250" y="192"/>
                  <a:pt x="1250" y="268"/>
                </a:cubicBezTo>
                <a:cubicBezTo>
                  <a:pt x="1250" y="336"/>
                  <a:pt x="1250" y="336"/>
                  <a:pt x="1250" y="336"/>
                </a:cubicBezTo>
                <a:cubicBezTo>
                  <a:pt x="1250" y="432"/>
                  <a:pt x="1248" y="432"/>
                  <a:pt x="1202" y="436"/>
                </a:cubicBezTo>
                <a:cubicBezTo>
                  <a:pt x="1178" y="434"/>
                  <a:pt x="1154" y="426"/>
                  <a:pt x="1076" y="338"/>
                </a:cubicBezTo>
                <a:cubicBezTo>
                  <a:pt x="1046" y="302"/>
                  <a:pt x="996" y="244"/>
                  <a:pt x="968" y="206"/>
                </a:cubicBezTo>
                <a:cubicBezTo>
                  <a:pt x="1062" y="102"/>
                  <a:pt x="1062" y="102"/>
                  <a:pt x="1062" y="102"/>
                </a:cubicBezTo>
                <a:cubicBezTo>
                  <a:pt x="1108" y="52"/>
                  <a:pt x="1132" y="26"/>
                  <a:pt x="1176" y="24"/>
                </a:cubicBezTo>
                <a:cubicBezTo>
                  <a:pt x="1176" y="10"/>
                  <a:pt x="1176" y="10"/>
                  <a:pt x="1176" y="10"/>
                </a:cubicBezTo>
                <a:cubicBezTo>
                  <a:pt x="1030" y="10"/>
                  <a:pt x="1030" y="10"/>
                  <a:pt x="1030" y="10"/>
                </a:cubicBezTo>
                <a:cubicBezTo>
                  <a:pt x="1030" y="22"/>
                  <a:pt x="1030" y="22"/>
                  <a:pt x="1030" y="22"/>
                </a:cubicBezTo>
                <a:cubicBezTo>
                  <a:pt x="1050" y="26"/>
                  <a:pt x="1056" y="32"/>
                  <a:pt x="1056" y="46"/>
                </a:cubicBezTo>
                <a:cubicBezTo>
                  <a:pt x="1056" y="56"/>
                  <a:pt x="1054" y="72"/>
                  <a:pt x="1026" y="102"/>
                </a:cubicBezTo>
                <a:cubicBezTo>
                  <a:pt x="910" y="230"/>
                  <a:pt x="910" y="230"/>
                  <a:pt x="910" y="230"/>
                </a:cubicBezTo>
                <a:cubicBezTo>
                  <a:pt x="910" y="148"/>
                  <a:pt x="910" y="148"/>
                  <a:pt x="910" y="148"/>
                </a:cubicBezTo>
                <a:cubicBezTo>
                  <a:pt x="910" y="36"/>
                  <a:pt x="916" y="28"/>
                  <a:pt x="960" y="22"/>
                </a:cubicBezTo>
                <a:cubicBezTo>
                  <a:pt x="960" y="8"/>
                  <a:pt x="960" y="8"/>
                  <a:pt x="960" y="8"/>
                </a:cubicBezTo>
                <a:cubicBezTo>
                  <a:pt x="804" y="8"/>
                  <a:pt x="804" y="8"/>
                  <a:pt x="804" y="8"/>
                </a:cubicBezTo>
                <a:cubicBezTo>
                  <a:pt x="804" y="22"/>
                  <a:pt x="804" y="22"/>
                  <a:pt x="804" y="22"/>
                </a:cubicBezTo>
                <a:cubicBezTo>
                  <a:pt x="852" y="26"/>
                  <a:pt x="854" y="36"/>
                  <a:pt x="854" y="148"/>
                </a:cubicBezTo>
                <a:cubicBezTo>
                  <a:pt x="854" y="300"/>
                  <a:pt x="854" y="300"/>
                  <a:pt x="854" y="300"/>
                </a:cubicBezTo>
                <a:cubicBezTo>
                  <a:pt x="854" y="422"/>
                  <a:pt x="850" y="430"/>
                  <a:pt x="804" y="434"/>
                </a:cubicBezTo>
                <a:cubicBezTo>
                  <a:pt x="804" y="446"/>
                  <a:pt x="804" y="446"/>
                  <a:pt x="804" y="446"/>
                </a:cubicBezTo>
                <a:cubicBezTo>
                  <a:pt x="960" y="446"/>
                  <a:pt x="960" y="446"/>
                  <a:pt x="960" y="446"/>
                </a:cubicBezTo>
                <a:cubicBezTo>
                  <a:pt x="960" y="434"/>
                  <a:pt x="960" y="434"/>
                  <a:pt x="960" y="434"/>
                </a:cubicBezTo>
                <a:cubicBezTo>
                  <a:pt x="910" y="428"/>
                  <a:pt x="910" y="424"/>
                  <a:pt x="910" y="292"/>
                </a:cubicBezTo>
                <a:cubicBezTo>
                  <a:pt x="910" y="268"/>
                  <a:pt x="910" y="268"/>
                  <a:pt x="910" y="268"/>
                </a:cubicBezTo>
                <a:cubicBezTo>
                  <a:pt x="930" y="246"/>
                  <a:pt x="930" y="246"/>
                  <a:pt x="930" y="246"/>
                </a:cubicBezTo>
                <a:cubicBezTo>
                  <a:pt x="982" y="310"/>
                  <a:pt x="1038" y="380"/>
                  <a:pt x="1098" y="448"/>
                </a:cubicBezTo>
                <a:cubicBezTo>
                  <a:pt x="1202" y="448"/>
                  <a:pt x="1202" y="448"/>
                  <a:pt x="1202" y="448"/>
                </a:cubicBezTo>
                <a:close/>
                <a:moveTo>
                  <a:pt x="1564" y="448"/>
                </a:moveTo>
                <a:cubicBezTo>
                  <a:pt x="1706" y="448"/>
                  <a:pt x="1706" y="448"/>
                  <a:pt x="1706" y="448"/>
                </a:cubicBezTo>
                <a:cubicBezTo>
                  <a:pt x="1706" y="436"/>
                  <a:pt x="1706" y="436"/>
                  <a:pt x="1706" y="436"/>
                </a:cubicBezTo>
                <a:cubicBezTo>
                  <a:pt x="1658" y="434"/>
                  <a:pt x="1658" y="432"/>
                  <a:pt x="1658" y="342"/>
                </a:cubicBezTo>
                <a:cubicBezTo>
                  <a:pt x="1658" y="280"/>
                  <a:pt x="1658" y="280"/>
                  <a:pt x="1658" y="280"/>
                </a:cubicBezTo>
                <a:cubicBezTo>
                  <a:pt x="1658" y="198"/>
                  <a:pt x="1612" y="172"/>
                  <a:pt x="1570" y="172"/>
                </a:cubicBezTo>
                <a:cubicBezTo>
                  <a:pt x="1534" y="172"/>
                  <a:pt x="1498" y="188"/>
                  <a:pt x="1470" y="224"/>
                </a:cubicBezTo>
                <a:cubicBezTo>
                  <a:pt x="1470" y="176"/>
                  <a:pt x="1470" y="176"/>
                  <a:pt x="1470" y="176"/>
                </a:cubicBezTo>
                <a:cubicBezTo>
                  <a:pt x="1368" y="176"/>
                  <a:pt x="1368" y="176"/>
                  <a:pt x="1368" y="176"/>
                </a:cubicBezTo>
                <a:cubicBezTo>
                  <a:pt x="1368" y="188"/>
                  <a:pt x="1368" y="188"/>
                  <a:pt x="1368" y="188"/>
                </a:cubicBezTo>
                <a:cubicBezTo>
                  <a:pt x="1412" y="190"/>
                  <a:pt x="1418" y="192"/>
                  <a:pt x="1418" y="268"/>
                </a:cubicBezTo>
                <a:cubicBezTo>
                  <a:pt x="1418" y="336"/>
                  <a:pt x="1418" y="336"/>
                  <a:pt x="1418" y="336"/>
                </a:cubicBezTo>
                <a:cubicBezTo>
                  <a:pt x="1418" y="434"/>
                  <a:pt x="1418" y="434"/>
                  <a:pt x="1370" y="436"/>
                </a:cubicBezTo>
                <a:cubicBezTo>
                  <a:pt x="1370" y="448"/>
                  <a:pt x="1370" y="448"/>
                  <a:pt x="1370" y="448"/>
                </a:cubicBezTo>
                <a:cubicBezTo>
                  <a:pt x="1514" y="448"/>
                  <a:pt x="1514" y="448"/>
                  <a:pt x="1514" y="448"/>
                </a:cubicBezTo>
                <a:cubicBezTo>
                  <a:pt x="1514" y="436"/>
                  <a:pt x="1514" y="436"/>
                  <a:pt x="1514" y="436"/>
                </a:cubicBezTo>
                <a:cubicBezTo>
                  <a:pt x="1472" y="432"/>
                  <a:pt x="1470" y="434"/>
                  <a:pt x="1470" y="338"/>
                </a:cubicBezTo>
                <a:cubicBezTo>
                  <a:pt x="1470" y="262"/>
                  <a:pt x="1470" y="262"/>
                  <a:pt x="1470" y="262"/>
                </a:cubicBezTo>
                <a:cubicBezTo>
                  <a:pt x="1470" y="236"/>
                  <a:pt x="1504" y="206"/>
                  <a:pt x="1546" y="206"/>
                </a:cubicBezTo>
                <a:cubicBezTo>
                  <a:pt x="1580" y="206"/>
                  <a:pt x="1606" y="220"/>
                  <a:pt x="1606" y="286"/>
                </a:cubicBezTo>
                <a:cubicBezTo>
                  <a:pt x="1606" y="340"/>
                  <a:pt x="1606" y="340"/>
                  <a:pt x="1606" y="340"/>
                </a:cubicBezTo>
                <a:cubicBezTo>
                  <a:pt x="1606" y="432"/>
                  <a:pt x="1602" y="432"/>
                  <a:pt x="1564" y="434"/>
                </a:cubicBezTo>
                <a:lnTo>
                  <a:pt x="1564" y="448"/>
                </a:lnTo>
                <a:close/>
                <a:moveTo>
                  <a:pt x="1776" y="222"/>
                </a:moveTo>
                <a:cubicBezTo>
                  <a:pt x="1776" y="200"/>
                  <a:pt x="1796" y="188"/>
                  <a:pt x="1822" y="188"/>
                </a:cubicBezTo>
                <a:cubicBezTo>
                  <a:pt x="1874" y="188"/>
                  <a:pt x="1896" y="236"/>
                  <a:pt x="1900" y="252"/>
                </a:cubicBezTo>
                <a:cubicBezTo>
                  <a:pt x="1912" y="252"/>
                  <a:pt x="1912" y="252"/>
                  <a:pt x="1912" y="252"/>
                </a:cubicBezTo>
                <a:cubicBezTo>
                  <a:pt x="1912" y="212"/>
                  <a:pt x="1908" y="188"/>
                  <a:pt x="1904" y="184"/>
                </a:cubicBezTo>
                <a:cubicBezTo>
                  <a:pt x="1900" y="180"/>
                  <a:pt x="1862" y="170"/>
                  <a:pt x="1824" y="170"/>
                </a:cubicBezTo>
                <a:cubicBezTo>
                  <a:pt x="1768" y="170"/>
                  <a:pt x="1734" y="206"/>
                  <a:pt x="1734" y="248"/>
                </a:cubicBezTo>
                <a:cubicBezTo>
                  <a:pt x="1734" y="340"/>
                  <a:pt x="1890" y="322"/>
                  <a:pt x="1890" y="396"/>
                </a:cubicBezTo>
                <a:cubicBezTo>
                  <a:pt x="1890" y="422"/>
                  <a:pt x="1866" y="436"/>
                  <a:pt x="1826" y="436"/>
                </a:cubicBezTo>
                <a:cubicBezTo>
                  <a:pt x="1788" y="436"/>
                  <a:pt x="1754" y="416"/>
                  <a:pt x="1744" y="366"/>
                </a:cubicBezTo>
                <a:cubicBezTo>
                  <a:pt x="1728" y="366"/>
                  <a:pt x="1728" y="366"/>
                  <a:pt x="1728" y="366"/>
                </a:cubicBezTo>
                <a:cubicBezTo>
                  <a:pt x="1728" y="386"/>
                  <a:pt x="1732" y="422"/>
                  <a:pt x="1734" y="428"/>
                </a:cubicBezTo>
                <a:cubicBezTo>
                  <a:pt x="1744" y="446"/>
                  <a:pt x="1788" y="454"/>
                  <a:pt x="1824" y="454"/>
                </a:cubicBezTo>
                <a:cubicBezTo>
                  <a:pt x="1888" y="454"/>
                  <a:pt x="1928" y="416"/>
                  <a:pt x="1928" y="372"/>
                </a:cubicBezTo>
                <a:cubicBezTo>
                  <a:pt x="1932" y="270"/>
                  <a:pt x="1776" y="286"/>
                  <a:pt x="1776" y="222"/>
                </a:cubicBezTo>
                <a:moveTo>
                  <a:pt x="2030" y="270"/>
                </a:moveTo>
                <a:cubicBezTo>
                  <a:pt x="2034" y="220"/>
                  <a:pt x="2058" y="192"/>
                  <a:pt x="2102" y="192"/>
                </a:cubicBezTo>
                <a:cubicBezTo>
                  <a:pt x="2144" y="192"/>
                  <a:pt x="2170" y="220"/>
                  <a:pt x="2172" y="270"/>
                </a:cubicBezTo>
                <a:lnTo>
                  <a:pt x="2030" y="270"/>
                </a:lnTo>
                <a:close/>
                <a:moveTo>
                  <a:pt x="2030" y="290"/>
                </a:moveTo>
                <a:cubicBezTo>
                  <a:pt x="2222" y="290"/>
                  <a:pt x="2222" y="290"/>
                  <a:pt x="2222" y="290"/>
                </a:cubicBezTo>
                <a:cubicBezTo>
                  <a:pt x="2226" y="228"/>
                  <a:pt x="2192" y="168"/>
                  <a:pt x="2114" y="168"/>
                </a:cubicBezTo>
                <a:cubicBezTo>
                  <a:pt x="2034" y="168"/>
                  <a:pt x="1982" y="232"/>
                  <a:pt x="1982" y="320"/>
                </a:cubicBezTo>
                <a:cubicBezTo>
                  <a:pt x="1982" y="388"/>
                  <a:pt x="2018" y="456"/>
                  <a:pt x="2112" y="456"/>
                </a:cubicBezTo>
                <a:cubicBezTo>
                  <a:pt x="2150" y="456"/>
                  <a:pt x="2198" y="440"/>
                  <a:pt x="2224" y="412"/>
                </a:cubicBezTo>
                <a:cubicBezTo>
                  <a:pt x="2218" y="400"/>
                  <a:pt x="2218" y="400"/>
                  <a:pt x="2218" y="400"/>
                </a:cubicBezTo>
                <a:cubicBezTo>
                  <a:pt x="2192" y="416"/>
                  <a:pt x="2164" y="422"/>
                  <a:pt x="2138" y="422"/>
                </a:cubicBezTo>
                <a:cubicBezTo>
                  <a:pt x="2058" y="420"/>
                  <a:pt x="2028" y="352"/>
                  <a:pt x="2030" y="290"/>
                </a:cubicBezTo>
                <a:moveTo>
                  <a:pt x="2478" y="242"/>
                </a:moveTo>
                <a:cubicBezTo>
                  <a:pt x="2490" y="206"/>
                  <a:pt x="2510" y="192"/>
                  <a:pt x="2528" y="192"/>
                </a:cubicBezTo>
                <a:cubicBezTo>
                  <a:pt x="2528" y="180"/>
                  <a:pt x="2528" y="180"/>
                  <a:pt x="2528" y="180"/>
                </a:cubicBezTo>
                <a:cubicBezTo>
                  <a:pt x="2430" y="180"/>
                  <a:pt x="2430" y="180"/>
                  <a:pt x="2430" y="180"/>
                </a:cubicBezTo>
                <a:cubicBezTo>
                  <a:pt x="2430" y="192"/>
                  <a:pt x="2430" y="192"/>
                  <a:pt x="2430" y="192"/>
                </a:cubicBezTo>
                <a:cubicBezTo>
                  <a:pt x="2454" y="194"/>
                  <a:pt x="2466" y="206"/>
                  <a:pt x="2458" y="234"/>
                </a:cubicBezTo>
                <a:cubicBezTo>
                  <a:pt x="2406" y="390"/>
                  <a:pt x="2406" y="390"/>
                  <a:pt x="2406" y="390"/>
                </a:cubicBezTo>
                <a:cubicBezTo>
                  <a:pt x="2354" y="270"/>
                  <a:pt x="2354" y="270"/>
                  <a:pt x="2354" y="270"/>
                </a:cubicBezTo>
                <a:cubicBezTo>
                  <a:pt x="2340" y="238"/>
                  <a:pt x="2334" y="224"/>
                  <a:pt x="2334" y="212"/>
                </a:cubicBezTo>
                <a:cubicBezTo>
                  <a:pt x="2334" y="202"/>
                  <a:pt x="2340" y="196"/>
                  <a:pt x="2360" y="192"/>
                </a:cubicBezTo>
                <a:cubicBezTo>
                  <a:pt x="2360" y="180"/>
                  <a:pt x="2360" y="180"/>
                  <a:pt x="2360" y="180"/>
                </a:cubicBezTo>
                <a:cubicBezTo>
                  <a:pt x="2234" y="180"/>
                  <a:pt x="2234" y="180"/>
                  <a:pt x="2234" y="180"/>
                </a:cubicBezTo>
                <a:cubicBezTo>
                  <a:pt x="2234" y="192"/>
                  <a:pt x="2234" y="192"/>
                  <a:pt x="2234" y="192"/>
                </a:cubicBezTo>
                <a:cubicBezTo>
                  <a:pt x="2266" y="194"/>
                  <a:pt x="2268" y="198"/>
                  <a:pt x="2310" y="292"/>
                </a:cubicBezTo>
                <a:cubicBezTo>
                  <a:pt x="2382" y="450"/>
                  <a:pt x="2382" y="450"/>
                  <a:pt x="2382" y="450"/>
                </a:cubicBezTo>
                <a:cubicBezTo>
                  <a:pt x="2358" y="512"/>
                  <a:pt x="2320" y="546"/>
                  <a:pt x="2242" y="564"/>
                </a:cubicBezTo>
                <a:cubicBezTo>
                  <a:pt x="2246" y="576"/>
                  <a:pt x="2260" y="600"/>
                  <a:pt x="2268" y="606"/>
                </a:cubicBezTo>
                <a:cubicBezTo>
                  <a:pt x="2370" y="564"/>
                  <a:pt x="2390" y="498"/>
                  <a:pt x="2426" y="396"/>
                </a:cubicBezTo>
                <a:lnTo>
                  <a:pt x="2478" y="242"/>
                </a:lnTo>
                <a:close/>
                <a:moveTo>
                  <a:pt x="2844" y="394"/>
                </a:moveTo>
                <a:cubicBezTo>
                  <a:pt x="2822" y="412"/>
                  <a:pt x="2782" y="416"/>
                  <a:pt x="2750" y="416"/>
                </a:cubicBezTo>
                <a:cubicBezTo>
                  <a:pt x="2670" y="416"/>
                  <a:pt x="2606" y="360"/>
                  <a:pt x="2606" y="284"/>
                </a:cubicBezTo>
                <a:cubicBezTo>
                  <a:pt x="2606" y="236"/>
                  <a:pt x="2626" y="206"/>
                  <a:pt x="2658" y="198"/>
                </a:cubicBezTo>
                <a:cubicBezTo>
                  <a:pt x="2698" y="266"/>
                  <a:pt x="2770" y="338"/>
                  <a:pt x="2844" y="394"/>
                </a:cubicBezTo>
                <a:moveTo>
                  <a:pt x="2928" y="448"/>
                </a:moveTo>
                <a:cubicBezTo>
                  <a:pt x="3022" y="448"/>
                  <a:pt x="3022" y="448"/>
                  <a:pt x="3022" y="448"/>
                </a:cubicBezTo>
                <a:cubicBezTo>
                  <a:pt x="3022" y="436"/>
                  <a:pt x="3022" y="436"/>
                  <a:pt x="3022" y="436"/>
                </a:cubicBezTo>
                <a:cubicBezTo>
                  <a:pt x="2992" y="432"/>
                  <a:pt x="2946" y="408"/>
                  <a:pt x="2896" y="372"/>
                </a:cubicBezTo>
                <a:cubicBezTo>
                  <a:pt x="2914" y="342"/>
                  <a:pt x="2918" y="300"/>
                  <a:pt x="2922" y="270"/>
                </a:cubicBezTo>
                <a:cubicBezTo>
                  <a:pt x="2926" y="244"/>
                  <a:pt x="2946" y="244"/>
                  <a:pt x="2958" y="242"/>
                </a:cubicBezTo>
                <a:cubicBezTo>
                  <a:pt x="2958" y="230"/>
                  <a:pt x="2958" y="230"/>
                  <a:pt x="2958" y="230"/>
                </a:cubicBezTo>
                <a:cubicBezTo>
                  <a:pt x="2834" y="230"/>
                  <a:pt x="2834" y="230"/>
                  <a:pt x="2834" y="230"/>
                </a:cubicBezTo>
                <a:cubicBezTo>
                  <a:pt x="2834" y="242"/>
                  <a:pt x="2834" y="242"/>
                  <a:pt x="2834" y="242"/>
                </a:cubicBezTo>
                <a:cubicBezTo>
                  <a:pt x="2864" y="246"/>
                  <a:pt x="2892" y="250"/>
                  <a:pt x="2892" y="294"/>
                </a:cubicBezTo>
                <a:cubicBezTo>
                  <a:pt x="2892" y="318"/>
                  <a:pt x="2888" y="342"/>
                  <a:pt x="2878" y="358"/>
                </a:cubicBezTo>
                <a:cubicBezTo>
                  <a:pt x="2770" y="274"/>
                  <a:pt x="2670" y="156"/>
                  <a:pt x="2670" y="96"/>
                </a:cubicBezTo>
                <a:cubicBezTo>
                  <a:pt x="2670" y="66"/>
                  <a:pt x="2688" y="54"/>
                  <a:pt x="2716" y="54"/>
                </a:cubicBezTo>
                <a:cubicBezTo>
                  <a:pt x="2752" y="54"/>
                  <a:pt x="2784" y="78"/>
                  <a:pt x="2800" y="124"/>
                </a:cubicBezTo>
                <a:cubicBezTo>
                  <a:pt x="2812" y="124"/>
                  <a:pt x="2812" y="124"/>
                  <a:pt x="2812" y="124"/>
                </a:cubicBezTo>
                <a:cubicBezTo>
                  <a:pt x="2810" y="42"/>
                  <a:pt x="2810" y="42"/>
                  <a:pt x="2810" y="42"/>
                </a:cubicBezTo>
                <a:cubicBezTo>
                  <a:pt x="2798" y="42"/>
                  <a:pt x="2798" y="42"/>
                  <a:pt x="2798" y="42"/>
                </a:cubicBezTo>
                <a:cubicBezTo>
                  <a:pt x="2798" y="48"/>
                  <a:pt x="2792" y="52"/>
                  <a:pt x="2788" y="52"/>
                </a:cubicBezTo>
                <a:cubicBezTo>
                  <a:pt x="2772" y="52"/>
                  <a:pt x="2752" y="36"/>
                  <a:pt x="2714" y="36"/>
                </a:cubicBezTo>
                <a:cubicBezTo>
                  <a:pt x="2672" y="36"/>
                  <a:pt x="2630" y="62"/>
                  <a:pt x="2630" y="118"/>
                </a:cubicBezTo>
                <a:cubicBezTo>
                  <a:pt x="2630" y="140"/>
                  <a:pt x="2636" y="160"/>
                  <a:pt x="2648" y="182"/>
                </a:cubicBezTo>
                <a:cubicBezTo>
                  <a:pt x="2592" y="200"/>
                  <a:pt x="2562" y="248"/>
                  <a:pt x="2562" y="304"/>
                </a:cubicBezTo>
                <a:cubicBezTo>
                  <a:pt x="2562" y="406"/>
                  <a:pt x="2640" y="460"/>
                  <a:pt x="2726" y="460"/>
                </a:cubicBezTo>
                <a:cubicBezTo>
                  <a:pt x="2780" y="460"/>
                  <a:pt x="2824" y="444"/>
                  <a:pt x="2862" y="410"/>
                </a:cubicBezTo>
                <a:cubicBezTo>
                  <a:pt x="2888" y="424"/>
                  <a:pt x="2912" y="442"/>
                  <a:pt x="2928" y="448"/>
                </a:cubicBezTo>
                <a:moveTo>
                  <a:pt x="3094" y="212"/>
                </a:moveTo>
                <a:cubicBezTo>
                  <a:pt x="3094" y="88"/>
                  <a:pt x="3154" y="20"/>
                  <a:pt x="3252" y="20"/>
                </a:cubicBezTo>
                <a:cubicBezTo>
                  <a:pt x="3328" y="20"/>
                  <a:pt x="3372" y="58"/>
                  <a:pt x="3392" y="134"/>
                </a:cubicBezTo>
                <a:cubicBezTo>
                  <a:pt x="3404" y="134"/>
                  <a:pt x="3404" y="134"/>
                  <a:pt x="3404" y="134"/>
                </a:cubicBezTo>
                <a:cubicBezTo>
                  <a:pt x="3400" y="4"/>
                  <a:pt x="3400" y="4"/>
                  <a:pt x="3400" y="4"/>
                </a:cubicBezTo>
                <a:cubicBezTo>
                  <a:pt x="3388" y="4"/>
                  <a:pt x="3388" y="4"/>
                  <a:pt x="3388" y="4"/>
                </a:cubicBezTo>
                <a:cubicBezTo>
                  <a:pt x="3384" y="14"/>
                  <a:pt x="3376" y="18"/>
                  <a:pt x="3364" y="18"/>
                </a:cubicBezTo>
                <a:cubicBezTo>
                  <a:pt x="3338" y="18"/>
                  <a:pt x="3314" y="0"/>
                  <a:pt x="3248" y="0"/>
                </a:cubicBezTo>
                <a:cubicBezTo>
                  <a:pt x="3118" y="0"/>
                  <a:pt x="3030" y="102"/>
                  <a:pt x="3030" y="242"/>
                </a:cubicBezTo>
                <a:cubicBezTo>
                  <a:pt x="3030" y="376"/>
                  <a:pt x="3110" y="460"/>
                  <a:pt x="3238" y="460"/>
                </a:cubicBezTo>
                <a:cubicBezTo>
                  <a:pt x="3320" y="460"/>
                  <a:pt x="3384" y="420"/>
                  <a:pt x="3408" y="380"/>
                </a:cubicBezTo>
                <a:cubicBezTo>
                  <a:pt x="3396" y="366"/>
                  <a:pt x="3396" y="366"/>
                  <a:pt x="3396" y="366"/>
                </a:cubicBezTo>
                <a:cubicBezTo>
                  <a:pt x="3370" y="402"/>
                  <a:pt x="3314" y="426"/>
                  <a:pt x="3256" y="426"/>
                </a:cubicBezTo>
                <a:cubicBezTo>
                  <a:pt x="3156" y="426"/>
                  <a:pt x="3094" y="340"/>
                  <a:pt x="3094" y="212"/>
                </a:cubicBezTo>
                <a:moveTo>
                  <a:pt x="3678" y="328"/>
                </a:moveTo>
                <a:cubicBezTo>
                  <a:pt x="3678" y="392"/>
                  <a:pt x="3650" y="430"/>
                  <a:pt x="3592" y="430"/>
                </a:cubicBezTo>
                <a:cubicBezTo>
                  <a:pt x="3542" y="430"/>
                  <a:pt x="3496" y="384"/>
                  <a:pt x="3496" y="292"/>
                </a:cubicBezTo>
                <a:cubicBezTo>
                  <a:pt x="3496" y="226"/>
                  <a:pt x="3528" y="190"/>
                  <a:pt x="3580" y="190"/>
                </a:cubicBezTo>
                <a:cubicBezTo>
                  <a:pt x="3628" y="192"/>
                  <a:pt x="3678" y="238"/>
                  <a:pt x="3678" y="328"/>
                </a:cubicBezTo>
                <a:moveTo>
                  <a:pt x="3732" y="312"/>
                </a:moveTo>
                <a:cubicBezTo>
                  <a:pt x="3732" y="260"/>
                  <a:pt x="3710" y="214"/>
                  <a:pt x="3672" y="190"/>
                </a:cubicBezTo>
                <a:cubicBezTo>
                  <a:pt x="3650" y="176"/>
                  <a:pt x="3620" y="168"/>
                  <a:pt x="3588" y="168"/>
                </a:cubicBezTo>
                <a:cubicBezTo>
                  <a:pt x="3502" y="168"/>
                  <a:pt x="3442" y="230"/>
                  <a:pt x="3442" y="310"/>
                </a:cubicBezTo>
                <a:cubicBezTo>
                  <a:pt x="3442" y="364"/>
                  <a:pt x="3464" y="408"/>
                  <a:pt x="3502" y="432"/>
                </a:cubicBezTo>
                <a:cubicBezTo>
                  <a:pt x="3524" y="446"/>
                  <a:pt x="3554" y="452"/>
                  <a:pt x="3586" y="452"/>
                </a:cubicBezTo>
                <a:cubicBezTo>
                  <a:pt x="3672" y="454"/>
                  <a:pt x="3732" y="394"/>
                  <a:pt x="3732" y="312"/>
                </a:cubicBezTo>
                <a:moveTo>
                  <a:pt x="4136" y="448"/>
                </a:moveTo>
                <a:cubicBezTo>
                  <a:pt x="4280" y="448"/>
                  <a:pt x="4280" y="448"/>
                  <a:pt x="4280" y="448"/>
                </a:cubicBezTo>
                <a:cubicBezTo>
                  <a:pt x="4280" y="436"/>
                  <a:pt x="4280" y="436"/>
                  <a:pt x="4280" y="436"/>
                </a:cubicBezTo>
                <a:cubicBezTo>
                  <a:pt x="4230" y="434"/>
                  <a:pt x="4232" y="426"/>
                  <a:pt x="4232" y="348"/>
                </a:cubicBezTo>
                <a:cubicBezTo>
                  <a:pt x="4232" y="276"/>
                  <a:pt x="4232" y="276"/>
                  <a:pt x="4232" y="276"/>
                </a:cubicBezTo>
                <a:cubicBezTo>
                  <a:pt x="4232" y="200"/>
                  <a:pt x="4190" y="172"/>
                  <a:pt x="4142" y="172"/>
                </a:cubicBezTo>
                <a:cubicBezTo>
                  <a:pt x="4098" y="172"/>
                  <a:pt x="4064" y="196"/>
                  <a:pt x="4038" y="232"/>
                </a:cubicBezTo>
                <a:cubicBezTo>
                  <a:pt x="4028" y="194"/>
                  <a:pt x="4000" y="172"/>
                  <a:pt x="3954" y="172"/>
                </a:cubicBezTo>
                <a:cubicBezTo>
                  <a:pt x="3916" y="172"/>
                  <a:pt x="3880" y="196"/>
                  <a:pt x="3858" y="224"/>
                </a:cubicBezTo>
                <a:cubicBezTo>
                  <a:pt x="3858" y="176"/>
                  <a:pt x="3858" y="176"/>
                  <a:pt x="3858" y="176"/>
                </a:cubicBezTo>
                <a:cubicBezTo>
                  <a:pt x="3756" y="176"/>
                  <a:pt x="3756" y="176"/>
                  <a:pt x="3756" y="176"/>
                </a:cubicBezTo>
                <a:cubicBezTo>
                  <a:pt x="3756" y="188"/>
                  <a:pt x="3756" y="188"/>
                  <a:pt x="3756" y="188"/>
                </a:cubicBezTo>
                <a:cubicBezTo>
                  <a:pt x="3800" y="190"/>
                  <a:pt x="3806" y="192"/>
                  <a:pt x="3806" y="268"/>
                </a:cubicBezTo>
                <a:cubicBezTo>
                  <a:pt x="3806" y="346"/>
                  <a:pt x="3806" y="346"/>
                  <a:pt x="3806" y="346"/>
                </a:cubicBezTo>
                <a:cubicBezTo>
                  <a:pt x="3806" y="434"/>
                  <a:pt x="3804" y="434"/>
                  <a:pt x="3758" y="434"/>
                </a:cubicBezTo>
                <a:cubicBezTo>
                  <a:pt x="3758" y="446"/>
                  <a:pt x="3758" y="446"/>
                  <a:pt x="3758" y="446"/>
                </a:cubicBezTo>
                <a:cubicBezTo>
                  <a:pt x="3902" y="446"/>
                  <a:pt x="3902" y="446"/>
                  <a:pt x="3902" y="446"/>
                </a:cubicBezTo>
                <a:cubicBezTo>
                  <a:pt x="3902" y="434"/>
                  <a:pt x="3902" y="434"/>
                  <a:pt x="3902" y="434"/>
                </a:cubicBezTo>
                <a:cubicBezTo>
                  <a:pt x="3862" y="430"/>
                  <a:pt x="3858" y="430"/>
                  <a:pt x="3858" y="342"/>
                </a:cubicBezTo>
                <a:cubicBezTo>
                  <a:pt x="3858" y="262"/>
                  <a:pt x="3858" y="262"/>
                  <a:pt x="3858" y="262"/>
                </a:cubicBezTo>
                <a:cubicBezTo>
                  <a:pt x="3858" y="234"/>
                  <a:pt x="3894" y="204"/>
                  <a:pt x="3932" y="204"/>
                </a:cubicBezTo>
                <a:cubicBezTo>
                  <a:pt x="3974" y="204"/>
                  <a:pt x="3990" y="226"/>
                  <a:pt x="3990" y="282"/>
                </a:cubicBezTo>
                <a:cubicBezTo>
                  <a:pt x="3990" y="338"/>
                  <a:pt x="3990" y="338"/>
                  <a:pt x="3990" y="338"/>
                </a:cubicBezTo>
                <a:cubicBezTo>
                  <a:pt x="3990" y="428"/>
                  <a:pt x="3988" y="432"/>
                  <a:pt x="3950" y="436"/>
                </a:cubicBezTo>
                <a:cubicBezTo>
                  <a:pt x="3950" y="448"/>
                  <a:pt x="3950" y="448"/>
                  <a:pt x="3950" y="448"/>
                </a:cubicBezTo>
                <a:cubicBezTo>
                  <a:pt x="4086" y="448"/>
                  <a:pt x="4086" y="448"/>
                  <a:pt x="4086" y="448"/>
                </a:cubicBezTo>
                <a:cubicBezTo>
                  <a:pt x="4086" y="436"/>
                  <a:pt x="4086" y="436"/>
                  <a:pt x="4086" y="436"/>
                </a:cubicBezTo>
                <a:cubicBezTo>
                  <a:pt x="4040" y="432"/>
                  <a:pt x="4042" y="428"/>
                  <a:pt x="4042" y="342"/>
                </a:cubicBezTo>
                <a:cubicBezTo>
                  <a:pt x="4042" y="264"/>
                  <a:pt x="4042" y="264"/>
                  <a:pt x="4042" y="264"/>
                </a:cubicBezTo>
                <a:cubicBezTo>
                  <a:pt x="4042" y="236"/>
                  <a:pt x="4078" y="206"/>
                  <a:pt x="4118" y="206"/>
                </a:cubicBezTo>
                <a:cubicBezTo>
                  <a:pt x="4152" y="206"/>
                  <a:pt x="4174" y="226"/>
                  <a:pt x="4174" y="284"/>
                </a:cubicBezTo>
                <a:cubicBezTo>
                  <a:pt x="4174" y="346"/>
                  <a:pt x="4174" y="346"/>
                  <a:pt x="4174" y="346"/>
                </a:cubicBezTo>
                <a:cubicBezTo>
                  <a:pt x="4174" y="428"/>
                  <a:pt x="4174" y="432"/>
                  <a:pt x="4134" y="436"/>
                </a:cubicBezTo>
                <a:cubicBezTo>
                  <a:pt x="4134" y="448"/>
                  <a:pt x="4134" y="448"/>
                  <a:pt x="4134" y="448"/>
                </a:cubicBezTo>
                <a:lnTo>
                  <a:pt x="4136" y="448"/>
                </a:lnTo>
                <a:close/>
                <a:moveTo>
                  <a:pt x="4546" y="316"/>
                </a:moveTo>
                <a:cubicBezTo>
                  <a:pt x="4546" y="388"/>
                  <a:pt x="4516" y="432"/>
                  <a:pt x="4460" y="432"/>
                </a:cubicBezTo>
                <a:cubicBezTo>
                  <a:pt x="4424" y="432"/>
                  <a:pt x="4384" y="412"/>
                  <a:pt x="4384" y="384"/>
                </a:cubicBezTo>
                <a:cubicBezTo>
                  <a:pt x="4384" y="248"/>
                  <a:pt x="4384" y="248"/>
                  <a:pt x="4384" y="248"/>
                </a:cubicBezTo>
                <a:cubicBezTo>
                  <a:pt x="4384" y="226"/>
                  <a:pt x="4416" y="202"/>
                  <a:pt x="4454" y="202"/>
                </a:cubicBezTo>
                <a:cubicBezTo>
                  <a:pt x="4510" y="206"/>
                  <a:pt x="4546" y="248"/>
                  <a:pt x="4546" y="316"/>
                </a:cubicBezTo>
                <a:moveTo>
                  <a:pt x="4600" y="310"/>
                </a:moveTo>
                <a:cubicBezTo>
                  <a:pt x="4600" y="230"/>
                  <a:pt x="4548" y="170"/>
                  <a:pt x="4478" y="170"/>
                </a:cubicBezTo>
                <a:cubicBezTo>
                  <a:pt x="4438" y="170"/>
                  <a:pt x="4406" y="188"/>
                  <a:pt x="4384" y="214"/>
                </a:cubicBezTo>
                <a:cubicBezTo>
                  <a:pt x="4384" y="174"/>
                  <a:pt x="4384" y="174"/>
                  <a:pt x="4384" y="174"/>
                </a:cubicBezTo>
                <a:cubicBezTo>
                  <a:pt x="4284" y="174"/>
                  <a:pt x="4284" y="174"/>
                  <a:pt x="4284" y="174"/>
                </a:cubicBezTo>
                <a:cubicBezTo>
                  <a:pt x="4284" y="186"/>
                  <a:pt x="4284" y="186"/>
                  <a:pt x="4284" y="186"/>
                </a:cubicBezTo>
                <a:cubicBezTo>
                  <a:pt x="4326" y="188"/>
                  <a:pt x="4332" y="190"/>
                  <a:pt x="4332" y="280"/>
                </a:cubicBezTo>
                <a:cubicBezTo>
                  <a:pt x="4332" y="466"/>
                  <a:pt x="4332" y="466"/>
                  <a:pt x="4332" y="466"/>
                </a:cubicBezTo>
                <a:cubicBezTo>
                  <a:pt x="4332" y="564"/>
                  <a:pt x="4334" y="570"/>
                  <a:pt x="4286" y="574"/>
                </a:cubicBezTo>
                <a:cubicBezTo>
                  <a:pt x="4286" y="588"/>
                  <a:pt x="4286" y="588"/>
                  <a:pt x="4286" y="588"/>
                </a:cubicBezTo>
                <a:cubicBezTo>
                  <a:pt x="4432" y="588"/>
                  <a:pt x="4432" y="588"/>
                  <a:pt x="4432" y="588"/>
                </a:cubicBezTo>
                <a:cubicBezTo>
                  <a:pt x="4432" y="574"/>
                  <a:pt x="4432" y="574"/>
                  <a:pt x="4432" y="574"/>
                </a:cubicBezTo>
                <a:cubicBezTo>
                  <a:pt x="4380" y="572"/>
                  <a:pt x="4384" y="564"/>
                  <a:pt x="4384" y="462"/>
                </a:cubicBezTo>
                <a:cubicBezTo>
                  <a:pt x="4384" y="424"/>
                  <a:pt x="4384" y="424"/>
                  <a:pt x="4384" y="424"/>
                </a:cubicBezTo>
                <a:cubicBezTo>
                  <a:pt x="4404" y="444"/>
                  <a:pt x="4436" y="454"/>
                  <a:pt x="4466" y="454"/>
                </a:cubicBezTo>
                <a:cubicBezTo>
                  <a:pt x="4548" y="454"/>
                  <a:pt x="4600" y="392"/>
                  <a:pt x="4600" y="310"/>
                </a:cubicBezTo>
                <a:moveTo>
                  <a:pt x="4792" y="382"/>
                </a:moveTo>
                <a:cubicBezTo>
                  <a:pt x="4792" y="404"/>
                  <a:pt x="4762" y="424"/>
                  <a:pt x="4736" y="424"/>
                </a:cubicBezTo>
                <a:cubicBezTo>
                  <a:pt x="4712" y="424"/>
                  <a:pt x="4694" y="410"/>
                  <a:pt x="4694" y="378"/>
                </a:cubicBezTo>
                <a:cubicBezTo>
                  <a:pt x="4694" y="322"/>
                  <a:pt x="4752" y="328"/>
                  <a:pt x="4792" y="306"/>
                </a:cubicBezTo>
                <a:cubicBezTo>
                  <a:pt x="4792" y="382"/>
                  <a:pt x="4792" y="382"/>
                  <a:pt x="4792" y="382"/>
                </a:cubicBezTo>
                <a:close/>
                <a:moveTo>
                  <a:pt x="5240" y="434"/>
                </a:moveTo>
                <a:cubicBezTo>
                  <a:pt x="5192" y="432"/>
                  <a:pt x="5192" y="430"/>
                  <a:pt x="5192" y="340"/>
                </a:cubicBezTo>
                <a:cubicBezTo>
                  <a:pt x="5192" y="278"/>
                  <a:pt x="5192" y="278"/>
                  <a:pt x="5192" y="278"/>
                </a:cubicBezTo>
                <a:cubicBezTo>
                  <a:pt x="5192" y="196"/>
                  <a:pt x="5146" y="170"/>
                  <a:pt x="5104" y="170"/>
                </a:cubicBezTo>
                <a:cubicBezTo>
                  <a:pt x="5068" y="170"/>
                  <a:pt x="5032" y="186"/>
                  <a:pt x="5004" y="222"/>
                </a:cubicBezTo>
                <a:cubicBezTo>
                  <a:pt x="5004" y="174"/>
                  <a:pt x="5004" y="174"/>
                  <a:pt x="5004" y="174"/>
                </a:cubicBezTo>
                <a:cubicBezTo>
                  <a:pt x="4902" y="174"/>
                  <a:pt x="4902" y="174"/>
                  <a:pt x="4902" y="174"/>
                </a:cubicBezTo>
                <a:cubicBezTo>
                  <a:pt x="4902" y="186"/>
                  <a:pt x="4902" y="186"/>
                  <a:pt x="4902" y="186"/>
                </a:cubicBezTo>
                <a:cubicBezTo>
                  <a:pt x="4946" y="188"/>
                  <a:pt x="4952" y="190"/>
                  <a:pt x="4952" y="266"/>
                </a:cubicBezTo>
                <a:cubicBezTo>
                  <a:pt x="4952" y="334"/>
                  <a:pt x="4952" y="334"/>
                  <a:pt x="4952" y="334"/>
                </a:cubicBezTo>
                <a:cubicBezTo>
                  <a:pt x="4952" y="430"/>
                  <a:pt x="4952" y="432"/>
                  <a:pt x="4904" y="434"/>
                </a:cubicBezTo>
                <a:cubicBezTo>
                  <a:pt x="4892" y="434"/>
                  <a:pt x="4892" y="434"/>
                  <a:pt x="4892" y="434"/>
                </a:cubicBezTo>
                <a:cubicBezTo>
                  <a:pt x="4854" y="434"/>
                  <a:pt x="4850" y="422"/>
                  <a:pt x="4850" y="366"/>
                </a:cubicBezTo>
                <a:cubicBezTo>
                  <a:pt x="4850" y="274"/>
                  <a:pt x="4850" y="274"/>
                  <a:pt x="4850" y="274"/>
                </a:cubicBezTo>
                <a:cubicBezTo>
                  <a:pt x="4850" y="256"/>
                  <a:pt x="4848" y="240"/>
                  <a:pt x="4844" y="228"/>
                </a:cubicBezTo>
                <a:cubicBezTo>
                  <a:pt x="4830" y="186"/>
                  <a:pt x="4796" y="170"/>
                  <a:pt x="4748" y="170"/>
                </a:cubicBezTo>
                <a:cubicBezTo>
                  <a:pt x="4718" y="170"/>
                  <a:pt x="4674" y="180"/>
                  <a:pt x="4650" y="202"/>
                </a:cubicBezTo>
                <a:cubicBezTo>
                  <a:pt x="4652" y="214"/>
                  <a:pt x="4664" y="240"/>
                  <a:pt x="4670" y="248"/>
                </a:cubicBezTo>
                <a:cubicBezTo>
                  <a:pt x="4676" y="246"/>
                  <a:pt x="4676" y="246"/>
                  <a:pt x="4676" y="246"/>
                </a:cubicBezTo>
                <a:cubicBezTo>
                  <a:pt x="4688" y="216"/>
                  <a:pt x="4708" y="194"/>
                  <a:pt x="4742" y="194"/>
                </a:cubicBezTo>
                <a:cubicBezTo>
                  <a:pt x="4778" y="194"/>
                  <a:pt x="4794" y="220"/>
                  <a:pt x="4794" y="250"/>
                </a:cubicBezTo>
                <a:cubicBezTo>
                  <a:pt x="4794" y="282"/>
                  <a:pt x="4794" y="282"/>
                  <a:pt x="4794" y="282"/>
                </a:cubicBezTo>
                <a:cubicBezTo>
                  <a:pt x="4794" y="302"/>
                  <a:pt x="4702" y="306"/>
                  <a:pt x="4664" y="338"/>
                </a:cubicBezTo>
                <a:cubicBezTo>
                  <a:pt x="4652" y="350"/>
                  <a:pt x="4642" y="364"/>
                  <a:pt x="4642" y="384"/>
                </a:cubicBezTo>
                <a:cubicBezTo>
                  <a:pt x="4642" y="426"/>
                  <a:pt x="4672" y="456"/>
                  <a:pt x="4716" y="456"/>
                </a:cubicBezTo>
                <a:cubicBezTo>
                  <a:pt x="4744" y="456"/>
                  <a:pt x="4768" y="446"/>
                  <a:pt x="4794" y="418"/>
                </a:cubicBezTo>
                <a:cubicBezTo>
                  <a:pt x="4798" y="438"/>
                  <a:pt x="4814" y="448"/>
                  <a:pt x="4842" y="448"/>
                </a:cubicBezTo>
                <a:cubicBezTo>
                  <a:pt x="4906" y="448"/>
                  <a:pt x="4906" y="448"/>
                  <a:pt x="4906" y="448"/>
                </a:cubicBezTo>
                <a:cubicBezTo>
                  <a:pt x="4906" y="448"/>
                  <a:pt x="4906" y="448"/>
                  <a:pt x="4906" y="448"/>
                </a:cubicBezTo>
                <a:cubicBezTo>
                  <a:pt x="5048" y="448"/>
                  <a:pt x="5048" y="448"/>
                  <a:pt x="5048" y="448"/>
                </a:cubicBezTo>
                <a:cubicBezTo>
                  <a:pt x="5048" y="436"/>
                  <a:pt x="5048" y="436"/>
                  <a:pt x="5048" y="436"/>
                </a:cubicBezTo>
                <a:cubicBezTo>
                  <a:pt x="5006" y="432"/>
                  <a:pt x="5004" y="434"/>
                  <a:pt x="5004" y="338"/>
                </a:cubicBezTo>
                <a:cubicBezTo>
                  <a:pt x="5004" y="262"/>
                  <a:pt x="5004" y="262"/>
                  <a:pt x="5004" y="262"/>
                </a:cubicBezTo>
                <a:cubicBezTo>
                  <a:pt x="5004" y="236"/>
                  <a:pt x="5038" y="206"/>
                  <a:pt x="5080" y="206"/>
                </a:cubicBezTo>
                <a:cubicBezTo>
                  <a:pt x="5114" y="206"/>
                  <a:pt x="5140" y="220"/>
                  <a:pt x="5140" y="286"/>
                </a:cubicBezTo>
                <a:cubicBezTo>
                  <a:pt x="5140" y="340"/>
                  <a:pt x="5140" y="340"/>
                  <a:pt x="5140" y="340"/>
                </a:cubicBezTo>
                <a:cubicBezTo>
                  <a:pt x="5140" y="432"/>
                  <a:pt x="5136" y="432"/>
                  <a:pt x="5098" y="434"/>
                </a:cubicBezTo>
                <a:cubicBezTo>
                  <a:pt x="5098" y="446"/>
                  <a:pt x="5098" y="446"/>
                  <a:pt x="5098" y="446"/>
                </a:cubicBezTo>
                <a:cubicBezTo>
                  <a:pt x="5240" y="446"/>
                  <a:pt x="5240" y="446"/>
                  <a:pt x="5240" y="446"/>
                </a:cubicBezTo>
                <a:lnTo>
                  <a:pt x="5240" y="434"/>
                </a:lnTo>
                <a:close/>
                <a:moveTo>
                  <a:pt x="5516" y="192"/>
                </a:moveTo>
                <a:cubicBezTo>
                  <a:pt x="5516" y="180"/>
                  <a:pt x="5516" y="180"/>
                  <a:pt x="5516" y="180"/>
                </a:cubicBezTo>
                <a:cubicBezTo>
                  <a:pt x="5418" y="180"/>
                  <a:pt x="5418" y="180"/>
                  <a:pt x="5418" y="180"/>
                </a:cubicBezTo>
                <a:cubicBezTo>
                  <a:pt x="5418" y="192"/>
                  <a:pt x="5418" y="192"/>
                  <a:pt x="5418" y="192"/>
                </a:cubicBezTo>
                <a:cubicBezTo>
                  <a:pt x="5442" y="194"/>
                  <a:pt x="5454" y="206"/>
                  <a:pt x="5446" y="234"/>
                </a:cubicBezTo>
                <a:cubicBezTo>
                  <a:pt x="5394" y="390"/>
                  <a:pt x="5394" y="390"/>
                  <a:pt x="5394" y="390"/>
                </a:cubicBezTo>
                <a:cubicBezTo>
                  <a:pt x="5342" y="270"/>
                  <a:pt x="5342" y="270"/>
                  <a:pt x="5342" y="270"/>
                </a:cubicBezTo>
                <a:cubicBezTo>
                  <a:pt x="5328" y="238"/>
                  <a:pt x="5322" y="224"/>
                  <a:pt x="5322" y="212"/>
                </a:cubicBezTo>
                <a:cubicBezTo>
                  <a:pt x="5322" y="202"/>
                  <a:pt x="5328" y="196"/>
                  <a:pt x="5348" y="192"/>
                </a:cubicBezTo>
                <a:cubicBezTo>
                  <a:pt x="5348" y="180"/>
                  <a:pt x="5348" y="180"/>
                  <a:pt x="5348" y="180"/>
                </a:cubicBezTo>
                <a:cubicBezTo>
                  <a:pt x="5220" y="180"/>
                  <a:pt x="5220" y="180"/>
                  <a:pt x="5220" y="180"/>
                </a:cubicBezTo>
                <a:cubicBezTo>
                  <a:pt x="5220" y="192"/>
                  <a:pt x="5220" y="192"/>
                  <a:pt x="5220" y="192"/>
                </a:cubicBezTo>
                <a:cubicBezTo>
                  <a:pt x="5252" y="194"/>
                  <a:pt x="5254" y="198"/>
                  <a:pt x="5296" y="292"/>
                </a:cubicBezTo>
                <a:cubicBezTo>
                  <a:pt x="5368" y="450"/>
                  <a:pt x="5368" y="450"/>
                  <a:pt x="5368" y="450"/>
                </a:cubicBezTo>
                <a:cubicBezTo>
                  <a:pt x="5344" y="512"/>
                  <a:pt x="5306" y="546"/>
                  <a:pt x="5228" y="564"/>
                </a:cubicBezTo>
                <a:cubicBezTo>
                  <a:pt x="5232" y="576"/>
                  <a:pt x="5246" y="600"/>
                  <a:pt x="5254" y="606"/>
                </a:cubicBezTo>
                <a:cubicBezTo>
                  <a:pt x="5356" y="564"/>
                  <a:pt x="5376" y="498"/>
                  <a:pt x="5412" y="396"/>
                </a:cubicBezTo>
                <a:cubicBezTo>
                  <a:pt x="5466" y="242"/>
                  <a:pt x="5466" y="242"/>
                  <a:pt x="5466" y="242"/>
                </a:cubicBezTo>
                <a:cubicBezTo>
                  <a:pt x="5478" y="206"/>
                  <a:pt x="5498" y="192"/>
                  <a:pt x="5516" y="192"/>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600" kern="1200">
                <a:solidFill>
                  <a:schemeClr val="tx1"/>
                </a:solidFill>
                <a:latin typeface="Arial" charset="0"/>
                <a:ea typeface="+mn-ea"/>
                <a:cs typeface="+mn-cs"/>
              </a:defRPr>
            </a:lvl1pPr>
            <a:lvl2pPr marL="457200" algn="l" rtl="0" fontAlgn="base">
              <a:spcBef>
                <a:spcPct val="0"/>
              </a:spcBef>
              <a:spcAft>
                <a:spcPct val="0"/>
              </a:spcAft>
              <a:defRPr sz="1600" kern="1200">
                <a:solidFill>
                  <a:schemeClr val="tx1"/>
                </a:solidFill>
                <a:latin typeface="Arial" charset="0"/>
                <a:ea typeface="+mn-ea"/>
                <a:cs typeface="+mn-cs"/>
              </a:defRPr>
            </a:lvl2pPr>
            <a:lvl3pPr marL="914400" algn="l" rtl="0" fontAlgn="base">
              <a:spcBef>
                <a:spcPct val="0"/>
              </a:spcBef>
              <a:spcAft>
                <a:spcPct val="0"/>
              </a:spcAft>
              <a:defRPr sz="1600" kern="1200">
                <a:solidFill>
                  <a:schemeClr val="tx1"/>
                </a:solidFill>
                <a:latin typeface="Arial" charset="0"/>
                <a:ea typeface="+mn-ea"/>
                <a:cs typeface="+mn-cs"/>
              </a:defRPr>
            </a:lvl3pPr>
            <a:lvl4pPr marL="1371600" algn="l" rtl="0" fontAlgn="base">
              <a:spcBef>
                <a:spcPct val="0"/>
              </a:spcBef>
              <a:spcAft>
                <a:spcPct val="0"/>
              </a:spcAft>
              <a:defRPr sz="1600" kern="1200">
                <a:solidFill>
                  <a:schemeClr val="tx1"/>
                </a:solidFill>
                <a:latin typeface="Arial" charset="0"/>
                <a:ea typeface="+mn-ea"/>
                <a:cs typeface="+mn-cs"/>
              </a:defRPr>
            </a:lvl4pPr>
            <a:lvl5pPr marL="1828800" algn="l" rtl="0" fontAlgn="base">
              <a:spcBef>
                <a:spcPct val="0"/>
              </a:spcBef>
              <a:spcAft>
                <a:spcPct val="0"/>
              </a:spcAft>
              <a:defRPr sz="1600" kern="1200">
                <a:solidFill>
                  <a:schemeClr val="tx1"/>
                </a:solidFill>
                <a:latin typeface="Arial" charset="0"/>
                <a:ea typeface="+mn-ea"/>
                <a:cs typeface="+mn-cs"/>
              </a:defRPr>
            </a:lvl5pPr>
            <a:lvl6pPr marL="2286000" algn="l" defTabSz="914400" rtl="0" eaLnBrk="1" latinLnBrk="0" hangingPunct="1">
              <a:defRPr sz="1600" kern="1200">
                <a:solidFill>
                  <a:schemeClr val="tx1"/>
                </a:solidFill>
                <a:latin typeface="Arial" charset="0"/>
                <a:ea typeface="+mn-ea"/>
                <a:cs typeface="+mn-cs"/>
              </a:defRPr>
            </a:lvl6pPr>
            <a:lvl7pPr marL="2743200" algn="l" defTabSz="914400" rtl="0" eaLnBrk="1" latinLnBrk="0" hangingPunct="1">
              <a:defRPr sz="1600" kern="1200">
                <a:solidFill>
                  <a:schemeClr val="tx1"/>
                </a:solidFill>
                <a:latin typeface="Arial" charset="0"/>
                <a:ea typeface="+mn-ea"/>
                <a:cs typeface="+mn-cs"/>
              </a:defRPr>
            </a:lvl7pPr>
            <a:lvl8pPr marL="3200400" algn="l" defTabSz="914400" rtl="0" eaLnBrk="1" latinLnBrk="0" hangingPunct="1">
              <a:defRPr sz="1600" kern="1200">
                <a:solidFill>
                  <a:schemeClr val="tx1"/>
                </a:solidFill>
                <a:latin typeface="Arial" charset="0"/>
                <a:ea typeface="+mn-ea"/>
                <a:cs typeface="+mn-cs"/>
              </a:defRPr>
            </a:lvl8pPr>
            <a:lvl9pPr marL="3657600" algn="l" defTabSz="914400" rtl="0" eaLnBrk="1" latinLnBrk="0" hangingPunct="1">
              <a:defRPr sz="1600" kern="1200">
                <a:solidFill>
                  <a:schemeClr val="tx1"/>
                </a:solidFill>
                <a:latin typeface="Arial" charset="0"/>
                <a:ea typeface="+mn-ea"/>
                <a:cs typeface="+mn-cs"/>
              </a:defRPr>
            </a:lvl9pPr>
          </a:lstStyle>
          <a:p>
            <a:endParaRPr lang="en-US" baseline="0" dirty="0">
              <a:solidFill>
                <a:srgbClr val="000000"/>
              </a:solidFill>
              <a:latin typeface="+mn-lt"/>
            </a:endParaRPr>
          </a:p>
        </p:txBody>
      </p:sp>
      <p:sp>
        <p:nvSpPr>
          <p:cNvPr id="27" name="Disclaimer-English (United States)" hidden="1"/>
          <p:cNvSpPr>
            <a:spLocks noChangeArrowheads="1"/>
          </p:cNvSpPr>
          <p:nvPr/>
        </p:nvSpPr>
        <p:spPr bwMode="black">
          <a:xfrm>
            <a:off x="2268266" y="6287785"/>
            <a:ext cx="3544453" cy="36908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t" anchorCtr="0">
            <a:noAutofit/>
          </a:bodyPr>
          <a:lstStyle/>
          <a:p>
            <a:pPr defTabSz="804863" eaLnBrk="0" hangingPunct="0"/>
            <a:r>
              <a:rPr lang="en-US" sz="800" baseline="0" dirty="0">
                <a:solidFill>
                  <a:srgbClr val="FFFFFF"/>
                </a:solidFill>
                <a:latin typeface="+mn-lt"/>
              </a:rPr>
              <a:t>CONFIDENTIAL AND PROPRIETARY</a:t>
            </a:r>
          </a:p>
          <a:p>
            <a:pPr defTabSz="804863" eaLnBrk="0" hangingPunct="0"/>
            <a:r>
              <a:rPr lang="en-US" sz="800" baseline="0" dirty="0">
                <a:solidFill>
                  <a:srgbClr val="FFFFFF"/>
                </a:solidFill>
                <a:latin typeface="+mn-lt"/>
              </a:rPr>
              <a:t>Any use of this material without specific permission of McKinsey &amp; Company is strictly prohibited</a:t>
            </a:r>
          </a:p>
        </p:txBody>
      </p:sp>
    </p:spTree>
    <p:extLst>
      <p:ext uri="{BB962C8B-B14F-4D97-AF65-F5344CB8AC3E}">
        <p14:creationId xmlns:p14="http://schemas.microsoft.com/office/powerpoint/2010/main" val="4200347397"/>
      </p:ext>
    </p:extLst>
  </p:cSld>
  <p:clrMapOvr>
    <a:masterClrMapping/>
  </p:clrMapOvr>
  <p:extLst mod="1">
    <p:ext uri="{DCECCB84-F9BA-43D5-87BE-67443E8EF086}">
      <p15:sldGuideLst xmlns:p15="http://schemas.microsoft.com/office/powerpoint/2012/main">
        <p15:guide id="1" orient="horz" pos="2117">
          <p15:clr>
            <a:srgbClr val="FBAE40"/>
          </p15:clr>
        </p15:guide>
        <p15:guide id="2" pos="1416">
          <p15:clr>
            <a:srgbClr val="FBAE40"/>
          </p15:clr>
        </p15:guide>
      </p15:sldGuideLst>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6E228F5-5CF1-42E1-9748-97D7582A107A}"/>
              </a:ext>
            </a:extLst>
          </p:cNvPr>
          <p:cNvGraphicFramePr>
            <a:graphicFrameLocks noChangeAspect="1"/>
          </p:cNvGraphicFramePr>
          <p:nvPr>
            <p:custDataLst>
              <p:tags r:id="rId2"/>
            </p:custDataLst>
            <p:extLst>
              <p:ext uri="{D42A27DB-BD31-4B8C-83A1-F6EECF244321}">
                <p14:modId xmlns:p14="http://schemas.microsoft.com/office/powerpoint/2010/main" val="188279522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1508" name="think-cell Slide" r:id="rId5" imgW="353" imgH="353" progId="TCLayout.ActiveDocument.1">
                  <p:embed/>
                </p:oleObj>
              </mc:Choice>
              <mc:Fallback>
                <p:oleObj name="think-cell Slide" r:id="rId5" imgW="353" imgH="353" progId="TCLayout.ActiveDocument.1">
                  <p:embed/>
                  <p:pic>
                    <p:nvPicPr>
                      <p:cNvPr id="3" name="Object 2" hidden="1">
                        <a:extLst>
                          <a:ext uri="{FF2B5EF4-FFF2-40B4-BE49-F238E27FC236}">
                            <a16:creationId xmlns:a16="http://schemas.microsoft.com/office/drawing/2014/main" id="{C6E228F5-5CF1-42E1-9748-97D7582A107A}"/>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2. Slide Title"/>
          <p:cNvSpPr>
            <a:spLocks noGrp="1"/>
          </p:cNvSpPr>
          <p:nvPr>
            <p:ph type="title"/>
          </p:nvPr>
        </p:nvSpPr>
        <p:spPr bwMode="auto"/>
        <p:txBody>
          <a:bodyPr/>
          <a:lstStyle/>
          <a:p>
            <a:r>
              <a:rPr lang="en-US"/>
              <a:t>Click to edit Master title style</a:t>
            </a:r>
            <a:endParaRPr lang="en-US" dirty="0"/>
          </a:p>
        </p:txBody>
      </p:sp>
      <p:sp>
        <p:nvSpPr>
          <p:cNvPr id="8" name="Slide Number"/>
          <p:cNvSpPr txBox="1">
            <a:spLocks/>
          </p:cNvSpPr>
          <p:nvPr/>
        </p:nvSpPr>
        <p:spPr bwMode="auto">
          <a:xfrm>
            <a:off x="8564563" y="6508272"/>
            <a:ext cx="125034" cy="123111"/>
          </a:xfrm>
          <a:prstGeom prst="rect">
            <a:avLst/>
          </a:prstGeom>
        </p:spPr>
        <p:txBody>
          <a:bodyPr vert="horz" wrap="none" lIns="0" tIns="0" rIns="0" bIns="0" rtlCol="0" anchor="ctr">
            <a:spAutoFit/>
          </a:bodyPr>
          <a:lstStyle>
            <a:defPPr>
              <a:defRPr lang="en-US"/>
            </a:defPPr>
            <a:lvl1pPr>
              <a:defRPr sz="1000" baseline="0">
                <a:latin typeface="+mn-lt"/>
              </a:defRPr>
            </a:lvl1pPr>
          </a:lstStyle>
          <a:p>
            <a:fld id="{42C328C1-A84F-4A39-A664-DBA00541A8C6}" type="slidenum">
              <a:rPr lang="en-US" sz="800" baseline="0" smtClean="0">
                <a:solidFill>
                  <a:srgbClr val="808080"/>
                </a:solidFill>
                <a:latin typeface="+mn-lt"/>
              </a:rPr>
              <a:pPr/>
              <a:t>‹#›</a:t>
            </a:fld>
            <a:endParaRPr lang="en-US" sz="800" baseline="0" dirty="0">
              <a:solidFill>
                <a:srgbClr val="808080"/>
              </a:solidFill>
              <a:latin typeface="+mn-lt"/>
            </a:endParaRPr>
          </a:p>
        </p:txBody>
      </p:sp>
      <p:sp>
        <p:nvSpPr>
          <p:cNvPr id="9" name="SlideLogoText"/>
          <p:cNvSpPr>
            <a:spLocks noChangeArrowheads="1"/>
          </p:cNvSpPr>
          <p:nvPr>
            <p:custDataLst>
              <p:tags r:id="rId3"/>
            </p:custDataLst>
          </p:nvPr>
        </p:nvSpPr>
        <p:spPr bwMode="auto">
          <a:xfrm>
            <a:off x="7450817" y="6508272"/>
            <a:ext cx="1013098"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algn="r" defTabSz="895350"/>
            <a:r>
              <a:rPr lang="en-US" sz="800" baseline="0" dirty="0">
                <a:solidFill>
                  <a:srgbClr val="808080"/>
                </a:solidFill>
                <a:latin typeface="+mn-lt"/>
              </a:rPr>
              <a:t>McKinsey &amp; Company</a:t>
            </a:r>
          </a:p>
        </p:txBody>
      </p:sp>
      <p:sp>
        <p:nvSpPr>
          <p:cNvPr id="5" name="doc id" hidden="1"/>
          <p:cNvSpPr txBox="1">
            <a:spLocks noChangeArrowheads="1"/>
          </p:cNvSpPr>
          <p:nvPr/>
        </p:nvSpPr>
        <p:spPr bwMode="white">
          <a:xfrm>
            <a:off x="8104473" y="36513"/>
            <a:ext cx="634716" cy="115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hangingPunct="1">
              <a:defRPr/>
            </a:pPr>
            <a:endParaRPr lang="en-US" sz="800" baseline="0" dirty="0">
              <a:solidFill>
                <a:schemeClr val="accent1"/>
              </a:solidFill>
              <a:latin typeface="+mn-lt"/>
              <a:ea typeface="+mn-ea"/>
            </a:endParaRPr>
          </a:p>
        </p:txBody>
      </p:sp>
    </p:spTree>
    <p:extLst>
      <p:ext uri="{BB962C8B-B14F-4D97-AF65-F5344CB8AC3E}">
        <p14:creationId xmlns:p14="http://schemas.microsoft.com/office/powerpoint/2010/main" val="1037329164"/>
      </p:ext>
    </p:extLst>
  </p:cSld>
  <p:clrMapOvr>
    <a:masterClrMapping/>
  </p:clrMapOvr>
  <p:extLst mod="1">
    <p:ext uri="{DCECCB84-F9BA-43D5-87BE-67443E8EF086}">
      <p15:sldGuideLst xmlns:p15="http://schemas.microsoft.com/office/powerpoint/2012/main">
        <p15:guide id="1" pos="5505">
          <p15:clr>
            <a:srgbClr val="F26B43"/>
          </p15:clr>
        </p15:guide>
        <p15:guide id="2" pos="74">
          <p15:clr>
            <a:srgbClr val="F26B43"/>
          </p15:clr>
        </p15:guide>
        <p15:guide id="3" orient="horz" pos="571">
          <p15:clr>
            <a:srgbClr val="F26B43"/>
          </p15:clr>
        </p15:guide>
        <p15:guide id="4" orient="horz" pos="3911">
          <p15:clr>
            <a:srgbClr val="F26B43"/>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Title Only">
    <p:bg>
      <p:bgPr>
        <a:solidFill>
          <a:schemeClr val="accent2"/>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F4AD34F-3B47-47E2-A09C-FFEB949F6A10}"/>
              </a:ext>
            </a:extLst>
          </p:cNvPr>
          <p:cNvGraphicFramePr>
            <a:graphicFrameLocks noChangeAspect="1"/>
          </p:cNvGraphicFramePr>
          <p:nvPr>
            <p:custDataLst>
              <p:tags r:id="rId2"/>
            </p:custDataLst>
            <p:extLst>
              <p:ext uri="{D42A27DB-BD31-4B8C-83A1-F6EECF244321}">
                <p14:modId xmlns:p14="http://schemas.microsoft.com/office/powerpoint/2010/main" val="380431475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476" name="think-cell Slide" r:id="rId5" imgW="395" imgH="394" progId="TCLayout.ActiveDocument.1">
                  <p:embed/>
                </p:oleObj>
              </mc:Choice>
              <mc:Fallback>
                <p:oleObj name="think-cell Slide" r:id="rId5" imgW="395" imgH="394" progId="TCLayout.ActiveDocument.1">
                  <p:embed/>
                  <p:pic>
                    <p:nvPicPr>
                      <p:cNvPr id="3" name="Object 2" hidden="1">
                        <a:extLst>
                          <a:ext uri="{FF2B5EF4-FFF2-40B4-BE49-F238E27FC236}">
                            <a16:creationId xmlns:a16="http://schemas.microsoft.com/office/drawing/2014/main" id="{EF4AD34F-3B47-47E2-A09C-FFEB949F6A10}"/>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endParaRPr lang="en-US" dirty="0"/>
          </a:p>
        </p:txBody>
      </p:sp>
      <p:sp>
        <p:nvSpPr>
          <p:cNvPr id="15" name="Slide Number"/>
          <p:cNvSpPr txBox="1">
            <a:spLocks/>
          </p:cNvSpPr>
          <p:nvPr/>
        </p:nvSpPr>
        <p:spPr>
          <a:xfrm>
            <a:off x="8564563" y="6508272"/>
            <a:ext cx="125034" cy="123111"/>
          </a:xfrm>
          <a:prstGeom prst="rect">
            <a:avLst/>
          </a:prstGeom>
        </p:spPr>
        <p:txBody>
          <a:bodyPr vert="horz" wrap="none" lIns="0" tIns="0" rIns="0" bIns="0" rtlCol="0" anchor="ctr">
            <a:spAutoFit/>
          </a:bodyPr>
          <a:lstStyle>
            <a:defPPr>
              <a:defRPr lang="en-US"/>
            </a:defPPr>
            <a:lvl1pPr>
              <a:defRPr sz="1000" baseline="0">
                <a:latin typeface="+mn-lt"/>
              </a:defRPr>
            </a:lvl1pPr>
          </a:lstStyle>
          <a:p>
            <a:fld id="{42C328C1-A84F-4A39-A664-DBA00541A8C6}" type="slidenum">
              <a:rPr lang="en-US" sz="800" baseline="0" smtClean="0">
                <a:solidFill>
                  <a:srgbClr val="FFFFFF"/>
                </a:solidFill>
                <a:latin typeface="+mn-lt"/>
              </a:rPr>
              <a:pPr/>
              <a:t>‹#›</a:t>
            </a:fld>
            <a:endParaRPr lang="en-US" sz="800" baseline="0" dirty="0">
              <a:solidFill>
                <a:srgbClr val="FFFFFF"/>
              </a:solidFill>
              <a:latin typeface="+mn-lt"/>
            </a:endParaRPr>
          </a:p>
        </p:txBody>
      </p:sp>
      <p:sp>
        <p:nvSpPr>
          <p:cNvPr id="16" name="SlideLogoText"/>
          <p:cNvSpPr>
            <a:spLocks noChangeArrowheads="1"/>
          </p:cNvSpPr>
          <p:nvPr>
            <p:custDataLst>
              <p:tags r:id="rId3"/>
            </p:custDataLst>
          </p:nvPr>
        </p:nvSpPr>
        <p:spPr bwMode="auto">
          <a:xfrm>
            <a:off x="7450817" y="6508272"/>
            <a:ext cx="1013098"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algn="r" defTabSz="895350"/>
            <a:r>
              <a:rPr lang="en-US" sz="800" baseline="0" dirty="0">
                <a:solidFill>
                  <a:srgbClr val="FFFFFF"/>
                </a:solidFill>
                <a:latin typeface="+mn-lt"/>
              </a:rPr>
              <a:t>McKinsey &amp; Company</a:t>
            </a:r>
          </a:p>
        </p:txBody>
      </p:sp>
      <p:sp>
        <p:nvSpPr>
          <p:cNvPr id="5" name="doc id" hidden="1"/>
          <p:cNvSpPr txBox="1">
            <a:spLocks noChangeArrowheads="1"/>
          </p:cNvSpPr>
          <p:nvPr/>
        </p:nvSpPr>
        <p:spPr bwMode="white">
          <a:xfrm>
            <a:off x="8104473" y="36513"/>
            <a:ext cx="634716" cy="115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hangingPunct="1">
              <a:defRPr/>
            </a:pPr>
            <a:endParaRPr lang="en-US" sz="800" baseline="0" dirty="0">
              <a:solidFill>
                <a:schemeClr val="accent1"/>
              </a:solidFill>
              <a:latin typeface="+mn-lt"/>
              <a:ea typeface="+mn-ea"/>
            </a:endParaRPr>
          </a:p>
        </p:txBody>
      </p:sp>
    </p:spTree>
    <p:extLst>
      <p:ext uri="{BB962C8B-B14F-4D97-AF65-F5344CB8AC3E}">
        <p14:creationId xmlns:p14="http://schemas.microsoft.com/office/powerpoint/2010/main" val="2710434701"/>
      </p:ext>
    </p:extLst>
  </p:cSld>
  <p:clrMapOvr>
    <a:masterClrMapping/>
  </p:clrMapOvr>
  <p:extLst mod="1">
    <p:ext uri="{DCECCB84-F9BA-43D5-87BE-67443E8EF086}">
      <p15:sldGuideLst xmlns:p15="http://schemas.microsoft.com/office/powerpoint/2012/main">
        <p15:guide id="1" pos="3978">
          <p15:clr>
            <a:srgbClr val="000000"/>
          </p15:clr>
        </p15:guide>
        <p15:guide id="2" orient="horz" pos="570">
          <p15:clr>
            <a:srgbClr val="000000"/>
          </p15:clr>
        </p15:guide>
        <p15:guide id="3" orient="horz" pos="3912">
          <p15:clr>
            <a:srgbClr val="000000"/>
          </p15:clr>
        </p15:guide>
        <p15:guide id="4" pos="72">
          <p15:clr>
            <a:srgbClr val="000000"/>
          </p15:clr>
        </p15:guide>
      </p15:sldGuideLst>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p:cSld name="1_Title Only">
    <p:bg>
      <p:bgPr>
        <a:solidFill>
          <a:schemeClr val="accent2"/>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F4AD34F-3B47-47E2-A09C-FFEB949F6A10}"/>
              </a:ext>
            </a:extLst>
          </p:cNvPr>
          <p:cNvGraphicFramePr>
            <a:graphicFrameLocks noChangeAspect="1"/>
          </p:cNvGraphicFramePr>
          <p:nvPr>
            <p:custDataLst>
              <p:tags r:id="rId2"/>
            </p:custDataLst>
            <p:extLst>
              <p:ext uri="{D42A27DB-BD31-4B8C-83A1-F6EECF244321}">
                <p14:modId xmlns:p14="http://schemas.microsoft.com/office/powerpoint/2010/main" val="237925779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2532" name="think-cell Slide" r:id="rId5" imgW="395" imgH="394" progId="TCLayout.ActiveDocument.1">
                  <p:embed/>
                </p:oleObj>
              </mc:Choice>
              <mc:Fallback>
                <p:oleObj name="think-cell Slide" r:id="rId5" imgW="395" imgH="394" progId="TCLayout.ActiveDocument.1">
                  <p:embed/>
                  <p:pic>
                    <p:nvPicPr>
                      <p:cNvPr id="3" name="Object 2" hidden="1">
                        <a:extLst>
                          <a:ext uri="{FF2B5EF4-FFF2-40B4-BE49-F238E27FC236}">
                            <a16:creationId xmlns:a16="http://schemas.microsoft.com/office/drawing/2014/main" id="{EF4AD34F-3B47-47E2-A09C-FFEB949F6A10}"/>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endParaRPr lang="en-US" dirty="0"/>
          </a:p>
        </p:txBody>
      </p:sp>
      <p:sp>
        <p:nvSpPr>
          <p:cNvPr id="15" name="Slide Number"/>
          <p:cNvSpPr txBox="1">
            <a:spLocks/>
          </p:cNvSpPr>
          <p:nvPr/>
        </p:nvSpPr>
        <p:spPr>
          <a:xfrm>
            <a:off x="8564563" y="6508272"/>
            <a:ext cx="125034" cy="123111"/>
          </a:xfrm>
          <a:prstGeom prst="rect">
            <a:avLst/>
          </a:prstGeom>
        </p:spPr>
        <p:txBody>
          <a:bodyPr vert="horz" wrap="none" lIns="0" tIns="0" rIns="0" bIns="0" rtlCol="0" anchor="ctr">
            <a:spAutoFit/>
          </a:bodyPr>
          <a:lstStyle>
            <a:defPPr>
              <a:defRPr lang="en-US"/>
            </a:defPPr>
            <a:lvl1pPr>
              <a:defRPr sz="1000" baseline="0">
                <a:latin typeface="+mn-lt"/>
              </a:defRPr>
            </a:lvl1pPr>
          </a:lstStyle>
          <a:p>
            <a:fld id="{42C328C1-A84F-4A39-A664-DBA00541A8C6}" type="slidenum">
              <a:rPr lang="en-US" sz="800" baseline="0" smtClean="0">
                <a:solidFill>
                  <a:srgbClr val="FFFFFF"/>
                </a:solidFill>
                <a:latin typeface="+mn-lt"/>
              </a:rPr>
              <a:pPr/>
              <a:t>‹#›</a:t>
            </a:fld>
            <a:endParaRPr lang="en-US" sz="800" baseline="0" dirty="0">
              <a:solidFill>
                <a:srgbClr val="FFFFFF"/>
              </a:solidFill>
              <a:latin typeface="+mn-lt"/>
            </a:endParaRPr>
          </a:p>
        </p:txBody>
      </p:sp>
      <p:sp>
        <p:nvSpPr>
          <p:cNvPr id="16" name="SlideLogoText"/>
          <p:cNvSpPr>
            <a:spLocks noChangeArrowheads="1"/>
          </p:cNvSpPr>
          <p:nvPr>
            <p:custDataLst>
              <p:tags r:id="rId3"/>
            </p:custDataLst>
          </p:nvPr>
        </p:nvSpPr>
        <p:spPr bwMode="auto">
          <a:xfrm>
            <a:off x="7450817" y="6508272"/>
            <a:ext cx="1013098"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algn="r" defTabSz="895350"/>
            <a:r>
              <a:rPr lang="en-US" sz="800" baseline="0" dirty="0">
                <a:solidFill>
                  <a:srgbClr val="FFFFFF"/>
                </a:solidFill>
                <a:latin typeface="+mn-lt"/>
              </a:rPr>
              <a:t>McKinsey &amp; Company</a:t>
            </a:r>
          </a:p>
        </p:txBody>
      </p:sp>
      <p:sp>
        <p:nvSpPr>
          <p:cNvPr id="5" name="doc id" hidden="1"/>
          <p:cNvSpPr txBox="1">
            <a:spLocks noChangeArrowheads="1"/>
          </p:cNvSpPr>
          <p:nvPr/>
        </p:nvSpPr>
        <p:spPr bwMode="white">
          <a:xfrm>
            <a:off x="8104473" y="36513"/>
            <a:ext cx="634716" cy="115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hangingPunct="1">
              <a:defRPr/>
            </a:pPr>
            <a:endParaRPr lang="en-US" sz="800" baseline="0" dirty="0">
              <a:solidFill>
                <a:schemeClr val="accent1"/>
              </a:solidFill>
              <a:latin typeface="+mn-lt"/>
              <a:ea typeface="+mn-ea"/>
            </a:endParaRPr>
          </a:p>
        </p:txBody>
      </p:sp>
    </p:spTree>
    <p:extLst>
      <p:ext uri="{BB962C8B-B14F-4D97-AF65-F5344CB8AC3E}">
        <p14:creationId xmlns:p14="http://schemas.microsoft.com/office/powerpoint/2010/main" val="1553908430"/>
      </p:ext>
    </p:extLst>
  </p:cSld>
  <p:clrMapOvr>
    <a:masterClrMapping/>
  </p:clrMapOvr>
  <p:extLst mod="1">
    <p:ext uri="{DCECCB84-F9BA-43D5-87BE-67443E8EF086}">
      <p15:sldGuideLst xmlns:p15="http://schemas.microsoft.com/office/powerpoint/2012/main">
        <p15:guide id="1" pos="3978">
          <p15:clr>
            <a:srgbClr val="000000"/>
          </p15:clr>
        </p15:guide>
        <p15:guide id="2" orient="horz" pos="570">
          <p15:clr>
            <a:srgbClr val="000000"/>
          </p15:clr>
        </p15:guide>
        <p15:guide id="3" orient="horz" pos="3912">
          <p15:clr>
            <a:srgbClr val="000000"/>
          </p15:clr>
        </p15:guide>
        <p15:guide id="4" pos="72">
          <p15:clr>
            <a:srgbClr val="000000"/>
          </p15:clr>
        </p15:guide>
      </p15:sldGuideLst>
    </p:ext>
  </p:extLst>
</p:sldLayout>
</file>

<file path=ppt/slideLayouts/slideLayout151.xml><?xml version="1.0" encoding="utf-8"?>
<p:sldLayout xmlns:a="http://schemas.openxmlformats.org/drawingml/2006/main" xmlns:r="http://schemas.openxmlformats.org/officeDocument/2006/relationships" xmlns:p="http://schemas.openxmlformats.org/presentationml/2006/main" type="titleOnly">
  <p:cSld name="2_Title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ECD524A-1569-4253-8CD8-48D288AD883C}"/>
              </a:ext>
            </a:extLst>
          </p:cNvPr>
          <p:cNvGraphicFramePr>
            <a:graphicFrameLocks noChangeAspect="1"/>
          </p:cNvGraphicFramePr>
          <p:nvPr>
            <p:custDataLst>
              <p:tags r:id="rId2"/>
            </p:custDataLst>
            <p:extLst>
              <p:ext uri="{D42A27DB-BD31-4B8C-83A1-F6EECF244321}">
                <p14:modId xmlns:p14="http://schemas.microsoft.com/office/powerpoint/2010/main" val="188568178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3556" name="think-cell Slide" r:id="rId4" imgW="395" imgH="394" progId="TCLayout.ActiveDocument.1">
                  <p:embed/>
                </p:oleObj>
              </mc:Choice>
              <mc:Fallback>
                <p:oleObj name="think-cell Slide" r:id="rId4" imgW="395" imgH="394" progId="TCLayout.ActiveDocument.1">
                  <p:embed/>
                  <p:pic>
                    <p:nvPicPr>
                      <p:cNvPr id="3" name="Object 2" hidden="1">
                        <a:extLst>
                          <a:ext uri="{FF2B5EF4-FFF2-40B4-BE49-F238E27FC236}">
                            <a16:creationId xmlns:a16="http://schemas.microsoft.com/office/drawing/2014/main" id="{5ECD524A-1569-4253-8CD8-48D288AD883C}"/>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75918583"/>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pic>
        <p:nvPicPr>
          <p:cNvPr id="2" name="background"/>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0" y="198"/>
            <a:ext cx="8961438" cy="6721079"/>
          </a:xfrm>
          <a:prstGeom prst="rect">
            <a:avLst/>
          </a:prstGeom>
        </p:spPr>
      </p:pic>
      <p:sp>
        <p:nvSpPr>
          <p:cNvPr id="28" name="TitleRectangle"/>
          <p:cNvSpPr txBox="1">
            <a:spLocks/>
          </p:cNvSpPr>
          <p:nvPr/>
        </p:nvSpPr>
        <p:spPr>
          <a:xfrm>
            <a:off x="2084388" y="0"/>
            <a:ext cx="6875462" cy="3575976"/>
          </a:xfrm>
          <a:prstGeom prst="rect">
            <a:avLst/>
          </a:prstGeom>
          <a:solidFill>
            <a:srgbClr val="002960">
              <a:alpha val="92000"/>
            </a:srgbClr>
          </a:solidFill>
        </p:spPr>
        <p:txBody>
          <a:bodyPr vert="horz" wrap="square" lIns="216000" tIns="1440000" rIns="216000" bIns="108000" rtlCol="0">
            <a:noAutofit/>
          </a:bodyPr>
          <a:lstStyle>
            <a:lvl1pPr marL="0" indent="0" algn="l" defTabSz="914400" rtl="0" eaLnBrk="1" latinLnBrk="0" hangingPunct="1">
              <a:spcBef>
                <a:spcPct val="20000"/>
              </a:spcBef>
              <a:spcAft>
                <a:spcPts val="6000"/>
              </a:spcAft>
              <a:buFont typeface="Arial" pitchFamily="34" charset="0"/>
              <a:buNone/>
              <a:defRPr sz="3200" kern="1200">
                <a:solidFill>
                  <a:schemeClr val="accent1"/>
                </a:solidFill>
                <a:latin typeface="+mn-lt"/>
                <a:ea typeface="+mn-ea"/>
                <a:cs typeface="+mn-cs"/>
              </a:defRPr>
            </a:lvl1pPr>
            <a:lvl2pPr marL="0" indent="0" algn="l" defTabSz="914400" rtl="0" eaLnBrk="1" latinLnBrk="0" hangingPunct="1">
              <a:spcBef>
                <a:spcPct val="20000"/>
              </a:spcBef>
              <a:buFont typeface="Wingdings" charset="2"/>
              <a:buNone/>
              <a:defRPr sz="1400" kern="1200">
                <a:solidFill>
                  <a:schemeClr val="tx1">
                    <a:lumMod val="50000"/>
                    <a:lumOff val="50000"/>
                  </a:schemeClr>
                </a:solidFill>
                <a:latin typeface="+mn-lt"/>
                <a:ea typeface="+mn-ea"/>
                <a:cs typeface="+mn-cs"/>
              </a:defRPr>
            </a:lvl2pPr>
            <a:lvl3pPr marL="1143000" indent="-228600" algn="l" defTabSz="914400" rtl="0" eaLnBrk="1" latinLnBrk="0" hangingPunct="1">
              <a:spcBef>
                <a:spcPct val="20000"/>
              </a:spcBef>
              <a:buFont typeface="Lucida Grande"/>
              <a:buChar char="–"/>
              <a:defRPr sz="16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fontAlgn="auto">
              <a:defRPr/>
            </a:pPr>
            <a:r>
              <a:rPr lang="en-US" baseline="0" dirty="0">
                <a:solidFill>
                  <a:srgbClr val="00ADEF"/>
                </a:solidFill>
                <a:latin typeface="+mn-lt"/>
              </a:rPr>
              <a:t>
              </a:t>
            </a:r>
            <a:br>
              <a:rPr lang="en-US" baseline="0" dirty="0">
                <a:solidFill>
                  <a:srgbClr val="00ADEF"/>
                </a:solidFill>
                <a:latin typeface="+mn-lt"/>
              </a:rPr>
            </a:br>
            <a:endParaRPr lang="en-US" baseline="0" dirty="0">
              <a:solidFill>
                <a:srgbClr val="00ADEF"/>
              </a:solidFill>
              <a:latin typeface="+mn-lt"/>
            </a:endParaRPr>
          </a:p>
        </p:txBody>
      </p:sp>
      <p:graphicFrame>
        <p:nvGraphicFramePr>
          <p:cNvPr id="3" name="Object 2"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5604"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Working Draft Text" hidden="1"/>
          <p:cNvSpPr txBox="1">
            <a:spLocks noChangeArrowheads="1"/>
          </p:cNvSpPr>
          <p:nvPr/>
        </p:nvSpPr>
        <p:spPr bwMode="black">
          <a:xfrm>
            <a:off x="5992719" y="6287538"/>
            <a:ext cx="2790000"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800" b="1" baseline="0" dirty="0">
                <a:solidFill>
                  <a:srgbClr val="FFFFFF"/>
                </a:solidFill>
                <a:latin typeface="+mn-lt"/>
              </a:rPr>
              <a:t>WORKING DRAFT</a:t>
            </a:r>
          </a:p>
        </p:txBody>
      </p:sp>
      <p:sp>
        <p:nvSpPr>
          <p:cNvPr id="6" name="Working Draft" hidden="1"/>
          <p:cNvSpPr txBox="1">
            <a:spLocks noChangeArrowheads="1"/>
          </p:cNvSpPr>
          <p:nvPr/>
        </p:nvSpPr>
        <p:spPr bwMode="black">
          <a:xfrm>
            <a:off x="5992718" y="6410648"/>
            <a:ext cx="2968719"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800" baseline="0">
                <a:solidFill>
                  <a:srgbClr val="FFFFFF"/>
                </a:solidFill>
                <a:latin typeface="+mn-lt"/>
              </a:rPr>
              <a:t>Last Modified 21/05/2018 17:44 India Standard Time</a:t>
            </a:r>
            <a:endParaRPr lang="en-US" sz="800" baseline="0" dirty="0">
              <a:solidFill>
                <a:srgbClr val="FFFFFF"/>
              </a:solidFill>
              <a:latin typeface="+mn-lt"/>
            </a:endParaRPr>
          </a:p>
        </p:txBody>
      </p:sp>
      <p:sp>
        <p:nvSpPr>
          <p:cNvPr id="7" name="Printed" hidden="1"/>
          <p:cNvSpPr txBox="1">
            <a:spLocks noChangeArrowheads="1"/>
          </p:cNvSpPr>
          <p:nvPr/>
        </p:nvSpPr>
        <p:spPr bwMode="black">
          <a:xfrm>
            <a:off x="5992719" y="6533759"/>
            <a:ext cx="2790000"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800" baseline="0" dirty="0">
                <a:solidFill>
                  <a:srgbClr val="FFFFFF"/>
                </a:solidFill>
                <a:latin typeface="+mn-lt"/>
              </a:rPr>
              <a:t>Printed</a:t>
            </a:r>
          </a:p>
        </p:txBody>
      </p:sp>
      <p:sp>
        <p:nvSpPr>
          <p:cNvPr id="13314" name="Title"/>
          <p:cNvSpPr>
            <a:spLocks noGrp="1" noChangeArrowheads="1"/>
          </p:cNvSpPr>
          <p:nvPr>
            <p:ph type="ctrTitle"/>
          </p:nvPr>
        </p:nvSpPr>
        <p:spPr>
          <a:xfrm>
            <a:off x="2268266" y="1434419"/>
            <a:ext cx="6231663" cy="492443"/>
          </a:xfrm>
          <a:prstGeom prst="rect">
            <a:avLst/>
          </a:prstGeom>
        </p:spPr>
        <p:txBody>
          <a:bodyPr>
            <a:spAutoFit/>
          </a:bodyPr>
          <a:lstStyle>
            <a:lvl1pPr>
              <a:defRPr sz="3200" b="0" baseline="0">
                <a:solidFill>
                  <a:schemeClr val="accent2"/>
                </a:solidFill>
                <a:latin typeface="+mj-lt"/>
                <a:ea typeface="+mj-ea"/>
              </a:defRPr>
            </a:lvl1pPr>
          </a:lstStyle>
          <a:p>
            <a:pPr lvl="0" latinLnBrk="0"/>
            <a:r>
              <a:rPr lang="en-US" noProof="0"/>
              <a:t>Click to edit Master title style</a:t>
            </a:r>
            <a:endParaRPr lang="en-US" noProof="0" dirty="0"/>
          </a:p>
        </p:txBody>
      </p:sp>
      <p:sp>
        <p:nvSpPr>
          <p:cNvPr id="13315" name="Subtitle"/>
          <p:cNvSpPr>
            <a:spLocks noGrp="1" noChangeArrowheads="1"/>
          </p:cNvSpPr>
          <p:nvPr>
            <p:ph type="subTitle" idx="1"/>
          </p:nvPr>
        </p:nvSpPr>
        <p:spPr>
          <a:xfrm>
            <a:off x="2268266" y="2819401"/>
            <a:ext cx="6231663" cy="215444"/>
          </a:xfrm>
          <a:prstGeom prst="rect">
            <a:avLst/>
          </a:prstGeom>
        </p:spPr>
        <p:txBody>
          <a:bodyPr wrap="square">
            <a:spAutoFit/>
          </a:bodyPr>
          <a:lstStyle>
            <a:lvl1pPr>
              <a:defRPr sz="1400" cap="all" baseline="0">
                <a:solidFill>
                  <a:schemeClr val="bg1"/>
                </a:solidFill>
                <a:latin typeface="+mn-lt"/>
                <a:ea typeface="+mn-ea"/>
              </a:defRPr>
            </a:lvl1pPr>
          </a:lstStyle>
          <a:p>
            <a:pPr lvl="0" latinLnBrk="0"/>
            <a:r>
              <a:rPr lang="en-US" noProof="0"/>
              <a:t>Click to edit Master subtitle style</a:t>
            </a:r>
            <a:endParaRPr lang="en-US" noProof="0" dirty="0"/>
          </a:p>
        </p:txBody>
      </p:sp>
      <p:sp>
        <p:nvSpPr>
          <p:cNvPr id="57" name="Document type" hidden="1"/>
          <p:cNvSpPr txBox="1">
            <a:spLocks noChangeArrowheads="1"/>
          </p:cNvSpPr>
          <p:nvPr/>
        </p:nvSpPr>
        <p:spPr bwMode="gray">
          <a:xfrm>
            <a:off x="2268266" y="3227411"/>
            <a:ext cx="6231663"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00" baseline="0" dirty="0">
                <a:solidFill>
                  <a:schemeClr val="bg1"/>
                </a:solidFill>
                <a:latin typeface="+mn-lt"/>
              </a:rPr>
              <a:t>Document type | Date</a:t>
            </a:r>
          </a:p>
        </p:txBody>
      </p:sp>
      <p:sp>
        <p:nvSpPr>
          <p:cNvPr id="5" name="doc id" hidden="1"/>
          <p:cNvSpPr txBox="1">
            <a:spLocks noChangeArrowheads="1"/>
          </p:cNvSpPr>
          <p:nvPr/>
        </p:nvSpPr>
        <p:spPr bwMode="white">
          <a:xfrm>
            <a:off x="8443913" y="36513"/>
            <a:ext cx="295275" cy="1222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hangingPunct="1">
              <a:defRPr/>
            </a:pPr>
            <a:endParaRPr lang="en-US" sz="800" baseline="0" dirty="0">
              <a:solidFill>
                <a:srgbClr val="FFFFFF"/>
              </a:solidFill>
              <a:latin typeface="+mn-lt"/>
            </a:endParaRPr>
          </a:p>
        </p:txBody>
      </p:sp>
      <p:sp>
        <p:nvSpPr>
          <p:cNvPr id="43" name="LogoImage"/>
          <p:cNvSpPr>
            <a:spLocks noEditPoints="1"/>
          </p:cNvSpPr>
          <p:nvPr/>
        </p:nvSpPr>
        <p:spPr bwMode="white">
          <a:xfrm>
            <a:off x="2269098" y="182925"/>
            <a:ext cx="2176978" cy="238073"/>
          </a:xfrm>
          <a:custGeom>
            <a:avLst/>
            <a:gdLst>
              <a:gd name="T0" fmla="*/ 504 w 5516"/>
              <a:gd name="T1" fmla="*/ 26 h 606"/>
              <a:gd name="T2" fmla="*/ 18 w 5516"/>
              <a:gd name="T3" fmla="*/ 22 h 606"/>
              <a:gd name="T4" fmla="*/ 140 w 5516"/>
              <a:gd name="T5" fmla="*/ 436 h 606"/>
              <a:gd name="T6" fmla="*/ 408 w 5516"/>
              <a:gd name="T7" fmla="*/ 372 h 606"/>
              <a:gd name="T8" fmla="*/ 696 w 5516"/>
              <a:gd name="T9" fmla="*/ 422 h 606"/>
              <a:gd name="T10" fmla="*/ 768 w 5516"/>
              <a:gd name="T11" fmla="*/ 196 h 606"/>
              <a:gd name="T12" fmla="*/ 1272 w 5516"/>
              <a:gd name="T13" fmla="*/ 26 h 606"/>
              <a:gd name="T14" fmla="*/ 1302 w 5516"/>
              <a:gd name="T15" fmla="*/ 338 h 606"/>
              <a:gd name="T16" fmla="*/ 1202 w 5516"/>
              <a:gd name="T17" fmla="*/ 436 h 606"/>
              <a:gd name="T18" fmla="*/ 1030 w 5516"/>
              <a:gd name="T19" fmla="*/ 10 h 606"/>
              <a:gd name="T20" fmla="*/ 960 w 5516"/>
              <a:gd name="T21" fmla="*/ 22 h 606"/>
              <a:gd name="T22" fmla="*/ 804 w 5516"/>
              <a:gd name="T23" fmla="*/ 434 h 606"/>
              <a:gd name="T24" fmla="*/ 930 w 5516"/>
              <a:gd name="T25" fmla="*/ 246 h 606"/>
              <a:gd name="T26" fmla="*/ 1658 w 5516"/>
              <a:gd name="T27" fmla="*/ 342 h 606"/>
              <a:gd name="T28" fmla="*/ 1368 w 5516"/>
              <a:gd name="T29" fmla="*/ 188 h 606"/>
              <a:gd name="T30" fmla="*/ 1514 w 5516"/>
              <a:gd name="T31" fmla="*/ 436 h 606"/>
              <a:gd name="T32" fmla="*/ 1564 w 5516"/>
              <a:gd name="T33" fmla="*/ 434 h 606"/>
              <a:gd name="T34" fmla="*/ 1904 w 5516"/>
              <a:gd name="T35" fmla="*/ 184 h 606"/>
              <a:gd name="T36" fmla="*/ 1728 w 5516"/>
              <a:gd name="T37" fmla="*/ 366 h 606"/>
              <a:gd name="T38" fmla="*/ 2102 w 5516"/>
              <a:gd name="T39" fmla="*/ 192 h 606"/>
              <a:gd name="T40" fmla="*/ 1982 w 5516"/>
              <a:gd name="T41" fmla="*/ 320 h 606"/>
              <a:gd name="T42" fmla="*/ 2478 w 5516"/>
              <a:gd name="T43" fmla="*/ 242 h 606"/>
              <a:gd name="T44" fmla="*/ 2406 w 5516"/>
              <a:gd name="T45" fmla="*/ 390 h 606"/>
              <a:gd name="T46" fmla="*/ 2234 w 5516"/>
              <a:gd name="T47" fmla="*/ 192 h 606"/>
              <a:gd name="T48" fmla="*/ 2478 w 5516"/>
              <a:gd name="T49" fmla="*/ 242 h 606"/>
              <a:gd name="T50" fmla="*/ 2928 w 5516"/>
              <a:gd name="T51" fmla="*/ 448 h 606"/>
              <a:gd name="T52" fmla="*/ 2958 w 5516"/>
              <a:gd name="T53" fmla="*/ 230 h 606"/>
              <a:gd name="T54" fmla="*/ 2716 w 5516"/>
              <a:gd name="T55" fmla="*/ 54 h 606"/>
              <a:gd name="T56" fmla="*/ 2714 w 5516"/>
              <a:gd name="T57" fmla="*/ 36 h 606"/>
              <a:gd name="T58" fmla="*/ 2928 w 5516"/>
              <a:gd name="T59" fmla="*/ 448 h 606"/>
              <a:gd name="T60" fmla="*/ 3388 w 5516"/>
              <a:gd name="T61" fmla="*/ 4 h 606"/>
              <a:gd name="T62" fmla="*/ 3396 w 5516"/>
              <a:gd name="T63" fmla="*/ 366 h 606"/>
              <a:gd name="T64" fmla="*/ 3580 w 5516"/>
              <a:gd name="T65" fmla="*/ 190 h 606"/>
              <a:gd name="T66" fmla="*/ 3502 w 5516"/>
              <a:gd name="T67" fmla="*/ 432 h 606"/>
              <a:gd name="T68" fmla="*/ 4232 w 5516"/>
              <a:gd name="T69" fmla="*/ 348 h 606"/>
              <a:gd name="T70" fmla="*/ 3858 w 5516"/>
              <a:gd name="T71" fmla="*/ 176 h 606"/>
              <a:gd name="T72" fmla="*/ 3758 w 5516"/>
              <a:gd name="T73" fmla="*/ 446 h 606"/>
              <a:gd name="T74" fmla="*/ 3990 w 5516"/>
              <a:gd name="T75" fmla="*/ 282 h 606"/>
              <a:gd name="T76" fmla="*/ 4042 w 5516"/>
              <a:gd name="T77" fmla="*/ 342 h 606"/>
              <a:gd name="T78" fmla="*/ 4134 w 5516"/>
              <a:gd name="T79" fmla="*/ 448 h 606"/>
              <a:gd name="T80" fmla="*/ 4454 w 5516"/>
              <a:gd name="T81" fmla="*/ 202 h 606"/>
              <a:gd name="T82" fmla="*/ 4284 w 5516"/>
              <a:gd name="T83" fmla="*/ 174 h 606"/>
              <a:gd name="T84" fmla="*/ 4432 w 5516"/>
              <a:gd name="T85" fmla="*/ 588 h 606"/>
              <a:gd name="T86" fmla="*/ 4792 w 5516"/>
              <a:gd name="T87" fmla="*/ 382 h 606"/>
              <a:gd name="T88" fmla="*/ 5192 w 5516"/>
              <a:gd name="T89" fmla="*/ 340 h 606"/>
              <a:gd name="T90" fmla="*/ 4902 w 5516"/>
              <a:gd name="T91" fmla="*/ 186 h 606"/>
              <a:gd name="T92" fmla="*/ 4850 w 5516"/>
              <a:gd name="T93" fmla="*/ 274 h 606"/>
              <a:gd name="T94" fmla="*/ 4742 w 5516"/>
              <a:gd name="T95" fmla="*/ 194 h 606"/>
              <a:gd name="T96" fmla="*/ 4794 w 5516"/>
              <a:gd name="T97" fmla="*/ 418 h 606"/>
              <a:gd name="T98" fmla="*/ 5004 w 5516"/>
              <a:gd name="T99" fmla="*/ 338 h 606"/>
              <a:gd name="T100" fmla="*/ 5098 w 5516"/>
              <a:gd name="T101" fmla="*/ 446 h 606"/>
              <a:gd name="T102" fmla="*/ 5418 w 5516"/>
              <a:gd name="T103" fmla="*/ 192 h 606"/>
              <a:gd name="T104" fmla="*/ 5348 w 5516"/>
              <a:gd name="T105" fmla="*/ 180 h 606"/>
              <a:gd name="T106" fmla="*/ 5254 w 5516"/>
              <a:gd name="T107" fmla="*/ 606 h 6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516" h="606">
                <a:moveTo>
                  <a:pt x="366" y="448"/>
                </a:moveTo>
                <a:cubicBezTo>
                  <a:pt x="524" y="448"/>
                  <a:pt x="524" y="448"/>
                  <a:pt x="524" y="448"/>
                </a:cubicBezTo>
                <a:cubicBezTo>
                  <a:pt x="524" y="436"/>
                  <a:pt x="524" y="436"/>
                  <a:pt x="524" y="436"/>
                </a:cubicBezTo>
                <a:cubicBezTo>
                  <a:pt x="486" y="432"/>
                  <a:pt x="470" y="414"/>
                  <a:pt x="468" y="362"/>
                </a:cubicBezTo>
                <a:cubicBezTo>
                  <a:pt x="454" y="86"/>
                  <a:pt x="454" y="86"/>
                  <a:pt x="454" y="86"/>
                </a:cubicBezTo>
                <a:cubicBezTo>
                  <a:pt x="452" y="46"/>
                  <a:pt x="470" y="30"/>
                  <a:pt x="504" y="26"/>
                </a:cubicBezTo>
                <a:cubicBezTo>
                  <a:pt x="504" y="12"/>
                  <a:pt x="504" y="12"/>
                  <a:pt x="504" y="12"/>
                </a:cubicBezTo>
                <a:cubicBezTo>
                  <a:pt x="394" y="12"/>
                  <a:pt x="394" y="12"/>
                  <a:pt x="394" y="12"/>
                </a:cubicBezTo>
                <a:cubicBezTo>
                  <a:pt x="264" y="350"/>
                  <a:pt x="264" y="350"/>
                  <a:pt x="264" y="350"/>
                </a:cubicBezTo>
                <a:cubicBezTo>
                  <a:pt x="132" y="10"/>
                  <a:pt x="132" y="10"/>
                  <a:pt x="132" y="10"/>
                </a:cubicBezTo>
                <a:cubicBezTo>
                  <a:pt x="18" y="10"/>
                  <a:pt x="18" y="10"/>
                  <a:pt x="18" y="10"/>
                </a:cubicBezTo>
                <a:cubicBezTo>
                  <a:pt x="18" y="22"/>
                  <a:pt x="18" y="22"/>
                  <a:pt x="18" y="22"/>
                </a:cubicBezTo>
                <a:cubicBezTo>
                  <a:pt x="40" y="26"/>
                  <a:pt x="74" y="32"/>
                  <a:pt x="72" y="84"/>
                </a:cubicBezTo>
                <a:cubicBezTo>
                  <a:pt x="58" y="352"/>
                  <a:pt x="58" y="352"/>
                  <a:pt x="58" y="352"/>
                </a:cubicBezTo>
                <a:cubicBezTo>
                  <a:pt x="54" y="410"/>
                  <a:pt x="38" y="430"/>
                  <a:pt x="0" y="436"/>
                </a:cubicBezTo>
                <a:cubicBezTo>
                  <a:pt x="0" y="448"/>
                  <a:pt x="0" y="448"/>
                  <a:pt x="0" y="448"/>
                </a:cubicBezTo>
                <a:cubicBezTo>
                  <a:pt x="140" y="448"/>
                  <a:pt x="140" y="448"/>
                  <a:pt x="140" y="448"/>
                </a:cubicBezTo>
                <a:cubicBezTo>
                  <a:pt x="140" y="436"/>
                  <a:pt x="140" y="436"/>
                  <a:pt x="140" y="436"/>
                </a:cubicBezTo>
                <a:cubicBezTo>
                  <a:pt x="98" y="428"/>
                  <a:pt x="84" y="414"/>
                  <a:pt x="88" y="356"/>
                </a:cubicBezTo>
                <a:cubicBezTo>
                  <a:pt x="100" y="86"/>
                  <a:pt x="100" y="86"/>
                  <a:pt x="100" y="86"/>
                </a:cubicBezTo>
                <a:cubicBezTo>
                  <a:pt x="240" y="444"/>
                  <a:pt x="240" y="444"/>
                  <a:pt x="240" y="444"/>
                </a:cubicBezTo>
                <a:cubicBezTo>
                  <a:pt x="258" y="444"/>
                  <a:pt x="258" y="444"/>
                  <a:pt x="258" y="444"/>
                </a:cubicBezTo>
                <a:cubicBezTo>
                  <a:pt x="396" y="86"/>
                  <a:pt x="396" y="86"/>
                  <a:pt x="396" y="86"/>
                </a:cubicBezTo>
                <a:cubicBezTo>
                  <a:pt x="408" y="372"/>
                  <a:pt x="408" y="372"/>
                  <a:pt x="408" y="372"/>
                </a:cubicBezTo>
                <a:cubicBezTo>
                  <a:pt x="410" y="416"/>
                  <a:pt x="398" y="430"/>
                  <a:pt x="366" y="434"/>
                </a:cubicBezTo>
                <a:lnTo>
                  <a:pt x="366" y="448"/>
                </a:lnTo>
                <a:close/>
                <a:moveTo>
                  <a:pt x="670" y="456"/>
                </a:moveTo>
                <a:cubicBezTo>
                  <a:pt x="708" y="456"/>
                  <a:pt x="756" y="440"/>
                  <a:pt x="782" y="412"/>
                </a:cubicBezTo>
                <a:cubicBezTo>
                  <a:pt x="776" y="400"/>
                  <a:pt x="776" y="400"/>
                  <a:pt x="776" y="400"/>
                </a:cubicBezTo>
                <a:cubicBezTo>
                  <a:pt x="750" y="416"/>
                  <a:pt x="722" y="422"/>
                  <a:pt x="696" y="422"/>
                </a:cubicBezTo>
                <a:cubicBezTo>
                  <a:pt x="620" y="422"/>
                  <a:pt x="592" y="358"/>
                  <a:pt x="592" y="290"/>
                </a:cubicBezTo>
                <a:cubicBezTo>
                  <a:pt x="592" y="258"/>
                  <a:pt x="600" y="236"/>
                  <a:pt x="614" y="222"/>
                </a:cubicBezTo>
                <a:cubicBezTo>
                  <a:pt x="626" y="210"/>
                  <a:pt x="646" y="204"/>
                  <a:pt x="664" y="204"/>
                </a:cubicBezTo>
                <a:cubicBezTo>
                  <a:pt x="690" y="204"/>
                  <a:pt x="722" y="214"/>
                  <a:pt x="744" y="244"/>
                </a:cubicBezTo>
                <a:cubicBezTo>
                  <a:pt x="750" y="244"/>
                  <a:pt x="750" y="244"/>
                  <a:pt x="750" y="244"/>
                </a:cubicBezTo>
                <a:cubicBezTo>
                  <a:pt x="758" y="234"/>
                  <a:pt x="766" y="212"/>
                  <a:pt x="768" y="196"/>
                </a:cubicBezTo>
                <a:cubicBezTo>
                  <a:pt x="748" y="180"/>
                  <a:pt x="720" y="172"/>
                  <a:pt x="686" y="172"/>
                </a:cubicBezTo>
                <a:cubicBezTo>
                  <a:pt x="604" y="172"/>
                  <a:pt x="544" y="246"/>
                  <a:pt x="544" y="326"/>
                </a:cubicBezTo>
                <a:cubicBezTo>
                  <a:pt x="540" y="390"/>
                  <a:pt x="576" y="456"/>
                  <a:pt x="670" y="456"/>
                </a:cubicBezTo>
                <a:moveTo>
                  <a:pt x="1272" y="98"/>
                </a:moveTo>
                <a:cubicBezTo>
                  <a:pt x="1292" y="98"/>
                  <a:pt x="1308" y="82"/>
                  <a:pt x="1308" y="62"/>
                </a:cubicBezTo>
                <a:cubicBezTo>
                  <a:pt x="1308" y="42"/>
                  <a:pt x="1292" y="26"/>
                  <a:pt x="1272" y="26"/>
                </a:cubicBezTo>
                <a:cubicBezTo>
                  <a:pt x="1252" y="26"/>
                  <a:pt x="1238" y="42"/>
                  <a:pt x="1238" y="62"/>
                </a:cubicBezTo>
                <a:cubicBezTo>
                  <a:pt x="1238" y="82"/>
                  <a:pt x="1252" y="98"/>
                  <a:pt x="1272" y="98"/>
                </a:cubicBezTo>
                <a:moveTo>
                  <a:pt x="1202" y="448"/>
                </a:moveTo>
                <a:cubicBezTo>
                  <a:pt x="1346" y="448"/>
                  <a:pt x="1346" y="448"/>
                  <a:pt x="1346" y="448"/>
                </a:cubicBezTo>
                <a:cubicBezTo>
                  <a:pt x="1346" y="436"/>
                  <a:pt x="1346" y="436"/>
                  <a:pt x="1346" y="436"/>
                </a:cubicBezTo>
                <a:cubicBezTo>
                  <a:pt x="1304" y="432"/>
                  <a:pt x="1302" y="434"/>
                  <a:pt x="1302" y="338"/>
                </a:cubicBezTo>
                <a:cubicBezTo>
                  <a:pt x="1302" y="176"/>
                  <a:pt x="1302" y="176"/>
                  <a:pt x="1302" y="176"/>
                </a:cubicBezTo>
                <a:cubicBezTo>
                  <a:pt x="1200" y="176"/>
                  <a:pt x="1200" y="176"/>
                  <a:pt x="1200" y="176"/>
                </a:cubicBezTo>
                <a:cubicBezTo>
                  <a:pt x="1200" y="188"/>
                  <a:pt x="1200" y="188"/>
                  <a:pt x="1200" y="188"/>
                </a:cubicBezTo>
                <a:cubicBezTo>
                  <a:pt x="1244" y="190"/>
                  <a:pt x="1250" y="192"/>
                  <a:pt x="1250" y="268"/>
                </a:cubicBezTo>
                <a:cubicBezTo>
                  <a:pt x="1250" y="336"/>
                  <a:pt x="1250" y="336"/>
                  <a:pt x="1250" y="336"/>
                </a:cubicBezTo>
                <a:cubicBezTo>
                  <a:pt x="1250" y="432"/>
                  <a:pt x="1248" y="432"/>
                  <a:pt x="1202" y="436"/>
                </a:cubicBezTo>
                <a:cubicBezTo>
                  <a:pt x="1178" y="434"/>
                  <a:pt x="1154" y="426"/>
                  <a:pt x="1076" y="338"/>
                </a:cubicBezTo>
                <a:cubicBezTo>
                  <a:pt x="1046" y="302"/>
                  <a:pt x="996" y="244"/>
                  <a:pt x="968" y="206"/>
                </a:cubicBezTo>
                <a:cubicBezTo>
                  <a:pt x="1062" y="102"/>
                  <a:pt x="1062" y="102"/>
                  <a:pt x="1062" y="102"/>
                </a:cubicBezTo>
                <a:cubicBezTo>
                  <a:pt x="1108" y="52"/>
                  <a:pt x="1132" y="26"/>
                  <a:pt x="1176" y="24"/>
                </a:cubicBezTo>
                <a:cubicBezTo>
                  <a:pt x="1176" y="10"/>
                  <a:pt x="1176" y="10"/>
                  <a:pt x="1176" y="10"/>
                </a:cubicBezTo>
                <a:cubicBezTo>
                  <a:pt x="1030" y="10"/>
                  <a:pt x="1030" y="10"/>
                  <a:pt x="1030" y="10"/>
                </a:cubicBezTo>
                <a:cubicBezTo>
                  <a:pt x="1030" y="22"/>
                  <a:pt x="1030" y="22"/>
                  <a:pt x="1030" y="22"/>
                </a:cubicBezTo>
                <a:cubicBezTo>
                  <a:pt x="1050" y="26"/>
                  <a:pt x="1056" y="32"/>
                  <a:pt x="1056" y="46"/>
                </a:cubicBezTo>
                <a:cubicBezTo>
                  <a:pt x="1056" y="56"/>
                  <a:pt x="1054" y="72"/>
                  <a:pt x="1026" y="102"/>
                </a:cubicBezTo>
                <a:cubicBezTo>
                  <a:pt x="910" y="230"/>
                  <a:pt x="910" y="230"/>
                  <a:pt x="910" y="230"/>
                </a:cubicBezTo>
                <a:cubicBezTo>
                  <a:pt x="910" y="148"/>
                  <a:pt x="910" y="148"/>
                  <a:pt x="910" y="148"/>
                </a:cubicBezTo>
                <a:cubicBezTo>
                  <a:pt x="910" y="36"/>
                  <a:pt x="916" y="28"/>
                  <a:pt x="960" y="22"/>
                </a:cubicBezTo>
                <a:cubicBezTo>
                  <a:pt x="960" y="8"/>
                  <a:pt x="960" y="8"/>
                  <a:pt x="960" y="8"/>
                </a:cubicBezTo>
                <a:cubicBezTo>
                  <a:pt x="804" y="8"/>
                  <a:pt x="804" y="8"/>
                  <a:pt x="804" y="8"/>
                </a:cubicBezTo>
                <a:cubicBezTo>
                  <a:pt x="804" y="22"/>
                  <a:pt x="804" y="22"/>
                  <a:pt x="804" y="22"/>
                </a:cubicBezTo>
                <a:cubicBezTo>
                  <a:pt x="852" y="26"/>
                  <a:pt x="854" y="36"/>
                  <a:pt x="854" y="148"/>
                </a:cubicBezTo>
                <a:cubicBezTo>
                  <a:pt x="854" y="300"/>
                  <a:pt x="854" y="300"/>
                  <a:pt x="854" y="300"/>
                </a:cubicBezTo>
                <a:cubicBezTo>
                  <a:pt x="854" y="422"/>
                  <a:pt x="850" y="430"/>
                  <a:pt x="804" y="434"/>
                </a:cubicBezTo>
                <a:cubicBezTo>
                  <a:pt x="804" y="446"/>
                  <a:pt x="804" y="446"/>
                  <a:pt x="804" y="446"/>
                </a:cubicBezTo>
                <a:cubicBezTo>
                  <a:pt x="960" y="446"/>
                  <a:pt x="960" y="446"/>
                  <a:pt x="960" y="446"/>
                </a:cubicBezTo>
                <a:cubicBezTo>
                  <a:pt x="960" y="434"/>
                  <a:pt x="960" y="434"/>
                  <a:pt x="960" y="434"/>
                </a:cubicBezTo>
                <a:cubicBezTo>
                  <a:pt x="910" y="428"/>
                  <a:pt x="910" y="424"/>
                  <a:pt x="910" y="292"/>
                </a:cubicBezTo>
                <a:cubicBezTo>
                  <a:pt x="910" y="268"/>
                  <a:pt x="910" y="268"/>
                  <a:pt x="910" y="268"/>
                </a:cubicBezTo>
                <a:cubicBezTo>
                  <a:pt x="930" y="246"/>
                  <a:pt x="930" y="246"/>
                  <a:pt x="930" y="246"/>
                </a:cubicBezTo>
                <a:cubicBezTo>
                  <a:pt x="982" y="310"/>
                  <a:pt x="1038" y="380"/>
                  <a:pt x="1098" y="448"/>
                </a:cubicBezTo>
                <a:cubicBezTo>
                  <a:pt x="1202" y="448"/>
                  <a:pt x="1202" y="448"/>
                  <a:pt x="1202" y="448"/>
                </a:cubicBezTo>
                <a:close/>
                <a:moveTo>
                  <a:pt x="1564" y="448"/>
                </a:moveTo>
                <a:cubicBezTo>
                  <a:pt x="1706" y="448"/>
                  <a:pt x="1706" y="448"/>
                  <a:pt x="1706" y="448"/>
                </a:cubicBezTo>
                <a:cubicBezTo>
                  <a:pt x="1706" y="436"/>
                  <a:pt x="1706" y="436"/>
                  <a:pt x="1706" y="436"/>
                </a:cubicBezTo>
                <a:cubicBezTo>
                  <a:pt x="1658" y="434"/>
                  <a:pt x="1658" y="432"/>
                  <a:pt x="1658" y="342"/>
                </a:cubicBezTo>
                <a:cubicBezTo>
                  <a:pt x="1658" y="280"/>
                  <a:pt x="1658" y="280"/>
                  <a:pt x="1658" y="280"/>
                </a:cubicBezTo>
                <a:cubicBezTo>
                  <a:pt x="1658" y="198"/>
                  <a:pt x="1612" y="172"/>
                  <a:pt x="1570" y="172"/>
                </a:cubicBezTo>
                <a:cubicBezTo>
                  <a:pt x="1534" y="172"/>
                  <a:pt x="1498" y="188"/>
                  <a:pt x="1470" y="224"/>
                </a:cubicBezTo>
                <a:cubicBezTo>
                  <a:pt x="1470" y="176"/>
                  <a:pt x="1470" y="176"/>
                  <a:pt x="1470" y="176"/>
                </a:cubicBezTo>
                <a:cubicBezTo>
                  <a:pt x="1368" y="176"/>
                  <a:pt x="1368" y="176"/>
                  <a:pt x="1368" y="176"/>
                </a:cubicBezTo>
                <a:cubicBezTo>
                  <a:pt x="1368" y="188"/>
                  <a:pt x="1368" y="188"/>
                  <a:pt x="1368" y="188"/>
                </a:cubicBezTo>
                <a:cubicBezTo>
                  <a:pt x="1412" y="190"/>
                  <a:pt x="1418" y="192"/>
                  <a:pt x="1418" y="268"/>
                </a:cubicBezTo>
                <a:cubicBezTo>
                  <a:pt x="1418" y="336"/>
                  <a:pt x="1418" y="336"/>
                  <a:pt x="1418" y="336"/>
                </a:cubicBezTo>
                <a:cubicBezTo>
                  <a:pt x="1418" y="434"/>
                  <a:pt x="1418" y="434"/>
                  <a:pt x="1370" y="436"/>
                </a:cubicBezTo>
                <a:cubicBezTo>
                  <a:pt x="1370" y="448"/>
                  <a:pt x="1370" y="448"/>
                  <a:pt x="1370" y="448"/>
                </a:cubicBezTo>
                <a:cubicBezTo>
                  <a:pt x="1514" y="448"/>
                  <a:pt x="1514" y="448"/>
                  <a:pt x="1514" y="448"/>
                </a:cubicBezTo>
                <a:cubicBezTo>
                  <a:pt x="1514" y="436"/>
                  <a:pt x="1514" y="436"/>
                  <a:pt x="1514" y="436"/>
                </a:cubicBezTo>
                <a:cubicBezTo>
                  <a:pt x="1472" y="432"/>
                  <a:pt x="1470" y="434"/>
                  <a:pt x="1470" y="338"/>
                </a:cubicBezTo>
                <a:cubicBezTo>
                  <a:pt x="1470" y="262"/>
                  <a:pt x="1470" y="262"/>
                  <a:pt x="1470" y="262"/>
                </a:cubicBezTo>
                <a:cubicBezTo>
                  <a:pt x="1470" y="236"/>
                  <a:pt x="1504" y="206"/>
                  <a:pt x="1546" y="206"/>
                </a:cubicBezTo>
                <a:cubicBezTo>
                  <a:pt x="1580" y="206"/>
                  <a:pt x="1606" y="220"/>
                  <a:pt x="1606" y="286"/>
                </a:cubicBezTo>
                <a:cubicBezTo>
                  <a:pt x="1606" y="340"/>
                  <a:pt x="1606" y="340"/>
                  <a:pt x="1606" y="340"/>
                </a:cubicBezTo>
                <a:cubicBezTo>
                  <a:pt x="1606" y="432"/>
                  <a:pt x="1602" y="432"/>
                  <a:pt x="1564" y="434"/>
                </a:cubicBezTo>
                <a:lnTo>
                  <a:pt x="1564" y="448"/>
                </a:lnTo>
                <a:close/>
                <a:moveTo>
                  <a:pt x="1776" y="222"/>
                </a:moveTo>
                <a:cubicBezTo>
                  <a:pt x="1776" y="200"/>
                  <a:pt x="1796" y="188"/>
                  <a:pt x="1822" y="188"/>
                </a:cubicBezTo>
                <a:cubicBezTo>
                  <a:pt x="1874" y="188"/>
                  <a:pt x="1896" y="236"/>
                  <a:pt x="1900" y="252"/>
                </a:cubicBezTo>
                <a:cubicBezTo>
                  <a:pt x="1912" y="252"/>
                  <a:pt x="1912" y="252"/>
                  <a:pt x="1912" y="252"/>
                </a:cubicBezTo>
                <a:cubicBezTo>
                  <a:pt x="1912" y="212"/>
                  <a:pt x="1908" y="188"/>
                  <a:pt x="1904" y="184"/>
                </a:cubicBezTo>
                <a:cubicBezTo>
                  <a:pt x="1900" y="180"/>
                  <a:pt x="1862" y="170"/>
                  <a:pt x="1824" y="170"/>
                </a:cubicBezTo>
                <a:cubicBezTo>
                  <a:pt x="1768" y="170"/>
                  <a:pt x="1734" y="206"/>
                  <a:pt x="1734" y="248"/>
                </a:cubicBezTo>
                <a:cubicBezTo>
                  <a:pt x="1734" y="340"/>
                  <a:pt x="1890" y="322"/>
                  <a:pt x="1890" y="396"/>
                </a:cubicBezTo>
                <a:cubicBezTo>
                  <a:pt x="1890" y="422"/>
                  <a:pt x="1866" y="436"/>
                  <a:pt x="1826" y="436"/>
                </a:cubicBezTo>
                <a:cubicBezTo>
                  <a:pt x="1788" y="436"/>
                  <a:pt x="1754" y="416"/>
                  <a:pt x="1744" y="366"/>
                </a:cubicBezTo>
                <a:cubicBezTo>
                  <a:pt x="1728" y="366"/>
                  <a:pt x="1728" y="366"/>
                  <a:pt x="1728" y="366"/>
                </a:cubicBezTo>
                <a:cubicBezTo>
                  <a:pt x="1728" y="386"/>
                  <a:pt x="1732" y="422"/>
                  <a:pt x="1734" y="428"/>
                </a:cubicBezTo>
                <a:cubicBezTo>
                  <a:pt x="1744" y="446"/>
                  <a:pt x="1788" y="454"/>
                  <a:pt x="1824" y="454"/>
                </a:cubicBezTo>
                <a:cubicBezTo>
                  <a:pt x="1888" y="454"/>
                  <a:pt x="1928" y="416"/>
                  <a:pt x="1928" y="372"/>
                </a:cubicBezTo>
                <a:cubicBezTo>
                  <a:pt x="1932" y="270"/>
                  <a:pt x="1776" y="286"/>
                  <a:pt x="1776" y="222"/>
                </a:cubicBezTo>
                <a:moveTo>
                  <a:pt x="2030" y="270"/>
                </a:moveTo>
                <a:cubicBezTo>
                  <a:pt x="2034" y="220"/>
                  <a:pt x="2058" y="192"/>
                  <a:pt x="2102" y="192"/>
                </a:cubicBezTo>
                <a:cubicBezTo>
                  <a:pt x="2144" y="192"/>
                  <a:pt x="2170" y="220"/>
                  <a:pt x="2172" y="270"/>
                </a:cubicBezTo>
                <a:lnTo>
                  <a:pt x="2030" y="270"/>
                </a:lnTo>
                <a:close/>
                <a:moveTo>
                  <a:pt x="2030" y="290"/>
                </a:moveTo>
                <a:cubicBezTo>
                  <a:pt x="2222" y="290"/>
                  <a:pt x="2222" y="290"/>
                  <a:pt x="2222" y="290"/>
                </a:cubicBezTo>
                <a:cubicBezTo>
                  <a:pt x="2226" y="228"/>
                  <a:pt x="2192" y="168"/>
                  <a:pt x="2114" y="168"/>
                </a:cubicBezTo>
                <a:cubicBezTo>
                  <a:pt x="2034" y="168"/>
                  <a:pt x="1982" y="232"/>
                  <a:pt x="1982" y="320"/>
                </a:cubicBezTo>
                <a:cubicBezTo>
                  <a:pt x="1982" y="388"/>
                  <a:pt x="2018" y="456"/>
                  <a:pt x="2112" y="456"/>
                </a:cubicBezTo>
                <a:cubicBezTo>
                  <a:pt x="2150" y="456"/>
                  <a:pt x="2198" y="440"/>
                  <a:pt x="2224" y="412"/>
                </a:cubicBezTo>
                <a:cubicBezTo>
                  <a:pt x="2218" y="400"/>
                  <a:pt x="2218" y="400"/>
                  <a:pt x="2218" y="400"/>
                </a:cubicBezTo>
                <a:cubicBezTo>
                  <a:pt x="2192" y="416"/>
                  <a:pt x="2164" y="422"/>
                  <a:pt x="2138" y="422"/>
                </a:cubicBezTo>
                <a:cubicBezTo>
                  <a:pt x="2058" y="420"/>
                  <a:pt x="2028" y="352"/>
                  <a:pt x="2030" y="290"/>
                </a:cubicBezTo>
                <a:moveTo>
                  <a:pt x="2478" y="242"/>
                </a:moveTo>
                <a:cubicBezTo>
                  <a:pt x="2490" y="206"/>
                  <a:pt x="2510" y="192"/>
                  <a:pt x="2528" y="192"/>
                </a:cubicBezTo>
                <a:cubicBezTo>
                  <a:pt x="2528" y="180"/>
                  <a:pt x="2528" y="180"/>
                  <a:pt x="2528" y="180"/>
                </a:cubicBezTo>
                <a:cubicBezTo>
                  <a:pt x="2430" y="180"/>
                  <a:pt x="2430" y="180"/>
                  <a:pt x="2430" y="180"/>
                </a:cubicBezTo>
                <a:cubicBezTo>
                  <a:pt x="2430" y="192"/>
                  <a:pt x="2430" y="192"/>
                  <a:pt x="2430" y="192"/>
                </a:cubicBezTo>
                <a:cubicBezTo>
                  <a:pt x="2454" y="194"/>
                  <a:pt x="2466" y="206"/>
                  <a:pt x="2458" y="234"/>
                </a:cubicBezTo>
                <a:cubicBezTo>
                  <a:pt x="2406" y="390"/>
                  <a:pt x="2406" y="390"/>
                  <a:pt x="2406" y="390"/>
                </a:cubicBezTo>
                <a:cubicBezTo>
                  <a:pt x="2354" y="270"/>
                  <a:pt x="2354" y="270"/>
                  <a:pt x="2354" y="270"/>
                </a:cubicBezTo>
                <a:cubicBezTo>
                  <a:pt x="2340" y="238"/>
                  <a:pt x="2334" y="224"/>
                  <a:pt x="2334" y="212"/>
                </a:cubicBezTo>
                <a:cubicBezTo>
                  <a:pt x="2334" y="202"/>
                  <a:pt x="2340" y="196"/>
                  <a:pt x="2360" y="192"/>
                </a:cubicBezTo>
                <a:cubicBezTo>
                  <a:pt x="2360" y="180"/>
                  <a:pt x="2360" y="180"/>
                  <a:pt x="2360" y="180"/>
                </a:cubicBezTo>
                <a:cubicBezTo>
                  <a:pt x="2234" y="180"/>
                  <a:pt x="2234" y="180"/>
                  <a:pt x="2234" y="180"/>
                </a:cubicBezTo>
                <a:cubicBezTo>
                  <a:pt x="2234" y="192"/>
                  <a:pt x="2234" y="192"/>
                  <a:pt x="2234" y="192"/>
                </a:cubicBezTo>
                <a:cubicBezTo>
                  <a:pt x="2266" y="194"/>
                  <a:pt x="2268" y="198"/>
                  <a:pt x="2310" y="292"/>
                </a:cubicBezTo>
                <a:cubicBezTo>
                  <a:pt x="2382" y="450"/>
                  <a:pt x="2382" y="450"/>
                  <a:pt x="2382" y="450"/>
                </a:cubicBezTo>
                <a:cubicBezTo>
                  <a:pt x="2358" y="512"/>
                  <a:pt x="2320" y="546"/>
                  <a:pt x="2242" y="564"/>
                </a:cubicBezTo>
                <a:cubicBezTo>
                  <a:pt x="2246" y="576"/>
                  <a:pt x="2260" y="600"/>
                  <a:pt x="2268" y="606"/>
                </a:cubicBezTo>
                <a:cubicBezTo>
                  <a:pt x="2370" y="564"/>
                  <a:pt x="2390" y="498"/>
                  <a:pt x="2426" y="396"/>
                </a:cubicBezTo>
                <a:lnTo>
                  <a:pt x="2478" y="242"/>
                </a:lnTo>
                <a:close/>
                <a:moveTo>
                  <a:pt x="2844" y="394"/>
                </a:moveTo>
                <a:cubicBezTo>
                  <a:pt x="2822" y="412"/>
                  <a:pt x="2782" y="416"/>
                  <a:pt x="2750" y="416"/>
                </a:cubicBezTo>
                <a:cubicBezTo>
                  <a:pt x="2670" y="416"/>
                  <a:pt x="2606" y="360"/>
                  <a:pt x="2606" y="284"/>
                </a:cubicBezTo>
                <a:cubicBezTo>
                  <a:pt x="2606" y="236"/>
                  <a:pt x="2626" y="206"/>
                  <a:pt x="2658" y="198"/>
                </a:cubicBezTo>
                <a:cubicBezTo>
                  <a:pt x="2698" y="266"/>
                  <a:pt x="2770" y="338"/>
                  <a:pt x="2844" y="394"/>
                </a:cubicBezTo>
                <a:moveTo>
                  <a:pt x="2928" y="448"/>
                </a:moveTo>
                <a:cubicBezTo>
                  <a:pt x="3022" y="448"/>
                  <a:pt x="3022" y="448"/>
                  <a:pt x="3022" y="448"/>
                </a:cubicBezTo>
                <a:cubicBezTo>
                  <a:pt x="3022" y="436"/>
                  <a:pt x="3022" y="436"/>
                  <a:pt x="3022" y="436"/>
                </a:cubicBezTo>
                <a:cubicBezTo>
                  <a:pt x="2992" y="432"/>
                  <a:pt x="2946" y="408"/>
                  <a:pt x="2896" y="372"/>
                </a:cubicBezTo>
                <a:cubicBezTo>
                  <a:pt x="2914" y="342"/>
                  <a:pt x="2918" y="300"/>
                  <a:pt x="2922" y="270"/>
                </a:cubicBezTo>
                <a:cubicBezTo>
                  <a:pt x="2926" y="244"/>
                  <a:pt x="2946" y="244"/>
                  <a:pt x="2958" y="242"/>
                </a:cubicBezTo>
                <a:cubicBezTo>
                  <a:pt x="2958" y="230"/>
                  <a:pt x="2958" y="230"/>
                  <a:pt x="2958" y="230"/>
                </a:cubicBezTo>
                <a:cubicBezTo>
                  <a:pt x="2834" y="230"/>
                  <a:pt x="2834" y="230"/>
                  <a:pt x="2834" y="230"/>
                </a:cubicBezTo>
                <a:cubicBezTo>
                  <a:pt x="2834" y="242"/>
                  <a:pt x="2834" y="242"/>
                  <a:pt x="2834" y="242"/>
                </a:cubicBezTo>
                <a:cubicBezTo>
                  <a:pt x="2864" y="246"/>
                  <a:pt x="2892" y="250"/>
                  <a:pt x="2892" y="294"/>
                </a:cubicBezTo>
                <a:cubicBezTo>
                  <a:pt x="2892" y="318"/>
                  <a:pt x="2888" y="342"/>
                  <a:pt x="2878" y="358"/>
                </a:cubicBezTo>
                <a:cubicBezTo>
                  <a:pt x="2770" y="274"/>
                  <a:pt x="2670" y="156"/>
                  <a:pt x="2670" y="96"/>
                </a:cubicBezTo>
                <a:cubicBezTo>
                  <a:pt x="2670" y="66"/>
                  <a:pt x="2688" y="54"/>
                  <a:pt x="2716" y="54"/>
                </a:cubicBezTo>
                <a:cubicBezTo>
                  <a:pt x="2752" y="54"/>
                  <a:pt x="2784" y="78"/>
                  <a:pt x="2800" y="124"/>
                </a:cubicBezTo>
                <a:cubicBezTo>
                  <a:pt x="2812" y="124"/>
                  <a:pt x="2812" y="124"/>
                  <a:pt x="2812" y="124"/>
                </a:cubicBezTo>
                <a:cubicBezTo>
                  <a:pt x="2810" y="42"/>
                  <a:pt x="2810" y="42"/>
                  <a:pt x="2810" y="42"/>
                </a:cubicBezTo>
                <a:cubicBezTo>
                  <a:pt x="2798" y="42"/>
                  <a:pt x="2798" y="42"/>
                  <a:pt x="2798" y="42"/>
                </a:cubicBezTo>
                <a:cubicBezTo>
                  <a:pt x="2798" y="48"/>
                  <a:pt x="2792" y="52"/>
                  <a:pt x="2788" y="52"/>
                </a:cubicBezTo>
                <a:cubicBezTo>
                  <a:pt x="2772" y="52"/>
                  <a:pt x="2752" y="36"/>
                  <a:pt x="2714" y="36"/>
                </a:cubicBezTo>
                <a:cubicBezTo>
                  <a:pt x="2672" y="36"/>
                  <a:pt x="2630" y="62"/>
                  <a:pt x="2630" y="118"/>
                </a:cubicBezTo>
                <a:cubicBezTo>
                  <a:pt x="2630" y="140"/>
                  <a:pt x="2636" y="160"/>
                  <a:pt x="2648" y="182"/>
                </a:cubicBezTo>
                <a:cubicBezTo>
                  <a:pt x="2592" y="200"/>
                  <a:pt x="2562" y="248"/>
                  <a:pt x="2562" y="304"/>
                </a:cubicBezTo>
                <a:cubicBezTo>
                  <a:pt x="2562" y="406"/>
                  <a:pt x="2640" y="460"/>
                  <a:pt x="2726" y="460"/>
                </a:cubicBezTo>
                <a:cubicBezTo>
                  <a:pt x="2780" y="460"/>
                  <a:pt x="2824" y="444"/>
                  <a:pt x="2862" y="410"/>
                </a:cubicBezTo>
                <a:cubicBezTo>
                  <a:pt x="2888" y="424"/>
                  <a:pt x="2912" y="442"/>
                  <a:pt x="2928" y="448"/>
                </a:cubicBezTo>
                <a:moveTo>
                  <a:pt x="3094" y="212"/>
                </a:moveTo>
                <a:cubicBezTo>
                  <a:pt x="3094" y="88"/>
                  <a:pt x="3154" y="20"/>
                  <a:pt x="3252" y="20"/>
                </a:cubicBezTo>
                <a:cubicBezTo>
                  <a:pt x="3328" y="20"/>
                  <a:pt x="3372" y="58"/>
                  <a:pt x="3392" y="134"/>
                </a:cubicBezTo>
                <a:cubicBezTo>
                  <a:pt x="3404" y="134"/>
                  <a:pt x="3404" y="134"/>
                  <a:pt x="3404" y="134"/>
                </a:cubicBezTo>
                <a:cubicBezTo>
                  <a:pt x="3400" y="4"/>
                  <a:pt x="3400" y="4"/>
                  <a:pt x="3400" y="4"/>
                </a:cubicBezTo>
                <a:cubicBezTo>
                  <a:pt x="3388" y="4"/>
                  <a:pt x="3388" y="4"/>
                  <a:pt x="3388" y="4"/>
                </a:cubicBezTo>
                <a:cubicBezTo>
                  <a:pt x="3384" y="14"/>
                  <a:pt x="3376" y="18"/>
                  <a:pt x="3364" y="18"/>
                </a:cubicBezTo>
                <a:cubicBezTo>
                  <a:pt x="3338" y="18"/>
                  <a:pt x="3314" y="0"/>
                  <a:pt x="3248" y="0"/>
                </a:cubicBezTo>
                <a:cubicBezTo>
                  <a:pt x="3118" y="0"/>
                  <a:pt x="3030" y="102"/>
                  <a:pt x="3030" y="242"/>
                </a:cubicBezTo>
                <a:cubicBezTo>
                  <a:pt x="3030" y="376"/>
                  <a:pt x="3110" y="460"/>
                  <a:pt x="3238" y="460"/>
                </a:cubicBezTo>
                <a:cubicBezTo>
                  <a:pt x="3320" y="460"/>
                  <a:pt x="3384" y="420"/>
                  <a:pt x="3408" y="380"/>
                </a:cubicBezTo>
                <a:cubicBezTo>
                  <a:pt x="3396" y="366"/>
                  <a:pt x="3396" y="366"/>
                  <a:pt x="3396" y="366"/>
                </a:cubicBezTo>
                <a:cubicBezTo>
                  <a:pt x="3370" y="402"/>
                  <a:pt x="3314" y="426"/>
                  <a:pt x="3256" y="426"/>
                </a:cubicBezTo>
                <a:cubicBezTo>
                  <a:pt x="3156" y="426"/>
                  <a:pt x="3094" y="340"/>
                  <a:pt x="3094" y="212"/>
                </a:cubicBezTo>
                <a:moveTo>
                  <a:pt x="3678" y="328"/>
                </a:moveTo>
                <a:cubicBezTo>
                  <a:pt x="3678" y="392"/>
                  <a:pt x="3650" y="430"/>
                  <a:pt x="3592" y="430"/>
                </a:cubicBezTo>
                <a:cubicBezTo>
                  <a:pt x="3542" y="430"/>
                  <a:pt x="3496" y="384"/>
                  <a:pt x="3496" y="292"/>
                </a:cubicBezTo>
                <a:cubicBezTo>
                  <a:pt x="3496" y="226"/>
                  <a:pt x="3528" y="190"/>
                  <a:pt x="3580" y="190"/>
                </a:cubicBezTo>
                <a:cubicBezTo>
                  <a:pt x="3628" y="192"/>
                  <a:pt x="3678" y="238"/>
                  <a:pt x="3678" y="328"/>
                </a:cubicBezTo>
                <a:moveTo>
                  <a:pt x="3732" y="312"/>
                </a:moveTo>
                <a:cubicBezTo>
                  <a:pt x="3732" y="260"/>
                  <a:pt x="3710" y="214"/>
                  <a:pt x="3672" y="190"/>
                </a:cubicBezTo>
                <a:cubicBezTo>
                  <a:pt x="3650" y="176"/>
                  <a:pt x="3620" y="168"/>
                  <a:pt x="3588" y="168"/>
                </a:cubicBezTo>
                <a:cubicBezTo>
                  <a:pt x="3502" y="168"/>
                  <a:pt x="3442" y="230"/>
                  <a:pt x="3442" y="310"/>
                </a:cubicBezTo>
                <a:cubicBezTo>
                  <a:pt x="3442" y="364"/>
                  <a:pt x="3464" y="408"/>
                  <a:pt x="3502" y="432"/>
                </a:cubicBezTo>
                <a:cubicBezTo>
                  <a:pt x="3524" y="446"/>
                  <a:pt x="3554" y="452"/>
                  <a:pt x="3586" y="452"/>
                </a:cubicBezTo>
                <a:cubicBezTo>
                  <a:pt x="3672" y="454"/>
                  <a:pt x="3732" y="394"/>
                  <a:pt x="3732" y="312"/>
                </a:cubicBezTo>
                <a:moveTo>
                  <a:pt x="4136" y="448"/>
                </a:moveTo>
                <a:cubicBezTo>
                  <a:pt x="4280" y="448"/>
                  <a:pt x="4280" y="448"/>
                  <a:pt x="4280" y="448"/>
                </a:cubicBezTo>
                <a:cubicBezTo>
                  <a:pt x="4280" y="436"/>
                  <a:pt x="4280" y="436"/>
                  <a:pt x="4280" y="436"/>
                </a:cubicBezTo>
                <a:cubicBezTo>
                  <a:pt x="4230" y="434"/>
                  <a:pt x="4232" y="426"/>
                  <a:pt x="4232" y="348"/>
                </a:cubicBezTo>
                <a:cubicBezTo>
                  <a:pt x="4232" y="276"/>
                  <a:pt x="4232" y="276"/>
                  <a:pt x="4232" y="276"/>
                </a:cubicBezTo>
                <a:cubicBezTo>
                  <a:pt x="4232" y="200"/>
                  <a:pt x="4190" y="172"/>
                  <a:pt x="4142" y="172"/>
                </a:cubicBezTo>
                <a:cubicBezTo>
                  <a:pt x="4098" y="172"/>
                  <a:pt x="4064" y="196"/>
                  <a:pt x="4038" y="232"/>
                </a:cubicBezTo>
                <a:cubicBezTo>
                  <a:pt x="4028" y="194"/>
                  <a:pt x="4000" y="172"/>
                  <a:pt x="3954" y="172"/>
                </a:cubicBezTo>
                <a:cubicBezTo>
                  <a:pt x="3916" y="172"/>
                  <a:pt x="3880" y="196"/>
                  <a:pt x="3858" y="224"/>
                </a:cubicBezTo>
                <a:cubicBezTo>
                  <a:pt x="3858" y="176"/>
                  <a:pt x="3858" y="176"/>
                  <a:pt x="3858" y="176"/>
                </a:cubicBezTo>
                <a:cubicBezTo>
                  <a:pt x="3756" y="176"/>
                  <a:pt x="3756" y="176"/>
                  <a:pt x="3756" y="176"/>
                </a:cubicBezTo>
                <a:cubicBezTo>
                  <a:pt x="3756" y="188"/>
                  <a:pt x="3756" y="188"/>
                  <a:pt x="3756" y="188"/>
                </a:cubicBezTo>
                <a:cubicBezTo>
                  <a:pt x="3800" y="190"/>
                  <a:pt x="3806" y="192"/>
                  <a:pt x="3806" y="268"/>
                </a:cubicBezTo>
                <a:cubicBezTo>
                  <a:pt x="3806" y="346"/>
                  <a:pt x="3806" y="346"/>
                  <a:pt x="3806" y="346"/>
                </a:cubicBezTo>
                <a:cubicBezTo>
                  <a:pt x="3806" y="434"/>
                  <a:pt x="3804" y="434"/>
                  <a:pt x="3758" y="434"/>
                </a:cubicBezTo>
                <a:cubicBezTo>
                  <a:pt x="3758" y="446"/>
                  <a:pt x="3758" y="446"/>
                  <a:pt x="3758" y="446"/>
                </a:cubicBezTo>
                <a:cubicBezTo>
                  <a:pt x="3902" y="446"/>
                  <a:pt x="3902" y="446"/>
                  <a:pt x="3902" y="446"/>
                </a:cubicBezTo>
                <a:cubicBezTo>
                  <a:pt x="3902" y="434"/>
                  <a:pt x="3902" y="434"/>
                  <a:pt x="3902" y="434"/>
                </a:cubicBezTo>
                <a:cubicBezTo>
                  <a:pt x="3862" y="430"/>
                  <a:pt x="3858" y="430"/>
                  <a:pt x="3858" y="342"/>
                </a:cubicBezTo>
                <a:cubicBezTo>
                  <a:pt x="3858" y="262"/>
                  <a:pt x="3858" y="262"/>
                  <a:pt x="3858" y="262"/>
                </a:cubicBezTo>
                <a:cubicBezTo>
                  <a:pt x="3858" y="234"/>
                  <a:pt x="3894" y="204"/>
                  <a:pt x="3932" y="204"/>
                </a:cubicBezTo>
                <a:cubicBezTo>
                  <a:pt x="3974" y="204"/>
                  <a:pt x="3990" y="226"/>
                  <a:pt x="3990" y="282"/>
                </a:cubicBezTo>
                <a:cubicBezTo>
                  <a:pt x="3990" y="338"/>
                  <a:pt x="3990" y="338"/>
                  <a:pt x="3990" y="338"/>
                </a:cubicBezTo>
                <a:cubicBezTo>
                  <a:pt x="3990" y="428"/>
                  <a:pt x="3988" y="432"/>
                  <a:pt x="3950" y="436"/>
                </a:cubicBezTo>
                <a:cubicBezTo>
                  <a:pt x="3950" y="448"/>
                  <a:pt x="3950" y="448"/>
                  <a:pt x="3950" y="448"/>
                </a:cubicBezTo>
                <a:cubicBezTo>
                  <a:pt x="4086" y="448"/>
                  <a:pt x="4086" y="448"/>
                  <a:pt x="4086" y="448"/>
                </a:cubicBezTo>
                <a:cubicBezTo>
                  <a:pt x="4086" y="436"/>
                  <a:pt x="4086" y="436"/>
                  <a:pt x="4086" y="436"/>
                </a:cubicBezTo>
                <a:cubicBezTo>
                  <a:pt x="4040" y="432"/>
                  <a:pt x="4042" y="428"/>
                  <a:pt x="4042" y="342"/>
                </a:cubicBezTo>
                <a:cubicBezTo>
                  <a:pt x="4042" y="264"/>
                  <a:pt x="4042" y="264"/>
                  <a:pt x="4042" y="264"/>
                </a:cubicBezTo>
                <a:cubicBezTo>
                  <a:pt x="4042" y="236"/>
                  <a:pt x="4078" y="206"/>
                  <a:pt x="4118" y="206"/>
                </a:cubicBezTo>
                <a:cubicBezTo>
                  <a:pt x="4152" y="206"/>
                  <a:pt x="4174" y="226"/>
                  <a:pt x="4174" y="284"/>
                </a:cubicBezTo>
                <a:cubicBezTo>
                  <a:pt x="4174" y="346"/>
                  <a:pt x="4174" y="346"/>
                  <a:pt x="4174" y="346"/>
                </a:cubicBezTo>
                <a:cubicBezTo>
                  <a:pt x="4174" y="428"/>
                  <a:pt x="4174" y="432"/>
                  <a:pt x="4134" y="436"/>
                </a:cubicBezTo>
                <a:cubicBezTo>
                  <a:pt x="4134" y="448"/>
                  <a:pt x="4134" y="448"/>
                  <a:pt x="4134" y="448"/>
                </a:cubicBezTo>
                <a:lnTo>
                  <a:pt x="4136" y="448"/>
                </a:lnTo>
                <a:close/>
                <a:moveTo>
                  <a:pt x="4546" y="316"/>
                </a:moveTo>
                <a:cubicBezTo>
                  <a:pt x="4546" y="388"/>
                  <a:pt x="4516" y="432"/>
                  <a:pt x="4460" y="432"/>
                </a:cubicBezTo>
                <a:cubicBezTo>
                  <a:pt x="4424" y="432"/>
                  <a:pt x="4384" y="412"/>
                  <a:pt x="4384" y="384"/>
                </a:cubicBezTo>
                <a:cubicBezTo>
                  <a:pt x="4384" y="248"/>
                  <a:pt x="4384" y="248"/>
                  <a:pt x="4384" y="248"/>
                </a:cubicBezTo>
                <a:cubicBezTo>
                  <a:pt x="4384" y="226"/>
                  <a:pt x="4416" y="202"/>
                  <a:pt x="4454" y="202"/>
                </a:cubicBezTo>
                <a:cubicBezTo>
                  <a:pt x="4510" y="206"/>
                  <a:pt x="4546" y="248"/>
                  <a:pt x="4546" y="316"/>
                </a:cubicBezTo>
                <a:moveTo>
                  <a:pt x="4600" y="310"/>
                </a:moveTo>
                <a:cubicBezTo>
                  <a:pt x="4600" y="230"/>
                  <a:pt x="4548" y="170"/>
                  <a:pt x="4478" y="170"/>
                </a:cubicBezTo>
                <a:cubicBezTo>
                  <a:pt x="4438" y="170"/>
                  <a:pt x="4406" y="188"/>
                  <a:pt x="4384" y="214"/>
                </a:cubicBezTo>
                <a:cubicBezTo>
                  <a:pt x="4384" y="174"/>
                  <a:pt x="4384" y="174"/>
                  <a:pt x="4384" y="174"/>
                </a:cubicBezTo>
                <a:cubicBezTo>
                  <a:pt x="4284" y="174"/>
                  <a:pt x="4284" y="174"/>
                  <a:pt x="4284" y="174"/>
                </a:cubicBezTo>
                <a:cubicBezTo>
                  <a:pt x="4284" y="186"/>
                  <a:pt x="4284" y="186"/>
                  <a:pt x="4284" y="186"/>
                </a:cubicBezTo>
                <a:cubicBezTo>
                  <a:pt x="4326" y="188"/>
                  <a:pt x="4332" y="190"/>
                  <a:pt x="4332" y="280"/>
                </a:cubicBezTo>
                <a:cubicBezTo>
                  <a:pt x="4332" y="466"/>
                  <a:pt x="4332" y="466"/>
                  <a:pt x="4332" y="466"/>
                </a:cubicBezTo>
                <a:cubicBezTo>
                  <a:pt x="4332" y="564"/>
                  <a:pt x="4334" y="570"/>
                  <a:pt x="4286" y="574"/>
                </a:cubicBezTo>
                <a:cubicBezTo>
                  <a:pt x="4286" y="588"/>
                  <a:pt x="4286" y="588"/>
                  <a:pt x="4286" y="588"/>
                </a:cubicBezTo>
                <a:cubicBezTo>
                  <a:pt x="4432" y="588"/>
                  <a:pt x="4432" y="588"/>
                  <a:pt x="4432" y="588"/>
                </a:cubicBezTo>
                <a:cubicBezTo>
                  <a:pt x="4432" y="574"/>
                  <a:pt x="4432" y="574"/>
                  <a:pt x="4432" y="574"/>
                </a:cubicBezTo>
                <a:cubicBezTo>
                  <a:pt x="4380" y="572"/>
                  <a:pt x="4384" y="564"/>
                  <a:pt x="4384" y="462"/>
                </a:cubicBezTo>
                <a:cubicBezTo>
                  <a:pt x="4384" y="424"/>
                  <a:pt x="4384" y="424"/>
                  <a:pt x="4384" y="424"/>
                </a:cubicBezTo>
                <a:cubicBezTo>
                  <a:pt x="4404" y="444"/>
                  <a:pt x="4436" y="454"/>
                  <a:pt x="4466" y="454"/>
                </a:cubicBezTo>
                <a:cubicBezTo>
                  <a:pt x="4548" y="454"/>
                  <a:pt x="4600" y="392"/>
                  <a:pt x="4600" y="310"/>
                </a:cubicBezTo>
                <a:moveTo>
                  <a:pt x="4792" y="382"/>
                </a:moveTo>
                <a:cubicBezTo>
                  <a:pt x="4792" y="404"/>
                  <a:pt x="4762" y="424"/>
                  <a:pt x="4736" y="424"/>
                </a:cubicBezTo>
                <a:cubicBezTo>
                  <a:pt x="4712" y="424"/>
                  <a:pt x="4694" y="410"/>
                  <a:pt x="4694" y="378"/>
                </a:cubicBezTo>
                <a:cubicBezTo>
                  <a:pt x="4694" y="322"/>
                  <a:pt x="4752" y="328"/>
                  <a:pt x="4792" y="306"/>
                </a:cubicBezTo>
                <a:cubicBezTo>
                  <a:pt x="4792" y="382"/>
                  <a:pt x="4792" y="382"/>
                  <a:pt x="4792" y="382"/>
                </a:cubicBezTo>
                <a:close/>
                <a:moveTo>
                  <a:pt x="5240" y="434"/>
                </a:moveTo>
                <a:cubicBezTo>
                  <a:pt x="5192" y="432"/>
                  <a:pt x="5192" y="430"/>
                  <a:pt x="5192" y="340"/>
                </a:cubicBezTo>
                <a:cubicBezTo>
                  <a:pt x="5192" y="278"/>
                  <a:pt x="5192" y="278"/>
                  <a:pt x="5192" y="278"/>
                </a:cubicBezTo>
                <a:cubicBezTo>
                  <a:pt x="5192" y="196"/>
                  <a:pt x="5146" y="170"/>
                  <a:pt x="5104" y="170"/>
                </a:cubicBezTo>
                <a:cubicBezTo>
                  <a:pt x="5068" y="170"/>
                  <a:pt x="5032" y="186"/>
                  <a:pt x="5004" y="222"/>
                </a:cubicBezTo>
                <a:cubicBezTo>
                  <a:pt x="5004" y="174"/>
                  <a:pt x="5004" y="174"/>
                  <a:pt x="5004" y="174"/>
                </a:cubicBezTo>
                <a:cubicBezTo>
                  <a:pt x="4902" y="174"/>
                  <a:pt x="4902" y="174"/>
                  <a:pt x="4902" y="174"/>
                </a:cubicBezTo>
                <a:cubicBezTo>
                  <a:pt x="4902" y="186"/>
                  <a:pt x="4902" y="186"/>
                  <a:pt x="4902" y="186"/>
                </a:cubicBezTo>
                <a:cubicBezTo>
                  <a:pt x="4946" y="188"/>
                  <a:pt x="4952" y="190"/>
                  <a:pt x="4952" y="266"/>
                </a:cubicBezTo>
                <a:cubicBezTo>
                  <a:pt x="4952" y="334"/>
                  <a:pt x="4952" y="334"/>
                  <a:pt x="4952" y="334"/>
                </a:cubicBezTo>
                <a:cubicBezTo>
                  <a:pt x="4952" y="430"/>
                  <a:pt x="4952" y="432"/>
                  <a:pt x="4904" y="434"/>
                </a:cubicBezTo>
                <a:cubicBezTo>
                  <a:pt x="4892" y="434"/>
                  <a:pt x="4892" y="434"/>
                  <a:pt x="4892" y="434"/>
                </a:cubicBezTo>
                <a:cubicBezTo>
                  <a:pt x="4854" y="434"/>
                  <a:pt x="4850" y="422"/>
                  <a:pt x="4850" y="366"/>
                </a:cubicBezTo>
                <a:cubicBezTo>
                  <a:pt x="4850" y="274"/>
                  <a:pt x="4850" y="274"/>
                  <a:pt x="4850" y="274"/>
                </a:cubicBezTo>
                <a:cubicBezTo>
                  <a:pt x="4850" y="256"/>
                  <a:pt x="4848" y="240"/>
                  <a:pt x="4844" y="228"/>
                </a:cubicBezTo>
                <a:cubicBezTo>
                  <a:pt x="4830" y="186"/>
                  <a:pt x="4796" y="170"/>
                  <a:pt x="4748" y="170"/>
                </a:cubicBezTo>
                <a:cubicBezTo>
                  <a:pt x="4718" y="170"/>
                  <a:pt x="4674" y="180"/>
                  <a:pt x="4650" y="202"/>
                </a:cubicBezTo>
                <a:cubicBezTo>
                  <a:pt x="4652" y="214"/>
                  <a:pt x="4664" y="240"/>
                  <a:pt x="4670" y="248"/>
                </a:cubicBezTo>
                <a:cubicBezTo>
                  <a:pt x="4676" y="246"/>
                  <a:pt x="4676" y="246"/>
                  <a:pt x="4676" y="246"/>
                </a:cubicBezTo>
                <a:cubicBezTo>
                  <a:pt x="4688" y="216"/>
                  <a:pt x="4708" y="194"/>
                  <a:pt x="4742" y="194"/>
                </a:cubicBezTo>
                <a:cubicBezTo>
                  <a:pt x="4778" y="194"/>
                  <a:pt x="4794" y="220"/>
                  <a:pt x="4794" y="250"/>
                </a:cubicBezTo>
                <a:cubicBezTo>
                  <a:pt x="4794" y="282"/>
                  <a:pt x="4794" y="282"/>
                  <a:pt x="4794" y="282"/>
                </a:cubicBezTo>
                <a:cubicBezTo>
                  <a:pt x="4794" y="302"/>
                  <a:pt x="4702" y="306"/>
                  <a:pt x="4664" y="338"/>
                </a:cubicBezTo>
                <a:cubicBezTo>
                  <a:pt x="4652" y="350"/>
                  <a:pt x="4642" y="364"/>
                  <a:pt x="4642" y="384"/>
                </a:cubicBezTo>
                <a:cubicBezTo>
                  <a:pt x="4642" y="426"/>
                  <a:pt x="4672" y="456"/>
                  <a:pt x="4716" y="456"/>
                </a:cubicBezTo>
                <a:cubicBezTo>
                  <a:pt x="4744" y="456"/>
                  <a:pt x="4768" y="446"/>
                  <a:pt x="4794" y="418"/>
                </a:cubicBezTo>
                <a:cubicBezTo>
                  <a:pt x="4798" y="438"/>
                  <a:pt x="4814" y="448"/>
                  <a:pt x="4842" y="448"/>
                </a:cubicBezTo>
                <a:cubicBezTo>
                  <a:pt x="4906" y="448"/>
                  <a:pt x="4906" y="448"/>
                  <a:pt x="4906" y="448"/>
                </a:cubicBezTo>
                <a:cubicBezTo>
                  <a:pt x="4906" y="448"/>
                  <a:pt x="4906" y="448"/>
                  <a:pt x="4906" y="448"/>
                </a:cubicBezTo>
                <a:cubicBezTo>
                  <a:pt x="5048" y="448"/>
                  <a:pt x="5048" y="448"/>
                  <a:pt x="5048" y="448"/>
                </a:cubicBezTo>
                <a:cubicBezTo>
                  <a:pt x="5048" y="436"/>
                  <a:pt x="5048" y="436"/>
                  <a:pt x="5048" y="436"/>
                </a:cubicBezTo>
                <a:cubicBezTo>
                  <a:pt x="5006" y="432"/>
                  <a:pt x="5004" y="434"/>
                  <a:pt x="5004" y="338"/>
                </a:cubicBezTo>
                <a:cubicBezTo>
                  <a:pt x="5004" y="262"/>
                  <a:pt x="5004" y="262"/>
                  <a:pt x="5004" y="262"/>
                </a:cubicBezTo>
                <a:cubicBezTo>
                  <a:pt x="5004" y="236"/>
                  <a:pt x="5038" y="206"/>
                  <a:pt x="5080" y="206"/>
                </a:cubicBezTo>
                <a:cubicBezTo>
                  <a:pt x="5114" y="206"/>
                  <a:pt x="5140" y="220"/>
                  <a:pt x="5140" y="286"/>
                </a:cubicBezTo>
                <a:cubicBezTo>
                  <a:pt x="5140" y="340"/>
                  <a:pt x="5140" y="340"/>
                  <a:pt x="5140" y="340"/>
                </a:cubicBezTo>
                <a:cubicBezTo>
                  <a:pt x="5140" y="432"/>
                  <a:pt x="5136" y="432"/>
                  <a:pt x="5098" y="434"/>
                </a:cubicBezTo>
                <a:cubicBezTo>
                  <a:pt x="5098" y="446"/>
                  <a:pt x="5098" y="446"/>
                  <a:pt x="5098" y="446"/>
                </a:cubicBezTo>
                <a:cubicBezTo>
                  <a:pt x="5240" y="446"/>
                  <a:pt x="5240" y="446"/>
                  <a:pt x="5240" y="446"/>
                </a:cubicBezTo>
                <a:lnTo>
                  <a:pt x="5240" y="434"/>
                </a:lnTo>
                <a:close/>
                <a:moveTo>
                  <a:pt x="5516" y="192"/>
                </a:moveTo>
                <a:cubicBezTo>
                  <a:pt x="5516" y="180"/>
                  <a:pt x="5516" y="180"/>
                  <a:pt x="5516" y="180"/>
                </a:cubicBezTo>
                <a:cubicBezTo>
                  <a:pt x="5418" y="180"/>
                  <a:pt x="5418" y="180"/>
                  <a:pt x="5418" y="180"/>
                </a:cubicBezTo>
                <a:cubicBezTo>
                  <a:pt x="5418" y="192"/>
                  <a:pt x="5418" y="192"/>
                  <a:pt x="5418" y="192"/>
                </a:cubicBezTo>
                <a:cubicBezTo>
                  <a:pt x="5442" y="194"/>
                  <a:pt x="5454" y="206"/>
                  <a:pt x="5446" y="234"/>
                </a:cubicBezTo>
                <a:cubicBezTo>
                  <a:pt x="5394" y="390"/>
                  <a:pt x="5394" y="390"/>
                  <a:pt x="5394" y="390"/>
                </a:cubicBezTo>
                <a:cubicBezTo>
                  <a:pt x="5342" y="270"/>
                  <a:pt x="5342" y="270"/>
                  <a:pt x="5342" y="270"/>
                </a:cubicBezTo>
                <a:cubicBezTo>
                  <a:pt x="5328" y="238"/>
                  <a:pt x="5322" y="224"/>
                  <a:pt x="5322" y="212"/>
                </a:cubicBezTo>
                <a:cubicBezTo>
                  <a:pt x="5322" y="202"/>
                  <a:pt x="5328" y="196"/>
                  <a:pt x="5348" y="192"/>
                </a:cubicBezTo>
                <a:cubicBezTo>
                  <a:pt x="5348" y="180"/>
                  <a:pt x="5348" y="180"/>
                  <a:pt x="5348" y="180"/>
                </a:cubicBezTo>
                <a:cubicBezTo>
                  <a:pt x="5220" y="180"/>
                  <a:pt x="5220" y="180"/>
                  <a:pt x="5220" y="180"/>
                </a:cubicBezTo>
                <a:cubicBezTo>
                  <a:pt x="5220" y="192"/>
                  <a:pt x="5220" y="192"/>
                  <a:pt x="5220" y="192"/>
                </a:cubicBezTo>
                <a:cubicBezTo>
                  <a:pt x="5252" y="194"/>
                  <a:pt x="5254" y="198"/>
                  <a:pt x="5296" y="292"/>
                </a:cubicBezTo>
                <a:cubicBezTo>
                  <a:pt x="5368" y="450"/>
                  <a:pt x="5368" y="450"/>
                  <a:pt x="5368" y="450"/>
                </a:cubicBezTo>
                <a:cubicBezTo>
                  <a:pt x="5344" y="512"/>
                  <a:pt x="5306" y="546"/>
                  <a:pt x="5228" y="564"/>
                </a:cubicBezTo>
                <a:cubicBezTo>
                  <a:pt x="5232" y="576"/>
                  <a:pt x="5246" y="600"/>
                  <a:pt x="5254" y="606"/>
                </a:cubicBezTo>
                <a:cubicBezTo>
                  <a:pt x="5356" y="564"/>
                  <a:pt x="5376" y="498"/>
                  <a:pt x="5412" y="396"/>
                </a:cubicBezTo>
                <a:cubicBezTo>
                  <a:pt x="5466" y="242"/>
                  <a:pt x="5466" y="242"/>
                  <a:pt x="5466" y="242"/>
                </a:cubicBezTo>
                <a:cubicBezTo>
                  <a:pt x="5478" y="206"/>
                  <a:pt x="5498" y="192"/>
                  <a:pt x="5516" y="192"/>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600" kern="1200">
                <a:solidFill>
                  <a:schemeClr val="tx1"/>
                </a:solidFill>
                <a:latin typeface="Arial" charset="0"/>
                <a:ea typeface="+mn-ea"/>
                <a:cs typeface="+mn-cs"/>
              </a:defRPr>
            </a:lvl1pPr>
            <a:lvl2pPr marL="457200" algn="l" rtl="0" fontAlgn="base">
              <a:spcBef>
                <a:spcPct val="0"/>
              </a:spcBef>
              <a:spcAft>
                <a:spcPct val="0"/>
              </a:spcAft>
              <a:defRPr sz="1600" kern="1200">
                <a:solidFill>
                  <a:schemeClr val="tx1"/>
                </a:solidFill>
                <a:latin typeface="Arial" charset="0"/>
                <a:ea typeface="+mn-ea"/>
                <a:cs typeface="+mn-cs"/>
              </a:defRPr>
            </a:lvl2pPr>
            <a:lvl3pPr marL="914400" algn="l" rtl="0" fontAlgn="base">
              <a:spcBef>
                <a:spcPct val="0"/>
              </a:spcBef>
              <a:spcAft>
                <a:spcPct val="0"/>
              </a:spcAft>
              <a:defRPr sz="1600" kern="1200">
                <a:solidFill>
                  <a:schemeClr val="tx1"/>
                </a:solidFill>
                <a:latin typeface="Arial" charset="0"/>
                <a:ea typeface="+mn-ea"/>
                <a:cs typeface="+mn-cs"/>
              </a:defRPr>
            </a:lvl3pPr>
            <a:lvl4pPr marL="1371600" algn="l" rtl="0" fontAlgn="base">
              <a:spcBef>
                <a:spcPct val="0"/>
              </a:spcBef>
              <a:spcAft>
                <a:spcPct val="0"/>
              </a:spcAft>
              <a:defRPr sz="1600" kern="1200">
                <a:solidFill>
                  <a:schemeClr val="tx1"/>
                </a:solidFill>
                <a:latin typeface="Arial" charset="0"/>
                <a:ea typeface="+mn-ea"/>
                <a:cs typeface="+mn-cs"/>
              </a:defRPr>
            </a:lvl4pPr>
            <a:lvl5pPr marL="1828800" algn="l" rtl="0" fontAlgn="base">
              <a:spcBef>
                <a:spcPct val="0"/>
              </a:spcBef>
              <a:spcAft>
                <a:spcPct val="0"/>
              </a:spcAft>
              <a:defRPr sz="1600" kern="1200">
                <a:solidFill>
                  <a:schemeClr val="tx1"/>
                </a:solidFill>
                <a:latin typeface="Arial" charset="0"/>
                <a:ea typeface="+mn-ea"/>
                <a:cs typeface="+mn-cs"/>
              </a:defRPr>
            </a:lvl5pPr>
            <a:lvl6pPr marL="2286000" algn="l" defTabSz="914400" rtl="0" eaLnBrk="1" latinLnBrk="0" hangingPunct="1">
              <a:defRPr sz="1600" kern="1200">
                <a:solidFill>
                  <a:schemeClr val="tx1"/>
                </a:solidFill>
                <a:latin typeface="Arial" charset="0"/>
                <a:ea typeface="+mn-ea"/>
                <a:cs typeface="+mn-cs"/>
              </a:defRPr>
            </a:lvl6pPr>
            <a:lvl7pPr marL="2743200" algn="l" defTabSz="914400" rtl="0" eaLnBrk="1" latinLnBrk="0" hangingPunct="1">
              <a:defRPr sz="1600" kern="1200">
                <a:solidFill>
                  <a:schemeClr val="tx1"/>
                </a:solidFill>
                <a:latin typeface="Arial" charset="0"/>
                <a:ea typeface="+mn-ea"/>
                <a:cs typeface="+mn-cs"/>
              </a:defRPr>
            </a:lvl7pPr>
            <a:lvl8pPr marL="3200400" algn="l" defTabSz="914400" rtl="0" eaLnBrk="1" latinLnBrk="0" hangingPunct="1">
              <a:defRPr sz="1600" kern="1200">
                <a:solidFill>
                  <a:schemeClr val="tx1"/>
                </a:solidFill>
                <a:latin typeface="Arial" charset="0"/>
                <a:ea typeface="+mn-ea"/>
                <a:cs typeface="+mn-cs"/>
              </a:defRPr>
            </a:lvl8pPr>
            <a:lvl9pPr marL="3657600" algn="l" defTabSz="914400" rtl="0" eaLnBrk="1" latinLnBrk="0" hangingPunct="1">
              <a:defRPr sz="1600" kern="1200">
                <a:solidFill>
                  <a:schemeClr val="tx1"/>
                </a:solidFill>
                <a:latin typeface="Arial" charset="0"/>
                <a:ea typeface="+mn-ea"/>
                <a:cs typeface="+mn-cs"/>
              </a:defRPr>
            </a:lvl9pPr>
          </a:lstStyle>
          <a:p>
            <a:endParaRPr lang="en-US" baseline="0" dirty="0">
              <a:solidFill>
                <a:srgbClr val="000000"/>
              </a:solidFill>
              <a:latin typeface="+mn-lt"/>
            </a:endParaRPr>
          </a:p>
        </p:txBody>
      </p:sp>
      <p:sp>
        <p:nvSpPr>
          <p:cNvPr id="27" name="Disclaimer-English (United States)" hidden="1"/>
          <p:cNvSpPr>
            <a:spLocks noChangeArrowheads="1"/>
          </p:cNvSpPr>
          <p:nvPr/>
        </p:nvSpPr>
        <p:spPr bwMode="black">
          <a:xfrm>
            <a:off x="2268266" y="6287785"/>
            <a:ext cx="3544453" cy="36908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t" anchorCtr="0">
            <a:noAutofit/>
          </a:bodyPr>
          <a:lstStyle/>
          <a:p>
            <a:pPr defTabSz="804863" eaLnBrk="0" hangingPunct="0"/>
            <a:r>
              <a:rPr lang="en-US" sz="800" baseline="0" dirty="0">
                <a:solidFill>
                  <a:srgbClr val="FFFFFF"/>
                </a:solidFill>
                <a:latin typeface="+mn-lt"/>
              </a:rPr>
              <a:t>CONFIDENTIAL AND PROPRIETARY</a:t>
            </a:r>
          </a:p>
          <a:p>
            <a:pPr defTabSz="804863" eaLnBrk="0" hangingPunct="0"/>
            <a:r>
              <a:rPr lang="en-US" sz="800" baseline="0" dirty="0">
                <a:solidFill>
                  <a:srgbClr val="FFFFFF"/>
                </a:solidFill>
                <a:latin typeface="+mn-lt"/>
              </a:rPr>
              <a:t>Any use of this material without specific permission of McKinsey &amp; Company is strictly prohibited</a:t>
            </a:r>
          </a:p>
        </p:txBody>
      </p:sp>
    </p:spTree>
    <p:extLst>
      <p:ext uri="{BB962C8B-B14F-4D97-AF65-F5344CB8AC3E}">
        <p14:creationId xmlns:p14="http://schemas.microsoft.com/office/powerpoint/2010/main" val="2597301978"/>
      </p:ext>
    </p:extLst>
  </p:cSld>
  <p:clrMapOvr>
    <a:masterClrMapping/>
  </p:clrMapOvr>
  <p:extLst mod="1">
    <p:ext uri="{DCECCB84-F9BA-43D5-87BE-67443E8EF086}">
      <p15:sldGuideLst xmlns:p15="http://schemas.microsoft.com/office/powerpoint/2012/main">
        <p15:guide id="1" orient="horz" pos="2117">
          <p15:clr>
            <a:srgbClr val="FBAE40"/>
          </p15:clr>
        </p15:guide>
        <p15:guide id="2" pos="1416">
          <p15:clr>
            <a:srgbClr val="FBAE40"/>
          </p15:clr>
        </p15:guide>
      </p15:sldGuideLst>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6E228F5-5CF1-42E1-9748-97D7582A107A}"/>
              </a:ext>
            </a:extLst>
          </p:cNvPr>
          <p:cNvGraphicFramePr>
            <a:graphicFrameLocks noChangeAspect="1"/>
          </p:cNvGraphicFramePr>
          <p:nvPr>
            <p:custDataLst>
              <p:tags r:id="rId2"/>
            </p:custDataLst>
            <p:extLst>
              <p:ext uri="{D42A27DB-BD31-4B8C-83A1-F6EECF244321}">
                <p14:modId xmlns:p14="http://schemas.microsoft.com/office/powerpoint/2010/main" val="279017991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6628" name="think-cell Slide" r:id="rId5" imgW="353" imgH="353" progId="TCLayout.ActiveDocument.1">
                  <p:embed/>
                </p:oleObj>
              </mc:Choice>
              <mc:Fallback>
                <p:oleObj name="think-cell Slide" r:id="rId5" imgW="353" imgH="353" progId="TCLayout.ActiveDocument.1">
                  <p:embed/>
                  <p:pic>
                    <p:nvPicPr>
                      <p:cNvPr id="3" name="Object 2" hidden="1">
                        <a:extLst>
                          <a:ext uri="{FF2B5EF4-FFF2-40B4-BE49-F238E27FC236}">
                            <a16:creationId xmlns:a16="http://schemas.microsoft.com/office/drawing/2014/main" id="{C6E228F5-5CF1-42E1-9748-97D7582A107A}"/>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2. Slide Title"/>
          <p:cNvSpPr>
            <a:spLocks noGrp="1"/>
          </p:cNvSpPr>
          <p:nvPr>
            <p:ph type="title"/>
          </p:nvPr>
        </p:nvSpPr>
        <p:spPr bwMode="auto"/>
        <p:txBody>
          <a:bodyPr/>
          <a:lstStyle/>
          <a:p>
            <a:r>
              <a:rPr lang="en-US"/>
              <a:t>Click to edit Master title style</a:t>
            </a:r>
            <a:endParaRPr lang="en-US" dirty="0"/>
          </a:p>
        </p:txBody>
      </p:sp>
      <p:sp>
        <p:nvSpPr>
          <p:cNvPr id="8" name="Slide Number"/>
          <p:cNvSpPr txBox="1">
            <a:spLocks/>
          </p:cNvSpPr>
          <p:nvPr/>
        </p:nvSpPr>
        <p:spPr bwMode="auto">
          <a:xfrm>
            <a:off x="8564563" y="6508272"/>
            <a:ext cx="125034" cy="123111"/>
          </a:xfrm>
          <a:prstGeom prst="rect">
            <a:avLst/>
          </a:prstGeom>
        </p:spPr>
        <p:txBody>
          <a:bodyPr vert="horz" wrap="none" lIns="0" tIns="0" rIns="0" bIns="0" rtlCol="0" anchor="ctr">
            <a:spAutoFit/>
          </a:bodyPr>
          <a:lstStyle>
            <a:defPPr>
              <a:defRPr lang="en-US"/>
            </a:defPPr>
            <a:lvl1pPr>
              <a:defRPr sz="1000" baseline="0">
                <a:latin typeface="+mn-lt"/>
              </a:defRPr>
            </a:lvl1pPr>
          </a:lstStyle>
          <a:p>
            <a:fld id="{42C328C1-A84F-4A39-A664-DBA00541A8C6}" type="slidenum">
              <a:rPr lang="en-US" sz="800" baseline="0" smtClean="0">
                <a:solidFill>
                  <a:srgbClr val="808080"/>
                </a:solidFill>
                <a:latin typeface="+mn-lt"/>
              </a:rPr>
              <a:pPr/>
              <a:t>‹#›</a:t>
            </a:fld>
            <a:endParaRPr lang="en-US" sz="800" baseline="0" dirty="0">
              <a:solidFill>
                <a:srgbClr val="808080"/>
              </a:solidFill>
              <a:latin typeface="+mn-lt"/>
            </a:endParaRPr>
          </a:p>
        </p:txBody>
      </p:sp>
      <p:sp>
        <p:nvSpPr>
          <p:cNvPr id="9" name="SlideLogoText"/>
          <p:cNvSpPr>
            <a:spLocks noChangeArrowheads="1"/>
          </p:cNvSpPr>
          <p:nvPr>
            <p:custDataLst>
              <p:tags r:id="rId3"/>
            </p:custDataLst>
          </p:nvPr>
        </p:nvSpPr>
        <p:spPr bwMode="auto">
          <a:xfrm>
            <a:off x="7450817" y="6508272"/>
            <a:ext cx="1013098"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algn="r" defTabSz="895350"/>
            <a:r>
              <a:rPr lang="en-US" sz="800" baseline="0" dirty="0">
                <a:solidFill>
                  <a:srgbClr val="808080"/>
                </a:solidFill>
                <a:latin typeface="+mn-lt"/>
              </a:rPr>
              <a:t>McKinsey &amp; Company</a:t>
            </a:r>
          </a:p>
        </p:txBody>
      </p:sp>
      <p:sp>
        <p:nvSpPr>
          <p:cNvPr id="5" name="doc id" hidden="1"/>
          <p:cNvSpPr txBox="1">
            <a:spLocks noChangeArrowheads="1"/>
          </p:cNvSpPr>
          <p:nvPr/>
        </p:nvSpPr>
        <p:spPr bwMode="white">
          <a:xfrm>
            <a:off x="8104473" y="36513"/>
            <a:ext cx="634716" cy="115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hangingPunct="1">
              <a:defRPr/>
            </a:pPr>
            <a:endParaRPr lang="en-US" sz="800" baseline="0" dirty="0">
              <a:solidFill>
                <a:schemeClr val="accent1"/>
              </a:solidFill>
              <a:latin typeface="+mn-lt"/>
              <a:ea typeface="+mn-ea"/>
            </a:endParaRPr>
          </a:p>
        </p:txBody>
      </p:sp>
    </p:spTree>
    <p:extLst>
      <p:ext uri="{BB962C8B-B14F-4D97-AF65-F5344CB8AC3E}">
        <p14:creationId xmlns:p14="http://schemas.microsoft.com/office/powerpoint/2010/main" val="1957795548"/>
      </p:ext>
    </p:extLst>
  </p:cSld>
  <p:clrMapOvr>
    <a:masterClrMapping/>
  </p:clrMapOvr>
  <p:extLst mod="1">
    <p:ext uri="{DCECCB84-F9BA-43D5-87BE-67443E8EF086}">
      <p15:sldGuideLst xmlns:p15="http://schemas.microsoft.com/office/powerpoint/2012/main">
        <p15:guide id="1" pos="5505">
          <p15:clr>
            <a:srgbClr val="F26B43"/>
          </p15:clr>
        </p15:guide>
        <p15:guide id="2" pos="74">
          <p15:clr>
            <a:srgbClr val="F26B43"/>
          </p15:clr>
        </p15:guide>
        <p15:guide id="3" orient="horz" pos="571">
          <p15:clr>
            <a:srgbClr val="F26B43"/>
          </p15:clr>
        </p15:guide>
        <p15:guide id="4" orient="horz" pos="3911">
          <p15:clr>
            <a:srgbClr val="F26B43"/>
          </p15:clr>
        </p15:guide>
      </p15:sldGuideLst>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p:cSld name="1_Title Only">
    <p:bg>
      <p:bgPr>
        <a:solidFill>
          <a:schemeClr val="accent2"/>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F4AD34F-3B47-47E2-A09C-FFEB949F6A10}"/>
              </a:ext>
            </a:extLst>
          </p:cNvPr>
          <p:cNvGraphicFramePr>
            <a:graphicFrameLocks noChangeAspect="1"/>
          </p:cNvGraphicFramePr>
          <p:nvPr>
            <p:custDataLst>
              <p:tags r:id="rId2"/>
            </p:custDataLst>
            <p:extLst>
              <p:ext uri="{D42A27DB-BD31-4B8C-83A1-F6EECF244321}">
                <p14:modId xmlns:p14="http://schemas.microsoft.com/office/powerpoint/2010/main" val="303575085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7652" name="think-cell Slide" r:id="rId5" imgW="395" imgH="394" progId="TCLayout.ActiveDocument.1">
                  <p:embed/>
                </p:oleObj>
              </mc:Choice>
              <mc:Fallback>
                <p:oleObj name="think-cell Slide" r:id="rId5" imgW="395" imgH="394" progId="TCLayout.ActiveDocument.1">
                  <p:embed/>
                  <p:pic>
                    <p:nvPicPr>
                      <p:cNvPr id="3" name="Object 2" hidden="1">
                        <a:extLst>
                          <a:ext uri="{FF2B5EF4-FFF2-40B4-BE49-F238E27FC236}">
                            <a16:creationId xmlns:a16="http://schemas.microsoft.com/office/drawing/2014/main" id="{EF4AD34F-3B47-47E2-A09C-FFEB949F6A10}"/>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endParaRPr lang="en-US" dirty="0"/>
          </a:p>
        </p:txBody>
      </p:sp>
      <p:sp>
        <p:nvSpPr>
          <p:cNvPr id="15" name="Slide Number"/>
          <p:cNvSpPr txBox="1">
            <a:spLocks/>
          </p:cNvSpPr>
          <p:nvPr/>
        </p:nvSpPr>
        <p:spPr>
          <a:xfrm>
            <a:off x="8564563" y="6508272"/>
            <a:ext cx="125034" cy="123111"/>
          </a:xfrm>
          <a:prstGeom prst="rect">
            <a:avLst/>
          </a:prstGeom>
        </p:spPr>
        <p:txBody>
          <a:bodyPr vert="horz" wrap="none" lIns="0" tIns="0" rIns="0" bIns="0" rtlCol="0" anchor="ctr">
            <a:spAutoFit/>
          </a:bodyPr>
          <a:lstStyle>
            <a:defPPr>
              <a:defRPr lang="en-US"/>
            </a:defPPr>
            <a:lvl1pPr>
              <a:defRPr sz="1000" baseline="0">
                <a:latin typeface="+mn-lt"/>
              </a:defRPr>
            </a:lvl1pPr>
          </a:lstStyle>
          <a:p>
            <a:fld id="{42C328C1-A84F-4A39-A664-DBA00541A8C6}" type="slidenum">
              <a:rPr lang="en-US" sz="800" baseline="0" smtClean="0">
                <a:solidFill>
                  <a:srgbClr val="FFFFFF"/>
                </a:solidFill>
                <a:latin typeface="+mn-lt"/>
              </a:rPr>
              <a:pPr/>
              <a:t>‹#›</a:t>
            </a:fld>
            <a:endParaRPr lang="en-US" sz="800" baseline="0" dirty="0">
              <a:solidFill>
                <a:srgbClr val="FFFFFF"/>
              </a:solidFill>
              <a:latin typeface="+mn-lt"/>
            </a:endParaRPr>
          </a:p>
        </p:txBody>
      </p:sp>
      <p:sp>
        <p:nvSpPr>
          <p:cNvPr id="16" name="SlideLogoText"/>
          <p:cNvSpPr>
            <a:spLocks noChangeArrowheads="1"/>
          </p:cNvSpPr>
          <p:nvPr>
            <p:custDataLst>
              <p:tags r:id="rId3"/>
            </p:custDataLst>
          </p:nvPr>
        </p:nvSpPr>
        <p:spPr bwMode="auto">
          <a:xfrm>
            <a:off x="7450817" y="6508272"/>
            <a:ext cx="1013098"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algn="r" defTabSz="895350"/>
            <a:r>
              <a:rPr lang="en-US" sz="800" baseline="0" dirty="0">
                <a:solidFill>
                  <a:srgbClr val="FFFFFF"/>
                </a:solidFill>
                <a:latin typeface="+mn-lt"/>
              </a:rPr>
              <a:t>McKinsey &amp; Company</a:t>
            </a:r>
          </a:p>
        </p:txBody>
      </p:sp>
      <p:sp>
        <p:nvSpPr>
          <p:cNvPr id="5" name="doc id" hidden="1"/>
          <p:cNvSpPr txBox="1">
            <a:spLocks noChangeArrowheads="1"/>
          </p:cNvSpPr>
          <p:nvPr/>
        </p:nvSpPr>
        <p:spPr bwMode="white">
          <a:xfrm>
            <a:off x="8104473" y="36513"/>
            <a:ext cx="634716" cy="115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hangingPunct="1">
              <a:defRPr/>
            </a:pPr>
            <a:endParaRPr lang="en-US" sz="800" baseline="0" dirty="0">
              <a:solidFill>
                <a:schemeClr val="accent1"/>
              </a:solidFill>
              <a:latin typeface="+mn-lt"/>
              <a:ea typeface="+mn-ea"/>
            </a:endParaRPr>
          </a:p>
        </p:txBody>
      </p:sp>
    </p:spTree>
    <p:extLst>
      <p:ext uri="{BB962C8B-B14F-4D97-AF65-F5344CB8AC3E}">
        <p14:creationId xmlns:p14="http://schemas.microsoft.com/office/powerpoint/2010/main" val="2987870693"/>
      </p:ext>
    </p:extLst>
  </p:cSld>
  <p:clrMapOvr>
    <a:masterClrMapping/>
  </p:clrMapOvr>
  <p:extLst mod="1">
    <p:ext uri="{DCECCB84-F9BA-43D5-87BE-67443E8EF086}">
      <p15:sldGuideLst xmlns:p15="http://schemas.microsoft.com/office/powerpoint/2012/main">
        <p15:guide id="1" pos="3978">
          <p15:clr>
            <a:srgbClr val="000000"/>
          </p15:clr>
        </p15:guide>
        <p15:guide id="2" orient="horz" pos="570">
          <p15:clr>
            <a:srgbClr val="000000"/>
          </p15:clr>
        </p15:guide>
        <p15:guide id="3" orient="horz" pos="3912">
          <p15:clr>
            <a:srgbClr val="000000"/>
          </p15:clr>
        </p15:guide>
        <p15:guide id="4" pos="72">
          <p15:clr>
            <a:srgbClr val="000000"/>
          </p15:clr>
        </p15:guide>
      </p15:sldGuideLst>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type="titleOnly">
  <p:cSld name="2_Title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ECD524A-1569-4253-8CD8-48D288AD883C}"/>
              </a:ext>
            </a:extLst>
          </p:cNvPr>
          <p:cNvGraphicFramePr>
            <a:graphicFrameLocks noChangeAspect="1"/>
          </p:cNvGraphicFramePr>
          <p:nvPr>
            <p:custDataLst>
              <p:tags r:id="rId2"/>
            </p:custDataLst>
            <p:extLst>
              <p:ext uri="{D42A27DB-BD31-4B8C-83A1-F6EECF244321}">
                <p14:modId xmlns:p14="http://schemas.microsoft.com/office/powerpoint/2010/main" val="21641593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8676" name="think-cell Slide" r:id="rId4" imgW="395" imgH="394" progId="TCLayout.ActiveDocument.1">
                  <p:embed/>
                </p:oleObj>
              </mc:Choice>
              <mc:Fallback>
                <p:oleObj name="think-cell Slide" r:id="rId4" imgW="395" imgH="394" progId="TCLayout.ActiveDocument.1">
                  <p:embed/>
                  <p:pic>
                    <p:nvPicPr>
                      <p:cNvPr id="3" name="Object 2" hidden="1">
                        <a:extLst>
                          <a:ext uri="{FF2B5EF4-FFF2-40B4-BE49-F238E27FC236}">
                            <a16:creationId xmlns:a16="http://schemas.microsoft.com/office/drawing/2014/main" id="{5ECD524A-1569-4253-8CD8-48D288AD883C}"/>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75553611"/>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pic>
        <p:nvPicPr>
          <p:cNvPr id="2" name="background"/>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0" y="198"/>
            <a:ext cx="8961438" cy="6721079"/>
          </a:xfrm>
          <a:prstGeom prst="rect">
            <a:avLst/>
          </a:prstGeom>
        </p:spPr>
      </p:pic>
      <p:sp>
        <p:nvSpPr>
          <p:cNvPr id="28" name="TitleRectangle"/>
          <p:cNvSpPr txBox="1">
            <a:spLocks/>
          </p:cNvSpPr>
          <p:nvPr/>
        </p:nvSpPr>
        <p:spPr>
          <a:xfrm>
            <a:off x="2084388" y="0"/>
            <a:ext cx="6875462" cy="3575976"/>
          </a:xfrm>
          <a:prstGeom prst="rect">
            <a:avLst/>
          </a:prstGeom>
          <a:solidFill>
            <a:srgbClr val="002960">
              <a:alpha val="92000"/>
            </a:srgbClr>
          </a:solidFill>
        </p:spPr>
        <p:txBody>
          <a:bodyPr vert="horz" wrap="square" lIns="216000" tIns="1440000" rIns="216000" bIns="108000" rtlCol="0">
            <a:noAutofit/>
          </a:bodyPr>
          <a:lstStyle>
            <a:lvl1pPr marL="0" indent="0" algn="l" defTabSz="914400" rtl="0" eaLnBrk="1" latinLnBrk="0" hangingPunct="1">
              <a:spcBef>
                <a:spcPct val="20000"/>
              </a:spcBef>
              <a:spcAft>
                <a:spcPts val="6000"/>
              </a:spcAft>
              <a:buFont typeface="Arial" pitchFamily="34" charset="0"/>
              <a:buNone/>
              <a:defRPr sz="3200" kern="1200">
                <a:solidFill>
                  <a:schemeClr val="accent1"/>
                </a:solidFill>
                <a:latin typeface="+mn-lt"/>
                <a:ea typeface="+mn-ea"/>
                <a:cs typeface="+mn-cs"/>
              </a:defRPr>
            </a:lvl1pPr>
            <a:lvl2pPr marL="0" indent="0" algn="l" defTabSz="914400" rtl="0" eaLnBrk="1" latinLnBrk="0" hangingPunct="1">
              <a:spcBef>
                <a:spcPct val="20000"/>
              </a:spcBef>
              <a:buFont typeface="Wingdings" charset="2"/>
              <a:buNone/>
              <a:defRPr sz="1400" kern="1200">
                <a:solidFill>
                  <a:schemeClr val="tx1">
                    <a:lumMod val="50000"/>
                    <a:lumOff val="50000"/>
                  </a:schemeClr>
                </a:solidFill>
                <a:latin typeface="+mn-lt"/>
                <a:ea typeface="+mn-ea"/>
                <a:cs typeface="+mn-cs"/>
              </a:defRPr>
            </a:lvl2pPr>
            <a:lvl3pPr marL="1143000" indent="-228600" algn="l" defTabSz="914400" rtl="0" eaLnBrk="1" latinLnBrk="0" hangingPunct="1">
              <a:spcBef>
                <a:spcPct val="20000"/>
              </a:spcBef>
              <a:buFont typeface="Lucida Grande"/>
              <a:buChar char="–"/>
              <a:defRPr sz="16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fontAlgn="auto">
              <a:defRPr/>
            </a:pPr>
            <a:r>
              <a:rPr lang="en-US" baseline="0" dirty="0">
                <a:solidFill>
                  <a:srgbClr val="00ADEF"/>
                </a:solidFill>
                <a:latin typeface="+mn-lt"/>
              </a:rPr>
              <a:t>
              </a:t>
            </a:r>
            <a:br>
              <a:rPr lang="en-US" baseline="0" dirty="0">
                <a:solidFill>
                  <a:srgbClr val="00ADEF"/>
                </a:solidFill>
                <a:latin typeface="+mn-lt"/>
              </a:rPr>
            </a:br>
            <a:endParaRPr lang="en-US" baseline="0" dirty="0">
              <a:solidFill>
                <a:srgbClr val="00ADEF"/>
              </a:solidFill>
              <a:latin typeface="+mn-lt"/>
            </a:endParaRPr>
          </a:p>
        </p:txBody>
      </p:sp>
      <p:graphicFrame>
        <p:nvGraphicFramePr>
          <p:cNvPr id="3" name="Object 2"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0724"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Working Draft Text" hidden="1"/>
          <p:cNvSpPr txBox="1">
            <a:spLocks noChangeArrowheads="1"/>
          </p:cNvSpPr>
          <p:nvPr/>
        </p:nvSpPr>
        <p:spPr bwMode="black">
          <a:xfrm>
            <a:off x="5992719" y="6287538"/>
            <a:ext cx="2790000"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800" b="1" baseline="0" dirty="0">
                <a:solidFill>
                  <a:srgbClr val="FFFFFF"/>
                </a:solidFill>
                <a:latin typeface="+mn-lt"/>
              </a:rPr>
              <a:t>WORKING DRAFT</a:t>
            </a:r>
          </a:p>
        </p:txBody>
      </p:sp>
      <p:sp>
        <p:nvSpPr>
          <p:cNvPr id="6" name="Working Draft" hidden="1"/>
          <p:cNvSpPr txBox="1">
            <a:spLocks noChangeArrowheads="1"/>
          </p:cNvSpPr>
          <p:nvPr/>
        </p:nvSpPr>
        <p:spPr bwMode="black">
          <a:xfrm>
            <a:off x="5992718" y="6410648"/>
            <a:ext cx="2968719"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800" baseline="0">
                <a:solidFill>
                  <a:srgbClr val="FFFFFF"/>
                </a:solidFill>
                <a:latin typeface="+mn-lt"/>
              </a:rPr>
              <a:t>Last Modified 21/05/2018 17:44 India Standard Time</a:t>
            </a:r>
            <a:endParaRPr lang="en-US" sz="800" baseline="0" dirty="0">
              <a:solidFill>
                <a:srgbClr val="FFFFFF"/>
              </a:solidFill>
              <a:latin typeface="+mn-lt"/>
            </a:endParaRPr>
          </a:p>
        </p:txBody>
      </p:sp>
      <p:sp>
        <p:nvSpPr>
          <p:cNvPr id="7" name="Printed" hidden="1"/>
          <p:cNvSpPr txBox="1">
            <a:spLocks noChangeArrowheads="1"/>
          </p:cNvSpPr>
          <p:nvPr/>
        </p:nvSpPr>
        <p:spPr bwMode="black">
          <a:xfrm>
            <a:off x="5992719" y="6533759"/>
            <a:ext cx="2790000"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800" baseline="0" dirty="0">
                <a:solidFill>
                  <a:srgbClr val="FFFFFF"/>
                </a:solidFill>
                <a:latin typeface="+mn-lt"/>
              </a:rPr>
              <a:t>Printed</a:t>
            </a:r>
          </a:p>
        </p:txBody>
      </p:sp>
      <p:sp>
        <p:nvSpPr>
          <p:cNvPr id="13314" name="Title"/>
          <p:cNvSpPr>
            <a:spLocks noGrp="1" noChangeArrowheads="1"/>
          </p:cNvSpPr>
          <p:nvPr>
            <p:ph type="ctrTitle"/>
          </p:nvPr>
        </p:nvSpPr>
        <p:spPr>
          <a:xfrm>
            <a:off x="2268266" y="1434419"/>
            <a:ext cx="6231663" cy="492443"/>
          </a:xfrm>
          <a:prstGeom prst="rect">
            <a:avLst/>
          </a:prstGeom>
        </p:spPr>
        <p:txBody>
          <a:bodyPr>
            <a:spAutoFit/>
          </a:bodyPr>
          <a:lstStyle>
            <a:lvl1pPr>
              <a:defRPr sz="3200" b="0" baseline="0">
                <a:solidFill>
                  <a:schemeClr val="accent2"/>
                </a:solidFill>
                <a:latin typeface="+mj-lt"/>
                <a:ea typeface="+mj-ea"/>
              </a:defRPr>
            </a:lvl1pPr>
          </a:lstStyle>
          <a:p>
            <a:pPr lvl="0" latinLnBrk="0"/>
            <a:r>
              <a:rPr lang="en-US" noProof="0"/>
              <a:t>Click to edit Master title style</a:t>
            </a:r>
            <a:endParaRPr lang="en-US" noProof="0" dirty="0"/>
          </a:p>
        </p:txBody>
      </p:sp>
      <p:sp>
        <p:nvSpPr>
          <p:cNvPr id="13315" name="Subtitle"/>
          <p:cNvSpPr>
            <a:spLocks noGrp="1" noChangeArrowheads="1"/>
          </p:cNvSpPr>
          <p:nvPr>
            <p:ph type="subTitle" idx="1"/>
          </p:nvPr>
        </p:nvSpPr>
        <p:spPr>
          <a:xfrm>
            <a:off x="2268266" y="2819401"/>
            <a:ext cx="6231663" cy="215444"/>
          </a:xfrm>
          <a:prstGeom prst="rect">
            <a:avLst/>
          </a:prstGeom>
        </p:spPr>
        <p:txBody>
          <a:bodyPr wrap="square">
            <a:spAutoFit/>
          </a:bodyPr>
          <a:lstStyle>
            <a:lvl1pPr>
              <a:defRPr sz="1400" cap="all" baseline="0">
                <a:solidFill>
                  <a:schemeClr val="bg1"/>
                </a:solidFill>
                <a:latin typeface="+mn-lt"/>
                <a:ea typeface="+mn-ea"/>
              </a:defRPr>
            </a:lvl1pPr>
          </a:lstStyle>
          <a:p>
            <a:pPr lvl="0" latinLnBrk="0"/>
            <a:r>
              <a:rPr lang="en-US" noProof="0"/>
              <a:t>Click to edit Master subtitle style</a:t>
            </a:r>
            <a:endParaRPr lang="en-US" noProof="0" dirty="0"/>
          </a:p>
        </p:txBody>
      </p:sp>
      <p:sp>
        <p:nvSpPr>
          <p:cNvPr id="57" name="Document type" hidden="1"/>
          <p:cNvSpPr txBox="1">
            <a:spLocks noChangeArrowheads="1"/>
          </p:cNvSpPr>
          <p:nvPr/>
        </p:nvSpPr>
        <p:spPr bwMode="gray">
          <a:xfrm>
            <a:off x="2268266" y="3227411"/>
            <a:ext cx="6231663"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00" baseline="0" dirty="0">
                <a:solidFill>
                  <a:schemeClr val="bg1"/>
                </a:solidFill>
                <a:latin typeface="+mn-lt"/>
              </a:rPr>
              <a:t>Document type | Date</a:t>
            </a:r>
          </a:p>
        </p:txBody>
      </p:sp>
      <p:sp>
        <p:nvSpPr>
          <p:cNvPr id="5" name="doc id" hidden="1"/>
          <p:cNvSpPr txBox="1">
            <a:spLocks noChangeArrowheads="1"/>
          </p:cNvSpPr>
          <p:nvPr/>
        </p:nvSpPr>
        <p:spPr bwMode="white">
          <a:xfrm>
            <a:off x="8443913" y="36513"/>
            <a:ext cx="295275" cy="1222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hangingPunct="1">
              <a:defRPr/>
            </a:pPr>
            <a:endParaRPr lang="en-US" sz="800" baseline="0" dirty="0">
              <a:solidFill>
                <a:srgbClr val="FFFFFF"/>
              </a:solidFill>
              <a:latin typeface="+mn-lt"/>
            </a:endParaRPr>
          </a:p>
        </p:txBody>
      </p:sp>
      <p:sp>
        <p:nvSpPr>
          <p:cNvPr id="43" name="LogoImage"/>
          <p:cNvSpPr>
            <a:spLocks noEditPoints="1"/>
          </p:cNvSpPr>
          <p:nvPr/>
        </p:nvSpPr>
        <p:spPr bwMode="white">
          <a:xfrm>
            <a:off x="2269098" y="182925"/>
            <a:ext cx="2176978" cy="238073"/>
          </a:xfrm>
          <a:custGeom>
            <a:avLst/>
            <a:gdLst>
              <a:gd name="T0" fmla="*/ 504 w 5516"/>
              <a:gd name="T1" fmla="*/ 26 h 606"/>
              <a:gd name="T2" fmla="*/ 18 w 5516"/>
              <a:gd name="T3" fmla="*/ 22 h 606"/>
              <a:gd name="T4" fmla="*/ 140 w 5516"/>
              <a:gd name="T5" fmla="*/ 436 h 606"/>
              <a:gd name="T6" fmla="*/ 408 w 5516"/>
              <a:gd name="T7" fmla="*/ 372 h 606"/>
              <a:gd name="T8" fmla="*/ 696 w 5516"/>
              <a:gd name="T9" fmla="*/ 422 h 606"/>
              <a:gd name="T10" fmla="*/ 768 w 5516"/>
              <a:gd name="T11" fmla="*/ 196 h 606"/>
              <a:gd name="T12" fmla="*/ 1272 w 5516"/>
              <a:gd name="T13" fmla="*/ 26 h 606"/>
              <a:gd name="T14" fmla="*/ 1302 w 5516"/>
              <a:gd name="T15" fmla="*/ 338 h 606"/>
              <a:gd name="T16" fmla="*/ 1202 w 5516"/>
              <a:gd name="T17" fmla="*/ 436 h 606"/>
              <a:gd name="T18" fmla="*/ 1030 w 5516"/>
              <a:gd name="T19" fmla="*/ 10 h 606"/>
              <a:gd name="T20" fmla="*/ 960 w 5516"/>
              <a:gd name="T21" fmla="*/ 22 h 606"/>
              <a:gd name="T22" fmla="*/ 804 w 5516"/>
              <a:gd name="T23" fmla="*/ 434 h 606"/>
              <a:gd name="T24" fmla="*/ 930 w 5516"/>
              <a:gd name="T25" fmla="*/ 246 h 606"/>
              <a:gd name="T26" fmla="*/ 1658 w 5516"/>
              <a:gd name="T27" fmla="*/ 342 h 606"/>
              <a:gd name="T28" fmla="*/ 1368 w 5516"/>
              <a:gd name="T29" fmla="*/ 188 h 606"/>
              <a:gd name="T30" fmla="*/ 1514 w 5516"/>
              <a:gd name="T31" fmla="*/ 436 h 606"/>
              <a:gd name="T32" fmla="*/ 1564 w 5516"/>
              <a:gd name="T33" fmla="*/ 434 h 606"/>
              <a:gd name="T34" fmla="*/ 1904 w 5516"/>
              <a:gd name="T35" fmla="*/ 184 h 606"/>
              <a:gd name="T36" fmla="*/ 1728 w 5516"/>
              <a:gd name="T37" fmla="*/ 366 h 606"/>
              <a:gd name="T38" fmla="*/ 2102 w 5516"/>
              <a:gd name="T39" fmla="*/ 192 h 606"/>
              <a:gd name="T40" fmla="*/ 1982 w 5516"/>
              <a:gd name="T41" fmla="*/ 320 h 606"/>
              <a:gd name="T42" fmla="*/ 2478 w 5516"/>
              <a:gd name="T43" fmla="*/ 242 h 606"/>
              <a:gd name="T44" fmla="*/ 2406 w 5516"/>
              <a:gd name="T45" fmla="*/ 390 h 606"/>
              <a:gd name="T46" fmla="*/ 2234 w 5516"/>
              <a:gd name="T47" fmla="*/ 192 h 606"/>
              <a:gd name="T48" fmla="*/ 2478 w 5516"/>
              <a:gd name="T49" fmla="*/ 242 h 606"/>
              <a:gd name="T50" fmla="*/ 2928 w 5516"/>
              <a:gd name="T51" fmla="*/ 448 h 606"/>
              <a:gd name="T52" fmla="*/ 2958 w 5516"/>
              <a:gd name="T53" fmla="*/ 230 h 606"/>
              <a:gd name="T54" fmla="*/ 2716 w 5516"/>
              <a:gd name="T55" fmla="*/ 54 h 606"/>
              <a:gd name="T56" fmla="*/ 2714 w 5516"/>
              <a:gd name="T57" fmla="*/ 36 h 606"/>
              <a:gd name="T58" fmla="*/ 2928 w 5516"/>
              <a:gd name="T59" fmla="*/ 448 h 606"/>
              <a:gd name="T60" fmla="*/ 3388 w 5516"/>
              <a:gd name="T61" fmla="*/ 4 h 606"/>
              <a:gd name="T62" fmla="*/ 3396 w 5516"/>
              <a:gd name="T63" fmla="*/ 366 h 606"/>
              <a:gd name="T64" fmla="*/ 3580 w 5516"/>
              <a:gd name="T65" fmla="*/ 190 h 606"/>
              <a:gd name="T66" fmla="*/ 3502 w 5516"/>
              <a:gd name="T67" fmla="*/ 432 h 606"/>
              <a:gd name="T68" fmla="*/ 4232 w 5516"/>
              <a:gd name="T69" fmla="*/ 348 h 606"/>
              <a:gd name="T70" fmla="*/ 3858 w 5516"/>
              <a:gd name="T71" fmla="*/ 176 h 606"/>
              <a:gd name="T72" fmla="*/ 3758 w 5516"/>
              <a:gd name="T73" fmla="*/ 446 h 606"/>
              <a:gd name="T74" fmla="*/ 3990 w 5516"/>
              <a:gd name="T75" fmla="*/ 282 h 606"/>
              <a:gd name="T76" fmla="*/ 4042 w 5516"/>
              <a:gd name="T77" fmla="*/ 342 h 606"/>
              <a:gd name="T78" fmla="*/ 4134 w 5516"/>
              <a:gd name="T79" fmla="*/ 448 h 606"/>
              <a:gd name="T80" fmla="*/ 4454 w 5516"/>
              <a:gd name="T81" fmla="*/ 202 h 606"/>
              <a:gd name="T82" fmla="*/ 4284 w 5516"/>
              <a:gd name="T83" fmla="*/ 174 h 606"/>
              <a:gd name="T84" fmla="*/ 4432 w 5516"/>
              <a:gd name="T85" fmla="*/ 588 h 606"/>
              <a:gd name="T86" fmla="*/ 4792 w 5516"/>
              <a:gd name="T87" fmla="*/ 382 h 606"/>
              <a:gd name="T88" fmla="*/ 5192 w 5516"/>
              <a:gd name="T89" fmla="*/ 340 h 606"/>
              <a:gd name="T90" fmla="*/ 4902 w 5516"/>
              <a:gd name="T91" fmla="*/ 186 h 606"/>
              <a:gd name="T92" fmla="*/ 4850 w 5516"/>
              <a:gd name="T93" fmla="*/ 274 h 606"/>
              <a:gd name="T94" fmla="*/ 4742 w 5516"/>
              <a:gd name="T95" fmla="*/ 194 h 606"/>
              <a:gd name="T96" fmla="*/ 4794 w 5516"/>
              <a:gd name="T97" fmla="*/ 418 h 606"/>
              <a:gd name="T98" fmla="*/ 5004 w 5516"/>
              <a:gd name="T99" fmla="*/ 338 h 606"/>
              <a:gd name="T100" fmla="*/ 5098 w 5516"/>
              <a:gd name="T101" fmla="*/ 446 h 606"/>
              <a:gd name="T102" fmla="*/ 5418 w 5516"/>
              <a:gd name="T103" fmla="*/ 192 h 606"/>
              <a:gd name="T104" fmla="*/ 5348 w 5516"/>
              <a:gd name="T105" fmla="*/ 180 h 606"/>
              <a:gd name="T106" fmla="*/ 5254 w 5516"/>
              <a:gd name="T107" fmla="*/ 606 h 6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516" h="606">
                <a:moveTo>
                  <a:pt x="366" y="448"/>
                </a:moveTo>
                <a:cubicBezTo>
                  <a:pt x="524" y="448"/>
                  <a:pt x="524" y="448"/>
                  <a:pt x="524" y="448"/>
                </a:cubicBezTo>
                <a:cubicBezTo>
                  <a:pt x="524" y="436"/>
                  <a:pt x="524" y="436"/>
                  <a:pt x="524" y="436"/>
                </a:cubicBezTo>
                <a:cubicBezTo>
                  <a:pt x="486" y="432"/>
                  <a:pt x="470" y="414"/>
                  <a:pt x="468" y="362"/>
                </a:cubicBezTo>
                <a:cubicBezTo>
                  <a:pt x="454" y="86"/>
                  <a:pt x="454" y="86"/>
                  <a:pt x="454" y="86"/>
                </a:cubicBezTo>
                <a:cubicBezTo>
                  <a:pt x="452" y="46"/>
                  <a:pt x="470" y="30"/>
                  <a:pt x="504" y="26"/>
                </a:cubicBezTo>
                <a:cubicBezTo>
                  <a:pt x="504" y="12"/>
                  <a:pt x="504" y="12"/>
                  <a:pt x="504" y="12"/>
                </a:cubicBezTo>
                <a:cubicBezTo>
                  <a:pt x="394" y="12"/>
                  <a:pt x="394" y="12"/>
                  <a:pt x="394" y="12"/>
                </a:cubicBezTo>
                <a:cubicBezTo>
                  <a:pt x="264" y="350"/>
                  <a:pt x="264" y="350"/>
                  <a:pt x="264" y="350"/>
                </a:cubicBezTo>
                <a:cubicBezTo>
                  <a:pt x="132" y="10"/>
                  <a:pt x="132" y="10"/>
                  <a:pt x="132" y="10"/>
                </a:cubicBezTo>
                <a:cubicBezTo>
                  <a:pt x="18" y="10"/>
                  <a:pt x="18" y="10"/>
                  <a:pt x="18" y="10"/>
                </a:cubicBezTo>
                <a:cubicBezTo>
                  <a:pt x="18" y="22"/>
                  <a:pt x="18" y="22"/>
                  <a:pt x="18" y="22"/>
                </a:cubicBezTo>
                <a:cubicBezTo>
                  <a:pt x="40" y="26"/>
                  <a:pt x="74" y="32"/>
                  <a:pt x="72" y="84"/>
                </a:cubicBezTo>
                <a:cubicBezTo>
                  <a:pt x="58" y="352"/>
                  <a:pt x="58" y="352"/>
                  <a:pt x="58" y="352"/>
                </a:cubicBezTo>
                <a:cubicBezTo>
                  <a:pt x="54" y="410"/>
                  <a:pt x="38" y="430"/>
                  <a:pt x="0" y="436"/>
                </a:cubicBezTo>
                <a:cubicBezTo>
                  <a:pt x="0" y="448"/>
                  <a:pt x="0" y="448"/>
                  <a:pt x="0" y="448"/>
                </a:cubicBezTo>
                <a:cubicBezTo>
                  <a:pt x="140" y="448"/>
                  <a:pt x="140" y="448"/>
                  <a:pt x="140" y="448"/>
                </a:cubicBezTo>
                <a:cubicBezTo>
                  <a:pt x="140" y="436"/>
                  <a:pt x="140" y="436"/>
                  <a:pt x="140" y="436"/>
                </a:cubicBezTo>
                <a:cubicBezTo>
                  <a:pt x="98" y="428"/>
                  <a:pt x="84" y="414"/>
                  <a:pt x="88" y="356"/>
                </a:cubicBezTo>
                <a:cubicBezTo>
                  <a:pt x="100" y="86"/>
                  <a:pt x="100" y="86"/>
                  <a:pt x="100" y="86"/>
                </a:cubicBezTo>
                <a:cubicBezTo>
                  <a:pt x="240" y="444"/>
                  <a:pt x="240" y="444"/>
                  <a:pt x="240" y="444"/>
                </a:cubicBezTo>
                <a:cubicBezTo>
                  <a:pt x="258" y="444"/>
                  <a:pt x="258" y="444"/>
                  <a:pt x="258" y="444"/>
                </a:cubicBezTo>
                <a:cubicBezTo>
                  <a:pt x="396" y="86"/>
                  <a:pt x="396" y="86"/>
                  <a:pt x="396" y="86"/>
                </a:cubicBezTo>
                <a:cubicBezTo>
                  <a:pt x="408" y="372"/>
                  <a:pt x="408" y="372"/>
                  <a:pt x="408" y="372"/>
                </a:cubicBezTo>
                <a:cubicBezTo>
                  <a:pt x="410" y="416"/>
                  <a:pt x="398" y="430"/>
                  <a:pt x="366" y="434"/>
                </a:cubicBezTo>
                <a:lnTo>
                  <a:pt x="366" y="448"/>
                </a:lnTo>
                <a:close/>
                <a:moveTo>
                  <a:pt x="670" y="456"/>
                </a:moveTo>
                <a:cubicBezTo>
                  <a:pt x="708" y="456"/>
                  <a:pt x="756" y="440"/>
                  <a:pt x="782" y="412"/>
                </a:cubicBezTo>
                <a:cubicBezTo>
                  <a:pt x="776" y="400"/>
                  <a:pt x="776" y="400"/>
                  <a:pt x="776" y="400"/>
                </a:cubicBezTo>
                <a:cubicBezTo>
                  <a:pt x="750" y="416"/>
                  <a:pt x="722" y="422"/>
                  <a:pt x="696" y="422"/>
                </a:cubicBezTo>
                <a:cubicBezTo>
                  <a:pt x="620" y="422"/>
                  <a:pt x="592" y="358"/>
                  <a:pt x="592" y="290"/>
                </a:cubicBezTo>
                <a:cubicBezTo>
                  <a:pt x="592" y="258"/>
                  <a:pt x="600" y="236"/>
                  <a:pt x="614" y="222"/>
                </a:cubicBezTo>
                <a:cubicBezTo>
                  <a:pt x="626" y="210"/>
                  <a:pt x="646" y="204"/>
                  <a:pt x="664" y="204"/>
                </a:cubicBezTo>
                <a:cubicBezTo>
                  <a:pt x="690" y="204"/>
                  <a:pt x="722" y="214"/>
                  <a:pt x="744" y="244"/>
                </a:cubicBezTo>
                <a:cubicBezTo>
                  <a:pt x="750" y="244"/>
                  <a:pt x="750" y="244"/>
                  <a:pt x="750" y="244"/>
                </a:cubicBezTo>
                <a:cubicBezTo>
                  <a:pt x="758" y="234"/>
                  <a:pt x="766" y="212"/>
                  <a:pt x="768" y="196"/>
                </a:cubicBezTo>
                <a:cubicBezTo>
                  <a:pt x="748" y="180"/>
                  <a:pt x="720" y="172"/>
                  <a:pt x="686" y="172"/>
                </a:cubicBezTo>
                <a:cubicBezTo>
                  <a:pt x="604" y="172"/>
                  <a:pt x="544" y="246"/>
                  <a:pt x="544" y="326"/>
                </a:cubicBezTo>
                <a:cubicBezTo>
                  <a:pt x="540" y="390"/>
                  <a:pt x="576" y="456"/>
                  <a:pt x="670" y="456"/>
                </a:cubicBezTo>
                <a:moveTo>
                  <a:pt x="1272" y="98"/>
                </a:moveTo>
                <a:cubicBezTo>
                  <a:pt x="1292" y="98"/>
                  <a:pt x="1308" y="82"/>
                  <a:pt x="1308" y="62"/>
                </a:cubicBezTo>
                <a:cubicBezTo>
                  <a:pt x="1308" y="42"/>
                  <a:pt x="1292" y="26"/>
                  <a:pt x="1272" y="26"/>
                </a:cubicBezTo>
                <a:cubicBezTo>
                  <a:pt x="1252" y="26"/>
                  <a:pt x="1238" y="42"/>
                  <a:pt x="1238" y="62"/>
                </a:cubicBezTo>
                <a:cubicBezTo>
                  <a:pt x="1238" y="82"/>
                  <a:pt x="1252" y="98"/>
                  <a:pt x="1272" y="98"/>
                </a:cubicBezTo>
                <a:moveTo>
                  <a:pt x="1202" y="448"/>
                </a:moveTo>
                <a:cubicBezTo>
                  <a:pt x="1346" y="448"/>
                  <a:pt x="1346" y="448"/>
                  <a:pt x="1346" y="448"/>
                </a:cubicBezTo>
                <a:cubicBezTo>
                  <a:pt x="1346" y="436"/>
                  <a:pt x="1346" y="436"/>
                  <a:pt x="1346" y="436"/>
                </a:cubicBezTo>
                <a:cubicBezTo>
                  <a:pt x="1304" y="432"/>
                  <a:pt x="1302" y="434"/>
                  <a:pt x="1302" y="338"/>
                </a:cubicBezTo>
                <a:cubicBezTo>
                  <a:pt x="1302" y="176"/>
                  <a:pt x="1302" y="176"/>
                  <a:pt x="1302" y="176"/>
                </a:cubicBezTo>
                <a:cubicBezTo>
                  <a:pt x="1200" y="176"/>
                  <a:pt x="1200" y="176"/>
                  <a:pt x="1200" y="176"/>
                </a:cubicBezTo>
                <a:cubicBezTo>
                  <a:pt x="1200" y="188"/>
                  <a:pt x="1200" y="188"/>
                  <a:pt x="1200" y="188"/>
                </a:cubicBezTo>
                <a:cubicBezTo>
                  <a:pt x="1244" y="190"/>
                  <a:pt x="1250" y="192"/>
                  <a:pt x="1250" y="268"/>
                </a:cubicBezTo>
                <a:cubicBezTo>
                  <a:pt x="1250" y="336"/>
                  <a:pt x="1250" y="336"/>
                  <a:pt x="1250" y="336"/>
                </a:cubicBezTo>
                <a:cubicBezTo>
                  <a:pt x="1250" y="432"/>
                  <a:pt x="1248" y="432"/>
                  <a:pt x="1202" y="436"/>
                </a:cubicBezTo>
                <a:cubicBezTo>
                  <a:pt x="1178" y="434"/>
                  <a:pt x="1154" y="426"/>
                  <a:pt x="1076" y="338"/>
                </a:cubicBezTo>
                <a:cubicBezTo>
                  <a:pt x="1046" y="302"/>
                  <a:pt x="996" y="244"/>
                  <a:pt x="968" y="206"/>
                </a:cubicBezTo>
                <a:cubicBezTo>
                  <a:pt x="1062" y="102"/>
                  <a:pt x="1062" y="102"/>
                  <a:pt x="1062" y="102"/>
                </a:cubicBezTo>
                <a:cubicBezTo>
                  <a:pt x="1108" y="52"/>
                  <a:pt x="1132" y="26"/>
                  <a:pt x="1176" y="24"/>
                </a:cubicBezTo>
                <a:cubicBezTo>
                  <a:pt x="1176" y="10"/>
                  <a:pt x="1176" y="10"/>
                  <a:pt x="1176" y="10"/>
                </a:cubicBezTo>
                <a:cubicBezTo>
                  <a:pt x="1030" y="10"/>
                  <a:pt x="1030" y="10"/>
                  <a:pt x="1030" y="10"/>
                </a:cubicBezTo>
                <a:cubicBezTo>
                  <a:pt x="1030" y="22"/>
                  <a:pt x="1030" y="22"/>
                  <a:pt x="1030" y="22"/>
                </a:cubicBezTo>
                <a:cubicBezTo>
                  <a:pt x="1050" y="26"/>
                  <a:pt x="1056" y="32"/>
                  <a:pt x="1056" y="46"/>
                </a:cubicBezTo>
                <a:cubicBezTo>
                  <a:pt x="1056" y="56"/>
                  <a:pt x="1054" y="72"/>
                  <a:pt x="1026" y="102"/>
                </a:cubicBezTo>
                <a:cubicBezTo>
                  <a:pt x="910" y="230"/>
                  <a:pt x="910" y="230"/>
                  <a:pt x="910" y="230"/>
                </a:cubicBezTo>
                <a:cubicBezTo>
                  <a:pt x="910" y="148"/>
                  <a:pt x="910" y="148"/>
                  <a:pt x="910" y="148"/>
                </a:cubicBezTo>
                <a:cubicBezTo>
                  <a:pt x="910" y="36"/>
                  <a:pt x="916" y="28"/>
                  <a:pt x="960" y="22"/>
                </a:cubicBezTo>
                <a:cubicBezTo>
                  <a:pt x="960" y="8"/>
                  <a:pt x="960" y="8"/>
                  <a:pt x="960" y="8"/>
                </a:cubicBezTo>
                <a:cubicBezTo>
                  <a:pt x="804" y="8"/>
                  <a:pt x="804" y="8"/>
                  <a:pt x="804" y="8"/>
                </a:cubicBezTo>
                <a:cubicBezTo>
                  <a:pt x="804" y="22"/>
                  <a:pt x="804" y="22"/>
                  <a:pt x="804" y="22"/>
                </a:cubicBezTo>
                <a:cubicBezTo>
                  <a:pt x="852" y="26"/>
                  <a:pt x="854" y="36"/>
                  <a:pt x="854" y="148"/>
                </a:cubicBezTo>
                <a:cubicBezTo>
                  <a:pt x="854" y="300"/>
                  <a:pt x="854" y="300"/>
                  <a:pt x="854" y="300"/>
                </a:cubicBezTo>
                <a:cubicBezTo>
                  <a:pt x="854" y="422"/>
                  <a:pt x="850" y="430"/>
                  <a:pt x="804" y="434"/>
                </a:cubicBezTo>
                <a:cubicBezTo>
                  <a:pt x="804" y="446"/>
                  <a:pt x="804" y="446"/>
                  <a:pt x="804" y="446"/>
                </a:cubicBezTo>
                <a:cubicBezTo>
                  <a:pt x="960" y="446"/>
                  <a:pt x="960" y="446"/>
                  <a:pt x="960" y="446"/>
                </a:cubicBezTo>
                <a:cubicBezTo>
                  <a:pt x="960" y="434"/>
                  <a:pt x="960" y="434"/>
                  <a:pt x="960" y="434"/>
                </a:cubicBezTo>
                <a:cubicBezTo>
                  <a:pt x="910" y="428"/>
                  <a:pt x="910" y="424"/>
                  <a:pt x="910" y="292"/>
                </a:cubicBezTo>
                <a:cubicBezTo>
                  <a:pt x="910" y="268"/>
                  <a:pt x="910" y="268"/>
                  <a:pt x="910" y="268"/>
                </a:cubicBezTo>
                <a:cubicBezTo>
                  <a:pt x="930" y="246"/>
                  <a:pt x="930" y="246"/>
                  <a:pt x="930" y="246"/>
                </a:cubicBezTo>
                <a:cubicBezTo>
                  <a:pt x="982" y="310"/>
                  <a:pt x="1038" y="380"/>
                  <a:pt x="1098" y="448"/>
                </a:cubicBezTo>
                <a:cubicBezTo>
                  <a:pt x="1202" y="448"/>
                  <a:pt x="1202" y="448"/>
                  <a:pt x="1202" y="448"/>
                </a:cubicBezTo>
                <a:close/>
                <a:moveTo>
                  <a:pt x="1564" y="448"/>
                </a:moveTo>
                <a:cubicBezTo>
                  <a:pt x="1706" y="448"/>
                  <a:pt x="1706" y="448"/>
                  <a:pt x="1706" y="448"/>
                </a:cubicBezTo>
                <a:cubicBezTo>
                  <a:pt x="1706" y="436"/>
                  <a:pt x="1706" y="436"/>
                  <a:pt x="1706" y="436"/>
                </a:cubicBezTo>
                <a:cubicBezTo>
                  <a:pt x="1658" y="434"/>
                  <a:pt x="1658" y="432"/>
                  <a:pt x="1658" y="342"/>
                </a:cubicBezTo>
                <a:cubicBezTo>
                  <a:pt x="1658" y="280"/>
                  <a:pt x="1658" y="280"/>
                  <a:pt x="1658" y="280"/>
                </a:cubicBezTo>
                <a:cubicBezTo>
                  <a:pt x="1658" y="198"/>
                  <a:pt x="1612" y="172"/>
                  <a:pt x="1570" y="172"/>
                </a:cubicBezTo>
                <a:cubicBezTo>
                  <a:pt x="1534" y="172"/>
                  <a:pt x="1498" y="188"/>
                  <a:pt x="1470" y="224"/>
                </a:cubicBezTo>
                <a:cubicBezTo>
                  <a:pt x="1470" y="176"/>
                  <a:pt x="1470" y="176"/>
                  <a:pt x="1470" y="176"/>
                </a:cubicBezTo>
                <a:cubicBezTo>
                  <a:pt x="1368" y="176"/>
                  <a:pt x="1368" y="176"/>
                  <a:pt x="1368" y="176"/>
                </a:cubicBezTo>
                <a:cubicBezTo>
                  <a:pt x="1368" y="188"/>
                  <a:pt x="1368" y="188"/>
                  <a:pt x="1368" y="188"/>
                </a:cubicBezTo>
                <a:cubicBezTo>
                  <a:pt x="1412" y="190"/>
                  <a:pt x="1418" y="192"/>
                  <a:pt x="1418" y="268"/>
                </a:cubicBezTo>
                <a:cubicBezTo>
                  <a:pt x="1418" y="336"/>
                  <a:pt x="1418" y="336"/>
                  <a:pt x="1418" y="336"/>
                </a:cubicBezTo>
                <a:cubicBezTo>
                  <a:pt x="1418" y="434"/>
                  <a:pt x="1418" y="434"/>
                  <a:pt x="1370" y="436"/>
                </a:cubicBezTo>
                <a:cubicBezTo>
                  <a:pt x="1370" y="448"/>
                  <a:pt x="1370" y="448"/>
                  <a:pt x="1370" y="448"/>
                </a:cubicBezTo>
                <a:cubicBezTo>
                  <a:pt x="1514" y="448"/>
                  <a:pt x="1514" y="448"/>
                  <a:pt x="1514" y="448"/>
                </a:cubicBezTo>
                <a:cubicBezTo>
                  <a:pt x="1514" y="436"/>
                  <a:pt x="1514" y="436"/>
                  <a:pt x="1514" y="436"/>
                </a:cubicBezTo>
                <a:cubicBezTo>
                  <a:pt x="1472" y="432"/>
                  <a:pt x="1470" y="434"/>
                  <a:pt x="1470" y="338"/>
                </a:cubicBezTo>
                <a:cubicBezTo>
                  <a:pt x="1470" y="262"/>
                  <a:pt x="1470" y="262"/>
                  <a:pt x="1470" y="262"/>
                </a:cubicBezTo>
                <a:cubicBezTo>
                  <a:pt x="1470" y="236"/>
                  <a:pt x="1504" y="206"/>
                  <a:pt x="1546" y="206"/>
                </a:cubicBezTo>
                <a:cubicBezTo>
                  <a:pt x="1580" y="206"/>
                  <a:pt x="1606" y="220"/>
                  <a:pt x="1606" y="286"/>
                </a:cubicBezTo>
                <a:cubicBezTo>
                  <a:pt x="1606" y="340"/>
                  <a:pt x="1606" y="340"/>
                  <a:pt x="1606" y="340"/>
                </a:cubicBezTo>
                <a:cubicBezTo>
                  <a:pt x="1606" y="432"/>
                  <a:pt x="1602" y="432"/>
                  <a:pt x="1564" y="434"/>
                </a:cubicBezTo>
                <a:lnTo>
                  <a:pt x="1564" y="448"/>
                </a:lnTo>
                <a:close/>
                <a:moveTo>
                  <a:pt x="1776" y="222"/>
                </a:moveTo>
                <a:cubicBezTo>
                  <a:pt x="1776" y="200"/>
                  <a:pt x="1796" y="188"/>
                  <a:pt x="1822" y="188"/>
                </a:cubicBezTo>
                <a:cubicBezTo>
                  <a:pt x="1874" y="188"/>
                  <a:pt x="1896" y="236"/>
                  <a:pt x="1900" y="252"/>
                </a:cubicBezTo>
                <a:cubicBezTo>
                  <a:pt x="1912" y="252"/>
                  <a:pt x="1912" y="252"/>
                  <a:pt x="1912" y="252"/>
                </a:cubicBezTo>
                <a:cubicBezTo>
                  <a:pt x="1912" y="212"/>
                  <a:pt x="1908" y="188"/>
                  <a:pt x="1904" y="184"/>
                </a:cubicBezTo>
                <a:cubicBezTo>
                  <a:pt x="1900" y="180"/>
                  <a:pt x="1862" y="170"/>
                  <a:pt x="1824" y="170"/>
                </a:cubicBezTo>
                <a:cubicBezTo>
                  <a:pt x="1768" y="170"/>
                  <a:pt x="1734" y="206"/>
                  <a:pt x="1734" y="248"/>
                </a:cubicBezTo>
                <a:cubicBezTo>
                  <a:pt x="1734" y="340"/>
                  <a:pt x="1890" y="322"/>
                  <a:pt x="1890" y="396"/>
                </a:cubicBezTo>
                <a:cubicBezTo>
                  <a:pt x="1890" y="422"/>
                  <a:pt x="1866" y="436"/>
                  <a:pt x="1826" y="436"/>
                </a:cubicBezTo>
                <a:cubicBezTo>
                  <a:pt x="1788" y="436"/>
                  <a:pt x="1754" y="416"/>
                  <a:pt x="1744" y="366"/>
                </a:cubicBezTo>
                <a:cubicBezTo>
                  <a:pt x="1728" y="366"/>
                  <a:pt x="1728" y="366"/>
                  <a:pt x="1728" y="366"/>
                </a:cubicBezTo>
                <a:cubicBezTo>
                  <a:pt x="1728" y="386"/>
                  <a:pt x="1732" y="422"/>
                  <a:pt x="1734" y="428"/>
                </a:cubicBezTo>
                <a:cubicBezTo>
                  <a:pt x="1744" y="446"/>
                  <a:pt x="1788" y="454"/>
                  <a:pt x="1824" y="454"/>
                </a:cubicBezTo>
                <a:cubicBezTo>
                  <a:pt x="1888" y="454"/>
                  <a:pt x="1928" y="416"/>
                  <a:pt x="1928" y="372"/>
                </a:cubicBezTo>
                <a:cubicBezTo>
                  <a:pt x="1932" y="270"/>
                  <a:pt x="1776" y="286"/>
                  <a:pt x="1776" y="222"/>
                </a:cubicBezTo>
                <a:moveTo>
                  <a:pt x="2030" y="270"/>
                </a:moveTo>
                <a:cubicBezTo>
                  <a:pt x="2034" y="220"/>
                  <a:pt x="2058" y="192"/>
                  <a:pt x="2102" y="192"/>
                </a:cubicBezTo>
                <a:cubicBezTo>
                  <a:pt x="2144" y="192"/>
                  <a:pt x="2170" y="220"/>
                  <a:pt x="2172" y="270"/>
                </a:cubicBezTo>
                <a:lnTo>
                  <a:pt x="2030" y="270"/>
                </a:lnTo>
                <a:close/>
                <a:moveTo>
                  <a:pt x="2030" y="290"/>
                </a:moveTo>
                <a:cubicBezTo>
                  <a:pt x="2222" y="290"/>
                  <a:pt x="2222" y="290"/>
                  <a:pt x="2222" y="290"/>
                </a:cubicBezTo>
                <a:cubicBezTo>
                  <a:pt x="2226" y="228"/>
                  <a:pt x="2192" y="168"/>
                  <a:pt x="2114" y="168"/>
                </a:cubicBezTo>
                <a:cubicBezTo>
                  <a:pt x="2034" y="168"/>
                  <a:pt x="1982" y="232"/>
                  <a:pt x="1982" y="320"/>
                </a:cubicBezTo>
                <a:cubicBezTo>
                  <a:pt x="1982" y="388"/>
                  <a:pt x="2018" y="456"/>
                  <a:pt x="2112" y="456"/>
                </a:cubicBezTo>
                <a:cubicBezTo>
                  <a:pt x="2150" y="456"/>
                  <a:pt x="2198" y="440"/>
                  <a:pt x="2224" y="412"/>
                </a:cubicBezTo>
                <a:cubicBezTo>
                  <a:pt x="2218" y="400"/>
                  <a:pt x="2218" y="400"/>
                  <a:pt x="2218" y="400"/>
                </a:cubicBezTo>
                <a:cubicBezTo>
                  <a:pt x="2192" y="416"/>
                  <a:pt x="2164" y="422"/>
                  <a:pt x="2138" y="422"/>
                </a:cubicBezTo>
                <a:cubicBezTo>
                  <a:pt x="2058" y="420"/>
                  <a:pt x="2028" y="352"/>
                  <a:pt x="2030" y="290"/>
                </a:cubicBezTo>
                <a:moveTo>
                  <a:pt x="2478" y="242"/>
                </a:moveTo>
                <a:cubicBezTo>
                  <a:pt x="2490" y="206"/>
                  <a:pt x="2510" y="192"/>
                  <a:pt x="2528" y="192"/>
                </a:cubicBezTo>
                <a:cubicBezTo>
                  <a:pt x="2528" y="180"/>
                  <a:pt x="2528" y="180"/>
                  <a:pt x="2528" y="180"/>
                </a:cubicBezTo>
                <a:cubicBezTo>
                  <a:pt x="2430" y="180"/>
                  <a:pt x="2430" y="180"/>
                  <a:pt x="2430" y="180"/>
                </a:cubicBezTo>
                <a:cubicBezTo>
                  <a:pt x="2430" y="192"/>
                  <a:pt x="2430" y="192"/>
                  <a:pt x="2430" y="192"/>
                </a:cubicBezTo>
                <a:cubicBezTo>
                  <a:pt x="2454" y="194"/>
                  <a:pt x="2466" y="206"/>
                  <a:pt x="2458" y="234"/>
                </a:cubicBezTo>
                <a:cubicBezTo>
                  <a:pt x="2406" y="390"/>
                  <a:pt x="2406" y="390"/>
                  <a:pt x="2406" y="390"/>
                </a:cubicBezTo>
                <a:cubicBezTo>
                  <a:pt x="2354" y="270"/>
                  <a:pt x="2354" y="270"/>
                  <a:pt x="2354" y="270"/>
                </a:cubicBezTo>
                <a:cubicBezTo>
                  <a:pt x="2340" y="238"/>
                  <a:pt x="2334" y="224"/>
                  <a:pt x="2334" y="212"/>
                </a:cubicBezTo>
                <a:cubicBezTo>
                  <a:pt x="2334" y="202"/>
                  <a:pt x="2340" y="196"/>
                  <a:pt x="2360" y="192"/>
                </a:cubicBezTo>
                <a:cubicBezTo>
                  <a:pt x="2360" y="180"/>
                  <a:pt x="2360" y="180"/>
                  <a:pt x="2360" y="180"/>
                </a:cubicBezTo>
                <a:cubicBezTo>
                  <a:pt x="2234" y="180"/>
                  <a:pt x="2234" y="180"/>
                  <a:pt x="2234" y="180"/>
                </a:cubicBezTo>
                <a:cubicBezTo>
                  <a:pt x="2234" y="192"/>
                  <a:pt x="2234" y="192"/>
                  <a:pt x="2234" y="192"/>
                </a:cubicBezTo>
                <a:cubicBezTo>
                  <a:pt x="2266" y="194"/>
                  <a:pt x="2268" y="198"/>
                  <a:pt x="2310" y="292"/>
                </a:cubicBezTo>
                <a:cubicBezTo>
                  <a:pt x="2382" y="450"/>
                  <a:pt x="2382" y="450"/>
                  <a:pt x="2382" y="450"/>
                </a:cubicBezTo>
                <a:cubicBezTo>
                  <a:pt x="2358" y="512"/>
                  <a:pt x="2320" y="546"/>
                  <a:pt x="2242" y="564"/>
                </a:cubicBezTo>
                <a:cubicBezTo>
                  <a:pt x="2246" y="576"/>
                  <a:pt x="2260" y="600"/>
                  <a:pt x="2268" y="606"/>
                </a:cubicBezTo>
                <a:cubicBezTo>
                  <a:pt x="2370" y="564"/>
                  <a:pt x="2390" y="498"/>
                  <a:pt x="2426" y="396"/>
                </a:cubicBezTo>
                <a:lnTo>
                  <a:pt x="2478" y="242"/>
                </a:lnTo>
                <a:close/>
                <a:moveTo>
                  <a:pt x="2844" y="394"/>
                </a:moveTo>
                <a:cubicBezTo>
                  <a:pt x="2822" y="412"/>
                  <a:pt x="2782" y="416"/>
                  <a:pt x="2750" y="416"/>
                </a:cubicBezTo>
                <a:cubicBezTo>
                  <a:pt x="2670" y="416"/>
                  <a:pt x="2606" y="360"/>
                  <a:pt x="2606" y="284"/>
                </a:cubicBezTo>
                <a:cubicBezTo>
                  <a:pt x="2606" y="236"/>
                  <a:pt x="2626" y="206"/>
                  <a:pt x="2658" y="198"/>
                </a:cubicBezTo>
                <a:cubicBezTo>
                  <a:pt x="2698" y="266"/>
                  <a:pt x="2770" y="338"/>
                  <a:pt x="2844" y="394"/>
                </a:cubicBezTo>
                <a:moveTo>
                  <a:pt x="2928" y="448"/>
                </a:moveTo>
                <a:cubicBezTo>
                  <a:pt x="3022" y="448"/>
                  <a:pt x="3022" y="448"/>
                  <a:pt x="3022" y="448"/>
                </a:cubicBezTo>
                <a:cubicBezTo>
                  <a:pt x="3022" y="436"/>
                  <a:pt x="3022" y="436"/>
                  <a:pt x="3022" y="436"/>
                </a:cubicBezTo>
                <a:cubicBezTo>
                  <a:pt x="2992" y="432"/>
                  <a:pt x="2946" y="408"/>
                  <a:pt x="2896" y="372"/>
                </a:cubicBezTo>
                <a:cubicBezTo>
                  <a:pt x="2914" y="342"/>
                  <a:pt x="2918" y="300"/>
                  <a:pt x="2922" y="270"/>
                </a:cubicBezTo>
                <a:cubicBezTo>
                  <a:pt x="2926" y="244"/>
                  <a:pt x="2946" y="244"/>
                  <a:pt x="2958" y="242"/>
                </a:cubicBezTo>
                <a:cubicBezTo>
                  <a:pt x="2958" y="230"/>
                  <a:pt x="2958" y="230"/>
                  <a:pt x="2958" y="230"/>
                </a:cubicBezTo>
                <a:cubicBezTo>
                  <a:pt x="2834" y="230"/>
                  <a:pt x="2834" y="230"/>
                  <a:pt x="2834" y="230"/>
                </a:cubicBezTo>
                <a:cubicBezTo>
                  <a:pt x="2834" y="242"/>
                  <a:pt x="2834" y="242"/>
                  <a:pt x="2834" y="242"/>
                </a:cubicBezTo>
                <a:cubicBezTo>
                  <a:pt x="2864" y="246"/>
                  <a:pt x="2892" y="250"/>
                  <a:pt x="2892" y="294"/>
                </a:cubicBezTo>
                <a:cubicBezTo>
                  <a:pt x="2892" y="318"/>
                  <a:pt x="2888" y="342"/>
                  <a:pt x="2878" y="358"/>
                </a:cubicBezTo>
                <a:cubicBezTo>
                  <a:pt x="2770" y="274"/>
                  <a:pt x="2670" y="156"/>
                  <a:pt x="2670" y="96"/>
                </a:cubicBezTo>
                <a:cubicBezTo>
                  <a:pt x="2670" y="66"/>
                  <a:pt x="2688" y="54"/>
                  <a:pt x="2716" y="54"/>
                </a:cubicBezTo>
                <a:cubicBezTo>
                  <a:pt x="2752" y="54"/>
                  <a:pt x="2784" y="78"/>
                  <a:pt x="2800" y="124"/>
                </a:cubicBezTo>
                <a:cubicBezTo>
                  <a:pt x="2812" y="124"/>
                  <a:pt x="2812" y="124"/>
                  <a:pt x="2812" y="124"/>
                </a:cubicBezTo>
                <a:cubicBezTo>
                  <a:pt x="2810" y="42"/>
                  <a:pt x="2810" y="42"/>
                  <a:pt x="2810" y="42"/>
                </a:cubicBezTo>
                <a:cubicBezTo>
                  <a:pt x="2798" y="42"/>
                  <a:pt x="2798" y="42"/>
                  <a:pt x="2798" y="42"/>
                </a:cubicBezTo>
                <a:cubicBezTo>
                  <a:pt x="2798" y="48"/>
                  <a:pt x="2792" y="52"/>
                  <a:pt x="2788" y="52"/>
                </a:cubicBezTo>
                <a:cubicBezTo>
                  <a:pt x="2772" y="52"/>
                  <a:pt x="2752" y="36"/>
                  <a:pt x="2714" y="36"/>
                </a:cubicBezTo>
                <a:cubicBezTo>
                  <a:pt x="2672" y="36"/>
                  <a:pt x="2630" y="62"/>
                  <a:pt x="2630" y="118"/>
                </a:cubicBezTo>
                <a:cubicBezTo>
                  <a:pt x="2630" y="140"/>
                  <a:pt x="2636" y="160"/>
                  <a:pt x="2648" y="182"/>
                </a:cubicBezTo>
                <a:cubicBezTo>
                  <a:pt x="2592" y="200"/>
                  <a:pt x="2562" y="248"/>
                  <a:pt x="2562" y="304"/>
                </a:cubicBezTo>
                <a:cubicBezTo>
                  <a:pt x="2562" y="406"/>
                  <a:pt x="2640" y="460"/>
                  <a:pt x="2726" y="460"/>
                </a:cubicBezTo>
                <a:cubicBezTo>
                  <a:pt x="2780" y="460"/>
                  <a:pt x="2824" y="444"/>
                  <a:pt x="2862" y="410"/>
                </a:cubicBezTo>
                <a:cubicBezTo>
                  <a:pt x="2888" y="424"/>
                  <a:pt x="2912" y="442"/>
                  <a:pt x="2928" y="448"/>
                </a:cubicBezTo>
                <a:moveTo>
                  <a:pt x="3094" y="212"/>
                </a:moveTo>
                <a:cubicBezTo>
                  <a:pt x="3094" y="88"/>
                  <a:pt x="3154" y="20"/>
                  <a:pt x="3252" y="20"/>
                </a:cubicBezTo>
                <a:cubicBezTo>
                  <a:pt x="3328" y="20"/>
                  <a:pt x="3372" y="58"/>
                  <a:pt x="3392" y="134"/>
                </a:cubicBezTo>
                <a:cubicBezTo>
                  <a:pt x="3404" y="134"/>
                  <a:pt x="3404" y="134"/>
                  <a:pt x="3404" y="134"/>
                </a:cubicBezTo>
                <a:cubicBezTo>
                  <a:pt x="3400" y="4"/>
                  <a:pt x="3400" y="4"/>
                  <a:pt x="3400" y="4"/>
                </a:cubicBezTo>
                <a:cubicBezTo>
                  <a:pt x="3388" y="4"/>
                  <a:pt x="3388" y="4"/>
                  <a:pt x="3388" y="4"/>
                </a:cubicBezTo>
                <a:cubicBezTo>
                  <a:pt x="3384" y="14"/>
                  <a:pt x="3376" y="18"/>
                  <a:pt x="3364" y="18"/>
                </a:cubicBezTo>
                <a:cubicBezTo>
                  <a:pt x="3338" y="18"/>
                  <a:pt x="3314" y="0"/>
                  <a:pt x="3248" y="0"/>
                </a:cubicBezTo>
                <a:cubicBezTo>
                  <a:pt x="3118" y="0"/>
                  <a:pt x="3030" y="102"/>
                  <a:pt x="3030" y="242"/>
                </a:cubicBezTo>
                <a:cubicBezTo>
                  <a:pt x="3030" y="376"/>
                  <a:pt x="3110" y="460"/>
                  <a:pt x="3238" y="460"/>
                </a:cubicBezTo>
                <a:cubicBezTo>
                  <a:pt x="3320" y="460"/>
                  <a:pt x="3384" y="420"/>
                  <a:pt x="3408" y="380"/>
                </a:cubicBezTo>
                <a:cubicBezTo>
                  <a:pt x="3396" y="366"/>
                  <a:pt x="3396" y="366"/>
                  <a:pt x="3396" y="366"/>
                </a:cubicBezTo>
                <a:cubicBezTo>
                  <a:pt x="3370" y="402"/>
                  <a:pt x="3314" y="426"/>
                  <a:pt x="3256" y="426"/>
                </a:cubicBezTo>
                <a:cubicBezTo>
                  <a:pt x="3156" y="426"/>
                  <a:pt x="3094" y="340"/>
                  <a:pt x="3094" y="212"/>
                </a:cubicBezTo>
                <a:moveTo>
                  <a:pt x="3678" y="328"/>
                </a:moveTo>
                <a:cubicBezTo>
                  <a:pt x="3678" y="392"/>
                  <a:pt x="3650" y="430"/>
                  <a:pt x="3592" y="430"/>
                </a:cubicBezTo>
                <a:cubicBezTo>
                  <a:pt x="3542" y="430"/>
                  <a:pt x="3496" y="384"/>
                  <a:pt x="3496" y="292"/>
                </a:cubicBezTo>
                <a:cubicBezTo>
                  <a:pt x="3496" y="226"/>
                  <a:pt x="3528" y="190"/>
                  <a:pt x="3580" y="190"/>
                </a:cubicBezTo>
                <a:cubicBezTo>
                  <a:pt x="3628" y="192"/>
                  <a:pt x="3678" y="238"/>
                  <a:pt x="3678" y="328"/>
                </a:cubicBezTo>
                <a:moveTo>
                  <a:pt x="3732" y="312"/>
                </a:moveTo>
                <a:cubicBezTo>
                  <a:pt x="3732" y="260"/>
                  <a:pt x="3710" y="214"/>
                  <a:pt x="3672" y="190"/>
                </a:cubicBezTo>
                <a:cubicBezTo>
                  <a:pt x="3650" y="176"/>
                  <a:pt x="3620" y="168"/>
                  <a:pt x="3588" y="168"/>
                </a:cubicBezTo>
                <a:cubicBezTo>
                  <a:pt x="3502" y="168"/>
                  <a:pt x="3442" y="230"/>
                  <a:pt x="3442" y="310"/>
                </a:cubicBezTo>
                <a:cubicBezTo>
                  <a:pt x="3442" y="364"/>
                  <a:pt x="3464" y="408"/>
                  <a:pt x="3502" y="432"/>
                </a:cubicBezTo>
                <a:cubicBezTo>
                  <a:pt x="3524" y="446"/>
                  <a:pt x="3554" y="452"/>
                  <a:pt x="3586" y="452"/>
                </a:cubicBezTo>
                <a:cubicBezTo>
                  <a:pt x="3672" y="454"/>
                  <a:pt x="3732" y="394"/>
                  <a:pt x="3732" y="312"/>
                </a:cubicBezTo>
                <a:moveTo>
                  <a:pt x="4136" y="448"/>
                </a:moveTo>
                <a:cubicBezTo>
                  <a:pt x="4280" y="448"/>
                  <a:pt x="4280" y="448"/>
                  <a:pt x="4280" y="448"/>
                </a:cubicBezTo>
                <a:cubicBezTo>
                  <a:pt x="4280" y="436"/>
                  <a:pt x="4280" y="436"/>
                  <a:pt x="4280" y="436"/>
                </a:cubicBezTo>
                <a:cubicBezTo>
                  <a:pt x="4230" y="434"/>
                  <a:pt x="4232" y="426"/>
                  <a:pt x="4232" y="348"/>
                </a:cubicBezTo>
                <a:cubicBezTo>
                  <a:pt x="4232" y="276"/>
                  <a:pt x="4232" y="276"/>
                  <a:pt x="4232" y="276"/>
                </a:cubicBezTo>
                <a:cubicBezTo>
                  <a:pt x="4232" y="200"/>
                  <a:pt x="4190" y="172"/>
                  <a:pt x="4142" y="172"/>
                </a:cubicBezTo>
                <a:cubicBezTo>
                  <a:pt x="4098" y="172"/>
                  <a:pt x="4064" y="196"/>
                  <a:pt x="4038" y="232"/>
                </a:cubicBezTo>
                <a:cubicBezTo>
                  <a:pt x="4028" y="194"/>
                  <a:pt x="4000" y="172"/>
                  <a:pt x="3954" y="172"/>
                </a:cubicBezTo>
                <a:cubicBezTo>
                  <a:pt x="3916" y="172"/>
                  <a:pt x="3880" y="196"/>
                  <a:pt x="3858" y="224"/>
                </a:cubicBezTo>
                <a:cubicBezTo>
                  <a:pt x="3858" y="176"/>
                  <a:pt x="3858" y="176"/>
                  <a:pt x="3858" y="176"/>
                </a:cubicBezTo>
                <a:cubicBezTo>
                  <a:pt x="3756" y="176"/>
                  <a:pt x="3756" y="176"/>
                  <a:pt x="3756" y="176"/>
                </a:cubicBezTo>
                <a:cubicBezTo>
                  <a:pt x="3756" y="188"/>
                  <a:pt x="3756" y="188"/>
                  <a:pt x="3756" y="188"/>
                </a:cubicBezTo>
                <a:cubicBezTo>
                  <a:pt x="3800" y="190"/>
                  <a:pt x="3806" y="192"/>
                  <a:pt x="3806" y="268"/>
                </a:cubicBezTo>
                <a:cubicBezTo>
                  <a:pt x="3806" y="346"/>
                  <a:pt x="3806" y="346"/>
                  <a:pt x="3806" y="346"/>
                </a:cubicBezTo>
                <a:cubicBezTo>
                  <a:pt x="3806" y="434"/>
                  <a:pt x="3804" y="434"/>
                  <a:pt x="3758" y="434"/>
                </a:cubicBezTo>
                <a:cubicBezTo>
                  <a:pt x="3758" y="446"/>
                  <a:pt x="3758" y="446"/>
                  <a:pt x="3758" y="446"/>
                </a:cubicBezTo>
                <a:cubicBezTo>
                  <a:pt x="3902" y="446"/>
                  <a:pt x="3902" y="446"/>
                  <a:pt x="3902" y="446"/>
                </a:cubicBezTo>
                <a:cubicBezTo>
                  <a:pt x="3902" y="434"/>
                  <a:pt x="3902" y="434"/>
                  <a:pt x="3902" y="434"/>
                </a:cubicBezTo>
                <a:cubicBezTo>
                  <a:pt x="3862" y="430"/>
                  <a:pt x="3858" y="430"/>
                  <a:pt x="3858" y="342"/>
                </a:cubicBezTo>
                <a:cubicBezTo>
                  <a:pt x="3858" y="262"/>
                  <a:pt x="3858" y="262"/>
                  <a:pt x="3858" y="262"/>
                </a:cubicBezTo>
                <a:cubicBezTo>
                  <a:pt x="3858" y="234"/>
                  <a:pt x="3894" y="204"/>
                  <a:pt x="3932" y="204"/>
                </a:cubicBezTo>
                <a:cubicBezTo>
                  <a:pt x="3974" y="204"/>
                  <a:pt x="3990" y="226"/>
                  <a:pt x="3990" y="282"/>
                </a:cubicBezTo>
                <a:cubicBezTo>
                  <a:pt x="3990" y="338"/>
                  <a:pt x="3990" y="338"/>
                  <a:pt x="3990" y="338"/>
                </a:cubicBezTo>
                <a:cubicBezTo>
                  <a:pt x="3990" y="428"/>
                  <a:pt x="3988" y="432"/>
                  <a:pt x="3950" y="436"/>
                </a:cubicBezTo>
                <a:cubicBezTo>
                  <a:pt x="3950" y="448"/>
                  <a:pt x="3950" y="448"/>
                  <a:pt x="3950" y="448"/>
                </a:cubicBezTo>
                <a:cubicBezTo>
                  <a:pt x="4086" y="448"/>
                  <a:pt x="4086" y="448"/>
                  <a:pt x="4086" y="448"/>
                </a:cubicBezTo>
                <a:cubicBezTo>
                  <a:pt x="4086" y="436"/>
                  <a:pt x="4086" y="436"/>
                  <a:pt x="4086" y="436"/>
                </a:cubicBezTo>
                <a:cubicBezTo>
                  <a:pt x="4040" y="432"/>
                  <a:pt x="4042" y="428"/>
                  <a:pt x="4042" y="342"/>
                </a:cubicBezTo>
                <a:cubicBezTo>
                  <a:pt x="4042" y="264"/>
                  <a:pt x="4042" y="264"/>
                  <a:pt x="4042" y="264"/>
                </a:cubicBezTo>
                <a:cubicBezTo>
                  <a:pt x="4042" y="236"/>
                  <a:pt x="4078" y="206"/>
                  <a:pt x="4118" y="206"/>
                </a:cubicBezTo>
                <a:cubicBezTo>
                  <a:pt x="4152" y="206"/>
                  <a:pt x="4174" y="226"/>
                  <a:pt x="4174" y="284"/>
                </a:cubicBezTo>
                <a:cubicBezTo>
                  <a:pt x="4174" y="346"/>
                  <a:pt x="4174" y="346"/>
                  <a:pt x="4174" y="346"/>
                </a:cubicBezTo>
                <a:cubicBezTo>
                  <a:pt x="4174" y="428"/>
                  <a:pt x="4174" y="432"/>
                  <a:pt x="4134" y="436"/>
                </a:cubicBezTo>
                <a:cubicBezTo>
                  <a:pt x="4134" y="448"/>
                  <a:pt x="4134" y="448"/>
                  <a:pt x="4134" y="448"/>
                </a:cubicBezTo>
                <a:lnTo>
                  <a:pt x="4136" y="448"/>
                </a:lnTo>
                <a:close/>
                <a:moveTo>
                  <a:pt x="4546" y="316"/>
                </a:moveTo>
                <a:cubicBezTo>
                  <a:pt x="4546" y="388"/>
                  <a:pt x="4516" y="432"/>
                  <a:pt x="4460" y="432"/>
                </a:cubicBezTo>
                <a:cubicBezTo>
                  <a:pt x="4424" y="432"/>
                  <a:pt x="4384" y="412"/>
                  <a:pt x="4384" y="384"/>
                </a:cubicBezTo>
                <a:cubicBezTo>
                  <a:pt x="4384" y="248"/>
                  <a:pt x="4384" y="248"/>
                  <a:pt x="4384" y="248"/>
                </a:cubicBezTo>
                <a:cubicBezTo>
                  <a:pt x="4384" y="226"/>
                  <a:pt x="4416" y="202"/>
                  <a:pt x="4454" y="202"/>
                </a:cubicBezTo>
                <a:cubicBezTo>
                  <a:pt x="4510" y="206"/>
                  <a:pt x="4546" y="248"/>
                  <a:pt x="4546" y="316"/>
                </a:cubicBezTo>
                <a:moveTo>
                  <a:pt x="4600" y="310"/>
                </a:moveTo>
                <a:cubicBezTo>
                  <a:pt x="4600" y="230"/>
                  <a:pt x="4548" y="170"/>
                  <a:pt x="4478" y="170"/>
                </a:cubicBezTo>
                <a:cubicBezTo>
                  <a:pt x="4438" y="170"/>
                  <a:pt x="4406" y="188"/>
                  <a:pt x="4384" y="214"/>
                </a:cubicBezTo>
                <a:cubicBezTo>
                  <a:pt x="4384" y="174"/>
                  <a:pt x="4384" y="174"/>
                  <a:pt x="4384" y="174"/>
                </a:cubicBezTo>
                <a:cubicBezTo>
                  <a:pt x="4284" y="174"/>
                  <a:pt x="4284" y="174"/>
                  <a:pt x="4284" y="174"/>
                </a:cubicBezTo>
                <a:cubicBezTo>
                  <a:pt x="4284" y="186"/>
                  <a:pt x="4284" y="186"/>
                  <a:pt x="4284" y="186"/>
                </a:cubicBezTo>
                <a:cubicBezTo>
                  <a:pt x="4326" y="188"/>
                  <a:pt x="4332" y="190"/>
                  <a:pt x="4332" y="280"/>
                </a:cubicBezTo>
                <a:cubicBezTo>
                  <a:pt x="4332" y="466"/>
                  <a:pt x="4332" y="466"/>
                  <a:pt x="4332" y="466"/>
                </a:cubicBezTo>
                <a:cubicBezTo>
                  <a:pt x="4332" y="564"/>
                  <a:pt x="4334" y="570"/>
                  <a:pt x="4286" y="574"/>
                </a:cubicBezTo>
                <a:cubicBezTo>
                  <a:pt x="4286" y="588"/>
                  <a:pt x="4286" y="588"/>
                  <a:pt x="4286" y="588"/>
                </a:cubicBezTo>
                <a:cubicBezTo>
                  <a:pt x="4432" y="588"/>
                  <a:pt x="4432" y="588"/>
                  <a:pt x="4432" y="588"/>
                </a:cubicBezTo>
                <a:cubicBezTo>
                  <a:pt x="4432" y="574"/>
                  <a:pt x="4432" y="574"/>
                  <a:pt x="4432" y="574"/>
                </a:cubicBezTo>
                <a:cubicBezTo>
                  <a:pt x="4380" y="572"/>
                  <a:pt x="4384" y="564"/>
                  <a:pt x="4384" y="462"/>
                </a:cubicBezTo>
                <a:cubicBezTo>
                  <a:pt x="4384" y="424"/>
                  <a:pt x="4384" y="424"/>
                  <a:pt x="4384" y="424"/>
                </a:cubicBezTo>
                <a:cubicBezTo>
                  <a:pt x="4404" y="444"/>
                  <a:pt x="4436" y="454"/>
                  <a:pt x="4466" y="454"/>
                </a:cubicBezTo>
                <a:cubicBezTo>
                  <a:pt x="4548" y="454"/>
                  <a:pt x="4600" y="392"/>
                  <a:pt x="4600" y="310"/>
                </a:cubicBezTo>
                <a:moveTo>
                  <a:pt x="4792" y="382"/>
                </a:moveTo>
                <a:cubicBezTo>
                  <a:pt x="4792" y="404"/>
                  <a:pt x="4762" y="424"/>
                  <a:pt x="4736" y="424"/>
                </a:cubicBezTo>
                <a:cubicBezTo>
                  <a:pt x="4712" y="424"/>
                  <a:pt x="4694" y="410"/>
                  <a:pt x="4694" y="378"/>
                </a:cubicBezTo>
                <a:cubicBezTo>
                  <a:pt x="4694" y="322"/>
                  <a:pt x="4752" y="328"/>
                  <a:pt x="4792" y="306"/>
                </a:cubicBezTo>
                <a:cubicBezTo>
                  <a:pt x="4792" y="382"/>
                  <a:pt x="4792" y="382"/>
                  <a:pt x="4792" y="382"/>
                </a:cubicBezTo>
                <a:close/>
                <a:moveTo>
                  <a:pt x="5240" y="434"/>
                </a:moveTo>
                <a:cubicBezTo>
                  <a:pt x="5192" y="432"/>
                  <a:pt x="5192" y="430"/>
                  <a:pt x="5192" y="340"/>
                </a:cubicBezTo>
                <a:cubicBezTo>
                  <a:pt x="5192" y="278"/>
                  <a:pt x="5192" y="278"/>
                  <a:pt x="5192" y="278"/>
                </a:cubicBezTo>
                <a:cubicBezTo>
                  <a:pt x="5192" y="196"/>
                  <a:pt x="5146" y="170"/>
                  <a:pt x="5104" y="170"/>
                </a:cubicBezTo>
                <a:cubicBezTo>
                  <a:pt x="5068" y="170"/>
                  <a:pt x="5032" y="186"/>
                  <a:pt x="5004" y="222"/>
                </a:cubicBezTo>
                <a:cubicBezTo>
                  <a:pt x="5004" y="174"/>
                  <a:pt x="5004" y="174"/>
                  <a:pt x="5004" y="174"/>
                </a:cubicBezTo>
                <a:cubicBezTo>
                  <a:pt x="4902" y="174"/>
                  <a:pt x="4902" y="174"/>
                  <a:pt x="4902" y="174"/>
                </a:cubicBezTo>
                <a:cubicBezTo>
                  <a:pt x="4902" y="186"/>
                  <a:pt x="4902" y="186"/>
                  <a:pt x="4902" y="186"/>
                </a:cubicBezTo>
                <a:cubicBezTo>
                  <a:pt x="4946" y="188"/>
                  <a:pt x="4952" y="190"/>
                  <a:pt x="4952" y="266"/>
                </a:cubicBezTo>
                <a:cubicBezTo>
                  <a:pt x="4952" y="334"/>
                  <a:pt x="4952" y="334"/>
                  <a:pt x="4952" y="334"/>
                </a:cubicBezTo>
                <a:cubicBezTo>
                  <a:pt x="4952" y="430"/>
                  <a:pt x="4952" y="432"/>
                  <a:pt x="4904" y="434"/>
                </a:cubicBezTo>
                <a:cubicBezTo>
                  <a:pt x="4892" y="434"/>
                  <a:pt x="4892" y="434"/>
                  <a:pt x="4892" y="434"/>
                </a:cubicBezTo>
                <a:cubicBezTo>
                  <a:pt x="4854" y="434"/>
                  <a:pt x="4850" y="422"/>
                  <a:pt x="4850" y="366"/>
                </a:cubicBezTo>
                <a:cubicBezTo>
                  <a:pt x="4850" y="274"/>
                  <a:pt x="4850" y="274"/>
                  <a:pt x="4850" y="274"/>
                </a:cubicBezTo>
                <a:cubicBezTo>
                  <a:pt x="4850" y="256"/>
                  <a:pt x="4848" y="240"/>
                  <a:pt x="4844" y="228"/>
                </a:cubicBezTo>
                <a:cubicBezTo>
                  <a:pt x="4830" y="186"/>
                  <a:pt x="4796" y="170"/>
                  <a:pt x="4748" y="170"/>
                </a:cubicBezTo>
                <a:cubicBezTo>
                  <a:pt x="4718" y="170"/>
                  <a:pt x="4674" y="180"/>
                  <a:pt x="4650" y="202"/>
                </a:cubicBezTo>
                <a:cubicBezTo>
                  <a:pt x="4652" y="214"/>
                  <a:pt x="4664" y="240"/>
                  <a:pt x="4670" y="248"/>
                </a:cubicBezTo>
                <a:cubicBezTo>
                  <a:pt x="4676" y="246"/>
                  <a:pt x="4676" y="246"/>
                  <a:pt x="4676" y="246"/>
                </a:cubicBezTo>
                <a:cubicBezTo>
                  <a:pt x="4688" y="216"/>
                  <a:pt x="4708" y="194"/>
                  <a:pt x="4742" y="194"/>
                </a:cubicBezTo>
                <a:cubicBezTo>
                  <a:pt x="4778" y="194"/>
                  <a:pt x="4794" y="220"/>
                  <a:pt x="4794" y="250"/>
                </a:cubicBezTo>
                <a:cubicBezTo>
                  <a:pt x="4794" y="282"/>
                  <a:pt x="4794" y="282"/>
                  <a:pt x="4794" y="282"/>
                </a:cubicBezTo>
                <a:cubicBezTo>
                  <a:pt x="4794" y="302"/>
                  <a:pt x="4702" y="306"/>
                  <a:pt x="4664" y="338"/>
                </a:cubicBezTo>
                <a:cubicBezTo>
                  <a:pt x="4652" y="350"/>
                  <a:pt x="4642" y="364"/>
                  <a:pt x="4642" y="384"/>
                </a:cubicBezTo>
                <a:cubicBezTo>
                  <a:pt x="4642" y="426"/>
                  <a:pt x="4672" y="456"/>
                  <a:pt x="4716" y="456"/>
                </a:cubicBezTo>
                <a:cubicBezTo>
                  <a:pt x="4744" y="456"/>
                  <a:pt x="4768" y="446"/>
                  <a:pt x="4794" y="418"/>
                </a:cubicBezTo>
                <a:cubicBezTo>
                  <a:pt x="4798" y="438"/>
                  <a:pt x="4814" y="448"/>
                  <a:pt x="4842" y="448"/>
                </a:cubicBezTo>
                <a:cubicBezTo>
                  <a:pt x="4906" y="448"/>
                  <a:pt x="4906" y="448"/>
                  <a:pt x="4906" y="448"/>
                </a:cubicBezTo>
                <a:cubicBezTo>
                  <a:pt x="4906" y="448"/>
                  <a:pt x="4906" y="448"/>
                  <a:pt x="4906" y="448"/>
                </a:cubicBezTo>
                <a:cubicBezTo>
                  <a:pt x="5048" y="448"/>
                  <a:pt x="5048" y="448"/>
                  <a:pt x="5048" y="448"/>
                </a:cubicBezTo>
                <a:cubicBezTo>
                  <a:pt x="5048" y="436"/>
                  <a:pt x="5048" y="436"/>
                  <a:pt x="5048" y="436"/>
                </a:cubicBezTo>
                <a:cubicBezTo>
                  <a:pt x="5006" y="432"/>
                  <a:pt x="5004" y="434"/>
                  <a:pt x="5004" y="338"/>
                </a:cubicBezTo>
                <a:cubicBezTo>
                  <a:pt x="5004" y="262"/>
                  <a:pt x="5004" y="262"/>
                  <a:pt x="5004" y="262"/>
                </a:cubicBezTo>
                <a:cubicBezTo>
                  <a:pt x="5004" y="236"/>
                  <a:pt x="5038" y="206"/>
                  <a:pt x="5080" y="206"/>
                </a:cubicBezTo>
                <a:cubicBezTo>
                  <a:pt x="5114" y="206"/>
                  <a:pt x="5140" y="220"/>
                  <a:pt x="5140" y="286"/>
                </a:cubicBezTo>
                <a:cubicBezTo>
                  <a:pt x="5140" y="340"/>
                  <a:pt x="5140" y="340"/>
                  <a:pt x="5140" y="340"/>
                </a:cubicBezTo>
                <a:cubicBezTo>
                  <a:pt x="5140" y="432"/>
                  <a:pt x="5136" y="432"/>
                  <a:pt x="5098" y="434"/>
                </a:cubicBezTo>
                <a:cubicBezTo>
                  <a:pt x="5098" y="446"/>
                  <a:pt x="5098" y="446"/>
                  <a:pt x="5098" y="446"/>
                </a:cubicBezTo>
                <a:cubicBezTo>
                  <a:pt x="5240" y="446"/>
                  <a:pt x="5240" y="446"/>
                  <a:pt x="5240" y="446"/>
                </a:cubicBezTo>
                <a:lnTo>
                  <a:pt x="5240" y="434"/>
                </a:lnTo>
                <a:close/>
                <a:moveTo>
                  <a:pt x="5516" y="192"/>
                </a:moveTo>
                <a:cubicBezTo>
                  <a:pt x="5516" y="180"/>
                  <a:pt x="5516" y="180"/>
                  <a:pt x="5516" y="180"/>
                </a:cubicBezTo>
                <a:cubicBezTo>
                  <a:pt x="5418" y="180"/>
                  <a:pt x="5418" y="180"/>
                  <a:pt x="5418" y="180"/>
                </a:cubicBezTo>
                <a:cubicBezTo>
                  <a:pt x="5418" y="192"/>
                  <a:pt x="5418" y="192"/>
                  <a:pt x="5418" y="192"/>
                </a:cubicBezTo>
                <a:cubicBezTo>
                  <a:pt x="5442" y="194"/>
                  <a:pt x="5454" y="206"/>
                  <a:pt x="5446" y="234"/>
                </a:cubicBezTo>
                <a:cubicBezTo>
                  <a:pt x="5394" y="390"/>
                  <a:pt x="5394" y="390"/>
                  <a:pt x="5394" y="390"/>
                </a:cubicBezTo>
                <a:cubicBezTo>
                  <a:pt x="5342" y="270"/>
                  <a:pt x="5342" y="270"/>
                  <a:pt x="5342" y="270"/>
                </a:cubicBezTo>
                <a:cubicBezTo>
                  <a:pt x="5328" y="238"/>
                  <a:pt x="5322" y="224"/>
                  <a:pt x="5322" y="212"/>
                </a:cubicBezTo>
                <a:cubicBezTo>
                  <a:pt x="5322" y="202"/>
                  <a:pt x="5328" y="196"/>
                  <a:pt x="5348" y="192"/>
                </a:cubicBezTo>
                <a:cubicBezTo>
                  <a:pt x="5348" y="180"/>
                  <a:pt x="5348" y="180"/>
                  <a:pt x="5348" y="180"/>
                </a:cubicBezTo>
                <a:cubicBezTo>
                  <a:pt x="5220" y="180"/>
                  <a:pt x="5220" y="180"/>
                  <a:pt x="5220" y="180"/>
                </a:cubicBezTo>
                <a:cubicBezTo>
                  <a:pt x="5220" y="192"/>
                  <a:pt x="5220" y="192"/>
                  <a:pt x="5220" y="192"/>
                </a:cubicBezTo>
                <a:cubicBezTo>
                  <a:pt x="5252" y="194"/>
                  <a:pt x="5254" y="198"/>
                  <a:pt x="5296" y="292"/>
                </a:cubicBezTo>
                <a:cubicBezTo>
                  <a:pt x="5368" y="450"/>
                  <a:pt x="5368" y="450"/>
                  <a:pt x="5368" y="450"/>
                </a:cubicBezTo>
                <a:cubicBezTo>
                  <a:pt x="5344" y="512"/>
                  <a:pt x="5306" y="546"/>
                  <a:pt x="5228" y="564"/>
                </a:cubicBezTo>
                <a:cubicBezTo>
                  <a:pt x="5232" y="576"/>
                  <a:pt x="5246" y="600"/>
                  <a:pt x="5254" y="606"/>
                </a:cubicBezTo>
                <a:cubicBezTo>
                  <a:pt x="5356" y="564"/>
                  <a:pt x="5376" y="498"/>
                  <a:pt x="5412" y="396"/>
                </a:cubicBezTo>
                <a:cubicBezTo>
                  <a:pt x="5466" y="242"/>
                  <a:pt x="5466" y="242"/>
                  <a:pt x="5466" y="242"/>
                </a:cubicBezTo>
                <a:cubicBezTo>
                  <a:pt x="5478" y="206"/>
                  <a:pt x="5498" y="192"/>
                  <a:pt x="5516" y="192"/>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600" kern="1200">
                <a:solidFill>
                  <a:schemeClr val="tx1"/>
                </a:solidFill>
                <a:latin typeface="Arial" charset="0"/>
                <a:ea typeface="+mn-ea"/>
                <a:cs typeface="+mn-cs"/>
              </a:defRPr>
            </a:lvl1pPr>
            <a:lvl2pPr marL="457200" algn="l" rtl="0" fontAlgn="base">
              <a:spcBef>
                <a:spcPct val="0"/>
              </a:spcBef>
              <a:spcAft>
                <a:spcPct val="0"/>
              </a:spcAft>
              <a:defRPr sz="1600" kern="1200">
                <a:solidFill>
                  <a:schemeClr val="tx1"/>
                </a:solidFill>
                <a:latin typeface="Arial" charset="0"/>
                <a:ea typeface="+mn-ea"/>
                <a:cs typeface="+mn-cs"/>
              </a:defRPr>
            </a:lvl2pPr>
            <a:lvl3pPr marL="914400" algn="l" rtl="0" fontAlgn="base">
              <a:spcBef>
                <a:spcPct val="0"/>
              </a:spcBef>
              <a:spcAft>
                <a:spcPct val="0"/>
              </a:spcAft>
              <a:defRPr sz="1600" kern="1200">
                <a:solidFill>
                  <a:schemeClr val="tx1"/>
                </a:solidFill>
                <a:latin typeface="Arial" charset="0"/>
                <a:ea typeface="+mn-ea"/>
                <a:cs typeface="+mn-cs"/>
              </a:defRPr>
            </a:lvl3pPr>
            <a:lvl4pPr marL="1371600" algn="l" rtl="0" fontAlgn="base">
              <a:spcBef>
                <a:spcPct val="0"/>
              </a:spcBef>
              <a:spcAft>
                <a:spcPct val="0"/>
              </a:spcAft>
              <a:defRPr sz="1600" kern="1200">
                <a:solidFill>
                  <a:schemeClr val="tx1"/>
                </a:solidFill>
                <a:latin typeface="Arial" charset="0"/>
                <a:ea typeface="+mn-ea"/>
                <a:cs typeface="+mn-cs"/>
              </a:defRPr>
            </a:lvl4pPr>
            <a:lvl5pPr marL="1828800" algn="l" rtl="0" fontAlgn="base">
              <a:spcBef>
                <a:spcPct val="0"/>
              </a:spcBef>
              <a:spcAft>
                <a:spcPct val="0"/>
              </a:spcAft>
              <a:defRPr sz="1600" kern="1200">
                <a:solidFill>
                  <a:schemeClr val="tx1"/>
                </a:solidFill>
                <a:latin typeface="Arial" charset="0"/>
                <a:ea typeface="+mn-ea"/>
                <a:cs typeface="+mn-cs"/>
              </a:defRPr>
            </a:lvl5pPr>
            <a:lvl6pPr marL="2286000" algn="l" defTabSz="914400" rtl="0" eaLnBrk="1" latinLnBrk="0" hangingPunct="1">
              <a:defRPr sz="1600" kern="1200">
                <a:solidFill>
                  <a:schemeClr val="tx1"/>
                </a:solidFill>
                <a:latin typeface="Arial" charset="0"/>
                <a:ea typeface="+mn-ea"/>
                <a:cs typeface="+mn-cs"/>
              </a:defRPr>
            </a:lvl6pPr>
            <a:lvl7pPr marL="2743200" algn="l" defTabSz="914400" rtl="0" eaLnBrk="1" latinLnBrk="0" hangingPunct="1">
              <a:defRPr sz="1600" kern="1200">
                <a:solidFill>
                  <a:schemeClr val="tx1"/>
                </a:solidFill>
                <a:latin typeface="Arial" charset="0"/>
                <a:ea typeface="+mn-ea"/>
                <a:cs typeface="+mn-cs"/>
              </a:defRPr>
            </a:lvl7pPr>
            <a:lvl8pPr marL="3200400" algn="l" defTabSz="914400" rtl="0" eaLnBrk="1" latinLnBrk="0" hangingPunct="1">
              <a:defRPr sz="1600" kern="1200">
                <a:solidFill>
                  <a:schemeClr val="tx1"/>
                </a:solidFill>
                <a:latin typeface="Arial" charset="0"/>
                <a:ea typeface="+mn-ea"/>
                <a:cs typeface="+mn-cs"/>
              </a:defRPr>
            </a:lvl8pPr>
            <a:lvl9pPr marL="3657600" algn="l" defTabSz="914400" rtl="0" eaLnBrk="1" latinLnBrk="0" hangingPunct="1">
              <a:defRPr sz="1600" kern="1200">
                <a:solidFill>
                  <a:schemeClr val="tx1"/>
                </a:solidFill>
                <a:latin typeface="Arial" charset="0"/>
                <a:ea typeface="+mn-ea"/>
                <a:cs typeface="+mn-cs"/>
              </a:defRPr>
            </a:lvl9pPr>
          </a:lstStyle>
          <a:p>
            <a:endParaRPr lang="en-US" baseline="0" dirty="0">
              <a:solidFill>
                <a:srgbClr val="000000"/>
              </a:solidFill>
              <a:latin typeface="+mn-lt"/>
            </a:endParaRPr>
          </a:p>
        </p:txBody>
      </p:sp>
      <p:sp>
        <p:nvSpPr>
          <p:cNvPr id="27" name="Disclaimer-English (United States)" hidden="1"/>
          <p:cNvSpPr>
            <a:spLocks noChangeArrowheads="1"/>
          </p:cNvSpPr>
          <p:nvPr/>
        </p:nvSpPr>
        <p:spPr bwMode="black">
          <a:xfrm>
            <a:off x="2268266" y="6287785"/>
            <a:ext cx="3544453" cy="36908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t" anchorCtr="0">
            <a:noAutofit/>
          </a:bodyPr>
          <a:lstStyle/>
          <a:p>
            <a:pPr defTabSz="804863" eaLnBrk="0" hangingPunct="0"/>
            <a:r>
              <a:rPr lang="en-US" sz="800" baseline="0" dirty="0">
                <a:solidFill>
                  <a:srgbClr val="FFFFFF"/>
                </a:solidFill>
                <a:latin typeface="+mn-lt"/>
              </a:rPr>
              <a:t>CONFIDENTIAL AND PROPRIETARY</a:t>
            </a:r>
          </a:p>
          <a:p>
            <a:pPr defTabSz="804863" eaLnBrk="0" hangingPunct="0"/>
            <a:r>
              <a:rPr lang="en-US" sz="800" baseline="0" dirty="0">
                <a:solidFill>
                  <a:srgbClr val="FFFFFF"/>
                </a:solidFill>
                <a:latin typeface="+mn-lt"/>
              </a:rPr>
              <a:t>Any use of this material without specific permission of McKinsey &amp; Company is strictly prohibited</a:t>
            </a:r>
          </a:p>
        </p:txBody>
      </p:sp>
    </p:spTree>
    <p:extLst>
      <p:ext uri="{BB962C8B-B14F-4D97-AF65-F5344CB8AC3E}">
        <p14:creationId xmlns:p14="http://schemas.microsoft.com/office/powerpoint/2010/main" val="1231391948"/>
      </p:ext>
    </p:extLst>
  </p:cSld>
  <p:clrMapOvr>
    <a:masterClrMapping/>
  </p:clrMapOvr>
  <p:extLst mod="1">
    <p:ext uri="{DCECCB84-F9BA-43D5-87BE-67443E8EF086}">
      <p15:sldGuideLst xmlns:p15="http://schemas.microsoft.com/office/powerpoint/2012/main">
        <p15:guide id="1" orient="horz" pos="2117">
          <p15:clr>
            <a:srgbClr val="FBAE40"/>
          </p15:clr>
        </p15:guide>
        <p15:guide id="2" pos="1416">
          <p15:clr>
            <a:srgbClr val="FBAE40"/>
          </p15:clr>
        </p15:guide>
      </p15:sldGuideLst>
    </p:ext>
  </p:extLs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6E228F5-5CF1-42E1-9748-97D7582A107A}"/>
              </a:ext>
            </a:extLst>
          </p:cNvPr>
          <p:cNvGraphicFramePr>
            <a:graphicFrameLocks noChangeAspect="1"/>
          </p:cNvGraphicFramePr>
          <p:nvPr>
            <p:custDataLst>
              <p:tags r:id="rId2"/>
            </p:custDataLst>
            <p:extLst>
              <p:ext uri="{D42A27DB-BD31-4B8C-83A1-F6EECF244321}">
                <p14:modId xmlns:p14="http://schemas.microsoft.com/office/powerpoint/2010/main" val="311749927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1748" name="think-cell Slide" r:id="rId5" imgW="353" imgH="353" progId="TCLayout.ActiveDocument.1">
                  <p:embed/>
                </p:oleObj>
              </mc:Choice>
              <mc:Fallback>
                <p:oleObj name="think-cell Slide" r:id="rId5" imgW="353" imgH="353" progId="TCLayout.ActiveDocument.1">
                  <p:embed/>
                  <p:pic>
                    <p:nvPicPr>
                      <p:cNvPr id="3" name="Object 2" hidden="1">
                        <a:extLst>
                          <a:ext uri="{FF2B5EF4-FFF2-40B4-BE49-F238E27FC236}">
                            <a16:creationId xmlns:a16="http://schemas.microsoft.com/office/drawing/2014/main" id="{C6E228F5-5CF1-42E1-9748-97D7582A107A}"/>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2. Slide Title"/>
          <p:cNvSpPr>
            <a:spLocks noGrp="1"/>
          </p:cNvSpPr>
          <p:nvPr>
            <p:ph type="title"/>
          </p:nvPr>
        </p:nvSpPr>
        <p:spPr bwMode="auto"/>
        <p:txBody>
          <a:bodyPr/>
          <a:lstStyle/>
          <a:p>
            <a:r>
              <a:rPr lang="en-US"/>
              <a:t>Click to edit Master title style</a:t>
            </a:r>
            <a:endParaRPr lang="en-US" dirty="0"/>
          </a:p>
        </p:txBody>
      </p:sp>
      <p:sp>
        <p:nvSpPr>
          <p:cNvPr id="8" name="Slide Number"/>
          <p:cNvSpPr txBox="1">
            <a:spLocks/>
          </p:cNvSpPr>
          <p:nvPr/>
        </p:nvSpPr>
        <p:spPr bwMode="auto">
          <a:xfrm>
            <a:off x="8564563" y="6508272"/>
            <a:ext cx="125034" cy="123111"/>
          </a:xfrm>
          <a:prstGeom prst="rect">
            <a:avLst/>
          </a:prstGeom>
        </p:spPr>
        <p:txBody>
          <a:bodyPr vert="horz" wrap="none" lIns="0" tIns="0" rIns="0" bIns="0" rtlCol="0" anchor="ctr">
            <a:spAutoFit/>
          </a:bodyPr>
          <a:lstStyle>
            <a:defPPr>
              <a:defRPr lang="en-US"/>
            </a:defPPr>
            <a:lvl1pPr>
              <a:defRPr sz="1000" baseline="0">
                <a:latin typeface="+mn-lt"/>
              </a:defRPr>
            </a:lvl1pPr>
          </a:lstStyle>
          <a:p>
            <a:fld id="{42C328C1-A84F-4A39-A664-DBA00541A8C6}" type="slidenum">
              <a:rPr lang="en-US" sz="800" baseline="0" smtClean="0">
                <a:solidFill>
                  <a:srgbClr val="808080"/>
                </a:solidFill>
                <a:latin typeface="+mn-lt"/>
              </a:rPr>
              <a:pPr/>
              <a:t>‹#›</a:t>
            </a:fld>
            <a:endParaRPr lang="en-US" sz="800" baseline="0" dirty="0">
              <a:solidFill>
                <a:srgbClr val="808080"/>
              </a:solidFill>
              <a:latin typeface="+mn-lt"/>
            </a:endParaRPr>
          </a:p>
        </p:txBody>
      </p:sp>
      <p:sp>
        <p:nvSpPr>
          <p:cNvPr id="9" name="SlideLogoText"/>
          <p:cNvSpPr>
            <a:spLocks noChangeArrowheads="1"/>
          </p:cNvSpPr>
          <p:nvPr>
            <p:custDataLst>
              <p:tags r:id="rId3"/>
            </p:custDataLst>
          </p:nvPr>
        </p:nvSpPr>
        <p:spPr bwMode="auto">
          <a:xfrm>
            <a:off x="7450817" y="6508272"/>
            <a:ext cx="1013098"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algn="r" defTabSz="895350"/>
            <a:r>
              <a:rPr lang="en-US" sz="800" baseline="0" dirty="0">
                <a:solidFill>
                  <a:srgbClr val="808080"/>
                </a:solidFill>
                <a:latin typeface="+mn-lt"/>
              </a:rPr>
              <a:t>McKinsey &amp; Company</a:t>
            </a:r>
          </a:p>
        </p:txBody>
      </p:sp>
      <p:sp>
        <p:nvSpPr>
          <p:cNvPr id="5" name="doc id" hidden="1"/>
          <p:cNvSpPr txBox="1">
            <a:spLocks noChangeArrowheads="1"/>
          </p:cNvSpPr>
          <p:nvPr/>
        </p:nvSpPr>
        <p:spPr bwMode="white">
          <a:xfrm>
            <a:off x="8104473" y="36513"/>
            <a:ext cx="634716" cy="115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hangingPunct="1">
              <a:defRPr/>
            </a:pPr>
            <a:endParaRPr lang="en-US" sz="800" baseline="0" dirty="0">
              <a:solidFill>
                <a:schemeClr val="accent1"/>
              </a:solidFill>
              <a:latin typeface="+mn-lt"/>
              <a:ea typeface="+mn-ea"/>
            </a:endParaRPr>
          </a:p>
        </p:txBody>
      </p:sp>
    </p:spTree>
    <p:extLst>
      <p:ext uri="{BB962C8B-B14F-4D97-AF65-F5344CB8AC3E}">
        <p14:creationId xmlns:p14="http://schemas.microsoft.com/office/powerpoint/2010/main" val="1581173693"/>
      </p:ext>
    </p:extLst>
  </p:cSld>
  <p:clrMapOvr>
    <a:masterClrMapping/>
  </p:clrMapOvr>
  <p:extLst mod="1">
    <p:ext uri="{DCECCB84-F9BA-43D5-87BE-67443E8EF086}">
      <p15:sldGuideLst xmlns:p15="http://schemas.microsoft.com/office/powerpoint/2012/main">
        <p15:guide id="1" pos="5505">
          <p15:clr>
            <a:srgbClr val="F26B43"/>
          </p15:clr>
        </p15:guide>
        <p15:guide id="2" pos="74">
          <p15:clr>
            <a:srgbClr val="F26B43"/>
          </p15:clr>
        </p15:guide>
        <p15:guide id="3" orient="horz" pos="571">
          <p15:clr>
            <a:srgbClr val="F26B43"/>
          </p15:clr>
        </p15:guide>
        <p15:guide id="4" orient="horz" pos="3911">
          <p15:clr>
            <a:srgbClr val="F26B43"/>
          </p15:clr>
        </p15:guide>
      </p15:sldGuideLst>
    </p:ext>
  </p:extLs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p:cSld name="1_Title Only">
    <p:bg>
      <p:bgPr>
        <a:solidFill>
          <a:schemeClr val="accent2"/>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F4AD34F-3B47-47E2-A09C-FFEB949F6A10}"/>
              </a:ext>
            </a:extLst>
          </p:cNvPr>
          <p:cNvGraphicFramePr>
            <a:graphicFrameLocks noChangeAspect="1"/>
          </p:cNvGraphicFramePr>
          <p:nvPr>
            <p:custDataLst>
              <p:tags r:id="rId2"/>
            </p:custDataLst>
            <p:extLst>
              <p:ext uri="{D42A27DB-BD31-4B8C-83A1-F6EECF244321}">
                <p14:modId xmlns:p14="http://schemas.microsoft.com/office/powerpoint/2010/main" val="94960579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2772" name="think-cell Slide" r:id="rId5" imgW="395" imgH="394" progId="TCLayout.ActiveDocument.1">
                  <p:embed/>
                </p:oleObj>
              </mc:Choice>
              <mc:Fallback>
                <p:oleObj name="think-cell Slide" r:id="rId5" imgW="395" imgH="394" progId="TCLayout.ActiveDocument.1">
                  <p:embed/>
                  <p:pic>
                    <p:nvPicPr>
                      <p:cNvPr id="3" name="Object 2" hidden="1">
                        <a:extLst>
                          <a:ext uri="{FF2B5EF4-FFF2-40B4-BE49-F238E27FC236}">
                            <a16:creationId xmlns:a16="http://schemas.microsoft.com/office/drawing/2014/main" id="{EF4AD34F-3B47-47E2-A09C-FFEB949F6A10}"/>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endParaRPr lang="en-US" dirty="0"/>
          </a:p>
        </p:txBody>
      </p:sp>
      <p:sp>
        <p:nvSpPr>
          <p:cNvPr id="15" name="Slide Number"/>
          <p:cNvSpPr txBox="1">
            <a:spLocks/>
          </p:cNvSpPr>
          <p:nvPr/>
        </p:nvSpPr>
        <p:spPr>
          <a:xfrm>
            <a:off x="8564563" y="6508272"/>
            <a:ext cx="125034" cy="123111"/>
          </a:xfrm>
          <a:prstGeom prst="rect">
            <a:avLst/>
          </a:prstGeom>
        </p:spPr>
        <p:txBody>
          <a:bodyPr vert="horz" wrap="none" lIns="0" tIns="0" rIns="0" bIns="0" rtlCol="0" anchor="ctr">
            <a:spAutoFit/>
          </a:bodyPr>
          <a:lstStyle>
            <a:defPPr>
              <a:defRPr lang="en-US"/>
            </a:defPPr>
            <a:lvl1pPr>
              <a:defRPr sz="1000" baseline="0">
                <a:latin typeface="+mn-lt"/>
              </a:defRPr>
            </a:lvl1pPr>
          </a:lstStyle>
          <a:p>
            <a:fld id="{42C328C1-A84F-4A39-A664-DBA00541A8C6}" type="slidenum">
              <a:rPr lang="en-US" sz="800" baseline="0" smtClean="0">
                <a:solidFill>
                  <a:srgbClr val="FFFFFF"/>
                </a:solidFill>
                <a:latin typeface="+mn-lt"/>
              </a:rPr>
              <a:pPr/>
              <a:t>‹#›</a:t>
            </a:fld>
            <a:endParaRPr lang="en-US" sz="800" baseline="0" dirty="0">
              <a:solidFill>
                <a:srgbClr val="FFFFFF"/>
              </a:solidFill>
              <a:latin typeface="+mn-lt"/>
            </a:endParaRPr>
          </a:p>
        </p:txBody>
      </p:sp>
      <p:sp>
        <p:nvSpPr>
          <p:cNvPr id="16" name="SlideLogoText"/>
          <p:cNvSpPr>
            <a:spLocks noChangeArrowheads="1"/>
          </p:cNvSpPr>
          <p:nvPr>
            <p:custDataLst>
              <p:tags r:id="rId3"/>
            </p:custDataLst>
          </p:nvPr>
        </p:nvSpPr>
        <p:spPr bwMode="auto">
          <a:xfrm>
            <a:off x="7450817" y="6508272"/>
            <a:ext cx="1013098"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algn="r" defTabSz="895350"/>
            <a:r>
              <a:rPr lang="en-US" sz="800" baseline="0" dirty="0">
                <a:solidFill>
                  <a:srgbClr val="FFFFFF"/>
                </a:solidFill>
                <a:latin typeface="+mn-lt"/>
              </a:rPr>
              <a:t>McKinsey &amp; Company</a:t>
            </a:r>
          </a:p>
        </p:txBody>
      </p:sp>
      <p:sp>
        <p:nvSpPr>
          <p:cNvPr id="5" name="doc id" hidden="1"/>
          <p:cNvSpPr txBox="1">
            <a:spLocks noChangeArrowheads="1"/>
          </p:cNvSpPr>
          <p:nvPr/>
        </p:nvSpPr>
        <p:spPr bwMode="white">
          <a:xfrm>
            <a:off x="8104473" y="36513"/>
            <a:ext cx="634716" cy="115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hangingPunct="1">
              <a:defRPr/>
            </a:pPr>
            <a:endParaRPr lang="en-US" sz="800" baseline="0" dirty="0">
              <a:solidFill>
                <a:schemeClr val="accent1"/>
              </a:solidFill>
              <a:latin typeface="+mn-lt"/>
              <a:ea typeface="+mn-ea"/>
            </a:endParaRPr>
          </a:p>
        </p:txBody>
      </p:sp>
    </p:spTree>
    <p:extLst>
      <p:ext uri="{BB962C8B-B14F-4D97-AF65-F5344CB8AC3E}">
        <p14:creationId xmlns:p14="http://schemas.microsoft.com/office/powerpoint/2010/main" val="4187524759"/>
      </p:ext>
    </p:extLst>
  </p:cSld>
  <p:clrMapOvr>
    <a:masterClrMapping/>
  </p:clrMapOvr>
  <p:extLst mod="1">
    <p:ext uri="{DCECCB84-F9BA-43D5-87BE-67443E8EF086}">
      <p15:sldGuideLst xmlns:p15="http://schemas.microsoft.com/office/powerpoint/2012/main">
        <p15:guide id="1" pos="3978">
          <p15:clr>
            <a:srgbClr val="000000"/>
          </p15:clr>
        </p15:guide>
        <p15:guide id="2" orient="horz" pos="570">
          <p15:clr>
            <a:srgbClr val="000000"/>
          </p15:clr>
        </p15:guide>
        <p15:guide id="3" orient="horz" pos="3912">
          <p15:clr>
            <a:srgbClr val="000000"/>
          </p15:clr>
        </p15:guide>
        <p15:guide id="4" pos="72">
          <p15:clr>
            <a:srgbClr val="000000"/>
          </p15:clr>
        </p15:guide>
      </p15:sldGuideLst>
    </p:ext>
  </p:extLst>
</p:sldLayout>
</file>

<file path=ppt/slideLayouts/slideLayout159.xml><?xml version="1.0" encoding="utf-8"?>
<p:sldLayout xmlns:a="http://schemas.openxmlformats.org/drawingml/2006/main" xmlns:r="http://schemas.openxmlformats.org/officeDocument/2006/relationships" xmlns:p="http://schemas.openxmlformats.org/presentationml/2006/main" type="titleOnly">
  <p:cSld name="2_Title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ECD524A-1569-4253-8CD8-48D288AD883C}"/>
              </a:ext>
            </a:extLst>
          </p:cNvPr>
          <p:cNvGraphicFramePr>
            <a:graphicFrameLocks noChangeAspect="1"/>
          </p:cNvGraphicFramePr>
          <p:nvPr>
            <p:custDataLst>
              <p:tags r:id="rId2"/>
            </p:custDataLst>
            <p:extLst>
              <p:ext uri="{D42A27DB-BD31-4B8C-83A1-F6EECF244321}">
                <p14:modId xmlns:p14="http://schemas.microsoft.com/office/powerpoint/2010/main" val="162608977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3796" name="think-cell Slide" r:id="rId4" imgW="395" imgH="394" progId="TCLayout.ActiveDocument.1">
                  <p:embed/>
                </p:oleObj>
              </mc:Choice>
              <mc:Fallback>
                <p:oleObj name="think-cell Slide" r:id="rId4" imgW="395" imgH="394" progId="TCLayout.ActiveDocument.1">
                  <p:embed/>
                  <p:pic>
                    <p:nvPicPr>
                      <p:cNvPr id="3" name="Object 2" hidden="1">
                        <a:extLst>
                          <a:ext uri="{FF2B5EF4-FFF2-40B4-BE49-F238E27FC236}">
                            <a16:creationId xmlns:a16="http://schemas.microsoft.com/office/drawing/2014/main" id="{5ECD524A-1569-4253-8CD8-48D288AD883C}"/>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1801683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itleOnly">
  <p:cSld name="2_Title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ECD524A-1569-4253-8CD8-48D288AD883C}"/>
              </a:ext>
            </a:extLst>
          </p:cNvPr>
          <p:cNvGraphicFramePr>
            <a:graphicFrameLocks noChangeAspect="1"/>
          </p:cNvGraphicFramePr>
          <p:nvPr>
            <p:custDataLst>
              <p:tags r:id="rId2"/>
            </p:custDataLst>
            <p:extLst>
              <p:ext uri="{D42A27DB-BD31-4B8C-83A1-F6EECF244321}">
                <p14:modId xmlns:p14="http://schemas.microsoft.com/office/powerpoint/2010/main" val="316866543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500" name="think-cell Slide" r:id="rId4" imgW="395" imgH="394" progId="TCLayout.ActiveDocument.1">
                  <p:embed/>
                </p:oleObj>
              </mc:Choice>
              <mc:Fallback>
                <p:oleObj name="think-cell Slide" r:id="rId4" imgW="395" imgH="394" progId="TCLayout.ActiveDocument.1">
                  <p:embed/>
                  <p:pic>
                    <p:nvPicPr>
                      <p:cNvPr id="3" name="Object 2" hidden="1">
                        <a:extLst>
                          <a:ext uri="{FF2B5EF4-FFF2-40B4-BE49-F238E27FC236}">
                            <a16:creationId xmlns:a16="http://schemas.microsoft.com/office/drawing/2014/main" id="{5ECD524A-1569-4253-8CD8-48D288AD883C}"/>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10934535"/>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pic>
        <p:nvPicPr>
          <p:cNvPr id="2" name="background"/>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0" y="198"/>
            <a:ext cx="8961438" cy="6721079"/>
          </a:xfrm>
          <a:prstGeom prst="rect">
            <a:avLst/>
          </a:prstGeom>
        </p:spPr>
      </p:pic>
      <p:sp>
        <p:nvSpPr>
          <p:cNvPr id="28" name="TitleRectangle"/>
          <p:cNvSpPr txBox="1">
            <a:spLocks/>
          </p:cNvSpPr>
          <p:nvPr/>
        </p:nvSpPr>
        <p:spPr>
          <a:xfrm>
            <a:off x="2084388" y="0"/>
            <a:ext cx="6875462" cy="3575976"/>
          </a:xfrm>
          <a:prstGeom prst="rect">
            <a:avLst/>
          </a:prstGeom>
          <a:solidFill>
            <a:srgbClr val="002960">
              <a:alpha val="92000"/>
            </a:srgbClr>
          </a:solidFill>
        </p:spPr>
        <p:txBody>
          <a:bodyPr vert="horz" wrap="square" lIns="216000" tIns="1440000" rIns="216000" bIns="108000" rtlCol="0">
            <a:noAutofit/>
          </a:bodyPr>
          <a:lstStyle>
            <a:lvl1pPr marL="0" indent="0" algn="l" defTabSz="914400" rtl="0" eaLnBrk="1" latinLnBrk="0" hangingPunct="1">
              <a:spcBef>
                <a:spcPct val="20000"/>
              </a:spcBef>
              <a:spcAft>
                <a:spcPts val="6000"/>
              </a:spcAft>
              <a:buFont typeface="Arial" pitchFamily="34" charset="0"/>
              <a:buNone/>
              <a:defRPr sz="3200" kern="1200">
                <a:solidFill>
                  <a:schemeClr val="accent1"/>
                </a:solidFill>
                <a:latin typeface="+mn-lt"/>
                <a:ea typeface="+mn-ea"/>
                <a:cs typeface="+mn-cs"/>
              </a:defRPr>
            </a:lvl1pPr>
            <a:lvl2pPr marL="0" indent="0" algn="l" defTabSz="914400" rtl="0" eaLnBrk="1" latinLnBrk="0" hangingPunct="1">
              <a:spcBef>
                <a:spcPct val="20000"/>
              </a:spcBef>
              <a:buFont typeface="Wingdings" charset="2"/>
              <a:buNone/>
              <a:defRPr sz="1400" kern="1200">
                <a:solidFill>
                  <a:schemeClr val="tx1">
                    <a:lumMod val="50000"/>
                    <a:lumOff val="50000"/>
                  </a:schemeClr>
                </a:solidFill>
                <a:latin typeface="+mn-lt"/>
                <a:ea typeface="+mn-ea"/>
                <a:cs typeface="+mn-cs"/>
              </a:defRPr>
            </a:lvl2pPr>
            <a:lvl3pPr marL="1143000" indent="-228600" algn="l" defTabSz="914400" rtl="0" eaLnBrk="1" latinLnBrk="0" hangingPunct="1">
              <a:spcBef>
                <a:spcPct val="20000"/>
              </a:spcBef>
              <a:buFont typeface="Lucida Grande"/>
              <a:buChar char="–"/>
              <a:defRPr sz="16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fontAlgn="auto">
              <a:defRPr/>
            </a:pPr>
            <a:r>
              <a:rPr lang="en-US" baseline="0" dirty="0">
                <a:solidFill>
                  <a:srgbClr val="00ADEF"/>
                </a:solidFill>
                <a:latin typeface="+mn-lt"/>
              </a:rPr>
              <a:t>
              </a:t>
            </a:r>
            <a:br>
              <a:rPr lang="en-US" baseline="0" dirty="0">
                <a:solidFill>
                  <a:srgbClr val="00ADEF"/>
                </a:solidFill>
                <a:latin typeface="+mn-lt"/>
              </a:rPr>
            </a:br>
            <a:endParaRPr lang="en-US" baseline="0" dirty="0">
              <a:solidFill>
                <a:srgbClr val="00ADEF"/>
              </a:solidFill>
              <a:latin typeface="+mn-lt"/>
            </a:endParaRPr>
          </a:p>
        </p:txBody>
      </p:sp>
      <p:graphicFrame>
        <p:nvGraphicFramePr>
          <p:cNvPr id="3" name="Object 2"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5844"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Working Draft Text" hidden="1"/>
          <p:cNvSpPr txBox="1">
            <a:spLocks noChangeArrowheads="1"/>
          </p:cNvSpPr>
          <p:nvPr/>
        </p:nvSpPr>
        <p:spPr bwMode="black">
          <a:xfrm>
            <a:off x="5992719" y="6287538"/>
            <a:ext cx="2790000"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800" b="1" baseline="0" dirty="0">
                <a:solidFill>
                  <a:srgbClr val="FFFFFF"/>
                </a:solidFill>
                <a:latin typeface="+mn-lt"/>
              </a:rPr>
              <a:t>WORKING DRAFT</a:t>
            </a:r>
          </a:p>
        </p:txBody>
      </p:sp>
      <p:sp>
        <p:nvSpPr>
          <p:cNvPr id="6" name="Working Draft" hidden="1"/>
          <p:cNvSpPr txBox="1">
            <a:spLocks noChangeArrowheads="1"/>
          </p:cNvSpPr>
          <p:nvPr/>
        </p:nvSpPr>
        <p:spPr bwMode="black">
          <a:xfrm>
            <a:off x="5992718" y="6410648"/>
            <a:ext cx="2968719"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800" baseline="0">
                <a:solidFill>
                  <a:srgbClr val="FFFFFF"/>
                </a:solidFill>
                <a:latin typeface="+mn-lt"/>
              </a:rPr>
              <a:t>Last Modified 21/05/2018 17:44 India Standard Time</a:t>
            </a:r>
            <a:endParaRPr lang="en-US" sz="800" baseline="0" dirty="0">
              <a:solidFill>
                <a:srgbClr val="FFFFFF"/>
              </a:solidFill>
              <a:latin typeface="+mn-lt"/>
            </a:endParaRPr>
          </a:p>
        </p:txBody>
      </p:sp>
      <p:sp>
        <p:nvSpPr>
          <p:cNvPr id="7" name="Printed" hidden="1"/>
          <p:cNvSpPr txBox="1">
            <a:spLocks noChangeArrowheads="1"/>
          </p:cNvSpPr>
          <p:nvPr/>
        </p:nvSpPr>
        <p:spPr bwMode="black">
          <a:xfrm>
            <a:off x="5992719" y="6533759"/>
            <a:ext cx="2790000"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800" baseline="0" dirty="0">
                <a:solidFill>
                  <a:srgbClr val="FFFFFF"/>
                </a:solidFill>
                <a:latin typeface="+mn-lt"/>
              </a:rPr>
              <a:t>Printed</a:t>
            </a:r>
          </a:p>
        </p:txBody>
      </p:sp>
      <p:sp>
        <p:nvSpPr>
          <p:cNvPr id="13314" name="Title"/>
          <p:cNvSpPr>
            <a:spLocks noGrp="1" noChangeArrowheads="1"/>
          </p:cNvSpPr>
          <p:nvPr>
            <p:ph type="ctrTitle"/>
          </p:nvPr>
        </p:nvSpPr>
        <p:spPr>
          <a:xfrm>
            <a:off x="2268266" y="1434419"/>
            <a:ext cx="6231663" cy="492443"/>
          </a:xfrm>
          <a:prstGeom prst="rect">
            <a:avLst/>
          </a:prstGeom>
        </p:spPr>
        <p:txBody>
          <a:bodyPr>
            <a:spAutoFit/>
          </a:bodyPr>
          <a:lstStyle>
            <a:lvl1pPr>
              <a:defRPr sz="3200" b="0" baseline="0">
                <a:solidFill>
                  <a:schemeClr val="accent2"/>
                </a:solidFill>
                <a:latin typeface="+mj-lt"/>
                <a:ea typeface="+mj-ea"/>
              </a:defRPr>
            </a:lvl1pPr>
          </a:lstStyle>
          <a:p>
            <a:pPr lvl="0" latinLnBrk="0"/>
            <a:r>
              <a:rPr lang="en-US" noProof="0"/>
              <a:t>Click to edit Master title style</a:t>
            </a:r>
            <a:endParaRPr lang="en-US" noProof="0" dirty="0"/>
          </a:p>
        </p:txBody>
      </p:sp>
      <p:sp>
        <p:nvSpPr>
          <p:cNvPr id="13315" name="Subtitle"/>
          <p:cNvSpPr>
            <a:spLocks noGrp="1" noChangeArrowheads="1"/>
          </p:cNvSpPr>
          <p:nvPr>
            <p:ph type="subTitle" idx="1"/>
          </p:nvPr>
        </p:nvSpPr>
        <p:spPr>
          <a:xfrm>
            <a:off x="2268266" y="2819401"/>
            <a:ext cx="6231663" cy="215444"/>
          </a:xfrm>
          <a:prstGeom prst="rect">
            <a:avLst/>
          </a:prstGeom>
        </p:spPr>
        <p:txBody>
          <a:bodyPr wrap="square">
            <a:spAutoFit/>
          </a:bodyPr>
          <a:lstStyle>
            <a:lvl1pPr>
              <a:defRPr sz="1400" cap="all" baseline="0">
                <a:solidFill>
                  <a:schemeClr val="bg1"/>
                </a:solidFill>
                <a:latin typeface="+mn-lt"/>
                <a:ea typeface="+mn-ea"/>
              </a:defRPr>
            </a:lvl1pPr>
          </a:lstStyle>
          <a:p>
            <a:pPr lvl="0" latinLnBrk="0"/>
            <a:r>
              <a:rPr lang="en-US" noProof="0"/>
              <a:t>Click to edit Master subtitle style</a:t>
            </a:r>
            <a:endParaRPr lang="en-US" noProof="0" dirty="0"/>
          </a:p>
        </p:txBody>
      </p:sp>
      <p:sp>
        <p:nvSpPr>
          <p:cNvPr id="57" name="Document type" hidden="1"/>
          <p:cNvSpPr txBox="1">
            <a:spLocks noChangeArrowheads="1"/>
          </p:cNvSpPr>
          <p:nvPr/>
        </p:nvSpPr>
        <p:spPr bwMode="gray">
          <a:xfrm>
            <a:off x="2268266" y="3227411"/>
            <a:ext cx="6231663"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00" baseline="0" dirty="0">
                <a:solidFill>
                  <a:schemeClr val="bg1"/>
                </a:solidFill>
                <a:latin typeface="+mn-lt"/>
              </a:rPr>
              <a:t>Document type | Date</a:t>
            </a:r>
          </a:p>
        </p:txBody>
      </p:sp>
      <p:sp>
        <p:nvSpPr>
          <p:cNvPr id="5" name="doc id" hidden="1"/>
          <p:cNvSpPr txBox="1">
            <a:spLocks noChangeArrowheads="1"/>
          </p:cNvSpPr>
          <p:nvPr/>
        </p:nvSpPr>
        <p:spPr bwMode="white">
          <a:xfrm>
            <a:off x="8443913" y="36513"/>
            <a:ext cx="295275" cy="1222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hangingPunct="1">
              <a:defRPr/>
            </a:pPr>
            <a:endParaRPr lang="en-US" sz="800" baseline="0" dirty="0">
              <a:solidFill>
                <a:srgbClr val="FFFFFF"/>
              </a:solidFill>
              <a:latin typeface="+mn-lt"/>
            </a:endParaRPr>
          </a:p>
        </p:txBody>
      </p:sp>
      <p:sp>
        <p:nvSpPr>
          <p:cNvPr id="43" name="LogoImage"/>
          <p:cNvSpPr>
            <a:spLocks noEditPoints="1"/>
          </p:cNvSpPr>
          <p:nvPr/>
        </p:nvSpPr>
        <p:spPr bwMode="white">
          <a:xfrm>
            <a:off x="2269098" y="182925"/>
            <a:ext cx="2176978" cy="238073"/>
          </a:xfrm>
          <a:custGeom>
            <a:avLst/>
            <a:gdLst>
              <a:gd name="T0" fmla="*/ 504 w 5516"/>
              <a:gd name="T1" fmla="*/ 26 h 606"/>
              <a:gd name="T2" fmla="*/ 18 w 5516"/>
              <a:gd name="T3" fmla="*/ 22 h 606"/>
              <a:gd name="T4" fmla="*/ 140 w 5516"/>
              <a:gd name="T5" fmla="*/ 436 h 606"/>
              <a:gd name="T6" fmla="*/ 408 w 5516"/>
              <a:gd name="T7" fmla="*/ 372 h 606"/>
              <a:gd name="T8" fmla="*/ 696 w 5516"/>
              <a:gd name="T9" fmla="*/ 422 h 606"/>
              <a:gd name="T10" fmla="*/ 768 w 5516"/>
              <a:gd name="T11" fmla="*/ 196 h 606"/>
              <a:gd name="T12" fmla="*/ 1272 w 5516"/>
              <a:gd name="T13" fmla="*/ 26 h 606"/>
              <a:gd name="T14" fmla="*/ 1302 w 5516"/>
              <a:gd name="T15" fmla="*/ 338 h 606"/>
              <a:gd name="T16" fmla="*/ 1202 w 5516"/>
              <a:gd name="T17" fmla="*/ 436 h 606"/>
              <a:gd name="T18" fmla="*/ 1030 w 5516"/>
              <a:gd name="T19" fmla="*/ 10 h 606"/>
              <a:gd name="T20" fmla="*/ 960 w 5516"/>
              <a:gd name="T21" fmla="*/ 22 h 606"/>
              <a:gd name="T22" fmla="*/ 804 w 5516"/>
              <a:gd name="T23" fmla="*/ 434 h 606"/>
              <a:gd name="T24" fmla="*/ 930 w 5516"/>
              <a:gd name="T25" fmla="*/ 246 h 606"/>
              <a:gd name="T26" fmla="*/ 1658 w 5516"/>
              <a:gd name="T27" fmla="*/ 342 h 606"/>
              <a:gd name="T28" fmla="*/ 1368 w 5516"/>
              <a:gd name="T29" fmla="*/ 188 h 606"/>
              <a:gd name="T30" fmla="*/ 1514 w 5516"/>
              <a:gd name="T31" fmla="*/ 436 h 606"/>
              <a:gd name="T32" fmla="*/ 1564 w 5516"/>
              <a:gd name="T33" fmla="*/ 434 h 606"/>
              <a:gd name="T34" fmla="*/ 1904 w 5516"/>
              <a:gd name="T35" fmla="*/ 184 h 606"/>
              <a:gd name="T36" fmla="*/ 1728 w 5516"/>
              <a:gd name="T37" fmla="*/ 366 h 606"/>
              <a:gd name="T38" fmla="*/ 2102 w 5516"/>
              <a:gd name="T39" fmla="*/ 192 h 606"/>
              <a:gd name="T40" fmla="*/ 1982 w 5516"/>
              <a:gd name="T41" fmla="*/ 320 h 606"/>
              <a:gd name="T42" fmla="*/ 2478 w 5516"/>
              <a:gd name="T43" fmla="*/ 242 h 606"/>
              <a:gd name="T44" fmla="*/ 2406 w 5516"/>
              <a:gd name="T45" fmla="*/ 390 h 606"/>
              <a:gd name="T46" fmla="*/ 2234 w 5516"/>
              <a:gd name="T47" fmla="*/ 192 h 606"/>
              <a:gd name="T48" fmla="*/ 2478 w 5516"/>
              <a:gd name="T49" fmla="*/ 242 h 606"/>
              <a:gd name="T50" fmla="*/ 2928 w 5516"/>
              <a:gd name="T51" fmla="*/ 448 h 606"/>
              <a:gd name="T52" fmla="*/ 2958 w 5516"/>
              <a:gd name="T53" fmla="*/ 230 h 606"/>
              <a:gd name="T54" fmla="*/ 2716 w 5516"/>
              <a:gd name="T55" fmla="*/ 54 h 606"/>
              <a:gd name="T56" fmla="*/ 2714 w 5516"/>
              <a:gd name="T57" fmla="*/ 36 h 606"/>
              <a:gd name="T58" fmla="*/ 2928 w 5516"/>
              <a:gd name="T59" fmla="*/ 448 h 606"/>
              <a:gd name="T60" fmla="*/ 3388 w 5516"/>
              <a:gd name="T61" fmla="*/ 4 h 606"/>
              <a:gd name="T62" fmla="*/ 3396 w 5516"/>
              <a:gd name="T63" fmla="*/ 366 h 606"/>
              <a:gd name="T64" fmla="*/ 3580 w 5516"/>
              <a:gd name="T65" fmla="*/ 190 h 606"/>
              <a:gd name="T66" fmla="*/ 3502 w 5516"/>
              <a:gd name="T67" fmla="*/ 432 h 606"/>
              <a:gd name="T68" fmla="*/ 4232 w 5516"/>
              <a:gd name="T69" fmla="*/ 348 h 606"/>
              <a:gd name="T70" fmla="*/ 3858 w 5516"/>
              <a:gd name="T71" fmla="*/ 176 h 606"/>
              <a:gd name="T72" fmla="*/ 3758 w 5516"/>
              <a:gd name="T73" fmla="*/ 446 h 606"/>
              <a:gd name="T74" fmla="*/ 3990 w 5516"/>
              <a:gd name="T75" fmla="*/ 282 h 606"/>
              <a:gd name="T76" fmla="*/ 4042 w 5516"/>
              <a:gd name="T77" fmla="*/ 342 h 606"/>
              <a:gd name="T78" fmla="*/ 4134 w 5516"/>
              <a:gd name="T79" fmla="*/ 448 h 606"/>
              <a:gd name="T80" fmla="*/ 4454 w 5516"/>
              <a:gd name="T81" fmla="*/ 202 h 606"/>
              <a:gd name="T82" fmla="*/ 4284 w 5516"/>
              <a:gd name="T83" fmla="*/ 174 h 606"/>
              <a:gd name="T84" fmla="*/ 4432 w 5516"/>
              <a:gd name="T85" fmla="*/ 588 h 606"/>
              <a:gd name="T86" fmla="*/ 4792 w 5516"/>
              <a:gd name="T87" fmla="*/ 382 h 606"/>
              <a:gd name="T88" fmla="*/ 5192 w 5516"/>
              <a:gd name="T89" fmla="*/ 340 h 606"/>
              <a:gd name="T90" fmla="*/ 4902 w 5516"/>
              <a:gd name="T91" fmla="*/ 186 h 606"/>
              <a:gd name="T92" fmla="*/ 4850 w 5516"/>
              <a:gd name="T93" fmla="*/ 274 h 606"/>
              <a:gd name="T94" fmla="*/ 4742 w 5516"/>
              <a:gd name="T95" fmla="*/ 194 h 606"/>
              <a:gd name="T96" fmla="*/ 4794 w 5516"/>
              <a:gd name="T97" fmla="*/ 418 h 606"/>
              <a:gd name="T98" fmla="*/ 5004 w 5516"/>
              <a:gd name="T99" fmla="*/ 338 h 606"/>
              <a:gd name="T100" fmla="*/ 5098 w 5516"/>
              <a:gd name="T101" fmla="*/ 446 h 606"/>
              <a:gd name="T102" fmla="*/ 5418 w 5516"/>
              <a:gd name="T103" fmla="*/ 192 h 606"/>
              <a:gd name="T104" fmla="*/ 5348 w 5516"/>
              <a:gd name="T105" fmla="*/ 180 h 606"/>
              <a:gd name="T106" fmla="*/ 5254 w 5516"/>
              <a:gd name="T107" fmla="*/ 606 h 6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516" h="606">
                <a:moveTo>
                  <a:pt x="366" y="448"/>
                </a:moveTo>
                <a:cubicBezTo>
                  <a:pt x="524" y="448"/>
                  <a:pt x="524" y="448"/>
                  <a:pt x="524" y="448"/>
                </a:cubicBezTo>
                <a:cubicBezTo>
                  <a:pt x="524" y="436"/>
                  <a:pt x="524" y="436"/>
                  <a:pt x="524" y="436"/>
                </a:cubicBezTo>
                <a:cubicBezTo>
                  <a:pt x="486" y="432"/>
                  <a:pt x="470" y="414"/>
                  <a:pt x="468" y="362"/>
                </a:cubicBezTo>
                <a:cubicBezTo>
                  <a:pt x="454" y="86"/>
                  <a:pt x="454" y="86"/>
                  <a:pt x="454" y="86"/>
                </a:cubicBezTo>
                <a:cubicBezTo>
                  <a:pt x="452" y="46"/>
                  <a:pt x="470" y="30"/>
                  <a:pt x="504" y="26"/>
                </a:cubicBezTo>
                <a:cubicBezTo>
                  <a:pt x="504" y="12"/>
                  <a:pt x="504" y="12"/>
                  <a:pt x="504" y="12"/>
                </a:cubicBezTo>
                <a:cubicBezTo>
                  <a:pt x="394" y="12"/>
                  <a:pt x="394" y="12"/>
                  <a:pt x="394" y="12"/>
                </a:cubicBezTo>
                <a:cubicBezTo>
                  <a:pt x="264" y="350"/>
                  <a:pt x="264" y="350"/>
                  <a:pt x="264" y="350"/>
                </a:cubicBezTo>
                <a:cubicBezTo>
                  <a:pt x="132" y="10"/>
                  <a:pt x="132" y="10"/>
                  <a:pt x="132" y="10"/>
                </a:cubicBezTo>
                <a:cubicBezTo>
                  <a:pt x="18" y="10"/>
                  <a:pt x="18" y="10"/>
                  <a:pt x="18" y="10"/>
                </a:cubicBezTo>
                <a:cubicBezTo>
                  <a:pt x="18" y="22"/>
                  <a:pt x="18" y="22"/>
                  <a:pt x="18" y="22"/>
                </a:cubicBezTo>
                <a:cubicBezTo>
                  <a:pt x="40" y="26"/>
                  <a:pt x="74" y="32"/>
                  <a:pt x="72" y="84"/>
                </a:cubicBezTo>
                <a:cubicBezTo>
                  <a:pt x="58" y="352"/>
                  <a:pt x="58" y="352"/>
                  <a:pt x="58" y="352"/>
                </a:cubicBezTo>
                <a:cubicBezTo>
                  <a:pt x="54" y="410"/>
                  <a:pt x="38" y="430"/>
                  <a:pt x="0" y="436"/>
                </a:cubicBezTo>
                <a:cubicBezTo>
                  <a:pt x="0" y="448"/>
                  <a:pt x="0" y="448"/>
                  <a:pt x="0" y="448"/>
                </a:cubicBezTo>
                <a:cubicBezTo>
                  <a:pt x="140" y="448"/>
                  <a:pt x="140" y="448"/>
                  <a:pt x="140" y="448"/>
                </a:cubicBezTo>
                <a:cubicBezTo>
                  <a:pt x="140" y="436"/>
                  <a:pt x="140" y="436"/>
                  <a:pt x="140" y="436"/>
                </a:cubicBezTo>
                <a:cubicBezTo>
                  <a:pt x="98" y="428"/>
                  <a:pt x="84" y="414"/>
                  <a:pt x="88" y="356"/>
                </a:cubicBezTo>
                <a:cubicBezTo>
                  <a:pt x="100" y="86"/>
                  <a:pt x="100" y="86"/>
                  <a:pt x="100" y="86"/>
                </a:cubicBezTo>
                <a:cubicBezTo>
                  <a:pt x="240" y="444"/>
                  <a:pt x="240" y="444"/>
                  <a:pt x="240" y="444"/>
                </a:cubicBezTo>
                <a:cubicBezTo>
                  <a:pt x="258" y="444"/>
                  <a:pt x="258" y="444"/>
                  <a:pt x="258" y="444"/>
                </a:cubicBezTo>
                <a:cubicBezTo>
                  <a:pt x="396" y="86"/>
                  <a:pt x="396" y="86"/>
                  <a:pt x="396" y="86"/>
                </a:cubicBezTo>
                <a:cubicBezTo>
                  <a:pt x="408" y="372"/>
                  <a:pt x="408" y="372"/>
                  <a:pt x="408" y="372"/>
                </a:cubicBezTo>
                <a:cubicBezTo>
                  <a:pt x="410" y="416"/>
                  <a:pt x="398" y="430"/>
                  <a:pt x="366" y="434"/>
                </a:cubicBezTo>
                <a:lnTo>
                  <a:pt x="366" y="448"/>
                </a:lnTo>
                <a:close/>
                <a:moveTo>
                  <a:pt x="670" y="456"/>
                </a:moveTo>
                <a:cubicBezTo>
                  <a:pt x="708" y="456"/>
                  <a:pt x="756" y="440"/>
                  <a:pt x="782" y="412"/>
                </a:cubicBezTo>
                <a:cubicBezTo>
                  <a:pt x="776" y="400"/>
                  <a:pt x="776" y="400"/>
                  <a:pt x="776" y="400"/>
                </a:cubicBezTo>
                <a:cubicBezTo>
                  <a:pt x="750" y="416"/>
                  <a:pt x="722" y="422"/>
                  <a:pt x="696" y="422"/>
                </a:cubicBezTo>
                <a:cubicBezTo>
                  <a:pt x="620" y="422"/>
                  <a:pt x="592" y="358"/>
                  <a:pt x="592" y="290"/>
                </a:cubicBezTo>
                <a:cubicBezTo>
                  <a:pt x="592" y="258"/>
                  <a:pt x="600" y="236"/>
                  <a:pt x="614" y="222"/>
                </a:cubicBezTo>
                <a:cubicBezTo>
                  <a:pt x="626" y="210"/>
                  <a:pt x="646" y="204"/>
                  <a:pt x="664" y="204"/>
                </a:cubicBezTo>
                <a:cubicBezTo>
                  <a:pt x="690" y="204"/>
                  <a:pt x="722" y="214"/>
                  <a:pt x="744" y="244"/>
                </a:cubicBezTo>
                <a:cubicBezTo>
                  <a:pt x="750" y="244"/>
                  <a:pt x="750" y="244"/>
                  <a:pt x="750" y="244"/>
                </a:cubicBezTo>
                <a:cubicBezTo>
                  <a:pt x="758" y="234"/>
                  <a:pt x="766" y="212"/>
                  <a:pt x="768" y="196"/>
                </a:cubicBezTo>
                <a:cubicBezTo>
                  <a:pt x="748" y="180"/>
                  <a:pt x="720" y="172"/>
                  <a:pt x="686" y="172"/>
                </a:cubicBezTo>
                <a:cubicBezTo>
                  <a:pt x="604" y="172"/>
                  <a:pt x="544" y="246"/>
                  <a:pt x="544" y="326"/>
                </a:cubicBezTo>
                <a:cubicBezTo>
                  <a:pt x="540" y="390"/>
                  <a:pt x="576" y="456"/>
                  <a:pt x="670" y="456"/>
                </a:cubicBezTo>
                <a:moveTo>
                  <a:pt x="1272" y="98"/>
                </a:moveTo>
                <a:cubicBezTo>
                  <a:pt x="1292" y="98"/>
                  <a:pt x="1308" y="82"/>
                  <a:pt x="1308" y="62"/>
                </a:cubicBezTo>
                <a:cubicBezTo>
                  <a:pt x="1308" y="42"/>
                  <a:pt x="1292" y="26"/>
                  <a:pt x="1272" y="26"/>
                </a:cubicBezTo>
                <a:cubicBezTo>
                  <a:pt x="1252" y="26"/>
                  <a:pt x="1238" y="42"/>
                  <a:pt x="1238" y="62"/>
                </a:cubicBezTo>
                <a:cubicBezTo>
                  <a:pt x="1238" y="82"/>
                  <a:pt x="1252" y="98"/>
                  <a:pt x="1272" y="98"/>
                </a:cubicBezTo>
                <a:moveTo>
                  <a:pt x="1202" y="448"/>
                </a:moveTo>
                <a:cubicBezTo>
                  <a:pt x="1346" y="448"/>
                  <a:pt x="1346" y="448"/>
                  <a:pt x="1346" y="448"/>
                </a:cubicBezTo>
                <a:cubicBezTo>
                  <a:pt x="1346" y="436"/>
                  <a:pt x="1346" y="436"/>
                  <a:pt x="1346" y="436"/>
                </a:cubicBezTo>
                <a:cubicBezTo>
                  <a:pt x="1304" y="432"/>
                  <a:pt x="1302" y="434"/>
                  <a:pt x="1302" y="338"/>
                </a:cubicBezTo>
                <a:cubicBezTo>
                  <a:pt x="1302" y="176"/>
                  <a:pt x="1302" y="176"/>
                  <a:pt x="1302" y="176"/>
                </a:cubicBezTo>
                <a:cubicBezTo>
                  <a:pt x="1200" y="176"/>
                  <a:pt x="1200" y="176"/>
                  <a:pt x="1200" y="176"/>
                </a:cubicBezTo>
                <a:cubicBezTo>
                  <a:pt x="1200" y="188"/>
                  <a:pt x="1200" y="188"/>
                  <a:pt x="1200" y="188"/>
                </a:cubicBezTo>
                <a:cubicBezTo>
                  <a:pt x="1244" y="190"/>
                  <a:pt x="1250" y="192"/>
                  <a:pt x="1250" y="268"/>
                </a:cubicBezTo>
                <a:cubicBezTo>
                  <a:pt x="1250" y="336"/>
                  <a:pt x="1250" y="336"/>
                  <a:pt x="1250" y="336"/>
                </a:cubicBezTo>
                <a:cubicBezTo>
                  <a:pt x="1250" y="432"/>
                  <a:pt x="1248" y="432"/>
                  <a:pt x="1202" y="436"/>
                </a:cubicBezTo>
                <a:cubicBezTo>
                  <a:pt x="1178" y="434"/>
                  <a:pt x="1154" y="426"/>
                  <a:pt x="1076" y="338"/>
                </a:cubicBezTo>
                <a:cubicBezTo>
                  <a:pt x="1046" y="302"/>
                  <a:pt x="996" y="244"/>
                  <a:pt x="968" y="206"/>
                </a:cubicBezTo>
                <a:cubicBezTo>
                  <a:pt x="1062" y="102"/>
                  <a:pt x="1062" y="102"/>
                  <a:pt x="1062" y="102"/>
                </a:cubicBezTo>
                <a:cubicBezTo>
                  <a:pt x="1108" y="52"/>
                  <a:pt x="1132" y="26"/>
                  <a:pt x="1176" y="24"/>
                </a:cubicBezTo>
                <a:cubicBezTo>
                  <a:pt x="1176" y="10"/>
                  <a:pt x="1176" y="10"/>
                  <a:pt x="1176" y="10"/>
                </a:cubicBezTo>
                <a:cubicBezTo>
                  <a:pt x="1030" y="10"/>
                  <a:pt x="1030" y="10"/>
                  <a:pt x="1030" y="10"/>
                </a:cubicBezTo>
                <a:cubicBezTo>
                  <a:pt x="1030" y="22"/>
                  <a:pt x="1030" y="22"/>
                  <a:pt x="1030" y="22"/>
                </a:cubicBezTo>
                <a:cubicBezTo>
                  <a:pt x="1050" y="26"/>
                  <a:pt x="1056" y="32"/>
                  <a:pt x="1056" y="46"/>
                </a:cubicBezTo>
                <a:cubicBezTo>
                  <a:pt x="1056" y="56"/>
                  <a:pt x="1054" y="72"/>
                  <a:pt x="1026" y="102"/>
                </a:cubicBezTo>
                <a:cubicBezTo>
                  <a:pt x="910" y="230"/>
                  <a:pt x="910" y="230"/>
                  <a:pt x="910" y="230"/>
                </a:cubicBezTo>
                <a:cubicBezTo>
                  <a:pt x="910" y="148"/>
                  <a:pt x="910" y="148"/>
                  <a:pt x="910" y="148"/>
                </a:cubicBezTo>
                <a:cubicBezTo>
                  <a:pt x="910" y="36"/>
                  <a:pt x="916" y="28"/>
                  <a:pt x="960" y="22"/>
                </a:cubicBezTo>
                <a:cubicBezTo>
                  <a:pt x="960" y="8"/>
                  <a:pt x="960" y="8"/>
                  <a:pt x="960" y="8"/>
                </a:cubicBezTo>
                <a:cubicBezTo>
                  <a:pt x="804" y="8"/>
                  <a:pt x="804" y="8"/>
                  <a:pt x="804" y="8"/>
                </a:cubicBezTo>
                <a:cubicBezTo>
                  <a:pt x="804" y="22"/>
                  <a:pt x="804" y="22"/>
                  <a:pt x="804" y="22"/>
                </a:cubicBezTo>
                <a:cubicBezTo>
                  <a:pt x="852" y="26"/>
                  <a:pt x="854" y="36"/>
                  <a:pt x="854" y="148"/>
                </a:cubicBezTo>
                <a:cubicBezTo>
                  <a:pt x="854" y="300"/>
                  <a:pt x="854" y="300"/>
                  <a:pt x="854" y="300"/>
                </a:cubicBezTo>
                <a:cubicBezTo>
                  <a:pt x="854" y="422"/>
                  <a:pt x="850" y="430"/>
                  <a:pt x="804" y="434"/>
                </a:cubicBezTo>
                <a:cubicBezTo>
                  <a:pt x="804" y="446"/>
                  <a:pt x="804" y="446"/>
                  <a:pt x="804" y="446"/>
                </a:cubicBezTo>
                <a:cubicBezTo>
                  <a:pt x="960" y="446"/>
                  <a:pt x="960" y="446"/>
                  <a:pt x="960" y="446"/>
                </a:cubicBezTo>
                <a:cubicBezTo>
                  <a:pt x="960" y="434"/>
                  <a:pt x="960" y="434"/>
                  <a:pt x="960" y="434"/>
                </a:cubicBezTo>
                <a:cubicBezTo>
                  <a:pt x="910" y="428"/>
                  <a:pt x="910" y="424"/>
                  <a:pt x="910" y="292"/>
                </a:cubicBezTo>
                <a:cubicBezTo>
                  <a:pt x="910" y="268"/>
                  <a:pt x="910" y="268"/>
                  <a:pt x="910" y="268"/>
                </a:cubicBezTo>
                <a:cubicBezTo>
                  <a:pt x="930" y="246"/>
                  <a:pt x="930" y="246"/>
                  <a:pt x="930" y="246"/>
                </a:cubicBezTo>
                <a:cubicBezTo>
                  <a:pt x="982" y="310"/>
                  <a:pt x="1038" y="380"/>
                  <a:pt x="1098" y="448"/>
                </a:cubicBezTo>
                <a:cubicBezTo>
                  <a:pt x="1202" y="448"/>
                  <a:pt x="1202" y="448"/>
                  <a:pt x="1202" y="448"/>
                </a:cubicBezTo>
                <a:close/>
                <a:moveTo>
                  <a:pt x="1564" y="448"/>
                </a:moveTo>
                <a:cubicBezTo>
                  <a:pt x="1706" y="448"/>
                  <a:pt x="1706" y="448"/>
                  <a:pt x="1706" y="448"/>
                </a:cubicBezTo>
                <a:cubicBezTo>
                  <a:pt x="1706" y="436"/>
                  <a:pt x="1706" y="436"/>
                  <a:pt x="1706" y="436"/>
                </a:cubicBezTo>
                <a:cubicBezTo>
                  <a:pt x="1658" y="434"/>
                  <a:pt x="1658" y="432"/>
                  <a:pt x="1658" y="342"/>
                </a:cubicBezTo>
                <a:cubicBezTo>
                  <a:pt x="1658" y="280"/>
                  <a:pt x="1658" y="280"/>
                  <a:pt x="1658" y="280"/>
                </a:cubicBezTo>
                <a:cubicBezTo>
                  <a:pt x="1658" y="198"/>
                  <a:pt x="1612" y="172"/>
                  <a:pt x="1570" y="172"/>
                </a:cubicBezTo>
                <a:cubicBezTo>
                  <a:pt x="1534" y="172"/>
                  <a:pt x="1498" y="188"/>
                  <a:pt x="1470" y="224"/>
                </a:cubicBezTo>
                <a:cubicBezTo>
                  <a:pt x="1470" y="176"/>
                  <a:pt x="1470" y="176"/>
                  <a:pt x="1470" y="176"/>
                </a:cubicBezTo>
                <a:cubicBezTo>
                  <a:pt x="1368" y="176"/>
                  <a:pt x="1368" y="176"/>
                  <a:pt x="1368" y="176"/>
                </a:cubicBezTo>
                <a:cubicBezTo>
                  <a:pt x="1368" y="188"/>
                  <a:pt x="1368" y="188"/>
                  <a:pt x="1368" y="188"/>
                </a:cubicBezTo>
                <a:cubicBezTo>
                  <a:pt x="1412" y="190"/>
                  <a:pt x="1418" y="192"/>
                  <a:pt x="1418" y="268"/>
                </a:cubicBezTo>
                <a:cubicBezTo>
                  <a:pt x="1418" y="336"/>
                  <a:pt x="1418" y="336"/>
                  <a:pt x="1418" y="336"/>
                </a:cubicBezTo>
                <a:cubicBezTo>
                  <a:pt x="1418" y="434"/>
                  <a:pt x="1418" y="434"/>
                  <a:pt x="1370" y="436"/>
                </a:cubicBezTo>
                <a:cubicBezTo>
                  <a:pt x="1370" y="448"/>
                  <a:pt x="1370" y="448"/>
                  <a:pt x="1370" y="448"/>
                </a:cubicBezTo>
                <a:cubicBezTo>
                  <a:pt x="1514" y="448"/>
                  <a:pt x="1514" y="448"/>
                  <a:pt x="1514" y="448"/>
                </a:cubicBezTo>
                <a:cubicBezTo>
                  <a:pt x="1514" y="436"/>
                  <a:pt x="1514" y="436"/>
                  <a:pt x="1514" y="436"/>
                </a:cubicBezTo>
                <a:cubicBezTo>
                  <a:pt x="1472" y="432"/>
                  <a:pt x="1470" y="434"/>
                  <a:pt x="1470" y="338"/>
                </a:cubicBezTo>
                <a:cubicBezTo>
                  <a:pt x="1470" y="262"/>
                  <a:pt x="1470" y="262"/>
                  <a:pt x="1470" y="262"/>
                </a:cubicBezTo>
                <a:cubicBezTo>
                  <a:pt x="1470" y="236"/>
                  <a:pt x="1504" y="206"/>
                  <a:pt x="1546" y="206"/>
                </a:cubicBezTo>
                <a:cubicBezTo>
                  <a:pt x="1580" y="206"/>
                  <a:pt x="1606" y="220"/>
                  <a:pt x="1606" y="286"/>
                </a:cubicBezTo>
                <a:cubicBezTo>
                  <a:pt x="1606" y="340"/>
                  <a:pt x="1606" y="340"/>
                  <a:pt x="1606" y="340"/>
                </a:cubicBezTo>
                <a:cubicBezTo>
                  <a:pt x="1606" y="432"/>
                  <a:pt x="1602" y="432"/>
                  <a:pt x="1564" y="434"/>
                </a:cubicBezTo>
                <a:lnTo>
                  <a:pt x="1564" y="448"/>
                </a:lnTo>
                <a:close/>
                <a:moveTo>
                  <a:pt x="1776" y="222"/>
                </a:moveTo>
                <a:cubicBezTo>
                  <a:pt x="1776" y="200"/>
                  <a:pt x="1796" y="188"/>
                  <a:pt x="1822" y="188"/>
                </a:cubicBezTo>
                <a:cubicBezTo>
                  <a:pt x="1874" y="188"/>
                  <a:pt x="1896" y="236"/>
                  <a:pt x="1900" y="252"/>
                </a:cubicBezTo>
                <a:cubicBezTo>
                  <a:pt x="1912" y="252"/>
                  <a:pt x="1912" y="252"/>
                  <a:pt x="1912" y="252"/>
                </a:cubicBezTo>
                <a:cubicBezTo>
                  <a:pt x="1912" y="212"/>
                  <a:pt x="1908" y="188"/>
                  <a:pt x="1904" y="184"/>
                </a:cubicBezTo>
                <a:cubicBezTo>
                  <a:pt x="1900" y="180"/>
                  <a:pt x="1862" y="170"/>
                  <a:pt x="1824" y="170"/>
                </a:cubicBezTo>
                <a:cubicBezTo>
                  <a:pt x="1768" y="170"/>
                  <a:pt x="1734" y="206"/>
                  <a:pt x="1734" y="248"/>
                </a:cubicBezTo>
                <a:cubicBezTo>
                  <a:pt x="1734" y="340"/>
                  <a:pt x="1890" y="322"/>
                  <a:pt x="1890" y="396"/>
                </a:cubicBezTo>
                <a:cubicBezTo>
                  <a:pt x="1890" y="422"/>
                  <a:pt x="1866" y="436"/>
                  <a:pt x="1826" y="436"/>
                </a:cubicBezTo>
                <a:cubicBezTo>
                  <a:pt x="1788" y="436"/>
                  <a:pt x="1754" y="416"/>
                  <a:pt x="1744" y="366"/>
                </a:cubicBezTo>
                <a:cubicBezTo>
                  <a:pt x="1728" y="366"/>
                  <a:pt x="1728" y="366"/>
                  <a:pt x="1728" y="366"/>
                </a:cubicBezTo>
                <a:cubicBezTo>
                  <a:pt x="1728" y="386"/>
                  <a:pt x="1732" y="422"/>
                  <a:pt x="1734" y="428"/>
                </a:cubicBezTo>
                <a:cubicBezTo>
                  <a:pt x="1744" y="446"/>
                  <a:pt x="1788" y="454"/>
                  <a:pt x="1824" y="454"/>
                </a:cubicBezTo>
                <a:cubicBezTo>
                  <a:pt x="1888" y="454"/>
                  <a:pt x="1928" y="416"/>
                  <a:pt x="1928" y="372"/>
                </a:cubicBezTo>
                <a:cubicBezTo>
                  <a:pt x="1932" y="270"/>
                  <a:pt x="1776" y="286"/>
                  <a:pt x="1776" y="222"/>
                </a:cubicBezTo>
                <a:moveTo>
                  <a:pt x="2030" y="270"/>
                </a:moveTo>
                <a:cubicBezTo>
                  <a:pt x="2034" y="220"/>
                  <a:pt x="2058" y="192"/>
                  <a:pt x="2102" y="192"/>
                </a:cubicBezTo>
                <a:cubicBezTo>
                  <a:pt x="2144" y="192"/>
                  <a:pt x="2170" y="220"/>
                  <a:pt x="2172" y="270"/>
                </a:cubicBezTo>
                <a:lnTo>
                  <a:pt x="2030" y="270"/>
                </a:lnTo>
                <a:close/>
                <a:moveTo>
                  <a:pt x="2030" y="290"/>
                </a:moveTo>
                <a:cubicBezTo>
                  <a:pt x="2222" y="290"/>
                  <a:pt x="2222" y="290"/>
                  <a:pt x="2222" y="290"/>
                </a:cubicBezTo>
                <a:cubicBezTo>
                  <a:pt x="2226" y="228"/>
                  <a:pt x="2192" y="168"/>
                  <a:pt x="2114" y="168"/>
                </a:cubicBezTo>
                <a:cubicBezTo>
                  <a:pt x="2034" y="168"/>
                  <a:pt x="1982" y="232"/>
                  <a:pt x="1982" y="320"/>
                </a:cubicBezTo>
                <a:cubicBezTo>
                  <a:pt x="1982" y="388"/>
                  <a:pt x="2018" y="456"/>
                  <a:pt x="2112" y="456"/>
                </a:cubicBezTo>
                <a:cubicBezTo>
                  <a:pt x="2150" y="456"/>
                  <a:pt x="2198" y="440"/>
                  <a:pt x="2224" y="412"/>
                </a:cubicBezTo>
                <a:cubicBezTo>
                  <a:pt x="2218" y="400"/>
                  <a:pt x="2218" y="400"/>
                  <a:pt x="2218" y="400"/>
                </a:cubicBezTo>
                <a:cubicBezTo>
                  <a:pt x="2192" y="416"/>
                  <a:pt x="2164" y="422"/>
                  <a:pt x="2138" y="422"/>
                </a:cubicBezTo>
                <a:cubicBezTo>
                  <a:pt x="2058" y="420"/>
                  <a:pt x="2028" y="352"/>
                  <a:pt x="2030" y="290"/>
                </a:cubicBezTo>
                <a:moveTo>
                  <a:pt x="2478" y="242"/>
                </a:moveTo>
                <a:cubicBezTo>
                  <a:pt x="2490" y="206"/>
                  <a:pt x="2510" y="192"/>
                  <a:pt x="2528" y="192"/>
                </a:cubicBezTo>
                <a:cubicBezTo>
                  <a:pt x="2528" y="180"/>
                  <a:pt x="2528" y="180"/>
                  <a:pt x="2528" y="180"/>
                </a:cubicBezTo>
                <a:cubicBezTo>
                  <a:pt x="2430" y="180"/>
                  <a:pt x="2430" y="180"/>
                  <a:pt x="2430" y="180"/>
                </a:cubicBezTo>
                <a:cubicBezTo>
                  <a:pt x="2430" y="192"/>
                  <a:pt x="2430" y="192"/>
                  <a:pt x="2430" y="192"/>
                </a:cubicBezTo>
                <a:cubicBezTo>
                  <a:pt x="2454" y="194"/>
                  <a:pt x="2466" y="206"/>
                  <a:pt x="2458" y="234"/>
                </a:cubicBezTo>
                <a:cubicBezTo>
                  <a:pt x="2406" y="390"/>
                  <a:pt x="2406" y="390"/>
                  <a:pt x="2406" y="390"/>
                </a:cubicBezTo>
                <a:cubicBezTo>
                  <a:pt x="2354" y="270"/>
                  <a:pt x="2354" y="270"/>
                  <a:pt x="2354" y="270"/>
                </a:cubicBezTo>
                <a:cubicBezTo>
                  <a:pt x="2340" y="238"/>
                  <a:pt x="2334" y="224"/>
                  <a:pt x="2334" y="212"/>
                </a:cubicBezTo>
                <a:cubicBezTo>
                  <a:pt x="2334" y="202"/>
                  <a:pt x="2340" y="196"/>
                  <a:pt x="2360" y="192"/>
                </a:cubicBezTo>
                <a:cubicBezTo>
                  <a:pt x="2360" y="180"/>
                  <a:pt x="2360" y="180"/>
                  <a:pt x="2360" y="180"/>
                </a:cubicBezTo>
                <a:cubicBezTo>
                  <a:pt x="2234" y="180"/>
                  <a:pt x="2234" y="180"/>
                  <a:pt x="2234" y="180"/>
                </a:cubicBezTo>
                <a:cubicBezTo>
                  <a:pt x="2234" y="192"/>
                  <a:pt x="2234" y="192"/>
                  <a:pt x="2234" y="192"/>
                </a:cubicBezTo>
                <a:cubicBezTo>
                  <a:pt x="2266" y="194"/>
                  <a:pt x="2268" y="198"/>
                  <a:pt x="2310" y="292"/>
                </a:cubicBezTo>
                <a:cubicBezTo>
                  <a:pt x="2382" y="450"/>
                  <a:pt x="2382" y="450"/>
                  <a:pt x="2382" y="450"/>
                </a:cubicBezTo>
                <a:cubicBezTo>
                  <a:pt x="2358" y="512"/>
                  <a:pt x="2320" y="546"/>
                  <a:pt x="2242" y="564"/>
                </a:cubicBezTo>
                <a:cubicBezTo>
                  <a:pt x="2246" y="576"/>
                  <a:pt x="2260" y="600"/>
                  <a:pt x="2268" y="606"/>
                </a:cubicBezTo>
                <a:cubicBezTo>
                  <a:pt x="2370" y="564"/>
                  <a:pt x="2390" y="498"/>
                  <a:pt x="2426" y="396"/>
                </a:cubicBezTo>
                <a:lnTo>
                  <a:pt x="2478" y="242"/>
                </a:lnTo>
                <a:close/>
                <a:moveTo>
                  <a:pt x="2844" y="394"/>
                </a:moveTo>
                <a:cubicBezTo>
                  <a:pt x="2822" y="412"/>
                  <a:pt x="2782" y="416"/>
                  <a:pt x="2750" y="416"/>
                </a:cubicBezTo>
                <a:cubicBezTo>
                  <a:pt x="2670" y="416"/>
                  <a:pt x="2606" y="360"/>
                  <a:pt x="2606" y="284"/>
                </a:cubicBezTo>
                <a:cubicBezTo>
                  <a:pt x="2606" y="236"/>
                  <a:pt x="2626" y="206"/>
                  <a:pt x="2658" y="198"/>
                </a:cubicBezTo>
                <a:cubicBezTo>
                  <a:pt x="2698" y="266"/>
                  <a:pt x="2770" y="338"/>
                  <a:pt x="2844" y="394"/>
                </a:cubicBezTo>
                <a:moveTo>
                  <a:pt x="2928" y="448"/>
                </a:moveTo>
                <a:cubicBezTo>
                  <a:pt x="3022" y="448"/>
                  <a:pt x="3022" y="448"/>
                  <a:pt x="3022" y="448"/>
                </a:cubicBezTo>
                <a:cubicBezTo>
                  <a:pt x="3022" y="436"/>
                  <a:pt x="3022" y="436"/>
                  <a:pt x="3022" y="436"/>
                </a:cubicBezTo>
                <a:cubicBezTo>
                  <a:pt x="2992" y="432"/>
                  <a:pt x="2946" y="408"/>
                  <a:pt x="2896" y="372"/>
                </a:cubicBezTo>
                <a:cubicBezTo>
                  <a:pt x="2914" y="342"/>
                  <a:pt x="2918" y="300"/>
                  <a:pt x="2922" y="270"/>
                </a:cubicBezTo>
                <a:cubicBezTo>
                  <a:pt x="2926" y="244"/>
                  <a:pt x="2946" y="244"/>
                  <a:pt x="2958" y="242"/>
                </a:cubicBezTo>
                <a:cubicBezTo>
                  <a:pt x="2958" y="230"/>
                  <a:pt x="2958" y="230"/>
                  <a:pt x="2958" y="230"/>
                </a:cubicBezTo>
                <a:cubicBezTo>
                  <a:pt x="2834" y="230"/>
                  <a:pt x="2834" y="230"/>
                  <a:pt x="2834" y="230"/>
                </a:cubicBezTo>
                <a:cubicBezTo>
                  <a:pt x="2834" y="242"/>
                  <a:pt x="2834" y="242"/>
                  <a:pt x="2834" y="242"/>
                </a:cubicBezTo>
                <a:cubicBezTo>
                  <a:pt x="2864" y="246"/>
                  <a:pt x="2892" y="250"/>
                  <a:pt x="2892" y="294"/>
                </a:cubicBezTo>
                <a:cubicBezTo>
                  <a:pt x="2892" y="318"/>
                  <a:pt x="2888" y="342"/>
                  <a:pt x="2878" y="358"/>
                </a:cubicBezTo>
                <a:cubicBezTo>
                  <a:pt x="2770" y="274"/>
                  <a:pt x="2670" y="156"/>
                  <a:pt x="2670" y="96"/>
                </a:cubicBezTo>
                <a:cubicBezTo>
                  <a:pt x="2670" y="66"/>
                  <a:pt x="2688" y="54"/>
                  <a:pt x="2716" y="54"/>
                </a:cubicBezTo>
                <a:cubicBezTo>
                  <a:pt x="2752" y="54"/>
                  <a:pt x="2784" y="78"/>
                  <a:pt x="2800" y="124"/>
                </a:cubicBezTo>
                <a:cubicBezTo>
                  <a:pt x="2812" y="124"/>
                  <a:pt x="2812" y="124"/>
                  <a:pt x="2812" y="124"/>
                </a:cubicBezTo>
                <a:cubicBezTo>
                  <a:pt x="2810" y="42"/>
                  <a:pt x="2810" y="42"/>
                  <a:pt x="2810" y="42"/>
                </a:cubicBezTo>
                <a:cubicBezTo>
                  <a:pt x="2798" y="42"/>
                  <a:pt x="2798" y="42"/>
                  <a:pt x="2798" y="42"/>
                </a:cubicBezTo>
                <a:cubicBezTo>
                  <a:pt x="2798" y="48"/>
                  <a:pt x="2792" y="52"/>
                  <a:pt x="2788" y="52"/>
                </a:cubicBezTo>
                <a:cubicBezTo>
                  <a:pt x="2772" y="52"/>
                  <a:pt x="2752" y="36"/>
                  <a:pt x="2714" y="36"/>
                </a:cubicBezTo>
                <a:cubicBezTo>
                  <a:pt x="2672" y="36"/>
                  <a:pt x="2630" y="62"/>
                  <a:pt x="2630" y="118"/>
                </a:cubicBezTo>
                <a:cubicBezTo>
                  <a:pt x="2630" y="140"/>
                  <a:pt x="2636" y="160"/>
                  <a:pt x="2648" y="182"/>
                </a:cubicBezTo>
                <a:cubicBezTo>
                  <a:pt x="2592" y="200"/>
                  <a:pt x="2562" y="248"/>
                  <a:pt x="2562" y="304"/>
                </a:cubicBezTo>
                <a:cubicBezTo>
                  <a:pt x="2562" y="406"/>
                  <a:pt x="2640" y="460"/>
                  <a:pt x="2726" y="460"/>
                </a:cubicBezTo>
                <a:cubicBezTo>
                  <a:pt x="2780" y="460"/>
                  <a:pt x="2824" y="444"/>
                  <a:pt x="2862" y="410"/>
                </a:cubicBezTo>
                <a:cubicBezTo>
                  <a:pt x="2888" y="424"/>
                  <a:pt x="2912" y="442"/>
                  <a:pt x="2928" y="448"/>
                </a:cubicBezTo>
                <a:moveTo>
                  <a:pt x="3094" y="212"/>
                </a:moveTo>
                <a:cubicBezTo>
                  <a:pt x="3094" y="88"/>
                  <a:pt x="3154" y="20"/>
                  <a:pt x="3252" y="20"/>
                </a:cubicBezTo>
                <a:cubicBezTo>
                  <a:pt x="3328" y="20"/>
                  <a:pt x="3372" y="58"/>
                  <a:pt x="3392" y="134"/>
                </a:cubicBezTo>
                <a:cubicBezTo>
                  <a:pt x="3404" y="134"/>
                  <a:pt x="3404" y="134"/>
                  <a:pt x="3404" y="134"/>
                </a:cubicBezTo>
                <a:cubicBezTo>
                  <a:pt x="3400" y="4"/>
                  <a:pt x="3400" y="4"/>
                  <a:pt x="3400" y="4"/>
                </a:cubicBezTo>
                <a:cubicBezTo>
                  <a:pt x="3388" y="4"/>
                  <a:pt x="3388" y="4"/>
                  <a:pt x="3388" y="4"/>
                </a:cubicBezTo>
                <a:cubicBezTo>
                  <a:pt x="3384" y="14"/>
                  <a:pt x="3376" y="18"/>
                  <a:pt x="3364" y="18"/>
                </a:cubicBezTo>
                <a:cubicBezTo>
                  <a:pt x="3338" y="18"/>
                  <a:pt x="3314" y="0"/>
                  <a:pt x="3248" y="0"/>
                </a:cubicBezTo>
                <a:cubicBezTo>
                  <a:pt x="3118" y="0"/>
                  <a:pt x="3030" y="102"/>
                  <a:pt x="3030" y="242"/>
                </a:cubicBezTo>
                <a:cubicBezTo>
                  <a:pt x="3030" y="376"/>
                  <a:pt x="3110" y="460"/>
                  <a:pt x="3238" y="460"/>
                </a:cubicBezTo>
                <a:cubicBezTo>
                  <a:pt x="3320" y="460"/>
                  <a:pt x="3384" y="420"/>
                  <a:pt x="3408" y="380"/>
                </a:cubicBezTo>
                <a:cubicBezTo>
                  <a:pt x="3396" y="366"/>
                  <a:pt x="3396" y="366"/>
                  <a:pt x="3396" y="366"/>
                </a:cubicBezTo>
                <a:cubicBezTo>
                  <a:pt x="3370" y="402"/>
                  <a:pt x="3314" y="426"/>
                  <a:pt x="3256" y="426"/>
                </a:cubicBezTo>
                <a:cubicBezTo>
                  <a:pt x="3156" y="426"/>
                  <a:pt x="3094" y="340"/>
                  <a:pt x="3094" y="212"/>
                </a:cubicBezTo>
                <a:moveTo>
                  <a:pt x="3678" y="328"/>
                </a:moveTo>
                <a:cubicBezTo>
                  <a:pt x="3678" y="392"/>
                  <a:pt x="3650" y="430"/>
                  <a:pt x="3592" y="430"/>
                </a:cubicBezTo>
                <a:cubicBezTo>
                  <a:pt x="3542" y="430"/>
                  <a:pt x="3496" y="384"/>
                  <a:pt x="3496" y="292"/>
                </a:cubicBezTo>
                <a:cubicBezTo>
                  <a:pt x="3496" y="226"/>
                  <a:pt x="3528" y="190"/>
                  <a:pt x="3580" y="190"/>
                </a:cubicBezTo>
                <a:cubicBezTo>
                  <a:pt x="3628" y="192"/>
                  <a:pt x="3678" y="238"/>
                  <a:pt x="3678" y="328"/>
                </a:cubicBezTo>
                <a:moveTo>
                  <a:pt x="3732" y="312"/>
                </a:moveTo>
                <a:cubicBezTo>
                  <a:pt x="3732" y="260"/>
                  <a:pt x="3710" y="214"/>
                  <a:pt x="3672" y="190"/>
                </a:cubicBezTo>
                <a:cubicBezTo>
                  <a:pt x="3650" y="176"/>
                  <a:pt x="3620" y="168"/>
                  <a:pt x="3588" y="168"/>
                </a:cubicBezTo>
                <a:cubicBezTo>
                  <a:pt x="3502" y="168"/>
                  <a:pt x="3442" y="230"/>
                  <a:pt x="3442" y="310"/>
                </a:cubicBezTo>
                <a:cubicBezTo>
                  <a:pt x="3442" y="364"/>
                  <a:pt x="3464" y="408"/>
                  <a:pt x="3502" y="432"/>
                </a:cubicBezTo>
                <a:cubicBezTo>
                  <a:pt x="3524" y="446"/>
                  <a:pt x="3554" y="452"/>
                  <a:pt x="3586" y="452"/>
                </a:cubicBezTo>
                <a:cubicBezTo>
                  <a:pt x="3672" y="454"/>
                  <a:pt x="3732" y="394"/>
                  <a:pt x="3732" y="312"/>
                </a:cubicBezTo>
                <a:moveTo>
                  <a:pt x="4136" y="448"/>
                </a:moveTo>
                <a:cubicBezTo>
                  <a:pt x="4280" y="448"/>
                  <a:pt x="4280" y="448"/>
                  <a:pt x="4280" y="448"/>
                </a:cubicBezTo>
                <a:cubicBezTo>
                  <a:pt x="4280" y="436"/>
                  <a:pt x="4280" y="436"/>
                  <a:pt x="4280" y="436"/>
                </a:cubicBezTo>
                <a:cubicBezTo>
                  <a:pt x="4230" y="434"/>
                  <a:pt x="4232" y="426"/>
                  <a:pt x="4232" y="348"/>
                </a:cubicBezTo>
                <a:cubicBezTo>
                  <a:pt x="4232" y="276"/>
                  <a:pt x="4232" y="276"/>
                  <a:pt x="4232" y="276"/>
                </a:cubicBezTo>
                <a:cubicBezTo>
                  <a:pt x="4232" y="200"/>
                  <a:pt x="4190" y="172"/>
                  <a:pt x="4142" y="172"/>
                </a:cubicBezTo>
                <a:cubicBezTo>
                  <a:pt x="4098" y="172"/>
                  <a:pt x="4064" y="196"/>
                  <a:pt x="4038" y="232"/>
                </a:cubicBezTo>
                <a:cubicBezTo>
                  <a:pt x="4028" y="194"/>
                  <a:pt x="4000" y="172"/>
                  <a:pt x="3954" y="172"/>
                </a:cubicBezTo>
                <a:cubicBezTo>
                  <a:pt x="3916" y="172"/>
                  <a:pt x="3880" y="196"/>
                  <a:pt x="3858" y="224"/>
                </a:cubicBezTo>
                <a:cubicBezTo>
                  <a:pt x="3858" y="176"/>
                  <a:pt x="3858" y="176"/>
                  <a:pt x="3858" y="176"/>
                </a:cubicBezTo>
                <a:cubicBezTo>
                  <a:pt x="3756" y="176"/>
                  <a:pt x="3756" y="176"/>
                  <a:pt x="3756" y="176"/>
                </a:cubicBezTo>
                <a:cubicBezTo>
                  <a:pt x="3756" y="188"/>
                  <a:pt x="3756" y="188"/>
                  <a:pt x="3756" y="188"/>
                </a:cubicBezTo>
                <a:cubicBezTo>
                  <a:pt x="3800" y="190"/>
                  <a:pt x="3806" y="192"/>
                  <a:pt x="3806" y="268"/>
                </a:cubicBezTo>
                <a:cubicBezTo>
                  <a:pt x="3806" y="346"/>
                  <a:pt x="3806" y="346"/>
                  <a:pt x="3806" y="346"/>
                </a:cubicBezTo>
                <a:cubicBezTo>
                  <a:pt x="3806" y="434"/>
                  <a:pt x="3804" y="434"/>
                  <a:pt x="3758" y="434"/>
                </a:cubicBezTo>
                <a:cubicBezTo>
                  <a:pt x="3758" y="446"/>
                  <a:pt x="3758" y="446"/>
                  <a:pt x="3758" y="446"/>
                </a:cubicBezTo>
                <a:cubicBezTo>
                  <a:pt x="3902" y="446"/>
                  <a:pt x="3902" y="446"/>
                  <a:pt x="3902" y="446"/>
                </a:cubicBezTo>
                <a:cubicBezTo>
                  <a:pt x="3902" y="434"/>
                  <a:pt x="3902" y="434"/>
                  <a:pt x="3902" y="434"/>
                </a:cubicBezTo>
                <a:cubicBezTo>
                  <a:pt x="3862" y="430"/>
                  <a:pt x="3858" y="430"/>
                  <a:pt x="3858" y="342"/>
                </a:cubicBezTo>
                <a:cubicBezTo>
                  <a:pt x="3858" y="262"/>
                  <a:pt x="3858" y="262"/>
                  <a:pt x="3858" y="262"/>
                </a:cubicBezTo>
                <a:cubicBezTo>
                  <a:pt x="3858" y="234"/>
                  <a:pt x="3894" y="204"/>
                  <a:pt x="3932" y="204"/>
                </a:cubicBezTo>
                <a:cubicBezTo>
                  <a:pt x="3974" y="204"/>
                  <a:pt x="3990" y="226"/>
                  <a:pt x="3990" y="282"/>
                </a:cubicBezTo>
                <a:cubicBezTo>
                  <a:pt x="3990" y="338"/>
                  <a:pt x="3990" y="338"/>
                  <a:pt x="3990" y="338"/>
                </a:cubicBezTo>
                <a:cubicBezTo>
                  <a:pt x="3990" y="428"/>
                  <a:pt x="3988" y="432"/>
                  <a:pt x="3950" y="436"/>
                </a:cubicBezTo>
                <a:cubicBezTo>
                  <a:pt x="3950" y="448"/>
                  <a:pt x="3950" y="448"/>
                  <a:pt x="3950" y="448"/>
                </a:cubicBezTo>
                <a:cubicBezTo>
                  <a:pt x="4086" y="448"/>
                  <a:pt x="4086" y="448"/>
                  <a:pt x="4086" y="448"/>
                </a:cubicBezTo>
                <a:cubicBezTo>
                  <a:pt x="4086" y="436"/>
                  <a:pt x="4086" y="436"/>
                  <a:pt x="4086" y="436"/>
                </a:cubicBezTo>
                <a:cubicBezTo>
                  <a:pt x="4040" y="432"/>
                  <a:pt x="4042" y="428"/>
                  <a:pt x="4042" y="342"/>
                </a:cubicBezTo>
                <a:cubicBezTo>
                  <a:pt x="4042" y="264"/>
                  <a:pt x="4042" y="264"/>
                  <a:pt x="4042" y="264"/>
                </a:cubicBezTo>
                <a:cubicBezTo>
                  <a:pt x="4042" y="236"/>
                  <a:pt x="4078" y="206"/>
                  <a:pt x="4118" y="206"/>
                </a:cubicBezTo>
                <a:cubicBezTo>
                  <a:pt x="4152" y="206"/>
                  <a:pt x="4174" y="226"/>
                  <a:pt x="4174" y="284"/>
                </a:cubicBezTo>
                <a:cubicBezTo>
                  <a:pt x="4174" y="346"/>
                  <a:pt x="4174" y="346"/>
                  <a:pt x="4174" y="346"/>
                </a:cubicBezTo>
                <a:cubicBezTo>
                  <a:pt x="4174" y="428"/>
                  <a:pt x="4174" y="432"/>
                  <a:pt x="4134" y="436"/>
                </a:cubicBezTo>
                <a:cubicBezTo>
                  <a:pt x="4134" y="448"/>
                  <a:pt x="4134" y="448"/>
                  <a:pt x="4134" y="448"/>
                </a:cubicBezTo>
                <a:lnTo>
                  <a:pt x="4136" y="448"/>
                </a:lnTo>
                <a:close/>
                <a:moveTo>
                  <a:pt x="4546" y="316"/>
                </a:moveTo>
                <a:cubicBezTo>
                  <a:pt x="4546" y="388"/>
                  <a:pt x="4516" y="432"/>
                  <a:pt x="4460" y="432"/>
                </a:cubicBezTo>
                <a:cubicBezTo>
                  <a:pt x="4424" y="432"/>
                  <a:pt x="4384" y="412"/>
                  <a:pt x="4384" y="384"/>
                </a:cubicBezTo>
                <a:cubicBezTo>
                  <a:pt x="4384" y="248"/>
                  <a:pt x="4384" y="248"/>
                  <a:pt x="4384" y="248"/>
                </a:cubicBezTo>
                <a:cubicBezTo>
                  <a:pt x="4384" y="226"/>
                  <a:pt x="4416" y="202"/>
                  <a:pt x="4454" y="202"/>
                </a:cubicBezTo>
                <a:cubicBezTo>
                  <a:pt x="4510" y="206"/>
                  <a:pt x="4546" y="248"/>
                  <a:pt x="4546" y="316"/>
                </a:cubicBezTo>
                <a:moveTo>
                  <a:pt x="4600" y="310"/>
                </a:moveTo>
                <a:cubicBezTo>
                  <a:pt x="4600" y="230"/>
                  <a:pt x="4548" y="170"/>
                  <a:pt x="4478" y="170"/>
                </a:cubicBezTo>
                <a:cubicBezTo>
                  <a:pt x="4438" y="170"/>
                  <a:pt x="4406" y="188"/>
                  <a:pt x="4384" y="214"/>
                </a:cubicBezTo>
                <a:cubicBezTo>
                  <a:pt x="4384" y="174"/>
                  <a:pt x="4384" y="174"/>
                  <a:pt x="4384" y="174"/>
                </a:cubicBezTo>
                <a:cubicBezTo>
                  <a:pt x="4284" y="174"/>
                  <a:pt x="4284" y="174"/>
                  <a:pt x="4284" y="174"/>
                </a:cubicBezTo>
                <a:cubicBezTo>
                  <a:pt x="4284" y="186"/>
                  <a:pt x="4284" y="186"/>
                  <a:pt x="4284" y="186"/>
                </a:cubicBezTo>
                <a:cubicBezTo>
                  <a:pt x="4326" y="188"/>
                  <a:pt x="4332" y="190"/>
                  <a:pt x="4332" y="280"/>
                </a:cubicBezTo>
                <a:cubicBezTo>
                  <a:pt x="4332" y="466"/>
                  <a:pt x="4332" y="466"/>
                  <a:pt x="4332" y="466"/>
                </a:cubicBezTo>
                <a:cubicBezTo>
                  <a:pt x="4332" y="564"/>
                  <a:pt x="4334" y="570"/>
                  <a:pt x="4286" y="574"/>
                </a:cubicBezTo>
                <a:cubicBezTo>
                  <a:pt x="4286" y="588"/>
                  <a:pt x="4286" y="588"/>
                  <a:pt x="4286" y="588"/>
                </a:cubicBezTo>
                <a:cubicBezTo>
                  <a:pt x="4432" y="588"/>
                  <a:pt x="4432" y="588"/>
                  <a:pt x="4432" y="588"/>
                </a:cubicBezTo>
                <a:cubicBezTo>
                  <a:pt x="4432" y="574"/>
                  <a:pt x="4432" y="574"/>
                  <a:pt x="4432" y="574"/>
                </a:cubicBezTo>
                <a:cubicBezTo>
                  <a:pt x="4380" y="572"/>
                  <a:pt x="4384" y="564"/>
                  <a:pt x="4384" y="462"/>
                </a:cubicBezTo>
                <a:cubicBezTo>
                  <a:pt x="4384" y="424"/>
                  <a:pt x="4384" y="424"/>
                  <a:pt x="4384" y="424"/>
                </a:cubicBezTo>
                <a:cubicBezTo>
                  <a:pt x="4404" y="444"/>
                  <a:pt x="4436" y="454"/>
                  <a:pt x="4466" y="454"/>
                </a:cubicBezTo>
                <a:cubicBezTo>
                  <a:pt x="4548" y="454"/>
                  <a:pt x="4600" y="392"/>
                  <a:pt x="4600" y="310"/>
                </a:cubicBezTo>
                <a:moveTo>
                  <a:pt x="4792" y="382"/>
                </a:moveTo>
                <a:cubicBezTo>
                  <a:pt x="4792" y="404"/>
                  <a:pt x="4762" y="424"/>
                  <a:pt x="4736" y="424"/>
                </a:cubicBezTo>
                <a:cubicBezTo>
                  <a:pt x="4712" y="424"/>
                  <a:pt x="4694" y="410"/>
                  <a:pt x="4694" y="378"/>
                </a:cubicBezTo>
                <a:cubicBezTo>
                  <a:pt x="4694" y="322"/>
                  <a:pt x="4752" y="328"/>
                  <a:pt x="4792" y="306"/>
                </a:cubicBezTo>
                <a:cubicBezTo>
                  <a:pt x="4792" y="382"/>
                  <a:pt x="4792" y="382"/>
                  <a:pt x="4792" y="382"/>
                </a:cubicBezTo>
                <a:close/>
                <a:moveTo>
                  <a:pt x="5240" y="434"/>
                </a:moveTo>
                <a:cubicBezTo>
                  <a:pt x="5192" y="432"/>
                  <a:pt x="5192" y="430"/>
                  <a:pt x="5192" y="340"/>
                </a:cubicBezTo>
                <a:cubicBezTo>
                  <a:pt x="5192" y="278"/>
                  <a:pt x="5192" y="278"/>
                  <a:pt x="5192" y="278"/>
                </a:cubicBezTo>
                <a:cubicBezTo>
                  <a:pt x="5192" y="196"/>
                  <a:pt x="5146" y="170"/>
                  <a:pt x="5104" y="170"/>
                </a:cubicBezTo>
                <a:cubicBezTo>
                  <a:pt x="5068" y="170"/>
                  <a:pt x="5032" y="186"/>
                  <a:pt x="5004" y="222"/>
                </a:cubicBezTo>
                <a:cubicBezTo>
                  <a:pt x="5004" y="174"/>
                  <a:pt x="5004" y="174"/>
                  <a:pt x="5004" y="174"/>
                </a:cubicBezTo>
                <a:cubicBezTo>
                  <a:pt x="4902" y="174"/>
                  <a:pt x="4902" y="174"/>
                  <a:pt x="4902" y="174"/>
                </a:cubicBezTo>
                <a:cubicBezTo>
                  <a:pt x="4902" y="186"/>
                  <a:pt x="4902" y="186"/>
                  <a:pt x="4902" y="186"/>
                </a:cubicBezTo>
                <a:cubicBezTo>
                  <a:pt x="4946" y="188"/>
                  <a:pt x="4952" y="190"/>
                  <a:pt x="4952" y="266"/>
                </a:cubicBezTo>
                <a:cubicBezTo>
                  <a:pt x="4952" y="334"/>
                  <a:pt x="4952" y="334"/>
                  <a:pt x="4952" y="334"/>
                </a:cubicBezTo>
                <a:cubicBezTo>
                  <a:pt x="4952" y="430"/>
                  <a:pt x="4952" y="432"/>
                  <a:pt x="4904" y="434"/>
                </a:cubicBezTo>
                <a:cubicBezTo>
                  <a:pt x="4892" y="434"/>
                  <a:pt x="4892" y="434"/>
                  <a:pt x="4892" y="434"/>
                </a:cubicBezTo>
                <a:cubicBezTo>
                  <a:pt x="4854" y="434"/>
                  <a:pt x="4850" y="422"/>
                  <a:pt x="4850" y="366"/>
                </a:cubicBezTo>
                <a:cubicBezTo>
                  <a:pt x="4850" y="274"/>
                  <a:pt x="4850" y="274"/>
                  <a:pt x="4850" y="274"/>
                </a:cubicBezTo>
                <a:cubicBezTo>
                  <a:pt x="4850" y="256"/>
                  <a:pt x="4848" y="240"/>
                  <a:pt x="4844" y="228"/>
                </a:cubicBezTo>
                <a:cubicBezTo>
                  <a:pt x="4830" y="186"/>
                  <a:pt x="4796" y="170"/>
                  <a:pt x="4748" y="170"/>
                </a:cubicBezTo>
                <a:cubicBezTo>
                  <a:pt x="4718" y="170"/>
                  <a:pt x="4674" y="180"/>
                  <a:pt x="4650" y="202"/>
                </a:cubicBezTo>
                <a:cubicBezTo>
                  <a:pt x="4652" y="214"/>
                  <a:pt x="4664" y="240"/>
                  <a:pt x="4670" y="248"/>
                </a:cubicBezTo>
                <a:cubicBezTo>
                  <a:pt x="4676" y="246"/>
                  <a:pt x="4676" y="246"/>
                  <a:pt x="4676" y="246"/>
                </a:cubicBezTo>
                <a:cubicBezTo>
                  <a:pt x="4688" y="216"/>
                  <a:pt x="4708" y="194"/>
                  <a:pt x="4742" y="194"/>
                </a:cubicBezTo>
                <a:cubicBezTo>
                  <a:pt x="4778" y="194"/>
                  <a:pt x="4794" y="220"/>
                  <a:pt x="4794" y="250"/>
                </a:cubicBezTo>
                <a:cubicBezTo>
                  <a:pt x="4794" y="282"/>
                  <a:pt x="4794" y="282"/>
                  <a:pt x="4794" y="282"/>
                </a:cubicBezTo>
                <a:cubicBezTo>
                  <a:pt x="4794" y="302"/>
                  <a:pt x="4702" y="306"/>
                  <a:pt x="4664" y="338"/>
                </a:cubicBezTo>
                <a:cubicBezTo>
                  <a:pt x="4652" y="350"/>
                  <a:pt x="4642" y="364"/>
                  <a:pt x="4642" y="384"/>
                </a:cubicBezTo>
                <a:cubicBezTo>
                  <a:pt x="4642" y="426"/>
                  <a:pt x="4672" y="456"/>
                  <a:pt x="4716" y="456"/>
                </a:cubicBezTo>
                <a:cubicBezTo>
                  <a:pt x="4744" y="456"/>
                  <a:pt x="4768" y="446"/>
                  <a:pt x="4794" y="418"/>
                </a:cubicBezTo>
                <a:cubicBezTo>
                  <a:pt x="4798" y="438"/>
                  <a:pt x="4814" y="448"/>
                  <a:pt x="4842" y="448"/>
                </a:cubicBezTo>
                <a:cubicBezTo>
                  <a:pt x="4906" y="448"/>
                  <a:pt x="4906" y="448"/>
                  <a:pt x="4906" y="448"/>
                </a:cubicBezTo>
                <a:cubicBezTo>
                  <a:pt x="4906" y="448"/>
                  <a:pt x="4906" y="448"/>
                  <a:pt x="4906" y="448"/>
                </a:cubicBezTo>
                <a:cubicBezTo>
                  <a:pt x="5048" y="448"/>
                  <a:pt x="5048" y="448"/>
                  <a:pt x="5048" y="448"/>
                </a:cubicBezTo>
                <a:cubicBezTo>
                  <a:pt x="5048" y="436"/>
                  <a:pt x="5048" y="436"/>
                  <a:pt x="5048" y="436"/>
                </a:cubicBezTo>
                <a:cubicBezTo>
                  <a:pt x="5006" y="432"/>
                  <a:pt x="5004" y="434"/>
                  <a:pt x="5004" y="338"/>
                </a:cubicBezTo>
                <a:cubicBezTo>
                  <a:pt x="5004" y="262"/>
                  <a:pt x="5004" y="262"/>
                  <a:pt x="5004" y="262"/>
                </a:cubicBezTo>
                <a:cubicBezTo>
                  <a:pt x="5004" y="236"/>
                  <a:pt x="5038" y="206"/>
                  <a:pt x="5080" y="206"/>
                </a:cubicBezTo>
                <a:cubicBezTo>
                  <a:pt x="5114" y="206"/>
                  <a:pt x="5140" y="220"/>
                  <a:pt x="5140" y="286"/>
                </a:cubicBezTo>
                <a:cubicBezTo>
                  <a:pt x="5140" y="340"/>
                  <a:pt x="5140" y="340"/>
                  <a:pt x="5140" y="340"/>
                </a:cubicBezTo>
                <a:cubicBezTo>
                  <a:pt x="5140" y="432"/>
                  <a:pt x="5136" y="432"/>
                  <a:pt x="5098" y="434"/>
                </a:cubicBezTo>
                <a:cubicBezTo>
                  <a:pt x="5098" y="446"/>
                  <a:pt x="5098" y="446"/>
                  <a:pt x="5098" y="446"/>
                </a:cubicBezTo>
                <a:cubicBezTo>
                  <a:pt x="5240" y="446"/>
                  <a:pt x="5240" y="446"/>
                  <a:pt x="5240" y="446"/>
                </a:cubicBezTo>
                <a:lnTo>
                  <a:pt x="5240" y="434"/>
                </a:lnTo>
                <a:close/>
                <a:moveTo>
                  <a:pt x="5516" y="192"/>
                </a:moveTo>
                <a:cubicBezTo>
                  <a:pt x="5516" y="180"/>
                  <a:pt x="5516" y="180"/>
                  <a:pt x="5516" y="180"/>
                </a:cubicBezTo>
                <a:cubicBezTo>
                  <a:pt x="5418" y="180"/>
                  <a:pt x="5418" y="180"/>
                  <a:pt x="5418" y="180"/>
                </a:cubicBezTo>
                <a:cubicBezTo>
                  <a:pt x="5418" y="192"/>
                  <a:pt x="5418" y="192"/>
                  <a:pt x="5418" y="192"/>
                </a:cubicBezTo>
                <a:cubicBezTo>
                  <a:pt x="5442" y="194"/>
                  <a:pt x="5454" y="206"/>
                  <a:pt x="5446" y="234"/>
                </a:cubicBezTo>
                <a:cubicBezTo>
                  <a:pt x="5394" y="390"/>
                  <a:pt x="5394" y="390"/>
                  <a:pt x="5394" y="390"/>
                </a:cubicBezTo>
                <a:cubicBezTo>
                  <a:pt x="5342" y="270"/>
                  <a:pt x="5342" y="270"/>
                  <a:pt x="5342" y="270"/>
                </a:cubicBezTo>
                <a:cubicBezTo>
                  <a:pt x="5328" y="238"/>
                  <a:pt x="5322" y="224"/>
                  <a:pt x="5322" y="212"/>
                </a:cubicBezTo>
                <a:cubicBezTo>
                  <a:pt x="5322" y="202"/>
                  <a:pt x="5328" y="196"/>
                  <a:pt x="5348" y="192"/>
                </a:cubicBezTo>
                <a:cubicBezTo>
                  <a:pt x="5348" y="180"/>
                  <a:pt x="5348" y="180"/>
                  <a:pt x="5348" y="180"/>
                </a:cubicBezTo>
                <a:cubicBezTo>
                  <a:pt x="5220" y="180"/>
                  <a:pt x="5220" y="180"/>
                  <a:pt x="5220" y="180"/>
                </a:cubicBezTo>
                <a:cubicBezTo>
                  <a:pt x="5220" y="192"/>
                  <a:pt x="5220" y="192"/>
                  <a:pt x="5220" y="192"/>
                </a:cubicBezTo>
                <a:cubicBezTo>
                  <a:pt x="5252" y="194"/>
                  <a:pt x="5254" y="198"/>
                  <a:pt x="5296" y="292"/>
                </a:cubicBezTo>
                <a:cubicBezTo>
                  <a:pt x="5368" y="450"/>
                  <a:pt x="5368" y="450"/>
                  <a:pt x="5368" y="450"/>
                </a:cubicBezTo>
                <a:cubicBezTo>
                  <a:pt x="5344" y="512"/>
                  <a:pt x="5306" y="546"/>
                  <a:pt x="5228" y="564"/>
                </a:cubicBezTo>
                <a:cubicBezTo>
                  <a:pt x="5232" y="576"/>
                  <a:pt x="5246" y="600"/>
                  <a:pt x="5254" y="606"/>
                </a:cubicBezTo>
                <a:cubicBezTo>
                  <a:pt x="5356" y="564"/>
                  <a:pt x="5376" y="498"/>
                  <a:pt x="5412" y="396"/>
                </a:cubicBezTo>
                <a:cubicBezTo>
                  <a:pt x="5466" y="242"/>
                  <a:pt x="5466" y="242"/>
                  <a:pt x="5466" y="242"/>
                </a:cubicBezTo>
                <a:cubicBezTo>
                  <a:pt x="5478" y="206"/>
                  <a:pt x="5498" y="192"/>
                  <a:pt x="5516" y="192"/>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600" kern="1200">
                <a:solidFill>
                  <a:schemeClr val="tx1"/>
                </a:solidFill>
                <a:latin typeface="Arial" charset="0"/>
                <a:ea typeface="+mn-ea"/>
                <a:cs typeface="+mn-cs"/>
              </a:defRPr>
            </a:lvl1pPr>
            <a:lvl2pPr marL="457200" algn="l" rtl="0" fontAlgn="base">
              <a:spcBef>
                <a:spcPct val="0"/>
              </a:spcBef>
              <a:spcAft>
                <a:spcPct val="0"/>
              </a:spcAft>
              <a:defRPr sz="1600" kern="1200">
                <a:solidFill>
                  <a:schemeClr val="tx1"/>
                </a:solidFill>
                <a:latin typeface="Arial" charset="0"/>
                <a:ea typeface="+mn-ea"/>
                <a:cs typeface="+mn-cs"/>
              </a:defRPr>
            </a:lvl2pPr>
            <a:lvl3pPr marL="914400" algn="l" rtl="0" fontAlgn="base">
              <a:spcBef>
                <a:spcPct val="0"/>
              </a:spcBef>
              <a:spcAft>
                <a:spcPct val="0"/>
              </a:spcAft>
              <a:defRPr sz="1600" kern="1200">
                <a:solidFill>
                  <a:schemeClr val="tx1"/>
                </a:solidFill>
                <a:latin typeface="Arial" charset="0"/>
                <a:ea typeface="+mn-ea"/>
                <a:cs typeface="+mn-cs"/>
              </a:defRPr>
            </a:lvl3pPr>
            <a:lvl4pPr marL="1371600" algn="l" rtl="0" fontAlgn="base">
              <a:spcBef>
                <a:spcPct val="0"/>
              </a:spcBef>
              <a:spcAft>
                <a:spcPct val="0"/>
              </a:spcAft>
              <a:defRPr sz="1600" kern="1200">
                <a:solidFill>
                  <a:schemeClr val="tx1"/>
                </a:solidFill>
                <a:latin typeface="Arial" charset="0"/>
                <a:ea typeface="+mn-ea"/>
                <a:cs typeface="+mn-cs"/>
              </a:defRPr>
            </a:lvl4pPr>
            <a:lvl5pPr marL="1828800" algn="l" rtl="0" fontAlgn="base">
              <a:spcBef>
                <a:spcPct val="0"/>
              </a:spcBef>
              <a:spcAft>
                <a:spcPct val="0"/>
              </a:spcAft>
              <a:defRPr sz="1600" kern="1200">
                <a:solidFill>
                  <a:schemeClr val="tx1"/>
                </a:solidFill>
                <a:latin typeface="Arial" charset="0"/>
                <a:ea typeface="+mn-ea"/>
                <a:cs typeface="+mn-cs"/>
              </a:defRPr>
            </a:lvl5pPr>
            <a:lvl6pPr marL="2286000" algn="l" defTabSz="914400" rtl="0" eaLnBrk="1" latinLnBrk="0" hangingPunct="1">
              <a:defRPr sz="1600" kern="1200">
                <a:solidFill>
                  <a:schemeClr val="tx1"/>
                </a:solidFill>
                <a:latin typeface="Arial" charset="0"/>
                <a:ea typeface="+mn-ea"/>
                <a:cs typeface="+mn-cs"/>
              </a:defRPr>
            </a:lvl6pPr>
            <a:lvl7pPr marL="2743200" algn="l" defTabSz="914400" rtl="0" eaLnBrk="1" latinLnBrk="0" hangingPunct="1">
              <a:defRPr sz="1600" kern="1200">
                <a:solidFill>
                  <a:schemeClr val="tx1"/>
                </a:solidFill>
                <a:latin typeface="Arial" charset="0"/>
                <a:ea typeface="+mn-ea"/>
                <a:cs typeface="+mn-cs"/>
              </a:defRPr>
            </a:lvl7pPr>
            <a:lvl8pPr marL="3200400" algn="l" defTabSz="914400" rtl="0" eaLnBrk="1" latinLnBrk="0" hangingPunct="1">
              <a:defRPr sz="1600" kern="1200">
                <a:solidFill>
                  <a:schemeClr val="tx1"/>
                </a:solidFill>
                <a:latin typeface="Arial" charset="0"/>
                <a:ea typeface="+mn-ea"/>
                <a:cs typeface="+mn-cs"/>
              </a:defRPr>
            </a:lvl8pPr>
            <a:lvl9pPr marL="3657600" algn="l" defTabSz="914400" rtl="0" eaLnBrk="1" latinLnBrk="0" hangingPunct="1">
              <a:defRPr sz="1600" kern="1200">
                <a:solidFill>
                  <a:schemeClr val="tx1"/>
                </a:solidFill>
                <a:latin typeface="Arial" charset="0"/>
                <a:ea typeface="+mn-ea"/>
                <a:cs typeface="+mn-cs"/>
              </a:defRPr>
            </a:lvl9pPr>
          </a:lstStyle>
          <a:p>
            <a:endParaRPr lang="en-US" baseline="0" dirty="0">
              <a:solidFill>
                <a:srgbClr val="000000"/>
              </a:solidFill>
              <a:latin typeface="+mn-lt"/>
            </a:endParaRPr>
          </a:p>
        </p:txBody>
      </p:sp>
      <p:sp>
        <p:nvSpPr>
          <p:cNvPr id="27" name="Disclaimer-English (United States)" hidden="1"/>
          <p:cNvSpPr>
            <a:spLocks noChangeArrowheads="1"/>
          </p:cNvSpPr>
          <p:nvPr/>
        </p:nvSpPr>
        <p:spPr bwMode="black">
          <a:xfrm>
            <a:off x="2268266" y="6287785"/>
            <a:ext cx="3544453" cy="36908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t" anchorCtr="0">
            <a:noAutofit/>
          </a:bodyPr>
          <a:lstStyle/>
          <a:p>
            <a:pPr defTabSz="804863" eaLnBrk="0" hangingPunct="0"/>
            <a:r>
              <a:rPr lang="en-US" sz="800" baseline="0" dirty="0">
                <a:solidFill>
                  <a:srgbClr val="FFFFFF"/>
                </a:solidFill>
                <a:latin typeface="+mn-lt"/>
              </a:rPr>
              <a:t>CONFIDENTIAL AND PROPRIETARY</a:t>
            </a:r>
          </a:p>
          <a:p>
            <a:pPr defTabSz="804863" eaLnBrk="0" hangingPunct="0"/>
            <a:r>
              <a:rPr lang="en-US" sz="800" baseline="0" dirty="0">
                <a:solidFill>
                  <a:srgbClr val="FFFFFF"/>
                </a:solidFill>
                <a:latin typeface="+mn-lt"/>
              </a:rPr>
              <a:t>Any use of this material without specific permission of McKinsey &amp; Company is strictly prohibited</a:t>
            </a:r>
          </a:p>
        </p:txBody>
      </p:sp>
    </p:spTree>
    <p:extLst>
      <p:ext uri="{BB962C8B-B14F-4D97-AF65-F5344CB8AC3E}">
        <p14:creationId xmlns:p14="http://schemas.microsoft.com/office/powerpoint/2010/main" val="3513511129"/>
      </p:ext>
    </p:extLst>
  </p:cSld>
  <p:clrMapOvr>
    <a:masterClrMapping/>
  </p:clrMapOvr>
  <p:extLst mod="1">
    <p:ext uri="{DCECCB84-F9BA-43D5-87BE-67443E8EF086}">
      <p15:sldGuideLst xmlns:p15="http://schemas.microsoft.com/office/powerpoint/2012/main">
        <p15:guide id="1" orient="horz" pos="2117">
          <p15:clr>
            <a:srgbClr val="FBAE40"/>
          </p15:clr>
        </p15:guide>
        <p15:guide id="2" pos="1416">
          <p15:clr>
            <a:srgbClr val="FBAE40"/>
          </p15:clr>
        </p15:guide>
      </p15:sldGuideLst>
    </p:ext>
  </p:extLs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6E228F5-5CF1-42E1-9748-97D7582A107A}"/>
              </a:ext>
            </a:extLst>
          </p:cNvPr>
          <p:cNvGraphicFramePr>
            <a:graphicFrameLocks noChangeAspect="1"/>
          </p:cNvGraphicFramePr>
          <p:nvPr>
            <p:custDataLst>
              <p:tags r:id="rId2"/>
            </p:custDataLst>
            <p:extLst>
              <p:ext uri="{D42A27DB-BD31-4B8C-83A1-F6EECF244321}">
                <p14:modId xmlns:p14="http://schemas.microsoft.com/office/powerpoint/2010/main" val="265965525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6868" name="think-cell Slide" r:id="rId5" imgW="353" imgH="353" progId="TCLayout.ActiveDocument.1">
                  <p:embed/>
                </p:oleObj>
              </mc:Choice>
              <mc:Fallback>
                <p:oleObj name="think-cell Slide" r:id="rId5" imgW="353" imgH="353" progId="TCLayout.ActiveDocument.1">
                  <p:embed/>
                  <p:pic>
                    <p:nvPicPr>
                      <p:cNvPr id="3" name="Object 2" hidden="1">
                        <a:extLst>
                          <a:ext uri="{FF2B5EF4-FFF2-40B4-BE49-F238E27FC236}">
                            <a16:creationId xmlns:a16="http://schemas.microsoft.com/office/drawing/2014/main" id="{C6E228F5-5CF1-42E1-9748-97D7582A107A}"/>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2. Slide Title"/>
          <p:cNvSpPr>
            <a:spLocks noGrp="1"/>
          </p:cNvSpPr>
          <p:nvPr>
            <p:ph type="title"/>
          </p:nvPr>
        </p:nvSpPr>
        <p:spPr bwMode="auto"/>
        <p:txBody>
          <a:bodyPr/>
          <a:lstStyle/>
          <a:p>
            <a:r>
              <a:rPr lang="en-US"/>
              <a:t>Click to edit Master title style</a:t>
            </a:r>
            <a:endParaRPr lang="en-US" dirty="0"/>
          </a:p>
        </p:txBody>
      </p:sp>
      <p:sp>
        <p:nvSpPr>
          <p:cNvPr id="8" name="Slide Number"/>
          <p:cNvSpPr txBox="1">
            <a:spLocks/>
          </p:cNvSpPr>
          <p:nvPr/>
        </p:nvSpPr>
        <p:spPr bwMode="auto">
          <a:xfrm>
            <a:off x="8564563" y="6508272"/>
            <a:ext cx="125034" cy="123111"/>
          </a:xfrm>
          <a:prstGeom prst="rect">
            <a:avLst/>
          </a:prstGeom>
        </p:spPr>
        <p:txBody>
          <a:bodyPr vert="horz" wrap="none" lIns="0" tIns="0" rIns="0" bIns="0" rtlCol="0" anchor="ctr">
            <a:spAutoFit/>
          </a:bodyPr>
          <a:lstStyle>
            <a:defPPr>
              <a:defRPr lang="en-US"/>
            </a:defPPr>
            <a:lvl1pPr>
              <a:defRPr sz="1000" baseline="0">
                <a:latin typeface="+mn-lt"/>
              </a:defRPr>
            </a:lvl1pPr>
          </a:lstStyle>
          <a:p>
            <a:fld id="{42C328C1-A84F-4A39-A664-DBA00541A8C6}" type="slidenum">
              <a:rPr lang="en-US" sz="800" baseline="0" smtClean="0">
                <a:solidFill>
                  <a:srgbClr val="808080"/>
                </a:solidFill>
                <a:latin typeface="+mn-lt"/>
              </a:rPr>
              <a:pPr/>
              <a:t>‹#›</a:t>
            </a:fld>
            <a:endParaRPr lang="en-US" sz="800" baseline="0" dirty="0">
              <a:solidFill>
                <a:srgbClr val="808080"/>
              </a:solidFill>
              <a:latin typeface="+mn-lt"/>
            </a:endParaRPr>
          </a:p>
        </p:txBody>
      </p:sp>
      <p:sp>
        <p:nvSpPr>
          <p:cNvPr id="9" name="SlideLogoText"/>
          <p:cNvSpPr>
            <a:spLocks noChangeArrowheads="1"/>
          </p:cNvSpPr>
          <p:nvPr>
            <p:custDataLst>
              <p:tags r:id="rId3"/>
            </p:custDataLst>
          </p:nvPr>
        </p:nvSpPr>
        <p:spPr bwMode="auto">
          <a:xfrm>
            <a:off x="7450817" y="6508272"/>
            <a:ext cx="1013098"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algn="r" defTabSz="895350"/>
            <a:r>
              <a:rPr lang="en-US" sz="800" baseline="0" dirty="0">
                <a:solidFill>
                  <a:srgbClr val="808080"/>
                </a:solidFill>
                <a:latin typeface="+mn-lt"/>
              </a:rPr>
              <a:t>McKinsey &amp; Company</a:t>
            </a:r>
          </a:p>
        </p:txBody>
      </p:sp>
      <p:sp>
        <p:nvSpPr>
          <p:cNvPr id="5" name="doc id" hidden="1"/>
          <p:cNvSpPr txBox="1">
            <a:spLocks noChangeArrowheads="1"/>
          </p:cNvSpPr>
          <p:nvPr/>
        </p:nvSpPr>
        <p:spPr bwMode="white">
          <a:xfrm>
            <a:off x="8104473" y="36513"/>
            <a:ext cx="634716" cy="115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hangingPunct="1">
              <a:defRPr/>
            </a:pPr>
            <a:endParaRPr lang="en-US" sz="800" baseline="0" dirty="0">
              <a:solidFill>
                <a:schemeClr val="accent1"/>
              </a:solidFill>
              <a:latin typeface="+mn-lt"/>
              <a:ea typeface="+mn-ea"/>
            </a:endParaRPr>
          </a:p>
        </p:txBody>
      </p:sp>
    </p:spTree>
    <p:extLst>
      <p:ext uri="{BB962C8B-B14F-4D97-AF65-F5344CB8AC3E}">
        <p14:creationId xmlns:p14="http://schemas.microsoft.com/office/powerpoint/2010/main" val="3804745497"/>
      </p:ext>
    </p:extLst>
  </p:cSld>
  <p:clrMapOvr>
    <a:masterClrMapping/>
  </p:clrMapOvr>
  <p:extLst mod="1">
    <p:ext uri="{DCECCB84-F9BA-43D5-87BE-67443E8EF086}">
      <p15:sldGuideLst xmlns:p15="http://schemas.microsoft.com/office/powerpoint/2012/main">
        <p15:guide id="1" pos="5505">
          <p15:clr>
            <a:srgbClr val="F26B43"/>
          </p15:clr>
        </p15:guide>
        <p15:guide id="2" pos="74">
          <p15:clr>
            <a:srgbClr val="F26B43"/>
          </p15:clr>
        </p15:guide>
        <p15:guide id="3" orient="horz" pos="571">
          <p15:clr>
            <a:srgbClr val="F26B43"/>
          </p15:clr>
        </p15:guide>
        <p15:guide id="4" orient="horz" pos="3911">
          <p15:clr>
            <a:srgbClr val="F26B43"/>
          </p15:clr>
        </p15:guide>
      </p15:sldGuideLst>
    </p:ext>
  </p:extLs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p:cSld name="1_Title Only">
    <p:bg>
      <p:bgPr>
        <a:solidFill>
          <a:schemeClr val="accent2"/>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F4AD34F-3B47-47E2-A09C-FFEB949F6A10}"/>
              </a:ext>
            </a:extLst>
          </p:cNvPr>
          <p:cNvGraphicFramePr>
            <a:graphicFrameLocks noChangeAspect="1"/>
          </p:cNvGraphicFramePr>
          <p:nvPr>
            <p:custDataLst>
              <p:tags r:id="rId2"/>
            </p:custDataLst>
            <p:extLst>
              <p:ext uri="{D42A27DB-BD31-4B8C-83A1-F6EECF244321}">
                <p14:modId xmlns:p14="http://schemas.microsoft.com/office/powerpoint/2010/main" val="169804615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7892" name="think-cell Slide" r:id="rId5" imgW="395" imgH="394" progId="TCLayout.ActiveDocument.1">
                  <p:embed/>
                </p:oleObj>
              </mc:Choice>
              <mc:Fallback>
                <p:oleObj name="think-cell Slide" r:id="rId5" imgW="395" imgH="394" progId="TCLayout.ActiveDocument.1">
                  <p:embed/>
                  <p:pic>
                    <p:nvPicPr>
                      <p:cNvPr id="3" name="Object 2" hidden="1">
                        <a:extLst>
                          <a:ext uri="{FF2B5EF4-FFF2-40B4-BE49-F238E27FC236}">
                            <a16:creationId xmlns:a16="http://schemas.microsoft.com/office/drawing/2014/main" id="{EF4AD34F-3B47-47E2-A09C-FFEB949F6A10}"/>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endParaRPr lang="en-US" dirty="0"/>
          </a:p>
        </p:txBody>
      </p:sp>
      <p:sp>
        <p:nvSpPr>
          <p:cNvPr id="15" name="Slide Number"/>
          <p:cNvSpPr txBox="1">
            <a:spLocks/>
          </p:cNvSpPr>
          <p:nvPr/>
        </p:nvSpPr>
        <p:spPr>
          <a:xfrm>
            <a:off x="8564563" y="6508272"/>
            <a:ext cx="125034" cy="123111"/>
          </a:xfrm>
          <a:prstGeom prst="rect">
            <a:avLst/>
          </a:prstGeom>
        </p:spPr>
        <p:txBody>
          <a:bodyPr vert="horz" wrap="none" lIns="0" tIns="0" rIns="0" bIns="0" rtlCol="0" anchor="ctr">
            <a:spAutoFit/>
          </a:bodyPr>
          <a:lstStyle>
            <a:defPPr>
              <a:defRPr lang="en-US"/>
            </a:defPPr>
            <a:lvl1pPr>
              <a:defRPr sz="1000" baseline="0">
                <a:latin typeface="+mn-lt"/>
              </a:defRPr>
            </a:lvl1pPr>
          </a:lstStyle>
          <a:p>
            <a:fld id="{42C328C1-A84F-4A39-A664-DBA00541A8C6}" type="slidenum">
              <a:rPr lang="en-US" sz="800" baseline="0" smtClean="0">
                <a:solidFill>
                  <a:srgbClr val="FFFFFF"/>
                </a:solidFill>
                <a:latin typeface="+mn-lt"/>
              </a:rPr>
              <a:pPr/>
              <a:t>‹#›</a:t>
            </a:fld>
            <a:endParaRPr lang="en-US" sz="800" baseline="0" dirty="0">
              <a:solidFill>
                <a:srgbClr val="FFFFFF"/>
              </a:solidFill>
              <a:latin typeface="+mn-lt"/>
            </a:endParaRPr>
          </a:p>
        </p:txBody>
      </p:sp>
      <p:sp>
        <p:nvSpPr>
          <p:cNvPr id="16" name="SlideLogoText"/>
          <p:cNvSpPr>
            <a:spLocks noChangeArrowheads="1"/>
          </p:cNvSpPr>
          <p:nvPr>
            <p:custDataLst>
              <p:tags r:id="rId3"/>
            </p:custDataLst>
          </p:nvPr>
        </p:nvSpPr>
        <p:spPr bwMode="auto">
          <a:xfrm>
            <a:off x="7450817" y="6508272"/>
            <a:ext cx="1013098"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algn="r" defTabSz="895350"/>
            <a:r>
              <a:rPr lang="en-US" sz="800" baseline="0" dirty="0">
                <a:solidFill>
                  <a:srgbClr val="FFFFFF"/>
                </a:solidFill>
                <a:latin typeface="+mn-lt"/>
              </a:rPr>
              <a:t>McKinsey &amp; Company</a:t>
            </a:r>
          </a:p>
        </p:txBody>
      </p:sp>
      <p:sp>
        <p:nvSpPr>
          <p:cNvPr id="5" name="doc id" hidden="1"/>
          <p:cNvSpPr txBox="1">
            <a:spLocks noChangeArrowheads="1"/>
          </p:cNvSpPr>
          <p:nvPr/>
        </p:nvSpPr>
        <p:spPr bwMode="white">
          <a:xfrm>
            <a:off x="8104473" y="36513"/>
            <a:ext cx="634716" cy="115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hangingPunct="1">
              <a:defRPr/>
            </a:pPr>
            <a:endParaRPr lang="en-US" sz="800" baseline="0" dirty="0">
              <a:solidFill>
                <a:schemeClr val="accent1"/>
              </a:solidFill>
              <a:latin typeface="+mn-lt"/>
              <a:ea typeface="+mn-ea"/>
            </a:endParaRPr>
          </a:p>
        </p:txBody>
      </p:sp>
    </p:spTree>
    <p:extLst>
      <p:ext uri="{BB962C8B-B14F-4D97-AF65-F5344CB8AC3E}">
        <p14:creationId xmlns:p14="http://schemas.microsoft.com/office/powerpoint/2010/main" val="3478271559"/>
      </p:ext>
    </p:extLst>
  </p:cSld>
  <p:clrMapOvr>
    <a:masterClrMapping/>
  </p:clrMapOvr>
  <p:extLst mod="1">
    <p:ext uri="{DCECCB84-F9BA-43D5-87BE-67443E8EF086}">
      <p15:sldGuideLst xmlns:p15="http://schemas.microsoft.com/office/powerpoint/2012/main">
        <p15:guide id="1" pos="3978">
          <p15:clr>
            <a:srgbClr val="000000"/>
          </p15:clr>
        </p15:guide>
        <p15:guide id="2" orient="horz" pos="570">
          <p15:clr>
            <a:srgbClr val="000000"/>
          </p15:clr>
        </p15:guide>
        <p15:guide id="3" orient="horz" pos="3912">
          <p15:clr>
            <a:srgbClr val="000000"/>
          </p15:clr>
        </p15:guide>
        <p15:guide id="4" pos="72">
          <p15:clr>
            <a:srgbClr val="000000"/>
          </p15:clr>
        </p15:guide>
      </p15:sldGuideLst>
    </p:ext>
  </p:extLst>
</p:sldLayout>
</file>

<file path=ppt/slideLayouts/slideLayout163.xml><?xml version="1.0" encoding="utf-8"?>
<p:sldLayout xmlns:a="http://schemas.openxmlformats.org/drawingml/2006/main" xmlns:r="http://schemas.openxmlformats.org/officeDocument/2006/relationships" xmlns:p="http://schemas.openxmlformats.org/presentationml/2006/main" type="titleOnly">
  <p:cSld name="2_Title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ECD524A-1569-4253-8CD8-48D288AD883C}"/>
              </a:ext>
            </a:extLst>
          </p:cNvPr>
          <p:cNvGraphicFramePr>
            <a:graphicFrameLocks noChangeAspect="1"/>
          </p:cNvGraphicFramePr>
          <p:nvPr>
            <p:custDataLst>
              <p:tags r:id="rId2"/>
            </p:custDataLst>
            <p:extLst>
              <p:ext uri="{D42A27DB-BD31-4B8C-83A1-F6EECF244321}">
                <p14:modId xmlns:p14="http://schemas.microsoft.com/office/powerpoint/2010/main" val="365488504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8916" name="think-cell Slide" r:id="rId4" imgW="395" imgH="394" progId="TCLayout.ActiveDocument.1">
                  <p:embed/>
                </p:oleObj>
              </mc:Choice>
              <mc:Fallback>
                <p:oleObj name="think-cell Slide" r:id="rId4" imgW="395" imgH="394" progId="TCLayout.ActiveDocument.1">
                  <p:embed/>
                  <p:pic>
                    <p:nvPicPr>
                      <p:cNvPr id="3" name="Object 2" hidden="1">
                        <a:extLst>
                          <a:ext uri="{FF2B5EF4-FFF2-40B4-BE49-F238E27FC236}">
                            <a16:creationId xmlns:a16="http://schemas.microsoft.com/office/drawing/2014/main" id="{5ECD524A-1569-4253-8CD8-48D288AD883C}"/>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77782476"/>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pic>
        <p:nvPicPr>
          <p:cNvPr id="2" name="background"/>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0" y="198"/>
            <a:ext cx="8961438" cy="6721079"/>
          </a:xfrm>
          <a:prstGeom prst="rect">
            <a:avLst/>
          </a:prstGeom>
        </p:spPr>
      </p:pic>
      <p:sp>
        <p:nvSpPr>
          <p:cNvPr id="28" name="TitleRectangle"/>
          <p:cNvSpPr txBox="1">
            <a:spLocks/>
          </p:cNvSpPr>
          <p:nvPr/>
        </p:nvSpPr>
        <p:spPr>
          <a:xfrm>
            <a:off x="2084388" y="0"/>
            <a:ext cx="6875462" cy="3575976"/>
          </a:xfrm>
          <a:prstGeom prst="rect">
            <a:avLst/>
          </a:prstGeom>
          <a:solidFill>
            <a:srgbClr val="002960">
              <a:alpha val="92000"/>
            </a:srgbClr>
          </a:solidFill>
        </p:spPr>
        <p:txBody>
          <a:bodyPr vert="horz" wrap="square" lIns="216000" tIns="1440000" rIns="216000" bIns="108000" rtlCol="0">
            <a:noAutofit/>
          </a:bodyPr>
          <a:lstStyle>
            <a:lvl1pPr marL="0" indent="0" algn="l" defTabSz="914400" rtl="0" eaLnBrk="1" latinLnBrk="0" hangingPunct="1">
              <a:spcBef>
                <a:spcPct val="20000"/>
              </a:spcBef>
              <a:spcAft>
                <a:spcPts val="6000"/>
              </a:spcAft>
              <a:buFont typeface="Arial" pitchFamily="34" charset="0"/>
              <a:buNone/>
              <a:defRPr sz="3200" kern="1200">
                <a:solidFill>
                  <a:schemeClr val="accent1"/>
                </a:solidFill>
                <a:latin typeface="+mn-lt"/>
                <a:ea typeface="+mn-ea"/>
                <a:cs typeface="+mn-cs"/>
              </a:defRPr>
            </a:lvl1pPr>
            <a:lvl2pPr marL="0" indent="0" algn="l" defTabSz="914400" rtl="0" eaLnBrk="1" latinLnBrk="0" hangingPunct="1">
              <a:spcBef>
                <a:spcPct val="20000"/>
              </a:spcBef>
              <a:buFont typeface="Wingdings" charset="2"/>
              <a:buNone/>
              <a:defRPr sz="1400" kern="1200">
                <a:solidFill>
                  <a:schemeClr val="tx1">
                    <a:lumMod val="50000"/>
                    <a:lumOff val="50000"/>
                  </a:schemeClr>
                </a:solidFill>
                <a:latin typeface="+mn-lt"/>
                <a:ea typeface="+mn-ea"/>
                <a:cs typeface="+mn-cs"/>
              </a:defRPr>
            </a:lvl2pPr>
            <a:lvl3pPr marL="1143000" indent="-228600" algn="l" defTabSz="914400" rtl="0" eaLnBrk="1" latinLnBrk="0" hangingPunct="1">
              <a:spcBef>
                <a:spcPct val="20000"/>
              </a:spcBef>
              <a:buFont typeface="Lucida Grande"/>
              <a:buChar char="–"/>
              <a:defRPr sz="16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fontAlgn="auto">
              <a:defRPr/>
            </a:pPr>
            <a:r>
              <a:rPr lang="en-US" baseline="0" dirty="0">
                <a:solidFill>
                  <a:srgbClr val="00ADEF"/>
                </a:solidFill>
                <a:latin typeface="+mn-lt"/>
              </a:rPr>
              <a:t>
              </a:t>
            </a:r>
            <a:br>
              <a:rPr lang="en-US" baseline="0" dirty="0">
                <a:solidFill>
                  <a:srgbClr val="00ADEF"/>
                </a:solidFill>
                <a:latin typeface="+mn-lt"/>
              </a:rPr>
            </a:br>
            <a:endParaRPr lang="en-US" baseline="0" dirty="0">
              <a:solidFill>
                <a:srgbClr val="00ADEF"/>
              </a:solidFill>
              <a:latin typeface="+mn-lt"/>
            </a:endParaRPr>
          </a:p>
        </p:txBody>
      </p:sp>
      <p:graphicFrame>
        <p:nvGraphicFramePr>
          <p:cNvPr id="3" name="Object 2"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0964"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Working Draft Text" hidden="1"/>
          <p:cNvSpPr txBox="1">
            <a:spLocks noChangeArrowheads="1"/>
          </p:cNvSpPr>
          <p:nvPr/>
        </p:nvSpPr>
        <p:spPr bwMode="black">
          <a:xfrm>
            <a:off x="5992719" y="6287538"/>
            <a:ext cx="2790000"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800" b="1" baseline="0" dirty="0">
                <a:solidFill>
                  <a:srgbClr val="FFFFFF"/>
                </a:solidFill>
                <a:latin typeface="+mn-lt"/>
              </a:rPr>
              <a:t>WORKING DRAFT</a:t>
            </a:r>
          </a:p>
        </p:txBody>
      </p:sp>
      <p:sp>
        <p:nvSpPr>
          <p:cNvPr id="6" name="Working Draft" hidden="1"/>
          <p:cNvSpPr txBox="1">
            <a:spLocks noChangeArrowheads="1"/>
          </p:cNvSpPr>
          <p:nvPr/>
        </p:nvSpPr>
        <p:spPr bwMode="black">
          <a:xfrm>
            <a:off x="5992718" y="6410648"/>
            <a:ext cx="2968719"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800" baseline="0">
                <a:solidFill>
                  <a:srgbClr val="FFFFFF"/>
                </a:solidFill>
                <a:latin typeface="+mn-lt"/>
              </a:rPr>
              <a:t>Last Modified 21/05/2018 17:44 India Standard Time</a:t>
            </a:r>
            <a:endParaRPr lang="en-US" sz="800" baseline="0" dirty="0">
              <a:solidFill>
                <a:srgbClr val="FFFFFF"/>
              </a:solidFill>
              <a:latin typeface="+mn-lt"/>
            </a:endParaRPr>
          </a:p>
        </p:txBody>
      </p:sp>
      <p:sp>
        <p:nvSpPr>
          <p:cNvPr id="7" name="Printed" hidden="1"/>
          <p:cNvSpPr txBox="1">
            <a:spLocks noChangeArrowheads="1"/>
          </p:cNvSpPr>
          <p:nvPr/>
        </p:nvSpPr>
        <p:spPr bwMode="black">
          <a:xfrm>
            <a:off x="5992719" y="6533759"/>
            <a:ext cx="2790000"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800" baseline="0" dirty="0">
                <a:solidFill>
                  <a:srgbClr val="FFFFFF"/>
                </a:solidFill>
                <a:latin typeface="+mn-lt"/>
              </a:rPr>
              <a:t>Printed</a:t>
            </a:r>
          </a:p>
        </p:txBody>
      </p:sp>
      <p:sp>
        <p:nvSpPr>
          <p:cNvPr id="13314" name="Title"/>
          <p:cNvSpPr>
            <a:spLocks noGrp="1" noChangeArrowheads="1"/>
          </p:cNvSpPr>
          <p:nvPr>
            <p:ph type="ctrTitle"/>
          </p:nvPr>
        </p:nvSpPr>
        <p:spPr>
          <a:xfrm>
            <a:off x="2268266" y="1434419"/>
            <a:ext cx="6231663" cy="492443"/>
          </a:xfrm>
          <a:prstGeom prst="rect">
            <a:avLst/>
          </a:prstGeom>
        </p:spPr>
        <p:txBody>
          <a:bodyPr>
            <a:spAutoFit/>
          </a:bodyPr>
          <a:lstStyle>
            <a:lvl1pPr>
              <a:defRPr sz="3200" b="0" baseline="0">
                <a:solidFill>
                  <a:schemeClr val="accent2"/>
                </a:solidFill>
                <a:latin typeface="+mj-lt"/>
                <a:ea typeface="+mj-ea"/>
              </a:defRPr>
            </a:lvl1pPr>
          </a:lstStyle>
          <a:p>
            <a:pPr lvl="0" latinLnBrk="0"/>
            <a:r>
              <a:rPr lang="en-US" noProof="0"/>
              <a:t>Click to edit Master title style</a:t>
            </a:r>
            <a:endParaRPr lang="en-US" noProof="0" dirty="0"/>
          </a:p>
        </p:txBody>
      </p:sp>
      <p:sp>
        <p:nvSpPr>
          <p:cNvPr id="13315" name="Subtitle"/>
          <p:cNvSpPr>
            <a:spLocks noGrp="1" noChangeArrowheads="1"/>
          </p:cNvSpPr>
          <p:nvPr>
            <p:ph type="subTitle" idx="1"/>
          </p:nvPr>
        </p:nvSpPr>
        <p:spPr>
          <a:xfrm>
            <a:off x="2268266" y="2819401"/>
            <a:ext cx="6231663" cy="215444"/>
          </a:xfrm>
          <a:prstGeom prst="rect">
            <a:avLst/>
          </a:prstGeom>
        </p:spPr>
        <p:txBody>
          <a:bodyPr wrap="square">
            <a:spAutoFit/>
          </a:bodyPr>
          <a:lstStyle>
            <a:lvl1pPr>
              <a:defRPr sz="1400" cap="all" baseline="0">
                <a:solidFill>
                  <a:schemeClr val="bg1"/>
                </a:solidFill>
                <a:latin typeface="+mn-lt"/>
                <a:ea typeface="+mn-ea"/>
              </a:defRPr>
            </a:lvl1pPr>
          </a:lstStyle>
          <a:p>
            <a:pPr lvl="0" latinLnBrk="0"/>
            <a:r>
              <a:rPr lang="en-US" noProof="0"/>
              <a:t>Click to edit Master subtitle style</a:t>
            </a:r>
            <a:endParaRPr lang="en-US" noProof="0" dirty="0"/>
          </a:p>
        </p:txBody>
      </p:sp>
      <p:sp>
        <p:nvSpPr>
          <p:cNvPr id="57" name="Document type" hidden="1"/>
          <p:cNvSpPr txBox="1">
            <a:spLocks noChangeArrowheads="1"/>
          </p:cNvSpPr>
          <p:nvPr/>
        </p:nvSpPr>
        <p:spPr bwMode="gray">
          <a:xfrm>
            <a:off x="2268266" y="3227411"/>
            <a:ext cx="6231663"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00" baseline="0" dirty="0">
                <a:solidFill>
                  <a:schemeClr val="bg1"/>
                </a:solidFill>
                <a:latin typeface="+mn-lt"/>
              </a:rPr>
              <a:t>Document type | Date</a:t>
            </a:r>
          </a:p>
        </p:txBody>
      </p:sp>
      <p:sp>
        <p:nvSpPr>
          <p:cNvPr id="5" name="doc id" hidden="1"/>
          <p:cNvSpPr txBox="1">
            <a:spLocks noChangeArrowheads="1"/>
          </p:cNvSpPr>
          <p:nvPr/>
        </p:nvSpPr>
        <p:spPr bwMode="white">
          <a:xfrm>
            <a:off x="8443913" y="36513"/>
            <a:ext cx="295275" cy="1222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hangingPunct="1">
              <a:defRPr/>
            </a:pPr>
            <a:endParaRPr lang="en-US" sz="800" baseline="0" dirty="0">
              <a:solidFill>
                <a:srgbClr val="FFFFFF"/>
              </a:solidFill>
              <a:latin typeface="+mn-lt"/>
            </a:endParaRPr>
          </a:p>
        </p:txBody>
      </p:sp>
      <p:sp>
        <p:nvSpPr>
          <p:cNvPr id="43" name="LogoImage"/>
          <p:cNvSpPr>
            <a:spLocks noEditPoints="1"/>
          </p:cNvSpPr>
          <p:nvPr/>
        </p:nvSpPr>
        <p:spPr bwMode="white">
          <a:xfrm>
            <a:off x="2269098" y="182925"/>
            <a:ext cx="2176978" cy="238073"/>
          </a:xfrm>
          <a:custGeom>
            <a:avLst/>
            <a:gdLst>
              <a:gd name="T0" fmla="*/ 504 w 5516"/>
              <a:gd name="T1" fmla="*/ 26 h 606"/>
              <a:gd name="T2" fmla="*/ 18 w 5516"/>
              <a:gd name="T3" fmla="*/ 22 h 606"/>
              <a:gd name="T4" fmla="*/ 140 w 5516"/>
              <a:gd name="T5" fmla="*/ 436 h 606"/>
              <a:gd name="T6" fmla="*/ 408 w 5516"/>
              <a:gd name="T7" fmla="*/ 372 h 606"/>
              <a:gd name="T8" fmla="*/ 696 w 5516"/>
              <a:gd name="T9" fmla="*/ 422 h 606"/>
              <a:gd name="T10" fmla="*/ 768 w 5516"/>
              <a:gd name="T11" fmla="*/ 196 h 606"/>
              <a:gd name="T12" fmla="*/ 1272 w 5516"/>
              <a:gd name="T13" fmla="*/ 26 h 606"/>
              <a:gd name="T14" fmla="*/ 1302 w 5516"/>
              <a:gd name="T15" fmla="*/ 338 h 606"/>
              <a:gd name="T16" fmla="*/ 1202 w 5516"/>
              <a:gd name="T17" fmla="*/ 436 h 606"/>
              <a:gd name="T18" fmla="*/ 1030 w 5516"/>
              <a:gd name="T19" fmla="*/ 10 h 606"/>
              <a:gd name="T20" fmla="*/ 960 w 5516"/>
              <a:gd name="T21" fmla="*/ 22 h 606"/>
              <a:gd name="T22" fmla="*/ 804 w 5516"/>
              <a:gd name="T23" fmla="*/ 434 h 606"/>
              <a:gd name="T24" fmla="*/ 930 w 5516"/>
              <a:gd name="T25" fmla="*/ 246 h 606"/>
              <a:gd name="T26" fmla="*/ 1658 w 5516"/>
              <a:gd name="T27" fmla="*/ 342 h 606"/>
              <a:gd name="T28" fmla="*/ 1368 w 5516"/>
              <a:gd name="T29" fmla="*/ 188 h 606"/>
              <a:gd name="T30" fmla="*/ 1514 w 5516"/>
              <a:gd name="T31" fmla="*/ 436 h 606"/>
              <a:gd name="T32" fmla="*/ 1564 w 5516"/>
              <a:gd name="T33" fmla="*/ 434 h 606"/>
              <a:gd name="T34" fmla="*/ 1904 w 5516"/>
              <a:gd name="T35" fmla="*/ 184 h 606"/>
              <a:gd name="T36" fmla="*/ 1728 w 5516"/>
              <a:gd name="T37" fmla="*/ 366 h 606"/>
              <a:gd name="T38" fmla="*/ 2102 w 5516"/>
              <a:gd name="T39" fmla="*/ 192 h 606"/>
              <a:gd name="T40" fmla="*/ 1982 w 5516"/>
              <a:gd name="T41" fmla="*/ 320 h 606"/>
              <a:gd name="T42" fmla="*/ 2478 w 5516"/>
              <a:gd name="T43" fmla="*/ 242 h 606"/>
              <a:gd name="T44" fmla="*/ 2406 w 5516"/>
              <a:gd name="T45" fmla="*/ 390 h 606"/>
              <a:gd name="T46" fmla="*/ 2234 w 5516"/>
              <a:gd name="T47" fmla="*/ 192 h 606"/>
              <a:gd name="T48" fmla="*/ 2478 w 5516"/>
              <a:gd name="T49" fmla="*/ 242 h 606"/>
              <a:gd name="T50" fmla="*/ 2928 w 5516"/>
              <a:gd name="T51" fmla="*/ 448 h 606"/>
              <a:gd name="T52" fmla="*/ 2958 w 5516"/>
              <a:gd name="T53" fmla="*/ 230 h 606"/>
              <a:gd name="T54" fmla="*/ 2716 w 5516"/>
              <a:gd name="T55" fmla="*/ 54 h 606"/>
              <a:gd name="T56" fmla="*/ 2714 w 5516"/>
              <a:gd name="T57" fmla="*/ 36 h 606"/>
              <a:gd name="T58" fmla="*/ 2928 w 5516"/>
              <a:gd name="T59" fmla="*/ 448 h 606"/>
              <a:gd name="T60" fmla="*/ 3388 w 5516"/>
              <a:gd name="T61" fmla="*/ 4 h 606"/>
              <a:gd name="T62" fmla="*/ 3396 w 5516"/>
              <a:gd name="T63" fmla="*/ 366 h 606"/>
              <a:gd name="T64" fmla="*/ 3580 w 5516"/>
              <a:gd name="T65" fmla="*/ 190 h 606"/>
              <a:gd name="T66" fmla="*/ 3502 w 5516"/>
              <a:gd name="T67" fmla="*/ 432 h 606"/>
              <a:gd name="T68" fmla="*/ 4232 w 5516"/>
              <a:gd name="T69" fmla="*/ 348 h 606"/>
              <a:gd name="T70" fmla="*/ 3858 w 5516"/>
              <a:gd name="T71" fmla="*/ 176 h 606"/>
              <a:gd name="T72" fmla="*/ 3758 w 5516"/>
              <a:gd name="T73" fmla="*/ 446 h 606"/>
              <a:gd name="T74" fmla="*/ 3990 w 5516"/>
              <a:gd name="T75" fmla="*/ 282 h 606"/>
              <a:gd name="T76" fmla="*/ 4042 w 5516"/>
              <a:gd name="T77" fmla="*/ 342 h 606"/>
              <a:gd name="T78" fmla="*/ 4134 w 5516"/>
              <a:gd name="T79" fmla="*/ 448 h 606"/>
              <a:gd name="T80" fmla="*/ 4454 w 5516"/>
              <a:gd name="T81" fmla="*/ 202 h 606"/>
              <a:gd name="T82" fmla="*/ 4284 w 5516"/>
              <a:gd name="T83" fmla="*/ 174 h 606"/>
              <a:gd name="T84" fmla="*/ 4432 w 5516"/>
              <a:gd name="T85" fmla="*/ 588 h 606"/>
              <a:gd name="T86" fmla="*/ 4792 w 5516"/>
              <a:gd name="T87" fmla="*/ 382 h 606"/>
              <a:gd name="T88" fmla="*/ 5192 w 5516"/>
              <a:gd name="T89" fmla="*/ 340 h 606"/>
              <a:gd name="T90" fmla="*/ 4902 w 5516"/>
              <a:gd name="T91" fmla="*/ 186 h 606"/>
              <a:gd name="T92" fmla="*/ 4850 w 5516"/>
              <a:gd name="T93" fmla="*/ 274 h 606"/>
              <a:gd name="T94" fmla="*/ 4742 w 5516"/>
              <a:gd name="T95" fmla="*/ 194 h 606"/>
              <a:gd name="T96" fmla="*/ 4794 w 5516"/>
              <a:gd name="T97" fmla="*/ 418 h 606"/>
              <a:gd name="T98" fmla="*/ 5004 w 5516"/>
              <a:gd name="T99" fmla="*/ 338 h 606"/>
              <a:gd name="T100" fmla="*/ 5098 w 5516"/>
              <a:gd name="T101" fmla="*/ 446 h 606"/>
              <a:gd name="T102" fmla="*/ 5418 w 5516"/>
              <a:gd name="T103" fmla="*/ 192 h 606"/>
              <a:gd name="T104" fmla="*/ 5348 w 5516"/>
              <a:gd name="T105" fmla="*/ 180 h 606"/>
              <a:gd name="T106" fmla="*/ 5254 w 5516"/>
              <a:gd name="T107" fmla="*/ 606 h 6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516" h="606">
                <a:moveTo>
                  <a:pt x="366" y="448"/>
                </a:moveTo>
                <a:cubicBezTo>
                  <a:pt x="524" y="448"/>
                  <a:pt x="524" y="448"/>
                  <a:pt x="524" y="448"/>
                </a:cubicBezTo>
                <a:cubicBezTo>
                  <a:pt x="524" y="436"/>
                  <a:pt x="524" y="436"/>
                  <a:pt x="524" y="436"/>
                </a:cubicBezTo>
                <a:cubicBezTo>
                  <a:pt x="486" y="432"/>
                  <a:pt x="470" y="414"/>
                  <a:pt x="468" y="362"/>
                </a:cubicBezTo>
                <a:cubicBezTo>
                  <a:pt x="454" y="86"/>
                  <a:pt x="454" y="86"/>
                  <a:pt x="454" y="86"/>
                </a:cubicBezTo>
                <a:cubicBezTo>
                  <a:pt x="452" y="46"/>
                  <a:pt x="470" y="30"/>
                  <a:pt x="504" y="26"/>
                </a:cubicBezTo>
                <a:cubicBezTo>
                  <a:pt x="504" y="12"/>
                  <a:pt x="504" y="12"/>
                  <a:pt x="504" y="12"/>
                </a:cubicBezTo>
                <a:cubicBezTo>
                  <a:pt x="394" y="12"/>
                  <a:pt x="394" y="12"/>
                  <a:pt x="394" y="12"/>
                </a:cubicBezTo>
                <a:cubicBezTo>
                  <a:pt x="264" y="350"/>
                  <a:pt x="264" y="350"/>
                  <a:pt x="264" y="350"/>
                </a:cubicBezTo>
                <a:cubicBezTo>
                  <a:pt x="132" y="10"/>
                  <a:pt x="132" y="10"/>
                  <a:pt x="132" y="10"/>
                </a:cubicBezTo>
                <a:cubicBezTo>
                  <a:pt x="18" y="10"/>
                  <a:pt x="18" y="10"/>
                  <a:pt x="18" y="10"/>
                </a:cubicBezTo>
                <a:cubicBezTo>
                  <a:pt x="18" y="22"/>
                  <a:pt x="18" y="22"/>
                  <a:pt x="18" y="22"/>
                </a:cubicBezTo>
                <a:cubicBezTo>
                  <a:pt x="40" y="26"/>
                  <a:pt x="74" y="32"/>
                  <a:pt x="72" y="84"/>
                </a:cubicBezTo>
                <a:cubicBezTo>
                  <a:pt x="58" y="352"/>
                  <a:pt x="58" y="352"/>
                  <a:pt x="58" y="352"/>
                </a:cubicBezTo>
                <a:cubicBezTo>
                  <a:pt x="54" y="410"/>
                  <a:pt x="38" y="430"/>
                  <a:pt x="0" y="436"/>
                </a:cubicBezTo>
                <a:cubicBezTo>
                  <a:pt x="0" y="448"/>
                  <a:pt x="0" y="448"/>
                  <a:pt x="0" y="448"/>
                </a:cubicBezTo>
                <a:cubicBezTo>
                  <a:pt x="140" y="448"/>
                  <a:pt x="140" y="448"/>
                  <a:pt x="140" y="448"/>
                </a:cubicBezTo>
                <a:cubicBezTo>
                  <a:pt x="140" y="436"/>
                  <a:pt x="140" y="436"/>
                  <a:pt x="140" y="436"/>
                </a:cubicBezTo>
                <a:cubicBezTo>
                  <a:pt x="98" y="428"/>
                  <a:pt x="84" y="414"/>
                  <a:pt x="88" y="356"/>
                </a:cubicBezTo>
                <a:cubicBezTo>
                  <a:pt x="100" y="86"/>
                  <a:pt x="100" y="86"/>
                  <a:pt x="100" y="86"/>
                </a:cubicBezTo>
                <a:cubicBezTo>
                  <a:pt x="240" y="444"/>
                  <a:pt x="240" y="444"/>
                  <a:pt x="240" y="444"/>
                </a:cubicBezTo>
                <a:cubicBezTo>
                  <a:pt x="258" y="444"/>
                  <a:pt x="258" y="444"/>
                  <a:pt x="258" y="444"/>
                </a:cubicBezTo>
                <a:cubicBezTo>
                  <a:pt x="396" y="86"/>
                  <a:pt x="396" y="86"/>
                  <a:pt x="396" y="86"/>
                </a:cubicBezTo>
                <a:cubicBezTo>
                  <a:pt x="408" y="372"/>
                  <a:pt x="408" y="372"/>
                  <a:pt x="408" y="372"/>
                </a:cubicBezTo>
                <a:cubicBezTo>
                  <a:pt x="410" y="416"/>
                  <a:pt x="398" y="430"/>
                  <a:pt x="366" y="434"/>
                </a:cubicBezTo>
                <a:lnTo>
                  <a:pt x="366" y="448"/>
                </a:lnTo>
                <a:close/>
                <a:moveTo>
                  <a:pt x="670" y="456"/>
                </a:moveTo>
                <a:cubicBezTo>
                  <a:pt x="708" y="456"/>
                  <a:pt x="756" y="440"/>
                  <a:pt x="782" y="412"/>
                </a:cubicBezTo>
                <a:cubicBezTo>
                  <a:pt x="776" y="400"/>
                  <a:pt x="776" y="400"/>
                  <a:pt x="776" y="400"/>
                </a:cubicBezTo>
                <a:cubicBezTo>
                  <a:pt x="750" y="416"/>
                  <a:pt x="722" y="422"/>
                  <a:pt x="696" y="422"/>
                </a:cubicBezTo>
                <a:cubicBezTo>
                  <a:pt x="620" y="422"/>
                  <a:pt x="592" y="358"/>
                  <a:pt x="592" y="290"/>
                </a:cubicBezTo>
                <a:cubicBezTo>
                  <a:pt x="592" y="258"/>
                  <a:pt x="600" y="236"/>
                  <a:pt x="614" y="222"/>
                </a:cubicBezTo>
                <a:cubicBezTo>
                  <a:pt x="626" y="210"/>
                  <a:pt x="646" y="204"/>
                  <a:pt x="664" y="204"/>
                </a:cubicBezTo>
                <a:cubicBezTo>
                  <a:pt x="690" y="204"/>
                  <a:pt x="722" y="214"/>
                  <a:pt x="744" y="244"/>
                </a:cubicBezTo>
                <a:cubicBezTo>
                  <a:pt x="750" y="244"/>
                  <a:pt x="750" y="244"/>
                  <a:pt x="750" y="244"/>
                </a:cubicBezTo>
                <a:cubicBezTo>
                  <a:pt x="758" y="234"/>
                  <a:pt x="766" y="212"/>
                  <a:pt x="768" y="196"/>
                </a:cubicBezTo>
                <a:cubicBezTo>
                  <a:pt x="748" y="180"/>
                  <a:pt x="720" y="172"/>
                  <a:pt x="686" y="172"/>
                </a:cubicBezTo>
                <a:cubicBezTo>
                  <a:pt x="604" y="172"/>
                  <a:pt x="544" y="246"/>
                  <a:pt x="544" y="326"/>
                </a:cubicBezTo>
                <a:cubicBezTo>
                  <a:pt x="540" y="390"/>
                  <a:pt x="576" y="456"/>
                  <a:pt x="670" y="456"/>
                </a:cubicBezTo>
                <a:moveTo>
                  <a:pt x="1272" y="98"/>
                </a:moveTo>
                <a:cubicBezTo>
                  <a:pt x="1292" y="98"/>
                  <a:pt x="1308" y="82"/>
                  <a:pt x="1308" y="62"/>
                </a:cubicBezTo>
                <a:cubicBezTo>
                  <a:pt x="1308" y="42"/>
                  <a:pt x="1292" y="26"/>
                  <a:pt x="1272" y="26"/>
                </a:cubicBezTo>
                <a:cubicBezTo>
                  <a:pt x="1252" y="26"/>
                  <a:pt x="1238" y="42"/>
                  <a:pt x="1238" y="62"/>
                </a:cubicBezTo>
                <a:cubicBezTo>
                  <a:pt x="1238" y="82"/>
                  <a:pt x="1252" y="98"/>
                  <a:pt x="1272" y="98"/>
                </a:cubicBezTo>
                <a:moveTo>
                  <a:pt x="1202" y="448"/>
                </a:moveTo>
                <a:cubicBezTo>
                  <a:pt x="1346" y="448"/>
                  <a:pt x="1346" y="448"/>
                  <a:pt x="1346" y="448"/>
                </a:cubicBezTo>
                <a:cubicBezTo>
                  <a:pt x="1346" y="436"/>
                  <a:pt x="1346" y="436"/>
                  <a:pt x="1346" y="436"/>
                </a:cubicBezTo>
                <a:cubicBezTo>
                  <a:pt x="1304" y="432"/>
                  <a:pt x="1302" y="434"/>
                  <a:pt x="1302" y="338"/>
                </a:cubicBezTo>
                <a:cubicBezTo>
                  <a:pt x="1302" y="176"/>
                  <a:pt x="1302" y="176"/>
                  <a:pt x="1302" y="176"/>
                </a:cubicBezTo>
                <a:cubicBezTo>
                  <a:pt x="1200" y="176"/>
                  <a:pt x="1200" y="176"/>
                  <a:pt x="1200" y="176"/>
                </a:cubicBezTo>
                <a:cubicBezTo>
                  <a:pt x="1200" y="188"/>
                  <a:pt x="1200" y="188"/>
                  <a:pt x="1200" y="188"/>
                </a:cubicBezTo>
                <a:cubicBezTo>
                  <a:pt x="1244" y="190"/>
                  <a:pt x="1250" y="192"/>
                  <a:pt x="1250" y="268"/>
                </a:cubicBezTo>
                <a:cubicBezTo>
                  <a:pt x="1250" y="336"/>
                  <a:pt x="1250" y="336"/>
                  <a:pt x="1250" y="336"/>
                </a:cubicBezTo>
                <a:cubicBezTo>
                  <a:pt x="1250" y="432"/>
                  <a:pt x="1248" y="432"/>
                  <a:pt x="1202" y="436"/>
                </a:cubicBezTo>
                <a:cubicBezTo>
                  <a:pt x="1178" y="434"/>
                  <a:pt x="1154" y="426"/>
                  <a:pt x="1076" y="338"/>
                </a:cubicBezTo>
                <a:cubicBezTo>
                  <a:pt x="1046" y="302"/>
                  <a:pt x="996" y="244"/>
                  <a:pt x="968" y="206"/>
                </a:cubicBezTo>
                <a:cubicBezTo>
                  <a:pt x="1062" y="102"/>
                  <a:pt x="1062" y="102"/>
                  <a:pt x="1062" y="102"/>
                </a:cubicBezTo>
                <a:cubicBezTo>
                  <a:pt x="1108" y="52"/>
                  <a:pt x="1132" y="26"/>
                  <a:pt x="1176" y="24"/>
                </a:cubicBezTo>
                <a:cubicBezTo>
                  <a:pt x="1176" y="10"/>
                  <a:pt x="1176" y="10"/>
                  <a:pt x="1176" y="10"/>
                </a:cubicBezTo>
                <a:cubicBezTo>
                  <a:pt x="1030" y="10"/>
                  <a:pt x="1030" y="10"/>
                  <a:pt x="1030" y="10"/>
                </a:cubicBezTo>
                <a:cubicBezTo>
                  <a:pt x="1030" y="22"/>
                  <a:pt x="1030" y="22"/>
                  <a:pt x="1030" y="22"/>
                </a:cubicBezTo>
                <a:cubicBezTo>
                  <a:pt x="1050" y="26"/>
                  <a:pt x="1056" y="32"/>
                  <a:pt x="1056" y="46"/>
                </a:cubicBezTo>
                <a:cubicBezTo>
                  <a:pt x="1056" y="56"/>
                  <a:pt x="1054" y="72"/>
                  <a:pt x="1026" y="102"/>
                </a:cubicBezTo>
                <a:cubicBezTo>
                  <a:pt x="910" y="230"/>
                  <a:pt x="910" y="230"/>
                  <a:pt x="910" y="230"/>
                </a:cubicBezTo>
                <a:cubicBezTo>
                  <a:pt x="910" y="148"/>
                  <a:pt x="910" y="148"/>
                  <a:pt x="910" y="148"/>
                </a:cubicBezTo>
                <a:cubicBezTo>
                  <a:pt x="910" y="36"/>
                  <a:pt x="916" y="28"/>
                  <a:pt x="960" y="22"/>
                </a:cubicBezTo>
                <a:cubicBezTo>
                  <a:pt x="960" y="8"/>
                  <a:pt x="960" y="8"/>
                  <a:pt x="960" y="8"/>
                </a:cubicBezTo>
                <a:cubicBezTo>
                  <a:pt x="804" y="8"/>
                  <a:pt x="804" y="8"/>
                  <a:pt x="804" y="8"/>
                </a:cubicBezTo>
                <a:cubicBezTo>
                  <a:pt x="804" y="22"/>
                  <a:pt x="804" y="22"/>
                  <a:pt x="804" y="22"/>
                </a:cubicBezTo>
                <a:cubicBezTo>
                  <a:pt x="852" y="26"/>
                  <a:pt x="854" y="36"/>
                  <a:pt x="854" y="148"/>
                </a:cubicBezTo>
                <a:cubicBezTo>
                  <a:pt x="854" y="300"/>
                  <a:pt x="854" y="300"/>
                  <a:pt x="854" y="300"/>
                </a:cubicBezTo>
                <a:cubicBezTo>
                  <a:pt x="854" y="422"/>
                  <a:pt x="850" y="430"/>
                  <a:pt x="804" y="434"/>
                </a:cubicBezTo>
                <a:cubicBezTo>
                  <a:pt x="804" y="446"/>
                  <a:pt x="804" y="446"/>
                  <a:pt x="804" y="446"/>
                </a:cubicBezTo>
                <a:cubicBezTo>
                  <a:pt x="960" y="446"/>
                  <a:pt x="960" y="446"/>
                  <a:pt x="960" y="446"/>
                </a:cubicBezTo>
                <a:cubicBezTo>
                  <a:pt x="960" y="434"/>
                  <a:pt x="960" y="434"/>
                  <a:pt x="960" y="434"/>
                </a:cubicBezTo>
                <a:cubicBezTo>
                  <a:pt x="910" y="428"/>
                  <a:pt x="910" y="424"/>
                  <a:pt x="910" y="292"/>
                </a:cubicBezTo>
                <a:cubicBezTo>
                  <a:pt x="910" y="268"/>
                  <a:pt x="910" y="268"/>
                  <a:pt x="910" y="268"/>
                </a:cubicBezTo>
                <a:cubicBezTo>
                  <a:pt x="930" y="246"/>
                  <a:pt x="930" y="246"/>
                  <a:pt x="930" y="246"/>
                </a:cubicBezTo>
                <a:cubicBezTo>
                  <a:pt x="982" y="310"/>
                  <a:pt x="1038" y="380"/>
                  <a:pt x="1098" y="448"/>
                </a:cubicBezTo>
                <a:cubicBezTo>
                  <a:pt x="1202" y="448"/>
                  <a:pt x="1202" y="448"/>
                  <a:pt x="1202" y="448"/>
                </a:cubicBezTo>
                <a:close/>
                <a:moveTo>
                  <a:pt x="1564" y="448"/>
                </a:moveTo>
                <a:cubicBezTo>
                  <a:pt x="1706" y="448"/>
                  <a:pt x="1706" y="448"/>
                  <a:pt x="1706" y="448"/>
                </a:cubicBezTo>
                <a:cubicBezTo>
                  <a:pt x="1706" y="436"/>
                  <a:pt x="1706" y="436"/>
                  <a:pt x="1706" y="436"/>
                </a:cubicBezTo>
                <a:cubicBezTo>
                  <a:pt x="1658" y="434"/>
                  <a:pt x="1658" y="432"/>
                  <a:pt x="1658" y="342"/>
                </a:cubicBezTo>
                <a:cubicBezTo>
                  <a:pt x="1658" y="280"/>
                  <a:pt x="1658" y="280"/>
                  <a:pt x="1658" y="280"/>
                </a:cubicBezTo>
                <a:cubicBezTo>
                  <a:pt x="1658" y="198"/>
                  <a:pt x="1612" y="172"/>
                  <a:pt x="1570" y="172"/>
                </a:cubicBezTo>
                <a:cubicBezTo>
                  <a:pt x="1534" y="172"/>
                  <a:pt x="1498" y="188"/>
                  <a:pt x="1470" y="224"/>
                </a:cubicBezTo>
                <a:cubicBezTo>
                  <a:pt x="1470" y="176"/>
                  <a:pt x="1470" y="176"/>
                  <a:pt x="1470" y="176"/>
                </a:cubicBezTo>
                <a:cubicBezTo>
                  <a:pt x="1368" y="176"/>
                  <a:pt x="1368" y="176"/>
                  <a:pt x="1368" y="176"/>
                </a:cubicBezTo>
                <a:cubicBezTo>
                  <a:pt x="1368" y="188"/>
                  <a:pt x="1368" y="188"/>
                  <a:pt x="1368" y="188"/>
                </a:cubicBezTo>
                <a:cubicBezTo>
                  <a:pt x="1412" y="190"/>
                  <a:pt x="1418" y="192"/>
                  <a:pt x="1418" y="268"/>
                </a:cubicBezTo>
                <a:cubicBezTo>
                  <a:pt x="1418" y="336"/>
                  <a:pt x="1418" y="336"/>
                  <a:pt x="1418" y="336"/>
                </a:cubicBezTo>
                <a:cubicBezTo>
                  <a:pt x="1418" y="434"/>
                  <a:pt x="1418" y="434"/>
                  <a:pt x="1370" y="436"/>
                </a:cubicBezTo>
                <a:cubicBezTo>
                  <a:pt x="1370" y="448"/>
                  <a:pt x="1370" y="448"/>
                  <a:pt x="1370" y="448"/>
                </a:cubicBezTo>
                <a:cubicBezTo>
                  <a:pt x="1514" y="448"/>
                  <a:pt x="1514" y="448"/>
                  <a:pt x="1514" y="448"/>
                </a:cubicBezTo>
                <a:cubicBezTo>
                  <a:pt x="1514" y="436"/>
                  <a:pt x="1514" y="436"/>
                  <a:pt x="1514" y="436"/>
                </a:cubicBezTo>
                <a:cubicBezTo>
                  <a:pt x="1472" y="432"/>
                  <a:pt x="1470" y="434"/>
                  <a:pt x="1470" y="338"/>
                </a:cubicBezTo>
                <a:cubicBezTo>
                  <a:pt x="1470" y="262"/>
                  <a:pt x="1470" y="262"/>
                  <a:pt x="1470" y="262"/>
                </a:cubicBezTo>
                <a:cubicBezTo>
                  <a:pt x="1470" y="236"/>
                  <a:pt x="1504" y="206"/>
                  <a:pt x="1546" y="206"/>
                </a:cubicBezTo>
                <a:cubicBezTo>
                  <a:pt x="1580" y="206"/>
                  <a:pt x="1606" y="220"/>
                  <a:pt x="1606" y="286"/>
                </a:cubicBezTo>
                <a:cubicBezTo>
                  <a:pt x="1606" y="340"/>
                  <a:pt x="1606" y="340"/>
                  <a:pt x="1606" y="340"/>
                </a:cubicBezTo>
                <a:cubicBezTo>
                  <a:pt x="1606" y="432"/>
                  <a:pt x="1602" y="432"/>
                  <a:pt x="1564" y="434"/>
                </a:cubicBezTo>
                <a:lnTo>
                  <a:pt x="1564" y="448"/>
                </a:lnTo>
                <a:close/>
                <a:moveTo>
                  <a:pt x="1776" y="222"/>
                </a:moveTo>
                <a:cubicBezTo>
                  <a:pt x="1776" y="200"/>
                  <a:pt x="1796" y="188"/>
                  <a:pt x="1822" y="188"/>
                </a:cubicBezTo>
                <a:cubicBezTo>
                  <a:pt x="1874" y="188"/>
                  <a:pt x="1896" y="236"/>
                  <a:pt x="1900" y="252"/>
                </a:cubicBezTo>
                <a:cubicBezTo>
                  <a:pt x="1912" y="252"/>
                  <a:pt x="1912" y="252"/>
                  <a:pt x="1912" y="252"/>
                </a:cubicBezTo>
                <a:cubicBezTo>
                  <a:pt x="1912" y="212"/>
                  <a:pt x="1908" y="188"/>
                  <a:pt x="1904" y="184"/>
                </a:cubicBezTo>
                <a:cubicBezTo>
                  <a:pt x="1900" y="180"/>
                  <a:pt x="1862" y="170"/>
                  <a:pt x="1824" y="170"/>
                </a:cubicBezTo>
                <a:cubicBezTo>
                  <a:pt x="1768" y="170"/>
                  <a:pt x="1734" y="206"/>
                  <a:pt x="1734" y="248"/>
                </a:cubicBezTo>
                <a:cubicBezTo>
                  <a:pt x="1734" y="340"/>
                  <a:pt x="1890" y="322"/>
                  <a:pt x="1890" y="396"/>
                </a:cubicBezTo>
                <a:cubicBezTo>
                  <a:pt x="1890" y="422"/>
                  <a:pt x="1866" y="436"/>
                  <a:pt x="1826" y="436"/>
                </a:cubicBezTo>
                <a:cubicBezTo>
                  <a:pt x="1788" y="436"/>
                  <a:pt x="1754" y="416"/>
                  <a:pt x="1744" y="366"/>
                </a:cubicBezTo>
                <a:cubicBezTo>
                  <a:pt x="1728" y="366"/>
                  <a:pt x="1728" y="366"/>
                  <a:pt x="1728" y="366"/>
                </a:cubicBezTo>
                <a:cubicBezTo>
                  <a:pt x="1728" y="386"/>
                  <a:pt x="1732" y="422"/>
                  <a:pt x="1734" y="428"/>
                </a:cubicBezTo>
                <a:cubicBezTo>
                  <a:pt x="1744" y="446"/>
                  <a:pt x="1788" y="454"/>
                  <a:pt x="1824" y="454"/>
                </a:cubicBezTo>
                <a:cubicBezTo>
                  <a:pt x="1888" y="454"/>
                  <a:pt x="1928" y="416"/>
                  <a:pt x="1928" y="372"/>
                </a:cubicBezTo>
                <a:cubicBezTo>
                  <a:pt x="1932" y="270"/>
                  <a:pt x="1776" y="286"/>
                  <a:pt x="1776" y="222"/>
                </a:cubicBezTo>
                <a:moveTo>
                  <a:pt x="2030" y="270"/>
                </a:moveTo>
                <a:cubicBezTo>
                  <a:pt x="2034" y="220"/>
                  <a:pt x="2058" y="192"/>
                  <a:pt x="2102" y="192"/>
                </a:cubicBezTo>
                <a:cubicBezTo>
                  <a:pt x="2144" y="192"/>
                  <a:pt x="2170" y="220"/>
                  <a:pt x="2172" y="270"/>
                </a:cubicBezTo>
                <a:lnTo>
                  <a:pt x="2030" y="270"/>
                </a:lnTo>
                <a:close/>
                <a:moveTo>
                  <a:pt x="2030" y="290"/>
                </a:moveTo>
                <a:cubicBezTo>
                  <a:pt x="2222" y="290"/>
                  <a:pt x="2222" y="290"/>
                  <a:pt x="2222" y="290"/>
                </a:cubicBezTo>
                <a:cubicBezTo>
                  <a:pt x="2226" y="228"/>
                  <a:pt x="2192" y="168"/>
                  <a:pt x="2114" y="168"/>
                </a:cubicBezTo>
                <a:cubicBezTo>
                  <a:pt x="2034" y="168"/>
                  <a:pt x="1982" y="232"/>
                  <a:pt x="1982" y="320"/>
                </a:cubicBezTo>
                <a:cubicBezTo>
                  <a:pt x="1982" y="388"/>
                  <a:pt x="2018" y="456"/>
                  <a:pt x="2112" y="456"/>
                </a:cubicBezTo>
                <a:cubicBezTo>
                  <a:pt x="2150" y="456"/>
                  <a:pt x="2198" y="440"/>
                  <a:pt x="2224" y="412"/>
                </a:cubicBezTo>
                <a:cubicBezTo>
                  <a:pt x="2218" y="400"/>
                  <a:pt x="2218" y="400"/>
                  <a:pt x="2218" y="400"/>
                </a:cubicBezTo>
                <a:cubicBezTo>
                  <a:pt x="2192" y="416"/>
                  <a:pt x="2164" y="422"/>
                  <a:pt x="2138" y="422"/>
                </a:cubicBezTo>
                <a:cubicBezTo>
                  <a:pt x="2058" y="420"/>
                  <a:pt x="2028" y="352"/>
                  <a:pt x="2030" y="290"/>
                </a:cubicBezTo>
                <a:moveTo>
                  <a:pt x="2478" y="242"/>
                </a:moveTo>
                <a:cubicBezTo>
                  <a:pt x="2490" y="206"/>
                  <a:pt x="2510" y="192"/>
                  <a:pt x="2528" y="192"/>
                </a:cubicBezTo>
                <a:cubicBezTo>
                  <a:pt x="2528" y="180"/>
                  <a:pt x="2528" y="180"/>
                  <a:pt x="2528" y="180"/>
                </a:cubicBezTo>
                <a:cubicBezTo>
                  <a:pt x="2430" y="180"/>
                  <a:pt x="2430" y="180"/>
                  <a:pt x="2430" y="180"/>
                </a:cubicBezTo>
                <a:cubicBezTo>
                  <a:pt x="2430" y="192"/>
                  <a:pt x="2430" y="192"/>
                  <a:pt x="2430" y="192"/>
                </a:cubicBezTo>
                <a:cubicBezTo>
                  <a:pt x="2454" y="194"/>
                  <a:pt x="2466" y="206"/>
                  <a:pt x="2458" y="234"/>
                </a:cubicBezTo>
                <a:cubicBezTo>
                  <a:pt x="2406" y="390"/>
                  <a:pt x="2406" y="390"/>
                  <a:pt x="2406" y="390"/>
                </a:cubicBezTo>
                <a:cubicBezTo>
                  <a:pt x="2354" y="270"/>
                  <a:pt x="2354" y="270"/>
                  <a:pt x="2354" y="270"/>
                </a:cubicBezTo>
                <a:cubicBezTo>
                  <a:pt x="2340" y="238"/>
                  <a:pt x="2334" y="224"/>
                  <a:pt x="2334" y="212"/>
                </a:cubicBezTo>
                <a:cubicBezTo>
                  <a:pt x="2334" y="202"/>
                  <a:pt x="2340" y="196"/>
                  <a:pt x="2360" y="192"/>
                </a:cubicBezTo>
                <a:cubicBezTo>
                  <a:pt x="2360" y="180"/>
                  <a:pt x="2360" y="180"/>
                  <a:pt x="2360" y="180"/>
                </a:cubicBezTo>
                <a:cubicBezTo>
                  <a:pt x="2234" y="180"/>
                  <a:pt x="2234" y="180"/>
                  <a:pt x="2234" y="180"/>
                </a:cubicBezTo>
                <a:cubicBezTo>
                  <a:pt x="2234" y="192"/>
                  <a:pt x="2234" y="192"/>
                  <a:pt x="2234" y="192"/>
                </a:cubicBezTo>
                <a:cubicBezTo>
                  <a:pt x="2266" y="194"/>
                  <a:pt x="2268" y="198"/>
                  <a:pt x="2310" y="292"/>
                </a:cubicBezTo>
                <a:cubicBezTo>
                  <a:pt x="2382" y="450"/>
                  <a:pt x="2382" y="450"/>
                  <a:pt x="2382" y="450"/>
                </a:cubicBezTo>
                <a:cubicBezTo>
                  <a:pt x="2358" y="512"/>
                  <a:pt x="2320" y="546"/>
                  <a:pt x="2242" y="564"/>
                </a:cubicBezTo>
                <a:cubicBezTo>
                  <a:pt x="2246" y="576"/>
                  <a:pt x="2260" y="600"/>
                  <a:pt x="2268" y="606"/>
                </a:cubicBezTo>
                <a:cubicBezTo>
                  <a:pt x="2370" y="564"/>
                  <a:pt x="2390" y="498"/>
                  <a:pt x="2426" y="396"/>
                </a:cubicBezTo>
                <a:lnTo>
                  <a:pt x="2478" y="242"/>
                </a:lnTo>
                <a:close/>
                <a:moveTo>
                  <a:pt x="2844" y="394"/>
                </a:moveTo>
                <a:cubicBezTo>
                  <a:pt x="2822" y="412"/>
                  <a:pt x="2782" y="416"/>
                  <a:pt x="2750" y="416"/>
                </a:cubicBezTo>
                <a:cubicBezTo>
                  <a:pt x="2670" y="416"/>
                  <a:pt x="2606" y="360"/>
                  <a:pt x="2606" y="284"/>
                </a:cubicBezTo>
                <a:cubicBezTo>
                  <a:pt x="2606" y="236"/>
                  <a:pt x="2626" y="206"/>
                  <a:pt x="2658" y="198"/>
                </a:cubicBezTo>
                <a:cubicBezTo>
                  <a:pt x="2698" y="266"/>
                  <a:pt x="2770" y="338"/>
                  <a:pt x="2844" y="394"/>
                </a:cubicBezTo>
                <a:moveTo>
                  <a:pt x="2928" y="448"/>
                </a:moveTo>
                <a:cubicBezTo>
                  <a:pt x="3022" y="448"/>
                  <a:pt x="3022" y="448"/>
                  <a:pt x="3022" y="448"/>
                </a:cubicBezTo>
                <a:cubicBezTo>
                  <a:pt x="3022" y="436"/>
                  <a:pt x="3022" y="436"/>
                  <a:pt x="3022" y="436"/>
                </a:cubicBezTo>
                <a:cubicBezTo>
                  <a:pt x="2992" y="432"/>
                  <a:pt x="2946" y="408"/>
                  <a:pt x="2896" y="372"/>
                </a:cubicBezTo>
                <a:cubicBezTo>
                  <a:pt x="2914" y="342"/>
                  <a:pt x="2918" y="300"/>
                  <a:pt x="2922" y="270"/>
                </a:cubicBezTo>
                <a:cubicBezTo>
                  <a:pt x="2926" y="244"/>
                  <a:pt x="2946" y="244"/>
                  <a:pt x="2958" y="242"/>
                </a:cubicBezTo>
                <a:cubicBezTo>
                  <a:pt x="2958" y="230"/>
                  <a:pt x="2958" y="230"/>
                  <a:pt x="2958" y="230"/>
                </a:cubicBezTo>
                <a:cubicBezTo>
                  <a:pt x="2834" y="230"/>
                  <a:pt x="2834" y="230"/>
                  <a:pt x="2834" y="230"/>
                </a:cubicBezTo>
                <a:cubicBezTo>
                  <a:pt x="2834" y="242"/>
                  <a:pt x="2834" y="242"/>
                  <a:pt x="2834" y="242"/>
                </a:cubicBezTo>
                <a:cubicBezTo>
                  <a:pt x="2864" y="246"/>
                  <a:pt x="2892" y="250"/>
                  <a:pt x="2892" y="294"/>
                </a:cubicBezTo>
                <a:cubicBezTo>
                  <a:pt x="2892" y="318"/>
                  <a:pt x="2888" y="342"/>
                  <a:pt x="2878" y="358"/>
                </a:cubicBezTo>
                <a:cubicBezTo>
                  <a:pt x="2770" y="274"/>
                  <a:pt x="2670" y="156"/>
                  <a:pt x="2670" y="96"/>
                </a:cubicBezTo>
                <a:cubicBezTo>
                  <a:pt x="2670" y="66"/>
                  <a:pt x="2688" y="54"/>
                  <a:pt x="2716" y="54"/>
                </a:cubicBezTo>
                <a:cubicBezTo>
                  <a:pt x="2752" y="54"/>
                  <a:pt x="2784" y="78"/>
                  <a:pt x="2800" y="124"/>
                </a:cubicBezTo>
                <a:cubicBezTo>
                  <a:pt x="2812" y="124"/>
                  <a:pt x="2812" y="124"/>
                  <a:pt x="2812" y="124"/>
                </a:cubicBezTo>
                <a:cubicBezTo>
                  <a:pt x="2810" y="42"/>
                  <a:pt x="2810" y="42"/>
                  <a:pt x="2810" y="42"/>
                </a:cubicBezTo>
                <a:cubicBezTo>
                  <a:pt x="2798" y="42"/>
                  <a:pt x="2798" y="42"/>
                  <a:pt x="2798" y="42"/>
                </a:cubicBezTo>
                <a:cubicBezTo>
                  <a:pt x="2798" y="48"/>
                  <a:pt x="2792" y="52"/>
                  <a:pt x="2788" y="52"/>
                </a:cubicBezTo>
                <a:cubicBezTo>
                  <a:pt x="2772" y="52"/>
                  <a:pt x="2752" y="36"/>
                  <a:pt x="2714" y="36"/>
                </a:cubicBezTo>
                <a:cubicBezTo>
                  <a:pt x="2672" y="36"/>
                  <a:pt x="2630" y="62"/>
                  <a:pt x="2630" y="118"/>
                </a:cubicBezTo>
                <a:cubicBezTo>
                  <a:pt x="2630" y="140"/>
                  <a:pt x="2636" y="160"/>
                  <a:pt x="2648" y="182"/>
                </a:cubicBezTo>
                <a:cubicBezTo>
                  <a:pt x="2592" y="200"/>
                  <a:pt x="2562" y="248"/>
                  <a:pt x="2562" y="304"/>
                </a:cubicBezTo>
                <a:cubicBezTo>
                  <a:pt x="2562" y="406"/>
                  <a:pt x="2640" y="460"/>
                  <a:pt x="2726" y="460"/>
                </a:cubicBezTo>
                <a:cubicBezTo>
                  <a:pt x="2780" y="460"/>
                  <a:pt x="2824" y="444"/>
                  <a:pt x="2862" y="410"/>
                </a:cubicBezTo>
                <a:cubicBezTo>
                  <a:pt x="2888" y="424"/>
                  <a:pt x="2912" y="442"/>
                  <a:pt x="2928" y="448"/>
                </a:cubicBezTo>
                <a:moveTo>
                  <a:pt x="3094" y="212"/>
                </a:moveTo>
                <a:cubicBezTo>
                  <a:pt x="3094" y="88"/>
                  <a:pt x="3154" y="20"/>
                  <a:pt x="3252" y="20"/>
                </a:cubicBezTo>
                <a:cubicBezTo>
                  <a:pt x="3328" y="20"/>
                  <a:pt x="3372" y="58"/>
                  <a:pt x="3392" y="134"/>
                </a:cubicBezTo>
                <a:cubicBezTo>
                  <a:pt x="3404" y="134"/>
                  <a:pt x="3404" y="134"/>
                  <a:pt x="3404" y="134"/>
                </a:cubicBezTo>
                <a:cubicBezTo>
                  <a:pt x="3400" y="4"/>
                  <a:pt x="3400" y="4"/>
                  <a:pt x="3400" y="4"/>
                </a:cubicBezTo>
                <a:cubicBezTo>
                  <a:pt x="3388" y="4"/>
                  <a:pt x="3388" y="4"/>
                  <a:pt x="3388" y="4"/>
                </a:cubicBezTo>
                <a:cubicBezTo>
                  <a:pt x="3384" y="14"/>
                  <a:pt x="3376" y="18"/>
                  <a:pt x="3364" y="18"/>
                </a:cubicBezTo>
                <a:cubicBezTo>
                  <a:pt x="3338" y="18"/>
                  <a:pt x="3314" y="0"/>
                  <a:pt x="3248" y="0"/>
                </a:cubicBezTo>
                <a:cubicBezTo>
                  <a:pt x="3118" y="0"/>
                  <a:pt x="3030" y="102"/>
                  <a:pt x="3030" y="242"/>
                </a:cubicBezTo>
                <a:cubicBezTo>
                  <a:pt x="3030" y="376"/>
                  <a:pt x="3110" y="460"/>
                  <a:pt x="3238" y="460"/>
                </a:cubicBezTo>
                <a:cubicBezTo>
                  <a:pt x="3320" y="460"/>
                  <a:pt x="3384" y="420"/>
                  <a:pt x="3408" y="380"/>
                </a:cubicBezTo>
                <a:cubicBezTo>
                  <a:pt x="3396" y="366"/>
                  <a:pt x="3396" y="366"/>
                  <a:pt x="3396" y="366"/>
                </a:cubicBezTo>
                <a:cubicBezTo>
                  <a:pt x="3370" y="402"/>
                  <a:pt x="3314" y="426"/>
                  <a:pt x="3256" y="426"/>
                </a:cubicBezTo>
                <a:cubicBezTo>
                  <a:pt x="3156" y="426"/>
                  <a:pt x="3094" y="340"/>
                  <a:pt x="3094" y="212"/>
                </a:cubicBezTo>
                <a:moveTo>
                  <a:pt x="3678" y="328"/>
                </a:moveTo>
                <a:cubicBezTo>
                  <a:pt x="3678" y="392"/>
                  <a:pt x="3650" y="430"/>
                  <a:pt x="3592" y="430"/>
                </a:cubicBezTo>
                <a:cubicBezTo>
                  <a:pt x="3542" y="430"/>
                  <a:pt x="3496" y="384"/>
                  <a:pt x="3496" y="292"/>
                </a:cubicBezTo>
                <a:cubicBezTo>
                  <a:pt x="3496" y="226"/>
                  <a:pt x="3528" y="190"/>
                  <a:pt x="3580" y="190"/>
                </a:cubicBezTo>
                <a:cubicBezTo>
                  <a:pt x="3628" y="192"/>
                  <a:pt x="3678" y="238"/>
                  <a:pt x="3678" y="328"/>
                </a:cubicBezTo>
                <a:moveTo>
                  <a:pt x="3732" y="312"/>
                </a:moveTo>
                <a:cubicBezTo>
                  <a:pt x="3732" y="260"/>
                  <a:pt x="3710" y="214"/>
                  <a:pt x="3672" y="190"/>
                </a:cubicBezTo>
                <a:cubicBezTo>
                  <a:pt x="3650" y="176"/>
                  <a:pt x="3620" y="168"/>
                  <a:pt x="3588" y="168"/>
                </a:cubicBezTo>
                <a:cubicBezTo>
                  <a:pt x="3502" y="168"/>
                  <a:pt x="3442" y="230"/>
                  <a:pt x="3442" y="310"/>
                </a:cubicBezTo>
                <a:cubicBezTo>
                  <a:pt x="3442" y="364"/>
                  <a:pt x="3464" y="408"/>
                  <a:pt x="3502" y="432"/>
                </a:cubicBezTo>
                <a:cubicBezTo>
                  <a:pt x="3524" y="446"/>
                  <a:pt x="3554" y="452"/>
                  <a:pt x="3586" y="452"/>
                </a:cubicBezTo>
                <a:cubicBezTo>
                  <a:pt x="3672" y="454"/>
                  <a:pt x="3732" y="394"/>
                  <a:pt x="3732" y="312"/>
                </a:cubicBezTo>
                <a:moveTo>
                  <a:pt x="4136" y="448"/>
                </a:moveTo>
                <a:cubicBezTo>
                  <a:pt x="4280" y="448"/>
                  <a:pt x="4280" y="448"/>
                  <a:pt x="4280" y="448"/>
                </a:cubicBezTo>
                <a:cubicBezTo>
                  <a:pt x="4280" y="436"/>
                  <a:pt x="4280" y="436"/>
                  <a:pt x="4280" y="436"/>
                </a:cubicBezTo>
                <a:cubicBezTo>
                  <a:pt x="4230" y="434"/>
                  <a:pt x="4232" y="426"/>
                  <a:pt x="4232" y="348"/>
                </a:cubicBezTo>
                <a:cubicBezTo>
                  <a:pt x="4232" y="276"/>
                  <a:pt x="4232" y="276"/>
                  <a:pt x="4232" y="276"/>
                </a:cubicBezTo>
                <a:cubicBezTo>
                  <a:pt x="4232" y="200"/>
                  <a:pt x="4190" y="172"/>
                  <a:pt x="4142" y="172"/>
                </a:cubicBezTo>
                <a:cubicBezTo>
                  <a:pt x="4098" y="172"/>
                  <a:pt x="4064" y="196"/>
                  <a:pt x="4038" y="232"/>
                </a:cubicBezTo>
                <a:cubicBezTo>
                  <a:pt x="4028" y="194"/>
                  <a:pt x="4000" y="172"/>
                  <a:pt x="3954" y="172"/>
                </a:cubicBezTo>
                <a:cubicBezTo>
                  <a:pt x="3916" y="172"/>
                  <a:pt x="3880" y="196"/>
                  <a:pt x="3858" y="224"/>
                </a:cubicBezTo>
                <a:cubicBezTo>
                  <a:pt x="3858" y="176"/>
                  <a:pt x="3858" y="176"/>
                  <a:pt x="3858" y="176"/>
                </a:cubicBezTo>
                <a:cubicBezTo>
                  <a:pt x="3756" y="176"/>
                  <a:pt x="3756" y="176"/>
                  <a:pt x="3756" y="176"/>
                </a:cubicBezTo>
                <a:cubicBezTo>
                  <a:pt x="3756" y="188"/>
                  <a:pt x="3756" y="188"/>
                  <a:pt x="3756" y="188"/>
                </a:cubicBezTo>
                <a:cubicBezTo>
                  <a:pt x="3800" y="190"/>
                  <a:pt x="3806" y="192"/>
                  <a:pt x="3806" y="268"/>
                </a:cubicBezTo>
                <a:cubicBezTo>
                  <a:pt x="3806" y="346"/>
                  <a:pt x="3806" y="346"/>
                  <a:pt x="3806" y="346"/>
                </a:cubicBezTo>
                <a:cubicBezTo>
                  <a:pt x="3806" y="434"/>
                  <a:pt x="3804" y="434"/>
                  <a:pt x="3758" y="434"/>
                </a:cubicBezTo>
                <a:cubicBezTo>
                  <a:pt x="3758" y="446"/>
                  <a:pt x="3758" y="446"/>
                  <a:pt x="3758" y="446"/>
                </a:cubicBezTo>
                <a:cubicBezTo>
                  <a:pt x="3902" y="446"/>
                  <a:pt x="3902" y="446"/>
                  <a:pt x="3902" y="446"/>
                </a:cubicBezTo>
                <a:cubicBezTo>
                  <a:pt x="3902" y="434"/>
                  <a:pt x="3902" y="434"/>
                  <a:pt x="3902" y="434"/>
                </a:cubicBezTo>
                <a:cubicBezTo>
                  <a:pt x="3862" y="430"/>
                  <a:pt x="3858" y="430"/>
                  <a:pt x="3858" y="342"/>
                </a:cubicBezTo>
                <a:cubicBezTo>
                  <a:pt x="3858" y="262"/>
                  <a:pt x="3858" y="262"/>
                  <a:pt x="3858" y="262"/>
                </a:cubicBezTo>
                <a:cubicBezTo>
                  <a:pt x="3858" y="234"/>
                  <a:pt x="3894" y="204"/>
                  <a:pt x="3932" y="204"/>
                </a:cubicBezTo>
                <a:cubicBezTo>
                  <a:pt x="3974" y="204"/>
                  <a:pt x="3990" y="226"/>
                  <a:pt x="3990" y="282"/>
                </a:cubicBezTo>
                <a:cubicBezTo>
                  <a:pt x="3990" y="338"/>
                  <a:pt x="3990" y="338"/>
                  <a:pt x="3990" y="338"/>
                </a:cubicBezTo>
                <a:cubicBezTo>
                  <a:pt x="3990" y="428"/>
                  <a:pt x="3988" y="432"/>
                  <a:pt x="3950" y="436"/>
                </a:cubicBezTo>
                <a:cubicBezTo>
                  <a:pt x="3950" y="448"/>
                  <a:pt x="3950" y="448"/>
                  <a:pt x="3950" y="448"/>
                </a:cubicBezTo>
                <a:cubicBezTo>
                  <a:pt x="4086" y="448"/>
                  <a:pt x="4086" y="448"/>
                  <a:pt x="4086" y="448"/>
                </a:cubicBezTo>
                <a:cubicBezTo>
                  <a:pt x="4086" y="436"/>
                  <a:pt x="4086" y="436"/>
                  <a:pt x="4086" y="436"/>
                </a:cubicBezTo>
                <a:cubicBezTo>
                  <a:pt x="4040" y="432"/>
                  <a:pt x="4042" y="428"/>
                  <a:pt x="4042" y="342"/>
                </a:cubicBezTo>
                <a:cubicBezTo>
                  <a:pt x="4042" y="264"/>
                  <a:pt x="4042" y="264"/>
                  <a:pt x="4042" y="264"/>
                </a:cubicBezTo>
                <a:cubicBezTo>
                  <a:pt x="4042" y="236"/>
                  <a:pt x="4078" y="206"/>
                  <a:pt x="4118" y="206"/>
                </a:cubicBezTo>
                <a:cubicBezTo>
                  <a:pt x="4152" y="206"/>
                  <a:pt x="4174" y="226"/>
                  <a:pt x="4174" y="284"/>
                </a:cubicBezTo>
                <a:cubicBezTo>
                  <a:pt x="4174" y="346"/>
                  <a:pt x="4174" y="346"/>
                  <a:pt x="4174" y="346"/>
                </a:cubicBezTo>
                <a:cubicBezTo>
                  <a:pt x="4174" y="428"/>
                  <a:pt x="4174" y="432"/>
                  <a:pt x="4134" y="436"/>
                </a:cubicBezTo>
                <a:cubicBezTo>
                  <a:pt x="4134" y="448"/>
                  <a:pt x="4134" y="448"/>
                  <a:pt x="4134" y="448"/>
                </a:cubicBezTo>
                <a:lnTo>
                  <a:pt x="4136" y="448"/>
                </a:lnTo>
                <a:close/>
                <a:moveTo>
                  <a:pt x="4546" y="316"/>
                </a:moveTo>
                <a:cubicBezTo>
                  <a:pt x="4546" y="388"/>
                  <a:pt x="4516" y="432"/>
                  <a:pt x="4460" y="432"/>
                </a:cubicBezTo>
                <a:cubicBezTo>
                  <a:pt x="4424" y="432"/>
                  <a:pt x="4384" y="412"/>
                  <a:pt x="4384" y="384"/>
                </a:cubicBezTo>
                <a:cubicBezTo>
                  <a:pt x="4384" y="248"/>
                  <a:pt x="4384" y="248"/>
                  <a:pt x="4384" y="248"/>
                </a:cubicBezTo>
                <a:cubicBezTo>
                  <a:pt x="4384" y="226"/>
                  <a:pt x="4416" y="202"/>
                  <a:pt x="4454" y="202"/>
                </a:cubicBezTo>
                <a:cubicBezTo>
                  <a:pt x="4510" y="206"/>
                  <a:pt x="4546" y="248"/>
                  <a:pt x="4546" y="316"/>
                </a:cubicBezTo>
                <a:moveTo>
                  <a:pt x="4600" y="310"/>
                </a:moveTo>
                <a:cubicBezTo>
                  <a:pt x="4600" y="230"/>
                  <a:pt x="4548" y="170"/>
                  <a:pt x="4478" y="170"/>
                </a:cubicBezTo>
                <a:cubicBezTo>
                  <a:pt x="4438" y="170"/>
                  <a:pt x="4406" y="188"/>
                  <a:pt x="4384" y="214"/>
                </a:cubicBezTo>
                <a:cubicBezTo>
                  <a:pt x="4384" y="174"/>
                  <a:pt x="4384" y="174"/>
                  <a:pt x="4384" y="174"/>
                </a:cubicBezTo>
                <a:cubicBezTo>
                  <a:pt x="4284" y="174"/>
                  <a:pt x="4284" y="174"/>
                  <a:pt x="4284" y="174"/>
                </a:cubicBezTo>
                <a:cubicBezTo>
                  <a:pt x="4284" y="186"/>
                  <a:pt x="4284" y="186"/>
                  <a:pt x="4284" y="186"/>
                </a:cubicBezTo>
                <a:cubicBezTo>
                  <a:pt x="4326" y="188"/>
                  <a:pt x="4332" y="190"/>
                  <a:pt x="4332" y="280"/>
                </a:cubicBezTo>
                <a:cubicBezTo>
                  <a:pt x="4332" y="466"/>
                  <a:pt x="4332" y="466"/>
                  <a:pt x="4332" y="466"/>
                </a:cubicBezTo>
                <a:cubicBezTo>
                  <a:pt x="4332" y="564"/>
                  <a:pt x="4334" y="570"/>
                  <a:pt x="4286" y="574"/>
                </a:cubicBezTo>
                <a:cubicBezTo>
                  <a:pt x="4286" y="588"/>
                  <a:pt x="4286" y="588"/>
                  <a:pt x="4286" y="588"/>
                </a:cubicBezTo>
                <a:cubicBezTo>
                  <a:pt x="4432" y="588"/>
                  <a:pt x="4432" y="588"/>
                  <a:pt x="4432" y="588"/>
                </a:cubicBezTo>
                <a:cubicBezTo>
                  <a:pt x="4432" y="574"/>
                  <a:pt x="4432" y="574"/>
                  <a:pt x="4432" y="574"/>
                </a:cubicBezTo>
                <a:cubicBezTo>
                  <a:pt x="4380" y="572"/>
                  <a:pt x="4384" y="564"/>
                  <a:pt x="4384" y="462"/>
                </a:cubicBezTo>
                <a:cubicBezTo>
                  <a:pt x="4384" y="424"/>
                  <a:pt x="4384" y="424"/>
                  <a:pt x="4384" y="424"/>
                </a:cubicBezTo>
                <a:cubicBezTo>
                  <a:pt x="4404" y="444"/>
                  <a:pt x="4436" y="454"/>
                  <a:pt x="4466" y="454"/>
                </a:cubicBezTo>
                <a:cubicBezTo>
                  <a:pt x="4548" y="454"/>
                  <a:pt x="4600" y="392"/>
                  <a:pt x="4600" y="310"/>
                </a:cubicBezTo>
                <a:moveTo>
                  <a:pt x="4792" y="382"/>
                </a:moveTo>
                <a:cubicBezTo>
                  <a:pt x="4792" y="404"/>
                  <a:pt x="4762" y="424"/>
                  <a:pt x="4736" y="424"/>
                </a:cubicBezTo>
                <a:cubicBezTo>
                  <a:pt x="4712" y="424"/>
                  <a:pt x="4694" y="410"/>
                  <a:pt x="4694" y="378"/>
                </a:cubicBezTo>
                <a:cubicBezTo>
                  <a:pt x="4694" y="322"/>
                  <a:pt x="4752" y="328"/>
                  <a:pt x="4792" y="306"/>
                </a:cubicBezTo>
                <a:cubicBezTo>
                  <a:pt x="4792" y="382"/>
                  <a:pt x="4792" y="382"/>
                  <a:pt x="4792" y="382"/>
                </a:cubicBezTo>
                <a:close/>
                <a:moveTo>
                  <a:pt x="5240" y="434"/>
                </a:moveTo>
                <a:cubicBezTo>
                  <a:pt x="5192" y="432"/>
                  <a:pt x="5192" y="430"/>
                  <a:pt x="5192" y="340"/>
                </a:cubicBezTo>
                <a:cubicBezTo>
                  <a:pt x="5192" y="278"/>
                  <a:pt x="5192" y="278"/>
                  <a:pt x="5192" y="278"/>
                </a:cubicBezTo>
                <a:cubicBezTo>
                  <a:pt x="5192" y="196"/>
                  <a:pt x="5146" y="170"/>
                  <a:pt x="5104" y="170"/>
                </a:cubicBezTo>
                <a:cubicBezTo>
                  <a:pt x="5068" y="170"/>
                  <a:pt x="5032" y="186"/>
                  <a:pt x="5004" y="222"/>
                </a:cubicBezTo>
                <a:cubicBezTo>
                  <a:pt x="5004" y="174"/>
                  <a:pt x="5004" y="174"/>
                  <a:pt x="5004" y="174"/>
                </a:cubicBezTo>
                <a:cubicBezTo>
                  <a:pt x="4902" y="174"/>
                  <a:pt x="4902" y="174"/>
                  <a:pt x="4902" y="174"/>
                </a:cubicBezTo>
                <a:cubicBezTo>
                  <a:pt x="4902" y="186"/>
                  <a:pt x="4902" y="186"/>
                  <a:pt x="4902" y="186"/>
                </a:cubicBezTo>
                <a:cubicBezTo>
                  <a:pt x="4946" y="188"/>
                  <a:pt x="4952" y="190"/>
                  <a:pt x="4952" y="266"/>
                </a:cubicBezTo>
                <a:cubicBezTo>
                  <a:pt x="4952" y="334"/>
                  <a:pt x="4952" y="334"/>
                  <a:pt x="4952" y="334"/>
                </a:cubicBezTo>
                <a:cubicBezTo>
                  <a:pt x="4952" y="430"/>
                  <a:pt x="4952" y="432"/>
                  <a:pt x="4904" y="434"/>
                </a:cubicBezTo>
                <a:cubicBezTo>
                  <a:pt x="4892" y="434"/>
                  <a:pt x="4892" y="434"/>
                  <a:pt x="4892" y="434"/>
                </a:cubicBezTo>
                <a:cubicBezTo>
                  <a:pt x="4854" y="434"/>
                  <a:pt x="4850" y="422"/>
                  <a:pt x="4850" y="366"/>
                </a:cubicBezTo>
                <a:cubicBezTo>
                  <a:pt x="4850" y="274"/>
                  <a:pt x="4850" y="274"/>
                  <a:pt x="4850" y="274"/>
                </a:cubicBezTo>
                <a:cubicBezTo>
                  <a:pt x="4850" y="256"/>
                  <a:pt x="4848" y="240"/>
                  <a:pt x="4844" y="228"/>
                </a:cubicBezTo>
                <a:cubicBezTo>
                  <a:pt x="4830" y="186"/>
                  <a:pt x="4796" y="170"/>
                  <a:pt x="4748" y="170"/>
                </a:cubicBezTo>
                <a:cubicBezTo>
                  <a:pt x="4718" y="170"/>
                  <a:pt x="4674" y="180"/>
                  <a:pt x="4650" y="202"/>
                </a:cubicBezTo>
                <a:cubicBezTo>
                  <a:pt x="4652" y="214"/>
                  <a:pt x="4664" y="240"/>
                  <a:pt x="4670" y="248"/>
                </a:cubicBezTo>
                <a:cubicBezTo>
                  <a:pt x="4676" y="246"/>
                  <a:pt x="4676" y="246"/>
                  <a:pt x="4676" y="246"/>
                </a:cubicBezTo>
                <a:cubicBezTo>
                  <a:pt x="4688" y="216"/>
                  <a:pt x="4708" y="194"/>
                  <a:pt x="4742" y="194"/>
                </a:cubicBezTo>
                <a:cubicBezTo>
                  <a:pt x="4778" y="194"/>
                  <a:pt x="4794" y="220"/>
                  <a:pt x="4794" y="250"/>
                </a:cubicBezTo>
                <a:cubicBezTo>
                  <a:pt x="4794" y="282"/>
                  <a:pt x="4794" y="282"/>
                  <a:pt x="4794" y="282"/>
                </a:cubicBezTo>
                <a:cubicBezTo>
                  <a:pt x="4794" y="302"/>
                  <a:pt x="4702" y="306"/>
                  <a:pt x="4664" y="338"/>
                </a:cubicBezTo>
                <a:cubicBezTo>
                  <a:pt x="4652" y="350"/>
                  <a:pt x="4642" y="364"/>
                  <a:pt x="4642" y="384"/>
                </a:cubicBezTo>
                <a:cubicBezTo>
                  <a:pt x="4642" y="426"/>
                  <a:pt x="4672" y="456"/>
                  <a:pt x="4716" y="456"/>
                </a:cubicBezTo>
                <a:cubicBezTo>
                  <a:pt x="4744" y="456"/>
                  <a:pt x="4768" y="446"/>
                  <a:pt x="4794" y="418"/>
                </a:cubicBezTo>
                <a:cubicBezTo>
                  <a:pt x="4798" y="438"/>
                  <a:pt x="4814" y="448"/>
                  <a:pt x="4842" y="448"/>
                </a:cubicBezTo>
                <a:cubicBezTo>
                  <a:pt x="4906" y="448"/>
                  <a:pt x="4906" y="448"/>
                  <a:pt x="4906" y="448"/>
                </a:cubicBezTo>
                <a:cubicBezTo>
                  <a:pt x="4906" y="448"/>
                  <a:pt x="4906" y="448"/>
                  <a:pt x="4906" y="448"/>
                </a:cubicBezTo>
                <a:cubicBezTo>
                  <a:pt x="5048" y="448"/>
                  <a:pt x="5048" y="448"/>
                  <a:pt x="5048" y="448"/>
                </a:cubicBezTo>
                <a:cubicBezTo>
                  <a:pt x="5048" y="436"/>
                  <a:pt x="5048" y="436"/>
                  <a:pt x="5048" y="436"/>
                </a:cubicBezTo>
                <a:cubicBezTo>
                  <a:pt x="5006" y="432"/>
                  <a:pt x="5004" y="434"/>
                  <a:pt x="5004" y="338"/>
                </a:cubicBezTo>
                <a:cubicBezTo>
                  <a:pt x="5004" y="262"/>
                  <a:pt x="5004" y="262"/>
                  <a:pt x="5004" y="262"/>
                </a:cubicBezTo>
                <a:cubicBezTo>
                  <a:pt x="5004" y="236"/>
                  <a:pt x="5038" y="206"/>
                  <a:pt x="5080" y="206"/>
                </a:cubicBezTo>
                <a:cubicBezTo>
                  <a:pt x="5114" y="206"/>
                  <a:pt x="5140" y="220"/>
                  <a:pt x="5140" y="286"/>
                </a:cubicBezTo>
                <a:cubicBezTo>
                  <a:pt x="5140" y="340"/>
                  <a:pt x="5140" y="340"/>
                  <a:pt x="5140" y="340"/>
                </a:cubicBezTo>
                <a:cubicBezTo>
                  <a:pt x="5140" y="432"/>
                  <a:pt x="5136" y="432"/>
                  <a:pt x="5098" y="434"/>
                </a:cubicBezTo>
                <a:cubicBezTo>
                  <a:pt x="5098" y="446"/>
                  <a:pt x="5098" y="446"/>
                  <a:pt x="5098" y="446"/>
                </a:cubicBezTo>
                <a:cubicBezTo>
                  <a:pt x="5240" y="446"/>
                  <a:pt x="5240" y="446"/>
                  <a:pt x="5240" y="446"/>
                </a:cubicBezTo>
                <a:lnTo>
                  <a:pt x="5240" y="434"/>
                </a:lnTo>
                <a:close/>
                <a:moveTo>
                  <a:pt x="5516" y="192"/>
                </a:moveTo>
                <a:cubicBezTo>
                  <a:pt x="5516" y="180"/>
                  <a:pt x="5516" y="180"/>
                  <a:pt x="5516" y="180"/>
                </a:cubicBezTo>
                <a:cubicBezTo>
                  <a:pt x="5418" y="180"/>
                  <a:pt x="5418" y="180"/>
                  <a:pt x="5418" y="180"/>
                </a:cubicBezTo>
                <a:cubicBezTo>
                  <a:pt x="5418" y="192"/>
                  <a:pt x="5418" y="192"/>
                  <a:pt x="5418" y="192"/>
                </a:cubicBezTo>
                <a:cubicBezTo>
                  <a:pt x="5442" y="194"/>
                  <a:pt x="5454" y="206"/>
                  <a:pt x="5446" y="234"/>
                </a:cubicBezTo>
                <a:cubicBezTo>
                  <a:pt x="5394" y="390"/>
                  <a:pt x="5394" y="390"/>
                  <a:pt x="5394" y="390"/>
                </a:cubicBezTo>
                <a:cubicBezTo>
                  <a:pt x="5342" y="270"/>
                  <a:pt x="5342" y="270"/>
                  <a:pt x="5342" y="270"/>
                </a:cubicBezTo>
                <a:cubicBezTo>
                  <a:pt x="5328" y="238"/>
                  <a:pt x="5322" y="224"/>
                  <a:pt x="5322" y="212"/>
                </a:cubicBezTo>
                <a:cubicBezTo>
                  <a:pt x="5322" y="202"/>
                  <a:pt x="5328" y="196"/>
                  <a:pt x="5348" y="192"/>
                </a:cubicBezTo>
                <a:cubicBezTo>
                  <a:pt x="5348" y="180"/>
                  <a:pt x="5348" y="180"/>
                  <a:pt x="5348" y="180"/>
                </a:cubicBezTo>
                <a:cubicBezTo>
                  <a:pt x="5220" y="180"/>
                  <a:pt x="5220" y="180"/>
                  <a:pt x="5220" y="180"/>
                </a:cubicBezTo>
                <a:cubicBezTo>
                  <a:pt x="5220" y="192"/>
                  <a:pt x="5220" y="192"/>
                  <a:pt x="5220" y="192"/>
                </a:cubicBezTo>
                <a:cubicBezTo>
                  <a:pt x="5252" y="194"/>
                  <a:pt x="5254" y="198"/>
                  <a:pt x="5296" y="292"/>
                </a:cubicBezTo>
                <a:cubicBezTo>
                  <a:pt x="5368" y="450"/>
                  <a:pt x="5368" y="450"/>
                  <a:pt x="5368" y="450"/>
                </a:cubicBezTo>
                <a:cubicBezTo>
                  <a:pt x="5344" y="512"/>
                  <a:pt x="5306" y="546"/>
                  <a:pt x="5228" y="564"/>
                </a:cubicBezTo>
                <a:cubicBezTo>
                  <a:pt x="5232" y="576"/>
                  <a:pt x="5246" y="600"/>
                  <a:pt x="5254" y="606"/>
                </a:cubicBezTo>
                <a:cubicBezTo>
                  <a:pt x="5356" y="564"/>
                  <a:pt x="5376" y="498"/>
                  <a:pt x="5412" y="396"/>
                </a:cubicBezTo>
                <a:cubicBezTo>
                  <a:pt x="5466" y="242"/>
                  <a:pt x="5466" y="242"/>
                  <a:pt x="5466" y="242"/>
                </a:cubicBezTo>
                <a:cubicBezTo>
                  <a:pt x="5478" y="206"/>
                  <a:pt x="5498" y="192"/>
                  <a:pt x="5516" y="192"/>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600" kern="1200">
                <a:solidFill>
                  <a:schemeClr val="tx1"/>
                </a:solidFill>
                <a:latin typeface="Arial" charset="0"/>
                <a:ea typeface="+mn-ea"/>
                <a:cs typeface="+mn-cs"/>
              </a:defRPr>
            </a:lvl1pPr>
            <a:lvl2pPr marL="457200" algn="l" rtl="0" fontAlgn="base">
              <a:spcBef>
                <a:spcPct val="0"/>
              </a:spcBef>
              <a:spcAft>
                <a:spcPct val="0"/>
              </a:spcAft>
              <a:defRPr sz="1600" kern="1200">
                <a:solidFill>
                  <a:schemeClr val="tx1"/>
                </a:solidFill>
                <a:latin typeface="Arial" charset="0"/>
                <a:ea typeface="+mn-ea"/>
                <a:cs typeface="+mn-cs"/>
              </a:defRPr>
            </a:lvl2pPr>
            <a:lvl3pPr marL="914400" algn="l" rtl="0" fontAlgn="base">
              <a:spcBef>
                <a:spcPct val="0"/>
              </a:spcBef>
              <a:spcAft>
                <a:spcPct val="0"/>
              </a:spcAft>
              <a:defRPr sz="1600" kern="1200">
                <a:solidFill>
                  <a:schemeClr val="tx1"/>
                </a:solidFill>
                <a:latin typeface="Arial" charset="0"/>
                <a:ea typeface="+mn-ea"/>
                <a:cs typeface="+mn-cs"/>
              </a:defRPr>
            </a:lvl3pPr>
            <a:lvl4pPr marL="1371600" algn="l" rtl="0" fontAlgn="base">
              <a:spcBef>
                <a:spcPct val="0"/>
              </a:spcBef>
              <a:spcAft>
                <a:spcPct val="0"/>
              </a:spcAft>
              <a:defRPr sz="1600" kern="1200">
                <a:solidFill>
                  <a:schemeClr val="tx1"/>
                </a:solidFill>
                <a:latin typeface="Arial" charset="0"/>
                <a:ea typeface="+mn-ea"/>
                <a:cs typeface="+mn-cs"/>
              </a:defRPr>
            </a:lvl4pPr>
            <a:lvl5pPr marL="1828800" algn="l" rtl="0" fontAlgn="base">
              <a:spcBef>
                <a:spcPct val="0"/>
              </a:spcBef>
              <a:spcAft>
                <a:spcPct val="0"/>
              </a:spcAft>
              <a:defRPr sz="1600" kern="1200">
                <a:solidFill>
                  <a:schemeClr val="tx1"/>
                </a:solidFill>
                <a:latin typeface="Arial" charset="0"/>
                <a:ea typeface="+mn-ea"/>
                <a:cs typeface="+mn-cs"/>
              </a:defRPr>
            </a:lvl5pPr>
            <a:lvl6pPr marL="2286000" algn="l" defTabSz="914400" rtl="0" eaLnBrk="1" latinLnBrk="0" hangingPunct="1">
              <a:defRPr sz="1600" kern="1200">
                <a:solidFill>
                  <a:schemeClr val="tx1"/>
                </a:solidFill>
                <a:latin typeface="Arial" charset="0"/>
                <a:ea typeface="+mn-ea"/>
                <a:cs typeface="+mn-cs"/>
              </a:defRPr>
            </a:lvl6pPr>
            <a:lvl7pPr marL="2743200" algn="l" defTabSz="914400" rtl="0" eaLnBrk="1" latinLnBrk="0" hangingPunct="1">
              <a:defRPr sz="1600" kern="1200">
                <a:solidFill>
                  <a:schemeClr val="tx1"/>
                </a:solidFill>
                <a:latin typeface="Arial" charset="0"/>
                <a:ea typeface="+mn-ea"/>
                <a:cs typeface="+mn-cs"/>
              </a:defRPr>
            </a:lvl7pPr>
            <a:lvl8pPr marL="3200400" algn="l" defTabSz="914400" rtl="0" eaLnBrk="1" latinLnBrk="0" hangingPunct="1">
              <a:defRPr sz="1600" kern="1200">
                <a:solidFill>
                  <a:schemeClr val="tx1"/>
                </a:solidFill>
                <a:latin typeface="Arial" charset="0"/>
                <a:ea typeface="+mn-ea"/>
                <a:cs typeface="+mn-cs"/>
              </a:defRPr>
            </a:lvl8pPr>
            <a:lvl9pPr marL="3657600" algn="l" defTabSz="914400" rtl="0" eaLnBrk="1" latinLnBrk="0" hangingPunct="1">
              <a:defRPr sz="1600" kern="1200">
                <a:solidFill>
                  <a:schemeClr val="tx1"/>
                </a:solidFill>
                <a:latin typeface="Arial" charset="0"/>
                <a:ea typeface="+mn-ea"/>
                <a:cs typeface="+mn-cs"/>
              </a:defRPr>
            </a:lvl9pPr>
          </a:lstStyle>
          <a:p>
            <a:endParaRPr lang="en-US" baseline="0" dirty="0">
              <a:solidFill>
                <a:srgbClr val="000000"/>
              </a:solidFill>
              <a:latin typeface="+mn-lt"/>
            </a:endParaRPr>
          </a:p>
        </p:txBody>
      </p:sp>
      <p:sp>
        <p:nvSpPr>
          <p:cNvPr id="27" name="Disclaimer-English (United States)" hidden="1"/>
          <p:cNvSpPr>
            <a:spLocks noChangeArrowheads="1"/>
          </p:cNvSpPr>
          <p:nvPr/>
        </p:nvSpPr>
        <p:spPr bwMode="black">
          <a:xfrm>
            <a:off x="2268266" y="6287785"/>
            <a:ext cx="3544453" cy="36908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t" anchorCtr="0">
            <a:noAutofit/>
          </a:bodyPr>
          <a:lstStyle/>
          <a:p>
            <a:pPr defTabSz="804863" eaLnBrk="0" hangingPunct="0"/>
            <a:r>
              <a:rPr lang="en-US" sz="800" baseline="0" dirty="0">
                <a:solidFill>
                  <a:srgbClr val="FFFFFF"/>
                </a:solidFill>
                <a:latin typeface="+mn-lt"/>
              </a:rPr>
              <a:t>CONFIDENTIAL AND PROPRIETARY</a:t>
            </a:r>
          </a:p>
          <a:p>
            <a:pPr defTabSz="804863" eaLnBrk="0" hangingPunct="0"/>
            <a:r>
              <a:rPr lang="en-US" sz="800" baseline="0" dirty="0">
                <a:solidFill>
                  <a:srgbClr val="FFFFFF"/>
                </a:solidFill>
                <a:latin typeface="+mn-lt"/>
              </a:rPr>
              <a:t>Any use of this material without specific permission of McKinsey &amp; Company is strictly prohibited</a:t>
            </a:r>
          </a:p>
        </p:txBody>
      </p:sp>
    </p:spTree>
    <p:extLst>
      <p:ext uri="{BB962C8B-B14F-4D97-AF65-F5344CB8AC3E}">
        <p14:creationId xmlns:p14="http://schemas.microsoft.com/office/powerpoint/2010/main" val="1345125334"/>
      </p:ext>
    </p:extLst>
  </p:cSld>
  <p:clrMapOvr>
    <a:masterClrMapping/>
  </p:clrMapOvr>
  <p:extLst mod="1">
    <p:ext uri="{DCECCB84-F9BA-43D5-87BE-67443E8EF086}">
      <p15:sldGuideLst xmlns:p15="http://schemas.microsoft.com/office/powerpoint/2012/main">
        <p15:guide id="1" orient="horz" pos="2117">
          <p15:clr>
            <a:srgbClr val="FBAE40"/>
          </p15:clr>
        </p15:guide>
        <p15:guide id="2" pos="1416">
          <p15:clr>
            <a:srgbClr val="FBAE40"/>
          </p15:clr>
        </p15:guide>
      </p15:sldGuideLst>
    </p:ext>
  </p:extLs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6E228F5-5CF1-42E1-9748-97D7582A107A}"/>
              </a:ext>
            </a:extLst>
          </p:cNvPr>
          <p:cNvGraphicFramePr>
            <a:graphicFrameLocks noChangeAspect="1"/>
          </p:cNvGraphicFramePr>
          <p:nvPr>
            <p:custDataLst>
              <p:tags r:id="rId2"/>
            </p:custDataLst>
            <p:extLst>
              <p:ext uri="{D42A27DB-BD31-4B8C-83A1-F6EECF244321}">
                <p14:modId xmlns:p14="http://schemas.microsoft.com/office/powerpoint/2010/main" val="118109235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1988" name="think-cell Slide" r:id="rId5" imgW="353" imgH="353" progId="TCLayout.ActiveDocument.1">
                  <p:embed/>
                </p:oleObj>
              </mc:Choice>
              <mc:Fallback>
                <p:oleObj name="think-cell Slide" r:id="rId5" imgW="353" imgH="353" progId="TCLayout.ActiveDocument.1">
                  <p:embed/>
                  <p:pic>
                    <p:nvPicPr>
                      <p:cNvPr id="3" name="Object 2" hidden="1">
                        <a:extLst>
                          <a:ext uri="{FF2B5EF4-FFF2-40B4-BE49-F238E27FC236}">
                            <a16:creationId xmlns:a16="http://schemas.microsoft.com/office/drawing/2014/main" id="{C6E228F5-5CF1-42E1-9748-97D7582A107A}"/>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2. Slide Title"/>
          <p:cNvSpPr>
            <a:spLocks noGrp="1"/>
          </p:cNvSpPr>
          <p:nvPr>
            <p:ph type="title"/>
          </p:nvPr>
        </p:nvSpPr>
        <p:spPr bwMode="auto"/>
        <p:txBody>
          <a:bodyPr/>
          <a:lstStyle/>
          <a:p>
            <a:r>
              <a:rPr lang="en-US"/>
              <a:t>Click to edit Master title style</a:t>
            </a:r>
            <a:endParaRPr lang="en-US" dirty="0"/>
          </a:p>
        </p:txBody>
      </p:sp>
      <p:sp>
        <p:nvSpPr>
          <p:cNvPr id="8" name="Slide Number"/>
          <p:cNvSpPr txBox="1">
            <a:spLocks/>
          </p:cNvSpPr>
          <p:nvPr/>
        </p:nvSpPr>
        <p:spPr bwMode="auto">
          <a:xfrm>
            <a:off x="8564563" y="6508272"/>
            <a:ext cx="125034" cy="123111"/>
          </a:xfrm>
          <a:prstGeom prst="rect">
            <a:avLst/>
          </a:prstGeom>
        </p:spPr>
        <p:txBody>
          <a:bodyPr vert="horz" wrap="none" lIns="0" tIns="0" rIns="0" bIns="0" rtlCol="0" anchor="ctr">
            <a:spAutoFit/>
          </a:bodyPr>
          <a:lstStyle>
            <a:defPPr>
              <a:defRPr lang="en-US"/>
            </a:defPPr>
            <a:lvl1pPr>
              <a:defRPr sz="1000" baseline="0">
                <a:latin typeface="+mn-lt"/>
              </a:defRPr>
            </a:lvl1pPr>
          </a:lstStyle>
          <a:p>
            <a:fld id="{42C328C1-A84F-4A39-A664-DBA00541A8C6}" type="slidenum">
              <a:rPr lang="en-US" sz="800" baseline="0" smtClean="0">
                <a:solidFill>
                  <a:srgbClr val="808080"/>
                </a:solidFill>
                <a:latin typeface="+mn-lt"/>
              </a:rPr>
              <a:pPr/>
              <a:t>‹#›</a:t>
            </a:fld>
            <a:endParaRPr lang="en-US" sz="800" baseline="0" dirty="0">
              <a:solidFill>
                <a:srgbClr val="808080"/>
              </a:solidFill>
              <a:latin typeface="+mn-lt"/>
            </a:endParaRPr>
          </a:p>
        </p:txBody>
      </p:sp>
      <p:sp>
        <p:nvSpPr>
          <p:cNvPr id="9" name="SlideLogoText"/>
          <p:cNvSpPr>
            <a:spLocks noChangeArrowheads="1"/>
          </p:cNvSpPr>
          <p:nvPr>
            <p:custDataLst>
              <p:tags r:id="rId3"/>
            </p:custDataLst>
          </p:nvPr>
        </p:nvSpPr>
        <p:spPr bwMode="auto">
          <a:xfrm>
            <a:off x="7450817" y="6508272"/>
            <a:ext cx="1013098"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algn="r" defTabSz="895350"/>
            <a:r>
              <a:rPr lang="en-US" sz="800" baseline="0" dirty="0">
                <a:solidFill>
                  <a:srgbClr val="808080"/>
                </a:solidFill>
                <a:latin typeface="+mn-lt"/>
              </a:rPr>
              <a:t>McKinsey &amp; Company</a:t>
            </a:r>
          </a:p>
        </p:txBody>
      </p:sp>
      <p:sp>
        <p:nvSpPr>
          <p:cNvPr id="5" name="doc id" hidden="1"/>
          <p:cNvSpPr txBox="1">
            <a:spLocks noChangeArrowheads="1"/>
          </p:cNvSpPr>
          <p:nvPr/>
        </p:nvSpPr>
        <p:spPr bwMode="white">
          <a:xfrm>
            <a:off x="8104473" y="36513"/>
            <a:ext cx="634716" cy="115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hangingPunct="1">
              <a:defRPr/>
            </a:pPr>
            <a:endParaRPr lang="en-US" sz="800" baseline="0" dirty="0">
              <a:solidFill>
                <a:schemeClr val="accent1"/>
              </a:solidFill>
              <a:latin typeface="+mn-lt"/>
              <a:ea typeface="+mn-ea"/>
            </a:endParaRPr>
          </a:p>
        </p:txBody>
      </p:sp>
    </p:spTree>
    <p:extLst>
      <p:ext uri="{BB962C8B-B14F-4D97-AF65-F5344CB8AC3E}">
        <p14:creationId xmlns:p14="http://schemas.microsoft.com/office/powerpoint/2010/main" val="772264536"/>
      </p:ext>
    </p:extLst>
  </p:cSld>
  <p:clrMapOvr>
    <a:masterClrMapping/>
  </p:clrMapOvr>
  <p:extLst mod="1">
    <p:ext uri="{DCECCB84-F9BA-43D5-87BE-67443E8EF086}">
      <p15:sldGuideLst xmlns:p15="http://schemas.microsoft.com/office/powerpoint/2012/main">
        <p15:guide id="1" pos="5505">
          <p15:clr>
            <a:srgbClr val="F26B43"/>
          </p15:clr>
        </p15:guide>
        <p15:guide id="2" pos="74">
          <p15:clr>
            <a:srgbClr val="F26B43"/>
          </p15:clr>
        </p15:guide>
        <p15:guide id="3" orient="horz" pos="571">
          <p15:clr>
            <a:srgbClr val="F26B43"/>
          </p15:clr>
        </p15:guide>
        <p15:guide id="4" orient="horz" pos="3911">
          <p15:clr>
            <a:srgbClr val="F26B43"/>
          </p15:clr>
        </p15:guide>
      </p15:sldGuideLst>
    </p:ext>
  </p:extLs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p:cSld name="1_Title Only">
    <p:bg>
      <p:bgPr>
        <a:solidFill>
          <a:schemeClr val="accent2"/>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F4AD34F-3B47-47E2-A09C-FFEB949F6A10}"/>
              </a:ext>
            </a:extLst>
          </p:cNvPr>
          <p:cNvGraphicFramePr>
            <a:graphicFrameLocks noChangeAspect="1"/>
          </p:cNvGraphicFramePr>
          <p:nvPr>
            <p:custDataLst>
              <p:tags r:id="rId2"/>
            </p:custDataLst>
            <p:extLst>
              <p:ext uri="{D42A27DB-BD31-4B8C-83A1-F6EECF244321}">
                <p14:modId xmlns:p14="http://schemas.microsoft.com/office/powerpoint/2010/main" val="361006797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3012" name="think-cell Slide" r:id="rId5" imgW="395" imgH="394" progId="TCLayout.ActiveDocument.1">
                  <p:embed/>
                </p:oleObj>
              </mc:Choice>
              <mc:Fallback>
                <p:oleObj name="think-cell Slide" r:id="rId5" imgW="395" imgH="394" progId="TCLayout.ActiveDocument.1">
                  <p:embed/>
                  <p:pic>
                    <p:nvPicPr>
                      <p:cNvPr id="3" name="Object 2" hidden="1">
                        <a:extLst>
                          <a:ext uri="{FF2B5EF4-FFF2-40B4-BE49-F238E27FC236}">
                            <a16:creationId xmlns:a16="http://schemas.microsoft.com/office/drawing/2014/main" id="{EF4AD34F-3B47-47E2-A09C-FFEB949F6A10}"/>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endParaRPr lang="en-US" dirty="0"/>
          </a:p>
        </p:txBody>
      </p:sp>
      <p:sp>
        <p:nvSpPr>
          <p:cNvPr id="15" name="Slide Number"/>
          <p:cNvSpPr txBox="1">
            <a:spLocks/>
          </p:cNvSpPr>
          <p:nvPr/>
        </p:nvSpPr>
        <p:spPr>
          <a:xfrm>
            <a:off x="8564563" y="6508272"/>
            <a:ext cx="125034" cy="123111"/>
          </a:xfrm>
          <a:prstGeom prst="rect">
            <a:avLst/>
          </a:prstGeom>
        </p:spPr>
        <p:txBody>
          <a:bodyPr vert="horz" wrap="none" lIns="0" tIns="0" rIns="0" bIns="0" rtlCol="0" anchor="ctr">
            <a:spAutoFit/>
          </a:bodyPr>
          <a:lstStyle>
            <a:defPPr>
              <a:defRPr lang="en-US"/>
            </a:defPPr>
            <a:lvl1pPr>
              <a:defRPr sz="1000" baseline="0">
                <a:latin typeface="+mn-lt"/>
              </a:defRPr>
            </a:lvl1pPr>
          </a:lstStyle>
          <a:p>
            <a:fld id="{42C328C1-A84F-4A39-A664-DBA00541A8C6}" type="slidenum">
              <a:rPr lang="en-US" sz="800" baseline="0" smtClean="0">
                <a:solidFill>
                  <a:srgbClr val="FFFFFF"/>
                </a:solidFill>
                <a:latin typeface="+mn-lt"/>
              </a:rPr>
              <a:pPr/>
              <a:t>‹#›</a:t>
            </a:fld>
            <a:endParaRPr lang="en-US" sz="800" baseline="0" dirty="0">
              <a:solidFill>
                <a:srgbClr val="FFFFFF"/>
              </a:solidFill>
              <a:latin typeface="+mn-lt"/>
            </a:endParaRPr>
          </a:p>
        </p:txBody>
      </p:sp>
      <p:sp>
        <p:nvSpPr>
          <p:cNvPr id="16" name="SlideLogoText"/>
          <p:cNvSpPr>
            <a:spLocks noChangeArrowheads="1"/>
          </p:cNvSpPr>
          <p:nvPr>
            <p:custDataLst>
              <p:tags r:id="rId3"/>
            </p:custDataLst>
          </p:nvPr>
        </p:nvSpPr>
        <p:spPr bwMode="auto">
          <a:xfrm>
            <a:off x="7450817" y="6508272"/>
            <a:ext cx="1013098"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algn="r" defTabSz="895350"/>
            <a:r>
              <a:rPr lang="en-US" sz="800" baseline="0" dirty="0">
                <a:solidFill>
                  <a:srgbClr val="FFFFFF"/>
                </a:solidFill>
                <a:latin typeface="+mn-lt"/>
              </a:rPr>
              <a:t>McKinsey &amp; Company</a:t>
            </a:r>
          </a:p>
        </p:txBody>
      </p:sp>
      <p:sp>
        <p:nvSpPr>
          <p:cNvPr id="5" name="doc id" hidden="1"/>
          <p:cNvSpPr txBox="1">
            <a:spLocks noChangeArrowheads="1"/>
          </p:cNvSpPr>
          <p:nvPr/>
        </p:nvSpPr>
        <p:spPr bwMode="white">
          <a:xfrm>
            <a:off x="8104473" y="36513"/>
            <a:ext cx="634716" cy="115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hangingPunct="1">
              <a:defRPr/>
            </a:pPr>
            <a:endParaRPr lang="en-US" sz="800" baseline="0" dirty="0">
              <a:solidFill>
                <a:schemeClr val="accent1"/>
              </a:solidFill>
              <a:latin typeface="+mn-lt"/>
              <a:ea typeface="+mn-ea"/>
            </a:endParaRPr>
          </a:p>
        </p:txBody>
      </p:sp>
    </p:spTree>
    <p:extLst>
      <p:ext uri="{BB962C8B-B14F-4D97-AF65-F5344CB8AC3E}">
        <p14:creationId xmlns:p14="http://schemas.microsoft.com/office/powerpoint/2010/main" val="205210517"/>
      </p:ext>
    </p:extLst>
  </p:cSld>
  <p:clrMapOvr>
    <a:masterClrMapping/>
  </p:clrMapOvr>
  <p:extLst mod="1">
    <p:ext uri="{DCECCB84-F9BA-43D5-87BE-67443E8EF086}">
      <p15:sldGuideLst xmlns:p15="http://schemas.microsoft.com/office/powerpoint/2012/main">
        <p15:guide id="1" pos="3978">
          <p15:clr>
            <a:srgbClr val="000000"/>
          </p15:clr>
        </p15:guide>
        <p15:guide id="2" orient="horz" pos="570">
          <p15:clr>
            <a:srgbClr val="000000"/>
          </p15:clr>
        </p15:guide>
        <p15:guide id="3" orient="horz" pos="3912">
          <p15:clr>
            <a:srgbClr val="000000"/>
          </p15:clr>
        </p15:guide>
        <p15:guide id="4" pos="72">
          <p15:clr>
            <a:srgbClr val="000000"/>
          </p15:clr>
        </p15:guide>
      </p15:sldGuideLst>
    </p:ext>
  </p:extLst>
</p:sldLayout>
</file>

<file path=ppt/slideLayouts/slideLayout167.xml><?xml version="1.0" encoding="utf-8"?>
<p:sldLayout xmlns:a="http://schemas.openxmlformats.org/drawingml/2006/main" xmlns:r="http://schemas.openxmlformats.org/officeDocument/2006/relationships" xmlns:p="http://schemas.openxmlformats.org/presentationml/2006/main" type="titleOnly">
  <p:cSld name="2_Title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ECD524A-1569-4253-8CD8-48D288AD883C}"/>
              </a:ext>
            </a:extLst>
          </p:cNvPr>
          <p:cNvGraphicFramePr>
            <a:graphicFrameLocks noChangeAspect="1"/>
          </p:cNvGraphicFramePr>
          <p:nvPr>
            <p:custDataLst>
              <p:tags r:id="rId2"/>
            </p:custDataLst>
            <p:extLst>
              <p:ext uri="{D42A27DB-BD31-4B8C-83A1-F6EECF244321}">
                <p14:modId xmlns:p14="http://schemas.microsoft.com/office/powerpoint/2010/main" val="243507117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4036" name="think-cell Slide" r:id="rId4" imgW="395" imgH="394" progId="TCLayout.ActiveDocument.1">
                  <p:embed/>
                </p:oleObj>
              </mc:Choice>
              <mc:Fallback>
                <p:oleObj name="think-cell Slide" r:id="rId4" imgW="395" imgH="394" progId="TCLayout.ActiveDocument.1">
                  <p:embed/>
                  <p:pic>
                    <p:nvPicPr>
                      <p:cNvPr id="3" name="Object 2" hidden="1">
                        <a:extLst>
                          <a:ext uri="{FF2B5EF4-FFF2-40B4-BE49-F238E27FC236}">
                            <a16:creationId xmlns:a16="http://schemas.microsoft.com/office/drawing/2014/main" id="{5ECD524A-1569-4253-8CD8-48D288AD883C}"/>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20356671"/>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pic>
        <p:nvPicPr>
          <p:cNvPr id="2" name="background"/>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0" y="198"/>
            <a:ext cx="8961438" cy="6721079"/>
          </a:xfrm>
          <a:prstGeom prst="rect">
            <a:avLst/>
          </a:prstGeom>
        </p:spPr>
      </p:pic>
      <p:sp>
        <p:nvSpPr>
          <p:cNvPr id="28" name="TitleRectangle"/>
          <p:cNvSpPr txBox="1">
            <a:spLocks/>
          </p:cNvSpPr>
          <p:nvPr/>
        </p:nvSpPr>
        <p:spPr>
          <a:xfrm>
            <a:off x="2084388" y="0"/>
            <a:ext cx="6875462" cy="3575976"/>
          </a:xfrm>
          <a:prstGeom prst="rect">
            <a:avLst/>
          </a:prstGeom>
          <a:solidFill>
            <a:srgbClr val="002960">
              <a:alpha val="92000"/>
            </a:srgbClr>
          </a:solidFill>
        </p:spPr>
        <p:txBody>
          <a:bodyPr vert="horz" wrap="square" lIns="216000" tIns="1440000" rIns="216000" bIns="108000" rtlCol="0">
            <a:noAutofit/>
          </a:bodyPr>
          <a:lstStyle>
            <a:lvl1pPr marL="0" indent="0" algn="l" defTabSz="914400" rtl="0" eaLnBrk="1" latinLnBrk="0" hangingPunct="1">
              <a:spcBef>
                <a:spcPct val="20000"/>
              </a:spcBef>
              <a:spcAft>
                <a:spcPts val="6000"/>
              </a:spcAft>
              <a:buFont typeface="Arial" pitchFamily="34" charset="0"/>
              <a:buNone/>
              <a:defRPr sz="3200" kern="1200">
                <a:solidFill>
                  <a:schemeClr val="accent1"/>
                </a:solidFill>
                <a:latin typeface="+mn-lt"/>
                <a:ea typeface="+mn-ea"/>
                <a:cs typeface="+mn-cs"/>
              </a:defRPr>
            </a:lvl1pPr>
            <a:lvl2pPr marL="0" indent="0" algn="l" defTabSz="914400" rtl="0" eaLnBrk="1" latinLnBrk="0" hangingPunct="1">
              <a:spcBef>
                <a:spcPct val="20000"/>
              </a:spcBef>
              <a:buFont typeface="Wingdings" charset="2"/>
              <a:buNone/>
              <a:defRPr sz="1400" kern="1200">
                <a:solidFill>
                  <a:schemeClr val="tx1">
                    <a:lumMod val="50000"/>
                    <a:lumOff val="50000"/>
                  </a:schemeClr>
                </a:solidFill>
                <a:latin typeface="+mn-lt"/>
                <a:ea typeface="+mn-ea"/>
                <a:cs typeface="+mn-cs"/>
              </a:defRPr>
            </a:lvl2pPr>
            <a:lvl3pPr marL="1143000" indent="-228600" algn="l" defTabSz="914400" rtl="0" eaLnBrk="1" latinLnBrk="0" hangingPunct="1">
              <a:spcBef>
                <a:spcPct val="20000"/>
              </a:spcBef>
              <a:buFont typeface="Lucida Grande"/>
              <a:buChar char="–"/>
              <a:defRPr sz="16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fontAlgn="auto">
              <a:defRPr/>
            </a:pPr>
            <a:r>
              <a:rPr lang="en-US" baseline="0" dirty="0">
                <a:solidFill>
                  <a:srgbClr val="00ADEF"/>
                </a:solidFill>
                <a:latin typeface="+mn-lt"/>
              </a:rPr>
              <a:t>
              </a:t>
            </a:r>
            <a:br>
              <a:rPr lang="en-US" baseline="0" dirty="0">
                <a:solidFill>
                  <a:srgbClr val="00ADEF"/>
                </a:solidFill>
                <a:latin typeface="+mn-lt"/>
              </a:rPr>
            </a:br>
            <a:endParaRPr lang="en-US" baseline="0" dirty="0">
              <a:solidFill>
                <a:srgbClr val="00ADEF"/>
              </a:solidFill>
              <a:latin typeface="+mn-lt"/>
            </a:endParaRPr>
          </a:p>
        </p:txBody>
      </p:sp>
      <p:graphicFrame>
        <p:nvGraphicFramePr>
          <p:cNvPr id="3" name="Object 2"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6084"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Working Draft Text" hidden="1"/>
          <p:cNvSpPr txBox="1">
            <a:spLocks noChangeArrowheads="1"/>
          </p:cNvSpPr>
          <p:nvPr/>
        </p:nvSpPr>
        <p:spPr bwMode="black">
          <a:xfrm>
            <a:off x="5992719" y="6287538"/>
            <a:ext cx="2790000"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800" b="1" baseline="0" dirty="0">
                <a:solidFill>
                  <a:srgbClr val="FFFFFF"/>
                </a:solidFill>
                <a:latin typeface="+mn-lt"/>
              </a:rPr>
              <a:t>WORKING DRAFT</a:t>
            </a:r>
          </a:p>
        </p:txBody>
      </p:sp>
      <p:sp>
        <p:nvSpPr>
          <p:cNvPr id="6" name="Working Draft" hidden="1"/>
          <p:cNvSpPr txBox="1">
            <a:spLocks noChangeArrowheads="1"/>
          </p:cNvSpPr>
          <p:nvPr/>
        </p:nvSpPr>
        <p:spPr bwMode="black">
          <a:xfrm>
            <a:off x="5992718" y="6410648"/>
            <a:ext cx="2968719"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800" baseline="0">
                <a:solidFill>
                  <a:srgbClr val="FFFFFF"/>
                </a:solidFill>
                <a:latin typeface="+mn-lt"/>
              </a:rPr>
              <a:t>Last Modified 21/05/2018 17:44 India Standard Time</a:t>
            </a:r>
            <a:endParaRPr lang="en-US" sz="800" baseline="0" dirty="0">
              <a:solidFill>
                <a:srgbClr val="FFFFFF"/>
              </a:solidFill>
              <a:latin typeface="+mn-lt"/>
            </a:endParaRPr>
          </a:p>
        </p:txBody>
      </p:sp>
      <p:sp>
        <p:nvSpPr>
          <p:cNvPr id="7" name="Printed" hidden="1"/>
          <p:cNvSpPr txBox="1">
            <a:spLocks noChangeArrowheads="1"/>
          </p:cNvSpPr>
          <p:nvPr/>
        </p:nvSpPr>
        <p:spPr bwMode="black">
          <a:xfrm>
            <a:off x="5992719" y="6533759"/>
            <a:ext cx="2790000"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800" baseline="0" dirty="0">
                <a:solidFill>
                  <a:srgbClr val="FFFFFF"/>
                </a:solidFill>
                <a:latin typeface="+mn-lt"/>
              </a:rPr>
              <a:t>Printed</a:t>
            </a:r>
          </a:p>
        </p:txBody>
      </p:sp>
      <p:sp>
        <p:nvSpPr>
          <p:cNvPr id="13314" name="Title"/>
          <p:cNvSpPr>
            <a:spLocks noGrp="1" noChangeArrowheads="1"/>
          </p:cNvSpPr>
          <p:nvPr>
            <p:ph type="ctrTitle"/>
          </p:nvPr>
        </p:nvSpPr>
        <p:spPr>
          <a:xfrm>
            <a:off x="2268266" y="1434419"/>
            <a:ext cx="6231663" cy="492443"/>
          </a:xfrm>
          <a:prstGeom prst="rect">
            <a:avLst/>
          </a:prstGeom>
        </p:spPr>
        <p:txBody>
          <a:bodyPr>
            <a:spAutoFit/>
          </a:bodyPr>
          <a:lstStyle>
            <a:lvl1pPr>
              <a:defRPr sz="3200" b="0" baseline="0">
                <a:solidFill>
                  <a:schemeClr val="accent2"/>
                </a:solidFill>
                <a:latin typeface="+mj-lt"/>
                <a:ea typeface="+mj-ea"/>
              </a:defRPr>
            </a:lvl1pPr>
          </a:lstStyle>
          <a:p>
            <a:pPr lvl="0" latinLnBrk="0"/>
            <a:r>
              <a:rPr lang="en-US" noProof="0"/>
              <a:t>Click to edit Master title style</a:t>
            </a:r>
            <a:endParaRPr lang="en-US" noProof="0" dirty="0"/>
          </a:p>
        </p:txBody>
      </p:sp>
      <p:sp>
        <p:nvSpPr>
          <p:cNvPr id="13315" name="Subtitle"/>
          <p:cNvSpPr>
            <a:spLocks noGrp="1" noChangeArrowheads="1"/>
          </p:cNvSpPr>
          <p:nvPr>
            <p:ph type="subTitle" idx="1"/>
          </p:nvPr>
        </p:nvSpPr>
        <p:spPr>
          <a:xfrm>
            <a:off x="2268266" y="2819401"/>
            <a:ext cx="6231663" cy="215444"/>
          </a:xfrm>
          <a:prstGeom prst="rect">
            <a:avLst/>
          </a:prstGeom>
        </p:spPr>
        <p:txBody>
          <a:bodyPr wrap="square">
            <a:spAutoFit/>
          </a:bodyPr>
          <a:lstStyle>
            <a:lvl1pPr>
              <a:defRPr sz="1400" cap="all" baseline="0">
                <a:solidFill>
                  <a:schemeClr val="bg1"/>
                </a:solidFill>
                <a:latin typeface="+mn-lt"/>
                <a:ea typeface="+mn-ea"/>
              </a:defRPr>
            </a:lvl1pPr>
          </a:lstStyle>
          <a:p>
            <a:pPr lvl="0" latinLnBrk="0"/>
            <a:r>
              <a:rPr lang="en-US" noProof="0"/>
              <a:t>Click to edit Master subtitle style</a:t>
            </a:r>
            <a:endParaRPr lang="en-US" noProof="0" dirty="0"/>
          </a:p>
        </p:txBody>
      </p:sp>
      <p:sp>
        <p:nvSpPr>
          <p:cNvPr id="57" name="Document type" hidden="1"/>
          <p:cNvSpPr txBox="1">
            <a:spLocks noChangeArrowheads="1"/>
          </p:cNvSpPr>
          <p:nvPr/>
        </p:nvSpPr>
        <p:spPr bwMode="gray">
          <a:xfrm>
            <a:off x="2268266" y="3227411"/>
            <a:ext cx="6231663"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00" baseline="0" dirty="0">
                <a:solidFill>
                  <a:schemeClr val="bg1"/>
                </a:solidFill>
                <a:latin typeface="+mn-lt"/>
              </a:rPr>
              <a:t>Document type | Date</a:t>
            </a:r>
          </a:p>
        </p:txBody>
      </p:sp>
      <p:sp>
        <p:nvSpPr>
          <p:cNvPr id="5" name="doc id" hidden="1"/>
          <p:cNvSpPr txBox="1">
            <a:spLocks noChangeArrowheads="1"/>
          </p:cNvSpPr>
          <p:nvPr/>
        </p:nvSpPr>
        <p:spPr bwMode="white">
          <a:xfrm>
            <a:off x="8443913" y="36513"/>
            <a:ext cx="295275" cy="1222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hangingPunct="1">
              <a:defRPr/>
            </a:pPr>
            <a:endParaRPr lang="en-US" sz="800" baseline="0" dirty="0">
              <a:solidFill>
                <a:srgbClr val="FFFFFF"/>
              </a:solidFill>
              <a:latin typeface="+mn-lt"/>
            </a:endParaRPr>
          </a:p>
        </p:txBody>
      </p:sp>
      <p:sp>
        <p:nvSpPr>
          <p:cNvPr id="43" name="LogoImage"/>
          <p:cNvSpPr>
            <a:spLocks noEditPoints="1"/>
          </p:cNvSpPr>
          <p:nvPr/>
        </p:nvSpPr>
        <p:spPr bwMode="white">
          <a:xfrm>
            <a:off x="2269098" y="182925"/>
            <a:ext cx="2176978" cy="238073"/>
          </a:xfrm>
          <a:custGeom>
            <a:avLst/>
            <a:gdLst>
              <a:gd name="T0" fmla="*/ 504 w 5516"/>
              <a:gd name="T1" fmla="*/ 26 h 606"/>
              <a:gd name="T2" fmla="*/ 18 w 5516"/>
              <a:gd name="T3" fmla="*/ 22 h 606"/>
              <a:gd name="T4" fmla="*/ 140 w 5516"/>
              <a:gd name="T5" fmla="*/ 436 h 606"/>
              <a:gd name="T6" fmla="*/ 408 w 5516"/>
              <a:gd name="T7" fmla="*/ 372 h 606"/>
              <a:gd name="T8" fmla="*/ 696 w 5516"/>
              <a:gd name="T9" fmla="*/ 422 h 606"/>
              <a:gd name="T10" fmla="*/ 768 w 5516"/>
              <a:gd name="T11" fmla="*/ 196 h 606"/>
              <a:gd name="T12" fmla="*/ 1272 w 5516"/>
              <a:gd name="T13" fmla="*/ 26 h 606"/>
              <a:gd name="T14" fmla="*/ 1302 w 5516"/>
              <a:gd name="T15" fmla="*/ 338 h 606"/>
              <a:gd name="T16" fmla="*/ 1202 w 5516"/>
              <a:gd name="T17" fmla="*/ 436 h 606"/>
              <a:gd name="T18" fmla="*/ 1030 w 5516"/>
              <a:gd name="T19" fmla="*/ 10 h 606"/>
              <a:gd name="T20" fmla="*/ 960 w 5516"/>
              <a:gd name="T21" fmla="*/ 22 h 606"/>
              <a:gd name="T22" fmla="*/ 804 w 5516"/>
              <a:gd name="T23" fmla="*/ 434 h 606"/>
              <a:gd name="T24" fmla="*/ 930 w 5516"/>
              <a:gd name="T25" fmla="*/ 246 h 606"/>
              <a:gd name="T26" fmla="*/ 1658 w 5516"/>
              <a:gd name="T27" fmla="*/ 342 h 606"/>
              <a:gd name="T28" fmla="*/ 1368 w 5516"/>
              <a:gd name="T29" fmla="*/ 188 h 606"/>
              <a:gd name="T30" fmla="*/ 1514 w 5516"/>
              <a:gd name="T31" fmla="*/ 436 h 606"/>
              <a:gd name="T32" fmla="*/ 1564 w 5516"/>
              <a:gd name="T33" fmla="*/ 434 h 606"/>
              <a:gd name="T34" fmla="*/ 1904 w 5516"/>
              <a:gd name="T35" fmla="*/ 184 h 606"/>
              <a:gd name="T36" fmla="*/ 1728 w 5516"/>
              <a:gd name="T37" fmla="*/ 366 h 606"/>
              <a:gd name="T38" fmla="*/ 2102 w 5516"/>
              <a:gd name="T39" fmla="*/ 192 h 606"/>
              <a:gd name="T40" fmla="*/ 1982 w 5516"/>
              <a:gd name="T41" fmla="*/ 320 h 606"/>
              <a:gd name="T42" fmla="*/ 2478 w 5516"/>
              <a:gd name="T43" fmla="*/ 242 h 606"/>
              <a:gd name="T44" fmla="*/ 2406 w 5516"/>
              <a:gd name="T45" fmla="*/ 390 h 606"/>
              <a:gd name="T46" fmla="*/ 2234 w 5516"/>
              <a:gd name="T47" fmla="*/ 192 h 606"/>
              <a:gd name="T48" fmla="*/ 2478 w 5516"/>
              <a:gd name="T49" fmla="*/ 242 h 606"/>
              <a:gd name="T50" fmla="*/ 2928 w 5516"/>
              <a:gd name="T51" fmla="*/ 448 h 606"/>
              <a:gd name="T52" fmla="*/ 2958 w 5516"/>
              <a:gd name="T53" fmla="*/ 230 h 606"/>
              <a:gd name="T54" fmla="*/ 2716 w 5516"/>
              <a:gd name="T55" fmla="*/ 54 h 606"/>
              <a:gd name="T56" fmla="*/ 2714 w 5516"/>
              <a:gd name="T57" fmla="*/ 36 h 606"/>
              <a:gd name="T58" fmla="*/ 2928 w 5516"/>
              <a:gd name="T59" fmla="*/ 448 h 606"/>
              <a:gd name="T60" fmla="*/ 3388 w 5516"/>
              <a:gd name="T61" fmla="*/ 4 h 606"/>
              <a:gd name="T62" fmla="*/ 3396 w 5516"/>
              <a:gd name="T63" fmla="*/ 366 h 606"/>
              <a:gd name="T64" fmla="*/ 3580 w 5516"/>
              <a:gd name="T65" fmla="*/ 190 h 606"/>
              <a:gd name="T66" fmla="*/ 3502 w 5516"/>
              <a:gd name="T67" fmla="*/ 432 h 606"/>
              <a:gd name="T68" fmla="*/ 4232 w 5516"/>
              <a:gd name="T69" fmla="*/ 348 h 606"/>
              <a:gd name="T70" fmla="*/ 3858 w 5516"/>
              <a:gd name="T71" fmla="*/ 176 h 606"/>
              <a:gd name="T72" fmla="*/ 3758 w 5516"/>
              <a:gd name="T73" fmla="*/ 446 h 606"/>
              <a:gd name="T74" fmla="*/ 3990 w 5516"/>
              <a:gd name="T75" fmla="*/ 282 h 606"/>
              <a:gd name="T76" fmla="*/ 4042 w 5516"/>
              <a:gd name="T77" fmla="*/ 342 h 606"/>
              <a:gd name="T78" fmla="*/ 4134 w 5516"/>
              <a:gd name="T79" fmla="*/ 448 h 606"/>
              <a:gd name="T80" fmla="*/ 4454 w 5516"/>
              <a:gd name="T81" fmla="*/ 202 h 606"/>
              <a:gd name="T82" fmla="*/ 4284 w 5516"/>
              <a:gd name="T83" fmla="*/ 174 h 606"/>
              <a:gd name="T84" fmla="*/ 4432 w 5516"/>
              <a:gd name="T85" fmla="*/ 588 h 606"/>
              <a:gd name="T86" fmla="*/ 4792 w 5516"/>
              <a:gd name="T87" fmla="*/ 382 h 606"/>
              <a:gd name="T88" fmla="*/ 5192 w 5516"/>
              <a:gd name="T89" fmla="*/ 340 h 606"/>
              <a:gd name="T90" fmla="*/ 4902 w 5516"/>
              <a:gd name="T91" fmla="*/ 186 h 606"/>
              <a:gd name="T92" fmla="*/ 4850 w 5516"/>
              <a:gd name="T93" fmla="*/ 274 h 606"/>
              <a:gd name="T94" fmla="*/ 4742 w 5516"/>
              <a:gd name="T95" fmla="*/ 194 h 606"/>
              <a:gd name="T96" fmla="*/ 4794 w 5516"/>
              <a:gd name="T97" fmla="*/ 418 h 606"/>
              <a:gd name="T98" fmla="*/ 5004 w 5516"/>
              <a:gd name="T99" fmla="*/ 338 h 606"/>
              <a:gd name="T100" fmla="*/ 5098 w 5516"/>
              <a:gd name="T101" fmla="*/ 446 h 606"/>
              <a:gd name="T102" fmla="*/ 5418 w 5516"/>
              <a:gd name="T103" fmla="*/ 192 h 606"/>
              <a:gd name="T104" fmla="*/ 5348 w 5516"/>
              <a:gd name="T105" fmla="*/ 180 h 606"/>
              <a:gd name="T106" fmla="*/ 5254 w 5516"/>
              <a:gd name="T107" fmla="*/ 606 h 6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516" h="606">
                <a:moveTo>
                  <a:pt x="366" y="448"/>
                </a:moveTo>
                <a:cubicBezTo>
                  <a:pt x="524" y="448"/>
                  <a:pt x="524" y="448"/>
                  <a:pt x="524" y="448"/>
                </a:cubicBezTo>
                <a:cubicBezTo>
                  <a:pt x="524" y="436"/>
                  <a:pt x="524" y="436"/>
                  <a:pt x="524" y="436"/>
                </a:cubicBezTo>
                <a:cubicBezTo>
                  <a:pt x="486" y="432"/>
                  <a:pt x="470" y="414"/>
                  <a:pt x="468" y="362"/>
                </a:cubicBezTo>
                <a:cubicBezTo>
                  <a:pt x="454" y="86"/>
                  <a:pt x="454" y="86"/>
                  <a:pt x="454" y="86"/>
                </a:cubicBezTo>
                <a:cubicBezTo>
                  <a:pt x="452" y="46"/>
                  <a:pt x="470" y="30"/>
                  <a:pt x="504" y="26"/>
                </a:cubicBezTo>
                <a:cubicBezTo>
                  <a:pt x="504" y="12"/>
                  <a:pt x="504" y="12"/>
                  <a:pt x="504" y="12"/>
                </a:cubicBezTo>
                <a:cubicBezTo>
                  <a:pt x="394" y="12"/>
                  <a:pt x="394" y="12"/>
                  <a:pt x="394" y="12"/>
                </a:cubicBezTo>
                <a:cubicBezTo>
                  <a:pt x="264" y="350"/>
                  <a:pt x="264" y="350"/>
                  <a:pt x="264" y="350"/>
                </a:cubicBezTo>
                <a:cubicBezTo>
                  <a:pt x="132" y="10"/>
                  <a:pt x="132" y="10"/>
                  <a:pt x="132" y="10"/>
                </a:cubicBezTo>
                <a:cubicBezTo>
                  <a:pt x="18" y="10"/>
                  <a:pt x="18" y="10"/>
                  <a:pt x="18" y="10"/>
                </a:cubicBezTo>
                <a:cubicBezTo>
                  <a:pt x="18" y="22"/>
                  <a:pt x="18" y="22"/>
                  <a:pt x="18" y="22"/>
                </a:cubicBezTo>
                <a:cubicBezTo>
                  <a:pt x="40" y="26"/>
                  <a:pt x="74" y="32"/>
                  <a:pt x="72" y="84"/>
                </a:cubicBezTo>
                <a:cubicBezTo>
                  <a:pt x="58" y="352"/>
                  <a:pt x="58" y="352"/>
                  <a:pt x="58" y="352"/>
                </a:cubicBezTo>
                <a:cubicBezTo>
                  <a:pt x="54" y="410"/>
                  <a:pt x="38" y="430"/>
                  <a:pt x="0" y="436"/>
                </a:cubicBezTo>
                <a:cubicBezTo>
                  <a:pt x="0" y="448"/>
                  <a:pt x="0" y="448"/>
                  <a:pt x="0" y="448"/>
                </a:cubicBezTo>
                <a:cubicBezTo>
                  <a:pt x="140" y="448"/>
                  <a:pt x="140" y="448"/>
                  <a:pt x="140" y="448"/>
                </a:cubicBezTo>
                <a:cubicBezTo>
                  <a:pt x="140" y="436"/>
                  <a:pt x="140" y="436"/>
                  <a:pt x="140" y="436"/>
                </a:cubicBezTo>
                <a:cubicBezTo>
                  <a:pt x="98" y="428"/>
                  <a:pt x="84" y="414"/>
                  <a:pt x="88" y="356"/>
                </a:cubicBezTo>
                <a:cubicBezTo>
                  <a:pt x="100" y="86"/>
                  <a:pt x="100" y="86"/>
                  <a:pt x="100" y="86"/>
                </a:cubicBezTo>
                <a:cubicBezTo>
                  <a:pt x="240" y="444"/>
                  <a:pt x="240" y="444"/>
                  <a:pt x="240" y="444"/>
                </a:cubicBezTo>
                <a:cubicBezTo>
                  <a:pt x="258" y="444"/>
                  <a:pt x="258" y="444"/>
                  <a:pt x="258" y="444"/>
                </a:cubicBezTo>
                <a:cubicBezTo>
                  <a:pt x="396" y="86"/>
                  <a:pt x="396" y="86"/>
                  <a:pt x="396" y="86"/>
                </a:cubicBezTo>
                <a:cubicBezTo>
                  <a:pt x="408" y="372"/>
                  <a:pt x="408" y="372"/>
                  <a:pt x="408" y="372"/>
                </a:cubicBezTo>
                <a:cubicBezTo>
                  <a:pt x="410" y="416"/>
                  <a:pt x="398" y="430"/>
                  <a:pt x="366" y="434"/>
                </a:cubicBezTo>
                <a:lnTo>
                  <a:pt x="366" y="448"/>
                </a:lnTo>
                <a:close/>
                <a:moveTo>
                  <a:pt x="670" y="456"/>
                </a:moveTo>
                <a:cubicBezTo>
                  <a:pt x="708" y="456"/>
                  <a:pt x="756" y="440"/>
                  <a:pt x="782" y="412"/>
                </a:cubicBezTo>
                <a:cubicBezTo>
                  <a:pt x="776" y="400"/>
                  <a:pt x="776" y="400"/>
                  <a:pt x="776" y="400"/>
                </a:cubicBezTo>
                <a:cubicBezTo>
                  <a:pt x="750" y="416"/>
                  <a:pt x="722" y="422"/>
                  <a:pt x="696" y="422"/>
                </a:cubicBezTo>
                <a:cubicBezTo>
                  <a:pt x="620" y="422"/>
                  <a:pt x="592" y="358"/>
                  <a:pt x="592" y="290"/>
                </a:cubicBezTo>
                <a:cubicBezTo>
                  <a:pt x="592" y="258"/>
                  <a:pt x="600" y="236"/>
                  <a:pt x="614" y="222"/>
                </a:cubicBezTo>
                <a:cubicBezTo>
                  <a:pt x="626" y="210"/>
                  <a:pt x="646" y="204"/>
                  <a:pt x="664" y="204"/>
                </a:cubicBezTo>
                <a:cubicBezTo>
                  <a:pt x="690" y="204"/>
                  <a:pt x="722" y="214"/>
                  <a:pt x="744" y="244"/>
                </a:cubicBezTo>
                <a:cubicBezTo>
                  <a:pt x="750" y="244"/>
                  <a:pt x="750" y="244"/>
                  <a:pt x="750" y="244"/>
                </a:cubicBezTo>
                <a:cubicBezTo>
                  <a:pt x="758" y="234"/>
                  <a:pt x="766" y="212"/>
                  <a:pt x="768" y="196"/>
                </a:cubicBezTo>
                <a:cubicBezTo>
                  <a:pt x="748" y="180"/>
                  <a:pt x="720" y="172"/>
                  <a:pt x="686" y="172"/>
                </a:cubicBezTo>
                <a:cubicBezTo>
                  <a:pt x="604" y="172"/>
                  <a:pt x="544" y="246"/>
                  <a:pt x="544" y="326"/>
                </a:cubicBezTo>
                <a:cubicBezTo>
                  <a:pt x="540" y="390"/>
                  <a:pt x="576" y="456"/>
                  <a:pt x="670" y="456"/>
                </a:cubicBezTo>
                <a:moveTo>
                  <a:pt x="1272" y="98"/>
                </a:moveTo>
                <a:cubicBezTo>
                  <a:pt x="1292" y="98"/>
                  <a:pt x="1308" y="82"/>
                  <a:pt x="1308" y="62"/>
                </a:cubicBezTo>
                <a:cubicBezTo>
                  <a:pt x="1308" y="42"/>
                  <a:pt x="1292" y="26"/>
                  <a:pt x="1272" y="26"/>
                </a:cubicBezTo>
                <a:cubicBezTo>
                  <a:pt x="1252" y="26"/>
                  <a:pt x="1238" y="42"/>
                  <a:pt x="1238" y="62"/>
                </a:cubicBezTo>
                <a:cubicBezTo>
                  <a:pt x="1238" y="82"/>
                  <a:pt x="1252" y="98"/>
                  <a:pt x="1272" y="98"/>
                </a:cubicBezTo>
                <a:moveTo>
                  <a:pt x="1202" y="448"/>
                </a:moveTo>
                <a:cubicBezTo>
                  <a:pt x="1346" y="448"/>
                  <a:pt x="1346" y="448"/>
                  <a:pt x="1346" y="448"/>
                </a:cubicBezTo>
                <a:cubicBezTo>
                  <a:pt x="1346" y="436"/>
                  <a:pt x="1346" y="436"/>
                  <a:pt x="1346" y="436"/>
                </a:cubicBezTo>
                <a:cubicBezTo>
                  <a:pt x="1304" y="432"/>
                  <a:pt x="1302" y="434"/>
                  <a:pt x="1302" y="338"/>
                </a:cubicBezTo>
                <a:cubicBezTo>
                  <a:pt x="1302" y="176"/>
                  <a:pt x="1302" y="176"/>
                  <a:pt x="1302" y="176"/>
                </a:cubicBezTo>
                <a:cubicBezTo>
                  <a:pt x="1200" y="176"/>
                  <a:pt x="1200" y="176"/>
                  <a:pt x="1200" y="176"/>
                </a:cubicBezTo>
                <a:cubicBezTo>
                  <a:pt x="1200" y="188"/>
                  <a:pt x="1200" y="188"/>
                  <a:pt x="1200" y="188"/>
                </a:cubicBezTo>
                <a:cubicBezTo>
                  <a:pt x="1244" y="190"/>
                  <a:pt x="1250" y="192"/>
                  <a:pt x="1250" y="268"/>
                </a:cubicBezTo>
                <a:cubicBezTo>
                  <a:pt x="1250" y="336"/>
                  <a:pt x="1250" y="336"/>
                  <a:pt x="1250" y="336"/>
                </a:cubicBezTo>
                <a:cubicBezTo>
                  <a:pt x="1250" y="432"/>
                  <a:pt x="1248" y="432"/>
                  <a:pt x="1202" y="436"/>
                </a:cubicBezTo>
                <a:cubicBezTo>
                  <a:pt x="1178" y="434"/>
                  <a:pt x="1154" y="426"/>
                  <a:pt x="1076" y="338"/>
                </a:cubicBezTo>
                <a:cubicBezTo>
                  <a:pt x="1046" y="302"/>
                  <a:pt x="996" y="244"/>
                  <a:pt x="968" y="206"/>
                </a:cubicBezTo>
                <a:cubicBezTo>
                  <a:pt x="1062" y="102"/>
                  <a:pt x="1062" y="102"/>
                  <a:pt x="1062" y="102"/>
                </a:cubicBezTo>
                <a:cubicBezTo>
                  <a:pt x="1108" y="52"/>
                  <a:pt x="1132" y="26"/>
                  <a:pt x="1176" y="24"/>
                </a:cubicBezTo>
                <a:cubicBezTo>
                  <a:pt x="1176" y="10"/>
                  <a:pt x="1176" y="10"/>
                  <a:pt x="1176" y="10"/>
                </a:cubicBezTo>
                <a:cubicBezTo>
                  <a:pt x="1030" y="10"/>
                  <a:pt x="1030" y="10"/>
                  <a:pt x="1030" y="10"/>
                </a:cubicBezTo>
                <a:cubicBezTo>
                  <a:pt x="1030" y="22"/>
                  <a:pt x="1030" y="22"/>
                  <a:pt x="1030" y="22"/>
                </a:cubicBezTo>
                <a:cubicBezTo>
                  <a:pt x="1050" y="26"/>
                  <a:pt x="1056" y="32"/>
                  <a:pt x="1056" y="46"/>
                </a:cubicBezTo>
                <a:cubicBezTo>
                  <a:pt x="1056" y="56"/>
                  <a:pt x="1054" y="72"/>
                  <a:pt x="1026" y="102"/>
                </a:cubicBezTo>
                <a:cubicBezTo>
                  <a:pt x="910" y="230"/>
                  <a:pt x="910" y="230"/>
                  <a:pt x="910" y="230"/>
                </a:cubicBezTo>
                <a:cubicBezTo>
                  <a:pt x="910" y="148"/>
                  <a:pt x="910" y="148"/>
                  <a:pt x="910" y="148"/>
                </a:cubicBezTo>
                <a:cubicBezTo>
                  <a:pt x="910" y="36"/>
                  <a:pt x="916" y="28"/>
                  <a:pt x="960" y="22"/>
                </a:cubicBezTo>
                <a:cubicBezTo>
                  <a:pt x="960" y="8"/>
                  <a:pt x="960" y="8"/>
                  <a:pt x="960" y="8"/>
                </a:cubicBezTo>
                <a:cubicBezTo>
                  <a:pt x="804" y="8"/>
                  <a:pt x="804" y="8"/>
                  <a:pt x="804" y="8"/>
                </a:cubicBezTo>
                <a:cubicBezTo>
                  <a:pt x="804" y="22"/>
                  <a:pt x="804" y="22"/>
                  <a:pt x="804" y="22"/>
                </a:cubicBezTo>
                <a:cubicBezTo>
                  <a:pt x="852" y="26"/>
                  <a:pt x="854" y="36"/>
                  <a:pt x="854" y="148"/>
                </a:cubicBezTo>
                <a:cubicBezTo>
                  <a:pt x="854" y="300"/>
                  <a:pt x="854" y="300"/>
                  <a:pt x="854" y="300"/>
                </a:cubicBezTo>
                <a:cubicBezTo>
                  <a:pt x="854" y="422"/>
                  <a:pt x="850" y="430"/>
                  <a:pt x="804" y="434"/>
                </a:cubicBezTo>
                <a:cubicBezTo>
                  <a:pt x="804" y="446"/>
                  <a:pt x="804" y="446"/>
                  <a:pt x="804" y="446"/>
                </a:cubicBezTo>
                <a:cubicBezTo>
                  <a:pt x="960" y="446"/>
                  <a:pt x="960" y="446"/>
                  <a:pt x="960" y="446"/>
                </a:cubicBezTo>
                <a:cubicBezTo>
                  <a:pt x="960" y="434"/>
                  <a:pt x="960" y="434"/>
                  <a:pt x="960" y="434"/>
                </a:cubicBezTo>
                <a:cubicBezTo>
                  <a:pt x="910" y="428"/>
                  <a:pt x="910" y="424"/>
                  <a:pt x="910" y="292"/>
                </a:cubicBezTo>
                <a:cubicBezTo>
                  <a:pt x="910" y="268"/>
                  <a:pt x="910" y="268"/>
                  <a:pt x="910" y="268"/>
                </a:cubicBezTo>
                <a:cubicBezTo>
                  <a:pt x="930" y="246"/>
                  <a:pt x="930" y="246"/>
                  <a:pt x="930" y="246"/>
                </a:cubicBezTo>
                <a:cubicBezTo>
                  <a:pt x="982" y="310"/>
                  <a:pt x="1038" y="380"/>
                  <a:pt x="1098" y="448"/>
                </a:cubicBezTo>
                <a:cubicBezTo>
                  <a:pt x="1202" y="448"/>
                  <a:pt x="1202" y="448"/>
                  <a:pt x="1202" y="448"/>
                </a:cubicBezTo>
                <a:close/>
                <a:moveTo>
                  <a:pt x="1564" y="448"/>
                </a:moveTo>
                <a:cubicBezTo>
                  <a:pt x="1706" y="448"/>
                  <a:pt x="1706" y="448"/>
                  <a:pt x="1706" y="448"/>
                </a:cubicBezTo>
                <a:cubicBezTo>
                  <a:pt x="1706" y="436"/>
                  <a:pt x="1706" y="436"/>
                  <a:pt x="1706" y="436"/>
                </a:cubicBezTo>
                <a:cubicBezTo>
                  <a:pt x="1658" y="434"/>
                  <a:pt x="1658" y="432"/>
                  <a:pt x="1658" y="342"/>
                </a:cubicBezTo>
                <a:cubicBezTo>
                  <a:pt x="1658" y="280"/>
                  <a:pt x="1658" y="280"/>
                  <a:pt x="1658" y="280"/>
                </a:cubicBezTo>
                <a:cubicBezTo>
                  <a:pt x="1658" y="198"/>
                  <a:pt x="1612" y="172"/>
                  <a:pt x="1570" y="172"/>
                </a:cubicBezTo>
                <a:cubicBezTo>
                  <a:pt x="1534" y="172"/>
                  <a:pt x="1498" y="188"/>
                  <a:pt x="1470" y="224"/>
                </a:cubicBezTo>
                <a:cubicBezTo>
                  <a:pt x="1470" y="176"/>
                  <a:pt x="1470" y="176"/>
                  <a:pt x="1470" y="176"/>
                </a:cubicBezTo>
                <a:cubicBezTo>
                  <a:pt x="1368" y="176"/>
                  <a:pt x="1368" y="176"/>
                  <a:pt x="1368" y="176"/>
                </a:cubicBezTo>
                <a:cubicBezTo>
                  <a:pt x="1368" y="188"/>
                  <a:pt x="1368" y="188"/>
                  <a:pt x="1368" y="188"/>
                </a:cubicBezTo>
                <a:cubicBezTo>
                  <a:pt x="1412" y="190"/>
                  <a:pt x="1418" y="192"/>
                  <a:pt x="1418" y="268"/>
                </a:cubicBezTo>
                <a:cubicBezTo>
                  <a:pt x="1418" y="336"/>
                  <a:pt x="1418" y="336"/>
                  <a:pt x="1418" y="336"/>
                </a:cubicBezTo>
                <a:cubicBezTo>
                  <a:pt x="1418" y="434"/>
                  <a:pt x="1418" y="434"/>
                  <a:pt x="1370" y="436"/>
                </a:cubicBezTo>
                <a:cubicBezTo>
                  <a:pt x="1370" y="448"/>
                  <a:pt x="1370" y="448"/>
                  <a:pt x="1370" y="448"/>
                </a:cubicBezTo>
                <a:cubicBezTo>
                  <a:pt x="1514" y="448"/>
                  <a:pt x="1514" y="448"/>
                  <a:pt x="1514" y="448"/>
                </a:cubicBezTo>
                <a:cubicBezTo>
                  <a:pt x="1514" y="436"/>
                  <a:pt x="1514" y="436"/>
                  <a:pt x="1514" y="436"/>
                </a:cubicBezTo>
                <a:cubicBezTo>
                  <a:pt x="1472" y="432"/>
                  <a:pt x="1470" y="434"/>
                  <a:pt x="1470" y="338"/>
                </a:cubicBezTo>
                <a:cubicBezTo>
                  <a:pt x="1470" y="262"/>
                  <a:pt x="1470" y="262"/>
                  <a:pt x="1470" y="262"/>
                </a:cubicBezTo>
                <a:cubicBezTo>
                  <a:pt x="1470" y="236"/>
                  <a:pt x="1504" y="206"/>
                  <a:pt x="1546" y="206"/>
                </a:cubicBezTo>
                <a:cubicBezTo>
                  <a:pt x="1580" y="206"/>
                  <a:pt x="1606" y="220"/>
                  <a:pt x="1606" y="286"/>
                </a:cubicBezTo>
                <a:cubicBezTo>
                  <a:pt x="1606" y="340"/>
                  <a:pt x="1606" y="340"/>
                  <a:pt x="1606" y="340"/>
                </a:cubicBezTo>
                <a:cubicBezTo>
                  <a:pt x="1606" y="432"/>
                  <a:pt x="1602" y="432"/>
                  <a:pt x="1564" y="434"/>
                </a:cubicBezTo>
                <a:lnTo>
                  <a:pt x="1564" y="448"/>
                </a:lnTo>
                <a:close/>
                <a:moveTo>
                  <a:pt x="1776" y="222"/>
                </a:moveTo>
                <a:cubicBezTo>
                  <a:pt x="1776" y="200"/>
                  <a:pt x="1796" y="188"/>
                  <a:pt x="1822" y="188"/>
                </a:cubicBezTo>
                <a:cubicBezTo>
                  <a:pt x="1874" y="188"/>
                  <a:pt x="1896" y="236"/>
                  <a:pt x="1900" y="252"/>
                </a:cubicBezTo>
                <a:cubicBezTo>
                  <a:pt x="1912" y="252"/>
                  <a:pt x="1912" y="252"/>
                  <a:pt x="1912" y="252"/>
                </a:cubicBezTo>
                <a:cubicBezTo>
                  <a:pt x="1912" y="212"/>
                  <a:pt x="1908" y="188"/>
                  <a:pt x="1904" y="184"/>
                </a:cubicBezTo>
                <a:cubicBezTo>
                  <a:pt x="1900" y="180"/>
                  <a:pt x="1862" y="170"/>
                  <a:pt x="1824" y="170"/>
                </a:cubicBezTo>
                <a:cubicBezTo>
                  <a:pt x="1768" y="170"/>
                  <a:pt x="1734" y="206"/>
                  <a:pt x="1734" y="248"/>
                </a:cubicBezTo>
                <a:cubicBezTo>
                  <a:pt x="1734" y="340"/>
                  <a:pt x="1890" y="322"/>
                  <a:pt x="1890" y="396"/>
                </a:cubicBezTo>
                <a:cubicBezTo>
                  <a:pt x="1890" y="422"/>
                  <a:pt x="1866" y="436"/>
                  <a:pt x="1826" y="436"/>
                </a:cubicBezTo>
                <a:cubicBezTo>
                  <a:pt x="1788" y="436"/>
                  <a:pt x="1754" y="416"/>
                  <a:pt x="1744" y="366"/>
                </a:cubicBezTo>
                <a:cubicBezTo>
                  <a:pt x="1728" y="366"/>
                  <a:pt x="1728" y="366"/>
                  <a:pt x="1728" y="366"/>
                </a:cubicBezTo>
                <a:cubicBezTo>
                  <a:pt x="1728" y="386"/>
                  <a:pt x="1732" y="422"/>
                  <a:pt x="1734" y="428"/>
                </a:cubicBezTo>
                <a:cubicBezTo>
                  <a:pt x="1744" y="446"/>
                  <a:pt x="1788" y="454"/>
                  <a:pt x="1824" y="454"/>
                </a:cubicBezTo>
                <a:cubicBezTo>
                  <a:pt x="1888" y="454"/>
                  <a:pt x="1928" y="416"/>
                  <a:pt x="1928" y="372"/>
                </a:cubicBezTo>
                <a:cubicBezTo>
                  <a:pt x="1932" y="270"/>
                  <a:pt x="1776" y="286"/>
                  <a:pt x="1776" y="222"/>
                </a:cubicBezTo>
                <a:moveTo>
                  <a:pt x="2030" y="270"/>
                </a:moveTo>
                <a:cubicBezTo>
                  <a:pt x="2034" y="220"/>
                  <a:pt x="2058" y="192"/>
                  <a:pt x="2102" y="192"/>
                </a:cubicBezTo>
                <a:cubicBezTo>
                  <a:pt x="2144" y="192"/>
                  <a:pt x="2170" y="220"/>
                  <a:pt x="2172" y="270"/>
                </a:cubicBezTo>
                <a:lnTo>
                  <a:pt x="2030" y="270"/>
                </a:lnTo>
                <a:close/>
                <a:moveTo>
                  <a:pt x="2030" y="290"/>
                </a:moveTo>
                <a:cubicBezTo>
                  <a:pt x="2222" y="290"/>
                  <a:pt x="2222" y="290"/>
                  <a:pt x="2222" y="290"/>
                </a:cubicBezTo>
                <a:cubicBezTo>
                  <a:pt x="2226" y="228"/>
                  <a:pt x="2192" y="168"/>
                  <a:pt x="2114" y="168"/>
                </a:cubicBezTo>
                <a:cubicBezTo>
                  <a:pt x="2034" y="168"/>
                  <a:pt x="1982" y="232"/>
                  <a:pt x="1982" y="320"/>
                </a:cubicBezTo>
                <a:cubicBezTo>
                  <a:pt x="1982" y="388"/>
                  <a:pt x="2018" y="456"/>
                  <a:pt x="2112" y="456"/>
                </a:cubicBezTo>
                <a:cubicBezTo>
                  <a:pt x="2150" y="456"/>
                  <a:pt x="2198" y="440"/>
                  <a:pt x="2224" y="412"/>
                </a:cubicBezTo>
                <a:cubicBezTo>
                  <a:pt x="2218" y="400"/>
                  <a:pt x="2218" y="400"/>
                  <a:pt x="2218" y="400"/>
                </a:cubicBezTo>
                <a:cubicBezTo>
                  <a:pt x="2192" y="416"/>
                  <a:pt x="2164" y="422"/>
                  <a:pt x="2138" y="422"/>
                </a:cubicBezTo>
                <a:cubicBezTo>
                  <a:pt x="2058" y="420"/>
                  <a:pt x="2028" y="352"/>
                  <a:pt x="2030" y="290"/>
                </a:cubicBezTo>
                <a:moveTo>
                  <a:pt x="2478" y="242"/>
                </a:moveTo>
                <a:cubicBezTo>
                  <a:pt x="2490" y="206"/>
                  <a:pt x="2510" y="192"/>
                  <a:pt x="2528" y="192"/>
                </a:cubicBezTo>
                <a:cubicBezTo>
                  <a:pt x="2528" y="180"/>
                  <a:pt x="2528" y="180"/>
                  <a:pt x="2528" y="180"/>
                </a:cubicBezTo>
                <a:cubicBezTo>
                  <a:pt x="2430" y="180"/>
                  <a:pt x="2430" y="180"/>
                  <a:pt x="2430" y="180"/>
                </a:cubicBezTo>
                <a:cubicBezTo>
                  <a:pt x="2430" y="192"/>
                  <a:pt x="2430" y="192"/>
                  <a:pt x="2430" y="192"/>
                </a:cubicBezTo>
                <a:cubicBezTo>
                  <a:pt x="2454" y="194"/>
                  <a:pt x="2466" y="206"/>
                  <a:pt x="2458" y="234"/>
                </a:cubicBezTo>
                <a:cubicBezTo>
                  <a:pt x="2406" y="390"/>
                  <a:pt x="2406" y="390"/>
                  <a:pt x="2406" y="390"/>
                </a:cubicBezTo>
                <a:cubicBezTo>
                  <a:pt x="2354" y="270"/>
                  <a:pt x="2354" y="270"/>
                  <a:pt x="2354" y="270"/>
                </a:cubicBezTo>
                <a:cubicBezTo>
                  <a:pt x="2340" y="238"/>
                  <a:pt x="2334" y="224"/>
                  <a:pt x="2334" y="212"/>
                </a:cubicBezTo>
                <a:cubicBezTo>
                  <a:pt x="2334" y="202"/>
                  <a:pt x="2340" y="196"/>
                  <a:pt x="2360" y="192"/>
                </a:cubicBezTo>
                <a:cubicBezTo>
                  <a:pt x="2360" y="180"/>
                  <a:pt x="2360" y="180"/>
                  <a:pt x="2360" y="180"/>
                </a:cubicBezTo>
                <a:cubicBezTo>
                  <a:pt x="2234" y="180"/>
                  <a:pt x="2234" y="180"/>
                  <a:pt x="2234" y="180"/>
                </a:cubicBezTo>
                <a:cubicBezTo>
                  <a:pt x="2234" y="192"/>
                  <a:pt x="2234" y="192"/>
                  <a:pt x="2234" y="192"/>
                </a:cubicBezTo>
                <a:cubicBezTo>
                  <a:pt x="2266" y="194"/>
                  <a:pt x="2268" y="198"/>
                  <a:pt x="2310" y="292"/>
                </a:cubicBezTo>
                <a:cubicBezTo>
                  <a:pt x="2382" y="450"/>
                  <a:pt x="2382" y="450"/>
                  <a:pt x="2382" y="450"/>
                </a:cubicBezTo>
                <a:cubicBezTo>
                  <a:pt x="2358" y="512"/>
                  <a:pt x="2320" y="546"/>
                  <a:pt x="2242" y="564"/>
                </a:cubicBezTo>
                <a:cubicBezTo>
                  <a:pt x="2246" y="576"/>
                  <a:pt x="2260" y="600"/>
                  <a:pt x="2268" y="606"/>
                </a:cubicBezTo>
                <a:cubicBezTo>
                  <a:pt x="2370" y="564"/>
                  <a:pt x="2390" y="498"/>
                  <a:pt x="2426" y="396"/>
                </a:cubicBezTo>
                <a:lnTo>
                  <a:pt x="2478" y="242"/>
                </a:lnTo>
                <a:close/>
                <a:moveTo>
                  <a:pt x="2844" y="394"/>
                </a:moveTo>
                <a:cubicBezTo>
                  <a:pt x="2822" y="412"/>
                  <a:pt x="2782" y="416"/>
                  <a:pt x="2750" y="416"/>
                </a:cubicBezTo>
                <a:cubicBezTo>
                  <a:pt x="2670" y="416"/>
                  <a:pt x="2606" y="360"/>
                  <a:pt x="2606" y="284"/>
                </a:cubicBezTo>
                <a:cubicBezTo>
                  <a:pt x="2606" y="236"/>
                  <a:pt x="2626" y="206"/>
                  <a:pt x="2658" y="198"/>
                </a:cubicBezTo>
                <a:cubicBezTo>
                  <a:pt x="2698" y="266"/>
                  <a:pt x="2770" y="338"/>
                  <a:pt x="2844" y="394"/>
                </a:cubicBezTo>
                <a:moveTo>
                  <a:pt x="2928" y="448"/>
                </a:moveTo>
                <a:cubicBezTo>
                  <a:pt x="3022" y="448"/>
                  <a:pt x="3022" y="448"/>
                  <a:pt x="3022" y="448"/>
                </a:cubicBezTo>
                <a:cubicBezTo>
                  <a:pt x="3022" y="436"/>
                  <a:pt x="3022" y="436"/>
                  <a:pt x="3022" y="436"/>
                </a:cubicBezTo>
                <a:cubicBezTo>
                  <a:pt x="2992" y="432"/>
                  <a:pt x="2946" y="408"/>
                  <a:pt x="2896" y="372"/>
                </a:cubicBezTo>
                <a:cubicBezTo>
                  <a:pt x="2914" y="342"/>
                  <a:pt x="2918" y="300"/>
                  <a:pt x="2922" y="270"/>
                </a:cubicBezTo>
                <a:cubicBezTo>
                  <a:pt x="2926" y="244"/>
                  <a:pt x="2946" y="244"/>
                  <a:pt x="2958" y="242"/>
                </a:cubicBezTo>
                <a:cubicBezTo>
                  <a:pt x="2958" y="230"/>
                  <a:pt x="2958" y="230"/>
                  <a:pt x="2958" y="230"/>
                </a:cubicBezTo>
                <a:cubicBezTo>
                  <a:pt x="2834" y="230"/>
                  <a:pt x="2834" y="230"/>
                  <a:pt x="2834" y="230"/>
                </a:cubicBezTo>
                <a:cubicBezTo>
                  <a:pt x="2834" y="242"/>
                  <a:pt x="2834" y="242"/>
                  <a:pt x="2834" y="242"/>
                </a:cubicBezTo>
                <a:cubicBezTo>
                  <a:pt x="2864" y="246"/>
                  <a:pt x="2892" y="250"/>
                  <a:pt x="2892" y="294"/>
                </a:cubicBezTo>
                <a:cubicBezTo>
                  <a:pt x="2892" y="318"/>
                  <a:pt x="2888" y="342"/>
                  <a:pt x="2878" y="358"/>
                </a:cubicBezTo>
                <a:cubicBezTo>
                  <a:pt x="2770" y="274"/>
                  <a:pt x="2670" y="156"/>
                  <a:pt x="2670" y="96"/>
                </a:cubicBezTo>
                <a:cubicBezTo>
                  <a:pt x="2670" y="66"/>
                  <a:pt x="2688" y="54"/>
                  <a:pt x="2716" y="54"/>
                </a:cubicBezTo>
                <a:cubicBezTo>
                  <a:pt x="2752" y="54"/>
                  <a:pt x="2784" y="78"/>
                  <a:pt x="2800" y="124"/>
                </a:cubicBezTo>
                <a:cubicBezTo>
                  <a:pt x="2812" y="124"/>
                  <a:pt x="2812" y="124"/>
                  <a:pt x="2812" y="124"/>
                </a:cubicBezTo>
                <a:cubicBezTo>
                  <a:pt x="2810" y="42"/>
                  <a:pt x="2810" y="42"/>
                  <a:pt x="2810" y="42"/>
                </a:cubicBezTo>
                <a:cubicBezTo>
                  <a:pt x="2798" y="42"/>
                  <a:pt x="2798" y="42"/>
                  <a:pt x="2798" y="42"/>
                </a:cubicBezTo>
                <a:cubicBezTo>
                  <a:pt x="2798" y="48"/>
                  <a:pt x="2792" y="52"/>
                  <a:pt x="2788" y="52"/>
                </a:cubicBezTo>
                <a:cubicBezTo>
                  <a:pt x="2772" y="52"/>
                  <a:pt x="2752" y="36"/>
                  <a:pt x="2714" y="36"/>
                </a:cubicBezTo>
                <a:cubicBezTo>
                  <a:pt x="2672" y="36"/>
                  <a:pt x="2630" y="62"/>
                  <a:pt x="2630" y="118"/>
                </a:cubicBezTo>
                <a:cubicBezTo>
                  <a:pt x="2630" y="140"/>
                  <a:pt x="2636" y="160"/>
                  <a:pt x="2648" y="182"/>
                </a:cubicBezTo>
                <a:cubicBezTo>
                  <a:pt x="2592" y="200"/>
                  <a:pt x="2562" y="248"/>
                  <a:pt x="2562" y="304"/>
                </a:cubicBezTo>
                <a:cubicBezTo>
                  <a:pt x="2562" y="406"/>
                  <a:pt x="2640" y="460"/>
                  <a:pt x="2726" y="460"/>
                </a:cubicBezTo>
                <a:cubicBezTo>
                  <a:pt x="2780" y="460"/>
                  <a:pt x="2824" y="444"/>
                  <a:pt x="2862" y="410"/>
                </a:cubicBezTo>
                <a:cubicBezTo>
                  <a:pt x="2888" y="424"/>
                  <a:pt x="2912" y="442"/>
                  <a:pt x="2928" y="448"/>
                </a:cubicBezTo>
                <a:moveTo>
                  <a:pt x="3094" y="212"/>
                </a:moveTo>
                <a:cubicBezTo>
                  <a:pt x="3094" y="88"/>
                  <a:pt x="3154" y="20"/>
                  <a:pt x="3252" y="20"/>
                </a:cubicBezTo>
                <a:cubicBezTo>
                  <a:pt x="3328" y="20"/>
                  <a:pt x="3372" y="58"/>
                  <a:pt x="3392" y="134"/>
                </a:cubicBezTo>
                <a:cubicBezTo>
                  <a:pt x="3404" y="134"/>
                  <a:pt x="3404" y="134"/>
                  <a:pt x="3404" y="134"/>
                </a:cubicBezTo>
                <a:cubicBezTo>
                  <a:pt x="3400" y="4"/>
                  <a:pt x="3400" y="4"/>
                  <a:pt x="3400" y="4"/>
                </a:cubicBezTo>
                <a:cubicBezTo>
                  <a:pt x="3388" y="4"/>
                  <a:pt x="3388" y="4"/>
                  <a:pt x="3388" y="4"/>
                </a:cubicBezTo>
                <a:cubicBezTo>
                  <a:pt x="3384" y="14"/>
                  <a:pt x="3376" y="18"/>
                  <a:pt x="3364" y="18"/>
                </a:cubicBezTo>
                <a:cubicBezTo>
                  <a:pt x="3338" y="18"/>
                  <a:pt x="3314" y="0"/>
                  <a:pt x="3248" y="0"/>
                </a:cubicBezTo>
                <a:cubicBezTo>
                  <a:pt x="3118" y="0"/>
                  <a:pt x="3030" y="102"/>
                  <a:pt x="3030" y="242"/>
                </a:cubicBezTo>
                <a:cubicBezTo>
                  <a:pt x="3030" y="376"/>
                  <a:pt x="3110" y="460"/>
                  <a:pt x="3238" y="460"/>
                </a:cubicBezTo>
                <a:cubicBezTo>
                  <a:pt x="3320" y="460"/>
                  <a:pt x="3384" y="420"/>
                  <a:pt x="3408" y="380"/>
                </a:cubicBezTo>
                <a:cubicBezTo>
                  <a:pt x="3396" y="366"/>
                  <a:pt x="3396" y="366"/>
                  <a:pt x="3396" y="366"/>
                </a:cubicBezTo>
                <a:cubicBezTo>
                  <a:pt x="3370" y="402"/>
                  <a:pt x="3314" y="426"/>
                  <a:pt x="3256" y="426"/>
                </a:cubicBezTo>
                <a:cubicBezTo>
                  <a:pt x="3156" y="426"/>
                  <a:pt x="3094" y="340"/>
                  <a:pt x="3094" y="212"/>
                </a:cubicBezTo>
                <a:moveTo>
                  <a:pt x="3678" y="328"/>
                </a:moveTo>
                <a:cubicBezTo>
                  <a:pt x="3678" y="392"/>
                  <a:pt x="3650" y="430"/>
                  <a:pt x="3592" y="430"/>
                </a:cubicBezTo>
                <a:cubicBezTo>
                  <a:pt x="3542" y="430"/>
                  <a:pt x="3496" y="384"/>
                  <a:pt x="3496" y="292"/>
                </a:cubicBezTo>
                <a:cubicBezTo>
                  <a:pt x="3496" y="226"/>
                  <a:pt x="3528" y="190"/>
                  <a:pt x="3580" y="190"/>
                </a:cubicBezTo>
                <a:cubicBezTo>
                  <a:pt x="3628" y="192"/>
                  <a:pt x="3678" y="238"/>
                  <a:pt x="3678" y="328"/>
                </a:cubicBezTo>
                <a:moveTo>
                  <a:pt x="3732" y="312"/>
                </a:moveTo>
                <a:cubicBezTo>
                  <a:pt x="3732" y="260"/>
                  <a:pt x="3710" y="214"/>
                  <a:pt x="3672" y="190"/>
                </a:cubicBezTo>
                <a:cubicBezTo>
                  <a:pt x="3650" y="176"/>
                  <a:pt x="3620" y="168"/>
                  <a:pt x="3588" y="168"/>
                </a:cubicBezTo>
                <a:cubicBezTo>
                  <a:pt x="3502" y="168"/>
                  <a:pt x="3442" y="230"/>
                  <a:pt x="3442" y="310"/>
                </a:cubicBezTo>
                <a:cubicBezTo>
                  <a:pt x="3442" y="364"/>
                  <a:pt x="3464" y="408"/>
                  <a:pt x="3502" y="432"/>
                </a:cubicBezTo>
                <a:cubicBezTo>
                  <a:pt x="3524" y="446"/>
                  <a:pt x="3554" y="452"/>
                  <a:pt x="3586" y="452"/>
                </a:cubicBezTo>
                <a:cubicBezTo>
                  <a:pt x="3672" y="454"/>
                  <a:pt x="3732" y="394"/>
                  <a:pt x="3732" y="312"/>
                </a:cubicBezTo>
                <a:moveTo>
                  <a:pt x="4136" y="448"/>
                </a:moveTo>
                <a:cubicBezTo>
                  <a:pt x="4280" y="448"/>
                  <a:pt x="4280" y="448"/>
                  <a:pt x="4280" y="448"/>
                </a:cubicBezTo>
                <a:cubicBezTo>
                  <a:pt x="4280" y="436"/>
                  <a:pt x="4280" y="436"/>
                  <a:pt x="4280" y="436"/>
                </a:cubicBezTo>
                <a:cubicBezTo>
                  <a:pt x="4230" y="434"/>
                  <a:pt x="4232" y="426"/>
                  <a:pt x="4232" y="348"/>
                </a:cubicBezTo>
                <a:cubicBezTo>
                  <a:pt x="4232" y="276"/>
                  <a:pt x="4232" y="276"/>
                  <a:pt x="4232" y="276"/>
                </a:cubicBezTo>
                <a:cubicBezTo>
                  <a:pt x="4232" y="200"/>
                  <a:pt x="4190" y="172"/>
                  <a:pt x="4142" y="172"/>
                </a:cubicBezTo>
                <a:cubicBezTo>
                  <a:pt x="4098" y="172"/>
                  <a:pt x="4064" y="196"/>
                  <a:pt x="4038" y="232"/>
                </a:cubicBezTo>
                <a:cubicBezTo>
                  <a:pt x="4028" y="194"/>
                  <a:pt x="4000" y="172"/>
                  <a:pt x="3954" y="172"/>
                </a:cubicBezTo>
                <a:cubicBezTo>
                  <a:pt x="3916" y="172"/>
                  <a:pt x="3880" y="196"/>
                  <a:pt x="3858" y="224"/>
                </a:cubicBezTo>
                <a:cubicBezTo>
                  <a:pt x="3858" y="176"/>
                  <a:pt x="3858" y="176"/>
                  <a:pt x="3858" y="176"/>
                </a:cubicBezTo>
                <a:cubicBezTo>
                  <a:pt x="3756" y="176"/>
                  <a:pt x="3756" y="176"/>
                  <a:pt x="3756" y="176"/>
                </a:cubicBezTo>
                <a:cubicBezTo>
                  <a:pt x="3756" y="188"/>
                  <a:pt x="3756" y="188"/>
                  <a:pt x="3756" y="188"/>
                </a:cubicBezTo>
                <a:cubicBezTo>
                  <a:pt x="3800" y="190"/>
                  <a:pt x="3806" y="192"/>
                  <a:pt x="3806" y="268"/>
                </a:cubicBezTo>
                <a:cubicBezTo>
                  <a:pt x="3806" y="346"/>
                  <a:pt x="3806" y="346"/>
                  <a:pt x="3806" y="346"/>
                </a:cubicBezTo>
                <a:cubicBezTo>
                  <a:pt x="3806" y="434"/>
                  <a:pt x="3804" y="434"/>
                  <a:pt x="3758" y="434"/>
                </a:cubicBezTo>
                <a:cubicBezTo>
                  <a:pt x="3758" y="446"/>
                  <a:pt x="3758" y="446"/>
                  <a:pt x="3758" y="446"/>
                </a:cubicBezTo>
                <a:cubicBezTo>
                  <a:pt x="3902" y="446"/>
                  <a:pt x="3902" y="446"/>
                  <a:pt x="3902" y="446"/>
                </a:cubicBezTo>
                <a:cubicBezTo>
                  <a:pt x="3902" y="434"/>
                  <a:pt x="3902" y="434"/>
                  <a:pt x="3902" y="434"/>
                </a:cubicBezTo>
                <a:cubicBezTo>
                  <a:pt x="3862" y="430"/>
                  <a:pt x="3858" y="430"/>
                  <a:pt x="3858" y="342"/>
                </a:cubicBezTo>
                <a:cubicBezTo>
                  <a:pt x="3858" y="262"/>
                  <a:pt x="3858" y="262"/>
                  <a:pt x="3858" y="262"/>
                </a:cubicBezTo>
                <a:cubicBezTo>
                  <a:pt x="3858" y="234"/>
                  <a:pt x="3894" y="204"/>
                  <a:pt x="3932" y="204"/>
                </a:cubicBezTo>
                <a:cubicBezTo>
                  <a:pt x="3974" y="204"/>
                  <a:pt x="3990" y="226"/>
                  <a:pt x="3990" y="282"/>
                </a:cubicBezTo>
                <a:cubicBezTo>
                  <a:pt x="3990" y="338"/>
                  <a:pt x="3990" y="338"/>
                  <a:pt x="3990" y="338"/>
                </a:cubicBezTo>
                <a:cubicBezTo>
                  <a:pt x="3990" y="428"/>
                  <a:pt x="3988" y="432"/>
                  <a:pt x="3950" y="436"/>
                </a:cubicBezTo>
                <a:cubicBezTo>
                  <a:pt x="3950" y="448"/>
                  <a:pt x="3950" y="448"/>
                  <a:pt x="3950" y="448"/>
                </a:cubicBezTo>
                <a:cubicBezTo>
                  <a:pt x="4086" y="448"/>
                  <a:pt x="4086" y="448"/>
                  <a:pt x="4086" y="448"/>
                </a:cubicBezTo>
                <a:cubicBezTo>
                  <a:pt x="4086" y="436"/>
                  <a:pt x="4086" y="436"/>
                  <a:pt x="4086" y="436"/>
                </a:cubicBezTo>
                <a:cubicBezTo>
                  <a:pt x="4040" y="432"/>
                  <a:pt x="4042" y="428"/>
                  <a:pt x="4042" y="342"/>
                </a:cubicBezTo>
                <a:cubicBezTo>
                  <a:pt x="4042" y="264"/>
                  <a:pt x="4042" y="264"/>
                  <a:pt x="4042" y="264"/>
                </a:cubicBezTo>
                <a:cubicBezTo>
                  <a:pt x="4042" y="236"/>
                  <a:pt x="4078" y="206"/>
                  <a:pt x="4118" y="206"/>
                </a:cubicBezTo>
                <a:cubicBezTo>
                  <a:pt x="4152" y="206"/>
                  <a:pt x="4174" y="226"/>
                  <a:pt x="4174" y="284"/>
                </a:cubicBezTo>
                <a:cubicBezTo>
                  <a:pt x="4174" y="346"/>
                  <a:pt x="4174" y="346"/>
                  <a:pt x="4174" y="346"/>
                </a:cubicBezTo>
                <a:cubicBezTo>
                  <a:pt x="4174" y="428"/>
                  <a:pt x="4174" y="432"/>
                  <a:pt x="4134" y="436"/>
                </a:cubicBezTo>
                <a:cubicBezTo>
                  <a:pt x="4134" y="448"/>
                  <a:pt x="4134" y="448"/>
                  <a:pt x="4134" y="448"/>
                </a:cubicBezTo>
                <a:lnTo>
                  <a:pt x="4136" y="448"/>
                </a:lnTo>
                <a:close/>
                <a:moveTo>
                  <a:pt x="4546" y="316"/>
                </a:moveTo>
                <a:cubicBezTo>
                  <a:pt x="4546" y="388"/>
                  <a:pt x="4516" y="432"/>
                  <a:pt x="4460" y="432"/>
                </a:cubicBezTo>
                <a:cubicBezTo>
                  <a:pt x="4424" y="432"/>
                  <a:pt x="4384" y="412"/>
                  <a:pt x="4384" y="384"/>
                </a:cubicBezTo>
                <a:cubicBezTo>
                  <a:pt x="4384" y="248"/>
                  <a:pt x="4384" y="248"/>
                  <a:pt x="4384" y="248"/>
                </a:cubicBezTo>
                <a:cubicBezTo>
                  <a:pt x="4384" y="226"/>
                  <a:pt x="4416" y="202"/>
                  <a:pt x="4454" y="202"/>
                </a:cubicBezTo>
                <a:cubicBezTo>
                  <a:pt x="4510" y="206"/>
                  <a:pt x="4546" y="248"/>
                  <a:pt x="4546" y="316"/>
                </a:cubicBezTo>
                <a:moveTo>
                  <a:pt x="4600" y="310"/>
                </a:moveTo>
                <a:cubicBezTo>
                  <a:pt x="4600" y="230"/>
                  <a:pt x="4548" y="170"/>
                  <a:pt x="4478" y="170"/>
                </a:cubicBezTo>
                <a:cubicBezTo>
                  <a:pt x="4438" y="170"/>
                  <a:pt x="4406" y="188"/>
                  <a:pt x="4384" y="214"/>
                </a:cubicBezTo>
                <a:cubicBezTo>
                  <a:pt x="4384" y="174"/>
                  <a:pt x="4384" y="174"/>
                  <a:pt x="4384" y="174"/>
                </a:cubicBezTo>
                <a:cubicBezTo>
                  <a:pt x="4284" y="174"/>
                  <a:pt x="4284" y="174"/>
                  <a:pt x="4284" y="174"/>
                </a:cubicBezTo>
                <a:cubicBezTo>
                  <a:pt x="4284" y="186"/>
                  <a:pt x="4284" y="186"/>
                  <a:pt x="4284" y="186"/>
                </a:cubicBezTo>
                <a:cubicBezTo>
                  <a:pt x="4326" y="188"/>
                  <a:pt x="4332" y="190"/>
                  <a:pt x="4332" y="280"/>
                </a:cubicBezTo>
                <a:cubicBezTo>
                  <a:pt x="4332" y="466"/>
                  <a:pt x="4332" y="466"/>
                  <a:pt x="4332" y="466"/>
                </a:cubicBezTo>
                <a:cubicBezTo>
                  <a:pt x="4332" y="564"/>
                  <a:pt x="4334" y="570"/>
                  <a:pt x="4286" y="574"/>
                </a:cubicBezTo>
                <a:cubicBezTo>
                  <a:pt x="4286" y="588"/>
                  <a:pt x="4286" y="588"/>
                  <a:pt x="4286" y="588"/>
                </a:cubicBezTo>
                <a:cubicBezTo>
                  <a:pt x="4432" y="588"/>
                  <a:pt x="4432" y="588"/>
                  <a:pt x="4432" y="588"/>
                </a:cubicBezTo>
                <a:cubicBezTo>
                  <a:pt x="4432" y="574"/>
                  <a:pt x="4432" y="574"/>
                  <a:pt x="4432" y="574"/>
                </a:cubicBezTo>
                <a:cubicBezTo>
                  <a:pt x="4380" y="572"/>
                  <a:pt x="4384" y="564"/>
                  <a:pt x="4384" y="462"/>
                </a:cubicBezTo>
                <a:cubicBezTo>
                  <a:pt x="4384" y="424"/>
                  <a:pt x="4384" y="424"/>
                  <a:pt x="4384" y="424"/>
                </a:cubicBezTo>
                <a:cubicBezTo>
                  <a:pt x="4404" y="444"/>
                  <a:pt x="4436" y="454"/>
                  <a:pt x="4466" y="454"/>
                </a:cubicBezTo>
                <a:cubicBezTo>
                  <a:pt x="4548" y="454"/>
                  <a:pt x="4600" y="392"/>
                  <a:pt x="4600" y="310"/>
                </a:cubicBezTo>
                <a:moveTo>
                  <a:pt x="4792" y="382"/>
                </a:moveTo>
                <a:cubicBezTo>
                  <a:pt x="4792" y="404"/>
                  <a:pt x="4762" y="424"/>
                  <a:pt x="4736" y="424"/>
                </a:cubicBezTo>
                <a:cubicBezTo>
                  <a:pt x="4712" y="424"/>
                  <a:pt x="4694" y="410"/>
                  <a:pt x="4694" y="378"/>
                </a:cubicBezTo>
                <a:cubicBezTo>
                  <a:pt x="4694" y="322"/>
                  <a:pt x="4752" y="328"/>
                  <a:pt x="4792" y="306"/>
                </a:cubicBezTo>
                <a:cubicBezTo>
                  <a:pt x="4792" y="382"/>
                  <a:pt x="4792" y="382"/>
                  <a:pt x="4792" y="382"/>
                </a:cubicBezTo>
                <a:close/>
                <a:moveTo>
                  <a:pt x="5240" y="434"/>
                </a:moveTo>
                <a:cubicBezTo>
                  <a:pt x="5192" y="432"/>
                  <a:pt x="5192" y="430"/>
                  <a:pt x="5192" y="340"/>
                </a:cubicBezTo>
                <a:cubicBezTo>
                  <a:pt x="5192" y="278"/>
                  <a:pt x="5192" y="278"/>
                  <a:pt x="5192" y="278"/>
                </a:cubicBezTo>
                <a:cubicBezTo>
                  <a:pt x="5192" y="196"/>
                  <a:pt x="5146" y="170"/>
                  <a:pt x="5104" y="170"/>
                </a:cubicBezTo>
                <a:cubicBezTo>
                  <a:pt x="5068" y="170"/>
                  <a:pt x="5032" y="186"/>
                  <a:pt x="5004" y="222"/>
                </a:cubicBezTo>
                <a:cubicBezTo>
                  <a:pt x="5004" y="174"/>
                  <a:pt x="5004" y="174"/>
                  <a:pt x="5004" y="174"/>
                </a:cubicBezTo>
                <a:cubicBezTo>
                  <a:pt x="4902" y="174"/>
                  <a:pt x="4902" y="174"/>
                  <a:pt x="4902" y="174"/>
                </a:cubicBezTo>
                <a:cubicBezTo>
                  <a:pt x="4902" y="186"/>
                  <a:pt x="4902" y="186"/>
                  <a:pt x="4902" y="186"/>
                </a:cubicBezTo>
                <a:cubicBezTo>
                  <a:pt x="4946" y="188"/>
                  <a:pt x="4952" y="190"/>
                  <a:pt x="4952" y="266"/>
                </a:cubicBezTo>
                <a:cubicBezTo>
                  <a:pt x="4952" y="334"/>
                  <a:pt x="4952" y="334"/>
                  <a:pt x="4952" y="334"/>
                </a:cubicBezTo>
                <a:cubicBezTo>
                  <a:pt x="4952" y="430"/>
                  <a:pt x="4952" y="432"/>
                  <a:pt x="4904" y="434"/>
                </a:cubicBezTo>
                <a:cubicBezTo>
                  <a:pt x="4892" y="434"/>
                  <a:pt x="4892" y="434"/>
                  <a:pt x="4892" y="434"/>
                </a:cubicBezTo>
                <a:cubicBezTo>
                  <a:pt x="4854" y="434"/>
                  <a:pt x="4850" y="422"/>
                  <a:pt x="4850" y="366"/>
                </a:cubicBezTo>
                <a:cubicBezTo>
                  <a:pt x="4850" y="274"/>
                  <a:pt x="4850" y="274"/>
                  <a:pt x="4850" y="274"/>
                </a:cubicBezTo>
                <a:cubicBezTo>
                  <a:pt x="4850" y="256"/>
                  <a:pt x="4848" y="240"/>
                  <a:pt x="4844" y="228"/>
                </a:cubicBezTo>
                <a:cubicBezTo>
                  <a:pt x="4830" y="186"/>
                  <a:pt x="4796" y="170"/>
                  <a:pt x="4748" y="170"/>
                </a:cubicBezTo>
                <a:cubicBezTo>
                  <a:pt x="4718" y="170"/>
                  <a:pt x="4674" y="180"/>
                  <a:pt x="4650" y="202"/>
                </a:cubicBezTo>
                <a:cubicBezTo>
                  <a:pt x="4652" y="214"/>
                  <a:pt x="4664" y="240"/>
                  <a:pt x="4670" y="248"/>
                </a:cubicBezTo>
                <a:cubicBezTo>
                  <a:pt x="4676" y="246"/>
                  <a:pt x="4676" y="246"/>
                  <a:pt x="4676" y="246"/>
                </a:cubicBezTo>
                <a:cubicBezTo>
                  <a:pt x="4688" y="216"/>
                  <a:pt x="4708" y="194"/>
                  <a:pt x="4742" y="194"/>
                </a:cubicBezTo>
                <a:cubicBezTo>
                  <a:pt x="4778" y="194"/>
                  <a:pt x="4794" y="220"/>
                  <a:pt x="4794" y="250"/>
                </a:cubicBezTo>
                <a:cubicBezTo>
                  <a:pt x="4794" y="282"/>
                  <a:pt x="4794" y="282"/>
                  <a:pt x="4794" y="282"/>
                </a:cubicBezTo>
                <a:cubicBezTo>
                  <a:pt x="4794" y="302"/>
                  <a:pt x="4702" y="306"/>
                  <a:pt x="4664" y="338"/>
                </a:cubicBezTo>
                <a:cubicBezTo>
                  <a:pt x="4652" y="350"/>
                  <a:pt x="4642" y="364"/>
                  <a:pt x="4642" y="384"/>
                </a:cubicBezTo>
                <a:cubicBezTo>
                  <a:pt x="4642" y="426"/>
                  <a:pt x="4672" y="456"/>
                  <a:pt x="4716" y="456"/>
                </a:cubicBezTo>
                <a:cubicBezTo>
                  <a:pt x="4744" y="456"/>
                  <a:pt x="4768" y="446"/>
                  <a:pt x="4794" y="418"/>
                </a:cubicBezTo>
                <a:cubicBezTo>
                  <a:pt x="4798" y="438"/>
                  <a:pt x="4814" y="448"/>
                  <a:pt x="4842" y="448"/>
                </a:cubicBezTo>
                <a:cubicBezTo>
                  <a:pt x="4906" y="448"/>
                  <a:pt x="4906" y="448"/>
                  <a:pt x="4906" y="448"/>
                </a:cubicBezTo>
                <a:cubicBezTo>
                  <a:pt x="4906" y="448"/>
                  <a:pt x="4906" y="448"/>
                  <a:pt x="4906" y="448"/>
                </a:cubicBezTo>
                <a:cubicBezTo>
                  <a:pt x="5048" y="448"/>
                  <a:pt x="5048" y="448"/>
                  <a:pt x="5048" y="448"/>
                </a:cubicBezTo>
                <a:cubicBezTo>
                  <a:pt x="5048" y="436"/>
                  <a:pt x="5048" y="436"/>
                  <a:pt x="5048" y="436"/>
                </a:cubicBezTo>
                <a:cubicBezTo>
                  <a:pt x="5006" y="432"/>
                  <a:pt x="5004" y="434"/>
                  <a:pt x="5004" y="338"/>
                </a:cubicBezTo>
                <a:cubicBezTo>
                  <a:pt x="5004" y="262"/>
                  <a:pt x="5004" y="262"/>
                  <a:pt x="5004" y="262"/>
                </a:cubicBezTo>
                <a:cubicBezTo>
                  <a:pt x="5004" y="236"/>
                  <a:pt x="5038" y="206"/>
                  <a:pt x="5080" y="206"/>
                </a:cubicBezTo>
                <a:cubicBezTo>
                  <a:pt x="5114" y="206"/>
                  <a:pt x="5140" y="220"/>
                  <a:pt x="5140" y="286"/>
                </a:cubicBezTo>
                <a:cubicBezTo>
                  <a:pt x="5140" y="340"/>
                  <a:pt x="5140" y="340"/>
                  <a:pt x="5140" y="340"/>
                </a:cubicBezTo>
                <a:cubicBezTo>
                  <a:pt x="5140" y="432"/>
                  <a:pt x="5136" y="432"/>
                  <a:pt x="5098" y="434"/>
                </a:cubicBezTo>
                <a:cubicBezTo>
                  <a:pt x="5098" y="446"/>
                  <a:pt x="5098" y="446"/>
                  <a:pt x="5098" y="446"/>
                </a:cubicBezTo>
                <a:cubicBezTo>
                  <a:pt x="5240" y="446"/>
                  <a:pt x="5240" y="446"/>
                  <a:pt x="5240" y="446"/>
                </a:cubicBezTo>
                <a:lnTo>
                  <a:pt x="5240" y="434"/>
                </a:lnTo>
                <a:close/>
                <a:moveTo>
                  <a:pt x="5516" y="192"/>
                </a:moveTo>
                <a:cubicBezTo>
                  <a:pt x="5516" y="180"/>
                  <a:pt x="5516" y="180"/>
                  <a:pt x="5516" y="180"/>
                </a:cubicBezTo>
                <a:cubicBezTo>
                  <a:pt x="5418" y="180"/>
                  <a:pt x="5418" y="180"/>
                  <a:pt x="5418" y="180"/>
                </a:cubicBezTo>
                <a:cubicBezTo>
                  <a:pt x="5418" y="192"/>
                  <a:pt x="5418" y="192"/>
                  <a:pt x="5418" y="192"/>
                </a:cubicBezTo>
                <a:cubicBezTo>
                  <a:pt x="5442" y="194"/>
                  <a:pt x="5454" y="206"/>
                  <a:pt x="5446" y="234"/>
                </a:cubicBezTo>
                <a:cubicBezTo>
                  <a:pt x="5394" y="390"/>
                  <a:pt x="5394" y="390"/>
                  <a:pt x="5394" y="390"/>
                </a:cubicBezTo>
                <a:cubicBezTo>
                  <a:pt x="5342" y="270"/>
                  <a:pt x="5342" y="270"/>
                  <a:pt x="5342" y="270"/>
                </a:cubicBezTo>
                <a:cubicBezTo>
                  <a:pt x="5328" y="238"/>
                  <a:pt x="5322" y="224"/>
                  <a:pt x="5322" y="212"/>
                </a:cubicBezTo>
                <a:cubicBezTo>
                  <a:pt x="5322" y="202"/>
                  <a:pt x="5328" y="196"/>
                  <a:pt x="5348" y="192"/>
                </a:cubicBezTo>
                <a:cubicBezTo>
                  <a:pt x="5348" y="180"/>
                  <a:pt x="5348" y="180"/>
                  <a:pt x="5348" y="180"/>
                </a:cubicBezTo>
                <a:cubicBezTo>
                  <a:pt x="5220" y="180"/>
                  <a:pt x="5220" y="180"/>
                  <a:pt x="5220" y="180"/>
                </a:cubicBezTo>
                <a:cubicBezTo>
                  <a:pt x="5220" y="192"/>
                  <a:pt x="5220" y="192"/>
                  <a:pt x="5220" y="192"/>
                </a:cubicBezTo>
                <a:cubicBezTo>
                  <a:pt x="5252" y="194"/>
                  <a:pt x="5254" y="198"/>
                  <a:pt x="5296" y="292"/>
                </a:cubicBezTo>
                <a:cubicBezTo>
                  <a:pt x="5368" y="450"/>
                  <a:pt x="5368" y="450"/>
                  <a:pt x="5368" y="450"/>
                </a:cubicBezTo>
                <a:cubicBezTo>
                  <a:pt x="5344" y="512"/>
                  <a:pt x="5306" y="546"/>
                  <a:pt x="5228" y="564"/>
                </a:cubicBezTo>
                <a:cubicBezTo>
                  <a:pt x="5232" y="576"/>
                  <a:pt x="5246" y="600"/>
                  <a:pt x="5254" y="606"/>
                </a:cubicBezTo>
                <a:cubicBezTo>
                  <a:pt x="5356" y="564"/>
                  <a:pt x="5376" y="498"/>
                  <a:pt x="5412" y="396"/>
                </a:cubicBezTo>
                <a:cubicBezTo>
                  <a:pt x="5466" y="242"/>
                  <a:pt x="5466" y="242"/>
                  <a:pt x="5466" y="242"/>
                </a:cubicBezTo>
                <a:cubicBezTo>
                  <a:pt x="5478" y="206"/>
                  <a:pt x="5498" y="192"/>
                  <a:pt x="5516" y="192"/>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600" kern="1200">
                <a:solidFill>
                  <a:schemeClr val="tx1"/>
                </a:solidFill>
                <a:latin typeface="Arial" charset="0"/>
                <a:ea typeface="+mn-ea"/>
                <a:cs typeface="+mn-cs"/>
              </a:defRPr>
            </a:lvl1pPr>
            <a:lvl2pPr marL="457200" algn="l" rtl="0" fontAlgn="base">
              <a:spcBef>
                <a:spcPct val="0"/>
              </a:spcBef>
              <a:spcAft>
                <a:spcPct val="0"/>
              </a:spcAft>
              <a:defRPr sz="1600" kern="1200">
                <a:solidFill>
                  <a:schemeClr val="tx1"/>
                </a:solidFill>
                <a:latin typeface="Arial" charset="0"/>
                <a:ea typeface="+mn-ea"/>
                <a:cs typeface="+mn-cs"/>
              </a:defRPr>
            </a:lvl2pPr>
            <a:lvl3pPr marL="914400" algn="l" rtl="0" fontAlgn="base">
              <a:spcBef>
                <a:spcPct val="0"/>
              </a:spcBef>
              <a:spcAft>
                <a:spcPct val="0"/>
              </a:spcAft>
              <a:defRPr sz="1600" kern="1200">
                <a:solidFill>
                  <a:schemeClr val="tx1"/>
                </a:solidFill>
                <a:latin typeface="Arial" charset="0"/>
                <a:ea typeface="+mn-ea"/>
                <a:cs typeface="+mn-cs"/>
              </a:defRPr>
            </a:lvl3pPr>
            <a:lvl4pPr marL="1371600" algn="l" rtl="0" fontAlgn="base">
              <a:spcBef>
                <a:spcPct val="0"/>
              </a:spcBef>
              <a:spcAft>
                <a:spcPct val="0"/>
              </a:spcAft>
              <a:defRPr sz="1600" kern="1200">
                <a:solidFill>
                  <a:schemeClr val="tx1"/>
                </a:solidFill>
                <a:latin typeface="Arial" charset="0"/>
                <a:ea typeface="+mn-ea"/>
                <a:cs typeface="+mn-cs"/>
              </a:defRPr>
            </a:lvl4pPr>
            <a:lvl5pPr marL="1828800" algn="l" rtl="0" fontAlgn="base">
              <a:spcBef>
                <a:spcPct val="0"/>
              </a:spcBef>
              <a:spcAft>
                <a:spcPct val="0"/>
              </a:spcAft>
              <a:defRPr sz="1600" kern="1200">
                <a:solidFill>
                  <a:schemeClr val="tx1"/>
                </a:solidFill>
                <a:latin typeface="Arial" charset="0"/>
                <a:ea typeface="+mn-ea"/>
                <a:cs typeface="+mn-cs"/>
              </a:defRPr>
            </a:lvl5pPr>
            <a:lvl6pPr marL="2286000" algn="l" defTabSz="914400" rtl="0" eaLnBrk="1" latinLnBrk="0" hangingPunct="1">
              <a:defRPr sz="1600" kern="1200">
                <a:solidFill>
                  <a:schemeClr val="tx1"/>
                </a:solidFill>
                <a:latin typeface="Arial" charset="0"/>
                <a:ea typeface="+mn-ea"/>
                <a:cs typeface="+mn-cs"/>
              </a:defRPr>
            </a:lvl6pPr>
            <a:lvl7pPr marL="2743200" algn="l" defTabSz="914400" rtl="0" eaLnBrk="1" latinLnBrk="0" hangingPunct="1">
              <a:defRPr sz="1600" kern="1200">
                <a:solidFill>
                  <a:schemeClr val="tx1"/>
                </a:solidFill>
                <a:latin typeface="Arial" charset="0"/>
                <a:ea typeface="+mn-ea"/>
                <a:cs typeface="+mn-cs"/>
              </a:defRPr>
            </a:lvl7pPr>
            <a:lvl8pPr marL="3200400" algn="l" defTabSz="914400" rtl="0" eaLnBrk="1" latinLnBrk="0" hangingPunct="1">
              <a:defRPr sz="1600" kern="1200">
                <a:solidFill>
                  <a:schemeClr val="tx1"/>
                </a:solidFill>
                <a:latin typeface="Arial" charset="0"/>
                <a:ea typeface="+mn-ea"/>
                <a:cs typeface="+mn-cs"/>
              </a:defRPr>
            </a:lvl8pPr>
            <a:lvl9pPr marL="3657600" algn="l" defTabSz="914400" rtl="0" eaLnBrk="1" latinLnBrk="0" hangingPunct="1">
              <a:defRPr sz="1600" kern="1200">
                <a:solidFill>
                  <a:schemeClr val="tx1"/>
                </a:solidFill>
                <a:latin typeface="Arial" charset="0"/>
                <a:ea typeface="+mn-ea"/>
                <a:cs typeface="+mn-cs"/>
              </a:defRPr>
            </a:lvl9pPr>
          </a:lstStyle>
          <a:p>
            <a:endParaRPr lang="en-US" baseline="0" dirty="0">
              <a:solidFill>
                <a:srgbClr val="000000"/>
              </a:solidFill>
              <a:latin typeface="+mn-lt"/>
            </a:endParaRPr>
          </a:p>
        </p:txBody>
      </p:sp>
      <p:sp>
        <p:nvSpPr>
          <p:cNvPr id="27" name="Disclaimer-English (United States)" hidden="1"/>
          <p:cNvSpPr>
            <a:spLocks noChangeArrowheads="1"/>
          </p:cNvSpPr>
          <p:nvPr/>
        </p:nvSpPr>
        <p:spPr bwMode="black">
          <a:xfrm>
            <a:off x="2268266" y="6287785"/>
            <a:ext cx="3544453" cy="36908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t" anchorCtr="0">
            <a:noAutofit/>
          </a:bodyPr>
          <a:lstStyle/>
          <a:p>
            <a:pPr defTabSz="804863" eaLnBrk="0" hangingPunct="0"/>
            <a:r>
              <a:rPr lang="en-US" sz="800" baseline="0" dirty="0">
                <a:solidFill>
                  <a:srgbClr val="FFFFFF"/>
                </a:solidFill>
                <a:latin typeface="+mn-lt"/>
              </a:rPr>
              <a:t>CONFIDENTIAL AND PROPRIETARY</a:t>
            </a:r>
          </a:p>
          <a:p>
            <a:pPr defTabSz="804863" eaLnBrk="0" hangingPunct="0"/>
            <a:r>
              <a:rPr lang="en-US" sz="800" baseline="0" dirty="0">
                <a:solidFill>
                  <a:srgbClr val="FFFFFF"/>
                </a:solidFill>
                <a:latin typeface="+mn-lt"/>
              </a:rPr>
              <a:t>Any use of this material without specific permission of McKinsey &amp; Company is strictly prohibited</a:t>
            </a:r>
          </a:p>
        </p:txBody>
      </p:sp>
    </p:spTree>
    <p:extLst>
      <p:ext uri="{BB962C8B-B14F-4D97-AF65-F5344CB8AC3E}">
        <p14:creationId xmlns:p14="http://schemas.microsoft.com/office/powerpoint/2010/main" val="4165681754"/>
      </p:ext>
    </p:extLst>
  </p:cSld>
  <p:clrMapOvr>
    <a:masterClrMapping/>
  </p:clrMapOvr>
  <p:extLst mod="1">
    <p:ext uri="{DCECCB84-F9BA-43D5-87BE-67443E8EF086}">
      <p15:sldGuideLst xmlns:p15="http://schemas.microsoft.com/office/powerpoint/2012/main">
        <p15:guide id="1" orient="horz" pos="2117">
          <p15:clr>
            <a:srgbClr val="FBAE40"/>
          </p15:clr>
        </p15:guide>
        <p15:guide id="2" pos="1416">
          <p15:clr>
            <a:srgbClr val="FBAE40"/>
          </p15:clr>
        </p15:guide>
      </p15:sldGuideLst>
    </p:ext>
  </p:extLst>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6E228F5-5CF1-42E1-9748-97D7582A107A}"/>
              </a:ext>
            </a:extLst>
          </p:cNvPr>
          <p:cNvGraphicFramePr>
            <a:graphicFrameLocks noChangeAspect="1"/>
          </p:cNvGraphicFramePr>
          <p:nvPr>
            <p:custDataLst>
              <p:tags r:id="rId2"/>
            </p:custDataLst>
            <p:extLst>
              <p:ext uri="{D42A27DB-BD31-4B8C-83A1-F6EECF244321}">
                <p14:modId xmlns:p14="http://schemas.microsoft.com/office/powerpoint/2010/main" val="252597097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7108" name="think-cell Slide" r:id="rId5" imgW="353" imgH="353" progId="TCLayout.ActiveDocument.1">
                  <p:embed/>
                </p:oleObj>
              </mc:Choice>
              <mc:Fallback>
                <p:oleObj name="think-cell Slide" r:id="rId5" imgW="353" imgH="353" progId="TCLayout.ActiveDocument.1">
                  <p:embed/>
                  <p:pic>
                    <p:nvPicPr>
                      <p:cNvPr id="3" name="Object 2" hidden="1">
                        <a:extLst>
                          <a:ext uri="{FF2B5EF4-FFF2-40B4-BE49-F238E27FC236}">
                            <a16:creationId xmlns:a16="http://schemas.microsoft.com/office/drawing/2014/main" id="{C6E228F5-5CF1-42E1-9748-97D7582A107A}"/>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2. Slide Title"/>
          <p:cNvSpPr>
            <a:spLocks noGrp="1"/>
          </p:cNvSpPr>
          <p:nvPr>
            <p:ph type="title"/>
          </p:nvPr>
        </p:nvSpPr>
        <p:spPr bwMode="auto"/>
        <p:txBody>
          <a:bodyPr/>
          <a:lstStyle/>
          <a:p>
            <a:r>
              <a:rPr lang="en-US"/>
              <a:t>Click to edit Master title style</a:t>
            </a:r>
            <a:endParaRPr lang="en-US" dirty="0"/>
          </a:p>
        </p:txBody>
      </p:sp>
      <p:sp>
        <p:nvSpPr>
          <p:cNvPr id="8" name="Slide Number"/>
          <p:cNvSpPr txBox="1">
            <a:spLocks/>
          </p:cNvSpPr>
          <p:nvPr/>
        </p:nvSpPr>
        <p:spPr bwMode="auto">
          <a:xfrm>
            <a:off x="8564563" y="6508272"/>
            <a:ext cx="125034" cy="123111"/>
          </a:xfrm>
          <a:prstGeom prst="rect">
            <a:avLst/>
          </a:prstGeom>
        </p:spPr>
        <p:txBody>
          <a:bodyPr vert="horz" wrap="none" lIns="0" tIns="0" rIns="0" bIns="0" rtlCol="0" anchor="ctr">
            <a:spAutoFit/>
          </a:bodyPr>
          <a:lstStyle>
            <a:defPPr>
              <a:defRPr lang="en-US"/>
            </a:defPPr>
            <a:lvl1pPr>
              <a:defRPr sz="1000" baseline="0">
                <a:latin typeface="+mn-lt"/>
              </a:defRPr>
            </a:lvl1pPr>
          </a:lstStyle>
          <a:p>
            <a:fld id="{42C328C1-A84F-4A39-A664-DBA00541A8C6}" type="slidenum">
              <a:rPr lang="en-US" sz="800" baseline="0" smtClean="0">
                <a:solidFill>
                  <a:srgbClr val="808080"/>
                </a:solidFill>
                <a:latin typeface="+mn-lt"/>
              </a:rPr>
              <a:pPr/>
              <a:t>‹#›</a:t>
            </a:fld>
            <a:endParaRPr lang="en-US" sz="800" baseline="0" dirty="0">
              <a:solidFill>
                <a:srgbClr val="808080"/>
              </a:solidFill>
              <a:latin typeface="+mn-lt"/>
            </a:endParaRPr>
          </a:p>
        </p:txBody>
      </p:sp>
      <p:sp>
        <p:nvSpPr>
          <p:cNvPr id="9" name="SlideLogoText"/>
          <p:cNvSpPr>
            <a:spLocks noChangeArrowheads="1"/>
          </p:cNvSpPr>
          <p:nvPr>
            <p:custDataLst>
              <p:tags r:id="rId3"/>
            </p:custDataLst>
          </p:nvPr>
        </p:nvSpPr>
        <p:spPr bwMode="auto">
          <a:xfrm>
            <a:off x="7450817" y="6508272"/>
            <a:ext cx="1013098"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algn="r" defTabSz="895350"/>
            <a:r>
              <a:rPr lang="en-US" sz="800" baseline="0" dirty="0">
                <a:solidFill>
                  <a:srgbClr val="808080"/>
                </a:solidFill>
                <a:latin typeface="+mn-lt"/>
              </a:rPr>
              <a:t>McKinsey &amp; Company</a:t>
            </a:r>
          </a:p>
        </p:txBody>
      </p:sp>
      <p:sp>
        <p:nvSpPr>
          <p:cNvPr id="5" name="doc id" hidden="1"/>
          <p:cNvSpPr txBox="1">
            <a:spLocks noChangeArrowheads="1"/>
          </p:cNvSpPr>
          <p:nvPr/>
        </p:nvSpPr>
        <p:spPr bwMode="white">
          <a:xfrm>
            <a:off x="8104473" y="36513"/>
            <a:ext cx="634716" cy="115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hangingPunct="1">
              <a:defRPr/>
            </a:pPr>
            <a:endParaRPr lang="en-US" sz="800" baseline="0" dirty="0">
              <a:solidFill>
                <a:schemeClr val="accent1"/>
              </a:solidFill>
              <a:latin typeface="+mn-lt"/>
              <a:ea typeface="+mn-ea"/>
            </a:endParaRPr>
          </a:p>
        </p:txBody>
      </p:sp>
    </p:spTree>
    <p:extLst>
      <p:ext uri="{BB962C8B-B14F-4D97-AF65-F5344CB8AC3E}">
        <p14:creationId xmlns:p14="http://schemas.microsoft.com/office/powerpoint/2010/main" val="2379427695"/>
      </p:ext>
    </p:extLst>
  </p:cSld>
  <p:clrMapOvr>
    <a:masterClrMapping/>
  </p:clrMapOvr>
  <p:extLst mod="1">
    <p:ext uri="{DCECCB84-F9BA-43D5-87BE-67443E8EF086}">
      <p15:sldGuideLst xmlns:p15="http://schemas.microsoft.com/office/powerpoint/2012/main">
        <p15:guide id="1" pos="5505">
          <p15:clr>
            <a:srgbClr val="F26B43"/>
          </p15:clr>
        </p15:guide>
        <p15:guide id="2" pos="74">
          <p15:clr>
            <a:srgbClr val="F26B43"/>
          </p15:clr>
        </p15:guide>
        <p15:guide id="3" orient="horz" pos="571">
          <p15:clr>
            <a:srgbClr val="F26B43"/>
          </p15:clr>
        </p15:guide>
        <p15:guide id="4" orient="horz" pos="3911">
          <p15:clr>
            <a:srgbClr val="F26B43"/>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pic>
        <p:nvPicPr>
          <p:cNvPr id="2" name="background"/>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0" y="198"/>
            <a:ext cx="8961438" cy="6721079"/>
          </a:xfrm>
          <a:prstGeom prst="rect">
            <a:avLst/>
          </a:prstGeom>
        </p:spPr>
      </p:pic>
      <p:sp>
        <p:nvSpPr>
          <p:cNvPr id="28" name="TitleRectangle"/>
          <p:cNvSpPr txBox="1">
            <a:spLocks/>
          </p:cNvSpPr>
          <p:nvPr/>
        </p:nvSpPr>
        <p:spPr>
          <a:xfrm>
            <a:off x="2084388" y="0"/>
            <a:ext cx="6875462" cy="3575976"/>
          </a:xfrm>
          <a:prstGeom prst="rect">
            <a:avLst/>
          </a:prstGeom>
          <a:solidFill>
            <a:srgbClr val="002960">
              <a:alpha val="92000"/>
            </a:srgbClr>
          </a:solidFill>
        </p:spPr>
        <p:txBody>
          <a:bodyPr vert="horz" wrap="square" lIns="216000" tIns="1440000" rIns="216000" bIns="108000" rtlCol="0">
            <a:noAutofit/>
          </a:bodyPr>
          <a:lstStyle>
            <a:lvl1pPr marL="0" indent="0" algn="l" defTabSz="914400" rtl="0" eaLnBrk="1" latinLnBrk="0" hangingPunct="1">
              <a:spcBef>
                <a:spcPct val="20000"/>
              </a:spcBef>
              <a:spcAft>
                <a:spcPts val="6000"/>
              </a:spcAft>
              <a:buFont typeface="Arial" pitchFamily="34" charset="0"/>
              <a:buNone/>
              <a:defRPr sz="3200" kern="1200">
                <a:solidFill>
                  <a:schemeClr val="accent1"/>
                </a:solidFill>
                <a:latin typeface="+mn-lt"/>
                <a:ea typeface="+mn-ea"/>
                <a:cs typeface="+mn-cs"/>
              </a:defRPr>
            </a:lvl1pPr>
            <a:lvl2pPr marL="0" indent="0" algn="l" defTabSz="914400" rtl="0" eaLnBrk="1" latinLnBrk="0" hangingPunct="1">
              <a:spcBef>
                <a:spcPct val="20000"/>
              </a:spcBef>
              <a:buFont typeface="Wingdings" charset="2"/>
              <a:buNone/>
              <a:defRPr sz="1400" kern="1200">
                <a:solidFill>
                  <a:schemeClr val="tx1">
                    <a:lumMod val="50000"/>
                    <a:lumOff val="50000"/>
                  </a:schemeClr>
                </a:solidFill>
                <a:latin typeface="+mn-lt"/>
                <a:ea typeface="+mn-ea"/>
                <a:cs typeface="+mn-cs"/>
              </a:defRPr>
            </a:lvl2pPr>
            <a:lvl3pPr marL="1143000" indent="-228600" algn="l" defTabSz="914400" rtl="0" eaLnBrk="1" latinLnBrk="0" hangingPunct="1">
              <a:spcBef>
                <a:spcPct val="20000"/>
              </a:spcBef>
              <a:buFont typeface="Lucida Grande"/>
              <a:buChar char="–"/>
              <a:defRPr sz="16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fontAlgn="auto">
              <a:defRPr/>
            </a:pPr>
            <a:r>
              <a:rPr lang="en-US" baseline="0" dirty="0">
                <a:solidFill>
                  <a:srgbClr val="00ADEF"/>
                </a:solidFill>
                <a:latin typeface="+mn-lt"/>
              </a:rPr>
              <a:t>
              </a:t>
            </a:r>
            <a:br>
              <a:rPr lang="en-US" baseline="0" dirty="0">
                <a:solidFill>
                  <a:srgbClr val="00ADEF"/>
                </a:solidFill>
                <a:latin typeface="+mn-lt"/>
              </a:rPr>
            </a:br>
            <a:endParaRPr lang="en-US" baseline="0" dirty="0">
              <a:solidFill>
                <a:srgbClr val="00ADEF"/>
              </a:solidFill>
              <a:latin typeface="+mn-lt"/>
            </a:endParaRPr>
          </a:p>
        </p:txBody>
      </p:sp>
      <p:graphicFrame>
        <p:nvGraphicFramePr>
          <p:cNvPr id="3" name="Object 2"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548"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Working Draft Text" hidden="1"/>
          <p:cNvSpPr txBox="1">
            <a:spLocks noChangeArrowheads="1"/>
          </p:cNvSpPr>
          <p:nvPr/>
        </p:nvSpPr>
        <p:spPr bwMode="black">
          <a:xfrm>
            <a:off x="5992719" y="6287538"/>
            <a:ext cx="2790000"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800" b="1" baseline="0" dirty="0">
                <a:solidFill>
                  <a:srgbClr val="FFFFFF"/>
                </a:solidFill>
                <a:latin typeface="+mn-lt"/>
              </a:rPr>
              <a:t>WORKING DRAFT</a:t>
            </a:r>
          </a:p>
        </p:txBody>
      </p:sp>
      <p:sp>
        <p:nvSpPr>
          <p:cNvPr id="6" name="Working Draft" hidden="1"/>
          <p:cNvSpPr txBox="1">
            <a:spLocks noChangeArrowheads="1"/>
          </p:cNvSpPr>
          <p:nvPr/>
        </p:nvSpPr>
        <p:spPr bwMode="black">
          <a:xfrm>
            <a:off x="5992718" y="6410648"/>
            <a:ext cx="2968719"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800" baseline="0">
                <a:solidFill>
                  <a:srgbClr val="FFFFFF"/>
                </a:solidFill>
                <a:latin typeface="+mn-lt"/>
              </a:rPr>
              <a:t>Last Modified 21/05/2018 17:44 India Standard Time</a:t>
            </a:r>
            <a:endParaRPr lang="en-US" sz="800" baseline="0" dirty="0">
              <a:solidFill>
                <a:srgbClr val="FFFFFF"/>
              </a:solidFill>
              <a:latin typeface="+mn-lt"/>
            </a:endParaRPr>
          </a:p>
        </p:txBody>
      </p:sp>
      <p:sp>
        <p:nvSpPr>
          <p:cNvPr id="7" name="Printed" hidden="1"/>
          <p:cNvSpPr txBox="1">
            <a:spLocks noChangeArrowheads="1"/>
          </p:cNvSpPr>
          <p:nvPr/>
        </p:nvSpPr>
        <p:spPr bwMode="black">
          <a:xfrm>
            <a:off x="5992719" y="6533759"/>
            <a:ext cx="2790000"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800" baseline="0" dirty="0">
                <a:solidFill>
                  <a:srgbClr val="FFFFFF"/>
                </a:solidFill>
                <a:latin typeface="+mn-lt"/>
              </a:rPr>
              <a:t>Printed</a:t>
            </a:r>
          </a:p>
        </p:txBody>
      </p:sp>
      <p:sp>
        <p:nvSpPr>
          <p:cNvPr id="13314" name="Title"/>
          <p:cNvSpPr>
            <a:spLocks noGrp="1" noChangeArrowheads="1"/>
          </p:cNvSpPr>
          <p:nvPr>
            <p:ph type="ctrTitle"/>
          </p:nvPr>
        </p:nvSpPr>
        <p:spPr>
          <a:xfrm>
            <a:off x="2268266" y="1434419"/>
            <a:ext cx="6231663" cy="492443"/>
          </a:xfrm>
          <a:prstGeom prst="rect">
            <a:avLst/>
          </a:prstGeom>
        </p:spPr>
        <p:txBody>
          <a:bodyPr>
            <a:spAutoFit/>
          </a:bodyPr>
          <a:lstStyle>
            <a:lvl1pPr>
              <a:defRPr sz="3200" b="0" baseline="0">
                <a:solidFill>
                  <a:schemeClr val="accent2"/>
                </a:solidFill>
                <a:latin typeface="+mj-lt"/>
                <a:ea typeface="+mj-ea"/>
              </a:defRPr>
            </a:lvl1pPr>
          </a:lstStyle>
          <a:p>
            <a:pPr lvl="0" latinLnBrk="0"/>
            <a:r>
              <a:rPr lang="en-US" noProof="0"/>
              <a:t>Click to edit Master title style</a:t>
            </a:r>
            <a:endParaRPr lang="en-US" noProof="0" dirty="0"/>
          </a:p>
        </p:txBody>
      </p:sp>
      <p:sp>
        <p:nvSpPr>
          <p:cNvPr id="13315" name="Subtitle"/>
          <p:cNvSpPr>
            <a:spLocks noGrp="1" noChangeArrowheads="1"/>
          </p:cNvSpPr>
          <p:nvPr>
            <p:ph type="subTitle" idx="1"/>
          </p:nvPr>
        </p:nvSpPr>
        <p:spPr>
          <a:xfrm>
            <a:off x="2268266" y="2819401"/>
            <a:ext cx="6231663" cy="215444"/>
          </a:xfrm>
          <a:prstGeom prst="rect">
            <a:avLst/>
          </a:prstGeom>
        </p:spPr>
        <p:txBody>
          <a:bodyPr wrap="square">
            <a:spAutoFit/>
          </a:bodyPr>
          <a:lstStyle>
            <a:lvl1pPr>
              <a:defRPr sz="1400" cap="all" baseline="0">
                <a:solidFill>
                  <a:schemeClr val="bg1"/>
                </a:solidFill>
                <a:latin typeface="+mn-lt"/>
                <a:ea typeface="+mn-ea"/>
              </a:defRPr>
            </a:lvl1pPr>
          </a:lstStyle>
          <a:p>
            <a:pPr lvl="0" latinLnBrk="0"/>
            <a:r>
              <a:rPr lang="en-US" noProof="0"/>
              <a:t>Click to edit Master subtitle style</a:t>
            </a:r>
            <a:endParaRPr lang="en-US" noProof="0" dirty="0"/>
          </a:p>
        </p:txBody>
      </p:sp>
      <p:sp>
        <p:nvSpPr>
          <p:cNvPr id="57" name="Document type" hidden="1"/>
          <p:cNvSpPr txBox="1">
            <a:spLocks noChangeArrowheads="1"/>
          </p:cNvSpPr>
          <p:nvPr/>
        </p:nvSpPr>
        <p:spPr bwMode="gray">
          <a:xfrm>
            <a:off x="2268266" y="3227411"/>
            <a:ext cx="6231663"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00" baseline="0" dirty="0">
                <a:solidFill>
                  <a:schemeClr val="bg1"/>
                </a:solidFill>
                <a:latin typeface="+mn-lt"/>
              </a:rPr>
              <a:t>Document type | Date</a:t>
            </a:r>
          </a:p>
        </p:txBody>
      </p:sp>
      <p:sp>
        <p:nvSpPr>
          <p:cNvPr id="5" name="doc id" hidden="1"/>
          <p:cNvSpPr txBox="1">
            <a:spLocks noChangeArrowheads="1"/>
          </p:cNvSpPr>
          <p:nvPr/>
        </p:nvSpPr>
        <p:spPr bwMode="white">
          <a:xfrm>
            <a:off x="8443913" y="36513"/>
            <a:ext cx="295275" cy="1222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hangingPunct="1">
              <a:defRPr/>
            </a:pPr>
            <a:endParaRPr lang="en-US" sz="800" baseline="0" dirty="0">
              <a:solidFill>
                <a:srgbClr val="FFFFFF"/>
              </a:solidFill>
              <a:latin typeface="+mn-lt"/>
            </a:endParaRPr>
          </a:p>
        </p:txBody>
      </p:sp>
      <p:sp>
        <p:nvSpPr>
          <p:cNvPr id="43" name="LogoImage"/>
          <p:cNvSpPr>
            <a:spLocks noEditPoints="1"/>
          </p:cNvSpPr>
          <p:nvPr/>
        </p:nvSpPr>
        <p:spPr bwMode="white">
          <a:xfrm>
            <a:off x="2269098" y="182925"/>
            <a:ext cx="2176978" cy="238073"/>
          </a:xfrm>
          <a:custGeom>
            <a:avLst/>
            <a:gdLst>
              <a:gd name="T0" fmla="*/ 504 w 5516"/>
              <a:gd name="T1" fmla="*/ 26 h 606"/>
              <a:gd name="T2" fmla="*/ 18 w 5516"/>
              <a:gd name="T3" fmla="*/ 22 h 606"/>
              <a:gd name="T4" fmla="*/ 140 w 5516"/>
              <a:gd name="T5" fmla="*/ 436 h 606"/>
              <a:gd name="T6" fmla="*/ 408 w 5516"/>
              <a:gd name="T7" fmla="*/ 372 h 606"/>
              <a:gd name="T8" fmla="*/ 696 w 5516"/>
              <a:gd name="T9" fmla="*/ 422 h 606"/>
              <a:gd name="T10" fmla="*/ 768 w 5516"/>
              <a:gd name="T11" fmla="*/ 196 h 606"/>
              <a:gd name="T12" fmla="*/ 1272 w 5516"/>
              <a:gd name="T13" fmla="*/ 26 h 606"/>
              <a:gd name="T14" fmla="*/ 1302 w 5516"/>
              <a:gd name="T15" fmla="*/ 338 h 606"/>
              <a:gd name="T16" fmla="*/ 1202 w 5516"/>
              <a:gd name="T17" fmla="*/ 436 h 606"/>
              <a:gd name="T18" fmla="*/ 1030 w 5516"/>
              <a:gd name="T19" fmla="*/ 10 h 606"/>
              <a:gd name="T20" fmla="*/ 960 w 5516"/>
              <a:gd name="T21" fmla="*/ 22 h 606"/>
              <a:gd name="T22" fmla="*/ 804 w 5516"/>
              <a:gd name="T23" fmla="*/ 434 h 606"/>
              <a:gd name="T24" fmla="*/ 930 w 5516"/>
              <a:gd name="T25" fmla="*/ 246 h 606"/>
              <a:gd name="T26" fmla="*/ 1658 w 5516"/>
              <a:gd name="T27" fmla="*/ 342 h 606"/>
              <a:gd name="T28" fmla="*/ 1368 w 5516"/>
              <a:gd name="T29" fmla="*/ 188 h 606"/>
              <a:gd name="T30" fmla="*/ 1514 w 5516"/>
              <a:gd name="T31" fmla="*/ 436 h 606"/>
              <a:gd name="T32" fmla="*/ 1564 w 5516"/>
              <a:gd name="T33" fmla="*/ 434 h 606"/>
              <a:gd name="T34" fmla="*/ 1904 w 5516"/>
              <a:gd name="T35" fmla="*/ 184 h 606"/>
              <a:gd name="T36" fmla="*/ 1728 w 5516"/>
              <a:gd name="T37" fmla="*/ 366 h 606"/>
              <a:gd name="T38" fmla="*/ 2102 w 5516"/>
              <a:gd name="T39" fmla="*/ 192 h 606"/>
              <a:gd name="T40" fmla="*/ 1982 w 5516"/>
              <a:gd name="T41" fmla="*/ 320 h 606"/>
              <a:gd name="T42" fmla="*/ 2478 w 5516"/>
              <a:gd name="T43" fmla="*/ 242 h 606"/>
              <a:gd name="T44" fmla="*/ 2406 w 5516"/>
              <a:gd name="T45" fmla="*/ 390 h 606"/>
              <a:gd name="T46" fmla="*/ 2234 w 5516"/>
              <a:gd name="T47" fmla="*/ 192 h 606"/>
              <a:gd name="T48" fmla="*/ 2478 w 5516"/>
              <a:gd name="T49" fmla="*/ 242 h 606"/>
              <a:gd name="T50" fmla="*/ 2928 w 5516"/>
              <a:gd name="T51" fmla="*/ 448 h 606"/>
              <a:gd name="T52" fmla="*/ 2958 w 5516"/>
              <a:gd name="T53" fmla="*/ 230 h 606"/>
              <a:gd name="T54" fmla="*/ 2716 w 5516"/>
              <a:gd name="T55" fmla="*/ 54 h 606"/>
              <a:gd name="T56" fmla="*/ 2714 w 5516"/>
              <a:gd name="T57" fmla="*/ 36 h 606"/>
              <a:gd name="T58" fmla="*/ 2928 w 5516"/>
              <a:gd name="T59" fmla="*/ 448 h 606"/>
              <a:gd name="T60" fmla="*/ 3388 w 5516"/>
              <a:gd name="T61" fmla="*/ 4 h 606"/>
              <a:gd name="T62" fmla="*/ 3396 w 5516"/>
              <a:gd name="T63" fmla="*/ 366 h 606"/>
              <a:gd name="T64" fmla="*/ 3580 w 5516"/>
              <a:gd name="T65" fmla="*/ 190 h 606"/>
              <a:gd name="T66" fmla="*/ 3502 w 5516"/>
              <a:gd name="T67" fmla="*/ 432 h 606"/>
              <a:gd name="T68" fmla="*/ 4232 w 5516"/>
              <a:gd name="T69" fmla="*/ 348 h 606"/>
              <a:gd name="T70" fmla="*/ 3858 w 5516"/>
              <a:gd name="T71" fmla="*/ 176 h 606"/>
              <a:gd name="T72" fmla="*/ 3758 w 5516"/>
              <a:gd name="T73" fmla="*/ 446 h 606"/>
              <a:gd name="T74" fmla="*/ 3990 w 5516"/>
              <a:gd name="T75" fmla="*/ 282 h 606"/>
              <a:gd name="T76" fmla="*/ 4042 w 5516"/>
              <a:gd name="T77" fmla="*/ 342 h 606"/>
              <a:gd name="T78" fmla="*/ 4134 w 5516"/>
              <a:gd name="T79" fmla="*/ 448 h 606"/>
              <a:gd name="T80" fmla="*/ 4454 w 5516"/>
              <a:gd name="T81" fmla="*/ 202 h 606"/>
              <a:gd name="T82" fmla="*/ 4284 w 5516"/>
              <a:gd name="T83" fmla="*/ 174 h 606"/>
              <a:gd name="T84" fmla="*/ 4432 w 5516"/>
              <a:gd name="T85" fmla="*/ 588 h 606"/>
              <a:gd name="T86" fmla="*/ 4792 w 5516"/>
              <a:gd name="T87" fmla="*/ 382 h 606"/>
              <a:gd name="T88" fmla="*/ 5192 w 5516"/>
              <a:gd name="T89" fmla="*/ 340 h 606"/>
              <a:gd name="T90" fmla="*/ 4902 w 5516"/>
              <a:gd name="T91" fmla="*/ 186 h 606"/>
              <a:gd name="T92" fmla="*/ 4850 w 5516"/>
              <a:gd name="T93" fmla="*/ 274 h 606"/>
              <a:gd name="T94" fmla="*/ 4742 w 5516"/>
              <a:gd name="T95" fmla="*/ 194 h 606"/>
              <a:gd name="T96" fmla="*/ 4794 w 5516"/>
              <a:gd name="T97" fmla="*/ 418 h 606"/>
              <a:gd name="T98" fmla="*/ 5004 w 5516"/>
              <a:gd name="T99" fmla="*/ 338 h 606"/>
              <a:gd name="T100" fmla="*/ 5098 w 5516"/>
              <a:gd name="T101" fmla="*/ 446 h 606"/>
              <a:gd name="T102" fmla="*/ 5418 w 5516"/>
              <a:gd name="T103" fmla="*/ 192 h 606"/>
              <a:gd name="T104" fmla="*/ 5348 w 5516"/>
              <a:gd name="T105" fmla="*/ 180 h 606"/>
              <a:gd name="T106" fmla="*/ 5254 w 5516"/>
              <a:gd name="T107" fmla="*/ 606 h 6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516" h="606">
                <a:moveTo>
                  <a:pt x="366" y="448"/>
                </a:moveTo>
                <a:cubicBezTo>
                  <a:pt x="524" y="448"/>
                  <a:pt x="524" y="448"/>
                  <a:pt x="524" y="448"/>
                </a:cubicBezTo>
                <a:cubicBezTo>
                  <a:pt x="524" y="436"/>
                  <a:pt x="524" y="436"/>
                  <a:pt x="524" y="436"/>
                </a:cubicBezTo>
                <a:cubicBezTo>
                  <a:pt x="486" y="432"/>
                  <a:pt x="470" y="414"/>
                  <a:pt x="468" y="362"/>
                </a:cubicBezTo>
                <a:cubicBezTo>
                  <a:pt x="454" y="86"/>
                  <a:pt x="454" y="86"/>
                  <a:pt x="454" y="86"/>
                </a:cubicBezTo>
                <a:cubicBezTo>
                  <a:pt x="452" y="46"/>
                  <a:pt x="470" y="30"/>
                  <a:pt x="504" y="26"/>
                </a:cubicBezTo>
                <a:cubicBezTo>
                  <a:pt x="504" y="12"/>
                  <a:pt x="504" y="12"/>
                  <a:pt x="504" y="12"/>
                </a:cubicBezTo>
                <a:cubicBezTo>
                  <a:pt x="394" y="12"/>
                  <a:pt x="394" y="12"/>
                  <a:pt x="394" y="12"/>
                </a:cubicBezTo>
                <a:cubicBezTo>
                  <a:pt x="264" y="350"/>
                  <a:pt x="264" y="350"/>
                  <a:pt x="264" y="350"/>
                </a:cubicBezTo>
                <a:cubicBezTo>
                  <a:pt x="132" y="10"/>
                  <a:pt x="132" y="10"/>
                  <a:pt x="132" y="10"/>
                </a:cubicBezTo>
                <a:cubicBezTo>
                  <a:pt x="18" y="10"/>
                  <a:pt x="18" y="10"/>
                  <a:pt x="18" y="10"/>
                </a:cubicBezTo>
                <a:cubicBezTo>
                  <a:pt x="18" y="22"/>
                  <a:pt x="18" y="22"/>
                  <a:pt x="18" y="22"/>
                </a:cubicBezTo>
                <a:cubicBezTo>
                  <a:pt x="40" y="26"/>
                  <a:pt x="74" y="32"/>
                  <a:pt x="72" y="84"/>
                </a:cubicBezTo>
                <a:cubicBezTo>
                  <a:pt x="58" y="352"/>
                  <a:pt x="58" y="352"/>
                  <a:pt x="58" y="352"/>
                </a:cubicBezTo>
                <a:cubicBezTo>
                  <a:pt x="54" y="410"/>
                  <a:pt x="38" y="430"/>
                  <a:pt x="0" y="436"/>
                </a:cubicBezTo>
                <a:cubicBezTo>
                  <a:pt x="0" y="448"/>
                  <a:pt x="0" y="448"/>
                  <a:pt x="0" y="448"/>
                </a:cubicBezTo>
                <a:cubicBezTo>
                  <a:pt x="140" y="448"/>
                  <a:pt x="140" y="448"/>
                  <a:pt x="140" y="448"/>
                </a:cubicBezTo>
                <a:cubicBezTo>
                  <a:pt x="140" y="436"/>
                  <a:pt x="140" y="436"/>
                  <a:pt x="140" y="436"/>
                </a:cubicBezTo>
                <a:cubicBezTo>
                  <a:pt x="98" y="428"/>
                  <a:pt x="84" y="414"/>
                  <a:pt x="88" y="356"/>
                </a:cubicBezTo>
                <a:cubicBezTo>
                  <a:pt x="100" y="86"/>
                  <a:pt x="100" y="86"/>
                  <a:pt x="100" y="86"/>
                </a:cubicBezTo>
                <a:cubicBezTo>
                  <a:pt x="240" y="444"/>
                  <a:pt x="240" y="444"/>
                  <a:pt x="240" y="444"/>
                </a:cubicBezTo>
                <a:cubicBezTo>
                  <a:pt x="258" y="444"/>
                  <a:pt x="258" y="444"/>
                  <a:pt x="258" y="444"/>
                </a:cubicBezTo>
                <a:cubicBezTo>
                  <a:pt x="396" y="86"/>
                  <a:pt x="396" y="86"/>
                  <a:pt x="396" y="86"/>
                </a:cubicBezTo>
                <a:cubicBezTo>
                  <a:pt x="408" y="372"/>
                  <a:pt x="408" y="372"/>
                  <a:pt x="408" y="372"/>
                </a:cubicBezTo>
                <a:cubicBezTo>
                  <a:pt x="410" y="416"/>
                  <a:pt x="398" y="430"/>
                  <a:pt x="366" y="434"/>
                </a:cubicBezTo>
                <a:lnTo>
                  <a:pt x="366" y="448"/>
                </a:lnTo>
                <a:close/>
                <a:moveTo>
                  <a:pt x="670" y="456"/>
                </a:moveTo>
                <a:cubicBezTo>
                  <a:pt x="708" y="456"/>
                  <a:pt x="756" y="440"/>
                  <a:pt x="782" y="412"/>
                </a:cubicBezTo>
                <a:cubicBezTo>
                  <a:pt x="776" y="400"/>
                  <a:pt x="776" y="400"/>
                  <a:pt x="776" y="400"/>
                </a:cubicBezTo>
                <a:cubicBezTo>
                  <a:pt x="750" y="416"/>
                  <a:pt x="722" y="422"/>
                  <a:pt x="696" y="422"/>
                </a:cubicBezTo>
                <a:cubicBezTo>
                  <a:pt x="620" y="422"/>
                  <a:pt x="592" y="358"/>
                  <a:pt x="592" y="290"/>
                </a:cubicBezTo>
                <a:cubicBezTo>
                  <a:pt x="592" y="258"/>
                  <a:pt x="600" y="236"/>
                  <a:pt x="614" y="222"/>
                </a:cubicBezTo>
                <a:cubicBezTo>
                  <a:pt x="626" y="210"/>
                  <a:pt x="646" y="204"/>
                  <a:pt x="664" y="204"/>
                </a:cubicBezTo>
                <a:cubicBezTo>
                  <a:pt x="690" y="204"/>
                  <a:pt x="722" y="214"/>
                  <a:pt x="744" y="244"/>
                </a:cubicBezTo>
                <a:cubicBezTo>
                  <a:pt x="750" y="244"/>
                  <a:pt x="750" y="244"/>
                  <a:pt x="750" y="244"/>
                </a:cubicBezTo>
                <a:cubicBezTo>
                  <a:pt x="758" y="234"/>
                  <a:pt x="766" y="212"/>
                  <a:pt x="768" y="196"/>
                </a:cubicBezTo>
                <a:cubicBezTo>
                  <a:pt x="748" y="180"/>
                  <a:pt x="720" y="172"/>
                  <a:pt x="686" y="172"/>
                </a:cubicBezTo>
                <a:cubicBezTo>
                  <a:pt x="604" y="172"/>
                  <a:pt x="544" y="246"/>
                  <a:pt x="544" y="326"/>
                </a:cubicBezTo>
                <a:cubicBezTo>
                  <a:pt x="540" y="390"/>
                  <a:pt x="576" y="456"/>
                  <a:pt x="670" y="456"/>
                </a:cubicBezTo>
                <a:moveTo>
                  <a:pt x="1272" y="98"/>
                </a:moveTo>
                <a:cubicBezTo>
                  <a:pt x="1292" y="98"/>
                  <a:pt x="1308" y="82"/>
                  <a:pt x="1308" y="62"/>
                </a:cubicBezTo>
                <a:cubicBezTo>
                  <a:pt x="1308" y="42"/>
                  <a:pt x="1292" y="26"/>
                  <a:pt x="1272" y="26"/>
                </a:cubicBezTo>
                <a:cubicBezTo>
                  <a:pt x="1252" y="26"/>
                  <a:pt x="1238" y="42"/>
                  <a:pt x="1238" y="62"/>
                </a:cubicBezTo>
                <a:cubicBezTo>
                  <a:pt x="1238" y="82"/>
                  <a:pt x="1252" y="98"/>
                  <a:pt x="1272" y="98"/>
                </a:cubicBezTo>
                <a:moveTo>
                  <a:pt x="1202" y="448"/>
                </a:moveTo>
                <a:cubicBezTo>
                  <a:pt x="1346" y="448"/>
                  <a:pt x="1346" y="448"/>
                  <a:pt x="1346" y="448"/>
                </a:cubicBezTo>
                <a:cubicBezTo>
                  <a:pt x="1346" y="436"/>
                  <a:pt x="1346" y="436"/>
                  <a:pt x="1346" y="436"/>
                </a:cubicBezTo>
                <a:cubicBezTo>
                  <a:pt x="1304" y="432"/>
                  <a:pt x="1302" y="434"/>
                  <a:pt x="1302" y="338"/>
                </a:cubicBezTo>
                <a:cubicBezTo>
                  <a:pt x="1302" y="176"/>
                  <a:pt x="1302" y="176"/>
                  <a:pt x="1302" y="176"/>
                </a:cubicBezTo>
                <a:cubicBezTo>
                  <a:pt x="1200" y="176"/>
                  <a:pt x="1200" y="176"/>
                  <a:pt x="1200" y="176"/>
                </a:cubicBezTo>
                <a:cubicBezTo>
                  <a:pt x="1200" y="188"/>
                  <a:pt x="1200" y="188"/>
                  <a:pt x="1200" y="188"/>
                </a:cubicBezTo>
                <a:cubicBezTo>
                  <a:pt x="1244" y="190"/>
                  <a:pt x="1250" y="192"/>
                  <a:pt x="1250" y="268"/>
                </a:cubicBezTo>
                <a:cubicBezTo>
                  <a:pt x="1250" y="336"/>
                  <a:pt x="1250" y="336"/>
                  <a:pt x="1250" y="336"/>
                </a:cubicBezTo>
                <a:cubicBezTo>
                  <a:pt x="1250" y="432"/>
                  <a:pt x="1248" y="432"/>
                  <a:pt x="1202" y="436"/>
                </a:cubicBezTo>
                <a:cubicBezTo>
                  <a:pt x="1178" y="434"/>
                  <a:pt x="1154" y="426"/>
                  <a:pt x="1076" y="338"/>
                </a:cubicBezTo>
                <a:cubicBezTo>
                  <a:pt x="1046" y="302"/>
                  <a:pt x="996" y="244"/>
                  <a:pt x="968" y="206"/>
                </a:cubicBezTo>
                <a:cubicBezTo>
                  <a:pt x="1062" y="102"/>
                  <a:pt x="1062" y="102"/>
                  <a:pt x="1062" y="102"/>
                </a:cubicBezTo>
                <a:cubicBezTo>
                  <a:pt x="1108" y="52"/>
                  <a:pt x="1132" y="26"/>
                  <a:pt x="1176" y="24"/>
                </a:cubicBezTo>
                <a:cubicBezTo>
                  <a:pt x="1176" y="10"/>
                  <a:pt x="1176" y="10"/>
                  <a:pt x="1176" y="10"/>
                </a:cubicBezTo>
                <a:cubicBezTo>
                  <a:pt x="1030" y="10"/>
                  <a:pt x="1030" y="10"/>
                  <a:pt x="1030" y="10"/>
                </a:cubicBezTo>
                <a:cubicBezTo>
                  <a:pt x="1030" y="22"/>
                  <a:pt x="1030" y="22"/>
                  <a:pt x="1030" y="22"/>
                </a:cubicBezTo>
                <a:cubicBezTo>
                  <a:pt x="1050" y="26"/>
                  <a:pt x="1056" y="32"/>
                  <a:pt x="1056" y="46"/>
                </a:cubicBezTo>
                <a:cubicBezTo>
                  <a:pt x="1056" y="56"/>
                  <a:pt x="1054" y="72"/>
                  <a:pt x="1026" y="102"/>
                </a:cubicBezTo>
                <a:cubicBezTo>
                  <a:pt x="910" y="230"/>
                  <a:pt x="910" y="230"/>
                  <a:pt x="910" y="230"/>
                </a:cubicBezTo>
                <a:cubicBezTo>
                  <a:pt x="910" y="148"/>
                  <a:pt x="910" y="148"/>
                  <a:pt x="910" y="148"/>
                </a:cubicBezTo>
                <a:cubicBezTo>
                  <a:pt x="910" y="36"/>
                  <a:pt x="916" y="28"/>
                  <a:pt x="960" y="22"/>
                </a:cubicBezTo>
                <a:cubicBezTo>
                  <a:pt x="960" y="8"/>
                  <a:pt x="960" y="8"/>
                  <a:pt x="960" y="8"/>
                </a:cubicBezTo>
                <a:cubicBezTo>
                  <a:pt x="804" y="8"/>
                  <a:pt x="804" y="8"/>
                  <a:pt x="804" y="8"/>
                </a:cubicBezTo>
                <a:cubicBezTo>
                  <a:pt x="804" y="22"/>
                  <a:pt x="804" y="22"/>
                  <a:pt x="804" y="22"/>
                </a:cubicBezTo>
                <a:cubicBezTo>
                  <a:pt x="852" y="26"/>
                  <a:pt x="854" y="36"/>
                  <a:pt x="854" y="148"/>
                </a:cubicBezTo>
                <a:cubicBezTo>
                  <a:pt x="854" y="300"/>
                  <a:pt x="854" y="300"/>
                  <a:pt x="854" y="300"/>
                </a:cubicBezTo>
                <a:cubicBezTo>
                  <a:pt x="854" y="422"/>
                  <a:pt x="850" y="430"/>
                  <a:pt x="804" y="434"/>
                </a:cubicBezTo>
                <a:cubicBezTo>
                  <a:pt x="804" y="446"/>
                  <a:pt x="804" y="446"/>
                  <a:pt x="804" y="446"/>
                </a:cubicBezTo>
                <a:cubicBezTo>
                  <a:pt x="960" y="446"/>
                  <a:pt x="960" y="446"/>
                  <a:pt x="960" y="446"/>
                </a:cubicBezTo>
                <a:cubicBezTo>
                  <a:pt x="960" y="434"/>
                  <a:pt x="960" y="434"/>
                  <a:pt x="960" y="434"/>
                </a:cubicBezTo>
                <a:cubicBezTo>
                  <a:pt x="910" y="428"/>
                  <a:pt x="910" y="424"/>
                  <a:pt x="910" y="292"/>
                </a:cubicBezTo>
                <a:cubicBezTo>
                  <a:pt x="910" y="268"/>
                  <a:pt x="910" y="268"/>
                  <a:pt x="910" y="268"/>
                </a:cubicBezTo>
                <a:cubicBezTo>
                  <a:pt x="930" y="246"/>
                  <a:pt x="930" y="246"/>
                  <a:pt x="930" y="246"/>
                </a:cubicBezTo>
                <a:cubicBezTo>
                  <a:pt x="982" y="310"/>
                  <a:pt x="1038" y="380"/>
                  <a:pt x="1098" y="448"/>
                </a:cubicBezTo>
                <a:cubicBezTo>
                  <a:pt x="1202" y="448"/>
                  <a:pt x="1202" y="448"/>
                  <a:pt x="1202" y="448"/>
                </a:cubicBezTo>
                <a:close/>
                <a:moveTo>
                  <a:pt x="1564" y="448"/>
                </a:moveTo>
                <a:cubicBezTo>
                  <a:pt x="1706" y="448"/>
                  <a:pt x="1706" y="448"/>
                  <a:pt x="1706" y="448"/>
                </a:cubicBezTo>
                <a:cubicBezTo>
                  <a:pt x="1706" y="436"/>
                  <a:pt x="1706" y="436"/>
                  <a:pt x="1706" y="436"/>
                </a:cubicBezTo>
                <a:cubicBezTo>
                  <a:pt x="1658" y="434"/>
                  <a:pt x="1658" y="432"/>
                  <a:pt x="1658" y="342"/>
                </a:cubicBezTo>
                <a:cubicBezTo>
                  <a:pt x="1658" y="280"/>
                  <a:pt x="1658" y="280"/>
                  <a:pt x="1658" y="280"/>
                </a:cubicBezTo>
                <a:cubicBezTo>
                  <a:pt x="1658" y="198"/>
                  <a:pt x="1612" y="172"/>
                  <a:pt x="1570" y="172"/>
                </a:cubicBezTo>
                <a:cubicBezTo>
                  <a:pt x="1534" y="172"/>
                  <a:pt x="1498" y="188"/>
                  <a:pt x="1470" y="224"/>
                </a:cubicBezTo>
                <a:cubicBezTo>
                  <a:pt x="1470" y="176"/>
                  <a:pt x="1470" y="176"/>
                  <a:pt x="1470" y="176"/>
                </a:cubicBezTo>
                <a:cubicBezTo>
                  <a:pt x="1368" y="176"/>
                  <a:pt x="1368" y="176"/>
                  <a:pt x="1368" y="176"/>
                </a:cubicBezTo>
                <a:cubicBezTo>
                  <a:pt x="1368" y="188"/>
                  <a:pt x="1368" y="188"/>
                  <a:pt x="1368" y="188"/>
                </a:cubicBezTo>
                <a:cubicBezTo>
                  <a:pt x="1412" y="190"/>
                  <a:pt x="1418" y="192"/>
                  <a:pt x="1418" y="268"/>
                </a:cubicBezTo>
                <a:cubicBezTo>
                  <a:pt x="1418" y="336"/>
                  <a:pt x="1418" y="336"/>
                  <a:pt x="1418" y="336"/>
                </a:cubicBezTo>
                <a:cubicBezTo>
                  <a:pt x="1418" y="434"/>
                  <a:pt x="1418" y="434"/>
                  <a:pt x="1370" y="436"/>
                </a:cubicBezTo>
                <a:cubicBezTo>
                  <a:pt x="1370" y="448"/>
                  <a:pt x="1370" y="448"/>
                  <a:pt x="1370" y="448"/>
                </a:cubicBezTo>
                <a:cubicBezTo>
                  <a:pt x="1514" y="448"/>
                  <a:pt x="1514" y="448"/>
                  <a:pt x="1514" y="448"/>
                </a:cubicBezTo>
                <a:cubicBezTo>
                  <a:pt x="1514" y="436"/>
                  <a:pt x="1514" y="436"/>
                  <a:pt x="1514" y="436"/>
                </a:cubicBezTo>
                <a:cubicBezTo>
                  <a:pt x="1472" y="432"/>
                  <a:pt x="1470" y="434"/>
                  <a:pt x="1470" y="338"/>
                </a:cubicBezTo>
                <a:cubicBezTo>
                  <a:pt x="1470" y="262"/>
                  <a:pt x="1470" y="262"/>
                  <a:pt x="1470" y="262"/>
                </a:cubicBezTo>
                <a:cubicBezTo>
                  <a:pt x="1470" y="236"/>
                  <a:pt x="1504" y="206"/>
                  <a:pt x="1546" y="206"/>
                </a:cubicBezTo>
                <a:cubicBezTo>
                  <a:pt x="1580" y="206"/>
                  <a:pt x="1606" y="220"/>
                  <a:pt x="1606" y="286"/>
                </a:cubicBezTo>
                <a:cubicBezTo>
                  <a:pt x="1606" y="340"/>
                  <a:pt x="1606" y="340"/>
                  <a:pt x="1606" y="340"/>
                </a:cubicBezTo>
                <a:cubicBezTo>
                  <a:pt x="1606" y="432"/>
                  <a:pt x="1602" y="432"/>
                  <a:pt x="1564" y="434"/>
                </a:cubicBezTo>
                <a:lnTo>
                  <a:pt x="1564" y="448"/>
                </a:lnTo>
                <a:close/>
                <a:moveTo>
                  <a:pt x="1776" y="222"/>
                </a:moveTo>
                <a:cubicBezTo>
                  <a:pt x="1776" y="200"/>
                  <a:pt x="1796" y="188"/>
                  <a:pt x="1822" y="188"/>
                </a:cubicBezTo>
                <a:cubicBezTo>
                  <a:pt x="1874" y="188"/>
                  <a:pt x="1896" y="236"/>
                  <a:pt x="1900" y="252"/>
                </a:cubicBezTo>
                <a:cubicBezTo>
                  <a:pt x="1912" y="252"/>
                  <a:pt x="1912" y="252"/>
                  <a:pt x="1912" y="252"/>
                </a:cubicBezTo>
                <a:cubicBezTo>
                  <a:pt x="1912" y="212"/>
                  <a:pt x="1908" y="188"/>
                  <a:pt x="1904" y="184"/>
                </a:cubicBezTo>
                <a:cubicBezTo>
                  <a:pt x="1900" y="180"/>
                  <a:pt x="1862" y="170"/>
                  <a:pt x="1824" y="170"/>
                </a:cubicBezTo>
                <a:cubicBezTo>
                  <a:pt x="1768" y="170"/>
                  <a:pt x="1734" y="206"/>
                  <a:pt x="1734" y="248"/>
                </a:cubicBezTo>
                <a:cubicBezTo>
                  <a:pt x="1734" y="340"/>
                  <a:pt x="1890" y="322"/>
                  <a:pt x="1890" y="396"/>
                </a:cubicBezTo>
                <a:cubicBezTo>
                  <a:pt x="1890" y="422"/>
                  <a:pt x="1866" y="436"/>
                  <a:pt x="1826" y="436"/>
                </a:cubicBezTo>
                <a:cubicBezTo>
                  <a:pt x="1788" y="436"/>
                  <a:pt x="1754" y="416"/>
                  <a:pt x="1744" y="366"/>
                </a:cubicBezTo>
                <a:cubicBezTo>
                  <a:pt x="1728" y="366"/>
                  <a:pt x="1728" y="366"/>
                  <a:pt x="1728" y="366"/>
                </a:cubicBezTo>
                <a:cubicBezTo>
                  <a:pt x="1728" y="386"/>
                  <a:pt x="1732" y="422"/>
                  <a:pt x="1734" y="428"/>
                </a:cubicBezTo>
                <a:cubicBezTo>
                  <a:pt x="1744" y="446"/>
                  <a:pt x="1788" y="454"/>
                  <a:pt x="1824" y="454"/>
                </a:cubicBezTo>
                <a:cubicBezTo>
                  <a:pt x="1888" y="454"/>
                  <a:pt x="1928" y="416"/>
                  <a:pt x="1928" y="372"/>
                </a:cubicBezTo>
                <a:cubicBezTo>
                  <a:pt x="1932" y="270"/>
                  <a:pt x="1776" y="286"/>
                  <a:pt x="1776" y="222"/>
                </a:cubicBezTo>
                <a:moveTo>
                  <a:pt x="2030" y="270"/>
                </a:moveTo>
                <a:cubicBezTo>
                  <a:pt x="2034" y="220"/>
                  <a:pt x="2058" y="192"/>
                  <a:pt x="2102" y="192"/>
                </a:cubicBezTo>
                <a:cubicBezTo>
                  <a:pt x="2144" y="192"/>
                  <a:pt x="2170" y="220"/>
                  <a:pt x="2172" y="270"/>
                </a:cubicBezTo>
                <a:lnTo>
                  <a:pt x="2030" y="270"/>
                </a:lnTo>
                <a:close/>
                <a:moveTo>
                  <a:pt x="2030" y="290"/>
                </a:moveTo>
                <a:cubicBezTo>
                  <a:pt x="2222" y="290"/>
                  <a:pt x="2222" y="290"/>
                  <a:pt x="2222" y="290"/>
                </a:cubicBezTo>
                <a:cubicBezTo>
                  <a:pt x="2226" y="228"/>
                  <a:pt x="2192" y="168"/>
                  <a:pt x="2114" y="168"/>
                </a:cubicBezTo>
                <a:cubicBezTo>
                  <a:pt x="2034" y="168"/>
                  <a:pt x="1982" y="232"/>
                  <a:pt x="1982" y="320"/>
                </a:cubicBezTo>
                <a:cubicBezTo>
                  <a:pt x="1982" y="388"/>
                  <a:pt x="2018" y="456"/>
                  <a:pt x="2112" y="456"/>
                </a:cubicBezTo>
                <a:cubicBezTo>
                  <a:pt x="2150" y="456"/>
                  <a:pt x="2198" y="440"/>
                  <a:pt x="2224" y="412"/>
                </a:cubicBezTo>
                <a:cubicBezTo>
                  <a:pt x="2218" y="400"/>
                  <a:pt x="2218" y="400"/>
                  <a:pt x="2218" y="400"/>
                </a:cubicBezTo>
                <a:cubicBezTo>
                  <a:pt x="2192" y="416"/>
                  <a:pt x="2164" y="422"/>
                  <a:pt x="2138" y="422"/>
                </a:cubicBezTo>
                <a:cubicBezTo>
                  <a:pt x="2058" y="420"/>
                  <a:pt x="2028" y="352"/>
                  <a:pt x="2030" y="290"/>
                </a:cubicBezTo>
                <a:moveTo>
                  <a:pt x="2478" y="242"/>
                </a:moveTo>
                <a:cubicBezTo>
                  <a:pt x="2490" y="206"/>
                  <a:pt x="2510" y="192"/>
                  <a:pt x="2528" y="192"/>
                </a:cubicBezTo>
                <a:cubicBezTo>
                  <a:pt x="2528" y="180"/>
                  <a:pt x="2528" y="180"/>
                  <a:pt x="2528" y="180"/>
                </a:cubicBezTo>
                <a:cubicBezTo>
                  <a:pt x="2430" y="180"/>
                  <a:pt x="2430" y="180"/>
                  <a:pt x="2430" y="180"/>
                </a:cubicBezTo>
                <a:cubicBezTo>
                  <a:pt x="2430" y="192"/>
                  <a:pt x="2430" y="192"/>
                  <a:pt x="2430" y="192"/>
                </a:cubicBezTo>
                <a:cubicBezTo>
                  <a:pt x="2454" y="194"/>
                  <a:pt x="2466" y="206"/>
                  <a:pt x="2458" y="234"/>
                </a:cubicBezTo>
                <a:cubicBezTo>
                  <a:pt x="2406" y="390"/>
                  <a:pt x="2406" y="390"/>
                  <a:pt x="2406" y="390"/>
                </a:cubicBezTo>
                <a:cubicBezTo>
                  <a:pt x="2354" y="270"/>
                  <a:pt x="2354" y="270"/>
                  <a:pt x="2354" y="270"/>
                </a:cubicBezTo>
                <a:cubicBezTo>
                  <a:pt x="2340" y="238"/>
                  <a:pt x="2334" y="224"/>
                  <a:pt x="2334" y="212"/>
                </a:cubicBezTo>
                <a:cubicBezTo>
                  <a:pt x="2334" y="202"/>
                  <a:pt x="2340" y="196"/>
                  <a:pt x="2360" y="192"/>
                </a:cubicBezTo>
                <a:cubicBezTo>
                  <a:pt x="2360" y="180"/>
                  <a:pt x="2360" y="180"/>
                  <a:pt x="2360" y="180"/>
                </a:cubicBezTo>
                <a:cubicBezTo>
                  <a:pt x="2234" y="180"/>
                  <a:pt x="2234" y="180"/>
                  <a:pt x="2234" y="180"/>
                </a:cubicBezTo>
                <a:cubicBezTo>
                  <a:pt x="2234" y="192"/>
                  <a:pt x="2234" y="192"/>
                  <a:pt x="2234" y="192"/>
                </a:cubicBezTo>
                <a:cubicBezTo>
                  <a:pt x="2266" y="194"/>
                  <a:pt x="2268" y="198"/>
                  <a:pt x="2310" y="292"/>
                </a:cubicBezTo>
                <a:cubicBezTo>
                  <a:pt x="2382" y="450"/>
                  <a:pt x="2382" y="450"/>
                  <a:pt x="2382" y="450"/>
                </a:cubicBezTo>
                <a:cubicBezTo>
                  <a:pt x="2358" y="512"/>
                  <a:pt x="2320" y="546"/>
                  <a:pt x="2242" y="564"/>
                </a:cubicBezTo>
                <a:cubicBezTo>
                  <a:pt x="2246" y="576"/>
                  <a:pt x="2260" y="600"/>
                  <a:pt x="2268" y="606"/>
                </a:cubicBezTo>
                <a:cubicBezTo>
                  <a:pt x="2370" y="564"/>
                  <a:pt x="2390" y="498"/>
                  <a:pt x="2426" y="396"/>
                </a:cubicBezTo>
                <a:lnTo>
                  <a:pt x="2478" y="242"/>
                </a:lnTo>
                <a:close/>
                <a:moveTo>
                  <a:pt x="2844" y="394"/>
                </a:moveTo>
                <a:cubicBezTo>
                  <a:pt x="2822" y="412"/>
                  <a:pt x="2782" y="416"/>
                  <a:pt x="2750" y="416"/>
                </a:cubicBezTo>
                <a:cubicBezTo>
                  <a:pt x="2670" y="416"/>
                  <a:pt x="2606" y="360"/>
                  <a:pt x="2606" y="284"/>
                </a:cubicBezTo>
                <a:cubicBezTo>
                  <a:pt x="2606" y="236"/>
                  <a:pt x="2626" y="206"/>
                  <a:pt x="2658" y="198"/>
                </a:cubicBezTo>
                <a:cubicBezTo>
                  <a:pt x="2698" y="266"/>
                  <a:pt x="2770" y="338"/>
                  <a:pt x="2844" y="394"/>
                </a:cubicBezTo>
                <a:moveTo>
                  <a:pt x="2928" y="448"/>
                </a:moveTo>
                <a:cubicBezTo>
                  <a:pt x="3022" y="448"/>
                  <a:pt x="3022" y="448"/>
                  <a:pt x="3022" y="448"/>
                </a:cubicBezTo>
                <a:cubicBezTo>
                  <a:pt x="3022" y="436"/>
                  <a:pt x="3022" y="436"/>
                  <a:pt x="3022" y="436"/>
                </a:cubicBezTo>
                <a:cubicBezTo>
                  <a:pt x="2992" y="432"/>
                  <a:pt x="2946" y="408"/>
                  <a:pt x="2896" y="372"/>
                </a:cubicBezTo>
                <a:cubicBezTo>
                  <a:pt x="2914" y="342"/>
                  <a:pt x="2918" y="300"/>
                  <a:pt x="2922" y="270"/>
                </a:cubicBezTo>
                <a:cubicBezTo>
                  <a:pt x="2926" y="244"/>
                  <a:pt x="2946" y="244"/>
                  <a:pt x="2958" y="242"/>
                </a:cubicBezTo>
                <a:cubicBezTo>
                  <a:pt x="2958" y="230"/>
                  <a:pt x="2958" y="230"/>
                  <a:pt x="2958" y="230"/>
                </a:cubicBezTo>
                <a:cubicBezTo>
                  <a:pt x="2834" y="230"/>
                  <a:pt x="2834" y="230"/>
                  <a:pt x="2834" y="230"/>
                </a:cubicBezTo>
                <a:cubicBezTo>
                  <a:pt x="2834" y="242"/>
                  <a:pt x="2834" y="242"/>
                  <a:pt x="2834" y="242"/>
                </a:cubicBezTo>
                <a:cubicBezTo>
                  <a:pt x="2864" y="246"/>
                  <a:pt x="2892" y="250"/>
                  <a:pt x="2892" y="294"/>
                </a:cubicBezTo>
                <a:cubicBezTo>
                  <a:pt x="2892" y="318"/>
                  <a:pt x="2888" y="342"/>
                  <a:pt x="2878" y="358"/>
                </a:cubicBezTo>
                <a:cubicBezTo>
                  <a:pt x="2770" y="274"/>
                  <a:pt x="2670" y="156"/>
                  <a:pt x="2670" y="96"/>
                </a:cubicBezTo>
                <a:cubicBezTo>
                  <a:pt x="2670" y="66"/>
                  <a:pt x="2688" y="54"/>
                  <a:pt x="2716" y="54"/>
                </a:cubicBezTo>
                <a:cubicBezTo>
                  <a:pt x="2752" y="54"/>
                  <a:pt x="2784" y="78"/>
                  <a:pt x="2800" y="124"/>
                </a:cubicBezTo>
                <a:cubicBezTo>
                  <a:pt x="2812" y="124"/>
                  <a:pt x="2812" y="124"/>
                  <a:pt x="2812" y="124"/>
                </a:cubicBezTo>
                <a:cubicBezTo>
                  <a:pt x="2810" y="42"/>
                  <a:pt x="2810" y="42"/>
                  <a:pt x="2810" y="42"/>
                </a:cubicBezTo>
                <a:cubicBezTo>
                  <a:pt x="2798" y="42"/>
                  <a:pt x="2798" y="42"/>
                  <a:pt x="2798" y="42"/>
                </a:cubicBezTo>
                <a:cubicBezTo>
                  <a:pt x="2798" y="48"/>
                  <a:pt x="2792" y="52"/>
                  <a:pt x="2788" y="52"/>
                </a:cubicBezTo>
                <a:cubicBezTo>
                  <a:pt x="2772" y="52"/>
                  <a:pt x="2752" y="36"/>
                  <a:pt x="2714" y="36"/>
                </a:cubicBezTo>
                <a:cubicBezTo>
                  <a:pt x="2672" y="36"/>
                  <a:pt x="2630" y="62"/>
                  <a:pt x="2630" y="118"/>
                </a:cubicBezTo>
                <a:cubicBezTo>
                  <a:pt x="2630" y="140"/>
                  <a:pt x="2636" y="160"/>
                  <a:pt x="2648" y="182"/>
                </a:cubicBezTo>
                <a:cubicBezTo>
                  <a:pt x="2592" y="200"/>
                  <a:pt x="2562" y="248"/>
                  <a:pt x="2562" y="304"/>
                </a:cubicBezTo>
                <a:cubicBezTo>
                  <a:pt x="2562" y="406"/>
                  <a:pt x="2640" y="460"/>
                  <a:pt x="2726" y="460"/>
                </a:cubicBezTo>
                <a:cubicBezTo>
                  <a:pt x="2780" y="460"/>
                  <a:pt x="2824" y="444"/>
                  <a:pt x="2862" y="410"/>
                </a:cubicBezTo>
                <a:cubicBezTo>
                  <a:pt x="2888" y="424"/>
                  <a:pt x="2912" y="442"/>
                  <a:pt x="2928" y="448"/>
                </a:cubicBezTo>
                <a:moveTo>
                  <a:pt x="3094" y="212"/>
                </a:moveTo>
                <a:cubicBezTo>
                  <a:pt x="3094" y="88"/>
                  <a:pt x="3154" y="20"/>
                  <a:pt x="3252" y="20"/>
                </a:cubicBezTo>
                <a:cubicBezTo>
                  <a:pt x="3328" y="20"/>
                  <a:pt x="3372" y="58"/>
                  <a:pt x="3392" y="134"/>
                </a:cubicBezTo>
                <a:cubicBezTo>
                  <a:pt x="3404" y="134"/>
                  <a:pt x="3404" y="134"/>
                  <a:pt x="3404" y="134"/>
                </a:cubicBezTo>
                <a:cubicBezTo>
                  <a:pt x="3400" y="4"/>
                  <a:pt x="3400" y="4"/>
                  <a:pt x="3400" y="4"/>
                </a:cubicBezTo>
                <a:cubicBezTo>
                  <a:pt x="3388" y="4"/>
                  <a:pt x="3388" y="4"/>
                  <a:pt x="3388" y="4"/>
                </a:cubicBezTo>
                <a:cubicBezTo>
                  <a:pt x="3384" y="14"/>
                  <a:pt x="3376" y="18"/>
                  <a:pt x="3364" y="18"/>
                </a:cubicBezTo>
                <a:cubicBezTo>
                  <a:pt x="3338" y="18"/>
                  <a:pt x="3314" y="0"/>
                  <a:pt x="3248" y="0"/>
                </a:cubicBezTo>
                <a:cubicBezTo>
                  <a:pt x="3118" y="0"/>
                  <a:pt x="3030" y="102"/>
                  <a:pt x="3030" y="242"/>
                </a:cubicBezTo>
                <a:cubicBezTo>
                  <a:pt x="3030" y="376"/>
                  <a:pt x="3110" y="460"/>
                  <a:pt x="3238" y="460"/>
                </a:cubicBezTo>
                <a:cubicBezTo>
                  <a:pt x="3320" y="460"/>
                  <a:pt x="3384" y="420"/>
                  <a:pt x="3408" y="380"/>
                </a:cubicBezTo>
                <a:cubicBezTo>
                  <a:pt x="3396" y="366"/>
                  <a:pt x="3396" y="366"/>
                  <a:pt x="3396" y="366"/>
                </a:cubicBezTo>
                <a:cubicBezTo>
                  <a:pt x="3370" y="402"/>
                  <a:pt x="3314" y="426"/>
                  <a:pt x="3256" y="426"/>
                </a:cubicBezTo>
                <a:cubicBezTo>
                  <a:pt x="3156" y="426"/>
                  <a:pt x="3094" y="340"/>
                  <a:pt x="3094" y="212"/>
                </a:cubicBezTo>
                <a:moveTo>
                  <a:pt x="3678" y="328"/>
                </a:moveTo>
                <a:cubicBezTo>
                  <a:pt x="3678" y="392"/>
                  <a:pt x="3650" y="430"/>
                  <a:pt x="3592" y="430"/>
                </a:cubicBezTo>
                <a:cubicBezTo>
                  <a:pt x="3542" y="430"/>
                  <a:pt x="3496" y="384"/>
                  <a:pt x="3496" y="292"/>
                </a:cubicBezTo>
                <a:cubicBezTo>
                  <a:pt x="3496" y="226"/>
                  <a:pt x="3528" y="190"/>
                  <a:pt x="3580" y="190"/>
                </a:cubicBezTo>
                <a:cubicBezTo>
                  <a:pt x="3628" y="192"/>
                  <a:pt x="3678" y="238"/>
                  <a:pt x="3678" y="328"/>
                </a:cubicBezTo>
                <a:moveTo>
                  <a:pt x="3732" y="312"/>
                </a:moveTo>
                <a:cubicBezTo>
                  <a:pt x="3732" y="260"/>
                  <a:pt x="3710" y="214"/>
                  <a:pt x="3672" y="190"/>
                </a:cubicBezTo>
                <a:cubicBezTo>
                  <a:pt x="3650" y="176"/>
                  <a:pt x="3620" y="168"/>
                  <a:pt x="3588" y="168"/>
                </a:cubicBezTo>
                <a:cubicBezTo>
                  <a:pt x="3502" y="168"/>
                  <a:pt x="3442" y="230"/>
                  <a:pt x="3442" y="310"/>
                </a:cubicBezTo>
                <a:cubicBezTo>
                  <a:pt x="3442" y="364"/>
                  <a:pt x="3464" y="408"/>
                  <a:pt x="3502" y="432"/>
                </a:cubicBezTo>
                <a:cubicBezTo>
                  <a:pt x="3524" y="446"/>
                  <a:pt x="3554" y="452"/>
                  <a:pt x="3586" y="452"/>
                </a:cubicBezTo>
                <a:cubicBezTo>
                  <a:pt x="3672" y="454"/>
                  <a:pt x="3732" y="394"/>
                  <a:pt x="3732" y="312"/>
                </a:cubicBezTo>
                <a:moveTo>
                  <a:pt x="4136" y="448"/>
                </a:moveTo>
                <a:cubicBezTo>
                  <a:pt x="4280" y="448"/>
                  <a:pt x="4280" y="448"/>
                  <a:pt x="4280" y="448"/>
                </a:cubicBezTo>
                <a:cubicBezTo>
                  <a:pt x="4280" y="436"/>
                  <a:pt x="4280" y="436"/>
                  <a:pt x="4280" y="436"/>
                </a:cubicBezTo>
                <a:cubicBezTo>
                  <a:pt x="4230" y="434"/>
                  <a:pt x="4232" y="426"/>
                  <a:pt x="4232" y="348"/>
                </a:cubicBezTo>
                <a:cubicBezTo>
                  <a:pt x="4232" y="276"/>
                  <a:pt x="4232" y="276"/>
                  <a:pt x="4232" y="276"/>
                </a:cubicBezTo>
                <a:cubicBezTo>
                  <a:pt x="4232" y="200"/>
                  <a:pt x="4190" y="172"/>
                  <a:pt x="4142" y="172"/>
                </a:cubicBezTo>
                <a:cubicBezTo>
                  <a:pt x="4098" y="172"/>
                  <a:pt x="4064" y="196"/>
                  <a:pt x="4038" y="232"/>
                </a:cubicBezTo>
                <a:cubicBezTo>
                  <a:pt x="4028" y="194"/>
                  <a:pt x="4000" y="172"/>
                  <a:pt x="3954" y="172"/>
                </a:cubicBezTo>
                <a:cubicBezTo>
                  <a:pt x="3916" y="172"/>
                  <a:pt x="3880" y="196"/>
                  <a:pt x="3858" y="224"/>
                </a:cubicBezTo>
                <a:cubicBezTo>
                  <a:pt x="3858" y="176"/>
                  <a:pt x="3858" y="176"/>
                  <a:pt x="3858" y="176"/>
                </a:cubicBezTo>
                <a:cubicBezTo>
                  <a:pt x="3756" y="176"/>
                  <a:pt x="3756" y="176"/>
                  <a:pt x="3756" y="176"/>
                </a:cubicBezTo>
                <a:cubicBezTo>
                  <a:pt x="3756" y="188"/>
                  <a:pt x="3756" y="188"/>
                  <a:pt x="3756" y="188"/>
                </a:cubicBezTo>
                <a:cubicBezTo>
                  <a:pt x="3800" y="190"/>
                  <a:pt x="3806" y="192"/>
                  <a:pt x="3806" y="268"/>
                </a:cubicBezTo>
                <a:cubicBezTo>
                  <a:pt x="3806" y="346"/>
                  <a:pt x="3806" y="346"/>
                  <a:pt x="3806" y="346"/>
                </a:cubicBezTo>
                <a:cubicBezTo>
                  <a:pt x="3806" y="434"/>
                  <a:pt x="3804" y="434"/>
                  <a:pt x="3758" y="434"/>
                </a:cubicBezTo>
                <a:cubicBezTo>
                  <a:pt x="3758" y="446"/>
                  <a:pt x="3758" y="446"/>
                  <a:pt x="3758" y="446"/>
                </a:cubicBezTo>
                <a:cubicBezTo>
                  <a:pt x="3902" y="446"/>
                  <a:pt x="3902" y="446"/>
                  <a:pt x="3902" y="446"/>
                </a:cubicBezTo>
                <a:cubicBezTo>
                  <a:pt x="3902" y="434"/>
                  <a:pt x="3902" y="434"/>
                  <a:pt x="3902" y="434"/>
                </a:cubicBezTo>
                <a:cubicBezTo>
                  <a:pt x="3862" y="430"/>
                  <a:pt x="3858" y="430"/>
                  <a:pt x="3858" y="342"/>
                </a:cubicBezTo>
                <a:cubicBezTo>
                  <a:pt x="3858" y="262"/>
                  <a:pt x="3858" y="262"/>
                  <a:pt x="3858" y="262"/>
                </a:cubicBezTo>
                <a:cubicBezTo>
                  <a:pt x="3858" y="234"/>
                  <a:pt x="3894" y="204"/>
                  <a:pt x="3932" y="204"/>
                </a:cubicBezTo>
                <a:cubicBezTo>
                  <a:pt x="3974" y="204"/>
                  <a:pt x="3990" y="226"/>
                  <a:pt x="3990" y="282"/>
                </a:cubicBezTo>
                <a:cubicBezTo>
                  <a:pt x="3990" y="338"/>
                  <a:pt x="3990" y="338"/>
                  <a:pt x="3990" y="338"/>
                </a:cubicBezTo>
                <a:cubicBezTo>
                  <a:pt x="3990" y="428"/>
                  <a:pt x="3988" y="432"/>
                  <a:pt x="3950" y="436"/>
                </a:cubicBezTo>
                <a:cubicBezTo>
                  <a:pt x="3950" y="448"/>
                  <a:pt x="3950" y="448"/>
                  <a:pt x="3950" y="448"/>
                </a:cubicBezTo>
                <a:cubicBezTo>
                  <a:pt x="4086" y="448"/>
                  <a:pt x="4086" y="448"/>
                  <a:pt x="4086" y="448"/>
                </a:cubicBezTo>
                <a:cubicBezTo>
                  <a:pt x="4086" y="436"/>
                  <a:pt x="4086" y="436"/>
                  <a:pt x="4086" y="436"/>
                </a:cubicBezTo>
                <a:cubicBezTo>
                  <a:pt x="4040" y="432"/>
                  <a:pt x="4042" y="428"/>
                  <a:pt x="4042" y="342"/>
                </a:cubicBezTo>
                <a:cubicBezTo>
                  <a:pt x="4042" y="264"/>
                  <a:pt x="4042" y="264"/>
                  <a:pt x="4042" y="264"/>
                </a:cubicBezTo>
                <a:cubicBezTo>
                  <a:pt x="4042" y="236"/>
                  <a:pt x="4078" y="206"/>
                  <a:pt x="4118" y="206"/>
                </a:cubicBezTo>
                <a:cubicBezTo>
                  <a:pt x="4152" y="206"/>
                  <a:pt x="4174" y="226"/>
                  <a:pt x="4174" y="284"/>
                </a:cubicBezTo>
                <a:cubicBezTo>
                  <a:pt x="4174" y="346"/>
                  <a:pt x="4174" y="346"/>
                  <a:pt x="4174" y="346"/>
                </a:cubicBezTo>
                <a:cubicBezTo>
                  <a:pt x="4174" y="428"/>
                  <a:pt x="4174" y="432"/>
                  <a:pt x="4134" y="436"/>
                </a:cubicBezTo>
                <a:cubicBezTo>
                  <a:pt x="4134" y="448"/>
                  <a:pt x="4134" y="448"/>
                  <a:pt x="4134" y="448"/>
                </a:cubicBezTo>
                <a:lnTo>
                  <a:pt x="4136" y="448"/>
                </a:lnTo>
                <a:close/>
                <a:moveTo>
                  <a:pt x="4546" y="316"/>
                </a:moveTo>
                <a:cubicBezTo>
                  <a:pt x="4546" y="388"/>
                  <a:pt x="4516" y="432"/>
                  <a:pt x="4460" y="432"/>
                </a:cubicBezTo>
                <a:cubicBezTo>
                  <a:pt x="4424" y="432"/>
                  <a:pt x="4384" y="412"/>
                  <a:pt x="4384" y="384"/>
                </a:cubicBezTo>
                <a:cubicBezTo>
                  <a:pt x="4384" y="248"/>
                  <a:pt x="4384" y="248"/>
                  <a:pt x="4384" y="248"/>
                </a:cubicBezTo>
                <a:cubicBezTo>
                  <a:pt x="4384" y="226"/>
                  <a:pt x="4416" y="202"/>
                  <a:pt x="4454" y="202"/>
                </a:cubicBezTo>
                <a:cubicBezTo>
                  <a:pt x="4510" y="206"/>
                  <a:pt x="4546" y="248"/>
                  <a:pt x="4546" y="316"/>
                </a:cubicBezTo>
                <a:moveTo>
                  <a:pt x="4600" y="310"/>
                </a:moveTo>
                <a:cubicBezTo>
                  <a:pt x="4600" y="230"/>
                  <a:pt x="4548" y="170"/>
                  <a:pt x="4478" y="170"/>
                </a:cubicBezTo>
                <a:cubicBezTo>
                  <a:pt x="4438" y="170"/>
                  <a:pt x="4406" y="188"/>
                  <a:pt x="4384" y="214"/>
                </a:cubicBezTo>
                <a:cubicBezTo>
                  <a:pt x="4384" y="174"/>
                  <a:pt x="4384" y="174"/>
                  <a:pt x="4384" y="174"/>
                </a:cubicBezTo>
                <a:cubicBezTo>
                  <a:pt x="4284" y="174"/>
                  <a:pt x="4284" y="174"/>
                  <a:pt x="4284" y="174"/>
                </a:cubicBezTo>
                <a:cubicBezTo>
                  <a:pt x="4284" y="186"/>
                  <a:pt x="4284" y="186"/>
                  <a:pt x="4284" y="186"/>
                </a:cubicBezTo>
                <a:cubicBezTo>
                  <a:pt x="4326" y="188"/>
                  <a:pt x="4332" y="190"/>
                  <a:pt x="4332" y="280"/>
                </a:cubicBezTo>
                <a:cubicBezTo>
                  <a:pt x="4332" y="466"/>
                  <a:pt x="4332" y="466"/>
                  <a:pt x="4332" y="466"/>
                </a:cubicBezTo>
                <a:cubicBezTo>
                  <a:pt x="4332" y="564"/>
                  <a:pt x="4334" y="570"/>
                  <a:pt x="4286" y="574"/>
                </a:cubicBezTo>
                <a:cubicBezTo>
                  <a:pt x="4286" y="588"/>
                  <a:pt x="4286" y="588"/>
                  <a:pt x="4286" y="588"/>
                </a:cubicBezTo>
                <a:cubicBezTo>
                  <a:pt x="4432" y="588"/>
                  <a:pt x="4432" y="588"/>
                  <a:pt x="4432" y="588"/>
                </a:cubicBezTo>
                <a:cubicBezTo>
                  <a:pt x="4432" y="574"/>
                  <a:pt x="4432" y="574"/>
                  <a:pt x="4432" y="574"/>
                </a:cubicBezTo>
                <a:cubicBezTo>
                  <a:pt x="4380" y="572"/>
                  <a:pt x="4384" y="564"/>
                  <a:pt x="4384" y="462"/>
                </a:cubicBezTo>
                <a:cubicBezTo>
                  <a:pt x="4384" y="424"/>
                  <a:pt x="4384" y="424"/>
                  <a:pt x="4384" y="424"/>
                </a:cubicBezTo>
                <a:cubicBezTo>
                  <a:pt x="4404" y="444"/>
                  <a:pt x="4436" y="454"/>
                  <a:pt x="4466" y="454"/>
                </a:cubicBezTo>
                <a:cubicBezTo>
                  <a:pt x="4548" y="454"/>
                  <a:pt x="4600" y="392"/>
                  <a:pt x="4600" y="310"/>
                </a:cubicBezTo>
                <a:moveTo>
                  <a:pt x="4792" y="382"/>
                </a:moveTo>
                <a:cubicBezTo>
                  <a:pt x="4792" y="404"/>
                  <a:pt x="4762" y="424"/>
                  <a:pt x="4736" y="424"/>
                </a:cubicBezTo>
                <a:cubicBezTo>
                  <a:pt x="4712" y="424"/>
                  <a:pt x="4694" y="410"/>
                  <a:pt x="4694" y="378"/>
                </a:cubicBezTo>
                <a:cubicBezTo>
                  <a:pt x="4694" y="322"/>
                  <a:pt x="4752" y="328"/>
                  <a:pt x="4792" y="306"/>
                </a:cubicBezTo>
                <a:cubicBezTo>
                  <a:pt x="4792" y="382"/>
                  <a:pt x="4792" y="382"/>
                  <a:pt x="4792" y="382"/>
                </a:cubicBezTo>
                <a:close/>
                <a:moveTo>
                  <a:pt x="5240" y="434"/>
                </a:moveTo>
                <a:cubicBezTo>
                  <a:pt x="5192" y="432"/>
                  <a:pt x="5192" y="430"/>
                  <a:pt x="5192" y="340"/>
                </a:cubicBezTo>
                <a:cubicBezTo>
                  <a:pt x="5192" y="278"/>
                  <a:pt x="5192" y="278"/>
                  <a:pt x="5192" y="278"/>
                </a:cubicBezTo>
                <a:cubicBezTo>
                  <a:pt x="5192" y="196"/>
                  <a:pt x="5146" y="170"/>
                  <a:pt x="5104" y="170"/>
                </a:cubicBezTo>
                <a:cubicBezTo>
                  <a:pt x="5068" y="170"/>
                  <a:pt x="5032" y="186"/>
                  <a:pt x="5004" y="222"/>
                </a:cubicBezTo>
                <a:cubicBezTo>
                  <a:pt x="5004" y="174"/>
                  <a:pt x="5004" y="174"/>
                  <a:pt x="5004" y="174"/>
                </a:cubicBezTo>
                <a:cubicBezTo>
                  <a:pt x="4902" y="174"/>
                  <a:pt x="4902" y="174"/>
                  <a:pt x="4902" y="174"/>
                </a:cubicBezTo>
                <a:cubicBezTo>
                  <a:pt x="4902" y="186"/>
                  <a:pt x="4902" y="186"/>
                  <a:pt x="4902" y="186"/>
                </a:cubicBezTo>
                <a:cubicBezTo>
                  <a:pt x="4946" y="188"/>
                  <a:pt x="4952" y="190"/>
                  <a:pt x="4952" y="266"/>
                </a:cubicBezTo>
                <a:cubicBezTo>
                  <a:pt x="4952" y="334"/>
                  <a:pt x="4952" y="334"/>
                  <a:pt x="4952" y="334"/>
                </a:cubicBezTo>
                <a:cubicBezTo>
                  <a:pt x="4952" y="430"/>
                  <a:pt x="4952" y="432"/>
                  <a:pt x="4904" y="434"/>
                </a:cubicBezTo>
                <a:cubicBezTo>
                  <a:pt x="4892" y="434"/>
                  <a:pt x="4892" y="434"/>
                  <a:pt x="4892" y="434"/>
                </a:cubicBezTo>
                <a:cubicBezTo>
                  <a:pt x="4854" y="434"/>
                  <a:pt x="4850" y="422"/>
                  <a:pt x="4850" y="366"/>
                </a:cubicBezTo>
                <a:cubicBezTo>
                  <a:pt x="4850" y="274"/>
                  <a:pt x="4850" y="274"/>
                  <a:pt x="4850" y="274"/>
                </a:cubicBezTo>
                <a:cubicBezTo>
                  <a:pt x="4850" y="256"/>
                  <a:pt x="4848" y="240"/>
                  <a:pt x="4844" y="228"/>
                </a:cubicBezTo>
                <a:cubicBezTo>
                  <a:pt x="4830" y="186"/>
                  <a:pt x="4796" y="170"/>
                  <a:pt x="4748" y="170"/>
                </a:cubicBezTo>
                <a:cubicBezTo>
                  <a:pt x="4718" y="170"/>
                  <a:pt x="4674" y="180"/>
                  <a:pt x="4650" y="202"/>
                </a:cubicBezTo>
                <a:cubicBezTo>
                  <a:pt x="4652" y="214"/>
                  <a:pt x="4664" y="240"/>
                  <a:pt x="4670" y="248"/>
                </a:cubicBezTo>
                <a:cubicBezTo>
                  <a:pt x="4676" y="246"/>
                  <a:pt x="4676" y="246"/>
                  <a:pt x="4676" y="246"/>
                </a:cubicBezTo>
                <a:cubicBezTo>
                  <a:pt x="4688" y="216"/>
                  <a:pt x="4708" y="194"/>
                  <a:pt x="4742" y="194"/>
                </a:cubicBezTo>
                <a:cubicBezTo>
                  <a:pt x="4778" y="194"/>
                  <a:pt x="4794" y="220"/>
                  <a:pt x="4794" y="250"/>
                </a:cubicBezTo>
                <a:cubicBezTo>
                  <a:pt x="4794" y="282"/>
                  <a:pt x="4794" y="282"/>
                  <a:pt x="4794" y="282"/>
                </a:cubicBezTo>
                <a:cubicBezTo>
                  <a:pt x="4794" y="302"/>
                  <a:pt x="4702" y="306"/>
                  <a:pt x="4664" y="338"/>
                </a:cubicBezTo>
                <a:cubicBezTo>
                  <a:pt x="4652" y="350"/>
                  <a:pt x="4642" y="364"/>
                  <a:pt x="4642" y="384"/>
                </a:cubicBezTo>
                <a:cubicBezTo>
                  <a:pt x="4642" y="426"/>
                  <a:pt x="4672" y="456"/>
                  <a:pt x="4716" y="456"/>
                </a:cubicBezTo>
                <a:cubicBezTo>
                  <a:pt x="4744" y="456"/>
                  <a:pt x="4768" y="446"/>
                  <a:pt x="4794" y="418"/>
                </a:cubicBezTo>
                <a:cubicBezTo>
                  <a:pt x="4798" y="438"/>
                  <a:pt x="4814" y="448"/>
                  <a:pt x="4842" y="448"/>
                </a:cubicBezTo>
                <a:cubicBezTo>
                  <a:pt x="4906" y="448"/>
                  <a:pt x="4906" y="448"/>
                  <a:pt x="4906" y="448"/>
                </a:cubicBezTo>
                <a:cubicBezTo>
                  <a:pt x="4906" y="448"/>
                  <a:pt x="4906" y="448"/>
                  <a:pt x="4906" y="448"/>
                </a:cubicBezTo>
                <a:cubicBezTo>
                  <a:pt x="5048" y="448"/>
                  <a:pt x="5048" y="448"/>
                  <a:pt x="5048" y="448"/>
                </a:cubicBezTo>
                <a:cubicBezTo>
                  <a:pt x="5048" y="436"/>
                  <a:pt x="5048" y="436"/>
                  <a:pt x="5048" y="436"/>
                </a:cubicBezTo>
                <a:cubicBezTo>
                  <a:pt x="5006" y="432"/>
                  <a:pt x="5004" y="434"/>
                  <a:pt x="5004" y="338"/>
                </a:cubicBezTo>
                <a:cubicBezTo>
                  <a:pt x="5004" y="262"/>
                  <a:pt x="5004" y="262"/>
                  <a:pt x="5004" y="262"/>
                </a:cubicBezTo>
                <a:cubicBezTo>
                  <a:pt x="5004" y="236"/>
                  <a:pt x="5038" y="206"/>
                  <a:pt x="5080" y="206"/>
                </a:cubicBezTo>
                <a:cubicBezTo>
                  <a:pt x="5114" y="206"/>
                  <a:pt x="5140" y="220"/>
                  <a:pt x="5140" y="286"/>
                </a:cubicBezTo>
                <a:cubicBezTo>
                  <a:pt x="5140" y="340"/>
                  <a:pt x="5140" y="340"/>
                  <a:pt x="5140" y="340"/>
                </a:cubicBezTo>
                <a:cubicBezTo>
                  <a:pt x="5140" y="432"/>
                  <a:pt x="5136" y="432"/>
                  <a:pt x="5098" y="434"/>
                </a:cubicBezTo>
                <a:cubicBezTo>
                  <a:pt x="5098" y="446"/>
                  <a:pt x="5098" y="446"/>
                  <a:pt x="5098" y="446"/>
                </a:cubicBezTo>
                <a:cubicBezTo>
                  <a:pt x="5240" y="446"/>
                  <a:pt x="5240" y="446"/>
                  <a:pt x="5240" y="446"/>
                </a:cubicBezTo>
                <a:lnTo>
                  <a:pt x="5240" y="434"/>
                </a:lnTo>
                <a:close/>
                <a:moveTo>
                  <a:pt x="5516" y="192"/>
                </a:moveTo>
                <a:cubicBezTo>
                  <a:pt x="5516" y="180"/>
                  <a:pt x="5516" y="180"/>
                  <a:pt x="5516" y="180"/>
                </a:cubicBezTo>
                <a:cubicBezTo>
                  <a:pt x="5418" y="180"/>
                  <a:pt x="5418" y="180"/>
                  <a:pt x="5418" y="180"/>
                </a:cubicBezTo>
                <a:cubicBezTo>
                  <a:pt x="5418" y="192"/>
                  <a:pt x="5418" y="192"/>
                  <a:pt x="5418" y="192"/>
                </a:cubicBezTo>
                <a:cubicBezTo>
                  <a:pt x="5442" y="194"/>
                  <a:pt x="5454" y="206"/>
                  <a:pt x="5446" y="234"/>
                </a:cubicBezTo>
                <a:cubicBezTo>
                  <a:pt x="5394" y="390"/>
                  <a:pt x="5394" y="390"/>
                  <a:pt x="5394" y="390"/>
                </a:cubicBezTo>
                <a:cubicBezTo>
                  <a:pt x="5342" y="270"/>
                  <a:pt x="5342" y="270"/>
                  <a:pt x="5342" y="270"/>
                </a:cubicBezTo>
                <a:cubicBezTo>
                  <a:pt x="5328" y="238"/>
                  <a:pt x="5322" y="224"/>
                  <a:pt x="5322" y="212"/>
                </a:cubicBezTo>
                <a:cubicBezTo>
                  <a:pt x="5322" y="202"/>
                  <a:pt x="5328" y="196"/>
                  <a:pt x="5348" y="192"/>
                </a:cubicBezTo>
                <a:cubicBezTo>
                  <a:pt x="5348" y="180"/>
                  <a:pt x="5348" y="180"/>
                  <a:pt x="5348" y="180"/>
                </a:cubicBezTo>
                <a:cubicBezTo>
                  <a:pt x="5220" y="180"/>
                  <a:pt x="5220" y="180"/>
                  <a:pt x="5220" y="180"/>
                </a:cubicBezTo>
                <a:cubicBezTo>
                  <a:pt x="5220" y="192"/>
                  <a:pt x="5220" y="192"/>
                  <a:pt x="5220" y="192"/>
                </a:cubicBezTo>
                <a:cubicBezTo>
                  <a:pt x="5252" y="194"/>
                  <a:pt x="5254" y="198"/>
                  <a:pt x="5296" y="292"/>
                </a:cubicBezTo>
                <a:cubicBezTo>
                  <a:pt x="5368" y="450"/>
                  <a:pt x="5368" y="450"/>
                  <a:pt x="5368" y="450"/>
                </a:cubicBezTo>
                <a:cubicBezTo>
                  <a:pt x="5344" y="512"/>
                  <a:pt x="5306" y="546"/>
                  <a:pt x="5228" y="564"/>
                </a:cubicBezTo>
                <a:cubicBezTo>
                  <a:pt x="5232" y="576"/>
                  <a:pt x="5246" y="600"/>
                  <a:pt x="5254" y="606"/>
                </a:cubicBezTo>
                <a:cubicBezTo>
                  <a:pt x="5356" y="564"/>
                  <a:pt x="5376" y="498"/>
                  <a:pt x="5412" y="396"/>
                </a:cubicBezTo>
                <a:cubicBezTo>
                  <a:pt x="5466" y="242"/>
                  <a:pt x="5466" y="242"/>
                  <a:pt x="5466" y="242"/>
                </a:cubicBezTo>
                <a:cubicBezTo>
                  <a:pt x="5478" y="206"/>
                  <a:pt x="5498" y="192"/>
                  <a:pt x="5516" y="192"/>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600" kern="1200">
                <a:solidFill>
                  <a:schemeClr val="tx1"/>
                </a:solidFill>
                <a:latin typeface="Arial" charset="0"/>
                <a:ea typeface="+mn-ea"/>
                <a:cs typeface="+mn-cs"/>
              </a:defRPr>
            </a:lvl1pPr>
            <a:lvl2pPr marL="457200" algn="l" rtl="0" fontAlgn="base">
              <a:spcBef>
                <a:spcPct val="0"/>
              </a:spcBef>
              <a:spcAft>
                <a:spcPct val="0"/>
              </a:spcAft>
              <a:defRPr sz="1600" kern="1200">
                <a:solidFill>
                  <a:schemeClr val="tx1"/>
                </a:solidFill>
                <a:latin typeface="Arial" charset="0"/>
                <a:ea typeface="+mn-ea"/>
                <a:cs typeface="+mn-cs"/>
              </a:defRPr>
            </a:lvl2pPr>
            <a:lvl3pPr marL="914400" algn="l" rtl="0" fontAlgn="base">
              <a:spcBef>
                <a:spcPct val="0"/>
              </a:spcBef>
              <a:spcAft>
                <a:spcPct val="0"/>
              </a:spcAft>
              <a:defRPr sz="1600" kern="1200">
                <a:solidFill>
                  <a:schemeClr val="tx1"/>
                </a:solidFill>
                <a:latin typeface="Arial" charset="0"/>
                <a:ea typeface="+mn-ea"/>
                <a:cs typeface="+mn-cs"/>
              </a:defRPr>
            </a:lvl3pPr>
            <a:lvl4pPr marL="1371600" algn="l" rtl="0" fontAlgn="base">
              <a:spcBef>
                <a:spcPct val="0"/>
              </a:spcBef>
              <a:spcAft>
                <a:spcPct val="0"/>
              </a:spcAft>
              <a:defRPr sz="1600" kern="1200">
                <a:solidFill>
                  <a:schemeClr val="tx1"/>
                </a:solidFill>
                <a:latin typeface="Arial" charset="0"/>
                <a:ea typeface="+mn-ea"/>
                <a:cs typeface="+mn-cs"/>
              </a:defRPr>
            </a:lvl4pPr>
            <a:lvl5pPr marL="1828800" algn="l" rtl="0" fontAlgn="base">
              <a:spcBef>
                <a:spcPct val="0"/>
              </a:spcBef>
              <a:spcAft>
                <a:spcPct val="0"/>
              </a:spcAft>
              <a:defRPr sz="1600" kern="1200">
                <a:solidFill>
                  <a:schemeClr val="tx1"/>
                </a:solidFill>
                <a:latin typeface="Arial" charset="0"/>
                <a:ea typeface="+mn-ea"/>
                <a:cs typeface="+mn-cs"/>
              </a:defRPr>
            </a:lvl5pPr>
            <a:lvl6pPr marL="2286000" algn="l" defTabSz="914400" rtl="0" eaLnBrk="1" latinLnBrk="0" hangingPunct="1">
              <a:defRPr sz="1600" kern="1200">
                <a:solidFill>
                  <a:schemeClr val="tx1"/>
                </a:solidFill>
                <a:latin typeface="Arial" charset="0"/>
                <a:ea typeface="+mn-ea"/>
                <a:cs typeface="+mn-cs"/>
              </a:defRPr>
            </a:lvl6pPr>
            <a:lvl7pPr marL="2743200" algn="l" defTabSz="914400" rtl="0" eaLnBrk="1" latinLnBrk="0" hangingPunct="1">
              <a:defRPr sz="1600" kern="1200">
                <a:solidFill>
                  <a:schemeClr val="tx1"/>
                </a:solidFill>
                <a:latin typeface="Arial" charset="0"/>
                <a:ea typeface="+mn-ea"/>
                <a:cs typeface="+mn-cs"/>
              </a:defRPr>
            </a:lvl7pPr>
            <a:lvl8pPr marL="3200400" algn="l" defTabSz="914400" rtl="0" eaLnBrk="1" latinLnBrk="0" hangingPunct="1">
              <a:defRPr sz="1600" kern="1200">
                <a:solidFill>
                  <a:schemeClr val="tx1"/>
                </a:solidFill>
                <a:latin typeface="Arial" charset="0"/>
                <a:ea typeface="+mn-ea"/>
                <a:cs typeface="+mn-cs"/>
              </a:defRPr>
            </a:lvl8pPr>
            <a:lvl9pPr marL="3657600" algn="l" defTabSz="914400" rtl="0" eaLnBrk="1" latinLnBrk="0" hangingPunct="1">
              <a:defRPr sz="1600" kern="1200">
                <a:solidFill>
                  <a:schemeClr val="tx1"/>
                </a:solidFill>
                <a:latin typeface="Arial" charset="0"/>
                <a:ea typeface="+mn-ea"/>
                <a:cs typeface="+mn-cs"/>
              </a:defRPr>
            </a:lvl9pPr>
          </a:lstStyle>
          <a:p>
            <a:endParaRPr lang="en-US" baseline="0" dirty="0">
              <a:solidFill>
                <a:srgbClr val="000000"/>
              </a:solidFill>
              <a:latin typeface="+mn-lt"/>
            </a:endParaRPr>
          </a:p>
        </p:txBody>
      </p:sp>
      <p:sp>
        <p:nvSpPr>
          <p:cNvPr id="27" name="Disclaimer-English (United States)" hidden="1"/>
          <p:cNvSpPr>
            <a:spLocks noChangeArrowheads="1"/>
          </p:cNvSpPr>
          <p:nvPr/>
        </p:nvSpPr>
        <p:spPr bwMode="black">
          <a:xfrm>
            <a:off x="2268266" y="6287785"/>
            <a:ext cx="3544453" cy="36908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t" anchorCtr="0">
            <a:noAutofit/>
          </a:bodyPr>
          <a:lstStyle/>
          <a:p>
            <a:pPr defTabSz="804863" eaLnBrk="0" hangingPunct="0"/>
            <a:r>
              <a:rPr lang="en-US" sz="800" baseline="0" dirty="0">
                <a:solidFill>
                  <a:srgbClr val="FFFFFF"/>
                </a:solidFill>
                <a:latin typeface="+mn-lt"/>
              </a:rPr>
              <a:t>CONFIDENTIAL AND PROPRIETARY</a:t>
            </a:r>
          </a:p>
          <a:p>
            <a:pPr defTabSz="804863" eaLnBrk="0" hangingPunct="0"/>
            <a:r>
              <a:rPr lang="en-US" sz="800" baseline="0" dirty="0">
                <a:solidFill>
                  <a:srgbClr val="FFFFFF"/>
                </a:solidFill>
                <a:latin typeface="+mn-lt"/>
              </a:rPr>
              <a:t>Any use of this material without specific permission of McKinsey &amp; Company is strictly prohibited</a:t>
            </a:r>
          </a:p>
        </p:txBody>
      </p:sp>
    </p:spTree>
    <p:extLst>
      <p:ext uri="{BB962C8B-B14F-4D97-AF65-F5344CB8AC3E}">
        <p14:creationId xmlns:p14="http://schemas.microsoft.com/office/powerpoint/2010/main" val="3215626485"/>
      </p:ext>
    </p:extLst>
  </p:cSld>
  <p:clrMapOvr>
    <a:masterClrMapping/>
  </p:clrMapOvr>
  <p:extLst mod="1">
    <p:ext uri="{DCECCB84-F9BA-43D5-87BE-67443E8EF086}">
      <p15:sldGuideLst xmlns:p15="http://schemas.microsoft.com/office/powerpoint/2012/main">
        <p15:guide id="1" orient="horz" pos="2117">
          <p15:clr>
            <a:srgbClr val="FBAE40"/>
          </p15:clr>
        </p15:guide>
        <p15:guide id="2" pos="1416">
          <p15:clr>
            <a:srgbClr val="FBAE40"/>
          </p15:clr>
        </p15:guide>
      </p15:sldGuideLst>
    </p:ext>
  </p:extLst>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p:cSld name="1_Title Only">
    <p:bg>
      <p:bgPr>
        <a:solidFill>
          <a:schemeClr val="accent2"/>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F4AD34F-3B47-47E2-A09C-FFEB949F6A10}"/>
              </a:ext>
            </a:extLst>
          </p:cNvPr>
          <p:cNvGraphicFramePr>
            <a:graphicFrameLocks noChangeAspect="1"/>
          </p:cNvGraphicFramePr>
          <p:nvPr>
            <p:custDataLst>
              <p:tags r:id="rId2"/>
            </p:custDataLst>
            <p:extLst>
              <p:ext uri="{D42A27DB-BD31-4B8C-83A1-F6EECF244321}">
                <p14:modId xmlns:p14="http://schemas.microsoft.com/office/powerpoint/2010/main" val="131884382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8132" name="think-cell Slide" r:id="rId5" imgW="395" imgH="394" progId="TCLayout.ActiveDocument.1">
                  <p:embed/>
                </p:oleObj>
              </mc:Choice>
              <mc:Fallback>
                <p:oleObj name="think-cell Slide" r:id="rId5" imgW="395" imgH="394" progId="TCLayout.ActiveDocument.1">
                  <p:embed/>
                  <p:pic>
                    <p:nvPicPr>
                      <p:cNvPr id="3" name="Object 2" hidden="1">
                        <a:extLst>
                          <a:ext uri="{FF2B5EF4-FFF2-40B4-BE49-F238E27FC236}">
                            <a16:creationId xmlns:a16="http://schemas.microsoft.com/office/drawing/2014/main" id="{EF4AD34F-3B47-47E2-A09C-FFEB949F6A10}"/>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endParaRPr lang="en-US" dirty="0"/>
          </a:p>
        </p:txBody>
      </p:sp>
      <p:sp>
        <p:nvSpPr>
          <p:cNvPr id="15" name="Slide Number"/>
          <p:cNvSpPr txBox="1">
            <a:spLocks/>
          </p:cNvSpPr>
          <p:nvPr/>
        </p:nvSpPr>
        <p:spPr>
          <a:xfrm>
            <a:off x="8564563" y="6508272"/>
            <a:ext cx="125034" cy="123111"/>
          </a:xfrm>
          <a:prstGeom prst="rect">
            <a:avLst/>
          </a:prstGeom>
        </p:spPr>
        <p:txBody>
          <a:bodyPr vert="horz" wrap="none" lIns="0" tIns="0" rIns="0" bIns="0" rtlCol="0" anchor="ctr">
            <a:spAutoFit/>
          </a:bodyPr>
          <a:lstStyle>
            <a:defPPr>
              <a:defRPr lang="en-US"/>
            </a:defPPr>
            <a:lvl1pPr>
              <a:defRPr sz="1000" baseline="0">
                <a:latin typeface="+mn-lt"/>
              </a:defRPr>
            </a:lvl1pPr>
          </a:lstStyle>
          <a:p>
            <a:fld id="{42C328C1-A84F-4A39-A664-DBA00541A8C6}" type="slidenum">
              <a:rPr lang="en-US" sz="800" baseline="0" smtClean="0">
                <a:solidFill>
                  <a:srgbClr val="FFFFFF"/>
                </a:solidFill>
                <a:latin typeface="+mn-lt"/>
              </a:rPr>
              <a:pPr/>
              <a:t>‹#›</a:t>
            </a:fld>
            <a:endParaRPr lang="en-US" sz="800" baseline="0" dirty="0">
              <a:solidFill>
                <a:srgbClr val="FFFFFF"/>
              </a:solidFill>
              <a:latin typeface="+mn-lt"/>
            </a:endParaRPr>
          </a:p>
        </p:txBody>
      </p:sp>
      <p:sp>
        <p:nvSpPr>
          <p:cNvPr id="16" name="SlideLogoText"/>
          <p:cNvSpPr>
            <a:spLocks noChangeArrowheads="1"/>
          </p:cNvSpPr>
          <p:nvPr>
            <p:custDataLst>
              <p:tags r:id="rId3"/>
            </p:custDataLst>
          </p:nvPr>
        </p:nvSpPr>
        <p:spPr bwMode="auto">
          <a:xfrm>
            <a:off x="7450817" y="6508272"/>
            <a:ext cx="1013098"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algn="r" defTabSz="895350"/>
            <a:r>
              <a:rPr lang="en-US" sz="800" baseline="0" dirty="0">
                <a:solidFill>
                  <a:srgbClr val="FFFFFF"/>
                </a:solidFill>
                <a:latin typeface="+mn-lt"/>
              </a:rPr>
              <a:t>McKinsey &amp; Company</a:t>
            </a:r>
          </a:p>
        </p:txBody>
      </p:sp>
      <p:sp>
        <p:nvSpPr>
          <p:cNvPr id="5" name="doc id" hidden="1"/>
          <p:cNvSpPr txBox="1">
            <a:spLocks noChangeArrowheads="1"/>
          </p:cNvSpPr>
          <p:nvPr/>
        </p:nvSpPr>
        <p:spPr bwMode="white">
          <a:xfrm>
            <a:off x="8104473" y="36513"/>
            <a:ext cx="634716" cy="115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hangingPunct="1">
              <a:defRPr/>
            </a:pPr>
            <a:endParaRPr lang="en-US" sz="800" baseline="0" dirty="0">
              <a:solidFill>
                <a:schemeClr val="accent1"/>
              </a:solidFill>
              <a:latin typeface="+mn-lt"/>
              <a:ea typeface="+mn-ea"/>
            </a:endParaRPr>
          </a:p>
        </p:txBody>
      </p:sp>
    </p:spTree>
    <p:extLst>
      <p:ext uri="{BB962C8B-B14F-4D97-AF65-F5344CB8AC3E}">
        <p14:creationId xmlns:p14="http://schemas.microsoft.com/office/powerpoint/2010/main" val="3579791254"/>
      </p:ext>
    </p:extLst>
  </p:cSld>
  <p:clrMapOvr>
    <a:masterClrMapping/>
  </p:clrMapOvr>
  <p:extLst mod="1">
    <p:ext uri="{DCECCB84-F9BA-43D5-87BE-67443E8EF086}">
      <p15:sldGuideLst xmlns:p15="http://schemas.microsoft.com/office/powerpoint/2012/main">
        <p15:guide id="1" pos="3978">
          <p15:clr>
            <a:srgbClr val="000000"/>
          </p15:clr>
        </p15:guide>
        <p15:guide id="2" orient="horz" pos="570">
          <p15:clr>
            <a:srgbClr val="000000"/>
          </p15:clr>
        </p15:guide>
        <p15:guide id="3" orient="horz" pos="3912">
          <p15:clr>
            <a:srgbClr val="000000"/>
          </p15:clr>
        </p15:guide>
        <p15:guide id="4" pos="72">
          <p15:clr>
            <a:srgbClr val="000000"/>
          </p15:clr>
        </p15:guide>
      </p15:sldGuideLst>
    </p:ext>
  </p:extLst>
</p:sldLayout>
</file>

<file path=ppt/slideLayouts/slideLayout171.xml><?xml version="1.0" encoding="utf-8"?>
<p:sldLayout xmlns:a="http://schemas.openxmlformats.org/drawingml/2006/main" xmlns:r="http://schemas.openxmlformats.org/officeDocument/2006/relationships" xmlns:p="http://schemas.openxmlformats.org/presentationml/2006/main" type="titleOnly">
  <p:cSld name="2_Title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ECD524A-1569-4253-8CD8-48D288AD883C}"/>
              </a:ext>
            </a:extLst>
          </p:cNvPr>
          <p:cNvGraphicFramePr>
            <a:graphicFrameLocks noChangeAspect="1"/>
          </p:cNvGraphicFramePr>
          <p:nvPr>
            <p:custDataLst>
              <p:tags r:id="rId2"/>
            </p:custDataLst>
            <p:extLst>
              <p:ext uri="{D42A27DB-BD31-4B8C-83A1-F6EECF244321}">
                <p14:modId xmlns:p14="http://schemas.microsoft.com/office/powerpoint/2010/main" val="349188226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9156" name="think-cell Slide" r:id="rId4" imgW="395" imgH="394" progId="TCLayout.ActiveDocument.1">
                  <p:embed/>
                </p:oleObj>
              </mc:Choice>
              <mc:Fallback>
                <p:oleObj name="think-cell Slide" r:id="rId4" imgW="395" imgH="394" progId="TCLayout.ActiveDocument.1">
                  <p:embed/>
                  <p:pic>
                    <p:nvPicPr>
                      <p:cNvPr id="3" name="Object 2" hidden="1">
                        <a:extLst>
                          <a:ext uri="{FF2B5EF4-FFF2-40B4-BE49-F238E27FC236}">
                            <a16:creationId xmlns:a16="http://schemas.microsoft.com/office/drawing/2014/main" id="{5ECD524A-1569-4253-8CD8-48D288AD883C}"/>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3940288"/>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pic>
        <p:nvPicPr>
          <p:cNvPr id="2" name="background"/>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0" y="198"/>
            <a:ext cx="8961438" cy="6721079"/>
          </a:xfrm>
          <a:prstGeom prst="rect">
            <a:avLst/>
          </a:prstGeom>
        </p:spPr>
      </p:pic>
      <p:sp>
        <p:nvSpPr>
          <p:cNvPr id="28" name="TitleRectangle"/>
          <p:cNvSpPr txBox="1">
            <a:spLocks/>
          </p:cNvSpPr>
          <p:nvPr/>
        </p:nvSpPr>
        <p:spPr>
          <a:xfrm>
            <a:off x="2084388" y="0"/>
            <a:ext cx="6875462" cy="3575976"/>
          </a:xfrm>
          <a:prstGeom prst="rect">
            <a:avLst/>
          </a:prstGeom>
          <a:solidFill>
            <a:srgbClr val="002960">
              <a:alpha val="92000"/>
            </a:srgbClr>
          </a:solidFill>
        </p:spPr>
        <p:txBody>
          <a:bodyPr vert="horz" wrap="square" lIns="216000" tIns="1440000" rIns="216000" bIns="108000" rtlCol="0">
            <a:noAutofit/>
          </a:bodyPr>
          <a:lstStyle>
            <a:lvl1pPr marL="0" indent="0" algn="l" defTabSz="914400" rtl="0" eaLnBrk="1" latinLnBrk="0" hangingPunct="1">
              <a:spcBef>
                <a:spcPct val="20000"/>
              </a:spcBef>
              <a:spcAft>
                <a:spcPts val="6000"/>
              </a:spcAft>
              <a:buFont typeface="Arial" pitchFamily="34" charset="0"/>
              <a:buNone/>
              <a:defRPr sz="3200" kern="1200">
                <a:solidFill>
                  <a:schemeClr val="accent1"/>
                </a:solidFill>
                <a:latin typeface="+mn-lt"/>
                <a:ea typeface="+mn-ea"/>
                <a:cs typeface="+mn-cs"/>
              </a:defRPr>
            </a:lvl1pPr>
            <a:lvl2pPr marL="0" indent="0" algn="l" defTabSz="914400" rtl="0" eaLnBrk="1" latinLnBrk="0" hangingPunct="1">
              <a:spcBef>
                <a:spcPct val="20000"/>
              </a:spcBef>
              <a:buFont typeface="Wingdings" charset="2"/>
              <a:buNone/>
              <a:defRPr sz="1400" kern="1200">
                <a:solidFill>
                  <a:schemeClr val="tx1">
                    <a:lumMod val="50000"/>
                    <a:lumOff val="50000"/>
                  </a:schemeClr>
                </a:solidFill>
                <a:latin typeface="+mn-lt"/>
                <a:ea typeface="+mn-ea"/>
                <a:cs typeface="+mn-cs"/>
              </a:defRPr>
            </a:lvl2pPr>
            <a:lvl3pPr marL="1143000" indent="-228600" algn="l" defTabSz="914400" rtl="0" eaLnBrk="1" latinLnBrk="0" hangingPunct="1">
              <a:spcBef>
                <a:spcPct val="20000"/>
              </a:spcBef>
              <a:buFont typeface="Lucida Grande"/>
              <a:buChar char="–"/>
              <a:defRPr sz="16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fontAlgn="auto">
              <a:defRPr/>
            </a:pPr>
            <a:r>
              <a:rPr lang="en-US" baseline="0" dirty="0">
                <a:solidFill>
                  <a:srgbClr val="00ADEF"/>
                </a:solidFill>
                <a:latin typeface="+mn-lt"/>
              </a:rPr>
              <a:t>
              </a:t>
            </a:r>
            <a:br>
              <a:rPr lang="en-US" baseline="0" dirty="0">
                <a:solidFill>
                  <a:srgbClr val="00ADEF"/>
                </a:solidFill>
                <a:latin typeface="+mn-lt"/>
              </a:rPr>
            </a:br>
            <a:endParaRPr lang="en-US" baseline="0" dirty="0">
              <a:solidFill>
                <a:srgbClr val="00ADEF"/>
              </a:solidFill>
              <a:latin typeface="+mn-lt"/>
            </a:endParaRPr>
          </a:p>
        </p:txBody>
      </p:sp>
      <p:graphicFrame>
        <p:nvGraphicFramePr>
          <p:cNvPr id="3" name="Object 2"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1204"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Working Draft Text" hidden="1"/>
          <p:cNvSpPr txBox="1">
            <a:spLocks noChangeArrowheads="1"/>
          </p:cNvSpPr>
          <p:nvPr/>
        </p:nvSpPr>
        <p:spPr bwMode="black">
          <a:xfrm>
            <a:off x="5992719" y="6287538"/>
            <a:ext cx="2790000"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800" b="1" baseline="0" dirty="0">
                <a:solidFill>
                  <a:srgbClr val="FFFFFF"/>
                </a:solidFill>
                <a:latin typeface="+mn-lt"/>
              </a:rPr>
              <a:t>WORKING DRAFT</a:t>
            </a:r>
          </a:p>
        </p:txBody>
      </p:sp>
      <p:sp>
        <p:nvSpPr>
          <p:cNvPr id="6" name="Working Draft" hidden="1"/>
          <p:cNvSpPr txBox="1">
            <a:spLocks noChangeArrowheads="1"/>
          </p:cNvSpPr>
          <p:nvPr/>
        </p:nvSpPr>
        <p:spPr bwMode="black">
          <a:xfrm>
            <a:off x="5992718" y="6410648"/>
            <a:ext cx="2968719"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800" baseline="0">
                <a:solidFill>
                  <a:srgbClr val="FFFFFF"/>
                </a:solidFill>
                <a:latin typeface="+mn-lt"/>
              </a:rPr>
              <a:t>Last Modified 21/05/2018 17:44 India Standard Time</a:t>
            </a:r>
            <a:endParaRPr lang="en-US" sz="800" baseline="0" dirty="0">
              <a:solidFill>
                <a:srgbClr val="FFFFFF"/>
              </a:solidFill>
              <a:latin typeface="+mn-lt"/>
            </a:endParaRPr>
          </a:p>
        </p:txBody>
      </p:sp>
      <p:sp>
        <p:nvSpPr>
          <p:cNvPr id="7" name="Printed" hidden="1"/>
          <p:cNvSpPr txBox="1">
            <a:spLocks noChangeArrowheads="1"/>
          </p:cNvSpPr>
          <p:nvPr/>
        </p:nvSpPr>
        <p:spPr bwMode="black">
          <a:xfrm>
            <a:off x="5992719" y="6533759"/>
            <a:ext cx="2790000"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800" baseline="0" dirty="0">
                <a:solidFill>
                  <a:srgbClr val="FFFFFF"/>
                </a:solidFill>
                <a:latin typeface="+mn-lt"/>
              </a:rPr>
              <a:t>Printed</a:t>
            </a:r>
          </a:p>
        </p:txBody>
      </p:sp>
      <p:sp>
        <p:nvSpPr>
          <p:cNvPr id="13314" name="Title"/>
          <p:cNvSpPr>
            <a:spLocks noGrp="1" noChangeArrowheads="1"/>
          </p:cNvSpPr>
          <p:nvPr>
            <p:ph type="ctrTitle"/>
          </p:nvPr>
        </p:nvSpPr>
        <p:spPr>
          <a:xfrm>
            <a:off x="2268266" y="1434419"/>
            <a:ext cx="6231663" cy="492443"/>
          </a:xfrm>
          <a:prstGeom prst="rect">
            <a:avLst/>
          </a:prstGeom>
        </p:spPr>
        <p:txBody>
          <a:bodyPr>
            <a:spAutoFit/>
          </a:bodyPr>
          <a:lstStyle>
            <a:lvl1pPr>
              <a:defRPr sz="3200" b="0" baseline="0">
                <a:solidFill>
                  <a:schemeClr val="accent2"/>
                </a:solidFill>
                <a:latin typeface="+mj-lt"/>
                <a:ea typeface="+mj-ea"/>
              </a:defRPr>
            </a:lvl1pPr>
          </a:lstStyle>
          <a:p>
            <a:pPr lvl="0" latinLnBrk="0"/>
            <a:r>
              <a:rPr lang="en-US" noProof="0"/>
              <a:t>Click to edit Master title style</a:t>
            </a:r>
            <a:endParaRPr lang="en-US" noProof="0" dirty="0"/>
          </a:p>
        </p:txBody>
      </p:sp>
      <p:sp>
        <p:nvSpPr>
          <p:cNvPr id="13315" name="Subtitle"/>
          <p:cNvSpPr>
            <a:spLocks noGrp="1" noChangeArrowheads="1"/>
          </p:cNvSpPr>
          <p:nvPr>
            <p:ph type="subTitle" idx="1"/>
          </p:nvPr>
        </p:nvSpPr>
        <p:spPr>
          <a:xfrm>
            <a:off x="2268266" y="2819401"/>
            <a:ext cx="6231663" cy="215444"/>
          </a:xfrm>
          <a:prstGeom prst="rect">
            <a:avLst/>
          </a:prstGeom>
        </p:spPr>
        <p:txBody>
          <a:bodyPr wrap="square">
            <a:spAutoFit/>
          </a:bodyPr>
          <a:lstStyle>
            <a:lvl1pPr>
              <a:defRPr sz="1400" cap="all" baseline="0">
                <a:solidFill>
                  <a:schemeClr val="bg1"/>
                </a:solidFill>
                <a:latin typeface="+mn-lt"/>
                <a:ea typeface="+mn-ea"/>
              </a:defRPr>
            </a:lvl1pPr>
          </a:lstStyle>
          <a:p>
            <a:pPr lvl="0" latinLnBrk="0"/>
            <a:r>
              <a:rPr lang="en-US" noProof="0"/>
              <a:t>Click to edit Master subtitle style</a:t>
            </a:r>
            <a:endParaRPr lang="en-US" noProof="0" dirty="0"/>
          </a:p>
        </p:txBody>
      </p:sp>
      <p:sp>
        <p:nvSpPr>
          <p:cNvPr id="57" name="Document type" hidden="1"/>
          <p:cNvSpPr txBox="1">
            <a:spLocks noChangeArrowheads="1"/>
          </p:cNvSpPr>
          <p:nvPr/>
        </p:nvSpPr>
        <p:spPr bwMode="gray">
          <a:xfrm>
            <a:off x="2268266" y="3227411"/>
            <a:ext cx="6231663"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00" baseline="0" dirty="0">
                <a:solidFill>
                  <a:schemeClr val="bg1"/>
                </a:solidFill>
                <a:latin typeface="+mn-lt"/>
              </a:rPr>
              <a:t>Document type | Date</a:t>
            </a:r>
          </a:p>
        </p:txBody>
      </p:sp>
      <p:sp>
        <p:nvSpPr>
          <p:cNvPr id="5" name="doc id" hidden="1"/>
          <p:cNvSpPr txBox="1">
            <a:spLocks noChangeArrowheads="1"/>
          </p:cNvSpPr>
          <p:nvPr/>
        </p:nvSpPr>
        <p:spPr bwMode="white">
          <a:xfrm>
            <a:off x="8443913" y="36513"/>
            <a:ext cx="295275" cy="1222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hangingPunct="1">
              <a:defRPr/>
            </a:pPr>
            <a:endParaRPr lang="en-US" sz="800" baseline="0" dirty="0">
              <a:solidFill>
                <a:srgbClr val="FFFFFF"/>
              </a:solidFill>
              <a:latin typeface="+mn-lt"/>
            </a:endParaRPr>
          </a:p>
        </p:txBody>
      </p:sp>
      <p:sp>
        <p:nvSpPr>
          <p:cNvPr id="43" name="LogoImage"/>
          <p:cNvSpPr>
            <a:spLocks noEditPoints="1"/>
          </p:cNvSpPr>
          <p:nvPr/>
        </p:nvSpPr>
        <p:spPr bwMode="white">
          <a:xfrm>
            <a:off x="2269098" y="182925"/>
            <a:ext cx="2176978" cy="238073"/>
          </a:xfrm>
          <a:custGeom>
            <a:avLst/>
            <a:gdLst>
              <a:gd name="T0" fmla="*/ 504 w 5516"/>
              <a:gd name="T1" fmla="*/ 26 h 606"/>
              <a:gd name="T2" fmla="*/ 18 w 5516"/>
              <a:gd name="T3" fmla="*/ 22 h 606"/>
              <a:gd name="T4" fmla="*/ 140 w 5516"/>
              <a:gd name="T5" fmla="*/ 436 h 606"/>
              <a:gd name="T6" fmla="*/ 408 w 5516"/>
              <a:gd name="T7" fmla="*/ 372 h 606"/>
              <a:gd name="T8" fmla="*/ 696 w 5516"/>
              <a:gd name="T9" fmla="*/ 422 h 606"/>
              <a:gd name="T10" fmla="*/ 768 w 5516"/>
              <a:gd name="T11" fmla="*/ 196 h 606"/>
              <a:gd name="T12" fmla="*/ 1272 w 5516"/>
              <a:gd name="T13" fmla="*/ 26 h 606"/>
              <a:gd name="T14" fmla="*/ 1302 w 5516"/>
              <a:gd name="T15" fmla="*/ 338 h 606"/>
              <a:gd name="T16" fmla="*/ 1202 w 5516"/>
              <a:gd name="T17" fmla="*/ 436 h 606"/>
              <a:gd name="T18" fmla="*/ 1030 w 5516"/>
              <a:gd name="T19" fmla="*/ 10 h 606"/>
              <a:gd name="T20" fmla="*/ 960 w 5516"/>
              <a:gd name="T21" fmla="*/ 22 h 606"/>
              <a:gd name="T22" fmla="*/ 804 w 5516"/>
              <a:gd name="T23" fmla="*/ 434 h 606"/>
              <a:gd name="T24" fmla="*/ 930 w 5516"/>
              <a:gd name="T25" fmla="*/ 246 h 606"/>
              <a:gd name="T26" fmla="*/ 1658 w 5516"/>
              <a:gd name="T27" fmla="*/ 342 h 606"/>
              <a:gd name="T28" fmla="*/ 1368 w 5516"/>
              <a:gd name="T29" fmla="*/ 188 h 606"/>
              <a:gd name="T30" fmla="*/ 1514 w 5516"/>
              <a:gd name="T31" fmla="*/ 436 h 606"/>
              <a:gd name="T32" fmla="*/ 1564 w 5516"/>
              <a:gd name="T33" fmla="*/ 434 h 606"/>
              <a:gd name="T34" fmla="*/ 1904 w 5516"/>
              <a:gd name="T35" fmla="*/ 184 h 606"/>
              <a:gd name="T36" fmla="*/ 1728 w 5516"/>
              <a:gd name="T37" fmla="*/ 366 h 606"/>
              <a:gd name="T38" fmla="*/ 2102 w 5516"/>
              <a:gd name="T39" fmla="*/ 192 h 606"/>
              <a:gd name="T40" fmla="*/ 1982 w 5516"/>
              <a:gd name="T41" fmla="*/ 320 h 606"/>
              <a:gd name="T42" fmla="*/ 2478 w 5516"/>
              <a:gd name="T43" fmla="*/ 242 h 606"/>
              <a:gd name="T44" fmla="*/ 2406 w 5516"/>
              <a:gd name="T45" fmla="*/ 390 h 606"/>
              <a:gd name="T46" fmla="*/ 2234 w 5516"/>
              <a:gd name="T47" fmla="*/ 192 h 606"/>
              <a:gd name="T48" fmla="*/ 2478 w 5516"/>
              <a:gd name="T49" fmla="*/ 242 h 606"/>
              <a:gd name="T50" fmla="*/ 2928 w 5516"/>
              <a:gd name="T51" fmla="*/ 448 h 606"/>
              <a:gd name="T52" fmla="*/ 2958 w 5516"/>
              <a:gd name="T53" fmla="*/ 230 h 606"/>
              <a:gd name="T54" fmla="*/ 2716 w 5516"/>
              <a:gd name="T55" fmla="*/ 54 h 606"/>
              <a:gd name="T56" fmla="*/ 2714 w 5516"/>
              <a:gd name="T57" fmla="*/ 36 h 606"/>
              <a:gd name="T58" fmla="*/ 2928 w 5516"/>
              <a:gd name="T59" fmla="*/ 448 h 606"/>
              <a:gd name="T60" fmla="*/ 3388 w 5516"/>
              <a:gd name="T61" fmla="*/ 4 h 606"/>
              <a:gd name="T62" fmla="*/ 3396 w 5516"/>
              <a:gd name="T63" fmla="*/ 366 h 606"/>
              <a:gd name="T64" fmla="*/ 3580 w 5516"/>
              <a:gd name="T65" fmla="*/ 190 h 606"/>
              <a:gd name="T66" fmla="*/ 3502 w 5516"/>
              <a:gd name="T67" fmla="*/ 432 h 606"/>
              <a:gd name="T68" fmla="*/ 4232 w 5516"/>
              <a:gd name="T69" fmla="*/ 348 h 606"/>
              <a:gd name="T70" fmla="*/ 3858 w 5516"/>
              <a:gd name="T71" fmla="*/ 176 h 606"/>
              <a:gd name="T72" fmla="*/ 3758 w 5516"/>
              <a:gd name="T73" fmla="*/ 446 h 606"/>
              <a:gd name="T74" fmla="*/ 3990 w 5516"/>
              <a:gd name="T75" fmla="*/ 282 h 606"/>
              <a:gd name="T76" fmla="*/ 4042 w 5516"/>
              <a:gd name="T77" fmla="*/ 342 h 606"/>
              <a:gd name="T78" fmla="*/ 4134 w 5516"/>
              <a:gd name="T79" fmla="*/ 448 h 606"/>
              <a:gd name="T80" fmla="*/ 4454 w 5516"/>
              <a:gd name="T81" fmla="*/ 202 h 606"/>
              <a:gd name="T82" fmla="*/ 4284 w 5516"/>
              <a:gd name="T83" fmla="*/ 174 h 606"/>
              <a:gd name="T84" fmla="*/ 4432 w 5516"/>
              <a:gd name="T85" fmla="*/ 588 h 606"/>
              <a:gd name="T86" fmla="*/ 4792 w 5516"/>
              <a:gd name="T87" fmla="*/ 382 h 606"/>
              <a:gd name="T88" fmla="*/ 5192 w 5516"/>
              <a:gd name="T89" fmla="*/ 340 h 606"/>
              <a:gd name="T90" fmla="*/ 4902 w 5516"/>
              <a:gd name="T91" fmla="*/ 186 h 606"/>
              <a:gd name="T92" fmla="*/ 4850 w 5516"/>
              <a:gd name="T93" fmla="*/ 274 h 606"/>
              <a:gd name="T94" fmla="*/ 4742 w 5516"/>
              <a:gd name="T95" fmla="*/ 194 h 606"/>
              <a:gd name="T96" fmla="*/ 4794 w 5516"/>
              <a:gd name="T97" fmla="*/ 418 h 606"/>
              <a:gd name="T98" fmla="*/ 5004 w 5516"/>
              <a:gd name="T99" fmla="*/ 338 h 606"/>
              <a:gd name="T100" fmla="*/ 5098 w 5516"/>
              <a:gd name="T101" fmla="*/ 446 h 606"/>
              <a:gd name="T102" fmla="*/ 5418 w 5516"/>
              <a:gd name="T103" fmla="*/ 192 h 606"/>
              <a:gd name="T104" fmla="*/ 5348 w 5516"/>
              <a:gd name="T105" fmla="*/ 180 h 606"/>
              <a:gd name="T106" fmla="*/ 5254 w 5516"/>
              <a:gd name="T107" fmla="*/ 606 h 6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516" h="606">
                <a:moveTo>
                  <a:pt x="366" y="448"/>
                </a:moveTo>
                <a:cubicBezTo>
                  <a:pt x="524" y="448"/>
                  <a:pt x="524" y="448"/>
                  <a:pt x="524" y="448"/>
                </a:cubicBezTo>
                <a:cubicBezTo>
                  <a:pt x="524" y="436"/>
                  <a:pt x="524" y="436"/>
                  <a:pt x="524" y="436"/>
                </a:cubicBezTo>
                <a:cubicBezTo>
                  <a:pt x="486" y="432"/>
                  <a:pt x="470" y="414"/>
                  <a:pt x="468" y="362"/>
                </a:cubicBezTo>
                <a:cubicBezTo>
                  <a:pt x="454" y="86"/>
                  <a:pt x="454" y="86"/>
                  <a:pt x="454" y="86"/>
                </a:cubicBezTo>
                <a:cubicBezTo>
                  <a:pt x="452" y="46"/>
                  <a:pt x="470" y="30"/>
                  <a:pt x="504" y="26"/>
                </a:cubicBezTo>
                <a:cubicBezTo>
                  <a:pt x="504" y="12"/>
                  <a:pt x="504" y="12"/>
                  <a:pt x="504" y="12"/>
                </a:cubicBezTo>
                <a:cubicBezTo>
                  <a:pt x="394" y="12"/>
                  <a:pt x="394" y="12"/>
                  <a:pt x="394" y="12"/>
                </a:cubicBezTo>
                <a:cubicBezTo>
                  <a:pt x="264" y="350"/>
                  <a:pt x="264" y="350"/>
                  <a:pt x="264" y="350"/>
                </a:cubicBezTo>
                <a:cubicBezTo>
                  <a:pt x="132" y="10"/>
                  <a:pt x="132" y="10"/>
                  <a:pt x="132" y="10"/>
                </a:cubicBezTo>
                <a:cubicBezTo>
                  <a:pt x="18" y="10"/>
                  <a:pt x="18" y="10"/>
                  <a:pt x="18" y="10"/>
                </a:cubicBezTo>
                <a:cubicBezTo>
                  <a:pt x="18" y="22"/>
                  <a:pt x="18" y="22"/>
                  <a:pt x="18" y="22"/>
                </a:cubicBezTo>
                <a:cubicBezTo>
                  <a:pt x="40" y="26"/>
                  <a:pt x="74" y="32"/>
                  <a:pt x="72" y="84"/>
                </a:cubicBezTo>
                <a:cubicBezTo>
                  <a:pt x="58" y="352"/>
                  <a:pt x="58" y="352"/>
                  <a:pt x="58" y="352"/>
                </a:cubicBezTo>
                <a:cubicBezTo>
                  <a:pt x="54" y="410"/>
                  <a:pt x="38" y="430"/>
                  <a:pt x="0" y="436"/>
                </a:cubicBezTo>
                <a:cubicBezTo>
                  <a:pt x="0" y="448"/>
                  <a:pt x="0" y="448"/>
                  <a:pt x="0" y="448"/>
                </a:cubicBezTo>
                <a:cubicBezTo>
                  <a:pt x="140" y="448"/>
                  <a:pt x="140" y="448"/>
                  <a:pt x="140" y="448"/>
                </a:cubicBezTo>
                <a:cubicBezTo>
                  <a:pt x="140" y="436"/>
                  <a:pt x="140" y="436"/>
                  <a:pt x="140" y="436"/>
                </a:cubicBezTo>
                <a:cubicBezTo>
                  <a:pt x="98" y="428"/>
                  <a:pt x="84" y="414"/>
                  <a:pt x="88" y="356"/>
                </a:cubicBezTo>
                <a:cubicBezTo>
                  <a:pt x="100" y="86"/>
                  <a:pt x="100" y="86"/>
                  <a:pt x="100" y="86"/>
                </a:cubicBezTo>
                <a:cubicBezTo>
                  <a:pt x="240" y="444"/>
                  <a:pt x="240" y="444"/>
                  <a:pt x="240" y="444"/>
                </a:cubicBezTo>
                <a:cubicBezTo>
                  <a:pt x="258" y="444"/>
                  <a:pt x="258" y="444"/>
                  <a:pt x="258" y="444"/>
                </a:cubicBezTo>
                <a:cubicBezTo>
                  <a:pt x="396" y="86"/>
                  <a:pt x="396" y="86"/>
                  <a:pt x="396" y="86"/>
                </a:cubicBezTo>
                <a:cubicBezTo>
                  <a:pt x="408" y="372"/>
                  <a:pt x="408" y="372"/>
                  <a:pt x="408" y="372"/>
                </a:cubicBezTo>
                <a:cubicBezTo>
                  <a:pt x="410" y="416"/>
                  <a:pt x="398" y="430"/>
                  <a:pt x="366" y="434"/>
                </a:cubicBezTo>
                <a:lnTo>
                  <a:pt x="366" y="448"/>
                </a:lnTo>
                <a:close/>
                <a:moveTo>
                  <a:pt x="670" y="456"/>
                </a:moveTo>
                <a:cubicBezTo>
                  <a:pt x="708" y="456"/>
                  <a:pt x="756" y="440"/>
                  <a:pt x="782" y="412"/>
                </a:cubicBezTo>
                <a:cubicBezTo>
                  <a:pt x="776" y="400"/>
                  <a:pt x="776" y="400"/>
                  <a:pt x="776" y="400"/>
                </a:cubicBezTo>
                <a:cubicBezTo>
                  <a:pt x="750" y="416"/>
                  <a:pt x="722" y="422"/>
                  <a:pt x="696" y="422"/>
                </a:cubicBezTo>
                <a:cubicBezTo>
                  <a:pt x="620" y="422"/>
                  <a:pt x="592" y="358"/>
                  <a:pt x="592" y="290"/>
                </a:cubicBezTo>
                <a:cubicBezTo>
                  <a:pt x="592" y="258"/>
                  <a:pt x="600" y="236"/>
                  <a:pt x="614" y="222"/>
                </a:cubicBezTo>
                <a:cubicBezTo>
                  <a:pt x="626" y="210"/>
                  <a:pt x="646" y="204"/>
                  <a:pt x="664" y="204"/>
                </a:cubicBezTo>
                <a:cubicBezTo>
                  <a:pt x="690" y="204"/>
                  <a:pt x="722" y="214"/>
                  <a:pt x="744" y="244"/>
                </a:cubicBezTo>
                <a:cubicBezTo>
                  <a:pt x="750" y="244"/>
                  <a:pt x="750" y="244"/>
                  <a:pt x="750" y="244"/>
                </a:cubicBezTo>
                <a:cubicBezTo>
                  <a:pt x="758" y="234"/>
                  <a:pt x="766" y="212"/>
                  <a:pt x="768" y="196"/>
                </a:cubicBezTo>
                <a:cubicBezTo>
                  <a:pt x="748" y="180"/>
                  <a:pt x="720" y="172"/>
                  <a:pt x="686" y="172"/>
                </a:cubicBezTo>
                <a:cubicBezTo>
                  <a:pt x="604" y="172"/>
                  <a:pt x="544" y="246"/>
                  <a:pt x="544" y="326"/>
                </a:cubicBezTo>
                <a:cubicBezTo>
                  <a:pt x="540" y="390"/>
                  <a:pt x="576" y="456"/>
                  <a:pt x="670" y="456"/>
                </a:cubicBezTo>
                <a:moveTo>
                  <a:pt x="1272" y="98"/>
                </a:moveTo>
                <a:cubicBezTo>
                  <a:pt x="1292" y="98"/>
                  <a:pt x="1308" y="82"/>
                  <a:pt x="1308" y="62"/>
                </a:cubicBezTo>
                <a:cubicBezTo>
                  <a:pt x="1308" y="42"/>
                  <a:pt x="1292" y="26"/>
                  <a:pt x="1272" y="26"/>
                </a:cubicBezTo>
                <a:cubicBezTo>
                  <a:pt x="1252" y="26"/>
                  <a:pt x="1238" y="42"/>
                  <a:pt x="1238" y="62"/>
                </a:cubicBezTo>
                <a:cubicBezTo>
                  <a:pt x="1238" y="82"/>
                  <a:pt x="1252" y="98"/>
                  <a:pt x="1272" y="98"/>
                </a:cubicBezTo>
                <a:moveTo>
                  <a:pt x="1202" y="448"/>
                </a:moveTo>
                <a:cubicBezTo>
                  <a:pt x="1346" y="448"/>
                  <a:pt x="1346" y="448"/>
                  <a:pt x="1346" y="448"/>
                </a:cubicBezTo>
                <a:cubicBezTo>
                  <a:pt x="1346" y="436"/>
                  <a:pt x="1346" y="436"/>
                  <a:pt x="1346" y="436"/>
                </a:cubicBezTo>
                <a:cubicBezTo>
                  <a:pt x="1304" y="432"/>
                  <a:pt x="1302" y="434"/>
                  <a:pt x="1302" y="338"/>
                </a:cubicBezTo>
                <a:cubicBezTo>
                  <a:pt x="1302" y="176"/>
                  <a:pt x="1302" y="176"/>
                  <a:pt x="1302" y="176"/>
                </a:cubicBezTo>
                <a:cubicBezTo>
                  <a:pt x="1200" y="176"/>
                  <a:pt x="1200" y="176"/>
                  <a:pt x="1200" y="176"/>
                </a:cubicBezTo>
                <a:cubicBezTo>
                  <a:pt x="1200" y="188"/>
                  <a:pt x="1200" y="188"/>
                  <a:pt x="1200" y="188"/>
                </a:cubicBezTo>
                <a:cubicBezTo>
                  <a:pt x="1244" y="190"/>
                  <a:pt x="1250" y="192"/>
                  <a:pt x="1250" y="268"/>
                </a:cubicBezTo>
                <a:cubicBezTo>
                  <a:pt x="1250" y="336"/>
                  <a:pt x="1250" y="336"/>
                  <a:pt x="1250" y="336"/>
                </a:cubicBezTo>
                <a:cubicBezTo>
                  <a:pt x="1250" y="432"/>
                  <a:pt x="1248" y="432"/>
                  <a:pt x="1202" y="436"/>
                </a:cubicBezTo>
                <a:cubicBezTo>
                  <a:pt x="1178" y="434"/>
                  <a:pt x="1154" y="426"/>
                  <a:pt x="1076" y="338"/>
                </a:cubicBezTo>
                <a:cubicBezTo>
                  <a:pt x="1046" y="302"/>
                  <a:pt x="996" y="244"/>
                  <a:pt x="968" y="206"/>
                </a:cubicBezTo>
                <a:cubicBezTo>
                  <a:pt x="1062" y="102"/>
                  <a:pt x="1062" y="102"/>
                  <a:pt x="1062" y="102"/>
                </a:cubicBezTo>
                <a:cubicBezTo>
                  <a:pt x="1108" y="52"/>
                  <a:pt x="1132" y="26"/>
                  <a:pt x="1176" y="24"/>
                </a:cubicBezTo>
                <a:cubicBezTo>
                  <a:pt x="1176" y="10"/>
                  <a:pt x="1176" y="10"/>
                  <a:pt x="1176" y="10"/>
                </a:cubicBezTo>
                <a:cubicBezTo>
                  <a:pt x="1030" y="10"/>
                  <a:pt x="1030" y="10"/>
                  <a:pt x="1030" y="10"/>
                </a:cubicBezTo>
                <a:cubicBezTo>
                  <a:pt x="1030" y="22"/>
                  <a:pt x="1030" y="22"/>
                  <a:pt x="1030" y="22"/>
                </a:cubicBezTo>
                <a:cubicBezTo>
                  <a:pt x="1050" y="26"/>
                  <a:pt x="1056" y="32"/>
                  <a:pt x="1056" y="46"/>
                </a:cubicBezTo>
                <a:cubicBezTo>
                  <a:pt x="1056" y="56"/>
                  <a:pt x="1054" y="72"/>
                  <a:pt x="1026" y="102"/>
                </a:cubicBezTo>
                <a:cubicBezTo>
                  <a:pt x="910" y="230"/>
                  <a:pt x="910" y="230"/>
                  <a:pt x="910" y="230"/>
                </a:cubicBezTo>
                <a:cubicBezTo>
                  <a:pt x="910" y="148"/>
                  <a:pt x="910" y="148"/>
                  <a:pt x="910" y="148"/>
                </a:cubicBezTo>
                <a:cubicBezTo>
                  <a:pt x="910" y="36"/>
                  <a:pt x="916" y="28"/>
                  <a:pt x="960" y="22"/>
                </a:cubicBezTo>
                <a:cubicBezTo>
                  <a:pt x="960" y="8"/>
                  <a:pt x="960" y="8"/>
                  <a:pt x="960" y="8"/>
                </a:cubicBezTo>
                <a:cubicBezTo>
                  <a:pt x="804" y="8"/>
                  <a:pt x="804" y="8"/>
                  <a:pt x="804" y="8"/>
                </a:cubicBezTo>
                <a:cubicBezTo>
                  <a:pt x="804" y="22"/>
                  <a:pt x="804" y="22"/>
                  <a:pt x="804" y="22"/>
                </a:cubicBezTo>
                <a:cubicBezTo>
                  <a:pt x="852" y="26"/>
                  <a:pt x="854" y="36"/>
                  <a:pt x="854" y="148"/>
                </a:cubicBezTo>
                <a:cubicBezTo>
                  <a:pt x="854" y="300"/>
                  <a:pt x="854" y="300"/>
                  <a:pt x="854" y="300"/>
                </a:cubicBezTo>
                <a:cubicBezTo>
                  <a:pt x="854" y="422"/>
                  <a:pt x="850" y="430"/>
                  <a:pt x="804" y="434"/>
                </a:cubicBezTo>
                <a:cubicBezTo>
                  <a:pt x="804" y="446"/>
                  <a:pt x="804" y="446"/>
                  <a:pt x="804" y="446"/>
                </a:cubicBezTo>
                <a:cubicBezTo>
                  <a:pt x="960" y="446"/>
                  <a:pt x="960" y="446"/>
                  <a:pt x="960" y="446"/>
                </a:cubicBezTo>
                <a:cubicBezTo>
                  <a:pt x="960" y="434"/>
                  <a:pt x="960" y="434"/>
                  <a:pt x="960" y="434"/>
                </a:cubicBezTo>
                <a:cubicBezTo>
                  <a:pt x="910" y="428"/>
                  <a:pt x="910" y="424"/>
                  <a:pt x="910" y="292"/>
                </a:cubicBezTo>
                <a:cubicBezTo>
                  <a:pt x="910" y="268"/>
                  <a:pt x="910" y="268"/>
                  <a:pt x="910" y="268"/>
                </a:cubicBezTo>
                <a:cubicBezTo>
                  <a:pt x="930" y="246"/>
                  <a:pt x="930" y="246"/>
                  <a:pt x="930" y="246"/>
                </a:cubicBezTo>
                <a:cubicBezTo>
                  <a:pt x="982" y="310"/>
                  <a:pt x="1038" y="380"/>
                  <a:pt x="1098" y="448"/>
                </a:cubicBezTo>
                <a:cubicBezTo>
                  <a:pt x="1202" y="448"/>
                  <a:pt x="1202" y="448"/>
                  <a:pt x="1202" y="448"/>
                </a:cubicBezTo>
                <a:close/>
                <a:moveTo>
                  <a:pt x="1564" y="448"/>
                </a:moveTo>
                <a:cubicBezTo>
                  <a:pt x="1706" y="448"/>
                  <a:pt x="1706" y="448"/>
                  <a:pt x="1706" y="448"/>
                </a:cubicBezTo>
                <a:cubicBezTo>
                  <a:pt x="1706" y="436"/>
                  <a:pt x="1706" y="436"/>
                  <a:pt x="1706" y="436"/>
                </a:cubicBezTo>
                <a:cubicBezTo>
                  <a:pt x="1658" y="434"/>
                  <a:pt x="1658" y="432"/>
                  <a:pt x="1658" y="342"/>
                </a:cubicBezTo>
                <a:cubicBezTo>
                  <a:pt x="1658" y="280"/>
                  <a:pt x="1658" y="280"/>
                  <a:pt x="1658" y="280"/>
                </a:cubicBezTo>
                <a:cubicBezTo>
                  <a:pt x="1658" y="198"/>
                  <a:pt x="1612" y="172"/>
                  <a:pt x="1570" y="172"/>
                </a:cubicBezTo>
                <a:cubicBezTo>
                  <a:pt x="1534" y="172"/>
                  <a:pt x="1498" y="188"/>
                  <a:pt x="1470" y="224"/>
                </a:cubicBezTo>
                <a:cubicBezTo>
                  <a:pt x="1470" y="176"/>
                  <a:pt x="1470" y="176"/>
                  <a:pt x="1470" y="176"/>
                </a:cubicBezTo>
                <a:cubicBezTo>
                  <a:pt x="1368" y="176"/>
                  <a:pt x="1368" y="176"/>
                  <a:pt x="1368" y="176"/>
                </a:cubicBezTo>
                <a:cubicBezTo>
                  <a:pt x="1368" y="188"/>
                  <a:pt x="1368" y="188"/>
                  <a:pt x="1368" y="188"/>
                </a:cubicBezTo>
                <a:cubicBezTo>
                  <a:pt x="1412" y="190"/>
                  <a:pt x="1418" y="192"/>
                  <a:pt x="1418" y="268"/>
                </a:cubicBezTo>
                <a:cubicBezTo>
                  <a:pt x="1418" y="336"/>
                  <a:pt x="1418" y="336"/>
                  <a:pt x="1418" y="336"/>
                </a:cubicBezTo>
                <a:cubicBezTo>
                  <a:pt x="1418" y="434"/>
                  <a:pt x="1418" y="434"/>
                  <a:pt x="1370" y="436"/>
                </a:cubicBezTo>
                <a:cubicBezTo>
                  <a:pt x="1370" y="448"/>
                  <a:pt x="1370" y="448"/>
                  <a:pt x="1370" y="448"/>
                </a:cubicBezTo>
                <a:cubicBezTo>
                  <a:pt x="1514" y="448"/>
                  <a:pt x="1514" y="448"/>
                  <a:pt x="1514" y="448"/>
                </a:cubicBezTo>
                <a:cubicBezTo>
                  <a:pt x="1514" y="436"/>
                  <a:pt x="1514" y="436"/>
                  <a:pt x="1514" y="436"/>
                </a:cubicBezTo>
                <a:cubicBezTo>
                  <a:pt x="1472" y="432"/>
                  <a:pt x="1470" y="434"/>
                  <a:pt x="1470" y="338"/>
                </a:cubicBezTo>
                <a:cubicBezTo>
                  <a:pt x="1470" y="262"/>
                  <a:pt x="1470" y="262"/>
                  <a:pt x="1470" y="262"/>
                </a:cubicBezTo>
                <a:cubicBezTo>
                  <a:pt x="1470" y="236"/>
                  <a:pt x="1504" y="206"/>
                  <a:pt x="1546" y="206"/>
                </a:cubicBezTo>
                <a:cubicBezTo>
                  <a:pt x="1580" y="206"/>
                  <a:pt x="1606" y="220"/>
                  <a:pt x="1606" y="286"/>
                </a:cubicBezTo>
                <a:cubicBezTo>
                  <a:pt x="1606" y="340"/>
                  <a:pt x="1606" y="340"/>
                  <a:pt x="1606" y="340"/>
                </a:cubicBezTo>
                <a:cubicBezTo>
                  <a:pt x="1606" y="432"/>
                  <a:pt x="1602" y="432"/>
                  <a:pt x="1564" y="434"/>
                </a:cubicBezTo>
                <a:lnTo>
                  <a:pt x="1564" y="448"/>
                </a:lnTo>
                <a:close/>
                <a:moveTo>
                  <a:pt x="1776" y="222"/>
                </a:moveTo>
                <a:cubicBezTo>
                  <a:pt x="1776" y="200"/>
                  <a:pt x="1796" y="188"/>
                  <a:pt x="1822" y="188"/>
                </a:cubicBezTo>
                <a:cubicBezTo>
                  <a:pt x="1874" y="188"/>
                  <a:pt x="1896" y="236"/>
                  <a:pt x="1900" y="252"/>
                </a:cubicBezTo>
                <a:cubicBezTo>
                  <a:pt x="1912" y="252"/>
                  <a:pt x="1912" y="252"/>
                  <a:pt x="1912" y="252"/>
                </a:cubicBezTo>
                <a:cubicBezTo>
                  <a:pt x="1912" y="212"/>
                  <a:pt x="1908" y="188"/>
                  <a:pt x="1904" y="184"/>
                </a:cubicBezTo>
                <a:cubicBezTo>
                  <a:pt x="1900" y="180"/>
                  <a:pt x="1862" y="170"/>
                  <a:pt x="1824" y="170"/>
                </a:cubicBezTo>
                <a:cubicBezTo>
                  <a:pt x="1768" y="170"/>
                  <a:pt x="1734" y="206"/>
                  <a:pt x="1734" y="248"/>
                </a:cubicBezTo>
                <a:cubicBezTo>
                  <a:pt x="1734" y="340"/>
                  <a:pt x="1890" y="322"/>
                  <a:pt x="1890" y="396"/>
                </a:cubicBezTo>
                <a:cubicBezTo>
                  <a:pt x="1890" y="422"/>
                  <a:pt x="1866" y="436"/>
                  <a:pt x="1826" y="436"/>
                </a:cubicBezTo>
                <a:cubicBezTo>
                  <a:pt x="1788" y="436"/>
                  <a:pt x="1754" y="416"/>
                  <a:pt x="1744" y="366"/>
                </a:cubicBezTo>
                <a:cubicBezTo>
                  <a:pt x="1728" y="366"/>
                  <a:pt x="1728" y="366"/>
                  <a:pt x="1728" y="366"/>
                </a:cubicBezTo>
                <a:cubicBezTo>
                  <a:pt x="1728" y="386"/>
                  <a:pt x="1732" y="422"/>
                  <a:pt x="1734" y="428"/>
                </a:cubicBezTo>
                <a:cubicBezTo>
                  <a:pt x="1744" y="446"/>
                  <a:pt x="1788" y="454"/>
                  <a:pt x="1824" y="454"/>
                </a:cubicBezTo>
                <a:cubicBezTo>
                  <a:pt x="1888" y="454"/>
                  <a:pt x="1928" y="416"/>
                  <a:pt x="1928" y="372"/>
                </a:cubicBezTo>
                <a:cubicBezTo>
                  <a:pt x="1932" y="270"/>
                  <a:pt x="1776" y="286"/>
                  <a:pt x="1776" y="222"/>
                </a:cubicBezTo>
                <a:moveTo>
                  <a:pt x="2030" y="270"/>
                </a:moveTo>
                <a:cubicBezTo>
                  <a:pt x="2034" y="220"/>
                  <a:pt x="2058" y="192"/>
                  <a:pt x="2102" y="192"/>
                </a:cubicBezTo>
                <a:cubicBezTo>
                  <a:pt x="2144" y="192"/>
                  <a:pt x="2170" y="220"/>
                  <a:pt x="2172" y="270"/>
                </a:cubicBezTo>
                <a:lnTo>
                  <a:pt x="2030" y="270"/>
                </a:lnTo>
                <a:close/>
                <a:moveTo>
                  <a:pt x="2030" y="290"/>
                </a:moveTo>
                <a:cubicBezTo>
                  <a:pt x="2222" y="290"/>
                  <a:pt x="2222" y="290"/>
                  <a:pt x="2222" y="290"/>
                </a:cubicBezTo>
                <a:cubicBezTo>
                  <a:pt x="2226" y="228"/>
                  <a:pt x="2192" y="168"/>
                  <a:pt x="2114" y="168"/>
                </a:cubicBezTo>
                <a:cubicBezTo>
                  <a:pt x="2034" y="168"/>
                  <a:pt x="1982" y="232"/>
                  <a:pt x="1982" y="320"/>
                </a:cubicBezTo>
                <a:cubicBezTo>
                  <a:pt x="1982" y="388"/>
                  <a:pt x="2018" y="456"/>
                  <a:pt x="2112" y="456"/>
                </a:cubicBezTo>
                <a:cubicBezTo>
                  <a:pt x="2150" y="456"/>
                  <a:pt x="2198" y="440"/>
                  <a:pt x="2224" y="412"/>
                </a:cubicBezTo>
                <a:cubicBezTo>
                  <a:pt x="2218" y="400"/>
                  <a:pt x="2218" y="400"/>
                  <a:pt x="2218" y="400"/>
                </a:cubicBezTo>
                <a:cubicBezTo>
                  <a:pt x="2192" y="416"/>
                  <a:pt x="2164" y="422"/>
                  <a:pt x="2138" y="422"/>
                </a:cubicBezTo>
                <a:cubicBezTo>
                  <a:pt x="2058" y="420"/>
                  <a:pt x="2028" y="352"/>
                  <a:pt x="2030" y="290"/>
                </a:cubicBezTo>
                <a:moveTo>
                  <a:pt x="2478" y="242"/>
                </a:moveTo>
                <a:cubicBezTo>
                  <a:pt x="2490" y="206"/>
                  <a:pt x="2510" y="192"/>
                  <a:pt x="2528" y="192"/>
                </a:cubicBezTo>
                <a:cubicBezTo>
                  <a:pt x="2528" y="180"/>
                  <a:pt x="2528" y="180"/>
                  <a:pt x="2528" y="180"/>
                </a:cubicBezTo>
                <a:cubicBezTo>
                  <a:pt x="2430" y="180"/>
                  <a:pt x="2430" y="180"/>
                  <a:pt x="2430" y="180"/>
                </a:cubicBezTo>
                <a:cubicBezTo>
                  <a:pt x="2430" y="192"/>
                  <a:pt x="2430" y="192"/>
                  <a:pt x="2430" y="192"/>
                </a:cubicBezTo>
                <a:cubicBezTo>
                  <a:pt x="2454" y="194"/>
                  <a:pt x="2466" y="206"/>
                  <a:pt x="2458" y="234"/>
                </a:cubicBezTo>
                <a:cubicBezTo>
                  <a:pt x="2406" y="390"/>
                  <a:pt x="2406" y="390"/>
                  <a:pt x="2406" y="390"/>
                </a:cubicBezTo>
                <a:cubicBezTo>
                  <a:pt x="2354" y="270"/>
                  <a:pt x="2354" y="270"/>
                  <a:pt x="2354" y="270"/>
                </a:cubicBezTo>
                <a:cubicBezTo>
                  <a:pt x="2340" y="238"/>
                  <a:pt x="2334" y="224"/>
                  <a:pt x="2334" y="212"/>
                </a:cubicBezTo>
                <a:cubicBezTo>
                  <a:pt x="2334" y="202"/>
                  <a:pt x="2340" y="196"/>
                  <a:pt x="2360" y="192"/>
                </a:cubicBezTo>
                <a:cubicBezTo>
                  <a:pt x="2360" y="180"/>
                  <a:pt x="2360" y="180"/>
                  <a:pt x="2360" y="180"/>
                </a:cubicBezTo>
                <a:cubicBezTo>
                  <a:pt x="2234" y="180"/>
                  <a:pt x="2234" y="180"/>
                  <a:pt x="2234" y="180"/>
                </a:cubicBezTo>
                <a:cubicBezTo>
                  <a:pt x="2234" y="192"/>
                  <a:pt x="2234" y="192"/>
                  <a:pt x="2234" y="192"/>
                </a:cubicBezTo>
                <a:cubicBezTo>
                  <a:pt x="2266" y="194"/>
                  <a:pt x="2268" y="198"/>
                  <a:pt x="2310" y="292"/>
                </a:cubicBezTo>
                <a:cubicBezTo>
                  <a:pt x="2382" y="450"/>
                  <a:pt x="2382" y="450"/>
                  <a:pt x="2382" y="450"/>
                </a:cubicBezTo>
                <a:cubicBezTo>
                  <a:pt x="2358" y="512"/>
                  <a:pt x="2320" y="546"/>
                  <a:pt x="2242" y="564"/>
                </a:cubicBezTo>
                <a:cubicBezTo>
                  <a:pt x="2246" y="576"/>
                  <a:pt x="2260" y="600"/>
                  <a:pt x="2268" y="606"/>
                </a:cubicBezTo>
                <a:cubicBezTo>
                  <a:pt x="2370" y="564"/>
                  <a:pt x="2390" y="498"/>
                  <a:pt x="2426" y="396"/>
                </a:cubicBezTo>
                <a:lnTo>
                  <a:pt x="2478" y="242"/>
                </a:lnTo>
                <a:close/>
                <a:moveTo>
                  <a:pt x="2844" y="394"/>
                </a:moveTo>
                <a:cubicBezTo>
                  <a:pt x="2822" y="412"/>
                  <a:pt x="2782" y="416"/>
                  <a:pt x="2750" y="416"/>
                </a:cubicBezTo>
                <a:cubicBezTo>
                  <a:pt x="2670" y="416"/>
                  <a:pt x="2606" y="360"/>
                  <a:pt x="2606" y="284"/>
                </a:cubicBezTo>
                <a:cubicBezTo>
                  <a:pt x="2606" y="236"/>
                  <a:pt x="2626" y="206"/>
                  <a:pt x="2658" y="198"/>
                </a:cubicBezTo>
                <a:cubicBezTo>
                  <a:pt x="2698" y="266"/>
                  <a:pt x="2770" y="338"/>
                  <a:pt x="2844" y="394"/>
                </a:cubicBezTo>
                <a:moveTo>
                  <a:pt x="2928" y="448"/>
                </a:moveTo>
                <a:cubicBezTo>
                  <a:pt x="3022" y="448"/>
                  <a:pt x="3022" y="448"/>
                  <a:pt x="3022" y="448"/>
                </a:cubicBezTo>
                <a:cubicBezTo>
                  <a:pt x="3022" y="436"/>
                  <a:pt x="3022" y="436"/>
                  <a:pt x="3022" y="436"/>
                </a:cubicBezTo>
                <a:cubicBezTo>
                  <a:pt x="2992" y="432"/>
                  <a:pt x="2946" y="408"/>
                  <a:pt x="2896" y="372"/>
                </a:cubicBezTo>
                <a:cubicBezTo>
                  <a:pt x="2914" y="342"/>
                  <a:pt x="2918" y="300"/>
                  <a:pt x="2922" y="270"/>
                </a:cubicBezTo>
                <a:cubicBezTo>
                  <a:pt x="2926" y="244"/>
                  <a:pt x="2946" y="244"/>
                  <a:pt x="2958" y="242"/>
                </a:cubicBezTo>
                <a:cubicBezTo>
                  <a:pt x="2958" y="230"/>
                  <a:pt x="2958" y="230"/>
                  <a:pt x="2958" y="230"/>
                </a:cubicBezTo>
                <a:cubicBezTo>
                  <a:pt x="2834" y="230"/>
                  <a:pt x="2834" y="230"/>
                  <a:pt x="2834" y="230"/>
                </a:cubicBezTo>
                <a:cubicBezTo>
                  <a:pt x="2834" y="242"/>
                  <a:pt x="2834" y="242"/>
                  <a:pt x="2834" y="242"/>
                </a:cubicBezTo>
                <a:cubicBezTo>
                  <a:pt x="2864" y="246"/>
                  <a:pt x="2892" y="250"/>
                  <a:pt x="2892" y="294"/>
                </a:cubicBezTo>
                <a:cubicBezTo>
                  <a:pt x="2892" y="318"/>
                  <a:pt x="2888" y="342"/>
                  <a:pt x="2878" y="358"/>
                </a:cubicBezTo>
                <a:cubicBezTo>
                  <a:pt x="2770" y="274"/>
                  <a:pt x="2670" y="156"/>
                  <a:pt x="2670" y="96"/>
                </a:cubicBezTo>
                <a:cubicBezTo>
                  <a:pt x="2670" y="66"/>
                  <a:pt x="2688" y="54"/>
                  <a:pt x="2716" y="54"/>
                </a:cubicBezTo>
                <a:cubicBezTo>
                  <a:pt x="2752" y="54"/>
                  <a:pt x="2784" y="78"/>
                  <a:pt x="2800" y="124"/>
                </a:cubicBezTo>
                <a:cubicBezTo>
                  <a:pt x="2812" y="124"/>
                  <a:pt x="2812" y="124"/>
                  <a:pt x="2812" y="124"/>
                </a:cubicBezTo>
                <a:cubicBezTo>
                  <a:pt x="2810" y="42"/>
                  <a:pt x="2810" y="42"/>
                  <a:pt x="2810" y="42"/>
                </a:cubicBezTo>
                <a:cubicBezTo>
                  <a:pt x="2798" y="42"/>
                  <a:pt x="2798" y="42"/>
                  <a:pt x="2798" y="42"/>
                </a:cubicBezTo>
                <a:cubicBezTo>
                  <a:pt x="2798" y="48"/>
                  <a:pt x="2792" y="52"/>
                  <a:pt x="2788" y="52"/>
                </a:cubicBezTo>
                <a:cubicBezTo>
                  <a:pt x="2772" y="52"/>
                  <a:pt x="2752" y="36"/>
                  <a:pt x="2714" y="36"/>
                </a:cubicBezTo>
                <a:cubicBezTo>
                  <a:pt x="2672" y="36"/>
                  <a:pt x="2630" y="62"/>
                  <a:pt x="2630" y="118"/>
                </a:cubicBezTo>
                <a:cubicBezTo>
                  <a:pt x="2630" y="140"/>
                  <a:pt x="2636" y="160"/>
                  <a:pt x="2648" y="182"/>
                </a:cubicBezTo>
                <a:cubicBezTo>
                  <a:pt x="2592" y="200"/>
                  <a:pt x="2562" y="248"/>
                  <a:pt x="2562" y="304"/>
                </a:cubicBezTo>
                <a:cubicBezTo>
                  <a:pt x="2562" y="406"/>
                  <a:pt x="2640" y="460"/>
                  <a:pt x="2726" y="460"/>
                </a:cubicBezTo>
                <a:cubicBezTo>
                  <a:pt x="2780" y="460"/>
                  <a:pt x="2824" y="444"/>
                  <a:pt x="2862" y="410"/>
                </a:cubicBezTo>
                <a:cubicBezTo>
                  <a:pt x="2888" y="424"/>
                  <a:pt x="2912" y="442"/>
                  <a:pt x="2928" y="448"/>
                </a:cubicBezTo>
                <a:moveTo>
                  <a:pt x="3094" y="212"/>
                </a:moveTo>
                <a:cubicBezTo>
                  <a:pt x="3094" y="88"/>
                  <a:pt x="3154" y="20"/>
                  <a:pt x="3252" y="20"/>
                </a:cubicBezTo>
                <a:cubicBezTo>
                  <a:pt x="3328" y="20"/>
                  <a:pt x="3372" y="58"/>
                  <a:pt x="3392" y="134"/>
                </a:cubicBezTo>
                <a:cubicBezTo>
                  <a:pt x="3404" y="134"/>
                  <a:pt x="3404" y="134"/>
                  <a:pt x="3404" y="134"/>
                </a:cubicBezTo>
                <a:cubicBezTo>
                  <a:pt x="3400" y="4"/>
                  <a:pt x="3400" y="4"/>
                  <a:pt x="3400" y="4"/>
                </a:cubicBezTo>
                <a:cubicBezTo>
                  <a:pt x="3388" y="4"/>
                  <a:pt x="3388" y="4"/>
                  <a:pt x="3388" y="4"/>
                </a:cubicBezTo>
                <a:cubicBezTo>
                  <a:pt x="3384" y="14"/>
                  <a:pt x="3376" y="18"/>
                  <a:pt x="3364" y="18"/>
                </a:cubicBezTo>
                <a:cubicBezTo>
                  <a:pt x="3338" y="18"/>
                  <a:pt x="3314" y="0"/>
                  <a:pt x="3248" y="0"/>
                </a:cubicBezTo>
                <a:cubicBezTo>
                  <a:pt x="3118" y="0"/>
                  <a:pt x="3030" y="102"/>
                  <a:pt x="3030" y="242"/>
                </a:cubicBezTo>
                <a:cubicBezTo>
                  <a:pt x="3030" y="376"/>
                  <a:pt x="3110" y="460"/>
                  <a:pt x="3238" y="460"/>
                </a:cubicBezTo>
                <a:cubicBezTo>
                  <a:pt x="3320" y="460"/>
                  <a:pt x="3384" y="420"/>
                  <a:pt x="3408" y="380"/>
                </a:cubicBezTo>
                <a:cubicBezTo>
                  <a:pt x="3396" y="366"/>
                  <a:pt x="3396" y="366"/>
                  <a:pt x="3396" y="366"/>
                </a:cubicBezTo>
                <a:cubicBezTo>
                  <a:pt x="3370" y="402"/>
                  <a:pt x="3314" y="426"/>
                  <a:pt x="3256" y="426"/>
                </a:cubicBezTo>
                <a:cubicBezTo>
                  <a:pt x="3156" y="426"/>
                  <a:pt x="3094" y="340"/>
                  <a:pt x="3094" y="212"/>
                </a:cubicBezTo>
                <a:moveTo>
                  <a:pt x="3678" y="328"/>
                </a:moveTo>
                <a:cubicBezTo>
                  <a:pt x="3678" y="392"/>
                  <a:pt x="3650" y="430"/>
                  <a:pt x="3592" y="430"/>
                </a:cubicBezTo>
                <a:cubicBezTo>
                  <a:pt x="3542" y="430"/>
                  <a:pt x="3496" y="384"/>
                  <a:pt x="3496" y="292"/>
                </a:cubicBezTo>
                <a:cubicBezTo>
                  <a:pt x="3496" y="226"/>
                  <a:pt x="3528" y="190"/>
                  <a:pt x="3580" y="190"/>
                </a:cubicBezTo>
                <a:cubicBezTo>
                  <a:pt x="3628" y="192"/>
                  <a:pt x="3678" y="238"/>
                  <a:pt x="3678" y="328"/>
                </a:cubicBezTo>
                <a:moveTo>
                  <a:pt x="3732" y="312"/>
                </a:moveTo>
                <a:cubicBezTo>
                  <a:pt x="3732" y="260"/>
                  <a:pt x="3710" y="214"/>
                  <a:pt x="3672" y="190"/>
                </a:cubicBezTo>
                <a:cubicBezTo>
                  <a:pt x="3650" y="176"/>
                  <a:pt x="3620" y="168"/>
                  <a:pt x="3588" y="168"/>
                </a:cubicBezTo>
                <a:cubicBezTo>
                  <a:pt x="3502" y="168"/>
                  <a:pt x="3442" y="230"/>
                  <a:pt x="3442" y="310"/>
                </a:cubicBezTo>
                <a:cubicBezTo>
                  <a:pt x="3442" y="364"/>
                  <a:pt x="3464" y="408"/>
                  <a:pt x="3502" y="432"/>
                </a:cubicBezTo>
                <a:cubicBezTo>
                  <a:pt x="3524" y="446"/>
                  <a:pt x="3554" y="452"/>
                  <a:pt x="3586" y="452"/>
                </a:cubicBezTo>
                <a:cubicBezTo>
                  <a:pt x="3672" y="454"/>
                  <a:pt x="3732" y="394"/>
                  <a:pt x="3732" y="312"/>
                </a:cubicBezTo>
                <a:moveTo>
                  <a:pt x="4136" y="448"/>
                </a:moveTo>
                <a:cubicBezTo>
                  <a:pt x="4280" y="448"/>
                  <a:pt x="4280" y="448"/>
                  <a:pt x="4280" y="448"/>
                </a:cubicBezTo>
                <a:cubicBezTo>
                  <a:pt x="4280" y="436"/>
                  <a:pt x="4280" y="436"/>
                  <a:pt x="4280" y="436"/>
                </a:cubicBezTo>
                <a:cubicBezTo>
                  <a:pt x="4230" y="434"/>
                  <a:pt x="4232" y="426"/>
                  <a:pt x="4232" y="348"/>
                </a:cubicBezTo>
                <a:cubicBezTo>
                  <a:pt x="4232" y="276"/>
                  <a:pt x="4232" y="276"/>
                  <a:pt x="4232" y="276"/>
                </a:cubicBezTo>
                <a:cubicBezTo>
                  <a:pt x="4232" y="200"/>
                  <a:pt x="4190" y="172"/>
                  <a:pt x="4142" y="172"/>
                </a:cubicBezTo>
                <a:cubicBezTo>
                  <a:pt x="4098" y="172"/>
                  <a:pt x="4064" y="196"/>
                  <a:pt x="4038" y="232"/>
                </a:cubicBezTo>
                <a:cubicBezTo>
                  <a:pt x="4028" y="194"/>
                  <a:pt x="4000" y="172"/>
                  <a:pt x="3954" y="172"/>
                </a:cubicBezTo>
                <a:cubicBezTo>
                  <a:pt x="3916" y="172"/>
                  <a:pt x="3880" y="196"/>
                  <a:pt x="3858" y="224"/>
                </a:cubicBezTo>
                <a:cubicBezTo>
                  <a:pt x="3858" y="176"/>
                  <a:pt x="3858" y="176"/>
                  <a:pt x="3858" y="176"/>
                </a:cubicBezTo>
                <a:cubicBezTo>
                  <a:pt x="3756" y="176"/>
                  <a:pt x="3756" y="176"/>
                  <a:pt x="3756" y="176"/>
                </a:cubicBezTo>
                <a:cubicBezTo>
                  <a:pt x="3756" y="188"/>
                  <a:pt x="3756" y="188"/>
                  <a:pt x="3756" y="188"/>
                </a:cubicBezTo>
                <a:cubicBezTo>
                  <a:pt x="3800" y="190"/>
                  <a:pt x="3806" y="192"/>
                  <a:pt x="3806" y="268"/>
                </a:cubicBezTo>
                <a:cubicBezTo>
                  <a:pt x="3806" y="346"/>
                  <a:pt x="3806" y="346"/>
                  <a:pt x="3806" y="346"/>
                </a:cubicBezTo>
                <a:cubicBezTo>
                  <a:pt x="3806" y="434"/>
                  <a:pt x="3804" y="434"/>
                  <a:pt x="3758" y="434"/>
                </a:cubicBezTo>
                <a:cubicBezTo>
                  <a:pt x="3758" y="446"/>
                  <a:pt x="3758" y="446"/>
                  <a:pt x="3758" y="446"/>
                </a:cubicBezTo>
                <a:cubicBezTo>
                  <a:pt x="3902" y="446"/>
                  <a:pt x="3902" y="446"/>
                  <a:pt x="3902" y="446"/>
                </a:cubicBezTo>
                <a:cubicBezTo>
                  <a:pt x="3902" y="434"/>
                  <a:pt x="3902" y="434"/>
                  <a:pt x="3902" y="434"/>
                </a:cubicBezTo>
                <a:cubicBezTo>
                  <a:pt x="3862" y="430"/>
                  <a:pt x="3858" y="430"/>
                  <a:pt x="3858" y="342"/>
                </a:cubicBezTo>
                <a:cubicBezTo>
                  <a:pt x="3858" y="262"/>
                  <a:pt x="3858" y="262"/>
                  <a:pt x="3858" y="262"/>
                </a:cubicBezTo>
                <a:cubicBezTo>
                  <a:pt x="3858" y="234"/>
                  <a:pt x="3894" y="204"/>
                  <a:pt x="3932" y="204"/>
                </a:cubicBezTo>
                <a:cubicBezTo>
                  <a:pt x="3974" y="204"/>
                  <a:pt x="3990" y="226"/>
                  <a:pt x="3990" y="282"/>
                </a:cubicBezTo>
                <a:cubicBezTo>
                  <a:pt x="3990" y="338"/>
                  <a:pt x="3990" y="338"/>
                  <a:pt x="3990" y="338"/>
                </a:cubicBezTo>
                <a:cubicBezTo>
                  <a:pt x="3990" y="428"/>
                  <a:pt x="3988" y="432"/>
                  <a:pt x="3950" y="436"/>
                </a:cubicBezTo>
                <a:cubicBezTo>
                  <a:pt x="3950" y="448"/>
                  <a:pt x="3950" y="448"/>
                  <a:pt x="3950" y="448"/>
                </a:cubicBezTo>
                <a:cubicBezTo>
                  <a:pt x="4086" y="448"/>
                  <a:pt x="4086" y="448"/>
                  <a:pt x="4086" y="448"/>
                </a:cubicBezTo>
                <a:cubicBezTo>
                  <a:pt x="4086" y="436"/>
                  <a:pt x="4086" y="436"/>
                  <a:pt x="4086" y="436"/>
                </a:cubicBezTo>
                <a:cubicBezTo>
                  <a:pt x="4040" y="432"/>
                  <a:pt x="4042" y="428"/>
                  <a:pt x="4042" y="342"/>
                </a:cubicBezTo>
                <a:cubicBezTo>
                  <a:pt x="4042" y="264"/>
                  <a:pt x="4042" y="264"/>
                  <a:pt x="4042" y="264"/>
                </a:cubicBezTo>
                <a:cubicBezTo>
                  <a:pt x="4042" y="236"/>
                  <a:pt x="4078" y="206"/>
                  <a:pt x="4118" y="206"/>
                </a:cubicBezTo>
                <a:cubicBezTo>
                  <a:pt x="4152" y="206"/>
                  <a:pt x="4174" y="226"/>
                  <a:pt x="4174" y="284"/>
                </a:cubicBezTo>
                <a:cubicBezTo>
                  <a:pt x="4174" y="346"/>
                  <a:pt x="4174" y="346"/>
                  <a:pt x="4174" y="346"/>
                </a:cubicBezTo>
                <a:cubicBezTo>
                  <a:pt x="4174" y="428"/>
                  <a:pt x="4174" y="432"/>
                  <a:pt x="4134" y="436"/>
                </a:cubicBezTo>
                <a:cubicBezTo>
                  <a:pt x="4134" y="448"/>
                  <a:pt x="4134" y="448"/>
                  <a:pt x="4134" y="448"/>
                </a:cubicBezTo>
                <a:lnTo>
                  <a:pt x="4136" y="448"/>
                </a:lnTo>
                <a:close/>
                <a:moveTo>
                  <a:pt x="4546" y="316"/>
                </a:moveTo>
                <a:cubicBezTo>
                  <a:pt x="4546" y="388"/>
                  <a:pt x="4516" y="432"/>
                  <a:pt x="4460" y="432"/>
                </a:cubicBezTo>
                <a:cubicBezTo>
                  <a:pt x="4424" y="432"/>
                  <a:pt x="4384" y="412"/>
                  <a:pt x="4384" y="384"/>
                </a:cubicBezTo>
                <a:cubicBezTo>
                  <a:pt x="4384" y="248"/>
                  <a:pt x="4384" y="248"/>
                  <a:pt x="4384" y="248"/>
                </a:cubicBezTo>
                <a:cubicBezTo>
                  <a:pt x="4384" y="226"/>
                  <a:pt x="4416" y="202"/>
                  <a:pt x="4454" y="202"/>
                </a:cubicBezTo>
                <a:cubicBezTo>
                  <a:pt x="4510" y="206"/>
                  <a:pt x="4546" y="248"/>
                  <a:pt x="4546" y="316"/>
                </a:cubicBezTo>
                <a:moveTo>
                  <a:pt x="4600" y="310"/>
                </a:moveTo>
                <a:cubicBezTo>
                  <a:pt x="4600" y="230"/>
                  <a:pt x="4548" y="170"/>
                  <a:pt x="4478" y="170"/>
                </a:cubicBezTo>
                <a:cubicBezTo>
                  <a:pt x="4438" y="170"/>
                  <a:pt x="4406" y="188"/>
                  <a:pt x="4384" y="214"/>
                </a:cubicBezTo>
                <a:cubicBezTo>
                  <a:pt x="4384" y="174"/>
                  <a:pt x="4384" y="174"/>
                  <a:pt x="4384" y="174"/>
                </a:cubicBezTo>
                <a:cubicBezTo>
                  <a:pt x="4284" y="174"/>
                  <a:pt x="4284" y="174"/>
                  <a:pt x="4284" y="174"/>
                </a:cubicBezTo>
                <a:cubicBezTo>
                  <a:pt x="4284" y="186"/>
                  <a:pt x="4284" y="186"/>
                  <a:pt x="4284" y="186"/>
                </a:cubicBezTo>
                <a:cubicBezTo>
                  <a:pt x="4326" y="188"/>
                  <a:pt x="4332" y="190"/>
                  <a:pt x="4332" y="280"/>
                </a:cubicBezTo>
                <a:cubicBezTo>
                  <a:pt x="4332" y="466"/>
                  <a:pt x="4332" y="466"/>
                  <a:pt x="4332" y="466"/>
                </a:cubicBezTo>
                <a:cubicBezTo>
                  <a:pt x="4332" y="564"/>
                  <a:pt x="4334" y="570"/>
                  <a:pt x="4286" y="574"/>
                </a:cubicBezTo>
                <a:cubicBezTo>
                  <a:pt x="4286" y="588"/>
                  <a:pt x="4286" y="588"/>
                  <a:pt x="4286" y="588"/>
                </a:cubicBezTo>
                <a:cubicBezTo>
                  <a:pt x="4432" y="588"/>
                  <a:pt x="4432" y="588"/>
                  <a:pt x="4432" y="588"/>
                </a:cubicBezTo>
                <a:cubicBezTo>
                  <a:pt x="4432" y="574"/>
                  <a:pt x="4432" y="574"/>
                  <a:pt x="4432" y="574"/>
                </a:cubicBezTo>
                <a:cubicBezTo>
                  <a:pt x="4380" y="572"/>
                  <a:pt x="4384" y="564"/>
                  <a:pt x="4384" y="462"/>
                </a:cubicBezTo>
                <a:cubicBezTo>
                  <a:pt x="4384" y="424"/>
                  <a:pt x="4384" y="424"/>
                  <a:pt x="4384" y="424"/>
                </a:cubicBezTo>
                <a:cubicBezTo>
                  <a:pt x="4404" y="444"/>
                  <a:pt x="4436" y="454"/>
                  <a:pt x="4466" y="454"/>
                </a:cubicBezTo>
                <a:cubicBezTo>
                  <a:pt x="4548" y="454"/>
                  <a:pt x="4600" y="392"/>
                  <a:pt x="4600" y="310"/>
                </a:cubicBezTo>
                <a:moveTo>
                  <a:pt x="4792" y="382"/>
                </a:moveTo>
                <a:cubicBezTo>
                  <a:pt x="4792" y="404"/>
                  <a:pt x="4762" y="424"/>
                  <a:pt x="4736" y="424"/>
                </a:cubicBezTo>
                <a:cubicBezTo>
                  <a:pt x="4712" y="424"/>
                  <a:pt x="4694" y="410"/>
                  <a:pt x="4694" y="378"/>
                </a:cubicBezTo>
                <a:cubicBezTo>
                  <a:pt x="4694" y="322"/>
                  <a:pt x="4752" y="328"/>
                  <a:pt x="4792" y="306"/>
                </a:cubicBezTo>
                <a:cubicBezTo>
                  <a:pt x="4792" y="382"/>
                  <a:pt x="4792" y="382"/>
                  <a:pt x="4792" y="382"/>
                </a:cubicBezTo>
                <a:close/>
                <a:moveTo>
                  <a:pt x="5240" y="434"/>
                </a:moveTo>
                <a:cubicBezTo>
                  <a:pt x="5192" y="432"/>
                  <a:pt x="5192" y="430"/>
                  <a:pt x="5192" y="340"/>
                </a:cubicBezTo>
                <a:cubicBezTo>
                  <a:pt x="5192" y="278"/>
                  <a:pt x="5192" y="278"/>
                  <a:pt x="5192" y="278"/>
                </a:cubicBezTo>
                <a:cubicBezTo>
                  <a:pt x="5192" y="196"/>
                  <a:pt x="5146" y="170"/>
                  <a:pt x="5104" y="170"/>
                </a:cubicBezTo>
                <a:cubicBezTo>
                  <a:pt x="5068" y="170"/>
                  <a:pt x="5032" y="186"/>
                  <a:pt x="5004" y="222"/>
                </a:cubicBezTo>
                <a:cubicBezTo>
                  <a:pt x="5004" y="174"/>
                  <a:pt x="5004" y="174"/>
                  <a:pt x="5004" y="174"/>
                </a:cubicBezTo>
                <a:cubicBezTo>
                  <a:pt x="4902" y="174"/>
                  <a:pt x="4902" y="174"/>
                  <a:pt x="4902" y="174"/>
                </a:cubicBezTo>
                <a:cubicBezTo>
                  <a:pt x="4902" y="186"/>
                  <a:pt x="4902" y="186"/>
                  <a:pt x="4902" y="186"/>
                </a:cubicBezTo>
                <a:cubicBezTo>
                  <a:pt x="4946" y="188"/>
                  <a:pt x="4952" y="190"/>
                  <a:pt x="4952" y="266"/>
                </a:cubicBezTo>
                <a:cubicBezTo>
                  <a:pt x="4952" y="334"/>
                  <a:pt x="4952" y="334"/>
                  <a:pt x="4952" y="334"/>
                </a:cubicBezTo>
                <a:cubicBezTo>
                  <a:pt x="4952" y="430"/>
                  <a:pt x="4952" y="432"/>
                  <a:pt x="4904" y="434"/>
                </a:cubicBezTo>
                <a:cubicBezTo>
                  <a:pt x="4892" y="434"/>
                  <a:pt x="4892" y="434"/>
                  <a:pt x="4892" y="434"/>
                </a:cubicBezTo>
                <a:cubicBezTo>
                  <a:pt x="4854" y="434"/>
                  <a:pt x="4850" y="422"/>
                  <a:pt x="4850" y="366"/>
                </a:cubicBezTo>
                <a:cubicBezTo>
                  <a:pt x="4850" y="274"/>
                  <a:pt x="4850" y="274"/>
                  <a:pt x="4850" y="274"/>
                </a:cubicBezTo>
                <a:cubicBezTo>
                  <a:pt x="4850" y="256"/>
                  <a:pt x="4848" y="240"/>
                  <a:pt x="4844" y="228"/>
                </a:cubicBezTo>
                <a:cubicBezTo>
                  <a:pt x="4830" y="186"/>
                  <a:pt x="4796" y="170"/>
                  <a:pt x="4748" y="170"/>
                </a:cubicBezTo>
                <a:cubicBezTo>
                  <a:pt x="4718" y="170"/>
                  <a:pt x="4674" y="180"/>
                  <a:pt x="4650" y="202"/>
                </a:cubicBezTo>
                <a:cubicBezTo>
                  <a:pt x="4652" y="214"/>
                  <a:pt x="4664" y="240"/>
                  <a:pt x="4670" y="248"/>
                </a:cubicBezTo>
                <a:cubicBezTo>
                  <a:pt x="4676" y="246"/>
                  <a:pt x="4676" y="246"/>
                  <a:pt x="4676" y="246"/>
                </a:cubicBezTo>
                <a:cubicBezTo>
                  <a:pt x="4688" y="216"/>
                  <a:pt x="4708" y="194"/>
                  <a:pt x="4742" y="194"/>
                </a:cubicBezTo>
                <a:cubicBezTo>
                  <a:pt x="4778" y="194"/>
                  <a:pt x="4794" y="220"/>
                  <a:pt x="4794" y="250"/>
                </a:cubicBezTo>
                <a:cubicBezTo>
                  <a:pt x="4794" y="282"/>
                  <a:pt x="4794" y="282"/>
                  <a:pt x="4794" y="282"/>
                </a:cubicBezTo>
                <a:cubicBezTo>
                  <a:pt x="4794" y="302"/>
                  <a:pt x="4702" y="306"/>
                  <a:pt x="4664" y="338"/>
                </a:cubicBezTo>
                <a:cubicBezTo>
                  <a:pt x="4652" y="350"/>
                  <a:pt x="4642" y="364"/>
                  <a:pt x="4642" y="384"/>
                </a:cubicBezTo>
                <a:cubicBezTo>
                  <a:pt x="4642" y="426"/>
                  <a:pt x="4672" y="456"/>
                  <a:pt x="4716" y="456"/>
                </a:cubicBezTo>
                <a:cubicBezTo>
                  <a:pt x="4744" y="456"/>
                  <a:pt x="4768" y="446"/>
                  <a:pt x="4794" y="418"/>
                </a:cubicBezTo>
                <a:cubicBezTo>
                  <a:pt x="4798" y="438"/>
                  <a:pt x="4814" y="448"/>
                  <a:pt x="4842" y="448"/>
                </a:cubicBezTo>
                <a:cubicBezTo>
                  <a:pt x="4906" y="448"/>
                  <a:pt x="4906" y="448"/>
                  <a:pt x="4906" y="448"/>
                </a:cubicBezTo>
                <a:cubicBezTo>
                  <a:pt x="4906" y="448"/>
                  <a:pt x="4906" y="448"/>
                  <a:pt x="4906" y="448"/>
                </a:cubicBezTo>
                <a:cubicBezTo>
                  <a:pt x="5048" y="448"/>
                  <a:pt x="5048" y="448"/>
                  <a:pt x="5048" y="448"/>
                </a:cubicBezTo>
                <a:cubicBezTo>
                  <a:pt x="5048" y="436"/>
                  <a:pt x="5048" y="436"/>
                  <a:pt x="5048" y="436"/>
                </a:cubicBezTo>
                <a:cubicBezTo>
                  <a:pt x="5006" y="432"/>
                  <a:pt x="5004" y="434"/>
                  <a:pt x="5004" y="338"/>
                </a:cubicBezTo>
                <a:cubicBezTo>
                  <a:pt x="5004" y="262"/>
                  <a:pt x="5004" y="262"/>
                  <a:pt x="5004" y="262"/>
                </a:cubicBezTo>
                <a:cubicBezTo>
                  <a:pt x="5004" y="236"/>
                  <a:pt x="5038" y="206"/>
                  <a:pt x="5080" y="206"/>
                </a:cubicBezTo>
                <a:cubicBezTo>
                  <a:pt x="5114" y="206"/>
                  <a:pt x="5140" y="220"/>
                  <a:pt x="5140" y="286"/>
                </a:cubicBezTo>
                <a:cubicBezTo>
                  <a:pt x="5140" y="340"/>
                  <a:pt x="5140" y="340"/>
                  <a:pt x="5140" y="340"/>
                </a:cubicBezTo>
                <a:cubicBezTo>
                  <a:pt x="5140" y="432"/>
                  <a:pt x="5136" y="432"/>
                  <a:pt x="5098" y="434"/>
                </a:cubicBezTo>
                <a:cubicBezTo>
                  <a:pt x="5098" y="446"/>
                  <a:pt x="5098" y="446"/>
                  <a:pt x="5098" y="446"/>
                </a:cubicBezTo>
                <a:cubicBezTo>
                  <a:pt x="5240" y="446"/>
                  <a:pt x="5240" y="446"/>
                  <a:pt x="5240" y="446"/>
                </a:cubicBezTo>
                <a:lnTo>
                  <a:pt x="5240" y="434"/>
                </a:lnTo>
                <a:close/>
                <a:moveTo>
                  <a:pt x="5516" y="192"/>
                </a:moveTo>
                <a:cubicBezTo>
                  <a:pt x="5516" y="180"/>
                  <a:pt x="5516" y="180"/>
                  <a:pt x="5516" y="180"/>
                </a:cubicBezTo>
                <a:cubicBezTo>
                  <a:pt x="5418" y="180"/>
                  <a:pt x="5418" y="180"/>
                  <a:pt x="5418" y="180"/>
                </a:cubicBezTo>
                <a:cubicBezTo>
                  <a:pt x="5418" y="192"/>
                  <a:pt x="5418" y="192"/>
                  <a:pt x="5418" y="192"/>
                </a:cubicBezTo>
                <a:cubicBezTo>
                  <a:pt x="5442" y="194"/>
                  <a:pt x="5454" y="206"/>
                  <a:pt x="5446" y="234"/>
                </a:cubicBezTo>
                <a:cubicBezTo>
                  <a:pt x="5394" y="390"/>
                  <a:pt x="5394" y="390"/>
                  <a:pt x="5394" y="390"/>
                </a:cubicBezTo>
                <a:cubicBezTo>
                  <a:pt x="5342" y="270"/>
                  <a:pt x="5342" y="270"/>
                  <a:pt x="5342" y="270"/>
                </a:cubicBezTo>
                <a:cubicBezTo>
                  <a:pt x="5328" y="238"/>
                  <a:pt x="5322" y="224"/>
                  <a:pt x="5322" y="212"/>
                </a:cubicBezTo>
                <a:cubicBezTo>
                  <a:pt x="5322" y="202"/>
                  <a:pt x="5328" y="196"/>
                  <a:pt x="5348" y="192"/>
                </a:cubicBezTo>
                <a:cubicBezTo>
                  <a:pt x="5348" y="180"/>
                  <a:pt x="5348" y="180"/>
                  <a:pt x="5348" y="180"/>
                </a:cubicBezTo>
                <a:cubicBezTo>
                  <a:pt x="5220" y="180"/>
                  <a:pt x="5220" y="180"/>
                  <a:pt x="5220" y="180"/>
                </a:cubicBezTo>
                <a:cubicBezTo>
                  <a:pt x="5220" y="192"/>
                  <a:pt x="5220" y="192"/>
                  <a:pt x="5220" y="192"/>
                </a:cubicBezTo>
                <a:cubicBezTo>
                  <a:pt x="5252" y="194"/>
                  <a:pt x="5254" y="198"/>
                  <a:pt x="5296" y="292"/>
                </a:cubicBezTo>
                <a:cubicBezTo>
                  <a:pt x="5368" y="450"/>
                  <a:pt x="5368" y="450"/>
                  <a:pt x="5368" y="450"/>
                </a:cubicBezTo>
                <a:cubicBezTo>
                  <a:pt x="5344" y="512"/>
                  <a:pt x="5306" y="546"/>
                  <a:pt x="5228" y="564"/>
                </a:cubicBezTo>
                <a:cubicBezTo>
                  <a:pt x="5232" y="576"/>
                  <a:pt x="5246" y="600"/>
                  <a:pt x="5254" y="606"/>
                </a:cubicBezTo>
                <a:cubicBezTo>
                  <a:pt x="5356" y="564"/>
                  <a:pt x="5376" y="498"/>
                  <a:pt x="5412" y="396"/>
                </a:cubicBezTo>
                <a:cubicBezTo>
                  <a:pt x="5466" y="242"/>
                  <a:pt x="5466" y="242"/>
                  <a:pt x="5466" y="242"/>
                </a:cubicBezTo>
                <a:cubicBezTo>
                  <a:pt x="5478" y="206"/>
                  <a:pt x="5498" y="192"/>
                  <a:pt x="5516" y="192"/>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600" kern="1200">
                <a:solidFill>
                  <a:schemeClr val="tx1"/>
                </a:solidFill>
                <a:latin typeface="Arial" charset="0"/>
                <a:ea typeface="+mn-ea"/>
                <a:cs typeface="+mn-cs"/>
              </a:defRPr>
            </a:lvl1pPr>
            <a:lvl2pPr marL="457200" algn="l" rtl="0" fontAlgn="base">
              <a:spcBef>
                <a:spcPct val="0"/>
              </a:spcBef>
              <a:spcAft>
                <a:spcPct val="0"/>
              </a:spcAft>
              <a:defRPr sz="1600" kern="1200">
                <a:solidFill>
                  <a:schemeClr val="tx1"/>
                </a:solidFill>
                <a:latin typeface="Arial" charset="0"/>
                <a:ea typeface="+mn-ea"/>
                <a:cs typeface="+mn-cs"/>
              </a:defRPr>
            </a:lvl2pPr>
            <a:lvl3pPr marL="914400" algn="l" rtl="0" fontAlgn="base">
              <a:spcBef>
                <a:spcPct val="0"/>
              </a:spcBef>
              <a:spcAft>
                <a:spcPct val="0"/>
              </a:spcAft>
              <a:defRPr sz="1600" kern="1200">
                <a:solidFill>
                  <a:schemeClr val="tx1"/>
                </a:solidFill>
                <a:latin typeface="Arial" charset="0"/>
                <a:ea typeface="+mn-ea"/>
                <a:cs typeface="+mn-cs"/>
              </a:defRPr>
            </a:lvl3pPr>
            <a:lvl4pPr marL="1371600" algn="l" rtl="0" fontAlgn="base">
              <a:spcBef>
                <a:spcPct val="0"/>
              </a:spcBef>
              <a:spcAft>
                <a:spcPct val="0"/>
              </a:spcAft>
              <a:defRPr sz="1600" kern="1200">
                <a:solidFill>
                  <a:schemeClr val="tx1"/>
                </a:solidFill>
                <a:latin typeface="Arial" charset="0"/>
                <a:ea typeface="+mn-ea"/>
                <a:cs typeface="+mn-cs"/>
              </a:defRPr>
            </a:lvl4pPr>
            <a:lvl5pPr marL="1828800" algn="l" rtl="0" fontAlgn="base">
              <a:spcBef>
                <a:spcPct val="0"/>
              </a:spcBef>
              <a:spcAft>
                <a:spcPct val="0"/>
              </a:spcAft>
              <a:defRPr sz="1600" kern="1200">
                <a:solidFill>
                  <a:schemeClr val="tx1"/>
                </a:solidFill>
                <a:latin typeface="Arial" charset="0"/>
                <a:ea typeface="+mn-ea"/>
                <a:cs typeface="+mn-cs"/>
              </a:defRPr>
            </a:lvl5pPr>
            <a:lvl6pPr marL="2286000" algn="l" defTabSz="914400" rtl="0" eaLnBrk="1" latinLnBrk="0" hangingPunct="1">
              <a:defRPr sz="1600" kern="1200">
                <a:solidFill>
                  <a:schemeClr val="tx1"/>
                </a:solidFill>
                <a:latin typeface="Arial" charset="0"/>
                <a:ea typeface="+mn-ea"/>
                <a:cs typeface="+mn-cs"/>
              </a:defRPr>
            </a:lvl6pPr>
            <a:lvl7pPr marL="2743200" algn="l" defTabSz="914400" rtl="0" eaLnBrk="1" latinLnBrk="0" hangingPunct="1">
              <a:defRPr sz="1600" kern="1200">
                <a:solidFill>
                  <a:schemeClr val="tx1"/>
                </a:solidFill>
                <a:latin typeface="Arial" charset="0"/>
                <a:ea typeface="+mn-ea"/>
                <a:cs typeface="+mn-cs"/>
              </a:defRPr>
            </a:lvl7pPr>
            <a:lvl8pPr marL="3200400" algn="l" defTabSz="914400" rtl="0" eaLnBrk="1" latinLnBrk="0" hangingPunct="1">
              <a:defRPr sz="1600" kern="1200">
                <a:solidFill>
                  <a:schemeClr val="tx1"/>
                </a:solidFill>
                <a:latin typeface="Arial" charset="0"/>
                <a:ea typeface="+mn-ea"/>
                <a:cs typeface="+mn-cs"/>
              </a:defRPr>
            </a:lvl8pPr>
            <a:lvl9pPr marL="3657600" algn="l" defTabSz="914400" rtl="0" eaLnBrk="1" latinLnBrk="0" hangingPunct="1">
              <a:defRPr sz="1600" kern="1200">
                <a:solidFill>
                  <a:schemeClr val="tx1"/>
                </a:solidFill>
                <a:latin typeface="Arial" charset="0"/>
                <a:ea typeface="+mn-ea"/>
                <a:cs typeface="+mn-cs"/>
              </a:defRPr>
            </a:lvl9pPr>
          </a:lstStyle>
          <a:p>
            <a:endParaRPr lang="en-US" baseline="0" dirty="0">
              <a:solidFill>
                <a:srgbClr val="000000"/>
              </a:solidFill>
              <a:latin typeface="+mn-lt"/>
            </a:endParaRPr>
          </a:p>
        </p:txBody>
      </p:sp>
      <p:sp>
        <p:nvSpPr>
          <p:cNvPr id="27" name="Disclaimer-English (United States)" hidden="1"/>
          <p:cNvSpPr>
            <a:spLocks noChangeArrowheads="1"/>
          </p:cNvSpPr>
          <p:nvPr/>
        </p:nvSpPr>
        <p:spPr bwMode="black">
          <a:xfrm>
            <a:off x="2268266" y="6287785"/>
            <a:ext cx="3544453" cy="36908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t" anchorCtr="0">
            <a:noAutofit/>
          </a:bodyPr>
          <a:lstStyle/>
          <a:p>
            <a:pPr defTabSz="804863" eaLnBrk="0" hangingPunct="0"/>
            <a:r>
              <a:rPr lang="en-US" sz="800" baseline="0" dirty="0">
                <a:solidFill>
                  <a:srgbClr val="FFFFFF"/>
                </a:solidFill>
                <a:latin typeface="+mn-lt"/>
              </a:rPr>
              <a:t>CONFIDENTIAL AND PROPRIETARY</a:t>
            </a:r>
          </a:p>
          <a:p>
            <a:pPr defTabSz="804863" eaLnBrk="0" hangingPunct="0"/>
            <a:r>
              <a:rPr lang="en-US" sz="800" baseline="0" dirty="0">
                <a:solidFill>
                  <a:srgbClr val="FFFFFF"/>
                </a:solidFill>
                <a:latin typeface="+mn-lt"/>
              </a:rPr>
              <a:t>Any use of this material without specific permission of McKinsey &amp; Company is strictly prohibited</a:t>
            </a:r>
          </a:p>
        </p:txBody>
      </p:sp>
    </p:spTree>
    <p:extLst>
      <p:ext uri="{BB962C8B-B14F-4D97-AF65-F5344CB8AC3E}">
        <p14:creationId xmlns:p14="http://schemas.microsoft.com/office/powerpoint/2010/main" val="1697766404"/>
      </p:ext>
    </p:extLst>
  </p:cSld>
  <p:clrMapOvr>
    <a:masterClrMapping/>
  </p:clrMapOvr>
  <p:extLst mod="1">
    <p:ext uri="{DCECCB84-F9BA-43D5-87BE-67443E8EF086}">
      <p15:sldGuideLst xmlns:p15="http://schemas.microsoft.com/office/powerpoint/2012/main">
        <p15:guide id="1" orient="horz" pos="2117">
          <p15:clr>
            <a:srgbClr val="FBAE40"/>
          </p15:clr>
        </p15:guide>
        <p15:guide id="2" pos="1416">
          <p15:clr>
            <a:srgbClr val="FBAE40"/>
          </p15:clr>
        </p15:guide>
      </p15:sldGuideLst>
    </p:ext>
  </p:extLst>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6E228F5-5CF1-42E1-9748-97D7582A107A}"/>
              </a:ext>
            </a:extLst>
          </p:cNvPr>
          <p:cNvGraphicFramePr>
            <a:graphicFrameLocks noChangeAspect="1"/>
          </p:cNvGraphicFramePr>
          <p:nvPr>
            <p:custDataLst>
              <p:tags r:id="rId2"/>
            </p:custDataLst>
            <p:extLst>
              <p:ext uri="{D42A27DB-BD31-4B8C-83A1-F6EECF244321}">
                <p14:modId xmlns:p14="http://schemas.microsoft.com/office/powerpoint/2010/main" val="64728157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2228" name="think-cell Slide" r:id="rId5" imgW="353" imgH="353" progId="TCLayout.ActiveDocument.1">
                  <p:embed/>
                </p:oleObj>
              </mc:Choice>
              <mc:Fallback>
                <p:oleObj name="think-cell Slide" r:id="rId5" imgW="353" imgH="353" progId="TCLayout.ActiveDocument.1">
                  <p:embed/>
                  <p:pic>
                    <p:nvPicPr>
                      <p:cNvPr id="3" name="Object 2" hidden="1">
                        <a:extLst>
                          <a:ext uri="{FF2B5EF4-FFF2-40B4-BE49-F238E27FC236}">
                            <a16:creationId xmlns:a16="http://schemas.microsoft.com/office/drawing/2014/main" id="{C6E228F5-5CF1-42E1-9748-97D7582A107A}"/>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2. Slide Title"/>
          <p:cNvSpPr>
            <a:spLocks noGrp="1"/>
          </p:cNvSpPr>
          <p:nvPr>
            <p:ph type="title"/>
          </p:nvPr>
        </p:nvSpPr>
        <p:spPr bwMode="auto"/>
        <p:txBody>
          <a:bodyPr/>
          <a:lstStyle/>
          <a:p>
            <a:r>
              <a:rPr lang="en-US"/>
              <a:t>Click to edit Master title style</a:t>
            </a:r>
            <a:endParaRPr lang="en-US" dirty="0"/>
          </a:p>
        </p:txBody>
      </p:sp>
      <p:sp>
        <p:nvSpPr>
          <p:cNvPr id="8" name="Slide Number"/>
          <p:cNvSpPr txBox="1">
            <a:spLocks/>
          </p:cNvSpPr>
          <p:nvPr/>
        </p:nvSpPr>
        <p:spPr bwMode="auto">
          <a:xfrm>
            <a:off x="8564563" y="6508272"/>
            <a:ext cx="125034" cy="123111"/>
          </a:xfrm>
          <a:prstGeom prst="rect">
            <a:avLst/>
          </a:prstGeom>
        </p:spPr>
        <p:txBody>
          <a:bodyPr vert="horz" wrap="none" lIns="0" tIns="0" rIns="0" bIns="0" rtlCol="0" anchor="ctr">
            <a:spAutoFit/>
          </a:bodyPr>
          <a:lstStyle>
            <a:defPPr>
              <a:defRPr lang="en-US"/>
            </a:defPPr>
            <a:lvl1pPr>
              <a:defRPr sz="1000" baseline="0">
                <a:latin typeface="+mn-lt"/>
              </a:defRPr>
            </a:lvl1pPr>
          </a:lstStyle>
          <a:p>
            <a:fld id="{42C328C1-A84F-4A39-A664-DBA00541A8C6}" type="slidenum">
              <a:rPr lang="en-US" sz="800" baseline="0" smtClean="0">
                <a:solidFill>
                  <a:srgbClr val="808080"/>
                </a:solidFill>
                <a:latin typeface="+mn-lt"/>
              </a:rPr>
              <a:pPr/>
              <a:t>‹#›</a:t>
            </a:fld>
            <a:endParaRPr lang="en-US" sz="800" baseline="0" dirty="0">
              <a:solidFill>
                <a:srgbClr val="808080"/>
              </a:solidFill>
              <a:latin typeface="+mn-lt"/>
            </a:endParaRPr>
          </a:p>
        </p:txBody>
      </p:sp>
      <p:sp>
        <p:nvSpPr>
          <p:cNvPr id="9" name="SlideLogoText"/>
          <p:cNvSpPr>
            <a:spLocks noChangeArrowheads="1"/>
          </p:cNvSpPr>
          <p:nvPr>
            <p:custDataLst>
              <p:tags r:id="rId3"/>
            </p:custDataLst>
          </p:nvPr>
        </p:nvSpPr>
        <p:spPr bwMode="auto">
          <a:xfrm>
            <a:off x="7450817" y="6508272"/>
            <a:ext cx="1013098"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algn="r" defTabSz="895350"/>
            <a:r>
              <a:rPr lang="en-US" sz="800" baseline="0" dirty="0">
                <a:solidFill>
                  <a:srgbClr val="808080"/>
                </a:solidFill>
                <a:latin typeface="+mn-lt"/>
              </a:rPr>
              <a:t>McKinsey &amp; Company</a:t>
            </a:r>
          </a:p>
        </p:txBody>
      </p:sp>
      <p:sp>
        <p:nvSpPr>
          <p:cNvPr id="5" name="doc id" hidden="1"/>
          <p:cNvSpPr txBox="1">
            <a:spLocks noChangeArrowheads="1"/>
          </p:cNvSpPr>
          <p:nvPr/>
        </p:nvSpPr>
        <p:spPr bwMode="white">
          <a:xfrm>
            <a:off x="8104473" y="36513"/>
            <a:ext cx="634716" cy="115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hangingPunct="1">
              <a:defRPr/>
            </a:pPr>
            <a:endParaRPr lang="en-US" sz="800" baseline="0" dirty="0">
              <a:solidFill>
                <a:schemeClr val="accent1"/>
              </a:solidFill>
              <a:latin typeface="+mn-lt"/>
              <a:ea typeface="+mn-ea"/>
            </a:endParaRPr>
          </a:p>
        </p:txBody>
      </p:sp>
    </p:spTree>
    <p:extLst>
      <p:ext uri="{BB962C8B-B14F-4D97-AF65-F5344CB8AC3E}">
        <p14:creationId xmlns:p14="http://schemas.microsoft.com/office/powerpoint/2010/main" val="3477192170"/>
      </p:ext>
    </p:extLst>
  </p:cSld>
  <p:clrMapOvr>
    <a:masterClrMapping/>
  </p:clrMapOvr>
  <p:extLst mod="1">
    <p:ext uri="{DCECCB84-F9BA-43D5-87BE-67443E8EF086}">
      <p15:sldGuideLst xmlns:p15="http://schemas.microsoft.com/office/powerpoint/2012/main">
        <p15:guide id="1" pos="5505">
          <p15:clr>
            <a:srgbClr val="F26B43"/>
          </p15:clr>
        </p15:guide>
        <p15:guide id="2" pos="74">
          <p15:clr>
            <a:srgbClr val="F26B43"/>
          </p15:clr>
        </p15:guide>
        <p15:guide id="3" orient="horz" pos="571">
          <p15:clr>
            <a:srgbClr val="F26B43"/>
          </p15:clr>
        </p15:guide>
        <p15:guide id="4" orient="horz" pos="3911">
          <p15:clr>
            <a:srgbClr val="F26B43"/>
          </p15:clr>
        </p15:guide>
      </p15:sldGuideLst>
    </p:ext>
  </p:extLs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p:cSld name="1_Title Only">
    <p:bg>
      <p:bgPr>
        <a:solidFill>
          <a:schemeClr val="accent2"/>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F4AD34F-3B47-47E2-A09C-FFEB949F6A10}"/>
              </a:ext>
            </a:extLst>
          </p:cNvPr>
          <p:cNvGraphicFramePr>
            <a:graphicFrameLocks noChangeAspect="1"/>
          </p:cNvGraphicFramePr>
          <p:nvPr>
            <p:custDataLst>
              <p:tags r:id="rId2"/>
            </p:custDataLst>
            <p:extLst>
              <p:ext uri="{D42A27DB-BD31-4B8C-83A1-F6EECF244321}">
                <p14:modId xmlns:p14="http://schemas.microsoft.com/office/powerpoint/2010/main" val="252491104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3252" name="think-cell Slide" r:id="rId5" imgW="395" imgH="394" progId="TCLayout.ActiveDocument.1">
                  <p:embed/>
                </p:oleObj>
              </mc:Choice>
              <mc:Fallback>
                <p:oleObj name="think-cell Slide" r:id="rId5" imgW="395" imgH="394" progId="TCLayout.ActiveDocument.1">
                  <p:embed/>
                  <p:pic>
                    <p:nvPicPr>
                      <p:cNvPr id="3" name="Object 2" hidden="1">
                        <a:extLst>
                          <a:ext uri="{FF2B5EF4-FFF2-40B4-BE49-F238E27FC236}">
                            <a16:creationId xmlns:a16="http://schemas.microsoft.com/office/drawing/2014/main" id="{EF4AD34F-3B47-47E2-A09C-FFEB949F6A10}"/>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endParaRPr lang="en-US" dirty="0"/>
          </a:p>
        </p:txBody>
      </p:sp>
      <p:sp>
        <p:nvSpPr>
          <p:cNvPr id="15" name="Slide Number"/>
          <p:cNvSpPr txBox="1">
            <a:spLocks/>
          </p:cNvSpPr>
          <p:nvPr/>
        </p:nvSpPr>
        <p:spPr>
          <a:xfrm>
            <a:off x="8564563" y="6508272"/>
            <a:ext cx="125034" cy="123111"/>
          </a:xfrm>
          <a:prstGeom prst="rect">
            <a:avLst/>
          </a:prstGeom>
        </p:spPr>
        <p:txBody>
          <a:bodyPr vert="horz" wrap="none" lIns="0" tIns="0" rIns="0" bIns="0" rtlCol="0" anchor="ctr">
            <a:spAutoFit/>
          </a:bodyPr>
          <a:lstStyle>
            <a:defPPr>
              <a:defRPr lang="en-US"/>
            </a:defPPr>
            <a:lvl1pPr>
              <a:defRPr sz="1000" baseline="0">
                <a:latin typeface="+mn-lt"/>
              </a:defRPr>
            </a:lvl1pPr>
          </a:lstStyle>
          <a:p>
            <a:fld id="{42C328C1-A84F-4A39-A664-DBA00541A8C6}" type="slidenum">
              <a:rPr lang="en-US" sz="800" baseline="0" smtClean="0">
                <a:solidFill>
                  <a:srgbClr val="FFFFFF"/>
                </a:solidFill>
                <a:latin typeface="+mn-lt"/>
              </a:rPr>
              <a:pPr/>
              <a:t>‹#›</a:t>
            </a:fld>
            <a:endParaRPr lang="en-US" sz="800" baseline="0" dirty="0">
              <a:solidFill>
                <a:srgbClr val="FFFFFF"/>
              </a:solidFill>
              <a:latin typeface="+mn-lt"/>
            </a:endParaRPr>
          </a:p>
        </p:txBody>
      </p:sp>
      <p:sp>
        <p:nvSpPr>
          <p:cNvPr id="16" name="SlideLogoText"/>
          <p:cNvSpPr>
            <a:spLocks noChangeArrowheads="1"/>
          </p:cNvSpPr>
          <p:nvPr>
            <p:custDataLst>
              <p:tags r:id="rId3"/>
            </p:custDataLst>
          </p:nvPr>
        </p:nvSpPr>
        <p:spPr bwMode="auto">
          <a:xfrm>
            <a:off x="7450817" y="6508272"/>
            <a:ext cx="1013098"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algn="r" defTabSz="895350"/>
            <a:r>
              <a:rPr lang="en-US" sz="800" baseline="0" dirty="0">
                <a:solidFill>
                  <a:srgbClr val="FFFFFF"/>
                </a:solidFill>
                <a:latin typeface="+mn-lt"/>
              </a:rPr>
              <a:t>McKinsey &amp; Company</a:t>
            </a:r>
          </a:p>
        </p:txBody>
      </p:sp>
      <p:sp>
        <p:nvSpPr>
          <p:cNvPr id="5" name="doc id" hidden="1"/>
          <p:cNvSpPr txBox="1">
            <a:spLocks noChangeArrowheads="1"/>
          </p:cNvSpPr>
          <p:nvPr/>
        </p:nvSpPr>
        <p:spPr bwMode="white">
          <a:xfrm>
            <a:off x="8104473" y="36513"/>
            <a:ext cx="634716" cy="115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hangingPunct="1">
              <a:defRPr/>
            </a:pPr>
            <a:endParaRPr lang="en-US" sz="800" baseline="0" dirty="0">
              <a:solidFill>
                <a:schemeClr val="accent1"/>
              </a:solidFill>
              <a:latin typeface="+mn-lt"/>
              <a:ea typeface="+mn-ea"/>
            </a:endParaRPr>
          </a:p>
        </p:txBody>
      </p:sp>
    </p:spTree>
    <p:extLst>
      <p:ext uri="{BB962C8B-B14F-4D97-AF65-F5344CB8AC3E}">
        <p14:creationId xmlns:p14="http://schemas.microsoft.com/office/powerpoint/2010/main" val="2987252385"/>
      </p:ext>
    </p:extLst>
  </p:cSld>
  <p:clrMapOvr>
    <a:masterClrMapping/>
  </p:clrMapOvr>
  <p:extLst mod="1">
    <p:ext uri="{DCECCB84-F9BA-43D5-87BE-67443E8EF086}">
      <p15:sldGuideLst xmlns:p15="http://schemas.microsoft.com/office/powerpoint/2012/main">
        <p15:guide id="1" pos="3978">
          <p15:clr>
            <a:srgbClr val="000000"/>
          </p15:clr>
        </p15:guide>
        <p15:guide id="2" orient="horz" pos="570">
          <p15:clr>
            <a:srgbClr val="000000"/>
          </p15:clr>
        </p15:guide>
        <p15:guide id="3" orient="horz" pos="3912">
          <p15:clr>
            <a:srgbClr val="000000"/>
          </p15:clr>
        </p15:guide>
        <p15:guide id="4" pos="72">
          <p15:clr>
            <a:srgbClr val="000000"/>
          </p15:clr>
        </p15:guide>
      </p15:sldGuideLst>
    </p:ext>
  </p:extLst>
</p:sldLayout>
</file>

<file path=ppt/slideLayouts/slideLayout175.xml><?xml version="1.0" encoding="utf-8"?>
<p:sldLayout xmlns:a="http://schemas.openxmlformats.org/drawingml/2006/main" xmlns:r="http://schemas.openxmlformats.org/officeDocument/2006/relationships" xmlns:p="http://schemas.openxmlformats.org/presentationml/2006/main" type="titleOnly">
  <p:cSld name="2_Title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ECD524A-1569-4253-8CD8-48D288AD883C}"/>
              </a:ext>
            </a:extLst>
          </p:cNvPr>
          <p:cNvGraphicFramePr>
            <a:graphicFrameLocks noChangeAspect="1"/>
          </p:cNvGraphicFramePr>
          <p:nvPr>
            <p:custDataLst>
              <p:tags r:id="rId2"/>
            </p:custDataLst>
            <p:extLst>
              <p:ext uri="{D42A27DB-BD31-4B8C-83A1-F6EECF244321}">
                <p14:modId xmlns:p14="http://schemas.microsoft.com/office/powerpoint/2010/main" val="426341427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4276" name="think-cell Slide" r:id="rId4" imgW="395" imgH="394" progId="TCLayout.ActiveDocument.1">
                  <p:embed/>
                </p:oleObj>
              </mc:Choice>
              <mc:Fallback>
                <p:oleObj name="think-cell Slide" r:id="rId4" imgW="395" imgH="394" progId="TCLayout.ActiveDocument.1">
                  <p:embed/>
                  <p:pic>
                    <p:nvPicPr>
                      <p:cNvPr id="3" name="Object 2" hidden="1">
                        <a:extLst>
                          <a:ext uri="{FF2B5EF4-FFF2-40B4-BE49-F238E27FC236}">
                            <a16:creationId xmlns:a16="http://schemas.microsoft.com/office/drawing/2014/main" id="{5ECD524A-1569-4253-8CD8-48D288AD883C}"/>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84768857"/>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pic>
        <p:nvPicPr>
          <p:cNvPr id="2" name="background"/>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0" y="198"/>
            <a:ext cx="8961438" cy="6721079"/>
          </a:xfrm>
          <a:prstGeom prst="rect">
            <a:avLst/>
          </a:prstGeom>
        </p:spPr>
      </p:pic>
      <p:sp>
        <p:nvSpPr>
          <p:cNvPr id="28" name="TitleRectangle"/>
          <p:cNvSpPr txBox="1">
            <a:spLocks/>
          </p:cNvSpPr>
          <p:nvPr/>
        </p:nvSpPr>
        <p:spPr>
          <a:xfrm>
            <a:off x="2084388" y="0"/>
            <a:ext cx="6875462" cy="3575976"/>
          </a:xfrm>
          <a:prstGeom prst="rect">
            <a:avLst/>
          </a:prstGeom>
          <a:solidFill>
            <a:srgbClr val="002960">
              <a:alpha val="92000"/>
            </a:srgbClr>
          </a:solidFill>
        </p:spPr>
        <p:txBody>
          <a:bodyPr vert="horz" wrap="square" lIns="216000" tIns="1440000" rIns="216000" bIns="108000" rtlCol="0">
            <a:noAutofit/>
          </a:bodyPr>
          <a:lstStyle>
            <a:lvl1pPr marL="0" indent="0" algn="l" defTabSz="914400" rtl="0" eaLnBrk="1" latinLnBrk="0" hangingPunct="1">
              <a:spcBef>
                <a:spcPct val="20000"/>
              </a:spcBef>
              <a:spcAft>
                <a:spcPts val="6000"/>
              </a:spcAft>
              <a:buFont typeface="Arial" pitchFamily="34" charset="0"/>
              <a:buNone/>
              <a:defRPr sz="3200" kern="1200">
                <a:solidFill>
                  <a:schemeClr val="accent1"/>
                </a:solidFill>
                <a:latin typeface="+mn-lt"/>
                <a:ea typeface="+mn-ea"/>
                <a:cs typeface="+mn-cs"/>
              </a:defRPr>
            </a:lvl1pPr>
            <a:lvl2pPr marL="0" indent="0" algn="l" defTabSz="914400" rtl="0" eaLnBrk="1" latinLnBrk="0" hangingPunct="1">
              <a:spcBef>
                <a:spcPct val="20000"/>
              </a:spcBef>
              <a:buFont typeface="Wingdings" charset="2"/>
              <a:buNone/>
              <a:defRPr sz="1400" kern="1200">
                <a:solidFill>
                  <a:schemeClr val="tx1">
                    <a:lumMod val="50000"/>
                    <a:lumOff val="50000"/>
                  </a:schemeClr>
                </a:solidFill>
                <a:latin typeface="+mn-lt"/>
                <a:ea typeface="+mn-ea"/>
                <a:cs typeface="+mn-cs"/>
              </a:defRPr>
            </a:lvl2pPr>
            <a:lvl3pPr marL="1143000" indent="-228600" algn="l" defTabSz="914400" rtl="0" eaLnBrk="1" latinLnBrk="0" hangingPunct="1">
              <a:spcBef>
                <a:spcPct val="20000"/>
              </a:spcBef>
              <a:buFont typeface="Lucida Grande"/>
              <a:buChar char="–"/>
              <a:defRPr sz="16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fontAlgn="auto">
              <a:defRPr/>
            </a:pPr>
            <a:r>
              <a:rPr lang="en-US" baseline="0" dirty="0">
                <a:solidFill>
                  <a:srgbClr val="00ADEF"/>
                </a:solidFill>
                <a:latin typeface="+mn-lt"/>
              </a:rPr>
              <a:t>
              </a:t>
            </a:r>
            <a:br>
              <a:rPr lang="en-US" baseline="0" dirty="0">
                <a:solidFill>
                  <a:srgbClr val="00ADEF"/>
                </a:solidFill>
                <a:latin typeface="+mn-lt"/>
              </a:rPr>
            </a:br>
            <a:endParaRPr lang="en-US" baseline="0" dirty="0">
              <a:solidFill>
                <a:srgbClr val="00ADEF"/>
              </a:solidFill>
              <a:latin typeface="+mn-lt"/>
            </a:endParaRPr>
          </a:p>
        </p:txBody>
      </p:sp>
      <p:graphicFrame>
        <p:nvGraphicFramePr>
          <p:cNvPr id="3" name="Object 2"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6324"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Working Draft Text" hidden="1"/>
          <p:cNvSpPr txBox="1">
            <a:spLocks noChangeArrowheads="1"/>
          </p:cNvSpPr>
          <p:nvPr/>
        </p:nvSpPr>
        <p:spPr bwMode="black">
          <a:xfrm>
            <a:off x="5992719" y="6287538"/>
            <a:ext cx="2790000"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800" b="1" baseline="0" dirty="0">
                <a:solidFill>
                  <a:srgbClr val="FFFFFF"/>
                </a:solidFill>
                <a:latin typeface="+mn-lt"/>
              </a:rPr>
              <a:t>WORKING DRAFT</a:t>
            </a:r>
          </a:p>
        </p:txBody>
      </p:sp>
      <p:sp>
        <p:nvSpPr>
          <p:cNvPr id="6" name="Working Draft" hidden="1"/>
          <p:cNvSpPr txBox="1">
            <a:spLocks noChangeArrowheads="1"/>
          </p:cNvSpPr>
          <p:nvPr/>
        </p:nvSpPr>
        <p:spPr bwMode="black">
          <a:xfrm>
            <a:off x="5992718" y="6410648"/>
            <a:ext cx="2968719"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800" baseline="0">
                <a:solidFill>
                  <a:srgbClr val="FFFFFF"/>
                </a:solidFill>
                <a:latin typeface="+mn-lt"/>
              </a:rPr>
              <a:t>Last Modified 21/05/2018 17:44 India Standard Time</a:t>
            </a:r>
            <a:endParaRPr lang="en-US" sz="800" baseline="0" dirty="0">
              <a:solidFill>
                <a:srgbClr val="FFFFFF"/>
              </a:solidFill>
              <a:latin typeface="+mn-lt"/>
            </a:endParaRPr>
          </a:p>
        </p:txBody>
      </p:sp>
      <p:sp>
        <p:nvSpPr>
          <p:cNvPr id="7" name="Printed" hidden="1"/>
          <p:cNvSpPr txBox="1">
            <a:spLocks noChangeArrowheads="1"/>
          </p:cNvSpPr>
          <p:nvPr/>
        </p:nvSpPr>
        <p:spPr bwMode="black">
          <a:xfrm>
            <a:off x="5992719" y="6533759"/>
            <a:ext cx="2790000"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800" baseline="0" dirty="0">
                <a:solidFill>
                  <a:srgbClr val="FFFFFF"/>
                </a:solidFill>
                <a:latin typeface="+mn-lt"/>
              </a:rPr>
              <a:t>Printed</a:t>
            </a:r>
          </a:p>
        </p:txBody>
      </p:sp>
      <p:sp>
        <p:nvSpPr>
          <p:cNvPr id="13314" name="Title"/>
          <p:cNvSpPr>
            <a:spLocks noGrp="1" noChangeArrowheads="1"/>
          </p:cNvSpPr>
          <p:nvPr>
            <p:ph type="ctrTitle"/>
          </p:nvPr>
        </p:nvSpPr>
        <p:spPr>
          <a:xfrm>
            <a:off x="2268266" y="1434419"/>
            <a:ext cx="6231663" cy="492443"/>
          </a:xfrm>
          <a:prstGeom prst="rect">
            <a:avLst/>
          </a:prstGeom>
        </p:spPr>
        <p:txBody>
          <a:bodyPr>
            <a:spAutoFit/>
          </a:bodyPr>
          <a:lstStyle>
            <a:lvl1pPr>
              <a:defRPr sz="3200" b="0" baseline="0">
                <a:solidFill>
                  <a:schemeClr val="accent2"/>
                </a:solidFill>
                <a:latin typeface="+mj-lt"/>
                <a:ea typeface="+mj-ea"/>
              </a:defRPr>
            </a:lvl1pPr>
          </a:lstStyle>
          <a:p>
            <a:pPr lvl="0" latinLnBrk="0"/>
            <a:r>
              <a:rPr lang="en-US" noProof="0"/>
              <a:t>Click to edit Master title style</a:t>
            </a:r>
            <a:endParaRPr lang="en-US" noProof="0" dirty="0"/>
          </a:p>
        </p:txBody>
      </p:sp>
      <p:sp>
        <p:nvSpPr>
          <p:cNvPr id="13315" name="Subtitle"/>
          <p:cNvSpPr>
            <a:spLocks noGrp="1" noChangeArrowheads="1"/>
          </p:cNvSpPr>
          <p:nvPr>
            <p:ph type="subTitle" idx="1"/>
          </p:nvPr>
        </p:nvSpPr>
        <p:spPr>
          <a:xfrm>
            <a:off x="2268266" y="2819401"/>
            <a:ext cx="6231663" cy="215444"/>
          </a:xfrm>
          <a:prstGeom prst="rect">
            <a:avLst/>
          </a:prstGeom>
        </p:spPr>
        <p:txBody>
          <a:bodyPr wrap="square">
            <a:spAutoFit/>
          </a:bodyPr>
          <a:lstStyle>
            <a:lvl1pPr>
              <a:defRPr sz="1400" cap="all" baseline="0">
                <a:solidFill>
                  <a:schemeClr val="bg1"/>
                </a:solidFill>
                <a:latin typeface="+mn-lt"/>
                <a:ea typeface="+mn-ea"/>
              </a:defRPr>
            </a:lvl1pPr>
          </a:lstStyle>
          <a:p>
            <a:pPr lvl="0" latinLnBrk="0"/>
            <a:r>
              <a:rPr lang="en-US" noProof="0"/>
              <a:t>Click to edit Master subtitle style</a:t>
            </a:r>
            <a:endParaRPr lang="en-US" noProof="0" dirty="0"/>
          </a:p>
        </p:txBody>
      </p:sp>
      <p:sp>
        <p:nvSpPr>
          <p:cNvPr id="57" name="Document type" hidden="1"/>
          <p:cNvSpPr txBox="1">
            <a:spLocks noChangeArrowheads="1"/>
          </p:cNvSpPr>
          <p:nvPr/>
        </p:nvSpPr>
        <p:spPr bwMode="gray">
          <a:xfrm>
            <a:off x="2268266" y="3227411"/>
            <a:ext cx="6231663"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00" baseline="0" dirty="0">
                <a:solidFill>
                  <a:schemeClr val="bg1"/>
                </a:solidFill>
                <a:latin typeface="+mn-lt"/>
              </a:rPr>
              <a:t>Document type | Date</a:t>
            </a:r>
          </a:p>
        </p:txBody>
      </p:sp>
      <p:sp>
        <p:nvSpPr>
          <p:cNvPr id="5" name="doc id" hidden="1"/>
          <p:cNvSpPr txBox="1">
            <a:spLocks noChangeArrowheads="1"/>
          </p:cNvSpPr>
          <p:nvPr/>
        </p:nvSpPr>
        <p:spPr bwMode="white">
          <a:xfrm>
            <a:off x="8443913" y="36513"/>
            <a:ext cx="295275" cy="1222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hangingPunct="1">
              <a:defRPr/>
            </a:pPr>
            <a:endParaRPr lang="en-US" sz="800" baseline="0" dirty="0">
              <a:solidFill>
                <a:srgbClr val="FFFFFF"/>
              </a:solidFill>
              <a:latin typeface="+mn-lt"/>
            </a:endParaRPr>
          </a:p>
        </p:txBody>
      </p:sp>
      <p:sp>
        <p:nvSpPr>
          <p:cNvPr id="43" name="LogoImage"/>
          <p:cNvSpPr>
            <a:spLocks noEditPoints="1"/>
          </p:cNvSpPr>
          <p:nvPr/>
        </p:nvSpPr>
        <p:spPr bwMode="white">
          <a:xfrm>
            <a:off x="2269098" y="182925"/>
            <a:ext cx="2176978" cy="238073"/>
          </a:xfrm>
          <a:custGeom>
            <a:avLst/>
            <a:gdLst>
              <a:gd name="T0" fmla="*/ 504 w 5516"/>
              <a:gd name="T1" fmla="*/ 26 h 606"/>
              <a:gd name="T2" fmla="*/ 18 w 5516"/>
              <a:gd name="T3" fmla="*/ 22 h 606"/>
              <a:gd name="T4" fmla="*/ 140 w 5516"/>
              <a:gd name="T5" fmla="*/ 436 h 606"/>
              <a:gd name="T6" fmla="*/ 408 w 5516"/>
              <a:gd name="T7" fmla="*/ 372 h 606"/>
              <a:gd name="T8" fmla="*/ 696 w 5516"/>
              <a:gd name="T9" fmla="*/ 422 h 606"/>
              <a:gd name="T10" fmla="*/ 768 w 5516"/>
              <a:gd name="T11" fmla="*/ 196 h 606"/>
              <a:gd name="T12" fmla="*/ 1272 w 5516"/>
              <a:gd name="T13" fmla="*/ 26 h 606"/>
              <a:gd name="T14" fmla="*/ 1302 w 5516"/>
              <a:gd name="T15" fmla="*/ 338 h 606"/>
              <a:gd name="T16" fmla="*/ 1202 w 5516"/>
              <a:gd name="T17" fmla="*/ 436 h 606"/>
              <a:gd name="T18" fmla="*/ 1030 w 5516"/>
              <a:gd name="T19" fmla="*/ 10 h 606"/>
              <a:gd name="T20" fmla="*/ 960 w 5516"/>
              <a:gd name="T21" fmla="*/ 22 h 606"/>
              <a:gd name="T22" fmla="*/ 804 w 5516"/>
              <a:gd name="T23" fmla="*/ 434 h 606"/>
              <a:gd name="T24" fmla="*/ 930 w 5516"/>
              <a:gd name="T25" fmla="*/ 246 h 606"/>
              <a:gd name="T26" fmla="*/ 1658 w 5516"/>
              <a:gd name="T27" fmla="*/ 342 h 606"/>
              <a:gd name="T28" fmla="*/ 1368 w 5516"/>
              <a:gd name="T29" fmla="*/ 188 h 606"/>
              <a:gd name="T30" fmla="*/ 1514 w 5516"/>
              <a:gd name="T31" fmla="*/ 436 h 606"/>
              <a:gd name="T32" fmla="*/ 1564 w 5516"/>
              <a:gd name="T33" fmla="*/ 434 h 606"/>
              <a:gd name="T34" fmla="*/ 1904 w 5516"/>
              <a:gd name="T35" fmla="*/ 184 h 606"/>
              <a:gd name="T36" fmla="*/ 1728 w 5516"/>
              <a:gd name="T37" fmla="*/ 366 h 606"/>
              <a:gd name="T38" fmla="*/ 2102 w 5516"/>
              <a:gd name="T39" fmla="*/ 192 h 606"/>
              <a:gd name="T40" fmla="*/ 1982 w 5516"/>
              <a:gd name="T41" fmla="*/ 320 h 606"/>
              <a:gd name="T42" fmla="*/ 2478 w 5516"/>
              <a:gd name="T43" fmla="*/ 242 h 606"/>
              <a:gd name="T44" fmla="*/ 2406 w 5516"/>
              <a:gd name="T45" fmla="*/ 390 h 606"/>
              <a:gd name="T46" fmla="*/ 2234 w 5516"/>
              <a:gd name="T47" fmla="*/ 192 h 606"/>
              <a:gd name="T48" fmla="*/ 2478 w 5516"/>
              <a:gd name="T49" fmla="*/ 242 h 606"/>
              <a:gd name="T50" fmla="*/ 2928 w 5516"/>
              <a:gd name="T51" fmla="*/ 448 h 606"/>
              <a:gd name="T52" fmla="*/ 2958 w 5516"/>
              <a:gd name="T53" fmla="*/ 230 h 606"/>
              <a:gd name="T54" fmla="*/ 2716 w 5516"/>
              <a:gd name="T55" fmla="*/ 54 h 606"/>
              <a:gd name="T56" fmla="*/ 2714 w 5516"/>
              <a:gd name="T57" fmla="*/ 36 h 606"/>
              <a:gd name="T58" fmla="*/ 2928 w 5516"/>
              <a:gd name="T59" fmla="*/ 448 h 606"/>
              <a:gd name="T60" fmla="*/ 3388 w 5516"/>
              <a:gd name="T61" fmla="*/ 4 h 606"/>
              <a:gd name="T62" fmla="*/ 3396 w 5516"/>
              <a:gd name="T63" fmla="*/ 366 h 606"/>
              <a:gd name="T64" fmla="*/ 3580 w 5516"/>
              <a:gd name="T65" fmla="*/ 190 h 606"/>
              <a:gd name="T66" fmla="*/ 3502 w 5516"/>
              <a:gd name="T67" fmla="*/ 432 h 606"/>
              <a:gd name="T68" fmla="*/ 4232 w 5516"/>
              <a:gd name="T69" fmla="*/ 348 h 606"/>
              <a:gd name="T70" fmla="*/ 3858 w 5516"/>
              <a:gd name="T71" fmla="*/ 176 h 606"/>
              <a:gd name="T72" fmla="*/ 3758 w 5516"/>
              <a:gd name="T73" fmla="*/ 446 h 606"/>
              <a:gd name="T74" fmla="*/ 3990 w 5516"/>
              <a:gd name="T75" fmla="*/ 282 h 606"/>
              <a:gd name="T76" fmla="*/ 4042 w 5516"/>
              <a:gd name="T77" fmla="*/ 342 h 606"/>
              <a:gd name="T78" fmla="*/ 4134 w 5516"/>
              <a:gd name="T79" fmla="*/ 448 h 606"/>
              <a:gd name="T80" fmla="*/ 4454 w 5516"/>
              <a:gd name="T81" fmla="*/ 202 h 606"/>
              <a:gd name="T82" fmla="*/ 4284 w 5516"/>
              <a:gd name="T83" fmla="*/ 174 h 606"/>
              <a:gd name="T84" fmla="*/ 4432 w 5516"/>
              <a:gd name="T85" fmla="*/ 588 h 606"/>
              <a:gd name="T86" fmla="*/ 4792 w 5516"/>
              <a:gd name="T87" fmla="*/ 382 h 606"/>
              <a:gd name="T88" fmla="*/ 5192 w 5516"/>
              <a:gd name="T89" fmla="*/ 340 h 606"/>
              <a:gd name="T90" fmla="*/ 4902 w 5516"/>
              <a:gd name="T91" fmla="*/ 186 h 606"/>
              <a:gd name="T92" fmla="*/ 4850 w 5516"/>
              <a:gd name="T93" fmla="*/ 274 h 606"/>
              <a:gd name="T94" fmla="*/ 4742 w 5516"/>
              <a:gd name="T95" fmla="*/ 194 h 606"/>
              <a:gd name="T96" fmla="*/ 4794 w 5516"/>
              <a:gd name="T97" fmla="*/ 418 h 606"/>
              <a:gd name="T98" fmla="*/ 5004 w 5516"/>
              <a:gd name="T99" fmla="*/ 338 h 606"/>
              <a:gd name="T100" fmla="*/ 5098 w 5516"/>
              <a:gd name="T101" fmla="*/ 446 h 606"/>
              <a:gd name="T102" fmla="*/ 5418 w 5516"/>
              <a:gd name="T103" fmla="*/ 192 h 606"/>
              <a:gd name="T104" fmla="*/ 5348 w 5516"/>
              <a:gd name="T105" fmla="*/ 180 h 606"/>
              <a:gd name="T106" fmla="*/ 5254 w 5516"/>
              <a:gd name="T107" fmla="*/ 606 h 6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516" h="606">
                <a:moveTo>
                  <a:pt x="366" y="448"/>
                </a:moveTo>
                <a:cubicBezTo>
                  <a:pt x="524" y="448"/>
                  <a:pt x="524" y="448"/>
                  <a:pt x="524" y="448"/>
                </a:cubicBezTo>
                <a:cubicBezTo>
                  <a:pt x="524" y="436"/>
                  <a:pt x="524" y="436"/>
                  <a:pt x="524" y="436"/>
                </a:cubicBezTo>
                <a:cubicBezTo>
                  <a:pt x="486" y="432"/>
                  <a:pt x="470" y="414"/>
                  <a:pt x="468" y="362"/>
                </a:cubicBezTo>
                <a:cubicBezTo>
                  <a:pt x="454" y="86"/>
                  <a:pt x="454" y="86"/>
                  <a:pt x="454" y="86"/>
                </a:cubicBezTo>
                <a:cubicBezTo>
                  <a:pt x="452" y="46"/>
                  <a:pt x="470" y="30"/>
                  <a:pt x="504" y="26"/>
                </a:cubicBezTo>
                <a:cubicBezTo>
                  <a:pt x="504" y="12"/>
                  <a:pt x="504" y="12"/>
                  <a:pt x="504" y="12"/>
                </a:cubicBezTo>
                <a:cubicBezTo>
                  <a:pt x="394" y="12"/>
                  <a:pt x="394" y="12"/>
                  <a:pt x="394" y="12"/>
                </a:cubicBezTo>
                <a:cubicBezTo>
                  <a:pt x="264" y="350"/>
                  <a:pt x="264" y="350"/>
                  <a:pt x="264" y="350"/>
                </a:cubicBezTo>
                <a:cubicBezTo>
                  <a:pt x="132" y="10"/>
                  <a:pt x="132" y="10"/>
                  <a:pt x="132" y="10"/>
                </a:cubicBezTo>
                <a:cubicBezTo>
                  <a:pt x="18" y="10"/>
                  <a:pt x="18" y="10"/>
                  <a:pt x="18" y="10"/>
                </a:cubicBezTo>
                <a:cubicBezTo>
                  <a:pt x="18" y="22"/>
                  <a:pt x="18" y="22"/>
                  <a:pt x="18" y="22"/>
                </a:cubicBezTo>
                <a:cubicBezTo>
                  <a:pt x="40" y="26"/>
                  <a:pt x="74" y="32"/>
                  <a:pt x="72" y="84"/>
                </a:cubicBezTo>
                <a:cubicBezTo>
                  <a:pt x="58" y="352"/>
                  <a:pt x="58" y="352"/>
                  <a:pt x="58" y="352"/>
                </a:cubicBezTo>
                <a:cubicBezTo>
                  <a:pt x="54" y="410"/>
                  <a:pt x="38" y="430"/>
                  <a:pt x="0" y="436"/>
                </a:cubicBezTo>
                <a:cubicBezTo>
                  <a:pt x="0" y="448"/>
                  <a:pt x="0" y="448"/>
                  <a:pt x="0" y="448"/>
                </a:cubicBezTo>
                <a:cubicBezTo>
                  <a:pt x="140" y="448"/>
                  <a:pt x="140" y="448"/>
                  <a:pt x="140" y="448"/>
                </a:cubicBezTo>
                <a:cubicBezTo>
                  <a:pt x="140" y="436"/>
                  <a:pt x="140" y="436"/>
                  <a:pt x="140" y="436"/>
                </a:cubicBezTo>
                <a:cubicBezTo>
                  <a:pt x="98" y="428"/>
                  <a:pt x="84" y="414"/>
                  <a:pt x="88" y="356"/>
                </a:cubicBezTo>
                <a:cubicBezTo>
                  <a:pt x="100" y="86"/>
                  <a:pt x="100" y="86"/>
                  <a:pt x="100" y="86"/>
                </a:cubicBezTo>
                <a:cubicBezTo>
                  <a:pt x="240" y="444"/>
                  <a:pt x="240" y="444"/>
                  <a:pt x="240" y="444"/>
                </a:cubicBezTo>
                <a:cubicBezTo>
                  <a:pt x="258" y="444"/>
                  <a:pt x="258" y="444"/>
                  <a:pt x="258" y="444"/>
                </a:cubicBezTo>
                <a:cubicBezTo>
                  <a:pt x="396" y="86"/>
                  <a:pt x="396" y="86"/>
                  <a:pt x="396" y="86"/>
                </a:cubicBezTo>
                <a:cubicBezTo>
                  <a:pt x="408" y="372"/>
                  <a:pt x="408" y="372"/>
                  <a:pt x="408" y="372"/>
                </a:cubicBezTo>
                <a:cubicBezTo>
                  <a:pt x="410" y="416"/>
                  <a:pt x="398" y="430"/>
                  <a:pt x="366" y="434"/>
                </a:cubicBezTo>
                <a:lnTo>
                  <a:pt x="366" y="448"/>
                </a:lnTo>
                <a:close/>
                <a:moveTo>
                  <a:pt x="670" y="456"/>
                </a:moveTo>
                <a:cubicBezTo>
                  <a:pt x="708" y="456"/>
                  <a:pt x="756" y="440"/>
                  <a:pt x="782" y="412"/>
                </a:cubicBezTo>
                <a:cubicBezTo>
                  <a:pt x="776" y="400"/>
                  <a:pt x="776" y="400"/>
                  <a:pt x="776" y="400"/>
                </a:cubicBezTo>
                <a:cubicBezTo>
                  <a:pt x="750" y="416"/>
                  <a:pt x="722" y="422"/>
                  <a:pt x="696" y="422"/>
                </a:cubicBezTo>
                <a:cubicBezTo>
                  <a:pt x="620" y="422"/>
                  <a:pt x="592" y="358"/>
                  <a:pt x="592" y="290"/>
                </a:cubicBezTo>
                <a:cubicBezTo>
                  <a:pt x="592" y="258"/>
                  <a:pt x="600" y="236"/>
                  <a:pt x="614" y="222"/>
                </a:cubicBezTo>
                <a:cubicBezTo>
                  <a:pt x="626" y="210"/>
                  <a:pt x="646" y="204"/>
                  <a:pt x="664" y="204"/>
                </a:cubicBezTo>
                <a:cubicBezTo>
                  <a:pt x="690" y="204"/>
                  <a:pt x="722" y="214"/>
                  <a:pt x="744" y="244"/>
                </a:cubicBezTo>
                <a:cubicBezTo>
                  <a:pt x="750" y="244"/>
                  <a:pt x="750" y="244"/>
                  <a:pt x="750" y="244"/>
                </a:cubicBezTo>
                <a:cubicBezTo>
                  <a:pt x="758" y="234"/>
                  <a:pt x="766" y="212"/>
                  <a:pt x="768" y="196"/>
                </a:cubicBezTo>
                <a:cubicBezTo>
                  <a:pt x="748" y="180"/>
                  <a:pt x="720" y="172"/>
                  <a:pt x="686" y="172"/>
                </a:cubicBezTo>
                <a:cubicBezTo>
                  <a:pt x="604" y="172"/>
                  <a:pt x="544" y="246"/>
                  <a:pt x="544" y="326"/>
                </a:cubicBezTo>
                <a:cubicBezTo>
                  <a:pt x="540" y="390"/>
                  <a:pt x="576" y="456"/>
                  <a:pt x="670" y="456"/>
                </a:cubicBezTo>
                <a:moveTo>
                  <a:pt x="1272" y="98"/>
                </a:moveTo>
                <a:cubicBezTo>
                  <a:pt x="1292" y="98"/>
                  <a:pt x="1308" y="82"/>
                  <a:pt x="1308" y="62"/>
                </a:cubicBezTo>
                <a:cubicBezTo>
                  <a:pt x="1308" y="42"/>
                  <a:pt x="1292" y="26"/>
                  <a:pt x="1272" y="26"/>
                </a:cubicBezTo>
                <a:cubicBezTo>
                  <a:pt x="1252" y="26"/>
                  <a:pt x="1238" y="42"/>
                  <a:pt x="1238" y="62"/>
                </a:cubicBezTo>
                <a:cubicBezTo>
                  <a:pt x="1238" y="82"/>
                  <a:pt x="1252" y="98"/>
                  <a:pt x="1272" y="98"/>
                </a:cubicBezTo>
                <a:moveTo>
                  <a:pt x="1202" y="448"/>
                </a:moveTo>
                <a:cubicBezTo>
                  <a:pt x="1346" y="448"/>
                  <a:pt x="1346" y="448"/>
                  <a:pt x="1346" y="448"/>
                </a:cubicBezTo>
                <a:cubicBezTo>
                  <a:pt x="1346" y="436"/>
                  <a:pt x="1346" y="436"/>
                  <a:pt x="1346" y="436"/>
                </a:cubicBezTo>
                <a:cubicBezTo>
                  <a:pt x="1304" y="432"/>
                  <a:pt x="1302" y="434"/>
                  <a:pt x="1302" y="338"/>
                </a:cubicBezTo>
                <a:cubicBezTo>
                  <a:pt x="1302" y="176"/>
                  <a:pt x="1302" y="176"/>
                  <a:pt x="1302" y="176"/>
                </a:cubicBezTo>
                <a:cubicBezTo>
                  <a:pt x="1200" y="176"/>
                  <a:pt x="1200" y="176"/>
                  <a:pt x="1200" y="176"/>
                </a:cubicBezTo>
                <a:cubicBezTo>
                  <a:pt x="1200" y="188"/>
                  <a:pt x="1200" y="188"/>
                  <a:pt x="1200" y="188"/>
                </a:cubicBezTo>
                <a:cubicBezTo>
                  <a:pt x="1244" y="190"/>
                  <a:pt x="1250" y="192"/>
                  <a:pt x="1250" y="268"/>
                </a:cubicBezTo>
                <a:cubicBezTo>
                  <a:pt x="1250" y="336"/>
                  <a:pt x="1250" y="336"/>
                  <a:pt x="1250" y="336"/>
                </a:cubicBezTo>
                <a:cubicBezTo>
                  <a:pt x="1250" y="432"/>
                  <a:pt x="1248" y="432"/>
                  <a:pt x="1202" y="436"/>
                </a:cubicBezTo>
                <a:cubicBezTo>
                  <a:pt x="1178" y="434"/>
                  <a:pt x="1154" y="426"/>
                  <a:pt x="1076" y="338"/>
                </a:cubicBezTo>
                <a:cubicBezTo>
                  <a:pt x="1046" y="302"/>
                  <a:pt x="996" y="244"/>
                  <a:pt x="968" y="206"/>
                </a:cubicBezTo>
                <a:cubicBezTo>
                  <a:pt x="1062" y="102"/>
                  <a:pt x="1062" y="102"/>
                  <a:pt x="1062" y="102"/>
                </a:cubicBezTo>
                <a:cubicBezTo>
                  <a:pt x="1108" y="52"/>
                  <a:pt x="1132" y="26"/>
                  <a:pt x="1176" y="24"/>
                </a:cubicBezTo>
                <a:cubicBezTo>
                  <a:pt x="1176" y="10"/>
                  <a:pt x="1176" y="10"/>
                  <a:pt x="1176" y="10"/>
                </a:cubicBezTo>
                <a:cubicBezTo>
                  <a:pt x="1030" y="10"/>
                  <a:pt x="1030" y="10"/>
                  <a:pt x="1030" y="10"/>
                </a:cubicBezTo>
                <a:cubicBezTo>
                  <a:pt x="1030" y="22"/>
                  <a:pt x="1030" y="22"/>
                  <a:pt x="1030" y="22"/>
                </a:cubicBezTo>
                <a:cubicBezTo>
                  <a:pt x="1050" y="26"/>
                  <a:pt x="1056" y="32"/>
                  <a:pt x="1056" y="46"/>
                </a:cubicBezTo>
                <a:cubicBezTo>
                  <a:pt x="1056" y="56"/>
                  <a:pt x="1054" y="72"/>
                  <a:pt x="1026" y="102"/>
                </a:cubicBezTo>
                <a:cubicBezTo>
                  <a:pt x="910" y="230"/>
                  <a:pt x="910" y="230"/>
                  <a:pt x="910" y="230"/>
                </a:cubicBezTo>
                <a:cubicBezTo>
                  <a:pt x="910" y="148"/>
                  <a:pt x="910" y="148"/>
                  <a:pt x="910" y="148"/>
                </a:cubicBezTo>
                <a:cubicBezTo>
                  <a:pt x="910" y="36"/>
                  <a:pt x="916" y="28"/>
                  <a:pt x="960" y="22"/>
                </a:cubicBezTo>
                <a:cubicBezTo>
                  <a:pt x="960" y="8"/>
                  <a:pt x="960" y="8"/>
                  <a:pt x="960" y="8"/>
                </a:cubicBezTo>
                <a:cubicBezTo>
                  <a:pt x="804" y="8"/>
                  <a:pt x="804" y="8"/>
                  <a:pt x="804" y="8"/>
                </a:cubicBezTo>
                <a:cubicBezTo>
                  <a:pt x="804" y="22"/>
                  <a:pt x="804" y="22"/>
                  <a:pt x="804" y="22"/>
                </a:cubicBezTo>
                <a:cubicBezTo>
                  <a:pt x="852" y="26"/>
                  <a:pt x="854" y="36"/>
                  <a:pt x="854" y="148"/>
                </a:cubicBezTo>
                <a:cubicBezTo>
                  <a:pt x="854" y="300"/>
                  <a:pt x="854" y="300"/>
                  <a:pt x="854" y="300"/>
                </a:cubicBezTo>
                <a:cubicBezTo>
                  <a:pt x="854" y="422"/>
                  <a:pt x="850" y="430"/>
                  <a:pt x="804" y="434"/>
                </a:cubicBezTo>
                <a:cubicBezTo>
                  <a:pt x="804" y="446"/>
                  <a:pt x="804" y="446"/>
                  <a:pt x="804" y="446"/>
                </a:cubicBezTo>
                <a:cubicBezTo>
                  <a:pt x="960" y="446"/>
                  <a:pt x="960" y="446"/>
                  <a:pt x="960" y="446"/>
                </a:cubicBezTo>
                <a:cubicBezTo>
                  <a:pt x="960" y="434"/>
                  <a:pt x="960" y="434"/>
                  <a:pt x="960" y="434"/>
                </a:cubicBezTo>
                <a:cubicBezTo>
                  <a:pt x="910" y="428"/>
                  <a:pt x="910" y="424"/>
                  <a:pt x="910" y="292"/>
                </a:cubicBezTo>
                <a:cubicBezTo>
                  <a:pt x="910" y="268"/>
                  <a:pt x="910" y="268"/>
                  <a:pt x="910" y="268"/>
                </a:cubicBezTo>
                <a:cubicBezTo>
                  <a:pt x="930" y="246"/>
                  <a:pt x="930" y="246"/>
                  <a:pt x="930" y="246"/>
                </a:cubicBezTo>
                <a:cubicBezTo>
                  <a:pt x="982" y="310"/>
                  <a:pt x="1038" y="380"/>
                  <a:pt x="1098" y="448"/>
                </a:cubicBezTo>
                <a:cubicBezTo>
                  <a:pt x="1202" y="448"/>
                  <a:pt x="1202" y="448"/>
                  <a:pt x="1202" y="448"/>
                </a:cubicBezTo>
                <a:close/>
                <a:moveTo>
                  <a:pt x="1564" y="448"/>
                </a:moveTo>
                <a:cubicBezTo>
                  <a:pt x="1706" y="448"/>
                  <a:pt x="1706" y="448"/>
                  <a:pt x="1706" y="448"/>
                </a:cubicBezTo>
                <a:cubicBezTo>
                  <a:pt x="1706" y="436"/>
                  <a:pt x="1706" y="436"/>
                  <a:pt x="1706" y="436"/>
                </a:cubicBezTo>
                <a:cubicBezTo>
                  <a:pt x="1658" y="434"/>
                  <a:pt x="1658" y="432"/>
                  <a:pt x="1658" y="342"/>
                </a:cubicBezTo>
                <a:cubicBezTo>
                  <a:pt x="1658" y="280"/>
                  <a:pt x="1658" y="280"/>
                  <a:pt x="1658" y="280"/>
                </a:cubicBezTo>
                <a:cubicBezTo>
                  <a:pt x="1658" y="198"/>
                  <a:pt x="1612" y="172"/>
                  <a:pt x="1570" y="172"/>
                </a:cubicBezTo>
                <a:cubicBezTo>
                  <a:pt x="1534" y="172"/>
                  <a:pt x="1498" y="188"/>
                  <a:pt x="1470" y="224"/>
                </a:cubicBezTo>
                <a:cubicBezTo>
                  <a:pt x="1470" y="176"/>
                  <a:pt x="1470" y="176"/>
                  <a:pt x="1470" y="176"/>
                </a:cubicBezTo>
                <a:cubicBezTo>
                  <a:pt x="1368" y="176"/>
                  <a:pt x="1368" y="176"/>
                  <a:pt x="1368" y="176"/>
                </a:cubicBezTo>
                <a:cubicBezTo>
                  <a:pt x="1368" y="188"/>
                  <a:pt x="1368" y="188"/>
                  <a:pt x="1368" y="188"/>
                </a:cubicBezTo>
                <a:cubicBezTo>
                  <a:pt x="1412" y="190"/>
                  <a:pt x="1418" y="192"/>
                  <a:pt x="1418" y="268"/>
                </a:cubicBezTo>
                <a:cubicBezTo>
                  <a:pt x="1418" y="336"/>
                  <a:pt x="1418" y="336"/>
                  <a:pt x="1418" y="336"/>
                </a:cubicBezTo>
                <a:cubicBezTo>
                  <a:pt x="1418" y="434"/>
                  <a:pt x="1418" y="434"/>
                  <a:pt x="1370" y="436"/>
                </a:cubicBezTo>
                <a:cubicBezTo>
                  <a:pt x="1370" y="448"/>
                  <a:pt x="1370" y="448"/>
                  <a:pt x="1370" y="448"/>
                </a:cubicBezTo>
                <a:cubicBezTo>
                  <a:pt x="1514" y="448"/>
                  <a:pt x="1514" y="448"/>
                  <a:pt x="1514" y="448"/>
                </a:cubicBezTo>
                <a:cubicBezTo>
                  <a:pt x="1514" y="436"/>
                  <a:pt x="1514" y="436"/>
                  <a:pt x="1514" y="436"/>
                </a:cubicBezTo>
                <a:cubicBezTo>
                  <a:pt x="1472" y="432"/>
                  <a:pt x="1470" y="434"/>
                  <a:pt x="1470" y="338"/>
                </a:cubicBezTo>
                <a:cubicBezTo>
                  <a:pt x="1470" y="262"/>
                  <a:pt x="1470" y="262"/>
                  <a:pt x="1470" y="262"/>
                </a:cubicBezTo>
                <a:cubicBezTo>
                  <a:pt x="1470" y="236"/>
                  <a:pt x="1504" y="206"/>
                  <a:pt x="1546" y="206"/>
                </a:cubicBezTo>
                <a:cubicBezTo>
                  <a:pt x="1580" y="206"/>
                  <a:pt x="1606" y="220"/>
                  <a:pt x="1606" y="286"/>
                </a:cubicBezTo>
                <a:cubicBezTo>
                  <a:pt x="1606" y="340"/>
                  <a:pt x="1606" y="340"/>
                  <a:pt x="1606" y="340"/>
                </a:cubicBezTo>
                <a:cubicBezTo>
                  <a:pt x="1606" y="432"/>
                  <a:pt x="1602" y="432"/>
                  <a:pt x="1564" y="434"/>
                </a:cubicBezTo>
                <a:lnTo>
                  <a:pt x="1564" y="448"/>
                </a:lnTo>
                <a:close/>
                <a:moveTo>
                  <a:pt x="1776" y="222"/>
                </a:moveTo>
                <a:cubicBezTo>
                  <a:pt x="1776" y="200"/>
                  <a:pt x="1796" y="188"/>
                  <a:pt x="1822" y="188"/>
                </a:cubicBezTo>
                <a:cubicBezTo>
                  <a:pt x="1874" y="188"/>
                  <a:pt x="1896" y="236"/>
                  <a:pt x="1900" y="252"/>
                </a:cubicBezTo>
                <a:cubicBezTo>
                  <a:pt x="1912" y="252"/>
                  <a:pt x="1912" y="252"/>
                  <a:pt x="1912" y="252"/>
                </a:cubicBezTo>
                <a:cubicBezTo>
                  <a:pt x="1912" y="212"/>
                  <a:pt x="1908" y="188"/>
                  <a:pt x="1904" y="184"/>
                </a:cubicBezTo>
                <a:cubicBezTo>
                  <a:pt x="1900" y="180"/>
                  <a:pt x="1862" y="170"/>
                  <a:pt x="1824" y="170"/>
                </a:cubicBezTo>
                <a:cubicBezTo>
                  <a:pt x="1768" y="170"/>
                  <a:pt x="1734" y="206"/>
                  <a:pt x="1734" y="248"/>
                </a:cubicBezTo>
                <a:cubicBezTo>
                  <a:pt x="1734" y="340"/>
                  <a:pt x="1890" y="322"/>
                  <a:pt x="1890" y="396"/>
                </a:cubicBezTo>
                <a:cubicBezTo>
                  <a:pt x="1890" y="422"/>
                  <a:pt x="1866" y="436"/>
                  <a:pt x="1826" y="436"/>
                </a:cubicBezTo>
                <a:cubicBezTo>
                  <a:pt x="1788" y="436"/>
                  <a:pt x="1754" y="416"/>
                  <a:pt x="1744" y="366"/>
                </a:cubicBezTo>
                <a:cubicBezTo>
                  <a:pt x="1728" y="366"/>
                  <a:pt x="1728" y="366"/>
                  <a:pt x="1728" y="366"/>
                </a:cubicBezTo>
                <a:cubicBezTo>
                  <a:pt x="1728" y="386"/>
                  <a:pt x="1732" y="422"/>
                  <a:pt x="1734" y="428"/>
                </a:cubicBezTo>
                <a:cubicBezTo>
                  <a:pt x="1744" y="446"/>
                  <a:pt x="1788" y="454"/>
                  <a:pt x="1824" y="454"/>
                </a:cubicBezTo>
                <a:cubicBezTo>
                  <a:pt x="1888" y="454"/>
                  <a:pt x="1928" y="416"/>
                  <a:pt x="1928" y="372"/>
                </a:cubicBezTo>
                <a:cubicBezTo>
                  <a:pt x="1932" y="270"/>
                  <a:pt x="1776" y="286"/>
                  <a:pt x="1776" y="222"/>
                </a:cubicBezTo>
                <a:moveTo>
                  <a:pt x="2030" y="270"/>
                </a:moveTo>
                <a:cubicBezTo>
                  <a:pt x="2034" y="220"/>
                  <a:pt x="2058" y="192"/>
                  <a:pt x="2102" y="192"/>
                </a:cubicBezTo>
                <a:cubicBezTo>
                  <a:pt x="2144" y="192"/>
                  <a:pt x="2170" y="220"/>
                  <a:pt x="2172" y="270"/>
                </a:cubicBezTo>
                <a:lnTo>
                  <a:pt x="2030" y="270"/>
                </a:lnTo>
                <a:close/>
                <a:moveTo>
                  <a:pt x="2030" y="290"/>
                </a:moveTo>
                <a:cubicBezTo>
                  <a:pt x="2222" y="290"/>
                  <a:pt x="2222" y="290"/>
                  <a:pt x="2222" y="290"/>
                </a:cubicBezTo>
                <a:cubicBezTo>
                  <a:pt x="2226" y="228"/>
                  <a:pt x="2192" y="168"/>
                  <a:pt x="2114" y="168"/>
                </a:cubicBezTo>
                <a:cubicBezTo>
                  <a:pt x="2034" y="168"/>
                  <a:pt x="1982" y="232"/>
                  <a:pt x="1982" y="320"/>
                </a:cubicBezTo>
                <a:cubicBezTo>
                  <a:pt x="1982" y="388"/>
                  <a:pt x="2018" y="456"/>
                  <a:pt x="2112" y="456"/>
                </a:cubicBezTo>
                <a:cubicBezTo>
                  <a:pt x="2150" y="456"/>
                  <a:pt x="2198" y="440"/>
                  <a:pt x="2224" y="412"/>
                </a:cubicBezTo>
                <a:cubicBezTo>
                  <a:pt x="2218" y="400"/>
                  <a:pt x="2218" y="400"/>
                  <a:pt x="2218" y="400"/>
                </a:cubicBezTo>
                <a:cubicBezTo>
                  <a:pt x="2192" y="416"/>
                  <a:pt x="2164" y="422"/>
                  <a:pt x="2138" y="422"/>
                </a:cubicBezTo>
                <a:cubicBezTo>
                  <a:pt x="2058" y="420"/>
                  <a:pt x="2028" y="352"/>
                  <a:pt x="2030" y="290"/>
                </a:cubicBezTo>
                <a:moveTo>
                  <a:pt x="2478" y="242"/>
                </a:moveTo>
                <a:cubicBezTo>
                  <a:pt x="2490" y="206"/>
                  <a:pt x="2510" y="192"/>
                  <a:pt x="2528" y="192"/>
                </a:cubicBezTo>
                <a:cubicBezTo>
                  <a:pt x="2528" y="180"/>
                  <a:pt x="2528" y="180"/>
                  <a:pt x="2528" y="180"/>
                </a:cubicBezTo>
                <a:cubicBezTo>
                  <a:pt x="2430" y="180"/>
                  <a:pt x="2430" y="180"/>
                  <a:pt x="2430" y="180"/>
                </a:cubicBezTo>
                <a:cubicBezTo>
                  <a:pt x="2430" y="192"/>
                  <a:pt x="2430" y="192"/>
                  <a:pt x="2430" y="192"/>
                </a:cubicBezTo>
                <a:cubicBezTo>
                  <a:pt x="2454" y="194"/>
                  <a:pt x="2466" y="206"/>
                  <a:pt x="2458" y="234"/>
                </a:cubicBezTo>
                <a:cubicBezTo>
                  <a:pt x="2406" y="390"/>
                  <a:pt x="2406" y="390"/>
                  <a:pt x="2406" y="390"/>
                </a:cubicBezTo>
                <a:cubicBezTo>
                  <a:pt x="2354" y="270"/>
                  <a:pt x="2354" y="270"/>
                  <a:pt x="2354" y="270"/>
                </a:cubicBezTo>
                <a:cubicBezTo>
                  <a:pt x="2340" y="238"/>
                  <a:pt x="2334" y="224"/>
                  <a:pt x="2334" y="212"/>
                </a:cubicBezTo>
                <a:cubicBezTo>
                  <a:pt x="2334" y="202"/>
                  <a:pt x="2340" y="196"/>
                  <a:pt x="2360" y="192"/>
                </a:cubicBezTo>
                <a:cubicBezTo>
                  <a:pt x="2360" y="180"/>
                  <a:pt x="2360" y="180"/>
                  <a:pt x="2360" y="180"/>
                </a:cubicBezTo>
                <a:cubicBezTo>
                  <a:pt x="2234" y="180"/>
                  <a:pt x="2234" y="180"/>
                  <a:pt x="2234" y="180"/>
                </a:cubicBezTo>
                <a:cubicBezTo>
                  <a:pt x="2234" y="192"/>
                  <a:pt x="2234" y="192"/>
                  <a:pt x="2234" y="192"/>
                </a:cubicBezTo>
                <a:cubicBezTo>
                  <a:pt x="2266" y="194"/>
                  <a:pt x="2268" y="198"/>
                  <a:pt x="2310" y="292"/>
                </a:cubicBezTo>
                <a:cubicBezTo>
                  <a:pt x="2382" y="450"/>
                  <a:pt x="2382" y="450"/>
                  <a:pt x="2382" y="450"/>
                </a:cubicBezTo>
                <a:cubicBezTo>
                  <a:pt x="2358" y="512"/>
                  <a:pt x="2320" y="546"/>
                  <a:pt x="2242" y="564"/>
                </a:cubicBezTo>
                <a:cubicBezTo>
                  <a:pt x="2246" y="576"/>
                  <a:pt x="2260" y="600"/>
                  <a:pt x="2268" y="606"/>
                </a:cubicBezTo>
                <a:cubicBezTo>
                  <a:pt x="2370" y="564"/>
                  <a:pt x="2390" y="498"/>
                  <a:pt x="2426" y="396"/>
                </a:cubicBezTo>
                <a:lnTo>
                  <a:pt x="2478" y="242"/>
                </a:lnTo>
                <a:close/>
                <a:moveTo>
                  <a:pt x="2844" y="394"/>
                </a:moveTo>
                <a:cubicBezTo>
                  <a:pt x="2822" y="412"/>
                  <a:pt x="2782" y="416"/>
                  <a:pt x="2750" y="416"/>
                </a:cubicBezTo>
                <a:cubicBezTo>
                  <a:pt x="2670" y="416"/>
                  <a:pt x="2606" y="360"/>
                  <a:pt x="2606" y="284"/>
                </a:cubicBezTo>
                <a:cubicBezTo>
                  <a:pt x="2606" y="236"/>
                  <a:pt x="2626" y="206"/>
                  <a:pt x="2658" y="198"/>
                </a:cubicBezTo>
                <a:cubicBezTo>
                  <a:pt x="2698" y="266"/>
                  <a:pt x="2770" y="338"/>
                  <a:pt x="2844" y="394"/>
                </a:cubicBezTo>
                <a:moveTo>
                  <a:pt x="2928" y="448"/>
                </a:moveTo>
                <a:cubicBezTo>
                  <a:pt x="3022" y="448"/>
                  <a:pt x="3022" y="448"/>
                  <a:pt x="3022" y="448"/>
                </a:cubicBezTo>
                <a:cubicBezTo>
                  <a:pt x="3022" y="436"/>
                  <a:pt x="3022" y="436"/>
                  <a:pt x="3022" y="436"/>
                </a:cubicBezTo>
                <a:cubicBezTo>
                  <a:pt x="2992" y="432"/>
                  <a:pt x="2946" y="408"/>
                  <a:pt x="2896" y="372"/>
                </a:cubicBezTo>
                <a:cubicBezTo>
                  <a:pt x="2914" y="342"/>
                  <a:pt x="2918" y="300"/>
                  <a:pt x="2922" y="270"/>
                </a:cubicBezTo>
                <a:cubicBezTo>
                  <a:pt x="2926" y="244"/>
                  <a:pt x="2946" y="244"/>
                  <a:pt x="2958" y="242"/>
                </a:cubicBezTo>
                <a:cubicBezTo>
                  <a:pt x="2958" y="230"/>
                  <a:pt x="2958" y="230"/>
                  <a:pt x="2958" y="230"/>
                </a:cubicBezTo>
                <a:cubicBezTo>
                  <a:pt x="2834" y="230"/>
                  <a:pt x="2834" y="230"/>
                  <a:pt x="2834" y="230"/>
                </a:cubicBezTo>
                <a:cubicBezTo>
                  <a:pt x="2834" y="242"/>
                  <a:pt x="2834" y="242"/>
                  <a:pt x="2834" y="242"/>
                </a:cubicBezTo>
                <a:cubicBezTo>
                  <a:pt x="2864" y="246"/>
                  <a:pt x="2892" y="250"/>
                  <a:pt x="2892" y="294"/>
                </a:cubicBezTo>
                <a:cubicBezTo>
                  <a:pt x="2892" y="318"/>
                  <a:pt x="2888" y="342"/>
                  <a:pt x="2878" y="358"/>
                </a:cubicBezTo>
                <a:cubicBezTo>
                  <a:pt x="2770" y="274"/>
                  <a:pt x="2670" y="156"/>
                  <a:pt x="2670" y="96"/>
                </a:cubicBezTo>
                <a:cubicBezTo>
                  <a:pt x="2670" y="66"/>
                  <a:pt x="2688" y="54"/>
                  <a:pt x="2716" y="54"/>
                </a:cubicBezTo>
                <a:cubicBezTo>
                  <a:pt x="2752" y="54"/>
                  <a:pt x="2784" y="78"/>
                  <a:pt x="2800" y="124"/>
                </a:cubicBezTo>
                <a:cubicBezTo>
                  <a:pt x="2812" y="124"/>
                  <a:pt x="2812" y="124"/>
                  <a:pt x="2812" y="124"/>
                </a:cubicBezTo>
                <a:cubicBezTo>
                  <a:pt x="2810" y="42"/>
                  <a:pt x="2810" y="42"/>
                  <a:pt x="2810" y="42"/>
                </a:cubicBezTo>
                <a:cubicBezTo>
                  <a:pt x="2798" y="42"/>
                  <a:pt x="2798" y="42"/>
                  <a:pt x="2798" y="42"/>
                </a:cubicBezTo>
                <a:cubicBezTo>
                  <a:pt x="2798" y="48"/>
                  <a:pt x="2792" y="52"/>
                  <a:pt x="2788" y="52"/>
                </a:cubicBezTo>
                <a:cubicBezTo>
                  <a:pt x="2772" y="52"/>
                  <a:pt x="2752" y="36"/>
                  <a:pt x="2714" y="36"/>
                </a:cubicBezTo>
                <a:cubicBezTo>
                  <a:pt x="2672" y="36"/>
                  <a:pt x="2630" y="62"/>
                  <a:pt x="2630" y="118"/>
                </a:cubicBezTo>
                <a:cubicBezTo>
                  <a:pt x="2630" y="140"/>
                  <a:pt x="2636" y="160"/>
                  <a:pt x="2648" y="182"/>
                </a:cubicBezTo>
                <a:cubicBezTo>
                  <a:pt x="2592" y="200"/>
                  <a:pt x="2562" y="248"/>
                  <a:pt x="2562" y="304"/>
                </a:cubicBezTo>
                <a:cubicBezTo>
                  <a:pt x="2562" y="406"/>
                  <a:pt x="2640" y="460"/>
                  <a:pt x="2726" y="460"/>
                </a:cubicBezTo>
                <a:cubicBezTo>
                  <a:pt x="2780" y="460"/>
                  <a:pt x="2824" y="444"/>
                  <a:pt x="2862" y="410"/>
                </a:cubicBezTo>
                <a:cubicBezTo>
                  <a:pt x="2888" y="424"/>
                  <a:pt x="2912" y="442"/>
                  <a:pt x="2928" y="448"/>
                </a:cubicBezTo>
                <a:moveTo>
                  <a:pt x="3094" y="212"/>
                </a:moveTo>
                <a:cubicBezTo>
                  <a:pt x="3094" y="88"/>
                  <a:pt x="3154" y="20"/>
                  <a:pt x="3252" y="20"/>
                </a:cubicBezTo>
                <a:cubicBezTo>
                  <a:pt x="3328" y="20"/>
                  <a:pt x="3372" y="58"/>
                  <a:pt x="3392" y="134"/>
                </a:cubicBezTo>
                <a:cubicBezTo>
                  <a:pt x="3404" y="134"/>
                  <a:pt x="3404" y="134"/>
                  <a:pt x="3404" y="134"/>
                </a:cubicBezTo>
                <a:cubicBezTo>
                  <a:pt x="3400" y="4"/>
                  <a:pt x="3400" y="4"/>
                  <a:pt x="3400" y="4"/>
                </a:cubicBezTo>
                <a:cubicBezTo>
                  <a:pt x="3388" y="4"/>
                  <a:pt x="3388" y="4"/>
                  <a:pt x="3388" y="4"/>
                </a:cubicBezTo>
                <a:cubicBezTo>
                  <a:pt x="3384" y="14"/>
                  <a:pt x="3376" y="18"/>
                  <a:pt x="3364" y="18"/>
                </a:cubicBezTo>
                <a:cubicBezTo>
                  <a:pt x="3338" y="18"/>
                  <a:pt x="3314" y="0"/>
                  <a:pt x="3248" y="0"/>
                </a:cubicBezTo>
                <a:cubicBezTo>
                  <a:pt x="3118" y="0"/>
                  <a:pt x="3030" y="102"/>
                  <a:pt x="3030" y="242"/>
                </a:cubicBezTo>
                <a:cubicBezTo>
                  <a:pt x="3030" y="376"/>
                  <a:pt x="3110" y="460"/>
                  <a:pt x="3238" y="460"/>
                </a:cubicBezTo>
                <a:cubicBezTo>
                  <a:pt x="3320" y="460"/>
                  <a:pt x="3384" y="420"/>
                  <a:pt x="3408" y="380"/>
                </a:cubicBezTo>
                <a:cubicBezTo>
                  <a:pt x="3396" y="366"/>
                  <a:pt x="3396" y="366"/>
                  <a:pt x="3396" y="366"/>
                </a:cubicBezTo>
                <a:cubicBezTo>
                  <a:pt x="3370" y="402"/>
                  <a:pt x="3314" y="426"/>
                  <a:pt x="3256" y="426"/>
                </a:cubicBezTo>
                <a:cubicBezTo>
                  <a:pt x="3156" y="426"/>
                  <a:pt x="3094" y="340"/>
                  <a:pt x="3094" y="212"/>
                </a:cubicBezTo>
                <a:moveTo>
                  <a:pt x="3678" y="328"/>
                </a:moveTo>
                <a:cubicBezTo>
                  <a:pt x="3678" y="392"/>
                  <a:pt x="3650" y="430"/>
                  <a:pt x="3592" y="430"/>
                </a:cubicBezTo>
                <a:cubicBezTo>
                  <a:pt x="3542" y="430"/>
                  <a:pt x="3496" y="384"/>
                  <a:pt x="3496" y="292"/>
                </a:cubicBezTo>
                <a:cubicBezTo>
                  <a:pt x="3496" y="226"/>
                  <a:pt x="3528" y="190"/>
                  <a:pt x="3580" y="190"/>
                </a:cubicBezTo>
                <a:cubicBezTo>
                  <a:pt x="3628" y="192"/>
                  <a:pt x="3678" y="238"/>
                  <a:pt x="3678" y="328"/>
                </a:cubicBezTo>
                <a:moveTo>
                  <a:pt x="3732" y="312"/>
                </a:moveTo>
                <a:cubicBezTo>
                  <a:pt x="3732" y="260"/>
                  <a:pt x="3710" y="214"/>
                  <a:pt x="3672" y="190"/>
                </a:cubicBezTo>
                <a:cubicBezTo>
                  <a:pt x="3650" y="176"/>
                  <a:pt x="3620" y="168"/>
                  <a:pt x="3588" y="168"/>
                </a:cubicBezTo>
                <a:cubicBezTo>
                  <a:pt x="3502" y="168"/>
                  <a:pt x="3442" y="230"/>
                  <a:pt x="3442" y="310"/>
                </a:cubicBezTo>
                <a:cubicBezTo>
                  <a:pt x="3442" y="364"/>
                  <a:pt x="3464" y="408"/>
                  <a:pt x="3502" y="432"/>
                </a:cubicBezTo>
                <a:cubicBezTo>
                  <a:pt x="3524" y="446"/>
                  <a:pt x="3554" y="452"/>
                  <a:pt x="3586" y="452"/>
                </a:cubicBezTo>
                <a:cubicBezTo>
                  <a:pt x="3672" y="454"/>
                  <a:pt x="3732" y="394"/>
                  <a:pt x="3732" y="312"/>
                </a:cubicBezTo>
                <a:moveTo>
                  <a:pt x="4136" y="448"/>
                </a:moveTo>
                <a:cubicBezTo>
                  <a:pt x="4280" y="448"/>
                  <a:pt x="4280" y="448"/>
                  <a:pt x="4280" y="448"/>
                </a:cubicBezTo>
                <a:cubicBezTo>
                  <a:pt x="4280" y="436"/>
                  <a:pt x="4280" y="436"/>
                  <a:pt x="4280" y="436"/>
                </a:cubicBezTo>
                <a:cubicBezTo>
                  <a:pt x="4230" y="434"/>
                  <a:pt x="4232" y="426"/>
                  <a:pt x="4232" y="348"/>
                </a:cubicBezTo>
                <a:cubicBezTo>
                  <a:pt x="4232" y="276"/>
                  <a:pt x="4232" y="276"/>
                  <a:pt x="4232" y="276"/>
                </a:cubicBezTo>
                <a:cubicBezTo>
                  <a:pt x="4232" y="200"/>
                  <a:pt x="4190" y="172"/>
                  <a:pt x="4142" y="172"/>
                </a:cubicBezTo>
                <a:cubicBezTo>
                  <a:pt x="4098" y="172"/>
                  <a:pt x="4064" y="196"/>
                  <a:pt x="4038" y="232"/>
                </a:cubicBezTo>
                <a:cubicBezTo>
                  <a:pt x="4028" y="194"/>
                  <a:pt x="4000" y="172"/>
                  <a:pt x="3954" y="172"/>
                </a:cubicBezTo>
                <a:cubicBezTo>
                  <a:pt x="3916" y="172"/>
                  <a:pt x="3880" y="196"/>
                  <a:pt x="3858" y="224"/>
                </a:cubicBezTo>
                <a:cubicBezTo>
                  <a:pt x="3858" y="176"/>
                  <a:pt x="3858" y="176"/>
                  <a:pt x="3858" y="176"/>
                </a:cubicBezTo>
                <a:cubicBezTo>
                  <a:pt x="3756" y="176"/>
                  <a:pt x="3756" y="176"/>
                  <a:pt x="3756" y="176"/>
                </a:cubicBezTo>
                <a:cubicBezTo>
                  <a:pt x="3756" y="188"/>
                  <a:pt x="3756" y="188"/>
                  <a:pt x="3756" y="188"/>
                </a:cubicBezTo>
                <a:cubicBezTo>
                  <a:pt x="3800" y="190"/>
                  <a:pt x="3806" y="192"/>
                  <a:pt x="3806" y="268"/>
                </a:cubicBezTo>
                <a:cubicBezTo>
                  <a:pt x="3806" y="346"/>
                  <a:pt x="3806" y="346"/>
                  <a:pt x="3806" y="346"/>
                </a:cubicBezTo>
                <a:cubicBezTo>
                  <a:pt x="3806" y="434"/>
                  <a:pt x="3804" y="434"/>
                  <a:pt x="3758" y="434"/>
                </a:cubicBezTo>
                <a:cubicBezTo>
                  <a:pt x="3758" y="446"/>
                  <a:pt x="3758" y="446"/>
                  <a:pt x="3758" y="446"/>
                </a:cubicBezTo>
                <a:cubicBezTo>
                  <a:pt x="3902" y="446"/>
                  <a:pt x="3902" y="446"/>
                  <a:pt x="3902" y="446"/>
                </a:cubicBezTo>
                <a:cubicBezTo>
                  <a:pt x="3902" y="434"/>
                  <a:pt x="3902" y="434"/>
                  <a:pt x="3902" y="434"/>
                </a:cubicBezTo>
                <a:cubicBezTo>
                  <a:pt x="3862" y="430"/>
                  <a:pt x="3858" y="430"/>
                  <a:pt x="3858" y="342"/>
                </a:cubicBezTo>
                <a:cubicBezTo>
                  <a:pt x="3858" y="262"/>
                  <a:pt x="3858" y="262"/>
                  <a:pt x="3858" y="262"/>
                </a:cubicBezTo>
                <a:cubicBezTo>
                  <a:pt x="3858" y="234"/>
                  <a:pt x="3894" y="204"/>
                  <a:pt x="3932" y="204"/>
                </a:cubicBezTo>
                <a:cubicBezTo>
                  <a:pt x="3974" y="204"/>
                  <a:pt x="3990" y="226"/>
                  <a:pt x="3990" y="282"/>
                </a:cubicBezTo>
                <a:cubicBezTo>
                  <a:pt x="3990" y="338"/>
                  <a:pt x="3990" y="338"/>
                  <a:pt x="3990" y="338"/>
                </a:cubicBezTo>
                <a:cubicBezTo>
                  <a:pt x="3990" y="428"/>
                  <a:pt x="3988" y="432"/>
                  <a:pt x="3950" y="436"/>
                </a:cubicBezTo>
                <a:cubicBezTo>
                  <a:pt x="3950" y="448"/>
                  <a:pt x="3950" y="448"/>
                  <a:pt x="3950" y="448"/>
                </a:cubicBezTo>
                <a:cubicBezTo>
                  <a:pt x="4086" y="448"/>
                  <a:pt x="4086" y="448"/>
                  <a:pt x="4086" y="448"/>
                </a:cubicBezTo>
                <a:cubicBezTo>
                  <a:pt x="4086" y="436"/>
                  <a:pt x="4086" y="436"/>
                  <a:pt x="4086" y="436"/>
                </a:cubicBezTo>
                <a:cubicBezTo>
                  <a:pt x="4040" y="432"/>
                  <a:pt x="4042" y="428"/>
                  <a:pt x="4042" y="342"/>
                </a:cubicBezTo>
                <a:cubicBezTo>
                  <a:pt x="4042" y="264"/>
                  <a:pt x="4042" y="264"/>
                  <a:pt x="4042" y="264"/>
                </a:cubicBezTo>
                <a:cubicBezTo>
                  <a:pt x="4042" y="236"/>
                  <a:pt x="4078" y="206"/>
                  <a:pt x="4118" y="206"/>
                </a:cubicBezTo>
                <a:cubicBezTo>
                  <a:pt x="4152" y="206"/>
                  <a:pt x="4174" y="226"/>
                  <a:pt x="4174" y="284"/>
                </a:cubicBezTo>
                <a:cubicBezTo>
                  <a:pt x="4174" y="346"/>
                  <a:pt x="4174" y="346"/>
                  <a:pt x="4174" y="346"/>
                </a:cubicBezTo>
                <a:cubicBezTo>
                  <a:pt x="4174" y="428"/>
                  <a:pt x="4174" y="432"/>
                  <a:pt x="4134" y="436"/>
                </a:cubicBezTo>
                <a:cubicBezTo>
                  <a:pt x="4134" y="448"/>
                  <a:pt x="4134" y="448"/>
                  <a:pt x="4134" y="448"/>
                </a:cubicBezTo>
                <a:lnTo>
                  <a:pt x="4136" y="448"/>
                </a:lnTo>
                <a:close/>
                <a:moveTo>
                  <a:pt x="4546" y="316"/>
                </a:moveTo>
                <a:cubicBezTo>
                  <a:pt x="4546" y="388"/>
                  <a:pt x="4516" y="432"/>
                  <a:pt x="4460" y="432"/>
                </a:cubicBezTo>
                <a:cubicBezTo>
                  <a:pt x="4424" y="432"/>
                  <a:pt x="4384" y="412"/>
                  <a:pt x="4384" y="384"/>
                </a:cubicBezTo>
                <a:cubicBezTo>
                  <a:pt x="4384" y="248"/>
                  <a:pt x="4384" y="248"/>
                  <a:pt x="4384" y="248"/>
                </a:cubicBezTo>
                <a:cubicBezTo>
                  <a:pt x="4384" y="226"/>
                  <a:pt x="4416" y="202"/>
                  <a:pt x="4454" y="202"/>
                </a:cubicBezTo>
                <a:cubicBezTo>
                  <a:pt x="4510" y="206"/>
                  <a:pt x="4546" y="248"/>
                  <a:pt x="4546" y="316"/>
                </a:cubicBezTo>
                <a:moveTo>
                  <a:pt x="4600" y="310"/>
                </a:moveTo>
                <a:cubicBezTo>
                  <a:pt x="4600" y="230"/>
                  <a:pt x="4548" y="170"/>
                  <a:pt x="4478" y="170"/>
                </a:cubicBezTo>
                <a:cubicBezTo>
                  <a:pt x="4438" y="170"/>
                  <a:pt x="4406" y="188"/>
                  <a:pt x="4384" y="214"/>
                </a:cubicBezTo>
                <a:cubicBezTo>
                  <a:pt x="4384" y="174"/>
                  <a:pt x="4384" y="174"/>
                  <a:pt x="4384" y="174"/>
                </a:cubicBezTo>
                <a:cubicBezTo>
                  <a:pt x="4284" y="174"/>
                  <a:pt x="4284" y="174"/>
                  <a:pt x="4284" y="174"/>
                </a:cubicBezTo>
                <a:cubicBezTo>
                  <a:pt x="4284" y="186"/>
                  <a:pt x="4284" y="186"/>
                  <a:pt x="4284" y="186"/>
                </a:cubicBezTo>
                <a:cubicBezTo>
                  <a:pt x="4326" y="188"/>
                  <a:pt x="4332" y="190"/>
                  <a:pt x="4332" y="280"/>
                </a:cubicBezTo>
                <a:cubicBezTo>
                  <a:pt x="4332" y="466"/>
                  <a:pt x="4332" y="466"/>
                  <a:pt x="4332" y="466"/>
                </a:cubicBezTo>
                <a:cubicBezTo>
                  <a:pt x="4332" y="564"/>
                  <a:pt x="4334" y="570"/>
                  <a:pt x="4286" y="574"/>
                </a:cubicBezTo>
                <a:cubicBezTo>
                  <a:pt x="4286" y="588"/>
                  <a:pt x="4286" y="588"/>
                  <a:pt x="4286" y="588"/>
                </a:cubicBezTo>
                <a:cubicBezTo>
                  <a:pt x="4432" y="588"/>
                  <a:pt x="4432" y="588"/>
                  <a:pt x="4432" y="588"/>
                </a:cubicBezTo>
                <a:cubicBezTo>
                  <a:pt x="4432" y="574"/>
                  <a:pt x="4432" y="574"/>
                  <a:pt x="4432" y="574"/>
                </a:cubicBezTo>
                <a:cubicBezTo>
                  <a:pt x="4380" y="572"/>
                  <a:pt x="4384" y="564"/>
                  <a:pt x="4384" y="462"/>
                </a:cubicBezTo>
                <a:cubicBezTo>
                  <a:pt x="4384" y="424"/>
                  <a:pt x="4384" y="424"/>
                  <a:pt x="4384" y="424"/>
                </a:cubicBezTo>
                <a:cubicBezTo>
                  <a:pt x="4404" y="444"/>
                  <a:pt x="4436" y="454"/>
                  <a:pt x="4466" y="454"/>
                </a:cubicBezTo>
                <a:cubicBezTo>
                  <a:pt x="4548" y="454"/>
                  <a:pt x="4600" y="392"/>
                  <a:pt x="4600" y="310"/>
                </a:cubicBezTo>
                <a:moveTo>
                  <a:pt x="4792" y="382"/>
                </a:moveTo>
                <a:cubicBezTo>
                  <a:pt x="4792" y="404"/>
                  <a:pt x="4762" y="424"/>
                  <a:pt x="4736" y="424"/>
                </a:cubicBezTo>
                <a:cubicBezTo>
                  <a:pt x="4712" y="424"/>
                  <a:pt x="4694" y="410"/>
                  <a:pt x="4694" y="378"/>
                </a:cubicBezTo>
                <a:cubicBezTo>
                  <a:pt x="4694" y="322"/>
                  <a:pt x="4752" y="328"/>
                  <a:pt x="4792" y="306"/>
                </a:cubicBezTo>
                <a:cubicBezTo>
                  <a:pt x="4792" y="382"/>
                  <a:pt x="4792" y="382"/>
                  <a:pt x="4792" y="382"/>
                </a:cubicBezTo>
                <a:close/>
                <a:moveTo>
                  <a:pt x="5240" y="434"/>
                </a:moveTo>
                <a:cubicBezTo>
                  <a:pt x="5192" y="432"/>
                  <a:pt x="5192" y="430"/>
                  <a:pt x="5192" y="340"/>
                </a:cubicBezTo>
                <a:cubicBezTo>
                  <a:pt x="5192" y="278"/>
                  <a:pt x="5192" y="278"/>
                  <a:pt x="5192" y="278"/>
                </a:cubicBezTo>
                <a:cubicBezTo>
                  <a:pt x="5192" y="196"/>
                  <a:pt x="5146" y="170"/>
                  <a:pt x="5104" y="170"/>
                </a:cubicBezTo>
                <a:cubicBezTo>
                  <a:pt x="5068" y="170"/>
                  <a:pt x="5032" y="186"/>
                  <a:pt x="5004" y="222"/>
                </a:cubicBezTo>
                <a:cubicBezTo>
                  <a:pt x="5004" y="174"/>
                  <a:pt x="5004" y="174"/>
                  <a:pt x="5004" y="174"/>
                </a:cubicBezTo>
                <a:cubicBezTo>
                  <a:pt x="4902" y="174"/>
                  <a:pt x="4902" y="174"/>
                  <a:pt x="4902" y="174"/>
                </a:cubicBezTo>
                <a:cubicBezTo>
                  <a:pt x="4902" y="186"/>
                  <a:pt x="4902" y="186"/>
                  <a:pt x="4902" y="186"/>
                </a:cubicBezTo>
                <a:cubicBezTo>
                  <a:pt x="4946" y="188"/>
                  <a:pt x="4952" y="190"/>
                  <a:pt x="4952" y="266"/>
                </a:cubicBezTo>
                <a:cubicBezTo>
                  <a:pt x="4952" y="334"/>
                  <a:pt x="4952" y="334"/>
                  <a:pt x="4952" y="334"/>
                </a:cubicBezTo>
                <a:cubicBezTo>
                  <a:pt x="4952" y="430"/>
                  <a:pt x="4952" y="432"/>
                  <a:pt x="4904" y="434"/>
                </a:cubicBezTo>
                <a:cubicBezTo>
                  <a:pt x="4892" y="434"/>
                  <a:pt x="4892" y="434"/>
                  <a:pt x="4892" y="434"/>
                </a:cubicBezTo>
                <a:cubicBezTo>
                  <a:pt x="4854" y="434"/>
                  <a:pt x="4850" y="422"/>
                  <a:pt x="4850" y="366"/>
                </a:cubicBezTo>
                <a:cubicBezTo>
                  <a:pt x="4850" y="274"/>
                  <a:pt x="4850" y="274"/>
                  <a:pt x="4850" y="274"/>
                </a:cubicBezTo>
                <a:cubicBezTo>
                  <a:pt x="4850" y="256"/>
                  <a:pt x="4848" y="240"/>
                  <a:pt x="4844" y="228"/>
                </a:cubicBezTo>
                <a:cubicBezTo>
                  <a:pt x="4830" y="186"/>
                  <a:pt x="4796" y="170"/>
                  <a:pt x="4748" y="170"/>
                </a:cubicBezTo>
                <a:cubicBezTo>
                  <a:pt x="4718" y="170"/>
                  <a:pt x="4674" y="180"/>
                  <a:pt x="4650" y="202"/>
                </a:cubicBezTo>
                <a:cubicBezTo>
                  <a:pt x="4652" y="214"/>
                  <a:pt x="4664" y="240"/>
                  <a:pt x="4670" y="248"/>
                </a:cubicBezTo>
                <a:cubicBezTo>
                  <a:pt x="4676" y="246"/>
                  <a:pt x="4676" y="246"/>
                  <a:pt x="4676" y="246"/>
                </a:cubicBezTo>
                <a:cubicBezTo>
                  <a:pt x="4688" y="216"/>
                  <a:pt x="4708" y="194"/>
                  <a:pt x="4742" y="194"/>
                </a:cubicBezTo>
                <a:cubicBezTo>
                  <a:pt x="4778" y="194"/>
                  <a:pt x="4794" y="220"/>
                  <a:pt x="4794" y="250"/>
                </a:cubicBezTo>
                <a:cubicBezTo>
                  <a:pt x="4794" y="282"/>
                  <a:pt x="4794" y="282"/>
                  <a:pt x="4794" y="282"/>
                </a:cubicBezTo>
                <a:cubicBezTo>
                  <a:pt x="4794" y="302"/>
                  <a:pt x="4702" y="306"/>
                  <a:pt x="4664" y="338"/>
                </a:cubicBezTo>
                <a:cubicBezTo>
                  <a:pt x="4652" y="350"/>
                  <a:pt x="4642" y="364"/>
                  <a:pt x="4642" y="384"/>
                </a:cubicBezTo>
                <a:cubicBezTo>
                  <a:pt x="4642" y="426"/>
                  <a:pt x="4672" y="456"/>
                  <a:pt x="4716" y="456"/>
                </a:cubicBezTo>
                <a:cubicBezTo>
                  <a:pt x="4744" y="456"/>
                  <a:pt x="4768" y="446"/>
                  <a:pt x="4794" y="418"/>
                </a:cubicBezTo>
                <a:cubicBezTo>
                  <a:pt x="4798" y="438"/>
                  <a:pt x="4814" y="448"/>
                  <a:pt x="4842" y="448"/>
                </a:cubicBezTo>
                <a:cubicBezTo>
                  <a:pt x="4906" y="448"/>
                  <a:pt x="4906" y="448"/>
                  <a:pt x="4906" y="448"/>
                </a:cubicBezTo>
                <a:cubicBezTo>
                  <a:pt x="4906" y="448"/>
                  <a:pt x="4906" y="448"/>
                  <a:pt x="4906" y="448"/>
                </a:cubicBezTo>
                <a:cubicBezTo>
                  <a:pt x="5048" y="448"/>
                  <a:pt x="5048" y="448"/>
                  <a:pt x="5048" y="448"/>
                </a:cubicBezTo>
                <a:cubicBezTo>
                  <a:pt x="5048" y="436"/>
                  <a:pt x="5048" y="436"/>
                  <a:pt x="5048" y="436"/>
                </a:cubicBezTo>
                <a:cubicBezTo>
                  <a:pt x="5006" y="432"/>
                  <a:pt x="5004" y="434"/>
                  <a:pt x="5004" y="338"/>
                </a:cubicBezTo>
                <a:cubicBezTo>
                  <a:pt x="5004" y="262"/>
                  <a:pt x="5004" y="262"/>
                  <a:pt x="5004" y="262"/>
                </a:cubicBezTo>
                <a:cubicBezTo>
                  <a:pt x="5004" y="236"/>
                  <a:pt x="5038" y="206"/>
                  <a:pt x="5080" y="206"/>
                </a:cubicBezTo>
                <a:cubicBezTo>
                  <a:pt x="5114" y="206"/>
                  <a:pt x="5140" y="220"/>
                  <a:pt x="5140" y="286"/>
                </a:cubicBezTo>
                <a:cubicBezTo>
                  <a:pt x="5140" y="340"/>
                  <a:pt x="5140" y="340"/>
                  <a:pt x="5140" y="340"/>
                </a:cubicBezTo>
                <a:cubicBezTo>
                  <a:pt x="5140" y="432"/>
                  <a:pt x="5136" y="432"/>
                  <a:pt x="5098" y="434"/>
                </a:cubicBezTo>
                <a:cubicBezTo>
                  <a:pt x="5098" y="446"/>
                  <a:pt x="5098" y="446"/>
                  <a:pt x="5098" y="446"/>
                </a:cubicBezTo>
                <a:cubicBezTo>
                  <a:pt x="5240" y="446"/>
                  <a:pt x="5240" y="446"/>
                  <a:pt x="5240" y="446"/>
                </a:cubicBezTo>
                <a:lnTo>
                  <a:pt x="5240" y="434"/>
                </a:lnTo>
                <a:close/>
                <a:moveTo>
                  <a:pt x="5516" y="192"/>
                </a:moveTo>
                <a:cubicBezTo>
                  <a:pt x="5516" y="180"/>
                  <a:pt x="5516" y="180"/>
                  <a:pt x="5516" y="180"/>
                </a:cubicBezTo>
                <a:cubicBezTo>
                  <a:pt x="5418" y="180"/>
                  <a:pt x="5418" y="180"/>
                  <a:pt x="5418" y="180"/>
                </a:cubicBezTo>
                <a:cubicBezTo>
                  <a:pt x="5418" y="192"/>
                  <a:pt x="5418" y="192"/>
                  <a:pt x="5418" y="192"/>
                </a:cubicBezTo>
                <a:cubicBezTo>
                  <a:pt x="5442" y="194"/>
                  <a:pt x="5454" y="206"/>
                  <a:pt x="5446" y="234"/>
                </a:cubicBezTo>
                <a:cubicBezTo>
                  <a:pt x="5394" y="390"/>
                  <a:pt x="5394" y="390"/>
                  <a:pt x="5394" y="390"/>
                </a:cubicBezTo>
                <a:cubicBezTo>
                  <a:pt x="5342" y="270"/>
                  <a:pt x="5342" y="270"/>
                  <a:pt x="5342" y="270"/>
                </a:cubicBezTo>
                <a:cubicBezTo>
                  <a:pt x="5328" y="238"/>
                  <a:pt x="5322" y="224"/>
                  <a:pt x="5322" y="212"/>
                </a:cubicBezTo>
                <a:cubicBezTo>
                  <a:pt x="5322" y="202"/>
                  <a:pt x="5328" y="196"/>
                  <a:pt x="5348" y="192"/>
                </a:cubicBezTo>
                <a:cubicBezTo>
                  <a:pt x="5348" y="180"/>
                  <a:pt x="5348" y="180"/>
                  <a:pt x="5348" y="180"/>
                </a:cubicBezTo>
                <a:cubicBezTo>
                  <a:pt x="5220" y="180"/>
                  <a:pt x="5220" y="180"/>
                  <a:pt x="5220" y="180"/>
                </a:cubicBezTo>
                <a:cubicBezTo>
                  <a:pt x="5220" y="192"/>
                  <a:pt x="5220" y="192"/>
                  <a:pt x="5220" y="192"/>
                </a:cubicBezTo>
                <a:cubicBezTo>
                  <a:pt x="5252" y="194"/>
                  <a:pt x="5254" y="198"/>
                  <a:pt x="5296" y="292"/>
                </a:cubicBezTo>
                <a:cubicBezTo>
                  <a:pt x="5368" y="450"/>
                  <a:pt x="5368" y="450"/>
                  <a:pt x="5368" y="450"/>
                </a:cubicBezTo>
                <a:cubicBezTo>
                  <a:pt x="5344" y="512"/>
                  <a:pt x="5306" y="546"/>
                  <a:pt x="5228" y="564"/>
                </a:cubicBezTo>
                <a:cubicBezTo>
                  <a:pt x="5232" y="576"/>
                  <a:pt x="5246" y="600"/>
                  <a:pt x="5254" y="606"/>
                </a:cubicBezTo>
                <a:cubicBezTo>
                  <a:pt x="5356" y="564"/>
                  <a:pt x="5376" y="498"/>
                  <a:pt x="5412" y="396"/>
                </a:cubicBezTo>
                <a:cubicBezTo>
                  <a:pt x="5466" y="242"/>
                  <a:pt x="5466" y="242"/>
                  <a:pt x="5466" y="242"/>
                </a:cubicBezTo>
                <a:cubicBezTo>
                  <a:pt x="5478" y="206"/>
                  <a:pt x="5498" y="192"/>
                  <a:pt x="5516" y="192"/>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600" kern="1200">
                <a:solidFill>
                  <a:schemeClr val="tx1"/>
                </a:solidFill>
                <a:latin typeface="Arial" charset="0"/>
                <a:ea typeface="+mn-ea"/>
                <a:cs typeface="+mn-cs"/>
              </a:defRPr>
            </a:lvl1pPr>
            <a:lvl2pPr marL="457200" algn="l" rtl="0" fontAlgn="base">
              <a:spcBef>
                <a:spcPct val="0"/>
              </a:spcBef>
              <a:spcAft>
                <a:spcPct val="0"/>
              </a:spcAft>
              <a:defRPr sz="1600" kern="1200">
                <a:solidFill>
                  <a:schemeClr val="tx1"/>
                </a:solidFill>
                <a:latin typeface="Arial" charset="0"/>
                <a:ea typeface="+mn-ea"/>
                <a:cs typeface="+mn-cs"/>
              </a:defRPr>
            </a:lvl2pPr>
            <a:lvl3pPr marL="914400" algn="l" rtl="0" fontAlgn="base">
              <a:spcBef>
                <a:spcPct val="0"/>
              </a:spcBef>
              <a:spcAft>
                <a:spcPct val="0"/>
              </a:spcAft>
              <a:defRPr sz="1600" kern="1200">
                <a:solidFill>
                  <a:schemeClr val="tx1"/>
                </a:solidFill>
                <a:latin typeface="Arial" charset="0"/>
                <a:ea typeface="+mn-ea"/>
                <a:cs typeface="+mn-cs"/>
              </a:defRPr>
            </a:lvl3pPr>
            <a:lvl4pPr marL="1371600" algn="l" rtl="0" fontAlgn="base">
              <a:spcBef>
                <a:spcPct val="0"/>
              </a:spcBef>
              <a:spcAft>
                <a:spcPct val="0"/>
              </a:spcAft>
              <a:defRPr sz="1600" kern="1200">
                <a:solidFill>
                  <a:schemeClr val="tx1"/>
                </a:solidFill>
                <a:latin typeface="Arial" charset="0"/>
                <a:ea typeface="+mn-ea"/>
                <a:cs typeface="+mn-cs"/>
              </a:defRPr>
            </a:lvl4pPr>
            <a:lvl5pPr marL="1828800" algn="l" rtl="0" fontAlgn="base">
              <a:spcBef>
                <a:spcPct val="0"/>
              </a:spcBef>
              <a:spcAft>
                <a:spcPct val="0"/>
              </a:spcAft>
              <a:defRPr sz="1600" kern="1200">
                <a:solidFill>
                  <a:schemeClr val="tx1"/>
                </a:solidFill>
                <a:latin typeface="Arial" charset="0"/>
                <a:ea typeface="+mn-ea"/>
                <a:cs typeface="+mn-cs"/>
              </a:defRPr>
            </a:lvl5pPr>
            <a:lvl6pPr marL="2286000" algn="l" defTabSz="914400" rtl="0" eaLnBrk="1" latinLnBrk="0" hangingPunct="1">
              <a:defRPr sz="1600" kern="1200">
                <a:solidFill>
                  <a:schemeClr val="tx1"/>
                </a:solidFill>
                <a:latin typeface="Arial" charset="0"/>
                <a:ea typeface="+mn-ea"/>
                <a:cs typeface="+mn-cs"/>
              </a:defRPr>
            </a:lvl6pPr>
            <a:lvl7pPr marL="2743200" algn="l" defTabSz="914400" rtl="0" eaLnBrk="1" latinLnBrk="0" hangingPunct="1">
              <a:defRPr sz="1600" kern="1200">
                <a:solidFill>
                  <a:schemeClr val="tx1"/>
                </a:solidFill>
                <a:latin typeface="Arial" charset="0"/>
                <a:ea typeface="+mn-ea"/>
                <a:cs typeface="+mn-cs"/>
              </a:defRPr>
            </a:lvl7pPr>
            <a:lvl8pPr marL="3200400" algn="l" defTabSz="914400" rtl="0" eaLnBrk="1" latinLnBrk="0" hangingPunct="1">
              <a:defRPr sz="1600" kern="1200">
                <a:solidFill>
                  <a:schemeClr val="tx1"/>
                </a:solidFill>
                <a:latin typeface="Arial" charset="0"/>
                <a:ea typeface="+mn-ea"/>
                <a:cs typeface="+mn-cs"/>
              </a:defRPr>
            </a:lvl8pPr>
            <a:lvl9pPr marL="3657600" algn="l" defTabSz="914400" rtl="0" eaLnBrk="1" latinLnBrk="0" hangingPunct="1">
              <a:defRPr sz="1600" kern="1200">
                <a:solidFill>
                  <a:schemeClr val="tx1"/>
                </a:solidFill>
                <a:latin typeface="Arial" charset="0"/>
                <a:ea typeface="+mn-ea"/>
                <a:cs typeface="+mn-cs"/>
              </a:defRPr>
            </a:lvl9pPr>
          </a:lstStyle>
          <a:p>
            <a:endParaRPr lang="en-US" baseline="0" dirty="0">
              <a:solidFill>
                <a:srgbClr val="000000"/>
              </a:solidFill>
              <a:latin typeface="+mn-lt"/>
            </a:endParaRPr>
          </a:p>
        </p:txBody>
      </p:sp>
      <p:sp>
        <p:nvSpPr>
          <p:cNvPr id="27" name="Disclaimer-English (United States)" hidden="1"/>
          <p:cNvSpPr>
            <a:spLocks noChangeArrowheads="1"/>
          </p:cNvSpPr>
          <p:nvPr/>
        </p:nvSpPr>
        <p:spPr bwMode="black">
          <a:xfrm>
            <a:off x="2268266" y="6287785"/>
            <a:ext cx="3544453" cy="36908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t" anchorCtr="0">
            <a:noAutofit/>
          </a:bodyPr>
          <a:lstStyle/>
          <a:p>
            <a:pPr defTabSz="804863" eaLnBrk="0" hangingPunct="0"/>
            <a:r>
              <a:rPr lang="en-US" sz="800" baseline="0" dirty="0">
                <a:solidFill>
                  <a:srgbClr val="FFFFFF"/>
                </a:solidFill>
                <a:latin typeface="+mn-lt"/>
              </a:rPr>
              <a:t>CONFIDENTIAL AND PROPRIETARY</a:t>
            </a:r>
          </a:p>
          <a:p>
            <a:pPr defTabSz="804863" eaLnBrk="0" hangingPunct="0"/>
            <a:r>
              <a:rPr lang="en-US" sz="800" baseline="0" dirty="0">
                <a:solidFill>
                  <a:srgbClr val="FFFFFF"/>
                </a:solidFill>
                <a:latin typeface="+mn-lt"/>
              </a:rPr>
              <a:t>Any use of this material without specific permission of McKinsey &amp; Company is strictly prohibited</a:t>
            </a:r>
          </a:p>
        </p:txBody>
      </p:sp>
    </p:spTree>
    <p:extLst>
      <p:ext uri="{BB962C8B-B14F-4D97-AF65-F5344CB8AC3E}">
        <p14:creationId xmlns:p14="http://schemas.microsoft.com/office/powerpoint/2010/main" val="3341704659"/>
      </p:ext>
    </p:extLst>
  </p:cSld>
  <p:clrMapOvr>
    <a:masterClrMapping/>
  </p:clrMapOvr>
  <p:extLst mod="1">
    <p:ext uri="{DCECCB84-F9BA-43D5-87BE-67443E8EF086}">
      <p15:sldGuideLst xmlns:p15="http://schemas.microsoft.com/office/powerpoint/2012/main">
        <p15:guide id="1" orient="horz" pos="2117">
          <p15:clr>
            <a:srgbClr val="FBAE40"/>
          </p15:clr>
        </p15:guide>
        <p15:guide id="2" pos="1416">
          <p15:clr>
            <a:srgbClr val="FBAE40"/>
          </p15:clr>
        </p15:guide>
      </p15:sldGuideLst>
    </p:ext>
  </p:extLst>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6E228F5-5CF1-42E1-9748-97D7582A107A}"/>
              </a:ext>
            </a:extLst>
          </p:cNvPr>
          <p:cNvGraphicFramePr>
            <a:graphicFrameLocks noChangeAspect="1"/>
          </p:cNvGraphicFramePr>
          <p:nvPr>
            <p:custDataLst>
              <p:tags r:id="rId2"/>
            </p:custDataLst>
            <p:extLst>
              <p:ext uri="{D42A27DB-BD31-4B8C-83A1-F6EECF244321}">
                <p14:modId xmlns:p14="http://schemas.microsoft.com/office/powerpoint/2010/main" val="286699396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7348" name="think-cell Slide" r:id="rId5" imgW="353" imgH="353" progId="TCLayout.ActiveDocument.1">
                  <p:embed/>
                </p:oleObj>
              </mc:Choice>
              <mc:Fallback>
                <p:oleObj name="think-cell Slide" r:id="rId5" imgW="353" imgH="353" progId="TCLayout.ActiveDocument.1">
                  <p:embed/>
                  <p:pic>
                    <p:nvPicPr>
                      <p:cNvPr id="3" name="Object 2" hidden="1">
                        <a:extLst>
                          <a:ext uri="{FF2B5EF4-FFF2-40B4-BE49-F238E27FC236}">
                            <a16:creationId xmlns:a16="http://schemas.microsoft.com/office/drawing/2014/main" id="{C6E228F5-5CF1-42E1-9748-97D7582A107A}"/>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2. Slide Title"/>
          <p:cNvSpPr>
            <a:spLocks noGrp="1"/>
          </p:cNvSpPr>
          <p:nvPr>
            <p:ph type="title"/>
          </p:nvPr>
        </p:nvSpPr>
        <p:spPr bwMode="auto"/>
        <p:txBody>
          <a:bodyPr/>
          <a:lstStyle/>
          <a:p>
            <a:r>
              <a:rPr lang="en-US"/>
              <a:t>Click to edit Master title style</a:t>
            </a:r>
            <a:endParaRPr lang="en-US" dirty="0"/>
          </a:p>
        </p:txBody>
      </p:sp>
      <p:sp>
        <p:nvSpPr>
          <p:cNvPr id="8" name="Slide Number"/>
          <p:cNvSpPr txBox="1">
            <a:spLocks/>
          </p:cNvSpPr>
          <p:nvPr/>
        </p:nvSpPr>
        <p:spPr bwMode="auto">
          <a:xfrm>
            <a:off x="8564563" y="6508272"/>
            <a:ext cx="125034" cy="123111"/>
          </a:xfrm>
          <a:prstGeom prst="rect">
            <a:avLst/>
          </a:prstGeom>
        </p:spPr>
        <p:txBody>
          <a:bodyPr vert="horz" wrap="none" lIns="0" tIns="0" rIns="0" bIns="0" rtlCol="0" anchor="ctr">
            <a:spAutoFit/>
          </a:bodyPr>
          <a:lstStyle>
            <a:defPPr>
              <a:defRPr lang="en-US"/>
            </a:defPPr>
            <a:lvl1pPr>
              <a:defRPr sz="1000" baseline="0">
                <a:latin typeface="+mn-lt"/>
              </a:defRPr>
            </a:lvl1pPr>
          </a:lstStyle>
          <a:p>
            <a:fld id="{42C328C1-A84F-4A39-A664-DBA00541A8C6}" type="slidenum">
              <a:rPr lang="en-US" sz="800" baseline="0" smtClean="0">
                <a:solidFill>
                  <a:srgbClr val="808080"/>
                </a:solidFill>
                <a:latin typeface="+mn-lt"/>
              </a:rPr>
              <a:pPr/>
              <a:t>‹#›</a:t>
            </a:fld>
            <a:endParaRPr lang="en-US" sz="800" baseline="0" dirty="0">
              <a:solidFill>
                <a:srgbClr val="808080"/>
              </a:solidFill>
              <a:latin typeface="+mn-lt"/>
            </a:endParaRPr>
          </a:p>
        </p:txBody>
      </p:sp>
      <p:sp>
        <p:nvSpPr>
          <p:cNvPr id="9" name="SlideLogoText"/>
          <p:cNvSpPr>
            <a:spLocks noChangeArrowheads="1"/>
          </p:cNvSpPr>
          <p:nvPr>
            <p:custDataLst>
              <p:tags r:id="rId3"/>
            </p:custDataLst>
          </p:nvPr>
        </p:nvSpPr>
        <p:spPr bwMode="auto">
          <a:xfrm>
            <a:off x="7450817" y="6508272"/>
            <a:ext cx="1013098"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algn="r" defTabSz="895350"/>
            <a:r>
              <a:rPr lang="en-US" sz="800" baseline="0" dirty="0">
                <a:solidFill>
                  <a:srgbClr val="808080"/>
                </a:solidFill>
                <a:latin typeface="+mn-lt"/>
              </a:rPr>
              <a:t>McKinsey &amp; Company</a:t>
            </a:r>
          </a:p>
        </p:txBody>
      </p:sp>
      <p:sp>
        <p:nvSpPr>
          <p:cNvPr id="5" name="doc id" hidden="1"/>
          <p:cNvSpPr txBox="1">
            <a:spLocks noChangeArrowheads="1"/>
          </p:cNvSpPr>
          <p:nvPr/>
        </p:nvSpPr>
        <p:spPr bwMode="white">
          <a:xfrm>
            <a:off x="8104473" y="36513"/>
            <a:ext cx="634716" cy="115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hangingPunct="1">
              <a:defRPr/>
            </a:pPr>
            <a:endParaRPr lang="en-US" sz="800" baseline="0" dirty="0">
              <a:solidFill>
                <a:schemeClr val="accent1"/>
              </a:solidFill>
              <a:latin typeface="+mn-lt"/>
              <a:ea typeface="+mn-ea"/>
            </a:endParaRPr>
          </a:p>
        </p:txBody>
      </p:sp>
    </p:spTree>
    <p:extLst>
      <p:ext uri="{BB962C8B-B14F-4D97-AF65-F5344CB8AC3E}">
        <p14:creationId xmlns:p14="http://schemas.microsoft.com/office/powerpoint/2010/main" val="65369018"/>
      </p:ext>
    </p:extLst>
  </p:cSld>
  <p:clrMapOvr>
    <a:masterClrMapping/>
  </p:clrMapOvr>
  <p:extLst mod="1">
    <p:ext uri="{DCECCB84-F9BA-43D5-87BE-67443E8EF086}">
      <p15:sldGuideLst xmlns:p15="http://schemas.microsoft.com/office/powerpoint/2012/main">
        <p15:guide id="1" pos="5505">
          <p15:clr>
            <a:srgbClr val="F26B43"/>
          </p15:clr>
        </p15:guide>
        <p15:guide id="2" pos="74">
          <p15:clr>
            <a:srgbClr val="F26B43"/>
          </p15:clr>
        </p15:guide>
        <p15:guide id="3" orient="horz" pos="571">
          <p15:clr>
            <a:srgbClr val="F26B43"/>
          </p15:clr>
        </p15:guide>
        <p15:guide id="4" orient="horz" pos="3911">
          <p15:clr>
            <a:srgbClr val="F26B43"/>
          </p15:clr>
        </p15:guide>
      </p15:sldGuideLst>
    </p:ext>
  </p:extLs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p:cSld name="1_Title Only">
    <p:bg>
      <p:bgPr>
        <a:solidFill>
          <a:schemeClr val="accent2"/>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F4AD34F-3B47-47E2-A09C-FFEB949F6A10}"/>
              </a:ext>
            </a:extLst>
          </p:cNvPr>
          <p:cNvGraphicFramePr>
            <a:graphicFrameLocks noChangeAspect="1"/>
          </p:cNvGraphicFramePr>
          <p:nvPr>
            <p:custDataLst>
              <p:tags r:id="rId2"/>
            </p:custDataLst>
            <p:extLst>
              <p:ext uri="{D42A27DB-BD31-4B8C-83A1-F6EECF244321}">
                <p14:modId xmlns:p14="http://schemas.microsoft.com/office/powerpoint/2010/main" val="185329017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8372" name="think-cell Slide" r:id="rId5" imgW="395" imgH="394" progId="TCLayout.ActiveDocument.1">
                  <p:embed/>
                </p:oleObj>
              </mc:Choice>
              <mc:Fallback>
                <p:oleObj name="think-cell Slide" r:id="rId5" imgW="395" imgH="394" progId="TCLayout.ActiveDocument.1">
                  <p:embed/>
                  <p:pic>
                    <p:nvPicPr>
                      <p:cNvPr id="3" name="Object 2" hidden="1">
                        <a:extLst>
                          <a:ext uri="{FF2B5EF4-FFF2-40B4-BE49-F238E27FC236}">
                            <a16:creationId xmlns:a16="http://schemas.microsoft.com/office/drawing/2014/main" id="{EF4AD34F-3B47-47E2-A09C-FFEB949F6A10}"/>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endParaRPr lang="en-US" dirty="0"/>
          </a:p>
        </p:txBody>
      </p:sp>
      <p:sp>
        <p:nvSpPr>
          <p:cNvPr id="15" name="Slide Number"/>
          <p:cNvSpPr txBox="1">
            <a:spLocks/>
          </p:cNvSpPr>
          <p:nvPr/>
        </p:nvSpPr>
        <p:spPr>
          <a:xfrm>
            <a:off x="8564563" y="6508272"/>
            <a:ext cx="125034" cy="123111"/>
          </a:xfrm>
          <a:prstGeom prst="rect">
            <a:avLst/>
          </a:prstGeom>
        </p:spPr>
        <p:txBody>
          <a:bodyPr vert="horz" wrap="none" lIns="0" tIns="0" rIns="0" bIns="0" rtlCol="0" anchor="ctr">
            <a:spAutoFit/>
          </a:bodyPr>
          <a:lstStyle>
            <a:defPPr>
              <a:defRPr lang="en-US"/>
            </a:defPPr>
            <a:lvl1pPr>
              <a:defRPr sz="1000" baseline="0">
                <a:latin typeface="+mn-lt"/>
              </a:defRPr>
            </a:lvl1pPr>
          </a:lstStyle>
          <a:p>
            <a:fld id="{42C328C1-A84F-4A39-A664-DBA00541A8C6}" type="slidenum">
              <a:rPr lang="en-US" sz="800" baseline="0" smtClean="0">
                <a:solidFill>
                  <a:srgbClr val="FFFFFF"/>
                </a:solidFill>
                <a:latin typeface="+mn-lt"/>
              </a:rPr>
              <a:pPr/>
              <a:t>‹#›</a:t>
            </a:fld>
            <a:endParaRPr lang="en-US" sz="800" baseline="0" dirty="0">
              <a:solidFill>
                <a:srgbClr val="FFFFFF"/>
              </a:solidFill>
              <a:latin typeface="+mn-lt"/>
            </a:endParaRPr>
          </a:p>
        </p:txBody>
      </p:sp>
      <p:sp>
        <p:nvSpPr>
          <p:cNvPr id="16" name="SlideLogoText"/>
          <p:cNvSpPr>
            <a:spLocks noChangeArrowheads="1"/>
          </p:cNvSpPr>
          <p:nvPr>
            <p:custDataLst>
              <p:tags r:id="rId3"/>
            </p:custDataLst>
          </p:nvPr>
        </p:nvSpPr>
        <p:spPr bwMode="auto">
          <a:xfrm>
            <a:off x="7450817" y="6508272"/>
            <a:ext cx="1013098"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algn="r" defTabSz="895350"/>
            <a:r>
              <a:rPr lang="en-US" sz="800" baseline="0" dirty="0">
                <a:solidFill>
                  <a:srgbClr val="FFFFFF"/>
                </a:solidFill>
                <a:latin typeface="+mn-lt"/>
              </a:rPr>
              <a:t>McKinsey &amp; Company</a:t>
            </a:r>
          </a:p>
        </p:txBody>
      </p:sp>
      <p:sp>
        <p:nvSpPr>
          <p:cNvPr id="5" name="doc id" hidden="1"/>
          <p:cNvSpPr txBox="1">
            <a:spLocks noChangeArrowheads="1"/>
          </p:cNvSpPr>
          <p:nvPr/>
        </p:nvSpPr>
        <p:spPr bwMode="white">
          <a:xfrm>
            <a:off x="8104473" y="36513"/>
            <a:ext cx="634716" cy="115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hangingPunct="1">
              <a:defRPr/>
            </a:pPr>
            <a:endParaRPr lang="en-US" sz="800" baseline="0" dirty="0">
              <a:solidFill>
                <a:schemeClr val="accent1"/>
              </a:solidFill>
              <a:latin typeface="+mn-lt"/>
              <a:ea typeface="+mn-ea"/>
            </a:endParaRPr>
          </a:p>
        </p:txBody>
      </p:sp>
    </p:spTree>
    <p:extLst>
      <p:ext uri="{BB962C8B-B14F-4D97-AF65-F5344CB8AC3E}">
        <p14:creationId xmlns:p14="http://schemas.microsoft.com/office/powerpoint/2010/main" val="4258330680"/>
      </p:ext>
    </p:extLst>
  </p:cSld>
  <p:clrMapOvr>
    <a:masterClrMapping/>
  </p:clrMapOvr>
  <p:extLst mod="1">
    <p:ext uri="{DCECCB84-F9BA-43D5-87BE-67443E8EF086}">
      <p15:sldGuideLst xmlns:p15="http://schemas.microsoft.com/office/powerpoint/2012/main">
        <p15:guide id="1" pos="3978">
          <p15:clr>
            <a:srgbClr val="000000"/>
          </p15:clr>
        </p15:guide>
        <p15:guide id="2" orient="horz" pos="570">
          <p15:clr>
            <a:srgbClr val="000000"/>
          </p15:clr>
        </p15:guide>
        <p15:guide id="3" orient="horz" pos="3912">
          <p15:clr>
            <a:srgbClr val="000000"/>
          </p15:clr>
        </p15:guide>
        <p15:guide id="4" pos="72">
          <p15:clr>
            <a:srgbClr val="000000"/>
          </p15:clr>
        </p15:guide>
      </p15:sldGuideLst>
    </p:ext>
  </p:extLst>
</p:sldLayout>
</file>

<file path=ppt/slideLayouts/slideLayout179.xml><?xml version="1.0" encoding="utf-8"?>
<p:sldLayout xmlns:a="http://schemas.openxmlformats.org/drawingml/2006/main" xmlns:r="http://schemas.openxmlformats.org/officeDocument/2006/relationships" xmlns:p="http://schemas.openxmlformats.org/presentationml/2006/main" type="titleOnly">
  <p:cSld name="2_Title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ECD524A-1569-4253-8CD8-48D288AD883C}"/>
              </a:ext>
            </a:extLst>
          </p:cNvPr>
          <p:cNvGraphicFramePr>
            <a:graphicFrameLocks noChangeAspect="1"/>
          </p:cNvGraphicFramePr>
          <p:nvPr>
            <p:custDataLst>
              <p:tags r:id="rId2"/>
            </p:custDataLst>
            <p:extLst>
              <p:ext uri="{D42A27DB-BD31-4B8C-83A1-F6EECF244321}">
                <p14:modId xmlns:p14="http://schemas.microsoft.com/office/powerpoint/2010/main" val="299317130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9396" name="think-cell Slide" r:id="rId4" imgW="395" imgH="394" progId="TCLayout.ActiveDocument.1">
                  <p:embed/>
                </p:oleObj>
              </mc:Choice>
              <mc:Fallback>
                <p:oleObj name="think-cell Slide" r:id="rId4" imgW="395" imgH="394" progId="TCLayout.ActiveDocument.1">
                  <p:embed/>
                  <p:pic>
                    <p:nvPicPr>
                      <p:cNvPr id="3" name="Object 2" hidden="1">
                        <a:extLst>
                          <a:ext uri="{FF2B5EF4-FFF2-40B4-BE49-F238E27FC236}">
                            <a16:creationId xmlns:a16="http://schemas.microsoft.com/office/drawing/2014/main" id="{5ECD524A-1569-4253-8CD8-48D288AD883C}"/>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6328590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6E228F5-5CF1-42E1-9748-97D7582A107A}"/>
              </a:ext>
            </a:extLst>
          </p:cNvPr>
          <p:cNvGraphicFramePr>
            <a:graphicFrameLocks noChangeAspect="1"/>
          </p:cNvGraphicFramePr>
          <p:nvPr>
            <p:custDataLst>
              <p:tags r:id="rId2"/>
            </p:custDataLst>
            <p:extLst>
              <p:ext uri="{D42A27DB-BD31-4B8C-83A1-F6EECF244321}">
                <p14:modId xmlns:p14="http://schemas.microsoft.com/office/powerpoint/2010/main" val="209551123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572" name="think-cell Slide" r:id="rId5" imgW="353" imgH="353" progId="TCLayout.ActiveDocument.1">
                  <p:embed/>
                </p:oleObj>
              </mc:Choice>
              <mc:Fallback>
                <p:oleObj name="think-cell Slide" r:id="rId5" imgW="353" imgH="353" progId="TCLayout.ActiveDocument.1">
                  <p:embed/>
                  <p:pic>
                    <p:nvPicPr>
                      <p:cNvPr id="3" name="Object 2" hidden="1">
                        <a:extLst>
                          <a:ext uri="{FF2B5EF4-FFF2-40B4-BE49-F238E27FC236}">
                            <a16:creationId xmlns:a16="http://schemas.microsoft.com/office/drawing/2014/main" id="{C6E228F5-5CF1-42E1-9748-97D7582A107A}"/>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2. Slide Title"/>
          <p:cNvSpPr>
            <a:spLocks noGrp="1"/>
          </p:cNvSpPr>
          <p:nvPr>
            <p:ph type="title"/>
          </p:nvPr>
        </p:nvSpPr>
        <p:spPr bwMode="auto"/>
        <p:txBody>
          <a:bodyPr/>
          <a:lstStyle/>
          <a:p>
            <a:r>
              <a:rPr lang="en-US"/>
              <a:t>Click to edit Master title style</a:t>
            </a:r>
            <a:endParaRPr lang="en-US" dirty="0"/>
          </a:p>
        </p:txBody>
      </p:sp>
      <p:sp>
        <p:nvSpPr>
          <p:cNvPr id="8" name="Slide Number"/>
          <p:cNvSpPr txBox="1">
            <a:spLocks/>
          </p:cNvSpPr>
          <p:nvPr/>
        </p:nvSpPr>
        <p:spPr bwMode="auto">
          <a:xfrm>
            <a:off x="8564563" y="6508272"/>
            <a:ext cx="125034" cy="123111"/>
          </a:xfrm>
          <a:prstGeom prst="rect">
            <a:avLst/>
          </a:prstGeom>
        </p:spPr>
        <p:txBody>
          <a:bodyPr vert="horz" wrap="none" lIns="0" tIns="0" rIns="0" bIns="0" rtlCol="0" anchor="ctr">
            <a:spAutoFit/>
          </a:bodyPr>
          <a:lstStyle>
            <a:defPPr>
              <a:defRPr lang="en-US"/>
            </a:defPPr>
            <a:lvl1pPr>
              <a:defRPr sz="1000" baseline="0">
                <a:latin typeface="+mn-lt"/>
              </a:defRPr>
            </a:lvl1pPr>
          </a:lstStyle>
          <a:p>
            <a:fld id="{42C328C1-A84F-4A39-A664-DBA00541A8C6}" type="slidenum">
              <a:rPr lang="en-US" sz="800" baseline="0" smtClean="0">
                <a:solidFill>
                  <a:srgbClr val="808080"/>
                </a:solidFill>
                <a:latin typeface="+mn-lt"/>
              </a:rPr>
              <a:pPr/>
              <a:t>‹#›</a:t>
            </a:fld>
            <a:endParaRPr lang="en-US" sz="800" baseline="0" dirty="0">
              <a:solidFill>
                <a:srgbClr val="808080"/>
              </a:solidFill>
              <a:latin typeface="+mn-lt"/>
            </a:endParaRPr>
          </a:p>
        </p:txBody>
      </p:sp>
      <p:sp>
        <p:nvSpPr>
          <p:cNvPr id="9" name="SlideLogoText"/>
          <p:cNvSpPr>
            <a:spLocks noChangeArrowheads="1"/>
          </p:cNvSpPr>
          <p:nvPr>
            <p:custDataLst>
              <p:tags r:id="rId3"/>
            </p:custDataLst>
          </p:nvPr>
        </p:nvSpPr>
        <p:spPr bwMode="auto">
          <a:xfrm>
            <a:off x="7450817" y="6508272"/>
            <a:ext cx="1013098"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algn="r" defTabSz="895350"/>
            <a:r>
              <a:rPr lang="en-US" sz="800" baseline="0" dirty="0">
                <a:solidFill>
                  <a:srgbClr val="808080"/>
                </a:solidFill>
                <a:latin typeface="+mn-lt"/>
              </a:rPr>
              <a:t>McKinsey &amp; Company</a:t>
            </a:r>
          </a:p>
        </p:txBody>
      </p:sp>
      <p:sp>
        <p:nvSpPr>
          <p:cNvPr id="5" name="doc id" hidden="1"/>
          <p:cNvSpPr txBox="1">
            <a:spLocks noChangeArrowheads="1"/>
          </p:cNvSpPr>
          <p:nvPr/>
        </p:nvSpPr>
        <p:spPr bwMode="white">
          <a:xfrm>
            <a:off x="8104473" y="36513"/>
            <a:ext cx="634716" cy="115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hangingPunct="1">
              <a:defRPr/>
            </a:pPr>
            <a:endParaRPr lang="en-US" sz="800" baseline="0" dirty="0">
              <a:solidFill>
                <a:schemeClr val="accent1"/>
              </a:solidFill>
              <a:latin typeface="+mn-lt"/>
              <a:ea typeface="+mn-ea"/>
            </a:endParaRPr>
          </a:p>
        </p:txBody>
      </p:sp>
    </p:spTree>
    <p:extLst>
      <p:ext uri="{BB962C8B-B14F-4D97-AF65-F5344CB8AC3E}">
        <p14:creationId xmlns:p14="http://schemas.microsoft.com/office/powerpoint/2010/main" val="4111958346"/>
      </p:ext>
    </p:extLst>
  </p:cSld>
  <p:clrMapOvr>
    <a:masterClrMapping/>
  </p:clrMapOvr>
  <p:extLst mod="1">
    <p:ext uri="{DCECCB84-F9BA-43D5-87BE-67443E8EF086}">
      <p15:sldGuideLst xmlns:p15="http://schemas.microsoft.com/office/powerpoint/2012/main">
        <p15:guide id="1" pos="5505">
          <p15:clr>
            <a:srgbClr val="F26B43"/>
          </p15:clr>
        </p15:guide>
        <p15:guide id="2" pos="74">
          <p15:clr>
            <a:srgbClr val="F26B43"/>
          </p15:clr>
        </p15:guide>
        <p15:guide id="3" orient="horz" pos="571">
          <p15:clr>
            <a:srgbClr val="F26B43"/>
          </p15:clr>
        </p15:guide>
        <p15:guide id="4" orient="horz" pos="3911">
          <p15:clr>
            <a:srgbClr val="F26B43"/>
          </p15:clr>
        </p15:guide>
      </p15:sldGuideLst>
    </p:ext>
  </p:extLst>
</p:sldLayout>
</file>

<file path=ppt/slideLayouts/slideLayout180.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pic>
        <p:nvPicPr>
          <p:cNvPr id="2" name="background"/>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0" y="198"/>
            <a:ext cx="8961438" cy="6721079"/>
          </a:xfrm>
          <a:prstGeom prst="rect">
            <a:avLst/>
          </a:prstGeom>
        </p:spPr>
      </p:pic>
      <p:sp>
        <p:nvSpPr>
          <p:cNvPr id="28" name="TitleRectangle"/>
          <p:cNvSpPr txBox="1">
            <a:spLocks/>
          </p:cNvSpPr>
          <p:nvPr/>
        </p:nvSpPr>
        <p:spPr>
          <a:xfrm>
            <a:off x="2084388" y="0"/>
            <a:ext cx="6875462" cy="3575976"/>
          </a:xfrm>
          <a:prstGeom prst="rect">
            <a:avLst/>
          </a:prstGeom>
          <a:solidFill>
            <a:srgbClr val="002960">
              <a:alpha val="92000"/>
            </a:srgbClr>
          </a:solidFill>
        </p:spPr>
        <p:txBody>
          <a:bodyPr vert="horz" wrap="square" lIns="216000" tIns="1440000" rIns="216000" bIns="108000" rtlCol="0">
            <a:noAutofit/>
          </a:bodyPr>
          <a:lstStyle>
            <a:lvl1pPr marL="0" indent="0" algn="l" defTabSz="914400" rtl="0" eaLnBrk="1" latinLnBrk="0" hangingPunct="1">
              <a:spcBef>
                <a:spcPct val="20000"/>
              </a:spcBef>
              <a:spcAft>
                <a:spcPts val="6000"/>
              </a:spcAft>
              <a:buFont typeface="Arial" pitchFamily="34" charset="0"/>
              <a:buNone/>
              <a:defRPr sz="3200" kern="1200">
                <a:solidFill>
                  <a:schemeClr val="accent1"/>
                </a:solidFill>
                <a:latin typeface="+mn-lt"/>
                <a:ea typeface="+mn-ea"/>
                <a:cs typeface="+mn-cs"/>
              </a:defRPr>
            </a:lvl1pPr>
            <a:lvl2pPr marL="0" indent="0" algn="l" defTabSz="914400" rtl="0" eaLnBrk="1" latinLnBrk="0" hangingPunct="1">
              <a:spcBef>
                <a:spcPct val="20000"/>
              </a:spcBef>
              <a:buFont typeface="Wingdings" charset="2"/>
              <a:buNone/>
              <a:defRPr sz="1400" kern="1200">
                <a:solidFill>
                  <a:schemeClr val="tx1">
                    <a:lumMod val="50000"/>
                    <a:lumOff val="50000"/>
                  </a:schemeClr>
                </a:solidFill>
                <a:latin typeface="+mn-lt"/>
                <a:ea typeface="+mn-ea"/>
                <a:cs typeface="+mn-cs"/>
              </a:defRPr>
            </a:lvl2pPr>
            <a:lvl3pPr marL="1143000" indent="-228600" algn="l" defTabSz="914400" rtl="0" eaLnBrk="1" latinLnBrk="0" hangingPunct="1">
              <a:spcBef>
                <a:spcPct val="20000"/>
              </a:spcBef>
              <a:buFont typeface="Lucida Grande"/>
              <a:buChar char="–"/>
              <a:defRPr sz="16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fontAlgn="auto">
              <a:defRPr/>
            </a:pPr>
            <a:r>
              <a:rPr lang="en-US" baseline="0" dirty="0">
                <a:solidFill>
                  <a:srgbClr val="00ADEF"/>
                </a:solidFill>
                <a:latin typeface="+mn-lt"/>
              </a:rPr>
              <a:t>
              </a:t>
            </a:r>
            <a:br>
              <a:rPr lang="en-US" baseline="0" dirty="0">
                <a:solidFill>
                  <a:srgbClr val="00ADEF"/>
                </a:solidFill>
                <a:latin typeface="+mn-lt"/>
              </a:rPr>
            </a:br>
            <a:endParaRPr lang="en-US" baseline="0" dirty="0">
              <a:solidFill>
                <a:srgbClr val="00ADEF"/>
              </a:solidFill>
              <a:latin typeface="+mn-lt"/>
            </a:endParaRPr>
          </a:p>
        </p:txBody>
      </p:sp>
      <p:graphicFrame>
        <p:nvGraphicFramePr>
          <p:cNvPr id="3" name="Object 2"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1444"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Working Draft Text" hidden="1"/>
          <p:cNvSpPr txBox="1">
            <a:spLocks noChangeArrowheads="1"/>
          </p:cNvSpPr>
          <p:nvPr/>
        </p:nvSpPr>
        <p:spPr bwMode="black">
          <a:xfrm>
            <a:off x="5992719" y="6287538"/>
            <a:ext cx="2790000"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800" b="1" baseline="0" dirty="0">
                <a:solidFill>
                  <a:srgbClr val="FFFFFF"/>
                </a:solidFill>
                <a:latin typeface="+mn-lt"/>
              </a:rPr>
              <a:t>WORKING DRAFT</a:t>
            </a:r>
          </a:p>
        </p:txBody>
      </p:sp>
      <p:sp>
        <p:nvSpPr>
          <p:cNvPr id="6" name="Working Draft" hidden="1"/>
          <p:cNvSpPr txBox="1">
            <a:spLocks noChangeArrowheads="1"/>
          </p:cNvSpPr>
          <p:nvPr/>
        </p:nvSpPr>
        <p:spPr bwMode="black">
          <a:xfrm>
            <a:off x="5992718" y="6410648"/>
            <a:ext cx="2968719"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800" baseline="0">
                <a:solidFill>
                  <a:srgbClr val="FFFFFF"/>
                </a:solidFill>
                <a:latin typeface="+mn-lt"/>
              </a:rPr>
              <a:t>Last Modified 21/05/2018 17:44 India Standard Time</a:t>
            </a:r>
            <a:endParaRPr lang="en-US" sz="800" baseline="0" dirty="0">
              <a:solidFill>
                <a:srgbClr val="FFFFFF"/>
              </a:solidFill>
              <a:latin typeface="+mn-lt"/>
            </a:endParaRPr>
          </a:p>
        </p:txBody>
      </p:sp>
      <p:sp>
        <p:nvSpPr>
          <p:cNvPr id="7" name="Printed" hidden="1"/>
          <p:cNvSpPr txBox="1">
            <a:spLocks noChangeArrowheads="1"/>
          </p:cNvSpPr>
          <p:nvPr/>
        </p:nvSpPr>
        <p:spPr bwMode="black">
          <a:xfrm>
            <a:off x="5992719" y="6533759"/>
            <a:ext cx="2790000"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800" baseline="0" dirty="0">
                <a:solidFill>
                  <a:srgbClr val="FFFFFF"/>
                </a:solidFill>
                <a:latin typeface="+mn-lt"/>
              </a:rPr>
              <a:t>Printed</a:t>
            </a:r>
          </a:p>
        </p:txBody>
      </p:sp>
      <p:sp>
        <p:nvSpPr>
          <p:cNvPr id="13314" name="Title"/>
          <p:cNvSpPr>
            <a:spLocks noGrp="1" noChangeArrowheads="1"/>
          </p:cNvSpPr>
          <p:nvPr>
            <p:ph type="ctrTitle"/>
          </p:nvPr>
        </p:nvSpPr>
        <p:spPr>
          <a:xfrm>
            <a:off x="2268266" y="1434419"/>
            <a:ext cx="6231663" cy="492443"/>
          </a:xfrm>
          <a:prstGeom prst="rect">
            <a:avLst/>
          </a:prstGeom>
        </p:spPr>
        <p:txBody>
          <a:bodyPr>
            <a:spAutoFit/>
          </a:bodyPr>
          <a:lstStyle>
            <a:lvl1pPr>
              <a:defRPr sz="3200" b="0" baseline="0">
                <a:solidFill>
                  <a:schemeClr val="accent2"/>
                </a:solidFill>
                <a:latin typeface="+mj-lt"/>
                <a:ea typeface="+mj-ea"/>
              </a:defRPr>
            </a:lvl1pPr>
          </a:lstStyle>
          <a:p>
            <a:pPr lvl="0" latinLnBrk="0"/>
            <a:r>
              <a:rPr lang="en-US" noProof="0"/>
              <a:t>Click to edit Master title style</a:t>
            </a:r>
            <a:endParaRPr lang="en-US" noProof="0" dirty="0"/>
          </a:p>
        </p:txBody>
      </p:sp>
      <p:sp>
        <p:nvSpPr>
          <p:cNvPr id="13315" name="Subtitle"/>
          <p:cNvSpPr>
            <a:spLocks noGrp="1" noChangeArrowheads="1"/>
          </p:cNvSpPr>
          <p:nvPr>
            <p:ph type="subTitle" idx="1"/>
          </p:nvPr>
        </p:nvSpPr>
        <p:spPr>
          <a:xfrm>
            <a:off x="2268266" y="2819401"/>
            <a:ext cx="6231663" cy="215444"/>
          </a:xfrm>
          <a:prstGeom prst="rect">
            <a:avLst/>
          </a:prstGeom>
        </p:spPr>
        <p:txBody>
          <a:bodyPr wrap="square">
            <a:spAutoFit/>
          </a:bodyPr>
          <a:lstStyle>
            <a:lvl1pPr>
              <a:defRPr sz="1400" cap="all" baseline="0">
                <a:solidFill>
                  <a:schemeClr val="bg1"/>
                </a:solidFill>
                <a:latin typeface="+mn-lt"/>
                <a:ea typeface="+mn-ea"/>
              </a:defRPr>
            </a:lvl1pPr>
          </a:lstStyle>
          <a:p>
            <a:pPr lvl="0" latinLnBrk="0"/>
            <a:r>
              <a:rPr lang="en-US" noProof="0"/>
              <a:t>Click to edit Master subtitle style</a:t>
            </a:r>
            <a:endParaRPr lang="en-US" noProof="0" dirty="0"/>
          </a:p>
        </p:txBody>
      </p:sp>
      <p:sp>
        <p:nvSpPr>
          <p:cNvPr id="57" name="Document type" hidden="1"/>
          <p:cNvSpPr txBox="1">
            <a:spLocks noChangeArrowheads="1"/>
          </p:cNvSpPr>
          <p:nvPr/>
        </p:nvSpPr>
        <p:spPr bwMode="gray">
          <a:xfrm>
            <a:off x="2268266" y="3227411"/>
            <a:ext cx="6231663"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00" baseline="0" dirty="0">
                <a:solidFill>
                  <a:schemeClr val="bg1"/>
                </a:solidFill>
                <a:latin typeface="+mn-lt"/>
              </a:rPr>
              <a:t>Document type | Date</a:t>
            </a:r>
          </a:p>
        </p:txBody>
      </p:sp>
      <p:sp>
        <p:nvSpPr>
          <p:cNvPr id="5" name="doc id" hidden="1"/>
          <p:cNvSpPr txBox="1">
            <a:spLocks noChangeArrowheads="1"/>
          </p:cNvSpPr>
          <p:nvPr/>
        </p:nvSpPr>
        <p:spPr bwMode="white">
          <a:xfrm>
            <a:off x="8443913" y="36513"/>
            <a:ext cx="295275" cy="1222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hangingPunct="1">
              <a:defRPr/>
            </a:pPr>
            <a:endParaRPr lang="en-US" sz="800" baseline="0" dirty="0">
              <a:solidFill>
                <a:srgbClr val="FFFFFF"/>
              </a:solidFill>
              <a:latin typeface="+mn-lt"/>
            </a:endParaRPr>
          </a:p>
        </p:txBody>
      </p:sp>
      <p:sp>
        <p:nvSpPr>
          <p:cNvPr id="43" name="LogoImage"/>
          <p:cNvSpPr>
            <a:spLocks noEditPoints="1"/>
          </p:cNvSpPr>
          <p:nvPr/>
        </p:nvSpPr>
        <p:spPr bwMode="white">
          <a:xfrm>
            <a:off x="2269098" y="182925"/>
            <a:ext cx="2176978" cy="238073"/>
          </a:xfrm>
          <a:custGeom>
            <a:avLst/>
            <a:gdLst>
              <a:gd name="T0" fmla="*/ 504 w 5516"/>
              <a:gd name="T1" fmla="*/ 26 h 606"/>
              <a:gd name="T2" fmla="*/ 18 w 5516"/>
              <a:gd name="T3" fmla="*/ 22 h 606"/>
              <a:gd name="T4" fmla="*/ 140 w 5516"/>
              <a:gd name="T5" fmla="*/ 436 h 606"/>
              <a:gd name="T6" fmla="*/ 408 w 5516"/>
              <a:gd name="T7" fmla="*/ 372 h 606"/>
              <a:gd name="T8" fmla="*/ 696 w 5516"/>
              <a:gd name="T9" fmla="*/ 422 h 606"/>
              <a:gd name="T10" fmla="*/ 768 w 5516"/>
              <a:gd name="T11" fmla="*/ 196 h 606"/>
              <a:gd name="T12" fmla="*/ 1272 w 5516"/>
              <a:gd name="T13" fmla="*/ 26 h 606"/>
              <a:gd name="T14" fmla="*/ 1302 w 5516"/>
              <a:gd name="T15" fmla="*/ 338 h 606"/>
              <a:gd name="T16" fmla="*/ 1202 w 5516"/>
              <a:gd name="T17" fmla="*/ 436 h 606"/>
              <a:gd name="T18" fmla="*/ 1030 w 5516"/>
              <a:gd name="T19" fmla="*/ 10 h 606"/>
              <a:gd name="T20" fmla="*/ 960 w 5516"/>
              <a:gd name="T21" fmla="*/ 22 h 606"/>
              <a:gd name="T22" fmla="*/ 804 w 5516"/>
              <a:gd name="T23" fmla="*/ 434 h 606"/>
              <a:gd name="T24" fmla="*/ 930 w 5516"/>
              <a:gd name="T25" fmla="*/ 246 h 606"/>
              <a:gd name="T26" fmla="*/ 1658 w 5516"/>
              <a:gd name="T27" fmla="*/ 342 h 606"/>
              <a:gd name="T28" fmla="*/ 1368 w 5516"/>
              <a:gd name="T29" fmla="*/ 188 h 606"/>
              <a:gd name="T30" fmla="*/ 1514 w 5516"/>
              <a:gd name="T31" fmla="*/ 436 h 606"/>
              <a:gd name="T32" fmla="*/ 1564 w 5516"/>
              <a:gd name="T33" fmla="*/ 434 h 606"/>
              <a:gd name="T34" fmla="*/ 1904 w 5516"/>
              <a:gd name="T35" fmla="*/ 184 h 606"/>
              <a:gd name="T36" fmla="*/ 1728 w 5516"/>
              <a:gd name="T37" fmla="*/ 366 h 606"/>
              <a:gd name="T38" fmla="*/ 2102 w 5516"/>
              <a:gd name="T39" fmla="*/ 192 h 606"/>
              <a:gd name="T40" fmla="*/ 1982 w 5516"/>
              <a:gd name="T41" fmla="*/ 320 h 606"/>
              <a:gd name="T42" fmla="*/ 2478 w 5516"/>
              <a:gd name="T43" fmla="*/ 242 h 606"/>
              <a:gd name="T44" fmla="*/ 2406 w 5516"/>
              <a:gd name="T45" fmla="*/ 390 h 606"/>
              <a:gd name="T46" fmla="*/ 2234 w 5516"/>
              <a:gd name="T47" fmla="*/ 192 h 606"/>
              <a:gd name="T48" fmla="*/ 2478 w 5516"/>
              <a:gd name="T49" fmla="*/ 242 h 606"/>
              <a:gd name="T50" fmla="*/ 2928 w 5516"/>
              <a:gd name="T51" fmla="*/ 448 h 606"/>
              <a:gd name="T52" fmla="*/ 2958 w 5516"/>
              <a:gd name="T53" fmla="*/ 230 h 606"/>
              <a:gd name="T54" fmla="*/ 2716 w 5516"/>
              <a:gd name="T55" fmla="*/ 54 h 606"/>
              <a:gd name="T56" fmla="*/ 2714 w 5516"/>
              <a:gd name="T57" fmla="*/ 36 h 606"/>
              <a:gd name="T58" fmla="*/ 2928 w 5516"/>
              <a:gd name="T59" fmla="*/ 448 h 606"/>
              <a:gd name="T60" fmla="*/ 3388 w 5516"/>
              <a:gd name="T61" fmla="*/ 4 h 606"/>
              <a:gd name="T62" fmla="*/ 3396 w 5516"/>
              <a:gd name="T63" fmla="*/ 366 h 606"/>
              <a:gd name="T64" fmla="*/ 3580 w 5516"/>
              <a:gd name="T65" fmla="*/ 190 h 606"/>
              <a:gd name="T66" fmla="*/ 3502 w 5516"/>
              <a:gd name="T67" fmla="*/ 432 h 606"/>
              <a:gd name="T68" fmla="*/ 4232 w 5516"/>
              <a:gd name="T69" fmla="*/ 348 h 606"/>
              <a:gd name="T70" fmla="*/ 3858 w 5516"/>
              <a:gd name="T71" fmla="*/ 176 h 606"/>
              <a:gd name="T72" fmla="*/ 3758 w 5516"/>
              <a:gd name="T73" fmla="*/ 446 h 606"/>
              <a:gd name="T74" fmla="*/ 3990 w 5516"/>
              <a:gd name="T75" fmla="*/ 282 h 606"/>
              <a:gd name="T76" fmla="*/ 4042 w 5516"/>
              <a:gd name="T77" fmla="*/ 342 h 606"/>
              <a:gd name="T78" fmla="*/ 4134 w 5516"/>
              <a:gd name="T79" fmla="*/ 448 h 606"/>
              <a:gd name="T80" fmla="*/ 4454 w 5516"/>
              <a:gd name="T81" fmla="*/ 202 h 606"/>
              <a:gd name="T82" fmla="*/ 4284 w 5516"/>
              <a:gd name="T83" fmla="*/ 174 h 606"/>
              <a:gd name="T84" fmla="*/ 4432 w 5516"/>
              <a:gd name="T85" fmla="*/ 588 h 606"/>
              <a:gd name="T86" fmla="*/ 4792 w 5516"/>
              <a:gd name="T87" fmla="*/ 382 h 606"/>
              <a:gd name="T88" fmla="*/ 5192 w 5516"/>
              <a:gd name="T89" fmla="*/ 340 h 606"/>
              <a:gd name="T90" fmla="*/ 4902 w 5516"/>
              <a:gd name="T91" fmla="*/ 186 h 606"/>
              <a:gd name="T92" fmla="*/ 4850 w 5516"/>
              <a:gd name="T93" fmla="*/ 274 h 606"/>
              <a:gd name="T94" fmla="*/ 4742 w 5516"/>
              <a:gd name="T95" fmla="*/ 194 h 606"/>
              <a:gd name="T96" fmla="*/ 4794 w 5516"/>
              <a:gd name="T97" fmla="*/ 418 h 606"/>
              <a:gd name="T98" fmla="*/ 5004 w 5516"/>
              <a:gd name="T99" fmla="*/ 338 h 606"/>
              <a:gd name="T100" fmla="*/ 5098 w 5516"/>
              <a:gd name="T101" fmla="*/ 446 h 606"/>
              <a:gd name="T102" fmla="*/ 5418 w 5516"/>
              <a:gd name="T103" fmla="*/ 192 h 606"/>
              <a:gd name="T104" fmla="*/ 5348 w 5516"/>
              <a:gd name="T105" fmla="*/ 180 h 606"/>
              <a:gd name="T106" fmla="*/ 5254 w 5516"/>
              <a:gd name="T107" fmla="*/ 606 h 6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516" h="606">
                <a:moveTo>
                  <a:pt x="366" y="448"/>
                </a:moveTo>
                <a:cubicBezTo>
                  <a:pt x="524" y="448"/>
                  <a:pt x="524" y="448"/>
                  <a:pt x="524" y="448"/>
                </a:cubicBezTo>
                <a:cubicBezTo>
                  <a:pt x="524" y="436"/>
                  <a:pt x="524" y="436"/>
                  <a:pt x="524" y="436"/>
                </a:cubicBezTo>
                <a:cubicBezTo>
                  <a:pt x="486" y="432"/>
                  <a:pt x="470" y="414"/>
                  <a:pt x="468" y="362"/>
                </a:cubicBezTo>
                <a:cubicBezTo>
                  <a:pt x="454" y="86"/>
                  <a:pt x="454" y="86"/>
                  <a:pt x="454" y="86"/>
                </a:cubicBezTo>
                <a:cubicBezTo>
                  <a:pt x="452" y="46"/>
                  <a:pt x="470" y="30"/>
                  <a:pt x="504" y="26"/>
                </a:cubicBezTo>
                <a:cubicBezTo>
                  <a:pt x="504" y="12"/>
                  <a:pt x="504" y="12"/>
                  <a:pt x="504" y="12"/>
                </a:cubicBezTo>
                <a:cubicBezTo>
                  <a:pt x="394" y="12"/>
                  <a:pt x="394" y="12"/>
                  <a:pt x="394" y="12"/>
                </a:cubicBezTo>
                <a:cubicBezTo>
                  <a:pt x="264" y="350"/>
                  <a:pt x="264" y="350"/>
                  <a:pt x="264" y="350"/>
                </a:cubicBezTo>
                <a:cubicBezTo>
                  <a:pt x="132" y="10"/>
                  <a:pt x="132" y="10"/>
                  <a:pt x="132" y="10"/>
                </a:cubicBezTo>
                <a:cubicBezTo>
                  <a:pt x="18" y="10"/>
                  <a:pt x="18" y="10"/>
                  <a:pt x="18" y="10"/>
                </a:cubicBezTo>
                <a:cubicBezTo>
                  <a:pt x="18" y="22"/>
                  <a:pt x="18" y="22"/>
                  <a:pt x="18" y="22"/>
                </a:cubicBezTo>
                <a:cubicBezTo>
                  <a:pt x="40" y="26"/>
                  <a:pt x="74" y="32"/>
                  <a:pt x="72" y="84"/>
                </a:cubicBezTo>
                <a:cubicBezTo>
                  <a:pt x="58" y="352"/>
                  <a:pt x="58" y="352"/>
                  <a:pt x="58" y="352"/>
                </a:cubicBezTo>
                <a:cubicBezTo>
                  <a:pt x="54" y="410"/>
                  <a:pt x="38" y="430"/>
                  <a:pt x="0" y="436"/>
                </a:cubicBezTo>
                <a:cubicBezTo>
                  <a:pt x="0" y="448"/>
                  <a:pt x="0" y="448"/>
                  <a:pt x="0" y="448"/>
                </a:cubicBezTo>
                <a:cubicBezTo>
                  <a:pt x="140" y="448"/>
                  <a:pt x="140" y="448"/>
                  <a:pt x="140" y="448"/>
                </a:cubicBezTo>
                <a:cubicBezTo>
                  <a:pt x="140" y="436"/>
                  <a:pt x="140" y="436"/>
                  <a:pt x="140" y="436"/>
                </a:cubicBezTo>
                <a:cubicBezTo>
                  <a:pt x="98" y="428"/>
                  <a:pt x="84" y="414"/>
                  <a:pt x="88" y="356"/>
                </a:cubicBezTo>
                <a:cubicBezTo>
                  <a:pt x="100" y="86"/>
                  <a:pt x="100" y="86"/>
                  <a:pt x="100" y="86"/>
                </a:cubicBezTo>
                <a:cubicBezTo>
                  <a:pt x="240" y="444"/>
                  <a:pt x="240" y="444"/>
                  <a:pt x="240" y="444"/>
                </a:cubicBezTo>
                <a:cubicBezTo>
                  <a:pt x="258" y="444"/>
                  <a:pt x="258" y="444"/>
                  <a:pt x="258" y="444"/>
                </a:cubicBezTo>
                <a:cubicBezTo>
                  <a:pt x="396" y="86"/>
                  <a:pt x="396" y="86"/>
                  <a:pt x="396" y="86"/>
                </a:cubicBezTo>
                <a:cubicBezTo>
                  <a:pt x="408" y="372"/>
                  <a:pt x="408" y="372"/>
                  <a:pt x="408" y="372"/>
                </a:cubicBezTo>
                <a:cubicBezTo>
                  <a:pt x="410" y="416"/>
                  <a:pt x="398" y="430"/>
                  <a:pt x="366" y="434"/>
                </a:cubicBezTo>
                <a:lnTo>
                  <a:pt x="366" y="448"/>
                </a:lnTo>
                <a:close/>
                <a:moveTo>
                  <a:pt x="670" y="456"/>
                </a:moveTo>
                <a:cubicBezTo>
                  <a:pt x="708" y="456"/>
                  <a:pt x="756" y="440"/>
                  <a:pt x="782" y="412"/>
                </a:cubicBezTo>
                <a:cubicBezTo>
                  <a:pt x="776" y="400"/>
                  <a:pt x="776" y="400"/>
                  <a:pt x="776" y="400"/>
                </a:cubicBezTo>
                <a:cubicBezTo>
                  <a:pt x="750" y="416"/>
                  <a:pt x="722" y="422"/>
                  <a:pt x="696" y="422"/>
                </a:cubicBezTo>
                <a:cubicBezTo>
                  <a:pt x="620" y="422"/>
                  <a:pt x="592" y="358"/>
                  <a:pt x="592" y="290"/>
                </a:cubicBezTo>
                <a:cubicBezTo>
                  <a:pt x="592" y="258"/>
                  <a:pt x="600" y="236"/>
                  <a:pt x="614" y="222"/>
                </a:cubicBezTo>
                <a:cubicBezTo>
                  <a:pt x="626" y="210"/>
                  <a:pt x="646" y="204"/>
                  <a:pt x="664" y="204"/>
                </a:cubicBezTo>
                <a:cubicBezTo>
                  <a:pt x="690" y="204"/>
                  <a:pt x="722" y="214"/>
                  <a:pt x="744" y="244"/>
                </a:cubicBezTo>
                <a:cubicBezTo>
                  <a:pt x="750" y="244"/>
                  <a:pt x="750" y="244"/>
                  <a:pt x="750" y="244"/>
                </a:cubicBezTo>
                <a:cubicBezTo>
                  <a:pt x="758" y="234"/>
                  <a:pt x="766" y="212"/>
                  <a:pt x="768" y="196"/>
                </a:cubicBezTo>
                <a:cubicBezTo>
                  <a:pt x="748" y="180"/>
                  <a:pt x="720" y="172"/>
                  <a:pt x="686" y="172"/>
                </a:cubicBezTo>
                <a:cubicBezTo>
                  <a:pt x="604" y="172"/>
                  <a:pt x="544" y="246"/>
                  <a:pt x="544" y="326"/>
                </a:cubicBezTo>
                <a:cubicBezTo>
                  <a:pt x="540" y="390"/>
                  <a:pt x="576" y="456"/>
                  <a:pt x="670" y="456"/>
                </a:cubicBezTo>
                <a:moveTo>
                  <a:pt x="1272" y="98"/>
                </a:moveTo>
                <a:cubicBezTo>
                  <a:pt x="1292" y="98"/>
                  <a:pt x="1308" y="82"/>
                  <a:pt x="1308" y="62"/>
                </a:cubicBezTo>
                <a:cubicBezTo>
                  <a:pt x="1308" y="42"/>
                  <a:pt x="1292" y="26"/>
                  <a:pt x="1272" y="26"/>
                </a:cubicBezTo>
                <a:cubicBezTo>
                  <a:pt x="1252" y="26"/>
                  <a:pt x="1238" y="42"/>
                  <a:pt x="1238" y="62"/>
                </a:cubicBezTo>
                <a:cubicBezTo>
                  <a:pt x="1238" y="82"/>
                  <a:pt x="1252" y="98"/>
                  <a:pt x="1272" y="98"/>
                </a:cubicBezTo>
                <a:moveTo>
                  <a:pt x="1202" y="448"/>
                </a:moveTo>
                <a:cubicBezTo>
                  <a:pt x="1346" y="448"/>
                  <a:pt x="1346" y="448"/>
                  <a:pt x="1346" y="448"/>
                </a:cubicBezTo>
                <a:cubicBezTo>
                  <a:pt x="1346" y="436"/>
                  <a:pt x="1346" y="436"/>
                  <a:pt x="1346" y="436"/>
                </a:cubicBezTo>
                <a:cubicBezTo>
                  <a:pt x="1304" y="432"/>
                  <a:pt x="1302" y="434"/>
                  <a:pt x="1302" y="338"/>
                </a:cubicBezTo>
                <a:cubicBezTo>
                  <a:pt x="1302" y="176"/>
                  <a:pt x="1302" y="176"/>
                  <a:pt x="1302" y="176"/>
                </a:cubicBezTo>
                <a:cubicBezTo>
                  <a:pt x="1200" y="176"/>
                  <a:pt x="1200" y="176"/>
                  <a:pt x="1200" y="176"/>
                </a:cubicBezTo>
                <a:cubicBezTo>
                  <a:pt x="1200" y="188"/>
                  <a:pt x="1200" y="188"/>
                  <a:pt x="1200" y="188"/>
                </a:cubicBezTo>
                <a:cubicBezTo>
                  <a:pt x="1244" y="190"/>
                  <a:pt x="1250" y="192"/>
                  <a:pt x="1250" y="268"/>
                </a:cubicBezTo>
                <a:cubicBezTo>
                  <a:pt x="1250" y="336"/>
                  <a:pt x="1250" y="336"/>
                  <a:pt x="1250" y="336"/>
                </a:cubicBezTo>
                <a:cubicBezTo>
                  <a:pt x="1250" y="432"/>
                  <a:pt x="1248" y="432"/>
                  <a:pt x="1202" y="436"/>
                </a:cubicBezTo>
                <a:cubicBezTo>
                  <a:pt x="1178" y="434"/>
                  <a:pt x="1154" y="426"/>
                  <a:pt x="1076" y="338"/>
                </a:cubicBezTo>
                <a:cubicBezTo>
                  <a:pt x="1046" y="302"/>
                  <a:pt x="996" y="244"/>
                  <a:pt x="968" y="206"/>
                </a:cubicBezTo>
                <a:cubicBezTo>
                  <a:pt x="1062" y="102"/>
                  <a:pt x="1062" y="102"/>
                  <a:pt x="1062" y="102"/>
                </a:cubicBezTo>
                <a:cubicBezTo>
                  <a:pt x="1108" y="52"/>
                  <a:pt x="1132" y="26"/>
                  <a:pt x="1176" y="24"/>
                </a:cubicBezTo>
                <a:cubicBezTo>
                  <a:pt x="1176" y="10"/>
                  <a:pt x="1176" y="10"/>
                  <a:pt x="1176" y="10"/>
                </a:cubicBezTo>
                <a:cubicBezTo>
                  <a:pt x="1030" y="10"/>
                  <a:pt x="1030" y="10"/>
                  <a:pt x="1030" y="10"/>
                </a:cubicBezTo>
                <a:cubicBezTo>
                  <a:pt x="1030" y="22"/>
                  <a:pt x="1030" y="22"/>
                  <a:pt x="1030" y="22"/>
                </a:cubicBezTo>
                <a:cubicBezTo>
                  <a:pt x="1050" y="26"/>
                  <a:pt x="1056" y="32"/>
                  <a:pt x="1056" y="46"/>
                </a:cubicBezTo>
                <a:cubicBezTo>
                  <a:pt x="1056" y="56"/>
                  <a:pt x="1054" y="72"/>
                  <a:pt x="1026" y="102"/>
                </a:cubicBezTo>
                <a:cubicBezTo>
                  <a:pt x="910" y="230"/>
                  <a:pt x="910" y="230"/>
                  <a:pt x="910" y="230"/>
                </a:cubicBezTo>
                <a:cubicBezTo>
                  <a:pt x="910" y="148"/>
                  <a:pt x="910" y="148"/>
                  <a:pt x="910" y="148"/>
                </a:cubicBezTo>
                <a:cubicBezTo>
                  <a:pt x="910" y="36"/>
                  <a:pt x="916" y="28"/>
                  <a:pt x="960" y="22"/>
                </a:cubicBezTo>
                <a:cubicBezTo>
                  <a:pt x="960" y="8"/>
                  <a:pt x="960" y="8"/>
                  <a:pt x="960" y="8"/>
                </a:cubicBezTo>
                <a:cubicBezTo>
                  <a:pt x="804" y="8"/>
                  <a:pt x="804" y="8"/>
                  <a:pt x="804" y="8"/>
                </a:cubicBezTo>
                <a:cubicBezTo>
                  <a:pt x="804" y="22"/>
                  <a:pt x="804" y="22"/>
                  <a:pt x="804" y="22"/>
                </a:cubicBezTo>
                <a:cubicBezTo>
                  <a:pt x="852" y="26"/>
                  <a:pt x="854" y="36"/>
                  <a:pt x="854" y="148"/>
                </a:cubicBezTo>
                <a:cubicBezTo>
                  <a:pt x="854" y="300"/>
                  <a:pt x="854" y="300"/>
                  <a:pt x="854" y="300"/>
                </a:cubicBezTo>
                <a:cubicBezTo>
                  <a:pt x="854" y="422"/>
                  <a:pt x="850" y="430"/>
                  <a:pt x="804" y="434"/>
                </a:cubicBezTo>
                <a:cubicBezTo>
                  <a:pt x="804" y="446"/>
                  <a:pt x="804" y="446"/>
                  <a:pt x="804" y="446"/>
                </a:cubicBezTo>
                <a:cubicBezTo>
                  <a:pt x="960" y="446"/>
                  <a:pt x="960" y="446"/>
                  <a:pt x="960" y="446"/>
                </a:cubicBezTo>
                <a:cubicBezTo>
                  <a:pt x="960" y="434"/>
                  <a:pt x="960" y="434"/>
                  <a:pt x="960" y="434"/>
                </a:cubicBezTo>
                <a:cubicBezTo>
                  <a:pt x="910" y="428"/>
                  <a:pt x="910" y="424"/>
                  <a:pt x="910" y="292"/>
                </a:cubicBezTo>
                <a:cubicBezTo>
                  <a:pt x="910" y="268"/>
                  <a:pt x="910" y="268"/>
                  <a:pt x="910" y="268"/>
                </a:cubicBezTo>
                <a:cubicBezTo>
                  <a:pt x="930" y="246"/>
                  <a:pt x="930" y="246"/>
                  <a:pt x="930" y="246"/>
                </a:cubicBezTo>
                <a:cubicBezTo>
                  <a:pt x="982" y="310"/>
                  <a:pt x="1038" y="380"/>
                  <a:pt x="1098" y="448"/>
                </a:cubicBezTo>
                <a:cubicBezTo>
                  <a:pt x="1202" y="448"/>
                  <a:pt x="1202" y="448"/>
                  <a:pt x="1202" y="448"/>
                </a:cubicBezTo>
                <a:close/>
                <a:moveTo>
                  <a:pt x="1564" y="448"/>
                </a:moveTo>
                <a:cubicBezTo>
                  <a:pt x="1706" y="448"/>
                  <a:pt x="1706" y="448"/>
                  <a:pt x="1706" y="448"/>
                </a:cubicBezTo>
                <a:cubicBezTo>
                  <a:pt x="1706" y="436"/>
                  <a:pt x="1706" y="436"/>
                  <a:pt x="1706" y="436"/>
                </a:cubicBezTo>
                <a:cubicBezTo>
                  <a:pt x="1658" y="434"/>
                  <a:pt x="1658" y="432"/>
                  <a:pt x="1658" y="342"/>
                </a:cubicBezTo>
                <a:cubicBezTo>
                  <a:pt x="1658" y="280"/>
                  <a:pt x="1658" y="280"/>
                  <a:pt x="1658" y="280"/>
                </a:cubicBezTo>
                <a:cubicBezTo>
                  <a:pt x="1658" y="198"/>
                  <a:pt x="1612" y="172"/>
                  <a:pt x="1570" y="172"/>
                </a:cubicBezTo>
                <a:cubicBezTo>
                  <a:pt x="1534" y="172"/>
                  <a:pt x="1498" y="188"/>
                  <a:pt x="1470" y="224"/>
                </a:cubicBezTo>
                <a:cubicBezTo>
                  <a:pt x="1470" y="176"/>
                  <a:pt x="1470" y="176"/>
                  <a:pt x="1470" y="176"/>
                </a:cubicBezTo>
                <a:cubicBezTo>
                  <a:pt x="1368" y="176"/>
                  <a:pt x="1368" y="176"/>
                  <a:pt x="1368" y="176"/>
                </a:cubicBezTo>
                <a:cubicBezTo>
                  <a:pt x="1368" y="188"/>
                  <a:pt x="1368" y="188"/>
                  <a:pt x="1368" y="188"/>
                </a:cubicBezTo>
                <a:cubicBezTo>
                  <a:pt x="1412" y="190"/>
                  <a:pt x="1418" y="192"/>
                  <a:pt x="1418" y="268"/>
                </a:cubicBezTo>
                <a:cubicBezTo>
                  <a:pt x="1418" y="336"/>
                  <a:pt x="1418" y="336"/>
                  <a:pt x="1418" y="336"/>
                </a:cubicBezTo>
                <a:cubicBezTo>
                  <a:pt x="1418" y="434"/>
                  <a:pt x="1418" y="434"/>
                  <a:pt x="1370" y="436"/>
                </a:cubicBezTo>
                <a:cubicBezTo>
                  <a:pt x="1370" y="448"/>
                  <a:pt x="1370" y="448"/>
                  <a:pt x="1370" y="448"/>
                </a:cubicBezTo>
                <a:cubicBezTo>
                  <a:pt x="1514" y="448"/>
                  <a:pt x="1514" y="448"/>
                  <a:pt x="1514" y="448"/>
                </a:cubicBezTo>
                <a:cubicBezTo>
                  <a:pt x="1514" y="436"/>
                  <a:pt x="1514" y="436"/>
                  <a:pt x="1514" y="436"/>
                </a:cubicBezTo>
                <a:cubicBezTo>
                  <a:pt x="1472" y="432"/>
                  <a:pt x="1470" y="434"/>
                  <a:pt x="1470" y="338"/>
                </a:cubicBezTo>
                <a:cubicBezTo>
                  <a:pt x="1470" y="262"/>
                  <a:pt x="1470" y="262"/>
                  <a:pt x="1470" y="262"/>
                </a:cubicBezTo>
                <a:cubicBezTo>
                  <a:pt x="1470" y="236"/>
                  <a:pt x="1504" y="206"/>
                  <a:pt x="1546" y="206"/>
                </a:cubicBezTo>
                <a:cubicBezTo>
                  <a:pt x="1580" y="206"/>
                  <a:pt x="1606" y="220"/>
                  <a:pt x="1606" y="286"/>
                </a:cubicBezTo>
                <a:cubicBezTo>
                  <a:pt x="1606" y="340"/>
                  <a:pt x="1606" y="340"/>
                  <a:pt x="1606" y="340"/>
                </a:cubicBezTo>
                <a:cubicBezTo>
                  <a:pt x="1606" y="432"/>
                  <a:pt x="1602" y="432"/>
                  <a:pt x="1564" y="434"/>
                </a:cubicBezTo>
                <a:lnTo>
                  <a:pt x="1564" y="448"/>
                </a:lnTo>
                <a:close/>
                <a:moveTo>
                  <a:pt x="1776" y="222"/>
                </a:moveTo>
                <a:cubicBezTo>
                  <a:pt x="1776" y="200"/>
                  <a:pt x="1796" y="188"/>
                  <a:pt x="1822" y="188"/>
                </a:cubicBezTo>
                <a:cubicBezTo>
                  <a:pt x="1874" y="188"/>
                  <a:pt x="1896" y="236"/>
                  <a:pt x="1900" y="252"/>
                </a:cubicBezTo>
                <a:cubicBezTo>
                  <a:pt x="1912" y="252"/>
                  <a:pt x="1912" y="252"/>
                  <a:pt x="1912" y="252"/>
                </a:cubicBezTo>
                <a:cubicBezTo>
                  <a:pt x="1912" y="212"/>
                  <a:pt x="1908" y="188"/>
                  <a:pt x="1904" y="184"/>
                </a:cubicBezTo>
                <a:cubicBezTo>
                  <a:pt x="1900" y="180"/>
                  <a:pt x="1862" y="170"/>
                  <a:pt x="1824" y="170"/>
                </a:cubicBezTo>
                <a:cubicBezTo>
                  <a:pt x="1768" y="170"/>
                  <a:pt x="1734" y="206"/>
                  <a:pt x="1734" y="248"/>
                </a:cubicBezTo>
                <a:cubicBezTo>
                  <a:pt x="1734" y="340"/>
                  <a:pt x="1890" y="322"/>
                  <a:pt x="1890" y="396"/>
                </a:cubicBezTo>
                <a:cubicBezTo>
                  <a:pt x="1890" y="422"/>
                  <a:pt x="1866" y="436"/>
                  <a:pt x="1826" y="436"/>
                </a:cubicBezTo>
                <a:cubicBezTo>
                  <a:pt x="1788" y="436"/>
                  <a:pt x="1754" y="416"/>
                  <a:pt x="1744" y="366"/>
                </a:cubicBezTo>
                <a:cubicBezTo>
                  <a:pt x="1728" y="366"/>
                  <a:pt x="1728" y="366"/>
                  <a:pt x="1728" y="366"/>
                </a:cubicBezTo>
                <a:cubicBezTo>
                  <a:pt x="1728" y="386"/>
                  <a:pt x="1732" y="422"/>
                  <a:pt x="1734" y="428"/>
                </a:cubicBezTo>
                <a:cubicBezTo>
                  <a:pt x="1744" y="446"/>
                  <a:pt x="1788" y="454"/>
                  <a:pt x="1824" y="454"/>
                </a:cubicBezTo>
                <a:cubicBezTo>
                  <a:pt x="1888" y="454"/>
                  <a:pt x="1928" y="416"/>
                  <a:pt x="1928" y="372"/>
                </a:cubicBezTo>
                <a:cubicBezTo>
                  <a:pt x="1932" y="270"/>
                  <a:pt x="1776" y="286"/>
                  <a:pt x="1776" y="222"/>
                </a:cubicBezTo>
                <a:moveTo>
                  <a:pt x="2030" y="270"/>
                </a:moveTo>
                <a:cubicBezTo>
                  <a:pt x="2034" y="220"/>
                  <a:pt x="2058" y="192"/>
                  <a:pt x="2102" y="192"/>
                </a:cubicBezTo>
                <a:cubicBezTo>
                  <a:pt x="2144" y="192"/>
                  <a:pt x="2170" y="220"/>
                  <a:pt x="2172" y="270"/>
                </a:cubicBezTo>
                <a:lnTo>
                  <a:pt x="2030" y="270"/>
                </a:lnTo>
                <a:close/>
                <a:moveTo>
                  <a:pt x="2030" y="290"/>
                </a:moveTo>
                <a:cubicBezTo>
                  <a:pt x="2222" y="290"/>
                  <a:pt x="2222" y="290"/>
                  <a:pt x="2222" y="290"/>
                </a:cubicBezTo>
                <a:cubicBezTo>
                  <a:pt x="2226" y="228"/>
                  <a:pt x="2192" y="168"/>
                  <a:pt x="2114" y="168"/>
                </a:cubicBezTo>
                <a:cubicBezTo>
                  <a:pt x="2034" y="168"/>
                  <a:pt x="1982" y="232"/>
                  <a:pt x="1982" y="320"/>
                </a:cubicBezTo>
                <a:cubicBezTo>
                  <a:pt x="1982" y="388"/>
                  <a:pt x="2018" y="456"/>
                  <a:pt x="2112" y="456"/>
                </a:cubicBezTo>
                <a:cubicBezTo>
                  <a:pt x="2150" y="456"/>
                  <a:pt x="2198" y="440"/>
                  <a:pt x="2224" y="412"/>
                </a:cubicBezTo>
                <a:cubicBezTo>
                  <a:pt x="2218" y="400"/>
                  <a:pt x="2218" y="400"/>
                  <a:pt x="2218" y="400"/>
                </a:cubicBezTo>
                <a:cubicBezTo>
                  <a:pt x="2192" y="416"/>
                  <a:pt x="2164" y="422"/>
                  <a:pt x="2138" y="422"/>
                </a:cubicBezTo>
                <a:cubicBezTo>
                  <a:pt x="2058" y="420"/>
                  <a:pt x="2028" y="352"/>
                  <a:pt x="2030" y="290"/>
                </a:cubicBezTo>
                <a:moveTo>
                  <a:pt x="2478" y="242"/>
                </a:moveTo>
                <a:cubicBezTo>
                  <a:pt x="2490" y="206"/>
                  <a:pt x="2510" y="192"/>
                  <a:pt x="2528" y="192"/>
                </a:cubicBezTo>
                <a:cubicBezTo>
                  <a:pt x="2528" y="180"/>
                  <a:pt x="2528" y="180"/>
                  <a:pt x="2528" y="180"/>
                </a:cubicBezTo>
                <a:cubicBezTo>
                  <a:pt x="2430" y="180"/>
                  <a:pt x="2430" y="180"/>
                  <a:pt x="2430" y="180"/>
                </a:cubicBezTo>
                <a:cubicBezTo>
                  <a:pt x="2430" y="192"/>
                  <a:pt x="2430" y="192"/>
                  <a:pt x="2430" y="192"/>
                </a:cubicBezTo>
                <a:cubicBezTo>
                  <a:pt x="2454" y="194"/>
                  <a:pt x="2466" y="206"/>
                  <a:pt x="2458" y="234"/>
                </a:cubicBezTo>
                <a:cubicBezTo>
                  <a:pt x="2406" y="390"/>
                  <a:pt x="2406" y="390"/>
                  <a:pt x="2406" y="390"/>
                </a:cubicBezTo>
                <a:cubicBezTo>
                  <a:pt x="2354" y="270"/>
                  <a:pt x="2354" y="270"/>
                  <a:pt x="2354" y="270"/>
                </a:cubicBezTo>
                <a:cubicBezTo>
                  <a:pt x="2340" y="238"/>
                  <a:pt x="2334" y="224"/>
                  <a:pt x="2334" y="212"/>
                </a:cubicBezTo>
                <a:cubicBezTo>
                  <a:pt x="2334" y="202"/>
                  <a:pt x="2340" y="196"/>
                  <a:pt x="2360" y="192"/>
                </a:cubicBezTo>
                <a:cubicBezTo>
                  <a:pt x="2360" y="180"/>
                  <a:pt x="2360" y="180"/>
                  <a:pt x="2360" y="180"/>
                </a:cubicBezTo>
                <a:cubicBezTo>
                  <a:pt x="2234" y="180"/>
                  <a:pt x="2234" y="180"/>
                  <a:pt x="2234" y="180"/>
                </a:cubicBezTo>
                <a:cubicBezTo>
                  <a:pt x="2234" y="192"/>
                  <a:pt x="2234" y="192"/>
                  <a:pt x="2234" y="192"/>
                </a:cubicBezTo>
                <a:cubicBezTo>
                  <a:pt x="2266" y="194"/>
                  <a:pt x="2268" y="198"/>
                  <a:pt x="2310" y="292"/>
                </a:cubicBezTo>
                <a:cubicBezTo>
                  <a:pt x="2382" y="450"/>
                  <a:pt x="2382" y="450"/>
                  <a:pt x="2382" y="450"/>
                </a:cubicBezTo>
                <a:cubicBezTo>
                  <a:pt x="2358" y="512"/>
                  <a:pt x="2320" y="546"/>
                  <a:pt x="2242" y="564"/>
                </a:cubicBezTo>
                <a:cubicBezTo>
                  <a:pt x="2246" y="576"/>
                  <a:pt x="2260" y="600"/>
                  <a:pt x="2268" y="606"/>
                </a:cubicBezTo>
                <a:cubicBezTo>
                  <a:pt x="2370" y="564"/>
                  <a:pt x="2390" y="498"/>
                  <a:pt x="2426" y="396"/>
                </a:cubicBezTo>
                <a:lnTo>
                  <a:pt x="2478" y="242"/>
                </a:lnTo>
                <a:close/>
                <a:moveTo>
                  <a:pt x="2844" y="394"/>
                </a:moveTo>
                <a:cubicBezTo>
                  <a:pt x="2822" y="412"/>
                  <a:pt x="2782" y="416"/>
                  <a:pt x="2750" y="416"/>
                </a:cubicBezTo>
                <a:cubicBezTo>
                  <a:pt x="2670" y="416"/>
                  <a:pt x="2606" y="360"/>
                  <a:pt x="2606" y="284"/>
                </a:cubicBezTo>
                <a:cubicBezTo>
                  <a:pt x="2606" y="236"/>
                  <a:pt x="2626" y="206"/>
                  <a:pt x="2658" y="198"/>
                </a:cubicBezTo>
                <a:cubicBezTo>
                  <a:pt x="2698" y="266"/>
                  <a:pt x="2770" y="338"/>
                  <a:pt x="2844" y="394"/>
                </a:cubicBezTo>
                <a:moveTo>
                  <a:pt x="2928" y="448"/>
                </a:moveTo>
                <a:cubicBezTo>
                  <a:pt x="3022" y="448"/>
                  <a:pt x="3022" y="448"/>
                  <a:pt x="3022" y="448"/>
                </a:cubicBezTo>
                <a:cubicBezTo>
                  <a:pt x="3022" y="436"/>
                  <a:pt x="3022" y="436"/>
                  <a:pt x="3022" y="436"/>
                </a:cubicBezTo>
                <a:cubicBezTo>
                  <a:pt x="2992" y="432"/>
                  <a:pt x="2946" y="408"/>
                  <a:pt x="2896" y="372"/>
                </a:cubicBezTo>
                <a:cubicBezTo>
                  <a:pt x="2914" y="342"/>
                  <a:pt x="2918" y="300"/>
                  <a:pt x="2922" y="270"/>
                </a:cubicBezTo>
                <a:cubicBezTo>
                  <a:pt x="2926" y="244"/>
                  <a:pt x="2946" y="244"/>
                  <a:pt x="2958" y="242"/>
                </a:cubicBezTo>
                <a:cubicBezTo>
                  <a:pt x="2958" y="230"/>
                  <a:pt x="2958" y="230"/>
                  <a:pt x="2958" y="230"/>
                </a:cubicBezTo>
                <a:cubicBezTo>
                  <a:pt x="2834" y="230"/>
                  <a:pt x="2834" y="230"/>
                  <a:pt x="2834" y="230"/>
                </a:cubicBezTo>
                <a:cubicBezTo>
                  <a:pt x="2834" y="242"/>
                  <a:pt x="2834" y="242"/>
                  <a:pt x="2834" y="242"/>
                </a:cubicBezTo>
                <a:cubicBezTo>
                  <a:pt x="2864" y="246"/>
                  <a:pt x="2892" y="250"/>
                  <a:pt x="2892" y="294"/>
                </a:cubicBezTo>
                <a:cubicBezTo>
                  <a:pt x="2892" y="318"/>
                  <a:pt x="2888" y="342"/>
                  <a:pt x="2878" y="358"/>
                </a:cubicBezTo>
                <a:cubicBezTo>
                  <a:pt x="2770" y="274"/>
                  <a:pt x="2670" y="156"/>
                  <a:pt x="2670" y="96"/>
                </a:cubicBezTo>
                <a:cubicBezTo>
                  <a:pt x="2670" y="66"/>
                  <a:pt x="2688" y="54"/>
                  <a:pt x="2716" y="54"/>
                </a:cubicBezTo>
                <a:cubicBezTo>
                  <a:pt x="2752" y="54"/>
                  <a:pt x="2784" y="78"/>
                  <a:pt x="2800" y="124"/>
                </a:cubicBezTo>
                <a:cubicBezTo>
                  <a:pt x="2812" y="124"/>
                  <a:pt x="2812" y="124"/>
                  <a:pt x="2812" y="124"/>
                </a:cubicBezTo>
                <a:cubicBezTo>
                  <a:pt x="2810" y="42"/>
                  <a:pt x="2810" y="42"/>
                  <a:pt x="2810" y="42"/>
                </a:cubicBezTo>
                <a:cubicBezTo>
                  <a:pt x="2798" y="42"/>
                  <a:pt x="2798" y="42"/>
                  <a:pt x="2798" y="42"/>
                </a:cubicBezTo>
                <a:cubicBezTo>
                  <a:pt x="2798" y="48"/>
                  <a:pt x="2792" y="52"/>
                  <a:pt x="2788" y="52"/>
                </a:cubicBezTo>
                <a:cubicBezTo>
                  <a:pt x="2772" y="52"/>
                  <a:pt x="2752" y="36"/>
                  <a:pt x="2714" y="36"/>
                </a:cubicBezTo>
                <a:cubicBezTo>
                  <a:pt x="2672" y="36"/>
                  <a:pt x="2630" y="62"/>
                  <a:pt x="2630" y="118"/>
                </a:cubicBezTo>
                <a:cubicBezTo>
                  <a:pt x="2630" y="140"/>
                  <a:pt x="2636" y="160"/>
                  <a:pt x="2648" y="182"/>
                </a:cubicBezTo>
                <a:cubicBezTo>
                  <a:pt x="2592" y="200"/>
                  <a:pt x="2562" y="248"/>
                  <a:pt x="2562" y="304"/>
                </a:cubicBezTo>
                <a:cubicBezTo>
                  <a:pt x="2562" y="406"/>
                  <a:pt x="2640" y="460"/>
                  <a:pt x="2726" y="460"/>
                </a:cubicBezTo>
                <a:cubicBezTo>
                  <a:pt x="2780" y="460"/>
                  <a:pt x="2824" y="444"/>
                  <a:pt x="2862" y="410"/>
                </a:cubicBezTo>
                <a:cubicBezTo>
                  <a:pt x="2888" y="424"/>
                  <a:pt x="2912" y="442"/>
                  <a:pt x="2928" y="448"/>
                </a:cubicBezTo>
                <a:moveTo>
                  <a:pt x="3094" y="212"/>
                </a:moveTo>
                <a:cubicBezTo>
                  <a:pt x="3094" y="88"/>
                  <a:pt x="3154" y="20"/>
                  <a:pt x="3252" y="20"/>
                </a:cubicBezTo>
                <a:cubicBezTo>
                  <a:pt x="3328" y="20"/>
                  <a:pt x="3372" y="58"/>
                  <a:pt x="3392" y="134"/>
                </a:cubicBezTo>
                <a:cubicBezTo>
                  <a:pt x="3404" y="134"/>
                  <a:pt x="3404" y="134"/>
                  <a:pt x="3404" y="134"/>
                </a:cubicBezTo>
                <a:cubicBezTo>
                  <a:pt x="3400" y="4"/>
                  <a:pt x="3400" y="4"/>
                  <a:pt x="3400" y="4"/>
                </a:cubicBezTo>
                <a:cubicBezTo>
                  <a:pt x="3388" y="4"/>
                  <a:pt x="3388" y="4"/>
                  <a:pt x="3388" y="4"/>
                </a:cubicBezTo>
                <a:cubicBezTo>
                  <a:pt x="3384" y="14"/>
                  <a:pt x="3376" y="18"/>
                  <a:pt x="3364" y="18"/>
                </a:cubicBezTo>
                <a:cubicBezTo>
                  <a:pt x="3338" y="18"/>
                  <a:pt x="3314" y="0"/>
                  <a:pt x="3248" y="0"/>
                </a:cubicBezTo>
                <a:cubicBezTo>
                  <a:pt x="3118" y="0"/>
                  <a:pt x="3030" y="102"/>
                  <a:pt x="3030" y="242"/>
                </a:cubicBezTo>
                <a:cubicBezTo>
                  <a:pt x="3030" y="376"/>
                  <a:pt x="3110" y="460"/>
                  <a:pt x="3238" y="460"/>
                </a:cubicBezTo>
                <a:cubicBezTo>
                  <a:pt x="3320" y="460"/>
                  <a:pt x="3384" y="420"/>
                  <a:pt x="3408" y="380"/>
                </a:cubicBezTo>
                <a:cubicBezTo>
                  <a:pt x="3396" y="366"/>
                  <a:pt x="3396" y="366"/>
                  <a:pt x="3396" y="366"/>
                </a:cubicBezTo>
                <a:cubicBezTo>
                  <a:pt x="3370" y="402"/>
                  <a:pt x="3314" y="426"/>
                  <a:pt x="3256" y="426"/>
                </a:cubicBezTo>
                <a:cubicBezTo>
                  <a:pt x="3156" y="426"/>
                  <a:pt x="3094" y="340"/>
                  <a:pt x="3094" y="212"/>
                </a:cubicBezTo>
                <a:moveTo>
                  <a:pt x="3678" y="328"/>
                </a:moveTo>
                <a:cubicBezTo>
                  <a:pt x="3678" y="392"/>
                  <a:pt x="3650" y="430"/>
                  <a:pt x="3592" y="430"/>
                </a:cubicBezTo>
                <a:cubicBezTo>
                  <a:pt x="3542" y="430"/>
                  <a:pt x="3496" y="384"/>
                  <a:pt x="3496" y="292"/>
                </a:cubicBezTo>
                <a:cubicBezTo>
                  <a:pt x="3496" y="226"/>
                  <a:pt x="3528" y="190"/>
                  <a:pt x="3580" y="190"/>
                </a:cubicBezTo>
                <a:cubicBezTo>
                  <a:pt x="3628" y="192"/>
                  <a:pt x="3678" y="238"/>
                  <a:pt x="3678" y="328"/>
                </a:cubicBezTo>
                <a:moveTo>
                  <a:pt x="3732" y="312"/>
                </a:moveTo>
                <a:cubicBezTo>
                  <a:pt x="3732" y="260"/>
                  <a:pt x="3710" y="214"/>
                  <a:pt x="3672" y="190"/>
                </a:cubicBezTo>
                <a:cubicBezTo>
                  <a:pt x="3650" y="176"/>
                  <a:pt x="3620" y="168"/>
                  <a:pt x="3588" y="168"/>
                </a:cubicBezTo>
                <a:cubicBezTo>
                  <a:pt x="3502" y="168"/>
                  <a:pt x="3442" y="230"/>
                  <a:pt x="3442" y="310"/>
                </a:cubicBezTo>
                <a:cubicBezTo>
                  <a:pt x="3442" y="364"/>
                  <a:pt x="3464" y="408"/>
                  <a:pt x="3502" y="432"/>
                </a:cubicBezTo>
                <a:cubicBezTo>
                  <a:pt x="3524" y="446"/>
                  <a:pt x="3554" y="452"/>
                  <a:pt x="3586" y="452"/>
                </a:cubicBezTo>
                <a:cubicBezTo>
                  <a:pt x="3672" y="454"/>
                  <a:pt x="3732" y="394"/>
                  <a:pt x="3732" y="312"/>
                </a:cubicBezTo>
                <a:moveTo>
                  <a:pt x="4136" y="448"/>
                </a:moveTo>
                <a:cubicBezTo>
                  <a:pt x="4280" y="448"/>
                  <a:pt x="4280" y="448"/>
                  <a:pt x="4280" y="448"/>
                </a:cubicBezTo>
                <a:cubicBezTo>
                  <a:pt x="4280" y="436"/>
                  <a:pt x="4280" y="436"/>
                  <a:pt x="4280" y="436"/>
                </a:cubicBezTo>
                <a:cubicBezTo>
                  <a:pt x="4230" y="434"/>
                  <a:pt x="4232" y="426"/>
                  <a:pt x="4232" y="348"/>
                </a:cubicBezTo>
                <a:cubicBezTo>
                  <a:pt x="4232" y="276"/>
                  <a:pt x="4232" y="276"/>
                  <a:pt x="4232" y="276"/>
                </a:cubicBezTo>
                <a:cubicBezTo>
                  <a:pt x="4232" y="200"/>
                  <a:pt x="4190" y="172"/>
                  <a:pt x="4142" y="172"/>
                </a:cubicBezTo>
                <a:cubicBezTo>
                  <a:pt x="4098" y="172"/>
                  <a:pt x="4064" y="196"/>
                  <a:pt x="4038" y="232"/>
                </a:cubicBezTo>
                <a:cubicBezTo>
                  <a:pt x="4028" y="194"/>
                  <a:pt x="4000" y="172"/>
                  <a:pt x="3954" y="172"/>
                </a:cubicBezTo>
                <a:cubicBezTo>
                  <a:pt x="3916" y="172"/>
                  <a:pt x="3880" y="196"/>
                  <a:pt x="3858" y="224"/>
                </a:cubicBezTo>
                <a:cubicBezTo>
                  <a:pt x="3858" y="176"/>
                  <a:pt x="3858" y="176"/>
                  <a:pt x="3858" y="176"/>
                </a:cubicBezTo>
                <a:cubicBezTo>
                  <a:pt x="3756" y="176"/>
                  <a:pt x="3756" y="176"/>
                  <a:pt x="3756" y="176"/>
                </a:cubicBezTo>
                <a:cubicBezTo>
                  <a:pt x="3756" y="188"/>
                  <a:pt x="3756" y="188"/>
                  <a:pt x="3756" y="188"/>
                </a:cubicBezTo>
                <a:cubicBezTo>
                  <a:pt x="3800" y="190"/>
                  <a:pt x="3806" y="192"/>
                  <a:pt x="3806" y="268"/>
                </a:cubicBezTo>
                <a:cubicBezTo>
                  <a:pt x="3806" y="346"/>
                  <a:pt x="3806" y="346"/>
                  <a:pt x="3806" y="346"/>
                </a:cubicBezTo>
                <a:cubicBezTo>
                  <a:pt x="3806" y="434"/>
                  <a:pt x="3804" y="434"/>
                  <a:pt x="3758" y="434"/>
                </a:cubicBezTo>
                <a:cubicBezTo>
                  <a:pt x="3758" y="446"/>
                  <a:pt x="3758" y="446"/>
                  <a:pt x="3758" y="446"/>
                </a:cubicBezTo>
                <a:cubicBezTo>
                  <a:pt x="3902" y="446"/>
                  <a:pt x="3902" y="446"/>
                  <a:pt x="3902" y="446"/>
                </a:cubicBezTo>
                <a:cubicBezTo>
                  <a:pt x="3902" y="434"/>
                  <a:pt x="3902" y="434"/>
                  <a:pt x="3902" y="434"/>
                </a:cubicBezTo>
                <a:cubicBezTo>
                  <a:pt x="3862" y="430"/>
                  <a:pt x="3858" y="430"/>
                  <a:pt x="3858" y="342"/>
                </a:cubicBezTo>
                <a:cubicBezTo>
                  <a:pt x="3858" y="262"/>
                  <a:pt x="3858" y="262"/>
                  <a:pt x="3858" y="262"/>
                </a:cubicBezTo>
                <a:cubicBezTo>
                  <a:pt x="3858" y="234"/>
                  <a:pt x="3894" y="204"/>
                  <a:pt x="3932" y="204"/>
                </a:cubicBezTo>
                <a:cubicBezTo>
                  <a:pt x="3974" y="204"/>
                  <a:pt x="3990" y="226"/>
                  <a:pt x="3990" y="282"/>
                </a:cubicBezTo>
                <a:cubicBezTo>
                  <a:pt x="3990" y="338"/>
                  <a:pt x="3990" y="338"/>
                  <a:pt x="3990" y="338"/>
                </a:cubicBezTo>
                <a:cubicBezTo>
                  <a:pt x="3990" y="428"/>
                  <a:pt x="3988" y="432"/>
                  <a:pt x="3950" y="436"/>
                </a:cubicBezTo>
                <a:cubicBezTo>
                  <a:pt x="3950" y="448"/>
                  <a:pt x="3950" y="448"/>
                  <a:pt x="3950" y="448"/>
                </a:cubicBezTo>
                <a:cubicBezTo>
                  <a:pt x="4086" y="448"/>
                  <a:pt x="4086" y="448"/>
                  <a:pt x="4086" y="448"/>
                </a:cubicBezTo>
                <a:cubicBezTo>
                  <a:pt x="4086" y="436"/>
                  <a:pt x="4086" y="436"/>
                  <a:pt x="4086" y="436"/>
                </a:cubicBezTo>
                <a:cubicBezTo>
                  <a:pt x="4040" y="432"/>
                  <a:pt x="4042" y="428"/>
                  <a:pt x="4042" y="342"/>
                </a:cubicBezTo>
                <a:cubicBezTo>
                  <a:pt x="4042" y="264"/>
                  <a:pt x="4042" y="264"/>
                  <a:pt x="4042" y="264"/>
                </a:cubicBezTo>
                <a:cubicBezTo>
                  <a:pt x="4042" y="236"/>
                  <a:pt x="4078" y="206"/>
                  <a:pt x="4118" y="206"/>
                </a:cubicBezTo>
                <a:cubicBezTo>
                  <a:pt x="4152" y="206"/>
                  <a:pt x="4174" y="226"/>
                  <a:pt x="4174" y="284"/>
                </a:cubicBezTo>
                <a:cubicBezTo>
                  <a:pt x="4174" y="346"/>
                  <a:pt x="4174" y="346"/>
                  <a:pt x="4174" y="346"/>
                </a:cubicBezTo>
                <a:cubicBezTo>
                  <a:pt x="4174" y="428"/>
                  <a:pt x="4174" y="432"/>
                  <a:pt x="4134" y="436"/>
                </a:cubicBezTo>
                <a:cubicBezTo>
                  <a:pt x="4134" y="448"/>
                  <a:pt x="4134" y="448"/>
                  <a:pt x="4134" y="448"/>
                </a:cubicBezTo>
                <a:lnTo>
                  <a:pt x="4136" y="448"/>
                </a:lnTo>
                <a:close/>
                <a:moveTo>
                  <a:pt x="4546" y="316"/>
                </a:moveTo>
                <a:cubicBezTo>
                  <a:pt x="4546" y="388"/>
                  <a:pt x="4516" y="432"/>
                  <a:pt x="4460" y="432"/>
                </a:cubicBezTo>
                <a:cubicBezTo>
                  <a:pt x="4424" y="432"/>
                  <a:pt x="4384" y="412"/>
                  <a:pt x="4384" y="384"/>
                </a:cubicBezTo>
                <a:cubicBezTo>
                  <a:pt x="4384" y="248"/>
                  <a:pt x="4384" y="248"/>
                  <a:pt x="4384" y="248"/>
                </a:cubicBezTo>
                <a:cubicBezTo>
                  <a:pt x="4384" y="226"/>
                  <a:pt x="4416" y="202"/>
                  <a:pt x="4454" y="202"/>
                </a:cubicBezTo>
                <a:cubicBezTo>
                  <a:pt x="4510" y="206"/>
                  <a:pt x="4546" y="248"/>
                  <a:pt x="4546" y="316"/>
                </a:cubicBezTo>
                <a:moveTo>
                  <a:pt x="4600" y="310"/>
                </a:moveTo>
                <a:cubicBezTo>
                  <a:pt x="4600" y="230"/>
                  <a:pt x="4548" y="170"/>
                  <a:pt x="4478" y="170"/>
                </a:cubicBezTo>
                <a:cubicBezTo>
                  <a:pt x="4438" y="170"/>
                  <a:pt x="4406" y="188"/>
                  <a:pt x="4384" y="214"/>
                </a:cubicBezTo>
                <a:cubicBezTo>
                  <a:pt x="4384" y="174"/>
                  <a:pt x="4384" y="174"/>
                  <a:pt x="4384" y="174"/>
                </a:cubicBezTo>
                <a:cubicBezTo>
                  <a:pt x="4284" y="174"/>
                  <a:pt x="4284" y="174"/>
                  <a:pt x="4284" y="174"/>
                </a:cubicBezTo>
                <a:cubicBezTo>
                  <a:pt x="4284" y="186"/>
                  <a:pt x="4284" y="186"/>
                  <a:pt x="4284" y="186"/>
                </a:cubicBezTo>
                <a:cubicBezTo>
                  <a:pt x="4326" y="188"/>
                  <a:pt x="4332" y="190"/>
                  <a:pt x="4332" y="280"/>
                </a:cubicBezTo>
                <a:cubicBezTo>
                  <a:pt x="4332" y="466"/>
                  <a:pt x="4332" y="466"/>
                  <a:pt x="4332" y="466"/>
                </a:cubicBezTo>
                <a:cubicBezTo>
                  <a:pt x="4332" y="564"/>
                  <a:pt x="4334" y="570"/>
                  <a:pt x="4286" y="574"/>
                </a:cubicBezTo>
                <a:cubicBezTo>
                  <a:pt x="4286" y="588"/>
                  <a:pt x="4286" y="588"/>
                  <a:pt x="4286" y="588"/>
                </a:cubicBezTo>
                <a:cubicBezTo>
                  <a:pt x="4432" y="588"/>
                  <a:pt x="4432" y="588"/>
                  <a:pt x="4432" y="588"/>
                </a:cubicBezTo>
                <a:cubicBezTo>
                  <a:pt x="4432" y="574"/>
                  <a:pt x="4432" y="574"/>
                  <a:pt x="4432" y="574"/>
                </a:cubicBezTo>
                <a:cubicBezTo>
                  <a:pt x="4380" y="572"/>
                  <a:pt x="4384" y="564"/>
                  <a:pt x="4384" y="462"/>
                </a:cubicBezTo>
                <a:cubicBezTo>
                  <a:pt x="4384" y="424"/>
                  <a:pt x="4384" y="424"/>
                  <a:pt x="4384" y="424"/>
                </a:cubicBezTo>
                <a:cubicBezTo>
                  <a:pt x="4404" y="444"/>
                  <a:pt x="4436" y="454"/>
                  <a:pt x="4466" y="454"/>
                </a:cubicBezTo>
                <a:cubicBezTo>
                  <a:pt x="4548" y="454"/>
                  <a:pt x="4600" y="392"/>
                  <a:pt x="4600" y="310"/>
                </a:cubicBezTo>
                <a:moveTo>
                  <a:pt x="4792" y="382"/>
                </a:moveTo>
                <a:cubicBezTo>
                  <a:pt x="4792" y="404"/>
                  <a:pt x="4762" y="424"/>
                  <a:pt x="4736" y="424"/>
                </a:cubicBezTo>
                <a:cubicBezTo>
                  <a:pt x="4712" y="424"/>
                  <a:pt x="4694" y="410"/>
                  <a:pt x="4694" y="378"/>
                </a:cubicBezTo>
                <a:cubicBezTo>
                  <a:pt x="4694" y="322"/>
                  <a:pt x="4752" y="328"/>
                  <a:pt x="4792" y="306"/>
                </a:cubicBezTo>
                <a:cubicBezTo>
                  <a:pt x="4792" y="382"/>
                  <a:pt x="4792" y="382"/>
                  <a:pt x="4792" y="382"/>
                </a:cubicBezTo>
                <a:close/>
                <a:moveTo>
                  <a:pt x="5240" y="434"/>
                </a:moveTo>
                <a:cubicBezTo>
                  <a:pt x="5192" y="432"/>
                  <a:pt x="5192" y="430"/>
                  <a:pt x="5192" y="340"/>
                </a:cubicBezTo>
                <a:cubicBezTo>
                  <a:pt x="5192" y="278"/>
                  <a:pt x="5192" y="278"/>
                  <a:pt x="5192" y="278"/>
                </a:cubicBezTo>
                <a:cubicBezTo>
                  <a:pt x="5192" y="196"/>
                  <a:pt x="5146" y="170"/>
                  <a:pt x="5104" y="170"/>
                </a:cubicBezTo>
                <a:cubicBezTo>
                  <a:pt x="5068" y="170"/>
                  <a:pt x="5032" y="186"/>
                  <a:pt x="5004" y="222"/>
                </a:cubicBezTo>
                <a:cubicBezTo>
                  <a:pt x="5004" y="174"/>
                  <a:pt x="5004" y="174"/>
                  <a:pt x="5004" y="174"/>
                </a:cubicBezTo>
                <a:cubicBezTo>
                  <a:pt x="4902" y="174"/>
                  <a:pt x="4902" y="174"/>
                  <a:pt x="4902" y="174"/>
                </a:cubicBezTo>
                <a:cubicBezTo>
                  <a:pt x="4902" y="186"/>
                  <a:pt x="4902" y="186"/>
                  <a:pt x="4902" y="186"/>
                </a:cubicBezTo>
                <a:cubicBezTo>
                  <a:pt x="4946" y="188"/>
                  <a:pt x="4952" y="190"/>
                  <a:pt x="4952" y="266"/>
                </a:cubicBezTo>
                <a:cubicBezTo>
                  <a:pt x="4952" y="334"/>
                  <a:pt x="4952" y="334"/>
                  <a:pt x="4952" y="334"/>
                </a:cubicBezTo>
                <a:cubicBezTo>
                  <a:pt x="4952" y="430"/>
                  <a:pt x="4952" y="432"/>
                  <a:pt x="4904" y="434"/>
                </a:cubicBezTo>
                <a:cubicBezTo>
                  <a:pt x="4892" y="434"/>
                  <a:pt x="4892" y="434"/>
                  <a:pt x="4892" y="434"/>
                </a:cubicBezTo>
                <a:cubicBezTo>
                  <a:pt x="4854" y="434"/>
                  <a:pt x="4850" y="422"/>
                  <a:pt x="4850" y="366"/>
                </a:cubicBezTo>
                <a:cubicBezTo>
                  <a:pt x="4850" y="274"/>
                  <a:pt x="4850" y="274"/>
                  <a:pt x="4850" y="274"/>
                </a:cubicBezTo>
                <a:cubicBezTo>
                  <a:pt x="4850" y="256"/>
                  <a:pt x="4848" y="240"/>
                  <a:pt x="4844" y="228"/>
                </a:cubicBezTo>
                <a:cubicBezTo>
                  <a:pt x="4830" y="186"/>
                  <a:pt x="4796" y="170"/>
                  <a:pt x="4748" y="170"/>
                </a:cubicBezTo>
                <a:cubicBezTo>
                  <a:pt x="4718" y="170"/>
                  <a:pt x="4674" y="180"/>
                  <a:pt x="4650" y="202"/>
                </a:cubicBezTo>
                <a:cubicBezTo>
                  <a:pt x="4652" y="214"/>
                  <a:pt x="4664" y="240"/>
                  <a:pt x="4670" y="248"/>
                </a:cubicBezTo>
                <a:cubicBezTo>
                  <a:pt x="4676" y="246"/>
                  <a:pt x="4676" y="246"/>
                  <a:pt x="4676" y="246"/>
                </a:cubicBezTo>
                <a:cubicBezTo>
                  <a:pt x="4688" y="216"/>
                  <a:pt x="4708" y="194"/>
                  <a:pt x="4742" y="194"/>
                </a:cubicBezTo>
                <a:cubicBezTo>
                  <a:pt x="4778" y="194"/>
                  <a:pt x="4794" y="220"/>
                  <a:pt x="4794" y="250"/>
                </a:cubicBezTo>
                <a:cubicBezTo>
                  <a:pt x="4794" y="282"/>
                  <a:pt x="4794" y="282"/>
                  <a:pt x="4794" y="282"/>
                </a:cubicBezTo>
                <a:cubicBezTo>
                  <a:pt x="4794" y="302"/>
                  <a:pt x="4702" y="306"/>
                  <a:pt x="4664" y="338"/>
                </a:cubicBezTo>
                <a:cubicBezTo>
                  <a:pt x="4652" y="350"/>
                  <a:pt x="4642" y="364"/>
                  <a:pt x="4642" y="384"/>
                </a:cubicBezTo>
                <a:cubicBezTo>
                  <a:pt x="4642" y="426"/>
                  <a:pt x="4672" y="456"/>
                  <a:pt x="4716" y="456"/>
                </a:cubicBezTo>
                <a:cubicBezTo>
                  <a:pt x="4744" y="456"/>
                  <a:pt x="4768" y="446"/>
                  <a:pt x="4794" y="418"/>
                </a:cubicBezTo>
                <a:cubicBezTo>
                  <a:pt x="4798" y="438"/>
                  <a:pt x="4814" y="448"/>
                  <a:pt x="4842" y="448"/>
                </a:cubicBezTo>
                <a:cubicBezTo>
                  <a:pt x="4906" y="448"/>
                  <a:pt x="4906" y="448"/>
                  <a:pt x="4906" y="448"/>
                </a:cubicBezTo>
                <a:cubicBezTo>
                  <a:pt x="4906" y="448"/>
                  <a:pt x="4906" y="448"/>
                  <a:pt x="4906" y="448"/>
                </a:cubicBezTo>
                <a:cubicBezTo>
                  <a:pt x="5048" y="448"/>
                  <a:pt x="5048" y="448"/>
                  <a:pt x="5048" y="448"/>
                </a:cubicBezTo>
                <a:cubicBezTo>
                  <a:pt x="5048" y="436"/>
                  <a:pt x="5048" y="436"/>
                  <a:pt x="5048" y="436"/>
                </a:cubicBezTo>
                <a:cubicBezTo>
                  <a:pt x="5006" y="432"/>
                  <a:pt x="5004" y="434"/>
                  <a:pt x="5004" y="338"/>
                </a:cubicBezTo>
                <a:cubicBezTo>
                  <a:pt x="5004" y="262"/>
                  <a:pt x="5004" y="262"/>
                  <a:pt x="5004" y="262"/>
                </a:cubicBezTo>
                <a:cubicBezTo>
                  <a:pt x="5004" y="236"/>
                  <a:pt x="5038" y="206"/>
                  <a:pt x="5080" y="206"/>
                </a:cubicBezTo>
                <a:cubicBezTo>
                  <a:pt x="5114" y="206"/>
                  <a:pt x="5140" y="220"/>
                  <a:pt x="5140" y="286"/>
                </a:cubicBezTo>
                <a:cubicBezTo>
                  <a:pt x="5140" y="340"/>
                  <a:pt x="5140" y="340"/>
                  <a:pt x="5140" y="340"/>
                </a:cubicBezTo>
                <a:cubicBezTo>
                  <a:pt x="5140" y="432"/>
                  <a:pt x="5136" y="432"/>
                  <a:pt x="5098" y="434"/>
                </a:cubicBezTo>
                <a:cubicBezTo>
                  <a:pt x="5098" y="446"/>
                  <a:pt x="5098" y="446"/>
                  <a:pt x="5098" y="446"/>
                </a:cubicBezTo>
                <a:cubicBezTo>
                  <a:pt x="5240" y="446"/>
                  <a:pt x="5240" y="446"/>
                  <a:pt x="5240" y="446"/>
                </a:cubicBezTo>
                <a:lnTo>
                  <a:pt x="5240" y="434"/>
                </a:lnTo>
                <a:close/>
                <a:moveTo>
                  <a:pt x="5516" y="192"/>
                </a:moveTo>
                <a:cubicBezTo>
                  <a:pt x="5516" y="180"/>
                  <a:pt x="5516" y="180"/>
                  <a:pt x="5516" y="180"/>
                </a:cubicBezTo>
                <a:cubicBezTo>
                  <a:pt x="5418" y="180"/>
                  <a:pt x="5418" y="180"/>
                  <a:pt x="5418" y="180"/>
                </a:cubicBezTo>
                <a:cubicBezTo>
                  <a:pt x="5418" y="192"/>
                  <a:pt x="5418" y="192"/>
                  <a:pt x="5418" y="192"/>
                </a:cubicBezTo>
                <a:cubicBezTo>
                  <a:pt x="5442" y="194"/>
                  <a:pt x="5454" y="206"/>
                  <a:pt x="5446" y="234"/>
                </a:cubicBezTo>
                <a:cubicBezTo>
                  <a:pt x="5394" y="390"/>
                  <a:pt x="5394" y="390"/>
                  <a:pt x="5394" y="390"/>
                </a:cubicBezTo>
                <a:cubicBezTo>
                  <a:pt x="5342" y="270"/>
                  <a:pt x="5342" y="270"/>
                  <a:pt x="5342" y="270"/>
                </a:cubicBezTo>
                <a:cubicBezTo>
                  <a:pt x="5328" y="238"/>
                  <a:pt x="5322" y="224"/>
                  <a:pt x="5322" y="212"/>
                </a:cubicBezTo>
                <a:cubicBezTo>
                  <a:pt x="5322" y="202"/>
                  <a:pt x="5328" y="196"/>
                  <a:pt x="5348" y="192"/>
                </a:cubicBezTo>
                <a:cubicBezTo>
                  <a:pt x="5348" y="180"/>
                  <a:pt x="5348" y="180"/>
                  <a:pt x="5348" y="180"/>
                </a:cubicBezTo>
                <a:cubicBezTo>
                  <a:pt x="5220" y="180"/>
                  <a:pt x="5220" y="180"/>
                  <a:pt x="5220" y="180"/>
                </a:cubicBezTo>
                <a:cubicBezTo>
                  <a:pt x="5220" y="192"/>
                  <a:pt x="5220" y="192"/>
                  <a:pt x="5220" y="192"/>
                </a:cubicBezTo>
                <a:cubicBezTo>
                  <a:pt x="5252" y="194"/>
                  <a:pt x="5254" y="198"/>
                  <a:pt x="5296" y="292"/>
                </a:cubicBezTo>
                <a:cubicBezTo>
                  <a:pt x="5368" y="450"/>
                  <a:pt x="5368" y="450"/>
                  <a:pt x="5368" y="450"/>
                </a:cubicBezTo>
                <a:cubicBezTo>
                  <a:pt x="5344" y="512"/>
                  <a:pt x="5306" y="546"/>
                  <a:pt x="5228" y="564"/>
                </a:cubicBezTo>
                <a:cubicBezTo>
                  <a:pt x="5232" y="576"/>
                  <a:pt x="5246" y="600"/>
                  <a:pt x="5254" y="606"/>
                </a:cubicBezTo>
                <a:cubicBezTo>
                  <a:pt x="5356" y="564"/>
                  <a:pt x="5376" y="498"/>
                  <a:pt x="5412" y="396"/>
                </a:cubicBezTo>
                <a:cubicBezTo>
                  <a:pt x="5466" y="242"/>
                  <a:pt x="5466" y="242"/>
                  <a:pt x="5466" y="242"/>
                </a:cubicBezTo>
                <a:cubicBezTo>
                  <a:pt x="5478" y="206"/>
                  <a:pt x="5498" y="192"/>
                  <a:pt x="5516" y="192"/>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600" kern="1200">
                <a:solidFill>
                  <a:schemeClr val="tx1"/>
                </a:solidFill>
                <a:latin typeface="Arial" charset="0"/>
                <a:ea typeface="+mn-ea"/>
                <a:cs typeface="+mn-cs"/>
              </a:defRPr>
            </a:lvl1pPr>
            <a:lvl2pPr marL="457200" algn="l" rtl="0" fontAlgn="base">
              <a:spcBef>
                <a:spcPct val="0"/>
              </a:spcBef>
              <a:spcAft>
                <a:spcPct val="0"/>
              </a:spcAft>
              <a:defRPr sz="1600" kern="1200">
                <a:solidFill>
                  <a:schemeClr val="tx1"/>
                </a:solidFill>
                <a:latin typeface="Arial" charset="0"/>
                <a:ea typeface="+mn-ea"/>
                <a:cs typeface="+mn-cs"/>
              </a:defRPr>
            </a:lvl2pPr>
            <a:lvl3pPr marL="914400" algn="l" rtl="0" fontAlgn="base">
              <a:spcBef>
                <a:spcPct val="0"/>
              </a:spcBef>
              <a:spcAft>
                <a:spcPct val="0"/>
              </a:spcAft>
              <a:defRPr sz="1600" kern="1200">
                <a:solidFill>
                  <a:schemeClr val="tx1"/>
                </a:solidFill>
                <a:latin typeface="Arial" charset="0"/>
                <a:ea typeface="+mn-ea"/>
                <a:cs typeface="+mn-cs"/>
              </a:defRPr>
            </a:lvl3pPr>
            <a:lvl4pPr marL="1371600" algn="l" rtl="0" fontAlgn="base">
              <a:spcBef>
                <a:spcPct val="0"/>
              </a:spcBef>
              <a:spcAft>
                <a:spcPct val="0"/>
              </a:spcAft>
              <a:defRPr sz="1600" kern="1200">
                <a:solidFill>
                  <a:schemeClr val="tx1"/>
                </a:solidFill>
                <a:latin typeface="Arial" charset="0"/>
                <a:ea typeface="+mn-ea"/>
                <a:cs typeface="+mn-cs"/>
              </a:defRPr>
            </a:lvl4pPr>
            <a:lvl5pPr marL="1828800" algn="l" rtl="0" fontAlgn="base">
              <a:spcBef>
                <a:spcPct val="0"/>
              </a:spcBef>
              <a:spcAft>
                <a:spcPct val="0"/>
              </a:spcAft>
              <a:defRPr sz="1600" kern="1200">
                <a:solidFill>
                  <a:schemeClr val="tx1"/>
                </a:solidFill>
                <a:latin typeface="Arial" charset="0"/>
                <a:ea typeface="+mn-ea"/>
                <a:cs typeface="+mn-cs"/>
              </a:defRPr>
            </a:lvl5pPr>
            <a:lvl6pPr marL="2286000" algn="l" defTabSz="914400" rtl="0" eaLnBrk="1" latinLnBrk="0" hangingPunct="1">
              <a:defRPr sz="1600" kern="1200">
                <a:solidFill>
                  <a:schemeClr val="tx1"/>
                </a:solidFill>
                <a:latin typeface="Arial" charset="0"/>
                <a:ea typeface="+mn-ea"/>
                <a:cs typeface="+mn-cs"/>
              </a:defRPr>
            </a:lvl6pPr>
            <a:lvl7pPr marL="2743200" algn="l" defTabSz="914400" rtl="0" eaLnBrk="1" latinLnBrk="0" hangingPunct="1">
              <a:defRPr sz="1600" kern="1200">
                <a:solidFill>
                  <a:schemeClr val="tx1"/>
                </a:solidFill>
                <a:latin typeface="Arial" charset="0"/>
                <a:ea typeface="+mn-ea"/>
                <a:cs typeface="+mn-cs"/>
              </a:defRPr>
            </a:lvl7pPr>
            <a:lvl8pPr marL="3200400" algn="l" defTabSz="914400" rtl="0" eaLnBrk="1" latinLnBrk="0" hangingPunct="1">
              <a:defRPr sz="1600" kern="1200">
                <a:solidFill>
                  <a:schemeClr val="tx1"/>
                </a:solidFill>
                <a:latin typeface="Arial" charset="0"/>
                <a:ea typeface="+mn-ea"/>
                <a:cs typeface="+mn-cs"/>
              </a:defRPr>
            </a:lvl8pPr>
            <a:lvl9pPr marL="3657600" algn="l" defTabSz="914400" rtl="0" eaLnBrk="1" latinLnBrk="0" hangingPunct="1">
              <a:defRPr sz="1600" kern="1200">
                <a:solidFill>
                  <a:schemeClr val="tx1"/>
                </a:solidFill>
                <a:latin typeface="Arial" charset="0"/>
                <a:ea typeface="+mn-ea"/>
                <a:cs typeface="+mn-cs"/>
              </a:defRPr>
            </a:lvl9pPr>
          </a:lstStyle>
          <a:p>
            <a:endParaRPr lang="en-US" baseline="0" dirty="0">
              <a:solidFill>
                <a:srgbClr val="000000"/>
              </a:solidFill>
              <a:latin typeface="+mn-lt"/>
            </a:endParaRPr>
          </a:p>
        </p:txBody>
      </p:sp>
      <p:sp>
        <p:nvSpPr>
          <p:cNvPr id="27" name="Disclaimer-English (United States)" hidden="1"/>
          <p:cNvSpPr>
            <a:spLocks noChangeArrowheads="1"/>
          </p:cNvSpPr>
          <p:nvPr/>
        </p:nvSpPr>
        <p:spPr bwMode="black">
          <a:xfrm>
            <a:off x="2268266" y="6287785"/>
            <a:ext cx="3544453" cy="36908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t" anchorCtr="0">
            <a:noAutofit/>
          </a:bodyPr>
          <a:lstStyle/>
          <a:p>
            <a:pPr defTabSz="804863" eaLnBrk="0" hangingPunct="0"/>
            <a:r>
              <a:rPr lang="en-US" sz="800" baseline="0" dirty="0">
                <a:solidFill>
                  <a:srgbClr val="FFFFFF"/>
                </a:solidFill>
                <a:latin typeface="+mn-lt"/>
              </a:rPr>
              <a:t>CONFIDENTIAL AND PROPRIETARY</a:t>
            </a:r>
          </a:p>
          <a:p>
            <a:pPr defTabSz="804863" eaLnBrk="0" hangingPunct="0"/>
            <a:r>
              <a:rPr lang="en-US" sz="800" baseline="0" dirty="0">
                <a:solidFill>
                  <a:srgbClr val="FFFFFF"/>
                </a:solidFill>
                <a:latin typeface="+mn-lt"/>
              </a:rPr>
              <a:t>Any use of this material without specific permission of McKinsey &amp; Company is strictly prohibited</a:t>
            </a:r>
          </a:p>
        </p:txBody>
      </p:sp>
    </p:spTree>
    <p:extLst>
      <p:ext uri="{BB962C8B-B14F-4D97-AF65-F5344CB8AC3E}">
        <p14:creationId xmlns:p14="http://schemas.microsoft.com/office/powerpoint/2010/main" val="2627188604"/>
      </p:ext>
    </p:extLst>
  </p:cSld>
  <p:clrMapOvr>
    <a:masterClrMapping/>
  </p:clrMapOvr>
  <p:extLst mod="1">
    <p:ext uri="{DCECCB84-F9BA-43D5-87BE-67443E8EF086}">
      <p15:sldGuideLst xmlns:p15="http://schemas.microsoft.com/office/powerpoint/2012/main">
        <p15:guide id="1" orient="horz" pos="2117">
          <p15:clr>
            <a:srgbClr val="FBAE40"/>
          </p15:clr>
        </p15:guide>
        <p15:guide id="2" pos="1416">
          <p15:clr>
            <a:srgbClr val="FBAE40"/>
          </p15:clr>
        </p15:guide>
      </p15:sldGuideLst>
    </p:ext>
  </p:extLst>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6E228F5-5CF1-42E1-9748-97D7582A107A}"/>
              </a:ext>
            </a:extLst>
          </p:cNvPr>
          <p:cNvGraphicFramePr>
            <a:graphicFrameLocks noChangeAspect="1"/>
          </p:cNvGraphicFramePr>
          <p:nvPr>
            <p:custDataLst>
              <p:tags r:id="rId2"/>
            </p:custDataLst>
            <p:extLst>
              <p:ext uri="{D42A27DB-BD31-4B8C-83A1-F6EECF244321}">
                <p14:modId xmlns:p14="http://schemas.microsoft.com/office/powerpoint/2010/main" val="406116954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2468" name="think-cell Slide" r:id="rId5" imgW="353" imgH="353" progId="TCLayout.ActiveDocument.1">
                  <p:embed/>
                </p:oleObj>
              </mc:Choice>
              <mc:Fallback>
                <p:oleObj name="think-cell Slide" r:id="rId5" imgW="353" imgH="353" progId="TCLayout.ActiveDocument.1">
                  <p:embed/>
                  <p:pic>
                    <p:nvPicPr>
                      <p:cNvPr id="3" name="Object 2" hidden="1">
                        <a:extLst>
                          <a:ext uri="{FF2B5EF4-FFF2-40B4-BE49-F238E27FC236}">
                            <a16:creationId xmlns:a16="http://schemas.microsoft.com/office/drawing/2014/main" id="{C6E228F5-5CF1-42E1-9748-97D7582A107A}"/>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2. Slide Title"/>
          <p:cNvSpPr>
            <a:spLocks noGrp="1"/>
          </p:cNvSpPr>
          <p:nvPr>
            <p:ph type="title"/>
          </p:nvPr>
        </p:nvSpPr>
        <p:spPr bwMode="auto"/>
        <p:txBody>
          <a:bodyPr/>
          <a:lstStyle/>
          <a:p>
            <a:r>
              <a:rPr lang="en-US"/>
              <a:t>Click to edit Master title style</a:t>
            </a:r>
            <a:endParaRPr lang="en-US" dirty="0"/>
          </a:p>
        </p:txBody>
      </p:sp>
      <p:sp>
        <p:nvSpPr>
          <p:cNvPr id="8" name="Slide Number"/>
          <p:cNvSpPr txBox="1">
            <a:spLocks/>
          </p:cNvSpPr>
          <p:nvPr/>
        </p:nvSpPr>
        <p:spPr bwMode="auto">
          <a:xfrm>
            <a:off x="8564563" y="6508272"/>
            <a:ext cx="125034" cy="123111"/>
          </a:xfrm>
          <a:prstGeom prst="rect">
            <a:avLst/>
          </a:prstGeom>
        </p:spPr>
        <p:txBody>
          <a:bodyPr vert="horz" wrap="none" lIns="0" tIns="0" rIns="0" bIns="0" rtlCol="0" anchor="ctr">
            <a:spAutoFit/>
          </a:bodyPr>
          <a:lstStyle>
            <a:defPPr>
              <a:defRPr lang="en-US"/>
            </a:defPPr>
            <a:lvl1pPr>
              <a:defRPr sz="1000" baseline="0">
                <a:latin typeface="+mn-lt"/>
              </a:defRPr>
            </a:lvl1pPr>
          </a:lstStyle>
          <a:p>
            <a:fld id="{42C328C1-A84F-4A39-A664-DBA00541A8C6}" type="slidenum">
              <a:rPr lang="en-US" sz="800" baseline="0" smtClean="0">
                <a:solidFill>
                  <a:srgbClr val="808080"/>
                </a:solidFill>
                <a:latin typeface="+mn-lt"/>
              </a:rPr>
              <a:pPr/>
              <a:t>‹#›</a:t>
            </a:fld>
            <a:endParaRPr lang="en-US" sz="800" baseline="0" dirty="0">
              <a:solidFill>
                <a:srgbClr val="808080"/>
              </a:solidFill>
              <a:latin typeface="+mn-lt"/>
            </a:endParaRPr>
          </a:p>
        </p:txBody>
      </p:sp>
      <p:sp>
        <p:nvSpPr>
          <p:cNvPr id="9" name="SlideLogoText"/>
          <p:cNvSpPr>
            <a:spLocks noChangeArrowheads="1"/>
          </p:cNvSpPr>
          <p:nvPr>
            <p:custDataLst>
              <p:tags r:id="rId3"/>
            </p:custDataLst>
          </p:nvPr>
        </p:nvSpPr>
        <p:spPr bwMode="auto">
          <a:xfrm>
            <a:off x="7450817" y="6508272"/>
            <a:ext cx="1013098"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algn="r" defTabSz="895350"/>
            <a:r>
              <a:rPr lang="en-US" sz="800" baseline="0" dirty="0">
                <a:solidFill>
                  <a:srgbClr val="808080"/>
                </a:solidFill>
                <a:latin typeface="+mn-lt"/>
              </a:rPr>
              <a:t>McKinsey &amp; Company</a:t>
            </a:r>
          </a:p>
        </p:txBody>
      </p:sp>
      <p:sp>
        <p:nvSpPr>
          <p:cNvPr id="5" name="doc id" hidden="1"/>
          <p:cNvSpPr txBox="1">
            <a:spLocks noChangeArrowheads="1"/>
          </p:cNvSpPr>
          <p:nvPr/>
        </p:nvSpPr>
        <p:spPr bwMode="white">
          <a:xfrm>
            <a:off x="8104473" y="36513"/>
            <a:ext cx="634716" cy="115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hangingPunct="1">
              <a:defRPr/>
            </a:pPr>
            <a:endParaRPr lang="en-US" sz="800" baseline="0" dirty="0">
              <a:solidFill>
                <a:schemeClr val="accent1"/>
              </a:solidFill>
              <a:latin typeface="+mn-lt"/>
              <a:ea typeface="+mn-ea"/>
            </a:endParaRPr>
          </a:p>
        </p:txBody>
      </p:sp>
    </p:spTree>
    <p:extLst>
      <p:ext uri="{BB962C8B-B14F-4D97-AF65-F5344CB8AC3E}">
        <p14:creationId xmlns:p14="http://schemas.microsoft.com/office/powerpoint/2010/main" val="4184347667"/>
      </p:ext>
    </p:extLst>
  </p:cSld>
  <p:clrMapOvr>
    <a:masterClrMapping/>
  </p:clrMapOvr>
  <p:extLst mod="1">
    <p:ext uri="{DCECCB84-F9BA-43D5-87BE-67443E8EF086}">
      <p15:sldGuideLst xmlns:p15="http://schemas.microsoft.com/office/powerpoint/2012/main">
        <p15:guide id="1" pos="5505">
          <p15:clr>
            <a:srgbClr val="F26B43"/>
          </p15:clr>
        </p15:guide>
        <p15:guide id="2" pos="74">
          <p15:clr>
            <a:srgbClr val="F26B43"/>
          </p15:clr>
        </p15:guide>
        <p15:guide id="3" orient="horz" pos="571">
          <p15:clr>
            <a:srgbClr val="F26B43"/>
          </p15:clr>
        </p15:guide>
        <p15:guide id="4" orient="horz" pos="3911">
          <p15:clr>
            <a:srgbClr val="F26B43"/>
          </p15:clr>
        </p15:guide>
      </p15:sldGuideLst>
    </p:ext>
  </p:extLst>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p:cSld name="1_Title Only">
    <p:bg>
      <p:bgPr>
        <a:solidFill>
          <a:schemeClr val="accent2"/>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F4AD34F-3B47-47E2-A09C-FFEB949F6A10}"/>
              </a:ext>
            </a:extLst>
          </p:cNvPr>
          <p:cNvGraphicFramePr>
            <a:graphicFrameLocks noChangeAspect="1"/>
          </p:cNvGraphicFramePr>
          <p:nvPr>
            <p:custDataLst>
              <p:tags r:id="rId2"/>
            </p:custDataLst>
            <p:extLst>
              <p:ext uri="{D42A27DB-BD31-4B8C-83A1-F6EECF244321}">
                <p14:modId xmlns:p14="http://schemas.microsoft.com/office/powerpoint/2010/main" val="72417334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3492" name="think-cell Slide" r:id="rId5" imgW="395" imgH="394" progId="TCLayout.ActiveDocument.1">
                  <p:embed/>
                </p:oleObj>
              </mc:Choice>
              <mc:Fallback>
                <p:oleObj name="think-cell Slide" r:id="rId5" imgW="395" imgH="394" progId="TCLayout.ActiveDocument.1">
                  <p:embed/>
                  <p:pic>
                    <p:nvPicPr>
                      <p:cNvPr id="3" name="Object 2" hidden="1">
                        <a:extLst>
                          <a:ext uri="{FF2B5EF4-FFF2-40B4-BE49-F238E27FC236}">
                            <a16:creationId xmlns:a16="http://schemas.microsoft.com/office/drawing/2014/main" id="{EF4AD34F-3B47-47E2-A09C-FFEB949F6A10}"/>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endParaRPr lang="en-US" dirty="0"/>
          </a:p>
        </p:txBody>
      </p:sp>
      <p:sp>
        <p:nvSpPr>
          <p:cNvPr id="15" name="Slide Number"/>
          <p:cNvSpPr txBox="1">
            <a:spLocks/>
          </p:cNvSpPr>
          <p:nvPr/>
        </p:nvSpPr>
        <p:spPr>
          <a:xfrm>
            <a:off x="8564563" y="6508272"/>
            <a:ext cx="125034" cy="123111"/>
          </a:xfrm>
          <a:prstGeom prst="rect">
            <a:avLst/>
          </a:prstGeom>
        </p:spPr>
        <p:txBody>
          <a:bodyPr vert="horz" wrap="none" lIns="0" tIns="0" rIns="0" bIns="0" rtlCol="0" anchor="ctr">
            <a:spAutoFit/>
          </a:bodyPr>
          <a:lstStyle>
            <a:defPPr>
              <a:defRPr lang="en-US"/>
            </a:defPPr>
            <a:lvl1pPr>
              <a:defRPr sz="1000" baseline="0">
                <a:latin typeface="+mn-lt"/>
              </a:defRPr>
            </a:lvl1pPr>
          </a:lstStyle>
          <a:p>
            <a:fld id="{42C328C1-A84F-4A39-A664-DBA00541A8C6}" type="slidenum">
              <a:rPr lang="en-US" sz="800" baseline="0" smtClean="0">
                <a:solidFill>
                  <a:srgbClr val="FFFFFF"/>
                </a:solidFill>
                <a:latin typeface="+mn-lt"/>
              </a:rPr>
              <a:pPr/>
              <a:t>‹#›</a:t>
            </a:fld>
            <a:endParaRPr lang="en-US" sz="800" baseline="0" dirty="0">
              <a:solidFill>
                <a:srgbClr val="FFFFFF"/>
              </a:solidFill>
              <a:latin typeface="+mn-lt"/>
            </a:endParaRPr>
          </a:p>
        </p:txBody>
      </p:sp>
      <p:sp>
        <p:nvSpPr>
          <p:cNvPr id="16" name="SlideLogoText"/>
          <p:cNvSpPr>
            <a:spLocks noChangeArrowheads="1"/>
          </p:cNvSpPr>
          <p:nvPr>
            <p:custDataLst>
              <p:tags r:id="rId3"/>
            </p:custDataLst>
          </p:nvPr>
        </p:nvSpPr>
        <p:spPr bwMode="auto">
          <a:xfrm>
            <a:off x="7450817" y="6508272"/>
            <a:ext cx="1013098"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algn="r" defTabSz="895350"/>
            <a:r>
              <a:rPr lang="en-US" sz="800" baseline="0" dirty="0">
                <a:solidFill>
                  <a:srgbClr val="FFFFFF"/>
                </a:solidFill>
                <a:latin typeface="+mn-lt"/>
              </a:rPr>
              <a:t>McKinsey &amp; Company</a:t>
            </a:r>
          </a:p>
        </p:txBody>
      </p:sp>
      <p:sp>
        <p:nvSpPr>
          <p:cNvPr id="5" name="doc id" hidden="1"/>
          <p:cNvSpPr txBox="1">
            <a:spLocks noChangeArrowheads="1"/>
          </p:cNvSpPr>
          <p:nvPr/>
        </p:nvSpPr>
        <p:spPr bwMode="white">
          <a:xfrm>
            <a:off x="8104473" y="36513"/>
            <a:ext cx="634716" cy="115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hangingPunct="1">
              <a:defRPr/>
            </a:pPr>
            <a:endParaRPr lang="en-US" sz="800" baseline="0" dirty="0">
              <a:solidFill>
                <a:schemeClr val="accent1"/>
              </a:solidFill>
              <a:latin typeface="+mn-lt"/>
              <a:ea typeface="+mn-ea"/>
            </a:endParaRPr>
          </a:p>
        </p:txBody>
      </p:sp>
    </p:spTree>
    <p:extLst>
      <p:ext uri="{BB962C8B-B14F-4D97-AF65-F5344CB8AC3E}">
        <p14:creationId xmlns:p14="http://schemas.microsoft.com/office/powerpoint/2010/main" val="1710281187"/>
      </p:ext>
    </p:extLst>
  </p:cSld>
  <p:clrMapOvr>
    <a:masterClrMapping/>
  </p:clrMapOvr>
  <p:extLst mod="1">
    <p:ext uri="{DCECCB84-F9BA-43D5-87BE-67443E8EF086}">
      <p15:sldGuideLst xmlns:p15="http://schemas.microsoft.com/office/powerpoint/2012/main">
        <p15:guide id="1" pos="3978">
          <p15:clr>
            <a:srgbClr val="000000"/>
          </p15:clr>
        </p15:guide>
        <p15:guide id="2" orient="horz" pos="570">
          <p15:clr>
            <a:srgbClr val="000000"/>
          </p15:clr>
        </p15:guide>
        <p15:guide id="3" orient="horz" pos="3912">
          <p15:clr>
            <a:srgbClr val="000000"/>
          </p15:clr>
        </p15:guide>
        <p15:guide id="4" pos="72">
          <p15:clr>
            <a:srgbClr val="000000"/>
          </p15:clr>
        </p15:guide>
      </p15:sldGuideLst>
    </p:ext>
  </p:extLst>
</p:sldLayout>
</file>

<file path=ppt/slideLayouts/slideLayout183.xml><?xml version="1.0" encoding="utf-8"?>
<p:sldLayout xmlns:a="http://schemas.openxmlformats.org/drawingml/2006/main" xmlns:r="http://schemas.openxmlformats.org/officeDocument/2006/relationships" xmlns:p="http://schemas.openxmlformats.org/presentationml/2006/main" type="titleOnly">
  <p:cSld name="2_Title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ECD524A-1569-4253-8CD8-48D288AD883C}"/>
              </a:ext>
            </a:extLst>
          </p:cNvPr>
          <p:cNvGraphicFramePr>
            <a:graphicFrameLocks noChangeAspect="1"/>
          </p:cNvGraphicFramePr>
          <p:nvPr>
            <p:custDataLst>
              <p:tags r:id="rId2"/>
            </p:custDataLst>
            <p:extLst>
              <p:ext uri="{D42A27DB-BD31-4B8C-83A1-F6EECF244321}">
                <p14:modId xmlns:p14="http://schemas.microsoft.com/office/powerpoint/2010/main" val="103393917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4516" name="think-cell Slide" r:id="rId4" imgW="395" imgH="394" progId="TCLayout.ActiveDocument.1">
                  <p:embed/>
                </p:oleObj>
              </mc:Choice>
              <mc:Fallback>
                <p:oleObj name="think-cell Slide" r:id="rId4" imgW="395" imgH="394" progId="TCLayout.ActiveDocument.1">
                  <p:embed/>
                  <p:pic>
                    <p:nvPicPr>
                      <p:cNvPr id="3" name="Object 2" hidden="1">
                        <a:extLst>
                          <a:ext uri="{FF2B5EF4-FFF2-40B4-BE49-F238E27FC236}">
                            <a16:creationId xmlns:a16="http://schemas.microsoft.com/office/drawing/2014/main" id="{5ECD524A-1569-4253-8CD8-48D288AD883C}"/>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57873063"/>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pic>
        <p:nvPicPr>
          <p:cNvPr id="2" name="background"/>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0" y="198"/>
            <a:ext cx="8961438" cy="6721079"/>
          </a:xfrm>
          <a:prstGeom prst="rect">
            <a:avLst/>
          </a:prstGeom>
        </p:spPr>
      </p:pic>
      <p:sp>
        <p:nvSpPr>
          <p:cNvPr id="28" name="TitleRectangle"/>
          <p:cNvSpPr txBox="1">
            <a:spLocks/>
          </p:cNvSpPr>
          <p:nvPr/>
        </p:nvSpPr>
        <p:spPr>
          <a:xfrm>
            <a:off x="2084388" y="0"/>
            <a:ext cx="6875462" cy="3575976"/>
          </a:xfrm>
          <a:prstGeom prst="rect">
            <a:avLst/>
          </a:prstGeom>
          <a:solidFill>
            <a:srgbClr val="002960">
              <a:alpha val="92000"/>
            </a:srgbClr>
          </a:solidFill>
        </p:spPr>
        <p:txBody>
          <a:bodyPr vert="horz" wrap="square" lIns="216000" tIns="1440000" rIns="216000" bIns="108000" rtlCol="0">
            <a:noAutofit/>
          </a:bodyPr>
          <a:lstStyle>
            <a:lvl1pPr marL="0" indent="0" algn="l" defTabSz="914400" rtl="0" eaLnBrk="1" latinLnBrk="0" hangingPunct="1">
              <a:spcBef>
                <a:spcPct val="20000"/>
              </a:spcBef>
              <a:spcAft>
                <a:spcPts val="6000"/>
              </a:spcAft>
              <a:buFont typeface="Arial" pitchFamily="34" charset="0"/>
              <a:buNone/>
              <a:defRPr sz="3200" kern="1200">
                <a:solidFill>
                  <a:schemeClr val="accent1"/>
                </a:solidFill>
                <a:latin typeface="+mn-lt"/>
                <a:ea typeface="+mn-ea"/>
                <a:cs typeface="+mn-cs"/>
              </a:defRPr>
            </a:lvl1pPr>
            <a:lvl2pPr marL="0" indent="0" algn="l" defTabSz="914400" rtl="0" eaLnBrk="1" latinLnBrk="0" hangingPunct="1">
              <a:spcBef>
                <a:spcPct val="20000"/>
              </a:spcBef>
              <a:buFont typeface="Wingdings" charset="2"/>
              <a:buNone/>
              <a:defRPr sz="1400" kern="1200">
                <a:solidFill>
                  <a:schemeClr val="tx1">
                    <a:lumMod val="50000"/>
                    <a:lumOff val="50000"/>
                  </a:schemeClr>
                </a:solidFill>
                <a:latin typeface="+mn-lt"/>
                <a:ea typeface="+mn-ea"/>
                <a:cs typeface="+mn-cs"/>
              </a:defRPr>
            </a:lvl2pPr>
            <a:lvl3pPr marL="1143000" indent="-228600" algn="l" defTabSz="914400" rtl="0" eaLnBrk="1" latinLnBrk="0" hangingPunct="1">
              <a:spcBef>
                <a:spcPct val="20000"/>
              </a:spcBef>
              <a:buFont typeface="Lucida Grande"/>
              <a:buChar char="–"/>
              <a:defRPr sz="16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fontAlgn="auto">
              <a:defRPr/>
            </a:pPr>
            <a:r>
              <a:rPr lang="en-US" baseline="0" dirty="0">
                <a:solidFill>
                  <a:srgbClr val="00ADEF"/>
                </a:solidFill>
                <a:latin typeface="+mn-lt"/>
              </a:rPr>
              <a:t>
              </a:t>
            </a:r>
            <a:br>
              <a:rPr lang="en-US" baseline="0" dirty="0">
                <a:solidFill>
                  <a:srgbClr val="00ADEF"/>
                </a:solidFill>
                <a:latin typeface="+mn-lt"/>
              </a:rPr>
            </a:br>
            <a:endParaRPr lang="en-US" baseline="0" dirty="0">
              <a:solidFill>
                <a:srgbClr val="00ADEF"/>
              </a:solidFill>
              <a:latin typeface="+mn-lt"/>
            </a:endParaRPr>
          </a:p>
        </p:txBody>
      </p:sp>
      <p:graphicFrame>
        <p:nvGraphicFramePr>
          <p:cNvPr id="3" name="Object 2"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6564"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Working Draft Text" hidden="1"/>
          <p:cNvSpPr txBox="1">
            <a:spLocks noChangeArrowheads="1"/>
          </p:cNvSpPr>
          <p:nvPr/>
        </p:nvSpPr>
        <p:spPr bwMode="black">
          <a:xfrm>
            <a:off x="5992719" y="6287538"/>
            <a:ext cx="2790000"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800" b="1" baseline="0" dirty="0">
                <a:solidFill>
                  <a:srgbClr val="FFFFFF"/>
                </a:solidFill>
                <a:latin typeface="+mn-lt"/>
              </a:rPr>
              <a:t>WORKING DRAFT</a:t>
            </a:r>
          </a:p>
        </p:txBody>
      </p:sp>
      <p:sp>
        <p:nvSpPr>
          <p:cNvPr id="6" name="Working Draft" hidden="1"/>
          <p:cNvSpPr txBox="1">
            <a:spLocks noChangeArrowheads="1"/>
          </p:cNvSpPr>
          <p:nvPr/>
        </p:nvSpPr>
        <p:spPr bwMode="black">
          <a:xfrm>
            <a:off x="5992718" y="6410648"/>
            <a:ext cx="2968719"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800" baseline="0">
                <a:solidFill>
                  <a:srgbClr val="FFFFFF"/>
                </a:solidFill>
                <a:latin typeface="+mn-lt"/>
              </a:rPr>
              <a:t>Last Modified 21/05/2018 17:44 India Standard Time</a:t>
            </a:r>
            <a:endParaRPr lang="en-US" sz="800" baseline="0" dirty="0">
              <a:solidFill>
                <a:srgbClr val="FFFFFF"/>
              </a:solidFill>
              <a:latin typeface="+mn-lt"/>
            </a:endParaRPr>
          </a:p>
        </p:txBody>
      </p:sp>
      <p:sp>
        <p:nvSpPr>
          <p:cNvPr id="7" name="Printed" hidden="1"/>
          <p:cNvSpPr txBox="1">
            <a:spLocks noChangeArrowheads="1"/>
          </p:cNvSpPr>
          <p:nvPr/>
        </p:nvSpPr>
        <p:spPr bwMode="black">
          <a:xfrm>
            <a:off x="5992719" y="6533759"/>
            <a:ext cx="2790000"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800" baseline="0" dirty="0">
                <a:solidFill>
                  <a:srgbClr val="FFFFFF"/>
                </a:solidFill>
                <a:latin typeface="+mn-lt"/>
              </a:rPr>
              <a:t>Printed</a:t>
            </a:r>
          </a:p>
        </p:txBody>
      </p:sp>
      <p:sp>
        <p:nvSpPr>
          <p:cNvPr id="13314" name="Title"/>
          <p:cNvSpPr>
            <a:spLocks noGrp="1" noChangeArrowheads="1"/>
          </p:cNvSpPr>
          <p:nvPr>
            <p:ph type="ctrTitle"/>
          </p:nvPr>
        </p:nvSpPr>
        <p:spPr>
          <a:xfrm>
            <a:off x="2268266" y="1434419"/>
            <a:ext cx="6231663" cy="492443"/>
          </a:xfrm>
          <a:prstGeom prst="rect">
            <a:avLst/>
          </a:prstGeom>
        </p:spPr>
        <p:txBody>
          <a:bodyPr>
            <a:spAutoFit/>
          </a:bodyPr>
          <a:lstStyle>
            <a:lvl1pPr>
              <a:defRPr sz="3200" b="0" baseline="0">
                <a:solidFill>
                  <a:schemeClr val="accent2"/>
                </a:solidFill>
                <a:latin typeface="+mj-lt"/>
                <a:ea typeface="+mj-ea"/>
              </a:defRPr>
            </a:lvl1pPr>
          </a:lstStyle>
          <a:p>
            <a:pPr lvl="0" latinLnBrk="0"/>
            <a:r>
              <a:rPr lang="en-US" noProof="0"/>
              <a:t>Click to edit Master title style</a:t>
            </a:r>
            <a:endParaRPr lang="en-US" noProof="0" dirty="0"/>
          </a:p>
        </p:txBody>
      </p:sp>
      <p:sp>
        <p:nvSpPr>
          <p:cNvPr id="13315" name="Subtitle"/>
          <p:cNvSpPr>
            <a:spLocks noGrp="1" noChangeArrowheads="1"/>
          </p:cNvSpPr>
          <p:nvPr>
            <p:ph type="subTitle" idx="1"/>
          </p:nvPr>
        </p:nvSpPr>
        <p:spPr>
          <a:xfrm>
            <a:off x="2268266" y="2819401"/>
            <a:ext cx="6231663" cy="215444"/>
          </a:xfrm>
          <a:prstGeom prst="rect">
            <a:avLst/>
          </a:prstGeom>
        </p:spPr>
        <p:txBody>
          <a:bodyPr wrap="square">
            <a:spAutoFit/>
          </a:bodyPr>
          <a:lstStyle>
            <a:lvl1pPr>
              <a:defRPr sz="1400" cap="all" baseline="0">
                <a:solidFill>
                  <a:schemeClr val="bg1"/>
                </a:solidFill>
                <a:latin typeface="+mn-lt"/>
                <a:ea typeface="+mn-ea"/>
              </a:defRPr>
            </a:lvl1pPr>
          </a:lstStyle>
          <a:p>
            <a:pPr lvl="0" latinLnBrk="0"/>
            <a:r>
              <a:rPr lang="en-US" noProof="0"/>
              <a:t>Click to edit Master subtitle style</a:t>
            </a:r>
            <a:endParaRPr lang="en-US" noProof="0" dirty="0"/>
          </a:p>
        </p:txBody>
      </p:sp>
      <p:sp>
        <p:nvSpPr>
          <p:cNvPr id="57" name="Document type" hidden="1"/>
          <p:cNvSpPr txBox="1">
            <a:spLocks noChangeArrowheads="1"/>
          </p:cNvSpPr>
          <p:nvPr/>
        </p:nvSpPr>
        <p:spPr bwMode="gray">
          <a:xfrm>
            <a:off x="2268266" y="3227411"/>
            <a:ext cx="6231663"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00" baseline="0" dirty="0">
                <a:solidFill>
                  <a:schemeClr val="bg1"/>
                </a:solidFill>
                <a:latin typeface="+mn-lt"/>
              </a:rPr>
              <a:t>Document type | Date</a:t>
            </a:r>
          </a:p>
        </p:txBody>
      </p:sp>
      <p:sp>
        <p:nvSpPr>
          <p:cNvPr id="5" name="doc id" hidden="1"/>
          <p:cNvSpPr txBox="1">
            <a:spLocks noChangeArrowheads="1"/>
          </p:cNvSpPr>
          <p:nvPr/>
        </p:nvSpPr>
        <p:spPr bwMode="white">
          <a:xfrm>
            <a:off x="8443913" y="36513"/>
            <a:ext cx="295275" cy="1222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hangingPunct="1">
              <a:defRPr/>
            </a:pPr>
            <a:endParaRPr lang="en-US" sz="800" baseline="0" dirty="0">
              <a:solidFill>
                <a:srgbClr val="FFFFFF"/>
              </a:solidFill>
              <a:latin typeface="+mn-lt"/>
            </a:endParaRPr>
          </a:p>
        </p:txBody>
      </p:sp>
      <p:sp>
        <p:nvSpPr>
          <p:cNvPr id="43" name="LogoImage"/>
          <p:cNvSpPr>
            <a:spLocks noEditPoints="1"/>
          </p:cNvSpPr>
          <p:nvPr/>
        </p:nvSpPr>
        <p:spPr bwMode="white">
          <a:xfrm>
            <a:off x="2269098" y="182925"/>
            <a:ext cx="2176978" cy="238073"/>
          </a:xfrm>
          <a:custGeom>
            <a:avLst/>
            <a:gdLst>
              <a:gd name="T0" fmla="*/ 504 w 5516"/>
              <a:gd name="T1" fmla="*/ 26 h 606"/>
              <a:gd name="T2" fmla="*/ 18 w 5516"/>
              <a:gd name="T3" fmla="*/ 22 h 606"/>
              <a:gd name="T4" fmla="*/ 140 w 5516"/>
              <a:gd name="T5" fmla="*/ 436 h 606"/>
              <a:gd name="T6" fmla="*/ 408 w 5516"/>
              <a:gd name="T7" fmla="*/ 372 h 606"/>
              <a:gd name="T8" fmla="*/ 696 w 5516"/>
              <a:gd name="T9" fmla="*/ 422 h 606"/>
              <a:gd name="T10" fmla="*/ 768 w 5516"/>
              <a:gd name="T11" fmla="*/ 196 h 606"/>
              <a:gd name="T12" fmla="*/ 1272 w 5516"/>
              <a:gd name="T13" fmla="*/ 26 h 606"/>
              <a:gd name="T14" fmla="*/ 1302 w 5516"/>
              <a:gd name="T15" fmla="*/ 338 h 606"/>
              <a:gd name="T16" fmla="*/ 1202 w 5516"/>
              <a:gd name="T17" fmla="*/ 436 h 606"/>
              <a:gd name="T18" fmla="*/ 1030 w 5516"/>
              <a:gd name="T19" fmla="*/ 10 h 606"/>
              <a:gd name="T20" fmla="*/ 960 w 5516"/>
              <a:gd name="T21" fmla="*/ 22 h 606"/>
              <a:gd name="T22" fmla="*/ 804 w 5516"/>
              <a:gd name="T23" fmla="*/ 434 h 606"/>
              <a:gd name="T24" fmla="*/ 930 w 5516"/>
              <a:gd name="T25" fmla="*/ 246 h 606"/>
              <a:gd name="T26" fmla="*/ 1658 w 5516"/>
              <a:gd name="T27" fmla="*/ 342 h 606"/>
              <a:gd name="T28" fmla="*/ 1368 w 5516"/>
              <a:gd name="T29" fmla="*/ 188 h 606"/>
              <a:gd name="T30" fmla="*/ 1514 w 5516"/>
              <a:gd name="T31" fmla="*/ 436 h 606"/>
              <a:gd name="T32" fmla="*/ 1564 w 5516"/>
              <a:gd name="T33" fmla="*/ 434 h 606"/>
              <a:gd name="T34" fmla="*/ 1904 w 5516"/>
              <a:gd name="T35" fmla="*/ 184 h 606"/>
              <a:gd name="T36" fmla="*/ 1728 w 5516"/>
              <a:gd name="T37" fmla="*/ 366 h 606"/>
              <a:gd name="T38" fmla="*/ 2102 w 5516"/>
              <a:gd name="T39" fmla="*/ 192 h 606"/>
              <a:gd name="T40" fmla="*/ 1982 w 5516"/>
              <a:gd name="T41" fmla="*/ 320 h 606"/>
              <a:gd name="T42" fmla="*/ 2478 w 5516"/>
              <a:gd name="T43" fmla="*/ 242 h 606"/>
              <a:gd name="T44" fmla="*/ 2406 w 5516"/>
              <a:gd name="T45" fmla="*/ 390 h 606"/>
              <a:gd name="T46" fmla="*/ 2234 w 5516"/>
              <a:gd name="T47" fmla="*/ 192 h 606"/>
              <a:gd name="T48" fmla="*/ 2478 w 5516"/>
              <a:gd name="T49" fmla="*/ 242 h 606"/>
              <a:gd name="T50" fmla="*/ 2928 w 5516"/>
              <a:gd name="T51" fmla="*/ 448 h 606"/>
              <a:gd name="T52" fmla="*/ 2958 w 5516"/>
              <a:gd name="T53" fmla="*/ 230 h 606"/>
              <a:gd name="T54" fmla="*/ 2716 w 5516"/>
              <a:gd name="T55" fmla="*/ 54 h 606"/>
              <a:gd name="T56" fmla="*/ 2714 w 5516"/>
              <a:gd name="T57" fmla="*/ 36 h 606"/>
              <a:gd name="T58" fmla="*/ 2928 w 5516"/>
              <a:gd name="T59" fmla="*/ 448 h 606"/>
              <a:gd name="T60" fmla="*/ 3388 w 5516"/>
              <a:gd name="T61" fmla="*/ 4 h 606"/>
              <a:gd name="T62" fmla="*/ 3396 w 5516"/>
              <a:gd name="T63" fmla="*/ 366 h 606"/>
              <a:gd name="T64" fmla="*/ 3580 w 5516"/>
              <a:gd name="T65" fmla="*/ 190 h 606"/>
              <a:gd name="T66" fmla="*/ 3502 w 5516"/>
              <a:gd name="T67" fmla="*/ 432 h 606"/>
              <a:gd name="T68" fmla="*/ 4232 w 5516"/>
              <a:gd name="T69" fmla="*/ 348 h 606"/>
              <a:gd name="T70" fmla="*/ 3858 w 5516"/>
              <a:gd name="T71" fmla="*/ 176 h 606"/>
              <a:gd name="T72" fmla="*/ 3758 w 5516"/>
              <a:gd name="T73" fmla="*/ 446 h 606"/>
              <a:gd name="T74" fmla="*/ 3990 w 5516"/>
              <a:gd name="T75" fmla="*/ 282 h 606"/>
              <a:gd name="T76" fmla="*/ 4042 w 5516"/>
              <a:gd name="T77" fmla="*/ 342 h 606"/>
              <a:gd name="T78" fmla="*/ 4134 w 5516"/>
              <a:gd name="T79" fmla="*/ 448 h 606"/>
              <a:gd name="T80" fmla="*/ 4454 w 5516"/>
              <a:gd name="T81" fmla="*/ 202 h 606"/>
              <a:gd name="T82" fmla="*/ 4284 w 5516"/>
              <a:gd name="T83" fmla="*/ 174 h 606"/>
              <a:gd name="T84" fmla="*/ 4432 w 5516"/>
              <a:gd name="T85" fmla="*/ 588 h 606"/>
              <a:gd name="T86" fmla="*/ 4792 w 5516"/>
              <a:gd name="T87" fmla="*/ 382 h 606"/>
              <a:gd name="T88" fmla="*/ 5192 w 5516"/>
              <a:gd name="T89" fmla="*/ 340 h 606"/>
              <a:gd name="T90" fmla="*/ 4902 w 5516"/>
              <a:gd name="T91" fmla="*/ 186 h 606"/>
              <a:gd name="T92" fmla="*/ 4850 w 5516"/>
              <a:gd name="T93" fmla="*/ 274 h 606"/>
              <a:gd name="T94" fmla="*/ 4742 w 5516"/>
              <a:gd name="T95" fmla="*/ 194 h 606"/>
              <a:gd name="T96" fmla="*/ 4794 w 5516"/>
              <a:gd name="T97" fmla="*/ 418 h 606"/>
              <a:gd name="T98" fmla="*/ 5004 w 5516"/>
              <a:gd name="T99" fmla="*/ 338 h 606"/>
              <a:gd name="T100" fmla="*/ 5098 w 5516"/>
              <a:gd name="T101" fmla="*/ 446 h 606"/>
              <a:gd name="T102" fmla="*/ 5418 w 5516"/>
              <a:gd name="T103" fmla="*/ 192 h 606"/>
              <a:gd name="T104" fmla="*/ 5348 w 5516"/>
              <a:gd name="T105" fmla="*/ 180 h 606"/>
              <a:gd name="T106" fmla="*/ 5254 w 5516"/>
              <a:gd name="T107" fmla="*/ 606 h 6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516" h="606">
                <a:moveTo>
                  <a:pt x="366" y="448"/>
                </a:moveTo>
                <a:cubicBezTo>
                  <a:pt x="524" y="448"/>
                  <a:pt x="524" y="448"/>
                  <a:pt x="524" y="448"/>
                </a:cubicBezTo>
                <a:cubicBezTo>
                  <a:pt x="524" y="436"/>
                  <a:pt x="524" y="436"/>
                  <a:pt x="524" y="436"/>
                </a:cubicBezTo>
                <a:cubicBezTo>
                  <a:pt x="486" y="432"/>
                  <a:pt x="470" y="414"/>
                  <a:pt x="468" y="362"/>
                </a:cubicBezTo>
                <a:cubicBezTo>
                  <a:pt x="454" y="86"/>
                  <a:pt x="454" y="86"/>
                  <a:pt x="454" y="86"/>
                </a:cubicBezTo>
                <a:cubicBezTo>
                  <a:pt x="452" y="46"/>
                  <a:pt x="470" y="30"/>
                  <a:pt x="504" y="26"/>
                </a:cubicBezTo>
                <a:cubicBezTo>
                  <a:pt x="504" y="12"/>
                  <a:pt x="504" y="12"/>
                  <a:pt x="504" y="12"/>
                </a:cubicBezTo>
                <a:cubicBezTo>
                  <a:pt x="394" y="12"/>
                  <a:pt x="394" y="12"/>
                  <a:pt x="394" y="12"/>
                </a:cubicBezTo>
                <a:cubicBezTo>
                  <a:pt x="264" y="350"/>
                  <a:pt x="264" y="350"/>
                  <a:pt x="264" y="350"/>
                </a:cubicBezTo>
                <a:cubicBezTo>
                  <a:pt x="132" y="10"/>
                  <a:pt x="132" y="10"/>
                  <a:pt x="132" y="10"/>
                </a:cubicBezTo>
                <a:cubicBezTo>
                  <a:pt x="18" y="10"/>
                  <a:pt x="18" y="10"/>
                  <a:pt x="18" y="10"/>
                </a:cubicBezTo>
                <a:cubicBezTo>
                  <a:pt x="18" y="22"/>
                  <a:pt x="18" y="22"/>
                  <a:pt x="18" y="22"/>
                </a:cubicBezTo>
                <a:cubicBezTo>
                  <a:pt x="40" y="26"/>
                  <a:pt x="74" y="32"/>
                  <a:pt x="72" y="84"/>
                </a:cubicBezTo>
                <a:cubicBezTo>
                  <a:pt x="58" y="352"/>
                  <a:pt x="58" y="352"/>
                  <a:pt x="58" y="352"/>
                </a:cubicBezTo>
                <a:cubicBezTo>
                  <a:pt x="54" y="410"/>
                  <a:pt x="38" y="430"/>
                  <a:pt x="0" y="436"/>
                </a:cubicBezTo>
                <a:cubicBezTo>
                  <a:pt x="0" y="448"/>
                  <a:pt x="0" y="448"/>
                  <a:pt x="0" y="448"/>
                </a:cubicBezTo>
                <a:cubicBezTo>
                  <a:pt x="140" y="448"/>
                  <a:pt x="140" y="448"/>
                  <a:pt x="140" y="448"/>
                </a:cubicBezTo>
                <a:cubicBezTo>
                  <a:pt x="140" y="436"/>
                  <a:pt x="140" y="436"/>
                  <a:pt x="140" y="436"/>
                </a:cubicBezTo>
                <a:cubicBezTo>
                  <a:pt x="98" y="428"/>
                  <a:pt x="84" y="414"/>
                  <a:pt x="88" y="356"/>
                </a:cubicBezTo>
                <a:cubicBezTo>
                  <a:pt x="100" y="86"/>
                  <a:pt x="100" y="86"/>
                  <a:pt x="100" y="86"/>
                </a:cubicBezTo>
                <a:cubicBezTo>
                  <a:pt x="240" y="444"/>
                  <a:pt x="240" y="444"/>
                  <a:pt x="240" y="444"/>
                </a:cubicBezTo>
                <a:cubicBezTo>
                  <a:pt x="258" y="444"/>
                  <a:pt x="258" y="444"/>
                  <a:pt x="258" y="444"/>
                </a:cubicBezTo>
                <a:cubicBezTo>
                  <a:pt x="396" y="86"/>
                  <a:pt x="396" y="86"/>
                  <a:pt x="396" y="86"/>
                </a:cubicBezTo>
                <a:cubicBezTo>
                  <a:pt x="408" y="372"/>
                  <a:pt x="408" y="372"/>
                  <a:pt x="408" y="372"/>
                </a:cubicBezTo>
                <a:cubicBezTo>
                  <a:pt x="410" y="416"/>
                  <a:pt x="398" y="430"/>
                  <a:pt x="366" y="434"/>
                </a:cubicBezTo>
                <a:lnTo>
                  <a:pt x="366" y="448"/>
                </a:lnTo>
                <a:close/>
                <a:moveTo>
                  <a:pt x="670" y="456"/>
                </a:moveTo>
                <a:cubicBezTo>
                  <a:pt x="708" y="456"/>
                  <a:pt x="756" y="440"/>
                  <a:pt x="782" y="412"/>
                </a:cubicBezTo>
                <a:cubicBezTo>
                  <a:pt x="776" y="400"/>
                  <a:pt x="776" y="400"/>
                  <a:pt x="776" y="400"/>
                </a:cubicBezTo>
                <a:cubicBezTo>
                  <a:pt x="750" y="416"/>
                  <a:pt x="722" y="422"/>
                  <a:pt x="696" y="422"/>
                </a:cubicBezTo>
                <a:cubicBezTo>
                  <a:pt x="620" y="422"/>
                  <a:pt x="592" y="358"/>
                  <a:pt x="592" y="290"/>
                </a:cubicBezTo>
                <a:cubicBezTo>
                  <a:pt x="592" y="258"/>
                  <a:pt x="600" y="236"/>
                  <a:pt x="614" y="222"/>
                </a:cubicBezTo>
                <a:cubicBezTo>
                  <a:pt x="626" y="210"/>
                  <a:pt x="646" y="204"/>
                  <a:pt x="664" y="204"/>
                </a:cubicBezTo>
                <a:cubicBezTo>
                  <a:pt x="690" y="204"/>
                  <a:pt x="722" y="214"/>
                  <a:pt x="744" y="244"/>
                </a:cubicBezTo>
                <a:cubicBezTo>
                  <a:pt x="750" y="244"/>
                  <a:pt x="750" y="244"/>
                  <a:pt x="750" y="244"/>
                </a:cubicBezTo>
                <a:cubicBezTo>
                  <a:pt x="758" y="234"/>
                  <a:pt x="766" y="212"/>
                  <a:pt x="768" y="196"/>
                </a:cubicBezTo>
                <a:cubicBezTo>
                  <a:pt x="748" y="180"/>
                  <a:pt x="720" y="172"/>
                  <a:pt x="686" y="172"/>
                </a:cubicBezTo>
                <a:cubicBezTo>
                  <a:pt x="604" y="172"/>
                  <a:pt x="544" y="246"/>
                  <a:pt x="544" y="326"/>
                </a:cubicBezTo>
                <a:cubicBezTo>
                  <a:pt x="540" y="390"/>
                  <a:pt x="576" y="456"/>
                  <a:pt x="670" y="456"/>
                </a:cubicBezTo>
                <a:moveTo>
                  <a:pt x="1272" y="98"/>
                </a:moveTo>
                <a:cubicBezTo>
                  <a:pt x="1292" y="98"/>
                  <a:pt x="1308" y="82"/>
                  <a:pt x="1308" y="62"/>
                </a:cubicBezTo>
                <a:cubicBezTo>
                  <a:pt x="1308" y="42"/>
                  <a:pt x="1292" y="26"/>
                  <a:pt x="1272" y="26"/>
                </a:cubicBezTo>
                <a:cubicBezTo>
                  <a:pt x="1252" y="26"/>
                  <a:pt x="1238" y="42"/>
                  <a:pt x="1238" y="62"/>
                </a:cubicBezTo>
                <a:cubicBezTo>
                  <a:pt x="1238" y="82"/>
                  <a:pt x="1252" y="98"/>
                  <a:pt x="1272" y="98"/>
                </a:cubicBezTo>
                <a:moveTo>
                  <a:pt x="1202" y="448"/>
                </a:moveTo>
                <a:cubicBezTo>
                  <a:pt x="1346" y="448"/>
                  <a:pt x="1346" y="448"/>
                  <a:pt x="1346" y="448"/>
                </a:cubicBezTo>
                <a:cubicBezTo>
                  <a:pt x="1346" y="436"/>
                  <a:pt x="1346" y="436"/>
                  <a:pt x="1346" y="436"/>
                </a:cubicBezTo>
                <a:cubicBezTo>
                  <a:pt x="1304" y="432"/>
                  <a:pt x="1302" y="434"/>
                  <a:pt x="1302" y="338"/>
                </a:cubicBezTo>
                <a:cubicBezTo>
                  <a:pt x="1302" y="176"/>
                  <a:pt x="1302" y="176"/>
                  <a:pt x="1302" y="176"/>
                </a:cubicBezTo>
                <a:cubicBezTo>
                  <a:pt x="1200" y="176"/>
                  <a:pt x="1200" y="176"/>
                  <a:pt x="1200" y="176"/>
                </a:cubicBezTo>
                <a:cubicBezTo>
                  <a:pt x="1200" y="188"/>
                  <a:pt x="1200" y="188"/>
                  <a:pt x="1200" y="188"/>
                </a:cubicBezTo>
                <a:cubicBezTo>
                  <a:pt x="1244" y="190"/>
                  <a:pt x="1250" y="192"/>
                  <a:pt x="1250" y="268"/>
                </a:cubicBezTo>
                <a:cubicBezTo>
                  <a:pt x="1250" y="336"/>
                  <a:pt x="1250" y="336"/>
                  <a:pt x="1250" y="336"/>
                </a:cubicBezTo>
                <a:cubicBezTo>
                  <a:pt x="1250" y="432"/>
                  <a:pt x="1248" y="432"/>
                  <a:pt x="1202" y="436"/>
                </a:cubicBezTo>
                <a:cubicBezTo>
                  <a:pt x="1178" y="434"/>
                  <a:pt x="1154" y="426"/>
                  <a:pt x="1076" y="338"/>
                </a:cubicBezTo>
                <a:cubicBezTo>
                  <a:pt x="1046" y="302"/>
                  <a:pt x="996" y="244"/>
                  <a:pt x="968" y="206"/>
                </a:cubicBezTo>
                <a:cubicBezTo>
                  <a:pt x="1062" y="102"/>
                  <a:pt x="1062" y="102"/>
                  <a:pt x="1062" y="102"/>
                </a:cubicBezTo>
                <a:cubicBezTo>
                  <a:pt x="1108" y="52"/>
                  <a:pt x="1132" y="26"/>
                  <a:pt x="1176" y="24"/>
                </a:cubicBezTo>
                <a:cubicBezTo>
                  <a:pt x="1176" y="10"/>
                  <a:pt x="1176" y="10"/>
                  <a:pt x="1176" y="10"/>
                </a:cubicBezTo>
                <a:cubicBezTo>
                  <a:pt x="1030" y="10"/>
                  <a:pt x="1030" y="10"/>
                  <a:pt x="1030" y="10"/>
                </a:cubicBezTo>
                <a:cubicBezTo>
                  <a:pt x="1030" y="22"/>
                  <a:pt x="1030" y="22"/>
                  <a:pt x="1030" y="22"/>
                </a:cubicBezTo>
                <a:cubicBezTo>
                  <a:pt x="1050" y="26"/>
                  <a:pt x="1056" y="32"/>
                  <a:pt x="1056" y="46"/>
                </a:cubicBezTo>
                <a:cubicBezTo>
                  <a:pt x="1056" y="56"/>
                  <a:pt x="1054" y="72"/>
                  <a:pt x="1026" y="102"/>
                </a:cubicBezTo>
                <a:cubicBezTo>
                  <a:pt x="910" y="230"/>
                  <a:pt x="910" y="230"/>
                  <a:pt x="910" y="230"/>
                </a:cubicBezTo>
                <a:cubicBezTo>
                  <a:pt x="910" y="148"/>
                  <a:pt x="910" y="148"/>
                  <a:pt x="910" y="148"/>
                </a:cubicBezTo>
                <a:cubicBezTo>
                  <a:pt x="910" y="36"/>
                  <a:pt x="916" y="28"/>
                  <a:pt x="960" y="22"/>
                </a:cubicBezTo>
                <a:cubicBezTo>
                  <a:pt x="960" y="8"/>
                  <a:pt x="960" y="8"/>
                  <a:pt x="960" y="8"/>
                </a:cubicBezTo>
                <a:cubicBezTo>
                  <a:pt x="804" y="8"/>
                  <a:pt x="804" y="8"/>
                  <a:pt x="804" y="8"/>
                </a:cubicBezTo>
                <a:cubicBezTo>
                  <a:pt x="804" y="22"/>
                  <a:pt x="804" y="22"/>
                  <a:pt x="804" y="22"/>
                </a:cubicBezTo>
                <a:cubicBezTo>
                  <a:pt x="852" y="26"/>
                  <a:pt x="854" y="36"/>
                  <a:pt x="854" y="148"/>
                </a:cubicBezTo>
                <a:cubicBezTo>
                  <a:pt x="854" y="300"/>
                  <a:pt x="854" y="300"/>
                  <a:pt x="854" y="300"/>
                </a:cubicBezTo>
                <a:cubicBezTo>
                  <a:pt x="854" y="422"/>
                  <a:pt x="850" y="430"/>
                  <a:pt x="804" y="434"/>
                </a:cubicBezTo>
                <a:cubicBezTo>
                  <a:pt x="804" y="446"/>
                  <a:pt x="804" y="446"/>
                  <a:pt x="804" y="446"/>
                </a:cubicBezTo>
                <a:cubicBezTo>
                  <a:pt x="960" y="446"/>
                  <a:pt x="960" y="446"/>
                  <a:pt x="960" y="446"/>
                </a:cubicBezTo>
                <a:cubicBezTo>
                  <a:pt x="960" y="434"/>
                  <a:pt x="960" y="434"/>
                  <a:pt x="960" y="434"/>
                </a:cubicBezTo>
                <a:cubicBezTo>
                  <a:pt x="910" y="428"/>
                  <a:pt x="910" y="424"/>
                  <a:pt x="910" y="292"/>
                </a:cubicBezTo>
                <a:cubicBezTo>
                  <a:pt x="910" y="268"/>
                  <a:pt x="910" y="268"/>
                  <a:pt x="910" y="268"/>
                </a:cubicBezTo>
                <a:cubicBezTo>
                  <a:pt x="930" y="246"/>
                  <a:pt x="930" y="246"/>
                  <a:pt x="930" y="246"/>
                </a:cubicBezTo>
                <a:cubicBezTo>
                  <a:pt x="982" y="310"/>
                  <a:pt x="1038" y="380"/>
                  <a:pt x="1098" y="448"/>
                </a:cubicBezTo>
                <a:cubicBezTo>
                  <a:pt x="1202" y="448"/>
                  <a:pt x="1202" y="448"/>
                  <a:pt x="1202" y="448"/>
                </a:cubicBezTo>
                <a:close/>
                <a:moveTo>
                  <a:pt x="1564" y="448"/>
                </a:moveTo>
                <a:cubicBezTo>
                  <a:pt x="1706" y="448"/>
                  <a:pt x="1706" y="448"/>
                  <a:pt x="1706" y="448"/>
                </a:cubicBezTo>
                <a:cubicBezTo>
                  <a:pt x="1706" y="436"/>
                  <a:pt x="1706" y="436"/>
                  <a:pt x="1706" y="436"/>
                </a:cubicBezTo>
                <a:cubicBezTo>
                  <a:pt x="1658" y="434"/>
                  <a:pt x="1658" y="432"/>
                  <a:pt x="1658" y="342"/>
                </a:cubicBezTo>
                <a:cubicBezTo>
                  <a:pt x="1658" y="280"/>
                  <a:pt x="1658" y="280"/>
                  <a:pt x="1658" y="280"/>
                </a:cubicBezTo>
                <a:cubicBezTo>
                  <a:pt x="1658" y="198"/>
                  <a:pt x="1612" y="172"/>
                  <a:pt x="1570" y="172"/>
                </a:cubicBezTo>
                <a:cubicBezTo>
                  <a:pt x="1534" y="172"/>
                  <a:pt x="1498" y="188"/>
                  <a:pt x="1470" y="224"/>
                </a:cubicBezTo>
                <a:cubicBezTo>
                  <a:pt x="1470" y="176"/>
                  <a:pt x="1470" y="176"/>
                  <a:pt x="1470" y="176"/>
                </a:cubicBezTo>
                <a:cubicBezTo>
                  <a:pt x="1368" y="176"/>
                  <a:pt x="1368" y="176"/>
                  <a:pt x="1368" y="176"/>
                </a:cubicBezTo>
                <a:cubicBezTo>
                  <a:pt x="1368" y="188"/>
                  <a:pt x="1368" y="188"/>
                  <a:pt x="1368" y="188"/>
                </a:cubicBezTo>
                <a:cubicBezTo>
                  <a:pt x="1412" y="190"/>
                  <a:pt x="1418" y="192"/>
                  <a:pt x="1418" y="268"/>
                </a:cubicBezTo>
                <a:cubicBezTo>
                  <a:pt x="1418" y="336"/>
                  <a:pt x="1418" y="336"/>
                  <a:pt x="1418" y="336"/>
                </a:cubicBezTo>
                <a:cubicBezTo>
                  <a:pt x="1418" y="434"/>
                  <a:pt x="1418" y="434"/>
                  <a:pt x="1370" y="436"/>
                </a:cubicBezTo>
                <a:cubicBezTo>
                  <a:pt x="1370" y="448"/>
                  <a:pt x="1370" y="448"/>
                  <a:pt x="1370" y="448"/>
                </a:cubicBezTo>
                <a:cubicBezTo>
                  <a:pt x="1514" y="448"/>
                  <a:pt x="1514" y="448"/>
                  <a:pt x="1514" y="448"/>
                </a:cubicBezTo>
                <a:cubicBezTo>
                  <a:pt x="1514" y="436"/>
                  <a:pt x="1514" y="436"/>
                  <a:pt x="1514" y="436"/>
                </a:cubicBezTo>
                <a:cubicBezTo>
                  <a:pt x="1472" y="432"/>
                  <a:pt x="1470" y="434"/>
                  <a:pt x="1470" y="338"/>
                </a:cubicBezTo>
                <a:cubicBezTo>
                  <a:pt x="1470" y="262"/>
                  <a:pt x="1470" y="262"/>
                  <a:pt x="1470" y="262"/>
                </a:cubicBezTo>
                <a:cubicBezTo>
                  <a:pt x="1470" y="236"/>
                  <a:pt x="1504" y="206"/>
                  <a:pt x="1546" y="206"/>
                </a:cubicBezTo>
                <a:cubicBezTo>
                  <a:pt x="1580" y="206"/>
                  <a:pt x="1606" y="220"/>
                  <a:pt x="1606" y="286"/>
                </a:cubicBezTo>
                <a:cubicBezTo>
                  <a:pt x="1606" y="340"/>
                  <a:pt x="1606" y="340"/>
                  <a:pt x="1606" y="340"/>
                </a:cubicBezTo>
                <a:cubicBezTo>
                  <a:pt x="1606" y="432"/>
                  <a:pt x="1602" y="432"/>
                  <a:pt x="1564" y="434"/>
                </a:cubicBezTo>
                <a:lnTo>
                  <a:pt x="1564" y="448"/>
                </a:lnTo>
                <a:close/>
                <a:moveTo>
                  <a:pt x="1776" y="222"/>
                </a:moveTo>
                <a:cubicBezTo>
                  <a:pt x="1776" y="200"/>
                  <a:pt x="1796" y="188"/>
                  <a:pt x="1822" y="188"/>
                </a:cubicBezTo>
                <a:cubicBezTo>
                  <a:pt x="1874" y="188"/>
                  <a:pt x="1896" y="236"/>
                  <a:pt x="1900" y="252"/>
                </a:cubicBezTo>
                <a:cubicBezTo>
                  <a:pt x="1912" y="252"/>
                  <a:pt x="1912" y="252"/>
                  <a:pt x="1912" y="252"/>
                </a:cubicBezTo>
                <a:cubicBezTo>
                  <a:pt x="1912" y="212"/>
                  <a:pt x="1908" y="188"/>
                  <a:pt x="1904" y="184"/>
                </a:cubicBezTo>
                <a:cubicBezTo>
                  <a:pt x="1900" y="180"/>
                  <a:pt x="1862" y="170"/>
                  <a:pt x="1824" y="170"/>
                </a:cubicBezTo>
                <a:cubicBezTo>
                  <a:pt x="1768" y="170"/>
                  <a:pt x="1734" y="206"/>
                  <a:pt x="1734" y="248"/>
                </a:cubicBezTo>
                <a:cubicBezTo>
                  <a:pt x="1734" y="340"/>
                  <a:pt x="1890" y="322"/>
                  <a:pt x="1890" y="396"/>
                </a:cubicBezTo>
                <a:cubicBezTo>
                  <a:pt x="1890" y="422"/>
                  <a:pt x="1866" y="436"/>
                  <a:pt x="1826" y="436"/>
                </a:cubicBezTo>
                <a:cubicBezTo>
                  <a:pt x="1788" y="436"/>
                  <a:pt x="1754" y="416"/>
                  <a:pt x="1744" y="366"/>
                </a:cubicBezTo>
                <a:cubicBezTo>
                  <a:pt x="1728" y="366"/>
                  <a:pt x="1728" y="366"/>
                  <a:pt x="1728" y="366"/>
                </a:cubicBezTo>
                <a:cubicBezTo>
                  <a:pt x="1728" y="386"/>
                  <a:pt x="1732" y="422"/>
                  <a:pt x="1734" y="428"/>
                </a:cubicBezTo>
                <a:cubicBezTo>
                  <a:pt x="1744" y="446"/>
                  <a:pt x="1788" y="454"/>
                  <a:pt x="1824" y="454"/>
                </a:cubicBezTo>
                <a:cubicBezTo>
                  <a:pt x="1888" y="454"/>
                  <a:pt x="1928" y="416"/>
                  <a:pt x="1928" y="372"/>
                </a:cubicBezTo>
                <a:cubicBezTo>
                  <a:pt x="1932" y="270"/>
                  <a:pt x="1776" y="286"/>
                  <a:pt x="1776" y="222"/>
                </a:cubicBezTo>
                <a:moveTo>
                  <a:pt x="2030" y="270"/>
                </a:moveTo>
                <a:cubicBezTo>
                  <a:pt x="2034" y="220"/>
                  <a:pt x="2058" y="192"/>
                  <a:pt x="2102" y="192"/>
                </a:cubicBezTo>
                <a:cubicBezTo>
                  <a:pt x="2144" y="192"/>
                  <a:pt x="2170" y="220"/>
                  <a:pt x="2172" y="270"/>
                </a:cubicBezTo>
                <a:lnTo>
                  <a:pt x="2030" y="270"/>
                </a:lnTo>
                <a:close/>
                <a:moveTo>
                  <a:pt x="2030" y="290"/>
                </a:moveTo>
                <a:cubicBezTo>
                  <a:pt x="2222" y="290"/>
                  <a:pt x="2222" y="290"/>
                  <a:pt x="2222" y="290"/>
                </a:cubicBezTo>
                <a:cubicBezTo>
                  <a:pt x="2226" y="228"/>
                  <a:pt x="2192" y="168"/>
                  <a:pt x="2114" y="168"/>
                </a:cubicBezTo>
                <a:cubicBezTo>
                  <a:pt x="2034" y="168"/>
                  <a:pt x="1982" y="232"/>
                  <a:pt x="1982" y="320"/>
                </a:cubicBezTo>
                <a:cubicBezTo>
                  <a:pt x="1982" y="388"/>
                  <a:pt x="2018" y="456"/>
                  <a:pt x="2112" y="456"/>
                </a:cubicBezTo>
                <a:cubicBezTo>
                  <a:pt x="2150" y="456"/>
                  <a:pt x="2198" y="440"/>
                  <a:pt x="2224" y="412"/>
                </a:cubicBezTo>
                <a:cubicBezTo>
                  <a:pt x="2218" y="400"/>
                  <a:pt x="2218" y="400"/>
                  <a:pt x="2218" y="400"/>
                </a:cubicBezTo>
                <a:cubicBezTo>
                  <a:pt x="2192" y="416"/>
                  <a:pt x="2164" y="422"/>
                  <a:pt x="2138" y="422"/>
                </a:cubicBezTo>
                <a:cubicBezTo>
                  <a:pt x="2058" y="420"/>
                  <a:pt x="2028" y="352"/>
                  <a:pt x="2030" y="290"/>
                </a:cubicBezTo>
                <a:moveTo>
                  <a:pt x="2478" y="242"/>
                </a:moveTo>
                <a:cubicBezTo>
                  <a:pt x="2490" y="206"/>
                  <a:pt x="2510" y="192"/>
                  <a:pt x="2528" y="192"/>
                </a:cubicBezTo>
                <a:cubicBezTo>
                  <a:pt x="2528" y="180"/>
                  <a:pt x="2528" y="180"/>
                  <a:pt x="2528" y="180"/>
                </a:cubicBezTo>
                <a:cubicBezTo>
                  <a:pt x="2430" y="180"/>
                  <a:pt x="2430" y="180"/>
                  <a:pt x="2430" y="180"/>
                </a:cubicBezTo>
                <a:cubicBezTo>
                  <a:pt x="2430" y="192"/>
                  <a:pt x="2430" y="192"/>
                  <a:pt x="2430" y="192"/>
                </a:cubicBezTo>
                <a:cubicBezTo>
                  <a:pt x="2454" y="194"/>
                  <a:pt x="2466" y="206"/>
                  <a:pt x="2458" y="234"/>
                </a:cubicBezTo>
                <a:cubicBezTo>
                  <a:pt x="2406" y="390"/>
                  <a:pt x="2406" y="390"/>
                  <a:pt x="2406" y="390"/>
                </a:cubicBezTo>
                <a:cubicBezTo>
                  <a:pt x="2354" y="270"/>
                  <a:pt x="2354" y="270"/>
                  <a:pt x="2354" y="270"/>
                </a:cubicBezTo>
                <a:cubicBezTo>
                  <a:pt x="2340" y="238"/>
                  <a:pt x="2334" y="224"/>
                  <a:pt x="2334" y="212"/>
                </a:cubicBezTo>
                <a:cubicBezTo>
                  <a:pt x="2334" y="202"/>
                  <a:pt x="2340" y="196"/>
                  <a:pt x="2360" y="192"/>
                </a:cubicBezTo>
                <a:cubicBezTo>
                  <a:pt x="2360" y="180"/>
                  <a:pt x="2360" y="180"/>
                  <a:pt x="2360" y="180"/>
                </a:cubicBezTo>
                <a:cubicBezTo>
                  <a:pt x="2234" y="180"/>
                  <a:pt x="2234" y="180"/>
                  <a:pt x="2234" y="180"/>
                </a:cubicBezTo>
                <a:cubicBezTo>
                  <a:pt x="2234" y="192"/>
                  <a:pt x="2234" y="192"/>
                  <a:pt x="2234" y="192"/>
                </a:cubicBezTo>
                <a:cubicBezTo>
                  <a:pt x="2266" y="194"/>
                  <a:pt x="2268" y="198"/>
                  <a:pt x="2310" y="292"/>
                </a:cubicBezTo>
                <a:cubicBezTo>
                  <a:pt x="2382" y="450"/>
                  <a:pt x="2382" y="450"/>
                  <a:pt x="2382" y="450"/>
                </a:cubicBezTo>
                <a:cubicBezTo>
                  <a:pt x="2358" y="512"/>
                  <a:pt x="2320" y="546"/>
                  <a:pt x="2242" y="564"/>
                </a:cubicBezTo>
                <a:cubicBezTo>
                  <a:pt x="2246" y="576"/>
                  <a:pt x="2260" y="600"/>
                  <a:pt x="2268" y="606"/>
                </a:cubicBezTo>
                <a:cubicBezTo>
                  <a:pt x="2370" y="564"/>
                  <a:pt x="2390" y="498"/>
                  <a:pt x="2426" y="396"/>
                </a:cubicBezTo>
                <a:lnTo>
                  <a:pt x="2478" y="242"/>
                </a:lnTo>
                <a:close/>
                <a:moveTo>
                  <a:pt x="2844" y="394"/>
                </a:moveTo>
                <a:cubicBezTo>
                  <a:pt x="2822" y="412"/>
                  <a:pt x="2782" y="416"/>
                  <a:pt x="2750" y="416"/>
                </a:cubicBezTo>
                <a:cubicBezTo>
                  <a:pt x="2670" y="416"/>
                  <a:pt x="2606" y="360"/>
                  <a:pt x="2606" y="284"/>
                </a:cubicBezTo>
                <a:cubicBezTo>
                  <a:pt x="2606" y="236"/>
                  <a:pt x="2626" y="206"/>
                  <a:pt x="2658" y="198"/>
                </a:cubicBezTo>
                <a:cubicBezTo>
                  <a:pt x="2698" y="266"/>
                  <a:pt x="2770" y="338"/>
                  <a:pt x="2844" y="394"/>
                </a:cubicBezTo>
                <a:moveTo>
                  <a:pt x="2928" y="448"/>
                </a:moveTo>
                <a:cubicBezTo>
                  <a:pt x="3022" y="448"/>
                  <a:pt x="3022" y="448"/>
                  <a:pt x="3022" y="448"/>
                </a:cubicBezTo>
                <a:cubicBezTo>
                  <a:pt x="3022" y="436"/>
                  <a:pt x="3022" y="436"/>
                  <a:pt x="3022" y="436"/>
                </a:cubicBezTo>
                <a:cubicBezTo>
                  <a:pt x="2992" y="432"/>
                  <a:pt x="2946" y="408"/>
                  <a:pt x="2896" y="372"/>
                </a:cubicBezTo>
                <a:cubicBezTo>
                  <a:pt x="2914" y="342"/>
                  <a:pt x="2918" y="300"/>
                  <a:pt x="2922" y="270"/>
                </a:cubicBezTo>
                <a:cubicBezTo>
                  <a:pt x="2926" y="244"/>
                  <a:pt x="2946" y="244"/>
                  <a:pt x="2958" y="242"/>
                </a:cubicBezTo>
                <a:cubicBezTo>
                  <a:pt x="2958" y="230"/>
                  <a:pt x="2958" y="230"/>
                  <a:pt x="2958" y="230"/>
                </a:cubicBezTo>
                <a:cubicBezTo>
                  <a:pt x="2834" y="230"/>
                  <a:pt x="2834" y="230"/>
                  <a:pt x="2834" y="230"/>
                </a:cubicBezTo>
                <a:cubicBezTo>
                  <a:pt x="2834" y="242"/>
                  <a:pt x="2834" y="242"/>
                  <a:pt x="2834" y="242"/>
                </a:cubicBezTo>
                <a:cubicBezTo>
                  <a:pt x="2864" y="246"/>
                  <a:pt x="2892" y="250"/>
                  <a:pt x="2892" y="294"/>
                </a:cubicBezTo>
                <a:cubicBezTo>
                  <a:pt x="2892" y="318"/>
                  <a:pt x="2888" y="342"/>
                  <a:pt x="2878" y="358"/>
                </a:cubicBezTo>
                <a:cubicBezTo>
                  <a:pt x="2770" y="274"/>
                  <a:pt x="2670" y="156"/>
                  <a:pt x="2670" y="96"/>
                </a:cubicBezTo>
                <a:cubicBezTo>
                  <a:pt x="2670" y="66"/>
                  <a:pt x="2688" y="54"/>
                  <a:pt x="2716" y="54"/>
                </a:cubicBezTo>
                <a:cubicBezTo>
                  <a:pt x="2752" y="54"/>
                  <a:pt x="2784" y="78"/>
                  <a:pt x="2800" y="124"/>
                </a:cubicBezTo>
                <a:cubicBezTo>
                  <a:pt x="2812" y="124"/>
                  <a:pt x="2812" y="124"/>
                  <a:pt x="2812" y="124"/>
                </a:cubicBezTo>
                <a:cubicBezTo>
                  <a:pt x="2810" y="42"/>
                  <a:pt x="2810" y="42"/>
                  <a:pt x="2810" y="42"/>
                </a:cubicBezTo>
                <a:cubicBezTo>
                  <a:pt x="2798" y="42"/>
                  <a:pt x="2798" y="42"/>
                  <a:pt x="2798" y="42"/>
                </a:cubicBezTo>
                <a:cubicBezTo>
                  <a:pt x="2798" y="48"/>
                  <a:pt x="2792" y="52"/>
                  <a:pt x="2788" y="52"/>
                </a:cubicBezTo>
                <a:cubicBezTo>
                  <a:pt x="2772" y="52"/>
                  <a:pt x="2752" y="36"/>
                  <a:pt x="2714" y="36"/>
                </a:cubicBezTo>
                <a:cubicBezTo>
                  <a:pt x="2672" y="36"/>
                  <a:pt x="2630" y="62"/>
                  <a:pt x="2630" y="118"/>
                </a:cubicBezTo>
                <a:cubicBezTo>
                  <a:pt x="2630" y="140"/>
                  <a:pt x="2636" y="160"/>
                  <a:pt x="2648" y="182"/>
                </a:cubicBezTo>
                <a:cubicBezTo>
                  <a:pt x="2592" y="200"/>
                  <a:pt x="2562" y="248"/>
                  <a:pt x="2562" y="304"/>
                </a:cubicBezTo>
                <a:cubicBezTo>
                  <a:pt x="2562" y="406"/>
                  <a:pt x="2640" y="460"/>
                  <a:pt x="2726" y="460"/>
                </a:cubicBezTo>
                <a:cubicBezTo>
                  <a:pt x="2780" y="460"/>
                  <a:pt x="2824" y="444"/>
                  <a:pt x="2862" y="410"/>
                </a:cubicBezTo>
                <a:cubicBezTo>
                  <a:pt x="2888" y="424"/>
                  <a:pt x="2912" y="442"/>
                  <a:pt x="2928" y="448"/>
                </a:cubicBezTo>
                <a:moveTo>
                  <a:pt x="3094" y="212"/>
                </a:moveTo>
                <a:cubicBezTo>
                  <a:pt x="3094" y="88"/>
                  <a:pt x="3154" y="20"/>
                  <a:pt x="3252" y="20"/>
                </a:cubicBezTo>
                <a:cubicBezTo>
                  <a:pt x="3328" y="20"/>
                  <a:pt x="3372" y="58"/>
                  <a:pt x="3392" y="134"/>
                </a:cubicBezTo>
                <a:cubicBezTo>
                  <a:pt x="3404" y="134"/>
                  <a:pt x="3404" y="134"/>
                  <a:pt x="3404" y="134"/>
                </a:cubicBezTo>
                <a:cubicBezTo>
                  <a:pt x="3400" y="4"/>
                  <a:pt x="3400" y="4"/>
                  <a:pt x="3400" y="4"/>
                </a:cubicBezTo>
                <a:cubicBezTo>
                  <a:pt x="3388" y="4"/>
                  <a:pt x="3388" y="4"/>
                  <a:pt x="3388" y="4"/>
                </a:cubicBezTo>
                <a:cubicBezTo>
                  <a:pt x="3384" y="14"/>
                  <a:pt x="3376" y="18"/>
                  <a:pt x="3364" y="18"/>
                </a:cubicBezTo>
                <a:cubicBezTo>
                  <a:pt x="3338" y="18"/>
                  <a:pt x="3314" y="0"/>
                  <a:pt x="3248" y="0"/>
                </a:cubicBezTo>
                <a:cubicBezTo>
                  <a:pt x="3118" y="0"/>
                  <a:pt x="3030" y="102"/>
                  <a:pt x="3030" y="242"/>
                </a:cubicBezTo>
                <a:cubicBezTo>
                  <a:pt x="3030" y="376"/>
                  <a:pt x="3110" y="460"/>
                  <a:pt x="3238" y="460"/>
                </a:cubicBezTo>
                <a:cubicBezTo>
                  <a:pt x="3320" y="460"/>
                  <a:pt x="3384" y="420"/>
                  <a:pt x="3408" y="380"/>
                </a:cubicBezTo>
                <a:cubicBezTo>
                  <a:pt x="3396" y="366"/>
                  <a:pt x="3396" y="366"/>
                  <a:pt x="3396" y="366"/>
                </a:cubicBezTo>
                <a:cubicBezTo>
                  <a:pt x="3370" y="402"/>
                  <a:pt x="3314" y="426"/>
                  <a:pt x="3256" y="426"/>
                </a:cubicBezTo>
                <a:cubicBezTo>
                  <a:pt x="3156" y="426"/>
                  <a:pt x="3094" y="340"/>
                  <a:pt x="3094" y="212"/>
                </a:cubicBezTo>
                <a:moveTo>
                  <a:pt x="3678" y="328"/>
                </a:moveTo>
                <a:cubicBezTo>
                  <a:pt x="3678" y="392"/>
                  <a:pt x="3650" y="430"/>
                  <a:pt x="3592" y="430"/>
                </a:cubicBezTo>
                <a:cubicBezTo>
                  <a:pt x="3542" y="430"/>
                  <a:pt x="3496" y="384"/>
                  <a:pt x="3496" y="292"/>
                </a:cubicBezTo>
                <a:cubicBezTo>
                  <a:pt x="3496" y="226"/>
                  <a:pt x="3528" y="190"/>
                  <a:pt x="3580" y="190"/>
                </a:cubicBezTo>
                <a:cubicBezTo>
                  <a:pt x="3628" y="192"/>
                  <a:pt x="3678" y="238"/>
                  <a:pt x="3678" y="328"/>
                </a:cubicBezTo>
                <a:moveTo>
                  <a:pt x="3732" y="312"/>
                </a:moveTo>
                <a:cubicBezTo>
                  <a:pt x="3732" y="260"/>
                  <a:pt x="3710" y="214"/>
                  <a:pt x="3672" y="190"/>
                </a:cubicBezTo>
                <a:cubicBezTo>
                  <a:pt x="3650" y="176"/>
                  <a:pt x="3620" y="168"/>
                  <a:pt x="3588" y="168"/>
                </a:cubicBezTo>
                <a:cubicBezTo>
                  <a:pt x="3502" y="168"/>
                  <a:pt x="3442" y="230"/>
                  <a:pt x="3442" y="310"/>
                </a:cubicBezTo>
                <a:cubicBezTo>
                  <a:pt x="3442" y="364"/>
                  <a:pt x="3464" y="408"/>
                  <a:pt x="3502" y="432"/>
                </a:cubicBezTo>
                <a:cubicBezTo>
                  <a:pt x="3524" y="446"/>
                  <a:pt x="3554" y="452"/>
                  <a:pt x="3586" y="452"/>
                </a:cubicBezTo>
                <a:cubicBezTo>
                  <a:pt x="3672" y="454"/>
                  <a:pt x="3732" y="394"/>
                  <a:pt x="3732" y="312"/>
                </a:cubicBezTo>
                <a:moveTo>
                  <a:pt x="4136" y="448"/>
                </a:moveTo>
                <a:cubicBezTo>
                  <a:pt x="4280" y="448"/>
                  <a:pt x="4280" y="448"/>
                  <a:pt x="4280" y="448"/>
                </a:cubicBezTo>
                <a:cubicBezTo>
                  <a:pt x="4280" y="436"/>
                  <a:pt x="4280" y="436"/>
                  <a:pt x="4280" y="436"/>
                </a:cubicBezTo>
                <a:cubicBezTo>
                  <a:pt x="4230" y="434"/>
                  <a:pt x="4232" y="426"/>
                  <a:pt x="4232" y="348"/>
                </a:cubicBezTo>
                <a:cubicBezTo>
                  <a:pt x="4232" y="276"/>
                  <a:pt x="4232" y="276"/>
                  <a:pt x="4232" y="276"/>
                </a:cubicBezTo>
                <a:cubicBezTo>
                  <a:pt x="4232" y="200"/>
                  <a:pt x="4190" y="172"/>
                  <a:pt x="4142" y="172"/>
                </a:cubicBezTo>
                <a:cubicBezTo>
                  <a:pt x="4098" y="172"/>
                  <a:pt x="4064" y="196"/>
                  <a:pt x="4038" y="232"/>
                </a:cubicBezTo>
                <a:cubicBezTo>
                  <a:pt x="4028" y="194"/>
                  <a:pt x="4000" y="172"/>
                  <a:pt x="3954" y="172"/>
                </a:cubicBezTo>
                <a:cubicBezTo>
                  <a:pt x="3916" y="172"/>
                  <a:pt x="3880" y="196"/>
                  <a:pt x="3858" y="224"/>
                </a:cubicBezTo>
                <a:cubicBezTo>
                  <a:pt x="3858" y="176"/>
                  <a:pt x="3858" y="176"/>
                  <a:pt x="3858" y="176"/>
                </a:cubicBezTo>
                <a:cubicBezTo>
                  <a:pt x="3756" y="176"/>
                  <a:pt x="3756" y="176"/>
                  <a:pt x="3756" y="176"/>
                </a:cubicBezTo>
                <a:cubicBezTo>
                  <a:pt x="3756" y="188"/>
                  <a:pt x="3756" y="188"/>
                  <a:pt x="3756" y="188"/>
                </a:cubicBezTo>
                <a:cubicBezTo>
                  <a:pt x="3800" y="190"/>
                  <a:pt x="3806" y="192"/>
                  <a:pt x="3806" y="268"/>
                </a:cubicBezTo>
                <a:cubicBezTo>
                  <a:pt x="3806" y="346"/>
                  <a:pt x="3806" y="346"/>
                  <a:pt x="3806" y="346"/>
                </a:cubicBezTo>
                <a:cubicBezTo>
                  <a:pt x="3806" y="434"/>
                  <a:pt x="3804" y="434"/>
                  <a:pt x="3758" y="434"/>
                </a:cubicBezTo>
                <a:cubicBezTo>
                  <a:pt x="3758" y="446"/>
                  <a:pt x="3758" y="446"/>
                  <a:pt x="3758" y="446"/>
                </a:cubicBezTo>
                <a:cubicBezTo>
                  <a:pt x="3902" y="446"/>
                  <a:pt x="3902" y="446"/>
                  <a:pt x="3902" y="446"/>
                </a:cubicBezTo>
                <a:cubicBezTo>
                  <a:pt x="3902" y="434"/>
                  <a:pt x="3902" y="434"/>
                  <a:pt x="3902" y="434"/>
                </a:cubicBezTo>
                <a:cubicBezTo>
                  <a:pt x="3862" y="430"/>
                  <a:pt x="3858" y="430"/>
                  <a:pt x="3858" y="342"/>
                </a:cubicBezTo>
                <a:cubicBezTo>
                  <a:pt x="3858" y="262"/>
                  <a:pt x="3858" y="262"/>
                  <a:pt x="3858" y="262"/>
                </a:cubicBezTo>
                <a:cubicBezTo>
                  <a:pt x="3858" y="234"/>
                  <a:pt x="3894" y="204"/>
                  <a:pt x="3932" y="204"/>
                </a:cubicBezTo>
                <a:cubicBezTo>
                  <a:pt x="3974" y="204"/>
                  <a:pt x="3990" y="226"/>
                  <a:pt x="3990" y="282"/>
                </a:cubicBezTo>
                <a:cubicBezTo>
                  <a:pt x="3990" y="338"/>
                  <a:pt x="3990" y="338"/>
                  <a:pt x="3990" y="338"/>
                </a:cubicBezTo>
                <a:cubicBezTo>
                  <a:pt x="3990" y="428"/>
                  <a:pt x="3988" y="432"/>
                  <a:pt x="3950" y="436"/>
                </a:cubicBezTo>
                <a:cubicBezTo>
                  <a:pt x="3950" y="448"/>
                  <a:pt x="3950" y="448"/>
                  <a:pt x="3950" y="448"/>
                </a:cubicBezTo>
                <a:cubicBezTo>
                  <a:pt x="4086" y="448"/>
                  <a:pt x="4086" y="448"/>
                  <a:pt x="4086" y="448"/>
                </a:cubicBezTo>
                <a:cubicBezTo>
                  <a:pt x="4086" y="436"/>
                  <a:pt x="4086" y="436"/>
                  <a:pt x="4086" y="436"/>
                </a:cubicBezTo>
                <a:cubicBezTo>
                  <a:pt x="4040" y="432"/>
                  <a:pt x="4042" y="428"/>
                  <a:pt x="4042" y="342"/>
                </a:cubicBezTo>
                <a:cubicBezTo>
                  <a:pt x="4042" y="264"/>
                  <a:pt x="4042" y="264"/>
                  <a:pt x="4042" y="264"/>
                </a:cubicBezTo>
                <a:cubicBezTo>
                  <a:pt x="4042" y="236"/>
                  <a:pt x="4078" y="206"/>
                  <a:pt x="4118" y="206"/>
                </a:cubicBezTo>
                <a:cubicBezTo>
                  <a:pt x="4152" y="206"/>
                  <a:pt x="4174" y="226"/>
                  <a:pt x="4174" y="284"/>
                </a:cubicBezTo>
                <a:cubicBezTo>
                  <a:pt x="4174" y="346"/>
                  <a:pt x="4174" y="346"/>
                  <a:pt x="4174" y="346"/>
                </a:cubicBezTo>
                <a:cubicBezTo>
                  <a:pt x="4174" y="428"/>
                  <a:pt x="4174" y="432"/>
                  <a:pt x="4134" y="436"/>
                </a:cubicBezTo>
                <a:cubicBezTo>
                  <a:pt x="4134" y="448"/>
                  <a:pt x="4134" y="448"/>
                  <a:pt x="4134" y="448"/>
                </a:cubicBezTo>
                <a:lnTo>
                  <a:pt x="4136" y="448"/>
                </a:lnTo>
                <a:close/>
                <a:moveTo>
                  <a:pt x="4546" y="316"/>
                </a:moveTo>
                <a:cubicBezTo>
                  <a:pt x="4546" y="388"/>
                  <a:pt x="4516" y="432"/>
                  <a:pt x="4460" y="432"/>
                </a:cubicBezTo>
                <a:cubicBezTo>
                  <a:pt x="4424" y="432"/>
                  <a:pt x="4384" y="412"/>
                  <a:pt x="4384" y="384"/>
                </a:cubicBezTo>
                <a:cubicBezTo>
                  <a:pt x="4384" y="248"/>
                  <a:pt x="4384" y="248"/>
                  <a:pt x="4384" y="248"/>
                </a:cubicBezTo>
                <a:cubicBezTo>
                  <a:pt x="4384" y="226"/>
                  <a:pt x="4416" y="202"/>
                  <a:pt x="4454" y="202"/>
                </a:cubicBezTo>
                <a:cubicBezTo>
                  <a:pt x="4510" y="206"/>
                  <a:pt x="4546" y="248"/>
                  <a:pt x="4546" y="316"/>
                </a:cubicBezTo>
                <a:moveTo>
                  <a:pt x="4600" y="310"/>
                </a:moveTo>
                <a:cubicBezTo>
                  <a:pt x="4600" y="230"/>
                  <a:pt x="4548" y="170"/>
                  <a:pt x="4478" y="170"/>
                </a:cubicBezTo>
                <a:cubicBezTo>
                  <a:pt x="4438" y="170"/>
                  <a:pt x="4406" y="188"/>
                  <a:pt x="4384" y="214"/>
                </a:cubicBezTo>
                <a:cubicBezTo>
                  <a:pt x="4384" y="174"/>
                  <a:pt x="4384" y="174"/>
                  <a:pt x="4384" y="174"/>
                </a:cubicBezTo>
                <a:cubicBezTo>
                  <a:pt x="4284" y="174"/>
                  <a:pt x="4284" y="174"/>
                  <a:pt x="4284" y="174"/>
                </a:cubicBezTo>
                <a:cubicBezTo>
                  <a:pt x="4284" y="186"/>
                  <a:pt x="4284" y="186"/>
                  <a:pt x="4284" y="186"/>
                </a:cubicBezTo>
                <a:cubicBezTo>
                  <a:pt x="4326" y="188"/>
                  <a:pt x="4332" y="190"/>
                  <a:pt x="4332" y="280"/>
                </a:cubicBezTo>
                <a:cubicBezTo>
                  <a:pt x="4332" y="466"/>
                  <a:pt x="4332" y="466"/>
                  <a:pt x="4332" y="466"/>
                </a:cubicBezTo>
                <a:cubicBezTo>
                  <a:pt x="4332" y="564"/>
                  <a:pt x="4334" y="570"/>
                  <a:pt x="4286" y="574"/>
                </a:cubicBezTo>
                <a:cubicBezTo>
                  <a:pt x="4286" y="588"/>
                  <a:pt x="4286" y="588"/>
                  <a:pt x="4286" y="588"/>
                </a:cubicBezTo>
                <a:cubicBezTo>
                  <a:pt x="4432" y="588"/>
                  <a:pt x="4432" y="588"/>
                  <a:pt x="4432" y="588"/>
                </a:cubicBezTo>
                <a:cubicBezTo>
                  <a:pt x="4432" y="574"/>
                  <a:pt x="4432" y="574"/>
                  <a:pt x="4432" y="574"/>
                </a:cubicBezTo>
                <a:cubicBezTo>
                  <a:pt x="4380" y="572"/>
                  <a:pt x="4384" y="564"/>
                  <a:pt x="4384" y="462"/>
                </a:cubicBezTo>
                <a:cubicBezTo>
                  <a:pt x="4384" y="424"/>
                  <a:pt x="4384" y="424"/>
                  <a:pt x="4384" y="424"/>
                </a:cubicBezTo>
                <a:cubicBezTo>
                  <a:pt x="4404" y="444"/>
                  <a:pt x="4436" y="454"/>
                  <a:pt x="4466" y="454"/>
                </a:cubicBezTo>
                <a:cubicBezTo>
                  <a:pt x="4548" y="454"/>
                  <a:pt x="4600" y="392"/>
                  <a:pt x="4600" y="310"/>
                </a:cubicBezTo>
                <a:moveTo>
                  <a:pt x="4792" y="382"/>
                </a:moveTo>
                <a:cubicBezTo>
                  <a:pt x="4792" y="404"/>
                  <a:pt x="4762" y="424"/>
                  <a:pt x="4736" y="424"/>
                </a:cubicBezTo>
                <a:cubicBezTo>
                  <a:pt x="4712" y="424"/>
                  <a:pt x="4694" y="410"/>
                  <a:pt x="4694" y="378"/>
                </a:cubicBezTo>
                <a:cubicBezTo>
                  <a:pt x="4694" y="322"/>
                  <a:pt x="4752" y="328"/>
                  <a:pt x="4792" y="306"/>
                </a:cubicBezTo>
                <a:cubicBezTo>
                  <a:pt x="4792" y="382"/>
                  <a:pt x="4792" y="382"/>
                  <a:pt x="4792" y="382"/>
                </a:cubicBezTo>
                <a:close/>
                <a:moveTo>
                  <a:pt x="5240" y="434"/>
                </a:moveTo>
                <a:cubicBezTo>
                  <a:pt x="5192" y="432"/>
                  <a:pt x="5192" y="430"/>
                  <a:pt x="5192" y="340"/>
                </a:cubicBezTo>
                <a:cubicBezTo>
                  <a:pt x="5192" y="278"/>
                  <a:pt x="5192" y="278"/>
                  <a:pt x="5192" y="278"/>
                </a:cubicBezTo>
                <a:cubicBezTo>
                  <a:pt x="5192" y="196"/>
                  <a:pt x="5146" y="170"/>
                  <a:pt x="5104" y="170"/>
                </a:cubicBezTo>
                <a:cubicBezTo>
                  <a:pt x="5068" y="170"/>
                  <a:pt x="5032" y="186"/>
                  <a:pt x="5004" y="222"/>
                </a:cubicBezTo>
                <a:cubicBezTo>
                  <a:pt x="5004" y="174"/>
                  <a:pt x="5004" y="174"/>
                  <a:pt x="5004" y="174"/>
                </a:cubicBezTo>
                <a:cubicBezTo>
                  <a:pt x="4902" y="174"/>
                  <a:pt x="4902" y="174"/>
                  <a:pt x="4902" y="174"/>
                </a:cubicBezTo>
                <a:cubicBezTo>
                  <a:pt x="4902" y="186"/>
                  <a:pt x="4902" y="186"/>
                  <a:pt x="4902" y="186"/>
                </a:cubicBezTo>
                <a:cubicBezTo>
                  <a:pt x="4946" y="188"/>
                  <a:pt x="4952" y="190"/>
                  <a:pt x="4952" y="266"/>
                </a:cubicBezTo>
                <a:cubicBezTo>
                  <a:pt x="4952" y="334"/>
                  <a:pt x="4952" y="334"/>
                  <a:pt x="4952" y="334"/>
                </a:cubicBezTo>
                <a:cubicBezTo>
                  <a:pt x="4952" y="430"/>
                  <a:pt x="4952" y="432"/>
                  <a:pt x="4904" y="434"/>
                </a:cubicBezTo>
                <a:cubicBezTo>
                  <a:pt x="4892" y="434"/>
                  <a:pt x="4892" y="434"/>
                  <a:pt x="4892" y="434"/>
                </a:cubicBezTo>
                <a:cubicBezTo>
                  <a:pt x="4854" y="434"/>
                  <a:pt x="4850" y="422"/>
                  <a:pt x="4850" y="366"/>
                </a:cubicBezTo>
                <a:cubicBezTo>
                  <a:pt x="4850" y="274"/>
                  <a:pt x="4850" y="274"/>
                  <a:pt x="4850" y="274"/>
                </a:cubicBezTo>
                <a:cubicBezTo>
                  <a:pt x="4850" y="256"/>
                  <a:pt x="4848" y="240"/>
                  <a:pt x="4844" y="228"/>
                </a:cubicBezTo>
                <a:cubicBezTo>
                  <a:pt x="4830" y="186"/>
                  <a:pt x="4796" y="170"/>
                  <a:pt x="4748" y="170"/>
                </a:cubicBezTo>
                <a:cubicBezTo>
                  <a:pt x="4718" y="170"/>
                  <a:pt x="4674" y="180"/>
                  <a:pt x="4650" y="202"/>
                </a:cubicBezTo>
                <a:cubicBezTo>
                  <a:pt x="4652" y="214"/>
                  <a:pt x="4664" y="240"/>
                  <a:pt x="4670" y="248"/>
                </a:cubicBezTo>
                <a:cubicBezTo>
                  <a:pt x="4676" y="246"/>
                  <a:pt x="4676" y="246"/>
                  <a:pt x="4676" y="246"/>
                </a:cubicBezTo>
                <a:cubicBezTo>
                  <a:pt x="4688" y="216"/>
                  <a:pt x="4708" y="194"/>
                  <a:pt x="4742" y="194"/>
                </a:cubicBezTo>
                <a:cubicBezTo>
                  <a:pt x="4778" y="194"/>
                  <a:pt x="4794" y="220"/>
                  <a:pt x="4794" y="250"/>
                </a:cubicBezTo>
                <a:cubicBezTo>
                  <a:pt x="4794" y="282"/>
                  <a:pt x="4794" y="282"/>
                  <a:pt x="4794" y="282"/>
                </a:cubicBezTo>
                <a:cubicBezTo>
                  <a:pt x="4794" y="302"/>
                  <a:pt x="4702" y="306"/>
                  <a:pt x="4664" y="338"/>
                </a:cubicBezTo>
                <a:cubicBezTo>
                  <a:pt x="4652" y="350"/>
                  <a:pt x="4642" y="364"/>
                  <a:pt x="4642" y="384"/>
                </a:cubicBezTo>
                <a:cubicBezTo>
                  <a:pt x="4642" y="426"/>
                  <a:pt x="4672" y="456"/>
                  <a:pt x="4716" y="456"/>
                </a:cubicBezTo>
                <a:cubicBezTo>
                  <a:pt x="4744" y="456"/>
                  <a:pt x="4768" y="446"/>
                  <a:pt x="4794" y="418"/>
                </a:cubicBezTo>
                <a:cubicBezTo>
                  <a:pt x="4798" y="438"/>
                  <a:pt x="4814" y="448"/>
                  <a:pt x="4842" y="448"/>
                </a:cubicBezTo>
                <a:cubicBezTo>
                  <a:pt x="4906" y="448"/>
                  <a:pt x="4906" y="448"/>
                  <a:pt x="4906" y="448"/>
                </a:cubicBezTo>
                <a:cubicBezTo>
                  <a:pt x="4906" y="448"/>
                  <a:pt x="4906" y="448"/>
                  <a:pt x="4906" y="448"/>
                </a:cubicBezTo>
                <a:cubicBezTo>
                  <a:pt x="5048" y="448"/>
                  <a:pt x="5048" y="448"/>
                  <a:pt x="5048" y="448"/>
                </a:cubicBezTo>
                <a:cubicBezTo>
                  <a:pt x="5048" y="436"/>
                  <a:pt x="5048" y="436"/>
                  <a:pt x="5048" y="436"/>
                </a:cubicBezTo>
                <a:cubicBezTo>
                  <a:pt x="5006" y="432"/>
                  <a:pt x="5004" y="434"/>
                  <a:pt x="5004" y="338"/>
                </a:cubicBezTo>
                <a:cubicBezTo>
                  <a:pt x="5004" y="262"/>
                  <a:pt x="5004" y="262"/>
                  <a:pt x="5004" y="262"/>
                </a:cubicBezTo>
                <a:cubicBezTo>
                  <a:pt x="5004" y="236"/>
                  <a:pt x="5038" y="206"/>
                  <a:pt x="5080" y="206"/>
                </a:cubicBezTo>
                <a:cubicBezTo>
                  <a:pt x="5114" y="206"/>
                  <a:pt x="5140" y="220"/>
                  <a:pt x="5140" y="286"/>
                </a:cubicBezTo>
                <a:cubicBezTo>
                  <a:pt x="5140" y="340"/>
                  <a:pt x="5140" y="340"/>
                  <a:pt x="5140" y="340"/>
                </a:cubicBezTo>
                <a:cubicBezTo>
                  <a:pt x="5140" y="432"/>
                  <a:pt x="5136" y="432"/>
                  <a:pt x="5098" y="434"/>
                </a:cubicBezTo>
                <a:cubicBezTo>
                  <a:pt x="5098" y="446"/>
                  <a:pt x="5098" y="446"/>
                  <a:pt x="5098" y="446"/>
                </a:cubicBezTo>
                <a:cubicBezTo>
                  <a:pt x="5240" y="446"/>
                  <a:pt x="5240" y="446"/>
                  <a:pt x="5240" y="446"/>
                </a:cubicBezTo>
                <a:lnTo>
                  <a:pt x="5240" y="434"/>
                </a:lnTo>
                <a:close/>
                <a:moveTo>
                  <a:pt x="5516" y="192"/>
                </a:moveTo>
                <a:cubicBezTo>
                  <a:pt x="5516" y="180"/>
                  <a:pt x="5516" y="180"/>
                  <a:pt x="5516" y="180"/>
                </a:cubicBezTo>
                <a:cubicBezTo>
                  <a:pt x="5418" y="180"/>
                  <a:pt x="5418" y="180"/>
                  <a:pt x="5418" y="180"/>
                </a:cubicBezTo>
                <a:cubicBezTo>
                  <a:pt x="5418" y="192"/>
                  <a:pt x="5418" y="192"/>
                  <a:pt x="5418" y="192"/>
                </a:cubicBezTo>
                <a:cubicBezTo>
                  <a:pt x="5442" y="194"/>
                  <a:pt x="5454" y="206"/>
                  <a:pt x="5446" y="234"/>
                </a:cubicBezTo>
                <a:cubicBezTo>
                  <a:pt x="5394" y="390"/>
                  <a:pt x="5394" y="390"/>
                  <a:pt x="5394" y="390"/>
                </a:cubicBezTo>
                <a:cubicBezTo>
                  <a:pt x="5342" y="270"/>
                  <a:pt x="5342" y="270"/>
                  <a:pt x="5342" y="270"/>
                </a:cubicBezTo>
                <a:cubicBezTo>
                  <a:pt x="5328" y="238"/>
                  <a:pt x="5322" y="224"/>
                  <a:pt x="5322" y="212"/>
                </a:cubicBezTo>
                <a:cubicBezTo>
                  <a:pt x="5322" y="202"/>
                  <a:pt x="5328" y="196"/>
                  <a:pt x="5348" y="192"/>
                </a:cubicBezTo>
                <a:cubicBezTo>
                  <a:pt x="5348" y="180"/>
                  <a:pt x="5348" y="180"/>
                  <a:pt x="5348" y="180"/>
                </a:cubicBezTo>
                <a:cubicBezTo>
                  <a:pt x="5220" y="180"/>
                  <a:pt x="5220" y="180"/>
                  <a:pt x="5220" y="180"/>
                </a:cubicBezTo>
                <a:cubicBezTo>
                  <a:pt x="5220" y="192"/>
                  <a:pt x="5220" y="192"/>
                  <a:pt x="5220" y="192"/>
                </a:cubicBezTo>
                <a:cubicBezTo>
                  <a:pt x="5252" y="194"/>
                  <a:pt x="5254" y="198"/>
                  <a:pt x="5296" y="292"/>
                </a:cubicBezTo>
                <a:cubicBezTo>
                  <a:pt x="5368" y="450"/>
                  <a:pt x="5368" y="450"/>
                  <a:pt x="5368" y="450"/>
                </a:cubicBezTo>
                <a:cubicBezTo>
                  <a:pt x="5344" y="512"/>
                  <a:pt x="5306" y="546"/>
                  <a:pt x="5228" y="564"/>
                </a:cubicBezTo>
                <a:cubicBezTo>
                  <a:pt x="5232" y="576"/>
                  <a:pt x="5246" y="600"/>
                  <a:pt x="5254" y="606"/>
                </a:cubicBezTo>
                <a:cubicBezTo>
                  <a:pt x="5356" y="564"/>
                  <a:pt x="5376" y="498"/>
                  <a:pt x="5412" y="396"/>
                </a:cubicBezTo>
                <a:cubicBezTo>
                  <a:pt x="5466" y="242"/>
                  <a:pt x="5466" y="242"/>
                  <a:pt x="5466" y="242"/>
                </a:cubicBezTo>
                <a:cubicBezTo>
                  <a:pt x="5478" y="206"/>
                  <a:pt x="5498" y="192"/>
                  <a:pt x="5516" y="192"/>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600" kern="1200">
                <a:solidFill>
                  <a:schemeClr val="tx1"/>
                </a:solidFill>
                <a:latin typeface="Arial" charset="0"/>
                <a:ea typeface="+mn-ea"/>
                <a:cs typeface="+mn-cs"/>
              </a:defRPr>
            </a:lvl1pPr>
            <a:lvl2pPr marL="457200" algn="l" rtl="0" fontAlgn="base">
              <a:spcBef>
                <a:spcPct val="0"/>
              </a:spcBef>
              <a:spcAft>
                <a:spcPct val="0"/>
              </a:spcAft>
              <a:defRPr sz="1600" kern="1200">
                <a:solidFill>
                  <a:schemeClr val="tx1"/>
                </a:solidFill>
                <a:latin typeface="Arial" charset="0"/>
                <a:ea typeface="+mn-ea"/>
                <a:cs typeface="+mn-cs"/>
              </a:defRPr>
            </a:lvl2pPr>
            <a:lvl3pPr marL="914400" algn="l" rtl="0" fontAlgn="base">
              <a:spcBef>
                <a:spcPct val="0"/>
              </a:spcBef>
              <a:spcAft>
                <a:spcPct val="0"/>
              </a:spcAft>
              <a:defRPr sz="1600" kern="1200">
                <a:solidFill>
                  <a:schemeClr val="tx1"/>
                </a:solidFill>
                <a:latin typeface="Arial" charset="0"/>
                <a:ea typeface="+mn-ea"/>
                <a:cs typeface="+mn-cs"/>
              </a:defRPr>
            </a:lvl3pPr>
            <a:lvl4pPr marL="1371600" algn="l" rtl="0" fontAlgn="base">
              <a:spcBef>
                <a:spcPct val="0"/>
              </a:spcBef>
              <a:spcAft>
                <a:spcPct val="0"/>
              </a:spcAft>
              <a:defRPr sz="1600" kern="1200">
                <a:solidFill>
                  <a:schemeClr val="tx1"/>
                </a:solidFill>
                <a:latin typeface="Arial" charset="0"/>
                <a:ea typeface="+mn-ea"/>
                <a:cs typeface="+mn-cs"/>
              </a:defRPr>
            </a:lvl4pPr>
            <a:lvl5pPr marL="1828800" algn="l" rtl="0" fontAlgn="base">
              <a:spcBef>
                <a:spcPct val="0"/>
              </a:spcBef>
              <a:spcAft>
                <a:spcPct val="0"/>
              </a:spcAft>
              <a:defRPr sz="1600" kern="1200">
                <a:solidFill>
                  <a:schemeClr val="tx1"/>
                </a:solidFill>
                <a:latin typeface="Arial" charset="0"/>
                <a:ea typeface="+mn-ea"/>
                <a:cs typeface="+mn-cs"/>
              </a:defRPr>
            </a:lvl5pPr>
            <a:lvl6pPr marL="2286000" algn="l" defTabSz="914400" rtl="0" eaLnBrk="1" latinLnBrk="0" hangingPunct="1">
              <a:defRPr sz="1600" kern="1200">
                <a:solidFill>
                  <a:schemeClr val="tx1"/>
                </a:solidFill>
                <a:latin typeface="Arial" charset="0"/>
                <a:ea typeface="+mn-ea"/>
                <a:cs typeface="+mn-cs"/>
              </a:defRPr>
            </a:lvl6pPr>
            <a:lvl7pPr marL="2743200" algn="l" defTabSz="914400" rtl="0" eaLnBrk="1" latinLnBrk="0" hangingPunct="1">
              <a:defRPr sz="1600" kern="1200">
                <a:solidFill>
                  <a:schemeClr val="tx1"/>
                </a:solidFill>
                <a:latin typeface="Arial" charset="0"/>
                <a:ea typeface="+mn-ea"/>
                <a:cs typeface="+mn-cs"/>
              </a:defRPr>
            </a:lvl7pPr>
            <a:lvl8pPr marL="3200400" algn="l" defTabSz="914400" rtl="0" eaLnBrk="1" latinLnBrk="0" hangingPunct="1">
              <a:defRPr sz="1600" kern="1200">
                <a:solidFill>
                  <a:schemeClr val="tx1"/>
                </a:solidFill>
                <a:latin typeface="Arial" charset="0"/>
                <a:ea typeface="+mn-ea"/>
                <a:cs typeface="+mn-cs"/>
              </a:defRPr>
            </a:lvl8pPr>
            <a:lvl9pPr marL="3657600" algn="l" defTabSz="914400" rtl="0" eaLnBrk="1" latinLnBrk="0" hangingPunct="1">
              <a:defRPr sz="1600" kern="1200">
                <a:solidFill>
                  <a:schemeClr val="tx1"/>
                </a:solidFill>
                <a:latin typeface="Arial" charset="0"/>
                <a:ea typeface="+mn-ea"/>
                <a:cs typeface="+mn-cs"/>
              </a:defRPr>
            </a:lvl9pPr>
          </a:lstStyle>
          <a:p>
            <a:endParaRPr lang="en-US" baseline="0" dirty="0">
              <a:solidFill>
                <a:srgbClr val="000000"/>
              </a:solidFill>
              <a:latin typeface="+mn-lt"/>
            </a:endParaRPr>
          </a:p>
        </p:txBody>
      </p:sp>
      <p:sp>
        <p:nvSpPr>
          <p:cNvPr id="27" name="Disclaimer-English (United States)" hidden="1"/>
          <p:cNvSpPr>
            <a:spLocks noChangeArrowheads="1"/>
          </p:cNvSpPr>
          <p:nvPr/>
        </p:nvSpPr>
        <p:spPr bwMode="black">
          <a:xfrm>
            <a:off x="2268266" y="6287785"/>
            <a:ext cx="3544453" cy="36908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t" anchorCtr="0">
            <a:noAutofit/>
          </a:bodyPr>
          <a:lstStyle/>
          <a:p>
            <a:pPr defTabSz="804863" eaLnBrk="0" hangingPunct="0"/>
            <a:r>
              <a:rPr lang="en-US" sz="800" baseline="0" dirty="0">
                <a:solidFill>
                  <a:srgbClr val="FFFFFF"/>
                </a:solidFill>
                <a:latin typeface="+mn-lt"/>
              </a:rPr>
              <a:t>CONFIDENTIAL AND PROPRIETARY</a:t>
            </a:r>
          </a:p>
          <a:p>
            <a:pPr defTabSz="804863" eaLnBrk="0" hangingPunct="0"/>
            <a:r>
              <a:rPr lang="en-US" sz="800" baseline="0" dirty="0">
                <a:solidFill>
                  <a:srgbClr val="FFFFFF"/>
                </a:solidFill>
                <a:latin typeface="+mn-lt"/>
              </a:rPr>
              <a:t>Any use of this material without specific permission of McKinsey &amp; Company is strictly prohibited</a:t>
            </a:r>
          </a:p>
        </p:txBody>
      </p:sp>
    </p:spTree>
    <p:extLst>
      <p:ext uri="{BB962C8B-B14F-4D97-AF65-F5344CB8AC3E}">
        <p14:creationId xmlns:p14="http://schemas.microsoft.com/office/powerpoint/2010/main" val="2090384461"/>
      </p:ext>
    </p:extLst>
  </p:cSld>
  <p:clrMapOvr>
    <a:masterClrMapping/>
  </p:clrMapOvr>
  <p:extLst mod="1">
    <p:ext uri="{DCECCB84-F9BA-43D5-87BE-67443E8EF086}">
      <p15:sldGuideLst xmlns:p15="http://schemas.microsoft.com/office/powerpoint/2012/main">
        <p15:guide id="1" orient="horz" pos="2117">
          <p15:clr>
            <a:srgbClr val="FBAE40"/>
          </p15:clr>
        </p15:guide>
        <p15:guide id="2" pos="1416">
          <p15:clr>
            <a:srgbClr val="FBAE40"/>
          </p15:clr>
        </p15:guide>
      </p15:sldGuideLst>
    </p:ext>
  </p:extLst>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6E228F5-5CF1-42E1-9748-97D7582A107A}"/>
              </a:ext>
            </a:extLst>
          </p:cNvPr>
          <p:cNvGraphicFramePr>
            <a:graphicFrameLocks noChangeAspect="1"/>
          </p:cNvGraphicFramePr>
          <p:nvPr>
            <p:custDataLst>
              <p:tags r:id="rId2"/>
            </p:custDataLst>
            <p:extLst>
              <p:ext uri="{D42A27DB-BD31-4B8C-83A1-F6EECF244321}">
                <p14:modId xmlns:p14="http://schemas.microsoft.com/office/powerpoint/2010/main" val="320159760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7588" name="think-cell Slide" r:id="rId5" imgW="353" imgH="353" progId="TCLayout.ActiveDocument.1">
                  <p:embed/>
                </p:oleObj>
              </mc:Choice>
              <mc:Fallback>
                <p:oleObj name="think-cell Slide" r:id="rId5" imgW="353" imgH="353" progId="TCLayout.ActiveDocument.1">
                  <p:embed/>
                  <p:pic>
                    <p:nvPicPr>
                      <p:cNvPr id="3" name="Object 2" hidden="1">
                        <a:extLst>
                          <a:ext uri="{FF2B5EF4-FFF2-40B4-BE49-F238E27FC236}">
                            <a16:creationId xmlns:a16="http://schemas.microsoft.com/office/drawing/2014/main" id="{C6E228F5-5CF1-42E1-9748-97D7582A107A}"/>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2. Slide Title"/>
          <p:cNvSpPr>
            <a:spLocks noGrp="1"/>
          </p:cNvSpPr>
          <p:nvPr>
            <p:ph type="title"/>
          </p:nvPr>
        </p:nvSpPr>
        <p:spPr bwMode="auto"/>
        <p:txBody>
          <a:bodyPr/>
          <a:lstStyle/>
          <a:p>
            <a:r>
              <a:rPr lang="en-US"/>
              <a:t>Click to edit Master title style</a:t>
            </a:r>
            <a:endParaRPr lang="en-US" dirty="0"/>
          </a:p>
        </p:txBody>
      </p:sp>
      <p:sp>
        <p:nvSpPr>
          <p:cNvPr id="8" name="Slide Number"/>
          <p:cNvSpPr txBox="1">
            <a:spLocks/>
          </p:cNvSpPr>
          <p:nvPr/>
        </p:nvSpPr>
        <p:spPr bwMode="auto">
          <a:xfrm>
            <a:off x="8564563" y="6508272"/>
            <a:ext cx="125034" cy="123111"/>
          </a:xfrm>
          <a:prstGeom prst="rect">
            <a:avLst/>
          </a:prstGeom>
        </p:spPr>
        <p:txBody>
          <a:bodyPr vert="horz" wrap="none" lIns="0" tIns="0" rIns="0" bIns="0" rtlCol="0" anchor="ctr">
            <a:spAutoFit/>
          </a:bodyPr>
          <a:lstStyle>
            <a:defPPr>
              <a:defRPr lang="en-US"/>
            </a:defPPr>
            <a:lvl1pPr>
              <a:defRPr sz="1000" baseline="0">
                <a:latin typeface="+mn-lt"/>
              </a:defRPr>
            </a:lvl1pPr>
          </a:lstStyle>
          <a:p>
            <a:fld id="{42C328C1-A84F-4A39-A664-DBA00541A8C6}" type="slidenum">
              <a:rPr lang="en-US" sz="800" baseline="0" smtClean="0">
                <a:solidFill>
                  <a:srgbClr val="808080"/>
                </a:solidFill>
                <a:latin typeface="+mn-lt"/>
              </a:rPr>
              <a:pPr/>
              <a:t>‹#›</a:t>
            </a:fld>
            <a:endParaRPr lang="en-US" sz="800" baseline="0" dirty="0">
              <a:solidFill>
                <a:srgbClr val="808080"/>
              </a:solidFill>
              <a:latin typeface="+mn-lt"/>
            </a:endParaRPr>
          </a:p>
        </p:txBody>
      </p:sp>
      <p:sp>
        <p:nvSpPr>
          <p:cNvPr id="9" name="SlideLogoText"/>
          <p:cNvSpPr>
            <a:spLocks noChangeArrowheads="1"/>
          </p:cNvSpPr>
          <p:nvPr>
            <p:custDataLst>
              <p:tags r:id="rId3"/>
            </p:custDataLst>
          </p:nvPr>
        </p:nvSpPr>
        <p:spPr bwMode="auto">
          <a:xfrm>
            <a:off x="7450817" y="6508272"/>
            <a:ext cx="1013098"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algn="r" defTabSz="895350"/>
            <a:r>
              <a:rPr lang="en-US" sz="800" baseline="0" dirty="0">
                <a:solidFill>
                  <a:srgbClr val="808080"/>
                </a:solidFill>
                <a:latin typeface="+mn-lt"/>
              </a:rPr>
              <a:t>McKinsey &amp; Company</a:t>
            </a:r>
          </a:p>
        </p:txBody>
      </p:sp>
      <p:sp>
        <p:nvSpPr>
          <p:cNvPr id="5" name="doc id" hidden="1"/>
          <p:cNvSpPr txBox="1">
            <a:spLocks noChangeArrowheads="1"/>
          </p:cNvSpPr>
          <p:nvPr/>
        </p:nvSpPr>
        <p:spPr bwMode="white">
          <a:xfrm>
            <a:off x="8104473" y="36513"/>
            <a:ext cx="634716" cy="115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hangingPunct="1">
              <a:defRPr/>
            </a:pPr>
            <a:endParaRPr lang="en-US" sz="800" baseline="0" dirty="0">
              <a:solidFill>
                <a:schemeClr val="accent1"/>
              </a:solidFill>
              <a:latin typeface="+mn-lt"/>
              <a:ea typeface="+mn-ea"/>
            </a:endParaRPr>
          </a:p>
        </p:txBody>
      </p:sp>
    </p:spTree>
    <p:extLst>
      <p:ext uri="{BB962C8B-B14F-4D97-AF65-F5344CB8AC3E}">
        <p14:creationId xmlns:p14="http://schemas.microsoft.com/office/powerpoint/2010/main" val="1280506438"/>
      </p:ext>
    </p:extLst>
  </p:cSld>
  <p:clrMapOvr>
    <a:masterClrMapping/>
  </p:clrMapOvr>
  <p:extLst mod="1">
    <p:ext uri="{DCECCB84-F9BA-43D5-87BE-67443E8EF086}">
      <p15:sldGuideLst xmlns:p15="http://schemas.microsoft.com/office/powerpoint/2012/main">
        <p15:guide id="1" pos="5505">
          <p15:clr>
            <a:srgbClr val="F26B43"/>
          </p15:clr>
        </p15:guide>
        <p15:guide id="2" pos="74">
          <p15:clr>
            <a:srgbClr val="F26B43"/>
          </p15:clr>
        </p15:guide>
        <p15:guide id="3" orient="horz" pos="571">
          <p15:clr>
            <a:srgbClr val="F26B43"/>
          </p15:clr>
        </p15:guide>
        <p15:guide id="4" orient="horz" pos="3911">
          <p15:clr>
            <a:srgbClr val="F26B43"/>
          </p15:clr>
        </p15:guide>
      </p15:sldGuideLst>
    </p:ext>
  </p:extLst>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p:cSld name="1_Title Only">
    <p:bg>
      <p:bgPr>
        <a:solidFill>
          <a:schemeClr val="accent2"/>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F4AD34F-3B47-47E2-A09C-FFEB949F6A10}"/>
              </a:ext>
            </a:extLst>
          </p:cNvPr>
          <p:cNvGraphicFramePr>
            <a:graphicFrameLocks noChangeAspect="1"/>
          </p:cNvGraphicFramePr>
          <p:nvPr>
            <p:custDataLst>
              <p:tags r:id="rId2"/>
            </p:custDataLst>
            <p:extLst>
              <p:ext uri="{D42A27DB-BD31-4B8C-83A1-F6EECF244321}">
                <p14:modId xmlns:p14="http://schemas.microsoft.com/office/powerpoint/2010/main" val="51925250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8612" name="think-cell Slide" r:id="rId5" imgW="395" imgH="394" progId="TCLayout.ActiveDocument.1">
                  <p:embed/>
                </p:oleObj>
              </mc:Choice>
              <mc:Fallback>
                <p:oleObj name="think-cell Slide" r:id="rId5" imgW="395" imgH="394" progId="TCLayout.ActiveDocument.1">
                  <p:embed/>
                  <p:pic>
                    <p:nvPicPr>
                      <p:cNvPr id="3" name="Object 2" hidden="1">
                        <a:extLst>
                          <a:ext uri="{FF2B5EF4-FFF2-40B4-BE49-F238E27FC236}">
                            <a16:creationId xmlns:a16="http://schemas.microsoft.com/office/drawing/2014/main" id="{EF4AD34F-3B47-47E2-A09C-FFEB949F6A10}"/>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endParaRPr lang="en-US" dirty="0"/>
          </a:p>
        </p:txBody>
      </p:sp>
      <p:sp>
        <p:nvSpPr>
          <p:cNvPr id="15" name="Slide Number"/>
          <p:cNvSpPr txBox="1">
            <a:spLocks/>
          </p:cNvSpPr>
          <p:nvPr/>
        </p:nvSpPr>
        <p:spPr>
          <a:xfrm>
            <a:off x="8564563" y="6508272"/>
            <a:ext cx="125034" cy="123111"/>
          </a:xfrm>
          <a:prstGeom prst="rect">
            <a:avLst/>
          </a:prstGeom>
        </p:spPr>
        <p:txBody>
          <a:bodyPr vert="horz" wrap="none" lIns="0" tIns="0" rIns="0" bIns="0" rtlCol="0" anchor="ctr">
            <a:spAutoFit/>
          </a:bodyPr>
          <a:lstStyle>
            <a:defPPr>
              <a:defRPr lang="en-US"/>
            </a:defPPr>
            <a:lvl1pPr>
              <a:defRPr sz="1000" baseline="0">
                <a:latin typeface="+mn-lt"/>
              </a:defRPr>
            </a:lvl1pPr>
          </a:lstStyle>
          <a:p>
            <a:fld id="{42C328C1-A84F-4A39-A664-DBA00541A8C6}" type="slidenum">
              <a:rPr lang="en-US" sz="800" baseline="0" smtClean="0">
                <a:solidFill>
                  <a:srgbClr val="FFFFFF"/>
                </a:solidFill>
                <a:latin typeface="+mn-lt"/>
              </a:rPr>
              <a:pPr/>
              <a:t>‹#›</a:t>
            </a:fld>
            <a:endParaRPr lang="en-US" sz="800" baseline="0" dirty="0">
              <a:solidFill>
                <a:srgbClr val="FFFFFF"/>
              </a:solidFill>
              <a:latin typeface="+mn-lt"/>
            </a:endParaRPr>
          </a:p>
        </p:txBody>
      </p:sp>
      <p:sp>
        <p:nvSpPr>
          <p:cNvPr id="16" name="SlideLogoText"/>
          <p:cNvSpPr>
            <a:spLocks noChangeArrowheads="1"/>
          </p:cNvSpPr>
          <p:nvPr>
            <p:custDataLst>
              <p:tags r:id="rId3"/>
            </p:custDataLst>
          </p:nvPr>
        </p:nvSpPr>
        <p:spPr bwMode="auto">
          <a:xfrm>
            <a:off x="7450817" y="6508272"/>
            <a:ext cx="1013098"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algn="r" defTabSz="895350"/>
            <a:r>
              <a:rPr lang="en-US" sz="800" baseline="0" dirty="0">
                <a:solidFill>
                  <a:srgbClr val="FFFFFF"/>
                </a:solidFill>
                <a:latin typeface="+mn-lt"/>
              </a:rPr>
              <a:t>McKinsey &amp; Company</a:t>
            </a:r>
          </a:p>
        </p:txBody>
      </p:sp>
      <p:sp>
        <p:nvSpPr>
          <p:cNvPr id="5" name="doc id" hidden="1"/>
          <p:cNvSpPr txBox="1">
            <a:spLocks noChangeArrowheads="1"/>
          </p:cNvSpPr>
          <p:nvPr/>
        </p:nvSpPr>
        <p:spPr bwMode="white">
          <a:xfrm>
            <a:off x="8104473" y="36513"/>
            <a:ext cx="634716" cy="115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hangingPunct="1">
              <a:defRPr/>
            </a:pPr>
            <a:endParaRPr lang="en-US" sz="800" baseline="0" dirty="0">
              <a:solidFill>
                <a:schemeClr val="accent1"/>
              </a:solidFill>
              <a:latin typeface="+mn-lt"/>
              <a:ea typeface="+mn-ea"/>
            </a:endParaRPr>
          </a:p>
        </p:txBody>
      </p:sp>
    </p:spTree>
    <p:extLst>
      <p:ext uri="{BB962C8B-B14F-4D97-AF65-F5344CB8AC3E}">
        <p14:creationId xmlns:p14="http://schemas.microsoft.com/office/powerpoint/2010/main" val="2240992312"/>
      </p:ext>
    </p:extLst>
  </p:cSld>
  <p:clrMapOvr>
    <a:masterClrMapping/>
  </p:clrMapOvr>
  <p:extLst mod="1">
    <p:ext uri="{DCECCB84-F9BA-43D5-87BE-67443E8EF086}">
      <p15:sldGuideLst xmlns:p15="http://schemas.microsoft.com/office/powerpoint/2012/main">
        <p15:guide id="1" pos="3978">
          <p15:clr>
            <a:srgbClr val="000000"/>
          </p15:clr>
        </p15:guide>
        <p15:guide id="2" orient="horz" pos="570">
          <p15:clr>
            <a:srgbClr val="000000"/>
          </p15:clr>
        </p15:guide>
        <p15:guide id="3" orient="horz" pos="3912">
          <p15:clr>
            <a:srgbClr val="000000"/>
          </p15:clr>
        </p15:guide>
        <p15:guide id="4" pos="72">
          <p15:clr>
            <a:srgbClr val="000000"/>
          </p15:clr>
        </p15:guide>
      </p15:sldGuideLst>
    </p:ext>
  </p:extLst>
</p:sldLayout>
</file>

<file path=ppt/slideLayouts/slideLayout187.xml><?xml version="1.0" encoding="utf-8"?>
<p:sldLayout xmlns:a="http://schemas.openxmlformats.org/drawingml/2006/main" xmlns:r="http://schemas.openxmlformats.org/officeDocument/2006/relationships" xmlns:p="http://schemas.openxmlformats.org/presentationml/2006/main" type="titleOnly">
  <p:cSld name="2_Title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ECD524A-1569-4253-8CD8-48D288AD883C}"/>
              </a:ext>
            </a:extLst>
          </p:cNvPr>
          <p:cNvGraphicFramePr>
            <a:graphicFrameLocks noChangeAspect="1"/>
          </p:cNvGraphicFramePr>
          <p:nvPr>
            <p:custDataLst>
              <p:tags r:id="rId2"/>
            </p:custDataLst>
            <p:extLst>
              <p:ext uri="{D42A27DB-BD31-4B8C-83A1-F6EECF244321}">
                <p14:modId xmlns:p14="http://schemas.microsoft.com/office/powerpoint/2010/main" val="50055815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9636" name="think-cell Slide" r:id="rId4" imgW="395" imgH="394" progId="TCLayout.ActiveDocument.1">
                  <p:embed/>
                </p:oleObj>
              </mc:Choice>
              <mc:Fallback>
                <p:oleObj name="think-cell Slide" r:id="rId4" imgW="395" imgH="394" progId="TCLayout.ActiveDocument.1">
                  <p:embed/>
                  <p:pic>
                    <p:nvPicPr>
                      <p:cNvPr id="3" name="Object 2" hidden="1">
                        <a:extLst>
                          <a:ext uri="{FF2B5EF4-FFF2-40B4-BE49-F238E27FC236}">
                            <a16:creationId xmlns:a16="http://schemas.microsoft.com/office/drawing/2014/main" id="{5ECD524A-1569-4253-8CD8-48D288AD883C}"/>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213966289"/>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pic>
        <p:nvPicPr>
          <p:cNvPr id="2" name="background"/>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0" y="198"/>
            <a:ext cx="8961438" cy="6721079"/>
          </a:xfrm>
          <a:prstGeom prst="rect">
            <a:avLst/>
          </a:prstGeom>
        </p:spPr>
      </p:pic>
      <p:sp>
        <p:nvSpPr>
          <p:cNvPr id="28" name="TitleRectangle"/>
          <p:cNvSpPr txBox="1">
            <a:spLocks/>
          </p:cNvSpPr>
          <p:nvPr/>
        </p:nvSpPr>
        <p:spPr>
          <a:xfrm>
            <a:off x="2084388" y="0"/>
            <a:ext cx="6875462" cy="3575976"/>
          </a:xfrm>
          <a:prstGeom prst="rect">
            <a:avLst/>
          </a:prstGeom>
          <a:solidFill>
            <a:srgbClr val="002960">
              <a:alpha val="92000"/>
            </a:srgbClr>
          </a:solidFill>
        </p:spPr>
        <p:txBody>
          <a:bodyPr vert="horz" wrap="square" lIns="216000" tIns="1440000" rIns="216000" bIns="108000" rtlCol="0">
            <a:noAutofit/>
          </a:bodyPr>
          <a:lstStyle>
            <a:lvl1pPr marL="0" indent="0" algn="l" defTabSz="914400" rtl="0" eaLnBrk="1" latinLnBrk="0" hangingPunct="1">
              <a:spcBef>
                <a:spcPct val="20000"/>
              </a:spcBef>
              <a:spcAft>
                <a:spcPts val="6000"/>
              </a:spcAft>
              <a:buFont typeface="Arial" pitchFamily="34" charset="0"/>
              <a:buNone/>
              <a:defRPr sz="3200" kern="1200">
                <a:solidFill>
                  <a:schemeClr val="accent1"/>
                </a:solidFill>
                <a:latin typeface="+mn-lt"/>
                <a:ea typeface="+mn-ea"/>
                <a:cs typeface="+mn-cs"/>
              </a:defRPr>
            </a:lvl1pPr>
            <a:lvl2pPr marL="0" indent="0" algn="l" defTabSz="914400" rtl="0" eaLnBrk="1" latinLnBrk="0" hangingPunct="1">
              <a:spcBef>
                <a:spcPct val="20000"/>
              </a:spcBef>
              <a:buFont typeface="Wingdings" charset="2"/>
              <a:buNone/>
              <a:defRPr sz="1400" kern="1200">
                <a:solidFill>
                  <a:schemeClr val="tx1">
                    <a:lumMod val="50000"/>
                    <a:lumOff val="50000"/>
                  </a:schemeClr>
                </a:solidFill>
                <a:latin typeface="+mn-lt"/>
                <a:ea typeface="+mn-ea"/>
                <a:cs typeface="+mn-cs"/>
              </a:defRPr>
            </a:lvl2pPr>
            <a:lvl3pPr marL="1143000" indent="-228600" algn="l" defTabSz="914400" rtl="0" eaLnBrk="1" latinLnBrk="0" hangingPunct="1">
              <a:spcBef>
                <a:spcPct val="20000"/>
              </a:spcBef>
              <a:buFont typeface="Lucida Grande"/>
              <a:buChar char="–"/>
              <a:defRPr sz="16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fontAlgn="auto">
              <a:defRPr/>
            </a:pPr>
            <a:r>
              <a:rPr lang="en-US" baseline="0" dirty="0">
                <a:solidFill>
                  <a:srgbClr val="00ADEF"/>
                </a:solidFill>
                <a:latin typeface="+mn-lt"/>
              </a:rPr>
              <a:t>
              </a:t>
            </a:r>
            <a:br>
              <a:rPr lang="en-US" baseline="0" dirty="0">
                <a:solidFill>
                  <a:srgbClr val="00ADEF"/>
                </a:solidFill>
                <a:latin typeface="+mn-lt"/>
              </a:rPr>
            </a:br>
            <a:endParaRPr lang="en-US" baseline="0" dirty="0">
              <a:solidFill>
                <a:srgbClr val="00ADEF"/>
              </a:solidFill>
              <a:latin typeface="+mn-lt"/>
            </a:endParaRPr>
          </a:p>
        </p:txBody>
      </p:sp>
      <p:graphicFrame>
        <p:nvGraphicFramePr>
          <p:cNvPr id="3" name="Object 2"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1684"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Working Draft Text" hidden="1"/>
          <p:cNvSpPr txBox="1">
            <a:spLocks noChangeArrowheads="1"/>
          </p:cNvSpPr>
          <p:nvPr/>
        </p:nvSpPr>
        <p:spPr bwMode="black">
          <a:xfrm>
            <a:off x="5992719" y="6287538"/>
            <a:ext cx="2790000"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800" b="1" baseline="0" dirty="0">
                <a:solidFill>
                  <a:srgbClr val="FFFFFF"/>
                </a:solidFill>
                <a:latin typeface="+mn-lt"/>
              </a:rPr>
              <a:t>WORKING DRAFT</a:t>
            </a:r>
          </a:p>
        </p:txBody>
      </p:sp>
      <p:sp>
        <p:nvSpPr>
          <p:cNvPr id="6" name="Working Draft" hidden="1"/>
          <p:cNvSpPr txBox="1">
            <a:spLocks noChangeArrowheads="1"/>
          </p:cNvSpPr>
          <p:nvPr/>
        </p:nvSpPr>
        <p:spPr bwMode="black">
          <a:xfrm>
            <a:off x="5992718" y="6410648"/>
            <a:ext cx="2968719"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800" baseline="0">
                <a:solidFill>
                  <a:srgbClr val="FFFFFF"/>
                </a:solidFill>
                <a:latin typeface="+mn-lt"/>
              </a:rPr>
              <a:t>Last Modified 21/05/2018 17:44 India Standard Time</a:t>
            </a:r>
            <a:endParaRPr lang="en-US" sz="800" baseline="0" dirty="0">
              <a:solidFill>
                <a:srgbClr val="FFFFFF"/>
              </a:solidFill>
              <a:latin typeface="+mn-lt"/>
            </a:endParaRPr>
          </a:p>
        </p:txBody>
      </p:sp>
      <p:sp>
        <p:nvSpPr>
          <p:cNvPr id="7" name="Printed" hidden="1"/>
          <p:cNvSpPr txBox="1">
            <a:spLocks noChangeArrowheads="1"/>
          </p:cNvSpPr>
          <p:nvPr/>
        </p:nvSpPr>
        <p:spPr bwMode="black">
          <a:xfrm>
            <a:off x="5992719" y="6533759"/>
            <a:ext cx="2790000"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800" baseline="0" dirty="0">
                <a:solidFill>
                  <a:srgbClr val="FFFFFF"/>
                </a:solidFill>
                <a:latin typeface="+mn-lt"/>
              </a:rPr>
              <a:t>Printed</a:t>
            </a:r>
          </a:p>
        </p:txBody>
      </p:sp>
      <p:sp>
        <p:nvSpPr>
          <p:cNvPr id="13314" name="Title"/>
          <p:cNvSpPr>
            <a:spLocks noGrp="1" noChangeArrowheads="1"/>
          </p:cNvSpPr>
          <p:nvPr>
            <p:ph type="ctrTitle"/>
          </p:nvPr>
        </p:nvSpPr>
        <p:spPr>
          <a:xfrm>
            <a:off x="2268266" y="1434419"/>
            <a:ext cx="6231663" cy="492443"/>
          </a:xfrm>
          <a:prstGeom prst="rect">
            <a:avLst/>
          </a:prstGeom>
        </p:spPr>
        <p:txBody>
          <a:bodyPr>
            <a:spAutoFit/>
          </a:bodyPr>
          <a:lstStyle>
            <a:lvl1pPr>
              <a:defRPr sz="3200" b="0" baseline="0">
                <a:solidFill>
                  <a:schemeClr val="accent2"/>
                </a:solidFill>
                <a:latin typeface="+mj-lt"/>
                <a:ea typeface="+mj-ea"/>
              </a:defRPr>
            </a:lvl1pPr>
          </a:lstStyle>
          <a:p>
            <a:pPr lvl="0" latinLnBrk="0"/>
            <a:r>
              <a:rPr lang="en-US" noProof="0"/>
              <a:t>Click to edit Master title style</a:t>
            </a:r>
            <a:endParaRPr lang="en-US" noProof="0" dirty="0"/>
          </a:p>
        </p:txBody>
      </p:sp>
      <p:sp>
        <p:nvSpPr>
          <p:cNvPr id="13315" name="Subtitle"/>
          <p:cNvSpPr>
            <a:spLocks noGrp="1" noChangeArrowheads="1"/>
          </p:cNvSpPr>
          <p:nvPr>
            <p:ph type="subTitle" idx="1"/>
          </p:nvPr>
        </p:nvSpPr>
        <p:spPr>
          <a:xfrm>
            <a:off x="2268266" y="2819401"/>
            <a:ext cx="6231663" cy="215444"/>
          </a:xfrm>
          <a:prstGeom prst="rect">
            <a:avLst/>
          </a:prstGeom>
        </p:spPr>
        <p:txBody>
          <a:bodyPr wrap="square">
            <a:spAutoFit/>
          </a:bodyPr>
          <a:lstStyle>
            <a:lvl1pPr>
              <a:defRPr sz="1400" cap="all" baseline="0">
                <a:solidFill>
                  <a:schemeClr val="bg1"/>
                </a:solidFill>
                <a:latin typeface="+mn-lt"/>
                <a:ea typeface="+mn-ea"/>
              </a:defRPr>
            </a:lvl1pPr>
          </a:lstStyle>
          <a:p>
            <a:pPr lvl="0" latinLnBrk="0"/>
            <a:r>
              <a:rPr lang="en-US" noProof="0"/>
              <a:t>Click to edit Master subtitle style</a:t>
            </a:r>
            <a:endParaRPr lang="en-US" noProof="0" dirty="0"/>
          </a:p>
        </p:txBody>
      </p:sp>
      <p:sp>
        <p:nvSpPr>
          <p:cNvPr id="57" name="Document type" hidden="1"/>
          <p:cNvSpPr txBox="1">
            <a:spLocks noChangeArrowheads="1"/>
          </p:cNvSpPr>
          <p:nvPr/>
        </p:nvSpPr>
        <p:spPr bwMode="gray">
          <a:xfrm>
            <a:off x="2268266" y="3227411"/>
            <a:ext cx="6231663"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00" baseline="0" dirty="0">
                <a:solidFill>
                  <a:schemeClr val="bg1"/>
                </a:solidFill>
                <a:latin typeface="+mn-lt"/>
              </a:rPr>
              <a:t>Document type | Date</a:t>
            </a:r>
          </a:p>
        </p:txBody>
      </p:sp>
      <p:sp>
        <p:nvSpPr>
          <p:cNvPr id="5" name="doc id" hidden="1"/>
          <p:cNvSpPr txBox="1">
            <a:spLocks noChangeArrowheads="1"/>
          </p:cNvSpPr>
          <p:nvPr/>
        </p:nvSpPr>
        <p:spPr bwMode="white">
          <a:xfrm>
            <a:off x="8443913" y="36513"/>
            <a:ext cx="295275" cy="1222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hangingPunct="1">
              <a:defRPr/>
            </a:pPr>
            <a:endParaRPr lang="en-US" sz="800" baseline="0" dirty="0">
              <a:solidFill>
                <a:srgbClr val="FFFFFF"/>
              </a:solidFill>
              <a:latin typeface="+mn-lt"/>
            </a:endParaRPr>
          </a:p>
        </p:txBody>
      </p:sp>
      <p:sp>
        <p:nvSpPr>
          <p:cNvPr id="43" name="LogoImage"/>
          <p:cNvSpPr>
            <a:spLocks noEditPoints="1"/>
          </p:cNvSpPr>
          <p:nvPr/>
        </p:nvSpPr>
        <p:spPr bwMode="white">
          <a:xfrm>
            <a:off x="2269098" y="182925"/>
            <a:ext cx="2176978" cy="238073"/>
          </a:xfrm>
          <a:custGeom>
            <a:avLst/>
            <a:gdLst>
              <a:gd name="T0" fmla="*/ 504 w 5516"/>
              <a:gd name="T1" fmla="*/ 26 h 606"/>
              <a:gd name="T2" fmla="*/ 18 w 5516"/>
              <a:gd name="T3" fmla="*/ 22 h 606"/>
              <a:gd name="T4" fmla="*/ 140 w 5516"/>
              <a:gd name="T5" fmla="*/ 436 h 606"/>
              <a:gd name="T6" fmla="*/ 408 w 5516"/>
              <a:gd name="T7" fmla="*/ 372 h 606"/>
              <a:gd name="T8" fmla="*/ 696 w 5516"/>
              <a:gd name="T9" fmla="*/ 422 h 606"/>
              <a:gd name="T10" fmla="*/ 768 w 5516"/>
              <a:gd name="T11" fmla="*/ 196 h 606"/>
              <a:gd name="T12" fmla="*/ 1272 w 5516"/>
              <a:gd name="T13" fmla="*/ 26 h 606"/>
              <a:gd name="T14" fmla="*/ 1302 w 5516"/>
              <a:gd name="T15" fmla="*/ 338 h 606"/>
              <a:gd name="T16" fmla="*/ 1202 w 5516"/>
              <a:gd name="T17" fmla="*/ 436 h 606"/>
              <a:gd name="T18" fmla="*/ 1030 w 5516"/>
              <a:gd name="T19" fmla="*/ 10 h 606"/>
              <a:gd name="T20" fmla="*/ 960 w 5516"/>
              <a:gd name="T21" fmla="*/ 22 h 606"/>
              <a:gd name="T22" fmla="*/ 804 w 5516"/>
              <a:gd name="T23" fmla="*/ 434 h 606"/>
              <a:gd name="T24" fmla="*/ 930 w 5516"/>
              <a:gd name="T25" fmla="*/ 246 h 606"/>
              <a:gd name="T26" fmla="*/ 1658 w 5516"/>
              <a:gd name="T27" fmla="*/ 342 h 606"/>
              <a:gd name="T28" fmla="*/ 1368 w 5516"/>
              <a:gd name="T29" fmla="*/ 188 h 606"/>
              <a:gd name="T30" fmla="*/ 1514 w 5516"/>
              <a:gd name="T31" fmla="*/ 436 h 606"/>
              <a:gd name="T32" fmla="*/ 1564 w 5516"/>
              <a:gd name="T33" fmla="*/ 434 h 606"/>
              <a:gd name="T34" fmla="*/ 1904 w 5516"/>
              <a:gd name="T35" fmla="*/ 184 h 606"/>
              <a:gd name="T36" fmla="*/ 1728 w 5516"/>
              <a:gd name="T37" fmla="*/ 366 h 606"/>
              <a:gd name="T38" fmla="*/ 2102 w 5516"/>
              <a:gd name="T39" fmla="*/ 192 h 606"/>
              <a:gd name="T40" fmla="*/ 1982 w 5516"/>
              <a:gd name="T41" fmla="*/ 320 h 606"/>
              <a:gd name="T42" fmla="*/ 2478 w 5516"/>
              <a:gd name="T43" fmla="*/ 242 h 606"/>
              <a:gd name="T44" fmla="*/ 2406 w 5516"/>
              <a:gd name="T45" fmla="*/ 390 h 606"/>
              <a:gd name="T46" fmla="*/ 2234 w 5516"/>
              <a:gd name="T47" fmla="*/ 192 h 606"/>
              <a:gd name="T48" fmla="*/ 2478 w 5516"/>
              <a:gd name="T49" fmla="*/ 242 h 606"/>
              <a:gd name="T50" fmla="*/ 2928 w 5516"/>
              <a:gd name="T51" fmla="*/ 448 h 606"/>
              <a:gd name="T52" fmla="*/ 2958 w 5516"/>
              <a:gd name="T53" fmla="*/ 230 h 606"/>
              <a:gd name="T54" fmla="*/ 2716 w 5516"/>
              <a:gd name="T55" fmla="*/ 54 h 606"/>
              <a:gd name="T56" fmla="*/ 2714 w 5516"/>
              <a:gd name="T57" fmla="*/ 36 h 606"/>
              <a:gd name="T58" fmla="*/ 2928 w 5516"/>
              <a:gd name="T59" fmla="*/ 448 h 606"/>
              <a:gd name="T60" fmla="*/ 3388 w 5516"/>
              <a:gd name="T61" fmla="*/ 4 h 606"/>
              <a:gd name="T62" fmla="*/ 3396 w 5516"/>
              <a:gd name="T63" fmla="*/ 366 h 606"/>
              <a:gd name="T64" fmla="*/ 3580 w 5516"/>
              <a:gd name="T65" fmla="*/ 190 h 606"/>
              <a:gd name="T66" fmla="*/ 3502 w 5516"/>
              <a:gd name="T67" fmla="*/ 432 h 606"/>
              <a:gd name="T68" fmla="*/ 4232 w 5516"/>
              <a:gd name="T69" fmla="*/ 348 h 606"/>
              <a:gd name="T70" fmla="*/ 3858 w 5516"/>
              <a:gd name="T71" fmla="*/ 176 h 606"/>
              <a:gd name="T72" fmla="*/ 3758 w 5516"/>
              <a:gd name="T73" fmla="*/ 446 h 606"/>
              <a:gd name="T74" fmla="*/ 3990 w 5516"/>
              <a:gd name="T75" fmla="*/ 282 h 606"/>
              <a:gd name="T76" fmla="*/ 4042 w 5516"/>
              <a:gd name="T77" fmla="*/ 342 h 606"/>
              <a:gd name="T78" fmla="*/ 4134 w 5516"/>
              <a:gd name="T79" fmla="*/ 448 h 606"/>
              <a:gd name="T80" fmla="*/ 4454 w 5516"/>
              <a:gd name="T81" fmla="*/ 202 h 606"/>
              <a:gd name="T82" fmla="*/ 4284 w 5516"/>
              <a:gd name="T83" fmla="*/ 174 h 606"/>
              <a:gd name="T84" fmla="*/ 4432 w 5516"/>
              <a:gd name="T85" fmla="*/ 588 h 606"/>
              <a:gd name="T86" fmla="*/ 4792 w 5516"/>
              <a:gd name="T87" fmla="*/ 382 h 606"/>
              <a:gd name="T88" fmla="*/ 5192 w 5516"/>
              <a:gd name="T89" fmla="*/ 340 h 606"/>
              <a:gd name="T90" fmla="*/ 4902 w 5516"/>
              <a:gd name="T91" fmla="*/ 186 h 606"/>
              <a:gd name="T92" fmla="*/ 4850 w 5516"/>
              <a:gd name="T93" fmla="*/ 274 h 606"/>
              <a:gd name="T94" fmla="*/ 4742 w 5516"/>
              <a:gd name="T95" fmla="*/ 194 h 606"/>
              <a:gd name="T96" fmla="*/ 4794 w 5516"/>
              <a:gd name="T97" fmla="*/ 418 h 606"/>
              <a:gd name="T98" fmla="*/ 5004 w 5516"/>
              <a:gd name="T99" fmla="*/ 338 h 606"/>
              <a:gd name="T100" fmla="*/ 5098 w 5516"/>
              <a:gd name="T101" fmla="*/ 446 h 606"/>
              <a:gd name="T102" fmla="*/ 5418 w 5516"/>
              <a:gd name="T103" fmla="*/ 192 h 606"/>
              <a:gd name="T104" fmla="*/ 5348 w 5516"/>
              <a:gd name="T105" fmla="*/ 180 h 606"/>
              <a:gd name="T106" fmla="*/ 5254 w 5516"/>
              <a:gd name="T107" fmla="*/ 606 h 6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516" h="606">
                <a:moveTo>
                  <a:pt x="366" y="448"/>
                </a:moveTo>
                <a:cubicBezTo>
                  <a:pt x="524" y="448"/>
                  <a:pt x="524" y="448"/>
                  <a:pt x="524" y="448"/>
                </a:cubicBezTo>
                <a:cubicBezTo>
                  <a:pt x="524" y="436"/>
                  <a:pt x="524" y="436"/>
                  <a:pt x="524" y="436"/>
                </a:cubicBezTo>
                <a:cubicBezTo>
                  <a:pt x="486" y="432"/>
                  <a:pt x="470" y="414"/>
                  <a:pt x="468" y="362"/>
                </a:cubicBezTo>
                <a:cubicBezTo>
                  <a:pt x="454" y="86"/>
                  <a:pt x="454" y="86"/>
                  <a:pt x="454" y="86"/>
                </a:cubicBezTo>
                <a:cubicBezTo>
                  <a:pt x="452" y="46"/>
                  <a:pt x="470" y="30"/>
                  <a:pt x="504" y="26"/>
                </a:cubicBezTo>
                <a:cubicBezTo>
                  <a:pt x="504" y="12"/>
                  <a:pt x="504" y="12"/>
                  <a:pt x="504" y="12"/>
                </a:cubicBezTo>
                <a:cubicBezTo>
                  <a:pt x="394" y="12"/>
                  <a:pt x="394" y="12"/>
                  <a:pt x="394" y="12"/>
                </a:cubicBezTo>
                <a:cubicBezTo>
                  <a:pt x="264" y="350"/>
                  <a:pt x="264" y="350"/>
                  <a:pt x="264" y="350"/>
                </a:cubicBezTo>
                <a:cubicBezTo>
                  <a:pt x="132" y="10"/>
                  <a:pt x="132" y="10"/>
                  <a:pt x="132" y="10"/>
                </a:cubicBezTo>
                <a:cubicBezTo>
                  <a:pt x="18" y="10"/>
                  <a:pt x="18" y="10"/>
                  <a:pt x="18" y="10"/>
                </a:cubicBezTo>
                <a:cubicBezTo>
                  <a:pt x="18" y="22"/>
                  <a:pt x="18" y="22"/>
                  <a:pt x="18" y="22"/>
                </a:cubicBezTo>
                <a:cubicBezTo>
                  <a:pt x="40" y="26"/>
                  <a:pt x="74" y="32"/>
                  <a:pt x="72" y="84"/>
                </a:cubicBezTo>
                <a:cubicBezTo>
                  <a:pt x="58" y="352"/>
                  <a:pt x="58" y="352"/>
                  <a:pt x="58" y="352"/>
                </a:cubicBezTo>
                <a:cubicBezTo>
                  <a:pt x="54" y="410"/>
                  <a:pt x="38" y="430"/>
                  <a:pt x="0" y="436"/>
                </a:cubicBezTo>
                <a:cubicBezTo>
                  <a:pt x="0" y="448"/>
                  <a:pt x="0" y="448"/>
                  <a:pt x="0" y="448"/>
                </a:cubicBezTo>
                <a:cubicBezTo>
                  <a:pt x="140" y="448"/>
                  <a:pt x="140" y="448"/>
                  <a:pt x="140" y="448"/>
                </a:cubicBezTo>
                <a:cubicBezTo>
                  <a:pt x="140" y="436"/>
                  <a:pt x="140" y="436"/>
                  <a:pt x="140" y="436"/>
                </a:cubicBezTo>
                <a:cubicBezTo>
                  <a:pt x="98" y="428"/>
                  <a:pt x="84" y="414"/>
                  <a:pt x="88" y="356"/>
                </a:cubicBezTo>
                <a:cubicBezTo>
                  <a:pt x="100" y="86"/>
                  <a:pt x="100" y="86"/>
                  <a:pt x="100" y="86"/>
                </a:cubicBezTo>
                <a:cubicBezTo>
                  <a:pt x="240" y="444"/>
                  <a:pt x="240" y="444"/>
                  <a:pt x="240" y="444"/>
                </a:cubicBezTo>
                <a:cubicBezTo>
                  <a:pt x="258" y="444"/>
                  <a:pt x="258" y="444"/>
                  <a:pt x="258" y="444"/>
                </a:cubicBezTo>
                <a:cubicBezTo>
                  <a:pt x="396" y="86"/>
                  <a:pt x="396" y="86"/>
                  <a:pt x="396" y="86"/>
                </a:cubicBezTo>
                <a:cubicBezTo>
                  <a:pt x="408" y="372"/>
                  <a:pt x="408" y="372"/>
                  <a:pt x="408" y="372"/>
                </a:cubicBezTo>
                <a:cubicBezTo>
                  <a:pt x="410" y="416"/>
                  <a:pt x="398" y="430"/>
                  <a:pt x="366" y="434"/>
                </a:cubicBezTo>
                <a:lnTo>
                  <a:pt x="366" y="448"/>
                </a:lnTo>
                <a:close/>
                <a:moveTo>
                  <a:pt x="670" y="456"/>
                </a:moveTo>
                <a:cubicBezTo>
                  <a:pt x="708" y="456"/>
                  <a:pt x="756" y="440"/>
                  <a:pt x="782" y="412"/>
                </a:cubicBezTo>
                <a:cubicBezTo>
                  <a:pt x="776" y="400"/>
                  <a:pt x="776" y="400"/>
                  <a:pt x="776" y="400"/>
                </a:cubicBezTo>
                <a:cubicBezTo>
                  <a:pt x="750" y="416"/>
                  <a:pt x="722" y="422"/>
                  <a:pt x="696" y="422"/>
                </a:cubicBezTo>
                <a:cubicBezTo>
                  <a:pt x="620" y="422"/>
                  <a:pt x="592" y="358"/>
                  <a:pt x="592" y="290"/>
                </a:cubicBezTo>
                <a:cubicBezTo>
                  <a:pt x="592" y="258"/>
                  <a:pt x="600" y="236"/>
                  <a:pt x="614" y="222"/>
                </a:cubicBezTo>
                <a:cubicBezTo>
                  <a:pt x="626" y="210"/>
                  <a:pt x="646" y="204"/>
                  <a:pt x="664" y="204"/>
                </a:cubicBezTo>
                <a:cubicBezTo>
                  <a:pt x="690" y="204"/>
                  <a:pt x="722" y="214"/>
                  <a:pt x="744" y="244"/>
                </a:cubicBezTo>
                <a:cubicBezTo>
                  <a:pt x="750" y="244"/>
                  <a:pt x="750" y="244"/>
                  <a:pt x="750" y="244"/>
                </a:cubicBezTo>
                <a:cubicBezTo>
                  <a:pt x="758" y="234"/>
                  <a:pt x="766" y="212"/>
                  <a:pt x="768" y="196"/>
                </a:cubicBezTo>
                <a:cubicBezTo>
                  <a:pt x="748" y="180"/>
                  <a:pt x="720" y="172"/>
                  <a:pt x="686" y="172"/>
                </a:cubicBezTo>
                <a:cubicBezTo>
                  <a:pt x="604" y="172"/>
                  <a:pt x="544" y="246"/>
                  <a:pt x="544" y="326"/>
                </a:cubicBezTo>
                <a:cubicBezTo>
                  <a:pt x="540" y="390"/>
                  <a:pt x="576" y="456"/>
                  <a:pt x="670" y="456"/>
                </a:cubicBezTo>
                <a:moveTo>
                  <a:pt x="1272" y="98"/>
                </a:moveTo>
                <a:cubicBezTo>
                  <a:pt x="1292" y="98"/>
                  <a:pt x="1308" y="82"/>
                  <a:pt x="1308" y="62"/>
                </a:cubicBezTo>
                <a:cubicBezTo>
                  <a:pt x="1308" y="42"/>
                  <a:pt x="1292" y="26"/>
                  <a:pt x="1272" y="26"/>
                </a:cubicBezTo>
                <a:cubicBezTo>
                  <a:pt x="1252" y="26"/>
                  <a:pt x="1238" y="42"/>
                  <a:pt x="1238" y="62"/>
                </a:cubicBezTo>
                <a:cubicBezTo>
                  <a:pt x="1238" y="82"/>
                  <a:pt x="1252" y="98"/>
                  <a:pt x="1272" y="98"/>
                </a:cubicBezTo>
                <a:moveTo>
                  <a:pt x="1202" y="448"/>
                </a:moveTo>
                <a:cubicBezTo>
                  <a:pt x="1346" y="448"/>
                  <a:pt x="1346" y="448"/>
                  <a:pt x="1346" y="448"/>
                </a:cubicBezTo>
                <a:cubicBezTo>
                  <a:pt x="1346" y="436"/>
                  <a:pt x="1346" y="436"/>
                  <a:pt x="1346" y="436"/>
                </a:cubicBezTo>
                <a:cubicBezTo>
                  <a:pt x="1304" y="432"/>
                  <a:pt x="1302" y="434"/>
                  <a:pt x="1302" y="338"/>
                </a:cubicBezTo>
                <a:cubicBezTo>
                  <a:pt x="1302" y="176"/>
                  <a:pt x="1302" y="176"/>
                  <a:pt x="1302" y="176"/>
                </a:cubicBezTo>
                <a:cubicBezTo>
                  <a:pt x="1200" y="176"/>
                  <a:pt x="1200" y="176"/>
                  <a:pt x="1200" y="176"/>
                </a:cubicBezTo>
                <a:cubicBezTo>
                  <a:pt x="1200" y="188"/>
                  <a:pt x="1200" y="188"/>
                  <a:pt x="1200" y="188"/>
                </a:cubicBezTo>
                <a:cubicBezTo>
                  <a:pt x="1244" y="190"/>
                  <a:pt x="1250" y="192"/>
                  <a:pt x="1250" y="268"/>
                </a:cubicBezTo>
                <a:cubicBezTo>
                  <a:pt x="1250" y="336"/>
                  <a:pt x="1250" y="336"/>
                  <a:pt x="1250" y="336"/>
                </a:cubicBezTo>
                <a:cubicBezTo>
                  <a:pt x="1250" y="432"/>
                  <a:pt x="1248" y="432"/>
                  <a:pt x="1202" y="436"/>
                </a:cubicBezTo>
                <a:cubicBezTo>
                  <a:pt x="1178" y="434"/>
                  <a:pt x="1154" y="426"/>
                  <a:pt x="1076" y="338"/>
                </a:cubicBezTo>
                <a:cubicBezTo>
                  <a:pt x="1046" y="302"/>
                  <a:pt x="996" y="244"/>
                  <a:pt x="968" y="206"/>
                </a:cubicBezTo>
                <a:cubicBezTo>
                  <a:pt x="1062" y="102"/>
                  <a:pt x="1062" y="102"/>
                  <a:pt x="1062" y="102"/>
                </a:cubicBezTo>
                <a:cubicBezTo>
                  <a:pt x="1108" y="52"/>
                  <a:pt x="1132" y="26"/>
                  <a:pt x="1176" y="24"/>
                </a:cubicBezTo>
                <a:cubicBezTo>
                  <a:pt x="1176" y="10"/>
                  <a:pt x="1176" y="10"/>
                  <a:pt x="1176" y="10"/>
                </a:cubicBezTo>
                <a:cubicBezTo>
                  <a:pt x="1030" y="10"/>
                  <a:pt x="1030" y="10"/>
                  <a:pt x="1030" y="10"/>
                </a:cubicBezTo>
                <a:cubicBezTo>
                  <a:pt x="1030" y="22"/>
                  <a:pt x="1030" y="22"/>
                  <a:pt x="1030" y="22"/>
                </a:cubicBezTo>
                <a:cubicBezTo>
                  <a:pt x="1050" y="26"/>
                  <a:pt x="1056" y="32"/>
                  <a:pt x="1056" y="46"/>
                </a:cubicBezTo>
                <a:cubicBezTo>
                  <a:pt x="1056" y="56"/>
                  <a:pt x="1054" y="72"/>
                  <a:pt x="1026" y="102"/>
                </a:cubicBezTo>
                <a:cubicBezTo>
                  <a:pt x="910" y="230"/>
                  <a:pt x="910" y="230"/>
                  <a:pt x="910" y="230"/>
                </a:cubicBezTo>
                <a:cubicBezTo>
                  <a:pt x="910" y="148"/>
                  <a:pt x="910" y="148"/>
                  <a:pt x="910" y="148"/>
                </a:cubicBezTo>
                <a:cubicBezTo>
                  <a:pt x="910" y="36"/>
                  <a:pt x="916" y="28"/>
                  <a:pt x="960" y="22"/>
                </a:cubicBezTo>
                <a:cubicBezTo>
                  <a:pt x="960" y="8"/>
                  <a:pt x="960" y="8"/>
                  <a:pt x="960" y="8"/>
                </a:cubicBezTo>
                <a:cubicBezTo>
                  <a:pt x="804" y="8"/>
                  <a:pt x="804" y="8"/>
                  <a:pt x="804" y="8"/>
                </a:cubicBezTo>
                <a:cubicBezTo>
                  <a:pt x="804" y="22"/>
                  <a:pt x="804" y="22"/>
                  <a:pt x="804" y="22"/>
                </a:cubicBezTo>
                <a:cubicBezTo>
                  <a:pt x="852" y="26"/>
                  <a:pt x="854" y="36"/>
                  <a:pt x="854" y="148"/>
                </a:cubicBezTo>
                <a:cubicBezTo>
                  <a:pt x="854" y="300"/>
                  <a:pt x="854" y="300"/>
                  <a:pt x="854" y="300"/>
                </a:cubicBezTo>
                <a:cubicBezTo>
                  <a:pt x="854" y="422"/>
                  <a:pt x="850" y="430"/>
                  <a:pt x="804" y="434"/>
                </a:cubicBezTo>
                <a:cubicBezTo>
                  <a:pt x="804" y="446"/>
                  <a:pt x="804" y="446"/>
                  <a:pt x="804" y="446"/>
                </a:cubicBezTo>
                <a:cubicBezTo>
                  <a:pt x="960" y="446"/>
                  <a:pt x="960" y="446"/>
                  <a:pt x="960" y="446"/>
                </a:cubicBezTo>
                <a:cubicBezTo>
                  <a:pt x="960" y="434"/>
                  <a:pt x="960" y="434"/>
                  <a:pt x="960" y="434"/>
                </a:cubicBezTo>
                <a:cubicBezTo>
                  <a:pt x="910" y="428"/>
                  <a:pt x="910" y="424"/>
                  <a:pt x="910" y="292"/>
                </a:cubicBezTo>
                <a:cubicBezTo>
                  <a:pt x="910" y="268"/>
                  <a:pt x="910" y="268"/>
                  <a:pt x="910" y="268"/>
                </a:cubicBezTo>
                <a:cubicBezTo>
                  <a:pt x="930" y="246"/>
                  <a:pt x="930" y="246"/>
                  <a:pt x="930" y="246"/>
                </a:cubicBezTo>
                <a:cubicBezTo>
                  <a:pt x="982" y="310"/>
                  <a:pt x="1038" y="380"/>
                  <a:pt x="1098" y="448"/>
                </a:cubicBezTo>
                <a:cubicBezTo>
                  <a:pt x="1202" y="448"/>
                  <a:pt x="1202" y="448"/>
                  <a:pt x="1202" y="448"/>
                </a:cubicBezTo>
                <a:close/>
                <a:moveTo>
                  <a:pt x="1564" y="448"/>
                </a:moveTo>
                <a:cubicBezTo>
                  <a:pt x="1706" y="448"/>
                  <a:pt x="1706" y="448"/>
                  <a:pt x="1706" y="448"/>
                </a:cubicBezTo>
                <a:cubicBezTo>
                  <a:pt x="1706" y="436"/>
                  <a:pt x="1706" y="436"/>
                  <a:pt x="1706" y="436"/>
                </a:cubicBezTo>
                <a:cubicBezTo>
                  <a:pt x="1658" y="434"/>
                  <a:pt x="1658" y="432"/>
                  <a:pt x="1658" y="342"/>
                </a:cubicBezTo>
                <a:cubicBezTo>
                  <a:pt x="1658" y="280"/>
                  <a:pt x="1658" y="280"/>
                  <a:pt x="1658" y="280"/>
                </a:cubicBezTo>
                <a:cubicBezTo>
                  <a:pt x="1658" y="198"/>
                  <a:pt x="1612" y="172"/>
                  <a:pt x="1570" y="172"/>
                </a:cubicBezTo>
                <a:cubicBezTo>
                  <a:pt x="1534" y="172"/>
                  <a:pt x="1498" y="188"/>
                  <a:pt x="1470" y="224"/>
                </a:cubicBezTo>
                <a:cubicBezTo>
                  <a:pt x="1470" y="176"/>
                  <a:pt x="1470" y="176"/>
                  <a:pt x="1470" y="176"/>
                </a:cubicBezTo>
                <a:cubicBezTo>
                  <a:pt x="1368" y="176"/>
                  <a:pt x="1368" y="176"/>
                  <a:pt x="1368" y="176"/>
                </a:cubicBezTo>
                <a:cubicBezTo>
                  <a:pt x="1368" y="188"/>
                  <a:pt x="1368" y="188"/>
                  <a:pt x="1368" y="188"/>
                </a:cubicBezTo>
                <a:cubicBezTo>
                  <a:pt x="1412" y="190"/>
                  <a:pt x="1418" y="192"/>
                  <a:pt x="1418" y="268"/>
                </a:cubicBezTo>
                <a:cubicBezTo>
                  <a:pt x="1418" y="336"/>
                  <a:pt x="1418" y="336"/>
                  <a:pt x="1418" y="336"/>
                </a:cubicBezTo>
                <a:cubicBezTo>
                  <a:pt x="1418" y="434"/>
                  <a:pt x="1418" y="434"/>
                  <a:pt x="1370" y="436"/>
                </a:cubicBezTo>
                <a:cubicBezTo>
                  <a:pt x="1370" y="448"/>
                  <a:pt x="1370" y="448"/>
                  <a:pt x="1370" y="448"/>
                </a:cubicBezTo>
                <a:cubicBezTo>
                  <a:pt x="1514" y="448"/>
                  <a:pt x="1514" y="448"/>
                  <a:pt x="1514" y="448"/>
                </a:cubicBezTo>
                <a:cubicBezTo>
                  <a:pt x="1514" y="436"/>
                  <a:pt x="1514" y="436"/>
                  <a:pt x="1514" y="436"/>
                </a:cubicBezTo>
                <a:cubicBezTo>
                  <a:pt x="1472" y="432"/>
                  <a:pt x="1470" y="434"/>
                  <a:pt x="1470" y="338"/>
                </a:cubicBezTo>
                <a:cubicBezTo>
                  <a:pt x="1470" y="262"/>
                  <a:pt x="1470" y="262"/>
                  <a:pt x="1470" y="262"/>
                </a:cubicBezTo>
                <a:cubicBezTo>
                  <a:pt x="1470" y="236"/>
                  <a:pt x="1504" y="206"/>
                  <a:pt x="1546" y="206"/>
                </a:cubicBezTo>
                <a:cubicBezTo>
                  <a:pt x="1580" y="206"/>
                  <a:pt x="1606" y="220"/>
                  <a:pt x="1606" y="286"/>
                </a:cubicBezTo>
                <a:cubicBezTo>
                  <a:pt x="1606" y="340"/>
                  <a:pt x="1606" y="340"/>
                  <a:pt x="1606" y="340"/>
                </a:cubicBezTo>
                <a:cubicBezTo>
                  <a:pt x="1606" y="432"/>
                  <a:pt x="1602" y="432"/>
                  <a:pt x="1564" y="434"/>
                </a:cubicBezTo>
                <a:lnTo>
                  <a:pt x="1564" y="448"/>
                </a:lnTo>
                <a:close/>
                <a:moveTo>
                  <a:pt x="1776" y="222"/>
                </a:moveTo>
                <a:cubicBezTo>
                  <a:pt x="1776" y="200"/>
                  <a:pt x="1796" y="188"/>
                  <a:pt x="1822" y="188"/>
                </a:cubicBezTo>
                <a:cubicBezTo>
                  <a:pt x="1874" y="188"/>
                  <a:pt x="1896" y="236"/>
                  <a:pt x="1900" y="252"/>
                </a:cubicBezTo>
                <a:cubicBezTo>
                  <a:pt x="1912" y="252"/>
                  <a:pt x="1912" y="252"/>
                  <a:pt x="1912" y="252"/>
                </a:cubicBezTo>
                <a:cubicBezTo>
                  <a:pt x="1912" y="212"/>
                  <a:pt x="1908" y="188"/>
                  <a:pt x="1904" y="184"/>
                </a:cubicBezTo>
                <a:cubicBezTo>
                  <a:pt x="1900" y="180"/>
                  <a:pt x="1862" y="170"/>
                  <a:pt x="1824" y="170"/>
                </a:cubicBezTo>
                <a:cubicBezTo>
                  <a:pt x="1768" y="170"/>
                  <a:pt x="1734" y="206"/>
                  <a:pt x="1734" y="248"/>
                </a:cubicBezTo>
                <a:cubicBezTo>
                  <a:pt x="1734" y="340"/>
                  <a:pt x="1890" y="322"/>
                  <a:pt x="1890" y="396"/>
                </a:cubicBezTo>
                <a:cubicBezTo>
                  <a:pt x="1890" y="422"/>
                  <a:pt x="1866" y="436"/>
                  <a:pt x="1826" y="436"/>
                </a:cubicBezTo>
                <a:cubicBezTo>
                  <a:pt x="1788" y="436"/>
                  <a:pt x="1754" y="416"/>
                  <a:pt x="1744" y="366"/>
                </a:cubicBezTo>
                <a:cubicBezTo>
                  <a:pt x="1728" y="366"/>
                  <a:pt x="1728" y="366"/>
                  <a:pt x="1728" y="366"/>
                </a:cubicBezTo>
                <a:cubicBezTo>
                  <a:pt x="1728" y="386"/>
                  <a:pt x="1732" y="422"/>
                  <a:pt x="1734" y="428"/>
                </a:cubicBezTo>
                <a:cubicBezTo>
                  <a:pt x="1744" y="446"/>
                  <a:pt x="1788" y="454"/>
                  <a:pt x="1824" y="454"/>
                </a:cubicBezTo>
                <a:cubicBezTo>
                  <a:pt x="1888" y="454"/>
                  <a:pt x="1928" y="416"/>
                  <a:pt x="1928" y="372"/>
                </a:cubicBezTo>
                <a:cubicBezTo>
                  <a:pt x="1932" y="270"/>
                  <a:pt x="1776" y="286"/>
                  <a:pt x="1776" y="222"/>
                </a:cubicBezTo>
                <a:moveTo>
                  <a:pt x="2030" y="270"/>
                </a:moveTo>
                <a:cubicBezTo>
                  <a:pt x="2034" y="220"/>
                  <a:pt x="2058" y="192"/>
                  <a:pt x="2102" y="192"/>
                </a:cubicBezTo>
                <a:cubicBezTo>
                  <a:pt x="2144" y="192"/>
                  <a:pt x="2170" y="220"/>
                  <a:pt x="2172" y="270"/>
                </a:cubicBezTo>
                <a:lnTo>
                  <a:pt x="2030" y="270"/>
                </a:lnTo>
                <a:close/>
                <a:moveTo>
                  <a:pt x="2030" y="290"/>
                </a:moveTo>
                <a:cubicBezTo>
                  <a:pt x="2222" y="290"/>
                  <a:pt x="2222" y="290"/>
                  <a:pt x="2222" y="290"/>
                </a:cubicBezTo>
                <a:cubicBezTo>
                  <a:pt x="2226" y="228"/>
                  <a:pt x="2192" y="168"/>
                  <a:pt x="2114" y="168"/>
                </a:cubicBezTo>
                <a:cubicBezTo>
                  <a:pt x="2034" y="168"/>
                  <a:pt x="1982" y="232"/>
                  <a:pt x="1982" y="320"/>
                </a:cubicBezTo>
                <a:cubicBezTo>
                  <a:pt x="1982" y="388"/>
                  <a:pt x="2018" y="456"/>
                  <a:pt x="2112" y="456"/>
                </a:cubicBezTo>
                <a:cubicBezTo>
                  <a:pt x="2150" y="456"/>
                  <a:pt x="2198" y="440"/>
                  <a:pt x="2224" y="412"/>
                </a:cubicBezTo>
                <a:cubicBezTo>
                  <a:pt x="2218" y="400"/>
                  <a:pt x="2218" y="400"/>
                  <a:pt x="2218" y="400"/>
                </a:cubicBezTo>
                <a:cubicBezTo>
                  <a:pt x="2192" y="416"/>
                  <a:pt x="2164" y="422"/>
                  <a:pt x="2138" y="422"/>
                </a:cubicBezTo>
                <a:cubicBezTo>
                  <a:pt x="2058" y="420"/>
                  <a:pt x="2028" y="352"/>
                  <a:pt x="2030" y="290"/>
                </a:cubicBezTo>
                <a:moveTo>
                  <a:pt x="2478" y="242"/>
                </a:moveTo>
                <a:cubicBezTo>
                  <a:pt x="2490" y="206"/>
                  <a:pt x="2510" y="192"/>
                  <a:pt x="2528" y="192"/>
                </a:cubicBezTo>
                <a:cubicBezTo>
                  <a:pt x="2528" y="180"/>
                  <a:pt x="2528" y="180"/>
                  <a:pt x="2528" y="180"/>
                </a:cubicBezTo>
                <a:cubicBezTo>
                  <a:pt x="2430" y="180"/>
                  <a:pt x="2430" y="180"/>
                  <a:pt x="2430" y="180"/>
                </a:cubicBezTo>
                <a:cubicBezTo>
                  <a:pt x="2430" y="192"/>
                  <a:pt x="2430" y="192"/>
                  <a:pt x="2430" y="192"/>
                </a:cubicBezTo>
                <a:cubicBezTo>
                  <a:pt x="2454" y="194"/>
                  <a:pt x="2466" y="206"/>
                  <a:pt x="2458" y="234"/>
                </a:cubicBezTo>
                <a:cubicBezTo>
                  <a:pt x="2406" y="390"/>
                  <a:pt x="2406" y="390"/>
                  <a:pt x="2406" y="390"/>
                </a:cubicBezTo>
                <a:cubicBezTo>
                  <a:pt x="2354" y="270"/>
                  <a:pt x="2354" y="270"/>
                  <a:pt x="2354" y="270"/>
                </a:cubicBezTo>
                <a:cubicBezTo>
                  <a:pt x="2340" y="238"/>
                  <a:pt x="2334" y="224"/>
                  <a:pt x="2334" y="212"/>
                </a:cubicBezTo>
                <a:cubicBezTo>
                  <a:pt x="2334" y="202"/>
                  <a:pt x="2340" y="196"/>
                  <a:pt x="2360" y="192"/>
                </a:cubicBezTo>
                <a:cubicBezTo>
                  <a:pt x="2360" y="180"/>
                  <a:pt x="2360" y="180"/>
                  <a:pt x="2360" y="180"/>
                </a:cubicBezTo>
                <a:cubicBezTo>
                  <a:pt x="2234" y="180"/>
                  <a:pt x="2234" y="180"/>
                  <a:pt x="2234" y="180"/>
                </a:cubicBezTo>
                <a:cubicBezTo>
                  <a:pt x="2234" y="192"/>
                  <a:pt x="2234" y="192"/>
                  <a:pt x="2234" y="192"/>
                </a:cubicBezTo>
                <a:cubicBezTo>
                  <a:pt x="2266" y="194"/>
                  <a:pt x="2268" y="198"/>
                  <a:pt x="2310" y="292"/>
                </a:cubicBezTo>
                <a:cubicBezTo>
                  <a:pt x="2382" y="450"/>
                  <a:pt x="2382" y="450"/>
                  <a:pt x="2382" y="450"/>
                </a:cubicBezTo>
                <a:cubicBezTo>
                  <a:pt x="2358" y="512"/>
                  <a:pt x="2320" y="546"/>
                  <a:pt x="2242" y="564"/>
                </a:cubicBezTo>
                <a:cubicBezTo>
                  <a:pt x="2246" y="576"/>
                  <a:pt x="2260" y="600"/>
                  <a:pt x="2268" y="606"/>
                </a:cubicBezTo>
                <a:cubicBezTo>
                  <a:pt x="2370" y="564"/>
                  <a:pt x="2390" y="498"/>
                  <a:pt x="2426" y="396"/>
                </a:cubicBezTo>
                <a:lnTo>
                  <a:pt x="2478" y="242"/>
                </a:lnTo>
                <a:close/>
                <a:moveTo>
                  <a:pt x="2844" y="394"/>
                </a:moveTo>
                <a:cubicBezTo>
                  <a:pt x="2822" y="412"/>
                  <a:pt x="2782" y="416"/>
                  <a:pt x="2750" y="416"/>
                </a:cubicBezTo>
                <a:cubicBezTo>
                  <a:pt x="2670" y="416"/>
                  <a:pt x="2606" y="360"/>
                  <a:pt x="2606" y="284"/>
                </a:cubicBezTo>
                <a:cubicBezTo>
                  <a:pt x="2606" y="236"/>
                  <a:pt x="2626" y="206"/>
                  <a:pt x="2658" y="198"/>
                </a:cubicBezTo>
                <a:cubicBezTo>
                  <a:pt x="2698" y="266"/>
                  <a:pt x="2770" y="338"/>
                  <a:pt x="2844" y="394"/>
                </a:cubicBezTo>
                <a:moveTo>
                  <a:pt x="2928" y="448"/>
                </a:moveTo>
                <a:cubicBezTo>
                  <a:pt x="3022" y="448"/>
                  <a:pt x="3022" y="448"/>
                  <a:pt x="3022" y="448"/>
                </a:cubicBezTo>
                <a:cubicBezTo>
                  <a:pt x="3022" y="436"/>
                  <a:pt x="3022" y="436"/>
                  <a:pt x="3022" y="436"/>
                </a:cubicBezTo>
                <a:cubicBezTo>
                  <a:pt x="2992" y="432"/>
                  <a:pt x="2946" y="408"/>
                  <a:pt x="2896" y="372"/>
                </a:cubicBezTo>
                <a:cubicBezTo>
                  <a:pt x="2914" y="342"/>
                  <a:pt x="2918" y="300"/>
                  <a:pt x="2922" y="270"/>
                </a:cubicBezTo>
                <a:cubicBezTo>
                  <a:pt x="2926" y="244"/>
                  <a:pt x="2946" y="244"/>
                  <a:pt x="2958" y="242"/>
                </a:cubicBezTo>
                <a:cubicBezTo>
                  <a:pt x="2958" y="230"/>
                  <a:pt x="2958" y="230"/>
                  <a:pt x="2958" y="230"/>
                </a:cubicBezTo>
                <a:cubicBezTo>
                  <a:pt x="2834" y="230"/>
                  <a:pt x="2834" y="230"/>
                  <a:pt x="2834" y="230"/>
                </a:cubicBezTo>
                <a:cubicBezTo>
                  <a:pt x="2834" y="242"/>
                  <a:pt x="2834" y="242"/>
                  <a:pt x="2834" y="242"/>
                </a:cubicBezTo>
                <a:cubicBezTo>
                  <a:pt x="2864" y="246"/>
                  <a:pt x="2892" y="250"/>
                  <a:pt x="2892" y="294"/>
                </a:cubicBezTo>
                <a:cubicBezTo>
                  <a:pt x="2892" y="318"/>
                  <a:pt x="2888" y="342"/>
                  <a:pt x="2878" y="358"/>
                </a:cubicBezTo>
                <a:cubicBezTo>
                  <a:pt x="2770" y="274"/>
                  <a:pt x="2670" y="156"/>
                  <a:pt x="2670" y="96"/>
                </a:cubicBezTo>
                <a:cubicBezTo>
                  <a:pt x="2670" y="66"/>
                  <a:pt x="2688" y="54"/>
                  <a:pt x="2716" y="54"/>
                </a:cubicBezTo>
                <a:cubicBezTo>
                  <a:pt x="2752" y="54"/>
                  <a:pt x="2784" y="78"/>
                  <a:pt x="2800" y="124"/>
                </a:cubicBezTo>
                <a:cubicBezTo>
                  <a:pt x="2812" y="124"/>
                  <a:pt x="2812" y="124"/>
                  <a:pt x="2812" y="124"/>
                </a:cubicBezTo>
                <a:cubicBezTo>
                  <a:pt x="2810" y="42"/>
                  <a:pt x="2810" y="42"/>
                  <a:pt x="2810" y="42"/>
                </a:cubicBezTo>
                <a:cubicBezTo>
                  <a:pt x="2798" y="42"/>
                  <a:pt x="2798" y="42"/>
                  <a:pt x="2798" y="42"/>
                </a:cubicBezTo>
                <a:cubicBezTo>
                  <a:pt x="2798" y="48"/>
                  <a:pt x="2792" y="52"/>
                  <a:pt x="2788" y="52"/>
                </a:cubicBezTo>
                <a:cubicBezTo>
                  <a:pt x="2772" y="52"/>
                  <a:pt x="2752" y="36"/>
                  <a:pt x="2714" y="36"/>
                </a:cubicBezTo>
                <a:cubicBezTo>
                  <a:pt x="2672" y="36"/>
                  <a:pt x="2630" y="62"/>
                  <a:pt x="2630" y="118"/>
                </a:cubicBezTo>
                <a:cubicBezTo>
                  <a:pt x="2630" y="140"/>
                  <a:pt x="2636" y="160"/>
                  <a:pt x="2648" y="182"/>
                </a:cubicBezTo>
                <a:cubicBezTo>
                  <a:pt x="2592" y="200"/>
                  <a:pt x="2562" y="248"/>
                  <a:pt x="2562" y="304"/>
                </a:cubicBezTo>
                <a:cubicBezTo>
                  <a:pt x="2562" y="406"/>
                  <a:pt x="2640" y="460"/>
                  <a:pt x="2726" y="460"/>
                </a:cubicBezTo>
                <a:cubicBezTo>
                  <a:pt x="2780" y="460"/>
                  <a:pt x="2824" y="444"/>
                  <a:pt x="2862" y="410"/>
                </a:cubicBezTo>
                <a:cubicBezTo>
                  <a:pt x="2888" y="424"/>
                  <a:pt x="2912" y="442"/>
                  <a:pt x="2928" y="448"/>
                </a:cubicBezTo>
                <a:moveTo>
                  <a:pt x="3094" y="212"/>
                </a:moveTo>
                <a:cubicBezTo>
                  <a:pt x="3094" y="88"/>
                  <a:pt x="3154" y="20"/>
                  <a:pt x="3252" y="20"/>
                </a:cubicBezTo>
                <a:cubicBezTo>
                  <a:pt x="3328" y="20"/>
                  <a:pt x="3372" y="58"/>
                  <a:pt x="3392" y="134"/>
                </a:cubicBezTo>
                <a:cubicBezTo>
                  <a:pt x="3404" y="134"/>
                  <a:pt x="3404" y="134"/>
                  <a:pt x="3404" y="134"/>
                </a:cubicBezTo>
                <a:cubicBezTo>
                  <a:pt x="3400" y="4"/>
                  <a:pt x="3400" y="4"/>
                  <a:pt x="3400" y="4"/>
                </a:cubicBezTo>
                <a:cubicBezTo>
                  <a:pt x="3388" y="4"/>
                  <a:pt x="3388" y="4"/>
                  <a:pt x="3388" y="4"/>
                </a:cubicBezTo>
                <a:cubicBezTo>
                  <a:pt x="3384" y="14"/>
                  <a:pt x="3376" y="18"/>
                  <a:pt x="3364" y="18"/>
                </a:cubicBezTo>
                <a:cubicBezTo>
                  <a:pt x="3338" y="18"/>
                  <a:pt x="3314" y="0"/>
                  <a:pt x="3248" y="0"/>
                </a:cubicBezTo>
                <a:cubicBezTo>
                  <a:pt x="3118" y="0"/>
                  <a:pt x="3030" y="102"/>
                  <a:pt x="3030" y="242"/>
                </a:cubicBezTo>
                <a:cubicBezTo>
                  <a:pt x="3030" y="376"/>
                  <a:pt x="3110" y="460"/>
                  <a:pt x="3238" y="460"/>
                </a:cubicBezTo>
                <a:cubicBezTo>
                  <a:pt x="3320" y="460"/>
                  <a:pt x="3384" y="420"/>
                  <a:pt x="3408" y="380"/>
                </a:cubicBezTo>
                <a:cubicBezTo>
                  <a:pt x="3396" y="366"/>
                  <a:pt x="3396" y="366"/>
                  <a:pt x="3396" y="366"/>
                </a:cubicBezTo>
                <a:cubicBezTo>
                  <a:pt x="3370" y="402"/>
                  <a:pt x="3314" y="426"/>
                  <a:pt x="3256" y="426"/>
                </a:cubicBezTo>
                <a:cubicBezTo>
                  <a:pt x="3156" y="426"/>
                  <a:pt x="3094" y="340"/>
                  <a:pt x="3094" y="212"/>
                </a:cubicBezTo>
                <a:moveTo>
                  <a:pt x="3678" y="328"/>
                </a:moveTo>
                <a:cubicBezTo>
                  <a:pt x="3678" y="392"/>
                  <a:pt x="3650" y="430"/>
                  <a:pt x="3592" y="430"/>
                </a:cubicBezTo>
                <a:cubicBezTo>
                  <a:pt x="3542" y="430"/>
                  <a:pt x="3496" y="384"/>
                  <a:pt x="3496" y="292"/>
                </a:cubicBezTo>
                <a:cubicBezTo>
                  <a:pt x="3496" y="226"/>
                  <a:pt x="3528" y="190"/>
                  <a:pt x="3580" y="190"/>
                </a:cubicBezTo>
                <a:cubicBezTo>
                  <a:pt x="3628" y="192"/>
                  <a:pt x="3678" y="238"/>
                  <a:pt x="3678" y="328"/>
                </a:cubicBezTo>
                <a:moveTo>
                  <a:pt x="3732" y="312"/>
                </a:moveTo>
                <a:cubicBezTo>
                  <a:pt x="3732" y="260"/>
                  <a:pt x="3710" y="214"/>
                  <a:pt x="3672" y="190"/>
                </a:cubicBezTo>
                <a:cubicBezTo>
                  <a:pt x="3650" y="176"/>
                  <a:pt x="3620" y="168"/>
                  <a:pt x="3588" y="168"/>
                </a:cubicBezTo>
                <a:cubicBezTo>
                  <a:pt x="3502" y="168"/>
                  <a:pt x="3442" y="230"/>
                  <a:pt x="3442" y="310"/>
                </a:cubicBezTo>
                <a:cubicBezTo>
                  <a:pt x="3442" y="364"/>
                  <a:pt x="3464" y="408"/>
                  <a:pt x="3502" y="432"/>
                </a:cubicBezTo>
                <a:cubicBezTo>
                  <a:pt x="3524" y="446"/>
                  <a:pt x="3554" y="452"/>
                  <a:pt x="3586" y="452"/>
                </a:cubicBezTo>
                <a:cubicBezTo>
                  <a:pt x="3672" y="454"/>
                  <a:pt x="3732" y="394"/>
                  <a:pt x="3732" y="312"/>
                </a:cubicBezTo>
                <a:moveTo>
                  <a:pt x="4136" y="448"/>
                </a:moveTo>
                <a:cubicBezTo>
                  <a:pt x="4280" y="448"/>
                  <a:pt x="4280" y="448"/>
                  <a:pt x="4280" y="448"/>
                </a:cubicBezTo>
                <a:cubicBezTo>
                  <a:pt x="4280" y="436"/>
                  <a:pt x="4280" y="436"/>
                  <a:pt x="4280" y="436"/>
                </a:cubicBezTo>
                <a:cubicBezTo>
                  <a:pt x="4230" y="434"/>
                  <a:pt x="4232" y="426"/>
                  <a:pt x="4232" y="348"/>
                </a:cubicBezTo>
                <a:cubicBezTo>
                  <a:pt x="4232" y="276"/>
                  <a:pt x="4232" y="276"/>
                  <a:pt x="4232" y="276"/>
                </a:cubicBezTo>
                <a:cubicBezTo>
                  <a:pt x="4232" y="200"/>
                  <a:pt x="4190" y="172"/>
                  <a:pt x="4142" y="172"/>
                </a:cubicBezTo>
                <a:cubicBezTo>
                  <a:pt x="4098" y="172"/>
                  <a:pt x="4064" y="196"/>
                  <a:pt x="4038" y="232"/>
                </a:cubicBezTo>
                <a:cubicBezTo>
                  <a:pt x="4028" y="194"/>
                  <a:pt x="4000" y="172"/>
                  <a:pt x="3954" y="172"/>
                </a:cubicBezTo>
                <a:cubicBezTo>
                  <a:pt x="3916" y="172"/>
                  <a:pt x="3880" y="196"/>
                  <a:pt x="3858" y="224"/>
                </a:cubicBezTo>
                <a:cubicBezTo>
                  <a:pt x="3858" y="176"/>
                  <a:pt x="3858" y="176"/>
                  <a:pt x="3858" y="176"/>
                </a:cubicBezTo>
                <a:cubicBezTo>
                  <a:pt x="3756" y="176"/>
                  <a:pt x="3756" y="176"/>
                  <a:pt x="3756" y="176"/>
                </a:cubicBezTo>
                <a:cubicBezTo>
                  <a:pt x="3756" y="188"/>
                  <a:pt x="3756" y="188"/>
                  <a:pt x="3756" y="188"/>
                </a:cubicBezTo>
                <a:cubicBezTo>
                  <a:pt x="3800" y="190"/>
                  <a:pt x="3806" y="192"/>
                  <a:pt x="3806" y="268"/>
                </a:cubicBezTo>
                <a:cubicBezTo>
                  <a:pt x="3806" y="346"/>
                  <a:pt x="3806" y="346"/>
                  <a:pt x="3806" y="346"/>
                </a:cubicBezTo>
                <a:cubicBezTo>
                  <a:pt x="3806" y="434"/>
                  <a:pt x="3804" y="434"/>
                  <a:pt x="3758" y="434"/>
                </a:cubicBezTo>
                <a:cubicBezTo>
                  <a:pt x="3758" y="446"/>
                  <a:pt x="3758" y="446"/>
                  <a:pt x="3758" y="446"/>
                </a:cubicBezTo>
                <a:cubicBezTo>
                  <a:pt x="3902" y="446"/>
                  <a:pt x="3902" y="446"/>
                  <a:pt x="3902" y="446"/>
                </a:cubicBezTo>
                <a:cubicBezTo>
                  <a:pt x="3902" y="434"/>
                  <a:pt x="3902" y="434"/>
                  <a:pt x="3902" y="434"/>
                </a:cubicBezTo>
                <a:cubicBezTo>
                  <a:pt x="3862" y="430"/>
                  <a:pt x="3858" y="430"/>
                  <a:pt x="3858" y="342"/>
                </a:cubicBezTo>
                <a:cubicBezTo>
                  <a:pt x="3858" y="262"/>
                  <a:pt x="3858" y="262"/>
                  <a:pt x="3858" y="262"/>
                </a:cubicBezTo>
                <a:cubicBezTo>
                  <a:pt x="3858" y="234"/>
                  <a:pt x="3894" y="204"/>
                  <a:pt x="3932" y="204"/>
                </a:cubicBezTo>
                <a:cubicBezTo>
                  <a:pt x="3974" y="204"/>
                  <a:pt x="3990" y="226"/>
                  <a:pt x="3990" y="282"/>
                </a:cubicBezTo>
                <a:cubicBezTo>
                  <a:pt x="3990" y="338"/>
                  <a:pt x="3990" y="338"/>
                  <a:pt x="3990" y="338"/>
                </a:cubicBezTo>
                <a:cubicBezTo>
                  <a:pt x="3990" y="428"/>
                  <a:pt x="3988" y="432"/>
                  <a:pt x="3950" y="436"/>
                </a:cubicBezTo>
                <a:cubicBezTo>
                  <a:pt x="3950" y="448"/>
                  <a:pt x="3950" y="448"/>
                  <a:pt x="3950" y="448"/>
                </a:cubicBezTo>
                <a:cubicBezTo>
                  <a:pt x="4086" y="448"/>
                  <a:pt x="4086" y="448"/>
                  <a:pt x="4086" y="448"/>
                </a:cubicBezTo>
                <a:cubicBezTo>
                  <a:pt x="4086" y="436"/>
                  <a:pt x="4086" y="436"/>
                  <a:pt x="4086" y="436"/>
                </a:cubicBezTo>
                <a:cubicBezTo>
                  <a:pt x="4040" y="432"/>
                  <a:pt x="4042" y="428"/>
                  <a:pt x="4042" y="342"/>
                </a:cubicBezTo>
                <a:cubicBezTo>
                  <a:pt x="4042" y="264"/>
                  <a:pt x="4042" y="264"/>
                  <a:pt x="4042" y="264"/>
                </a:cubicBezTo>
                <a:cubicBezTo>
                  <a:pt x="4042" y="236"/>
                  <a:pt x="4078" y="206"/>
                  <a:pt x="4118" y="206"/>
                </a:cubicBezTo>
                <a:cubicBezTo>
                  <a:pt x="4152" y="206"/>
                  <a:pt x="4174" y="226"/>
                  <a:pt x="4174" y="284"/>
                </a:cubicBezTo>
                <a:cubicBezTo>
                  <a:pt x="4174" y="346"/>
                  <a:pt x="4174" y="346"/>
                  <a:pt x="4174" y="346"/>
                </a:cubicBezTo>
                <a:cubicBezTo>
                  <a:pt x="4174" y="428"/>
                  <a:pt x="4174" y="432"/>
                  <a:pt x="4134" y="436"/>
                </a:cubicBezTo>
                <a:cubicBezTo>
                  <a:pt x="4134" y="448"/>
                  <a:pt x="4134" y="448"/>
                  <a:pt x="4134" y="448"/>
                </a:cubicBezTo>
                <a:lnTo>
                  <a:pt x="4136" y="448"/>
                </a:lnTo>
                <a:close/>
                <a:moveTo>
                  <a:pt x="4546" y="316"/>
                </a:moveTo>
                <a:cubicBezTo>
                  <a:pt x="4546" y="388"/>
                  <a:pt x="4516" y="432"/>
                  <a:pt x="4460" y="432"/>
                </a:cubicBezTo>
                <a:cubicBezTo>
                  <a:pt x="4424" y="432"/>
                  <a:pt x="4384" y="412"/>
                  <a:pt x="4384" y="384"/>
                </a:cubicBezTo>
                <a:cubicBezTo>
                  <a:pt x="4384" y="248"/>
                  <a:pt x="4384" y="248"/>
                  <a:pt x="4384" y="248"/>
                </a:cubicBezTo>
                <a:cubicBezTo>
                  <a:pt x="4384" y="226"/>
                  <a:pt x="4416" y="202"/>
                  <a:pt x="4454" y="202"/>
                </a:cubicBezTo>
                <a:cubicBezTo>
                  <a:pt x="4510" y="206"/>
                  <a:pt x="4546" y="248"/>
                  <a:pt x="4546" y="316"/>
                </a:cubicBezTo>
                <a:moveTo>
                  <a:pt x="4600" y="310"/>
                </a:moveTo>
                <a:cubicBezTo>
                  <a:pt x="4600" y="230"/>
                  <a:pt x="4548" y="170"/>
                  <a:pt x="4478" y="170"/>
                </a:cubicBezTo>
                <a:cubicBezTo>
                  <a:pt x="4438" y="170"/>
                  <a:pt x="4406" y="188"/>
                  <a:pt x="4384" y="214"/>
                </a:cubicBezTo>
                <a:cubicBezTo>
                  <a:pt x="4384" y="174"/>
                  <a:pt x="4384" y="174"/>
                  <a:pt x="4384" y="174"/>
                </a:cubicBezTo>
                <a:cubicBezTo>
                  <a:pt x="4284" y="174"/>
                  <a:pt x="4284" y="174"/>
                  <a:pt x="4284" y="174"/>
                </a:cubicBezTo>
                <a:cubicBezTo>
                  <a:pt x="4284" y="186"/>
                  <a:pt x="4284" y="186"/>
                  <a:pt x="4284" y="186"/>
                </a:cubicBezTo>
                <a:cubicBezTo>
                  <a:pt x="4326" y="188"/>
                  <a:pt x="4332" y="190"/>
                  <a:pt x="4332" y="280"/>
                </a:cubicBezTo>
                <a:cubicBezTo>
                  <a:pt x="4332" y="466"/>
                  <a:pt x="4332" y="466"/>
                  <a:pt x="4332" y="466"/>
                </a:cubicBezTo>
                <a:cubicBezTo>
                  <a:pt x="4332" y="564"/>
                  <a:pt x="4334" y="570"/>
                  <a:pt x="4286" y="574"/>
                </a:cubicBezTo>
                <a:cubicBezTo>
                  <a:pt x="4286" y="588"/>
                  <a:pt x="4286" y="588"/>
                  <a:pt x="4286" y="588"/>
                </a:cubicBezTo>
                <a:cubicBezTo>
                  <a:pt x="4432" y="588"/>
                  <a:pt x="4432" y="588"/>
                  <a:pt x="4432" y="588"/>
                </a:cubicBezTo>
                <a:cubicBezTo>
                  <a:pt x="4432" y="574"/>
                  <a:pt x="4432" y="574"/>
                  <a:pt x="4432" y="574"/>
                </a:cubicBezTo>
                <a:cubicBezTo>
                  <a:pt x="4380" y="572"/>
                  <a:pt x="4384" y="564"/>
                  <a:pt x="4384" y="462"/>
                </a:cubicBezTo>
                <a:cubicBezTo>
                  <a:pt x="4384" y="424"/>
                  <a:pt x="4384" y="424"/>
                  <a:pt x="4384" y="424"/>
                </a:cubicBezTo>
                <a:cubicBezTo>
                  <a:pt x="4404" y="444"/>
                  <a:pt x="4436" y="454"/>
                  <a:pt x="4466" y="454"/>
                </a:cubicBezTo>
                <a:cubicBezTo>
                  <a:pt x="4548" y="454"/>
                  <a:pt x="4600" y="392"/>
                  <a:pt x="4600" y="310"/>
                </a:cubicBezTo>
                <a:moveTo>
                  <a:pt x="4792" y="382"/>
                </a:moveTo>
                <a:cubicBezTo>
                  <a:pt x="4792" y="404"/>
                  <a:pt x="4762" y="424"/>
                  <a:pt x="4736" y="424"/>
                </a:cubicBezTo>
                <a:cubicBezTo>
                  <a:pt x="4712" y="424"/>
                  <a:pt x="4694" y="410"/>
                  <a:pt x="4694" y="378"/>
                </a:cubicBezTo>
                <a:cubicBezTo>
                  <a:pt x="4694" y="322"/>
                  <a:pt x="4752" y="328"/>
                  <a:pt x="4792" y="306"/>
                </a:cubicBezTo>
                <a:cubicBezTo>
                  <a:pt x="4792" y="382"/>
                  <a:pt x="4792" y="382"/>
                  <a:pt x="4792" y="382"/>
                </a:cubicBezTo>
                <a:close/>
                <a:moveTo>
                  <a:pt x="5240" y="434"/>
                </a:moveTo>
                <a:cubicBezTo>
                  <a:pt x="5192" y="432"/>
                  <a:pt x="5192" y="430"/>
                  <a:pt x="5192" y="340"/>
                </a:cubicBezTo>
                <a:cubicBezTo>
                  <a:pt x="5192" y="278"/>
                  <a:pt x="5192" y="278"/>
                  <a:pt x="5192" y="278"/>
                </a:cubicBezTo>
                <a:cubicBezTo>
                  <a:pt x="5192" y="196"/>
                  <a:pt x="5146" y="170"/>
                  <a:pt x="5104" y="170"/>
                </a:cubicBezTo>
                <a:cubicBezTo>
                  <a:pt x="5068" y="170"/>
                  <a:pt x="5032" y="186"/>
                  <a:pt x="5004" y="222"/>
                </a:cubicBezTo>
                <a:cubicBezTo>
                  <a:pt x="5004" y="174"/>
                  <a:pt x="5004" y="174"/>
                  <a:pt x="5004" y="174"/>
                </a:cubicBezTo>
                <a:cubicBezTo>
                  <a:pt x="4902" y="174"/>
                  <a:pt x="4902" y="174"/>
                  <a:pt x="4902" y="174"/>
                </a:cubicBezTo>
                <a:cubicBezTo>
                  <a:pt x="4902" y="186"/>
                  <a:pt x="4902" y="186"/>
                  <a:pt x="4902" y="186"/>
                </a:cubicBezTo>
                <a:cubicBezTo>
                  <a:pt x="4946" y="188"/>
                  <a:pt x="4952" y="190"/>
                  <a:pt x="4952" y="266"/>
                </a:cubicBezTo>
                <a:cubicBezTo>
                  <a:pt x="4952" y="334"/>
                  <a:pt x="4952" y="334"/>
                  <a:pt x="4952" y="334"/>
                </a:cubicBezTo>
                <a:cubicBezTo>
                  <a:pt x="4952" y="430"/>
                  <a:pt x="4952" y="432"/>
                  <a:pt x="4904" y="434"/>
                </a:cubicBezTo>
                <a:cubicBezTo>
                  <a:pt x="4892" y="434"/>
                  <a:pt x="4892" y="434"/>
                  <a:pt x="4892" y="434"/>
                </a:cubicBezTo>
                <a:cubicBezTo>
                  <a:pt x="4854" y="434"/>
                  <a:pt x="4850" y="422"/>
                  <a:pt x="4850" y="366"/>
                </a:cubicBezTo>
                <a:cubicBezTo>
                  <a:pt x="4850" y="274"/>
                  <a:pt x="4850" y="274"/>
                  <a:pt x="4850" y="274"/>
                </a:cubicBezTo>
                <a:cubicBezTo>
                  <a:pt x="4850" y="256"/>
                  <a:pt x="4848" y="240"/>
                  <a:pt x="4844" y="228"/>
                </a:cubicBezTo>
                <a:cubicBezTo>
                  <a:pt x="4830" y="186"/>
                  <a:pt x="4796" y="170"/>
                  <a:pt x="4748" y="170"/>
                </a:cubicBezTo>
                <a:cubicBezTo>
                  <a:pt x="4718" y="170"/>
                  <a:pt x="4674" y="180"/>
                  <a:pt x="4650" y="202"/>
                </a:cubicBezTo>
                <a:cubicBezTo>
                  <a:pt x="4652" y="214"/>
                  <a:pt x="4664" y="240"/>
                  <a:pt x="4670" y="248"/>
                </a:cubicBezTo>
                <a:cubicBezTo>
                  <a:pt x="4676" y="246"/>
                  <a:pt x="4676" y="246"/>
                  <a:pt x="4676" y="246"/>
                </a:cubicBezTo>
                <a:cubicBezTo>
                  <a:pt x="4688" y="216"/>
                  <a:pt x="4708" y="194"/>
                  <a:pt x="4742" y="194"/>
                </a:cubicBezTo>
                <a:cubicBezTo>
                  <a:pt x="4778" y="194"/>
                  <a:pt x="4794" y="220"/>
                  <a:pt x="4794" y="250"/>
                </a:cubicBezTo>
                <a:cubicBezTo>
                  <a:pt x="4794" y="282"/>
                  <a:pt x="4794" y="282"/>
                  <a:pt x="4794" y="282"/>
                </a:cubicBezTo>
                <a:cubicBezTo>
                  <a:pt x="4794" y="302"/>
                  <a:pt x="4702" y="306"/>
                  <a:pt x="4664" y="338"/>
                </a:cubicBezTo>
                <a:cubicBezTo>
                  <a:pt x="4652" y="350"/>
                  <a:pt x="4642" y="364"/>
                  <a:pt x="4642" y="384"/>
                </a:cubicBezTo>
                <a:cubicBezTo>
                  <a:pt x="4642" y="426"/>
                  <a:pt x="4672" y="456"/>
                  <a:pt x="4716" y="456"/>
                </a:cubicBezTo>
                <a:cubicBezTo>
                  <a:pt x="4744" y="456"/>
                  <a:pt x="4768" y="446"/>
                  <a:pt x="4794" y="418"/>
                </a:cubicBezTo>
                <a:cubicBezTo>
                  <a:pt x="4798" y="438"/>
                  <a:pt x="4814" y="448"/>
                  <a:pt x="4842" y="448"/>
                </a:cubicBezTo>
                <a:cubicBezTo>
                  <a:pt x="4906" y="448"/>
                  <a:pt x="4906" y="448"/>
                  <a:pt x="4906" y="448"/>
                </a:cubicBezTo>
                <a:cubicBezTo>
                  <a:pt x="4906" y="448"/>
                  <a:pt x="4906" y="448"/>
                  <a:pt x="4906" y="448"/>
                </a:cubicBezTo>
                <a:cubicBezTo>
                  <a:pt x="5048" y="448"/>
                  <a:pt x="5048" y="448"/>
                  <a:pt x="5048" y="448"/>
                </a:cubicBezTo>
                <a:cubicBezTo>
                  <a:pt x="5048" y="436"/>
                  <a:pt x="5048" y="436"/>
                  <a:pt x="5048" y="436"/>
                </a:cubicBezTo>
                <a:cubicBezTo>
                  <a:pt x="5006" y="432"/>
                  <a:pt x="5004" y="434"/>
                  <a:pt x="5004" y="338"/>
                </a:cubicBezTo>
                <a:cubicBezTo>
                  <a:pt x="5004" y="262"/>
                  <a:pt x="5004" y="262"/>
                  <a:pt x="5004" y="262"/>
                </a:cubicBezTo>
                <a:cubicBezTo>
                  <a:pt x="5004" y="236"/>
                  <a:pt x="5038" y="206"/>
                  <a:pt x="5080" y="206"/>
                </a:cubicBezTo>
                <a:cubicBezTo>
                  <a:pt x="5114" y="206"/>
                  <a:pt x="5140" y="220"/>
                  <a:pt x="5140" y="286"/>
                </a:cubicBezTo>
                <a:cubicBezTo>
                  <a:pt x="5140" y="340"/>
                  <a:pt x="5140" y="340"/>
                  <a:pt x="5140" y="340"/>
                </a:cubicBezTo>
                <a:cubicBezTo>
                  <a:pt x="5140" y="432"/>
                  <a:pt x="5136" y="432"/>
                  <a:pt x="5098" y="434"/>
                </a:cubicBezTo>
                <a:cubicBezTo>
                  <a:pt x="5098" y="446"/>
                  <a:pt x="5098" y="446"/>
                  <a:pt x="5098" y="446"/>
                </a:cubicBezTo>
                <a:cubicBezTo>
                  <a:pt x="5240" y="446"/>
                  <a:pt x="5240" y="446"/>
                  <a:pt x="5240" y="446"/>
                </a:cubicBezTo>
                <a:lnTo>
                  <a:pt x="5240" y="434"/>
                </a:lnTo>
                <a:close/>
                <a:moveTo>
                  <a:pt x="5516" y="192"/>
                </a:moveTo>
                <a:cubicBezTo>
                  <a:pt x="5516" y="180"/>
                  <a:pt x="5516" y="180"/>
                  <a:pt x="5516" y="180"/>
                </a:cubicBezTo>
                <a:cubicBezTo>
                  <a:pt x="5418" y="180"/>
                  <a:pt x="5418" y="180"/>
                  <a:pt x="5418" y="180"/>
                </a:cubicBezTo>
                <a:cubicBezTo>
                  <a:pt x="5418" y="192"/>
                  <a:pt x="5418" y="192"/>
                  <a:pt x="5418" y="192"/>
                </a:cubicBezTo>
                <a:cubicBezTo>
                  <a:pt x="5442" y="194"/>
                  <a:pt x="5454" y="206"/>
                  <a:pt x="5446" y="234"/>
                </a:cubicBezTo>
                <a:cubicBezTo>
                  <a:pt x="5394" y="390"/>
                  <a:pt x="5394" y="390"/>
                  <a:pt x="5394" y="390"/>
                </a:cubicBezTo>
                <a:cubicBezTo>
                  <a:pt x="5342" y="270"/>
                  <a:pt x="5342" y="270"/>
                  <a:pt x="5342" y="270"/>
                </a:cubicBezTo>
                <a:cubicBezTo>
                  <a:pt x="5328" y="238"/>
                  <a:pt x="5322" y="224"/>
                  <a:pt x="5322" y="212"/>
                </a:cubicBezTo>
                <a:cubicBezTo>
                  <a:pt x="5322" y="202"/>
                  <a:pt x="5328" y="196"/>
                  <a:pt x="5348" y="192"/>
                </a:cubicBezTo>
                <a:cubicBezTo>
                  <a:pt x="5348" y="180"/>
                  <a:pt x="5348" y="180"/>
                  <a:pt x="5348" y="180"/>
                </a:cubicBezTo>
                <a:cubicBezTo>
                  <a:pt x="5220" y="180"/>
                  <a:pt x="5220" y="180"/>
                  <a:pt x="5220" y="180"/>
                </a:cubicBezTo>
                <a:cubicBezTo>
                  <a:pt x="5220" y="192"/>
                  <a:pt x="5220" y="192"/>
                  <a:pt x="5220" y="192"/>
                </a:cubicBezTo>
                <a:cubicBezTo>
                  <a:pt x="5252" y="194"/>
                  <a:pt x="5254" y="198"/>
                  <a:pt x="5296" y="292"/>
                </a:cubicBezTo>
                <a:cubicBezTo>
                  <a:pt x="5368" y="450"/>
                  <a:pt x="5368" y="450"/>
                  <a:pt x="5368" y="450"/>
                </a:cubicBezTo>
                <a:cubicBezTo>
                  <a:pt x="5344" y="512"/>
                  <a:pt x="5306" y="546"/>
                  <a:pt x="5228" y="564"/>
                </a:cubicBezTo>
                <a:cubicBezTo>
                  <a:pt x="5232" y="576"/>
                  <a:pt x="5246" y="600"/>
                  <a:pt x="5254" y="606"/>
                </a:cubicBezTo>
                <a:cubicBezTo>
                  <a:pt x="5356" y="564"/>
                  <a:pt x="5376" y="498"/>
                  <a:pt x="5412" y="396"/>
                </a:cubicBezTo>
                <a:cubicBezTo>
                  <a:pt x="5466" y="242"/>
                  <a:pt x="5466" y="242"/>
                  <a:pt x="5466" y="242"/>
                </a:cubicBezTo>
                <a:cubicBezTo>
                  <a:pt x="5478" y="206"/>
                  <a:pt x="5498" y="192"/>
                  <a:pt x="5516" y="192"/>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600" kern="1200">
                <a:solidFill>
                  <a:schemeClr val="tx1"/>
                </a:solidFill>
                <a:latin typeface="Arial" charset="0"/>
                <a:ea typeface="+mn-ea"/>
                <a:cs typeface="+mn-cs"/>
              </a:defRPr>
            </a:lvl1pPr>
            <a:lvl2pPr marL="457200" algn="l" rtl="0" fontAlgn="base">
              <a:spcBef>
                <a:spcPct val="0"/>
              </a:spcBef>
              <a:spcAft>
                <a:spcPct val="0"/>
              </a:spcAft>
              <a:defRPr sz="1600" kern="1200">
                <a:solidFill>
                  <a:schemeClr val="tx1"/>
                </a:solidFill>
                <a:latin typeface="Arial" charset="0"/>
                <a:ea typeface="+mn-ea"/>
                <a:cs typeface="+mn-cs"/>
              </a:defRPr>
            </a:lvl2pPr>
            <a:lvl3pPr marL="914400" algn="l" rtl="0" fontAlgn="base">
              <a:spcBef>
                <a:spcPct val="0"/>
              </a:spcBef>
              <a:spcAft>
                <a:spcPct val="0"/>
              </a:spcAft>
              <a:defRPr sz="1600" kern="1200">
                <a:solidFill>
                  <a:schemeClr val="tx1"/>
                </a:solidFill>
                <a:latin typeface="Arial" charset="0"/>
                <a:ea typeface="+mn-ea"/>
                <a:cs typeface="+mn-cs"/>
              </a:defRPr>
            </a:lvl3pPr>
            <a:lvl4pPr marL="1371600" algn="l" rtl="0" fontAlgn="base">
              <a:spcBef>
                <a:spcPct val="0"/>
              </a:spcBef>
              <a:spcAft>
                <a:spcPct val="0"/>
              </a:spcAft>
              <a:defRPr sz="1600" kern="1200">
                <a:solidFill>
                  <a:schemeClr val="tx1"/>
                </a:solidFill>
                <a:latin typeface="Arial" charset="0"/>
                <a:ea typeface="+mn-ea"/>
                <a:cs typeface="+mn-cs"/>
              </a:defRPr>
            </a:lvl4pPr>
            <a:lvl5pPr marL="1828800" algn="l" rtl="0" fontAlgn="base">
              <a:spcBef>
                <a:spcPct val="0"/>
              </a:spcBef>
              <a:spcAft>
                <a:spcPct val="0"/>
              </a:spcAft>
              <a:defRPr sz="1600" kern="1200">
                <a:solidFill>
                  <a:schemeClr val="tx1"/>
                </a:solidFill>
                <a:latin typeface="Arial" charset="0"/>
                <a:ea typeface="+mn-ea"/>
                <a:cs typeface="+mn-cs"/>
              </a:defRPr>
            </a:lvl5pPr>
            <a:lvl6pPr marL="2286000" algn="l" defTabSz="914400" rtl="0" eaLnBrk="1" latinLnBrk="0" hangingPunct="1">
              <a:defRPr sz="1600" kern="1200">
                <a:solidFill>
                  <a:schemeClr val="tx1"/>
                </a:solidFill>
                <a:latin typeface="Arial" charset="0"/>
                <a:ea typeface="+mn-ea"/>
                <a:cs typeface="+mn-cs"/>
              </a:defRPr>
            </a:lvl6pPr>
            <a:lvl7pPr marL="2743200" algn="l" defTabSz="914400" rtl="0" eaLnBrk="1" latinLnBrk="0" hangingPunct="1">
              <a:defRPr sz="1600" kern="1200">
                <a:solidFill>
                  <a:schemeClr val="tx1"/>
                </a:solidFill>
                <a:latin typeface="Arial" charset="0"/>
                <a:ea typeface="+mn-ea"/>
                <a:cs typeface="+mn-cs"/>
              </a:defRPr>
            </a:lvl7pPr>
            <a:lvl8pPr marL="3200400" algn="l" defTabSz="914400" rtl="0" eaLnBrk="1" latinLnBrk="0" hangingPunct="1">
              <a:defRPr sz="1600" kern="1200">
                <a:solidFill>
                  <a:schemeClr val="tx1"/>
                </a:solidFill>
                <a:latin typeface="Arial" charset="0"/>
                <a:ea typeface="+mn-ea"/>
                <a:cs typeface="+mn-cs"/>
              </a:defRPr>
            </a:lvl8pPr>
            <a:lvl9pPr marL="3657600" algn="l" defTabSz="914400" rtl="0" eaLnBrk="1" latinLnBrk="0" hangingPunct="1">
              <a:defRPr sz="1600" kern="1200">
                <a:solidFill>
                  <a:schemeClr val="tx1"/>
                </a:solidFill>
                <a:latin typeface="Arial" charset="0"/>
                <a:ea typeface="+mn-ea"/>
                <a:cs typeface="+mn-cs"/>
              </a:defRPr>
            </a:lvl9pPr>
          </a:lstStyle>
          <a:p>
            <a:endParaRPr lang="en-US" baseline="0" dirty="0">
              <a:solidFill>
                <a:srgbClr val="000000"/>
              </a:solidFill>
              <a:latin typeface="+mn-lt"/>
            </a:endParaRPr>
          </a:p>
        </p:txBody>
      </p:sp>
      <p:sp>
        <p:nvSpPr>
          <p:cNvPr id="27" name="Disclaimer-English (United States)" hidden="1"/>
          <p:cNvSpPr>
            <a:spLocks noChangeArrowheads="1"/>
          </p:cNvSpPr>
          <p:nvPr/>
        </p:nvSpPr>
        <p:spPr bwMode="black">
          <a:xfrm>
            <a:off x="2268266" y="6287785"/>
            <a:ext cx="3544453" cy="36908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t" anchorCtr="0">
            <a:noAutofit/>
          </a:bodyPr>
          <a:lstStyle/>
          <a:p>
            <a:pPr defTabSz="804863" eaLnBrk="0" hangingPunct="0"/>
            <a:r>
              <a:rPr lang="en-US" sz="800" baseline="0" dirty="0">
                <a:solidFill>
                  <a:srgbClr val="FFFFFF"/>
                </a:solidFill>
                <a:latin typeface="+mn-lt"/>
              </a:rPr>
              <a:t>CONFIDENTIAL AND PROPRIETARY</a:t>
            </a:r>
          </a:p>
          <a:p>
            <a:pPr defTabSz="804863" eaLnBrk="0" hangingPunct="0"/>
            <a:r>
              <a:rPr lang="en-US" sz="800" baseline="0" dirty="0">
                <a:solidFill>
                  <a:srgbClr val="FFFFFF"/>
                </a:solidFill>
                <a:latin typeface="+mn-lt"/>
              </a:rPr>
              <a:t>Any use of this material without specific permission of McKinsey &amp; Company is strictly prohibited</a:t>
            </a:r>
          </a:p>
        </p:txBody>
      </p:sp>
    </p:spTree>
    <p:extLst>
      <p:ext uri="{BB962C8B-B14F-4D97-AF65-F5344CB8AC3E}">
        <p14:creationId xmlns:p14="http://schemas.microsoft.com/office/powerpoint/2010/main" val="1851529758"/>
      </p:ext>
    </p:extLst>
  </p:cSld>
  <p:clrMapOvr>
    <a:masterClrMapping/>
  </p:clrMapOvr>
  <p:extLst mod="1">
    <p:ext uri="{DCECCB84-F9BA-43D5-87BE-67443E8EF086}">
      <p15:sldGuideLst xmlns:p15="http://schemas.microsoft.com/office/powerpoint/2012/main">
        <p15:guide id="1" orient="horz" pos="2117">
          <p15:clr>
            <a:srgbClr val="FBAE40"/>
          </p15:clr>
        </p15:guide>
        <p15:guide id="2" pos="1416">
          <p15:clr>
            <a:srgbClr val="FBAE40"/>
          </p15:clr>
        </p15:guide>
      </p15:sldGuideLst>
    </p:ext>
  </p:extLst>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6E228F5-5CF1-42E1-9748-97D7582A107A}"/>
              </a:ext>
            </a:extLst>
          </p:cNvPr>
          <p:cNvGraphicFramePr>
            <a:graphicFrameLocks noChangeAspect="1"/>
          </p:cNvGraphicFramePr>
          <p:nvPr>
            <p:custDataLst>
              <p:tags r:id="rId2"/>
            </p:custDataLst>
            <p:extLst>
              <p:ext uri="{D42A27DB-BD31-4B8C-83A1-F6EECF244321}">
                <p14:modId xmlns:p14="http://schemas.microsoft.com/office/powerpoint/2010/main" val="327215099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2708" name="think-cell Slide" r:id="rId5" imgW="353" imgH="353" progId="TCLayout.ActiveDocument.1">
                  <p:embed/>
                </p:oleObj>
              </mc:Choice>
              <mc:Fallback>
                <p:oleObj name="think-cell Slide" r:id="rId5" imgW="353" imgH="353" progId="TCLayout.ActiveDocument.1">
                  <p:embed/>
                  <p:pic>
                    <p:nvPicPr>
                      <p:cNvPr id="3" name="Object 2" hidden="1">
                        <a:extLst>
                          <a:ext uri="{FF2B5EF4-FFF2-40B4-BE49-F238E27FC236}">
                            <a16:creationId xmlns:a16="http://schemas.microsoft.com/office/drawing/2014/main" id="{C6E228F5-5CF1-42E1-9748-97D7582A107A}"/>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2. Slide Title"/>
          <p:cNvSpPr>
            <a:spLocks noGrp="1"/>
          </p:cNvSpPr>
          <p:nvPr>
            <p:ph type="title"/>
          </p:nvPr>
        </p:nvSpPr>
        <p:spPr bwMode="auto"/>
        <p:txBody>
          <a:bodyPr/>
          <a:lstStyle/>
          <a:p>
            <a:r>
              <a:rPr lang="en-US"/>
              <a:t>Click to edit Master title style</a:t>
            </a:r>
            <a:endParaRPr lang="en-US" dirty="0"/>
          </a:p>
        </p:txBody>
      </p:sp>
      <p:sp>
        <p:nvSpPr>
          <p:cNvPr id="8" name="Slide Number"/>
          <p:cNvSpPr txBox="1">
            <a:spLocks/>
          </p:cNvSpPr>
          <p:nvPr/>
        </p:nvSpPr>
        <p:spPr bwMode="auto">
          <a:xfrm>
            <a:off x="8564563" y="6508272"/>
            <a:ext cx="125034" cy="123111"/>
          </a:xfrm>
          <a:prstGeom prst="rect">
            <a:avLst/>
          </a:prstGeom>
        </p:spPr>
        <p:txBody>
          <a:bodyPr vert="horz" wrap="none" lIns="0" tIns="0" rIns="0" bIns="0" rtlCol="0" anchor="ctr">
            <a:spAutoFit/>
          </a:bodyPr>
          <a:lstStyle>
            <a:defPPr>
              <a:defRPr lang="en-US"/>
            </a:defPPr>
            <a:lvl1pPr>
              <a:defRPr sz="1000" baseline="0">
                <a:latin typeface="+mn-lt"/>
              </a:defRPr>
            </a:lvl1pPr>
          </a:lstStyle>
          <a:p>
            <a:fld id="{42C328C1-A84F-4A39-A664-DBA00541A8C6}" type="slidenum">
              <a:rPr lang="en-US" sz="800" baseline="0" smtClean="0">
                <a:solidFill>
                  <a:srgbClr val="808080"/>
                </a:solidFill>
                <a:latin typeface="+mn-lt"/>
              </a:rPr>
              <a:pPr/>
              <a:t>‹#›</a:t>
            </a:fld>
            <a:endParaRPr lang="en-US" sz="800" baseline="0" dirty="0">
              <a:solidFill>
                <a:srgbClr val="808080"/>
              </a:solidFill>
              <a:latin typeface="+mn-lt"/>
            </a:endParaRPr>
          </a:p>
        </p:txBody>
      </p:sp>
      <p:sp>
        <p:nvSpPr>
          <p:cNvPr id="9" name="SlideLogoText"/>
          <p:cNvSpPr>
            <a:spLocks noChangeArrowheads="1"/>
          </p:cNvSpPr>
          <p:nvPr>
            <p:custDataLst>
              <p:tags r:id="rId3"/>
            </p:custDataLst>
          </p:nvPr>
        </p:nvSpPr>
        <p:spPr bwMode="auto">
          <a:xfrm>
            <a:off x="7450817" y="6508272"/>
            <a:ext cx="1013098"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algn="r" defTabSz="895350"/>
            <a:r>
              <a:rPr lang="en-US" sz="800" baseline="0" dirty="0">
                <a:solidFill>
                  <a:srgbClr val="808080"/>
                </a:solidFill>
                <a:latin typeface="+mn-lt"/>
              </a:rPr>
              <a:t>McKinsey &amp; Company</a:t>
            </a:r>
          </a:p>
        </p:txBody>
      </p:sp>
      <p:sp>
        <p:nvSpPr>
          <p:cNvPr id="5" name="doc id" hidden="1"/>
          <p:cNvSpPr txBox="1">
            <a:spLocks noChangeArrowheads="1"/>
          </p:cNvSpPr>
          <p:nvPr/>
        </p:nvSpPr>
        <p:spPr bwMode="white">
          <a:xfrm>
            <a:off x="8104473" y="36513"/>
            <a:ext cx="634716" cy="115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hangingPunct="1">
              <a:defRPr/>
            </a:pPr>
            <a:endParaRPr lang="en-US" sz="800" baseline="0" dirty="0">
              <a:solidFill>
                <a:schemeClr val="accent1"/>
              </a:solidFill>
              <a:latin typeface="+mn-lt"/>
              <a:ea typeface="+mn-ea"/>
            </a:endParaRPr>
          </a:p>
        </p:txBody>
      </p:sp>
    </p:spTree>
    <p:extLst>
      <p:ext uri="{BB962C8B-B14F-4D97-AF65-F5344CB8AC3E}">
        <p14:creationId xmlns:p14="http://schemas.microsoft.com/office/powerpoint/2010/main" val="3962388598"/>
      </p:ext>
    </p:extLst>
  </p:cSld>
  <p:clrMapOvr>
    <a:masterClrMapping/>
  </p:clrMapOvr>
  <p:extLst mod="1">
    <p:ext uri="{DCECCB84-F9BA-43D5-87BE-67443E8EF086}">
      <p15:sldGuideLst xmlns:p15="http://schemas.microsoft.com/office/powerpoint/2012/main">
        <p15:guide id="1" pos="5505">
          <p15:clr>
            <a:srgbClr val="F26B43"/>
          </p15:clr>
        </p15:guide>
        <p15:guide id="2" pos="74">
          <p15:clr>
            <a:srgbClr val="F26B43"/>
          </p15:clr>
        </p15:guide>
        <p15:guide id="3" orient="horz" pos="571">
          <p15:clr>
            <a:srgbClr val="F26B43"/>
          </p15:clr>
        </p15:guide>
        <p15:guide id="4" orient="horz" pos="3911">
          <p15:clr>
            <a:srgbClr val="F26B43"/>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1_Title Only">
    <p:bg>
      <p:bgPr>
        <a:solidFill>
          <a:schemeClr val="accent2"/>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F4AD34F-3B47-47E2-A09C-FFEB949F6A10}"/>
              </a:ext>
            </a:extLst>
          </p:cNvPr>
          <p:cNvGraphicFramePr>
            <a:graphicFrameLocks noChangeAspect="1"/>
          </p:cNvGraphicFramePr>
          <p:nvPr>
            <p:custDataLst>
              <p:tags r:id="rId2"/>
            </p:custDataLst>
            <p:extLst>
              <p:ext uri="{D42A27DB-BD31-4B8C-83A1-F6EECF244321}">
                <p14:modId xmlns:p14="http://schemas.microsoft.com/office/powerpoint/2010/main" val="207716231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596" name="think-cell Slide" r:id="rId5" imgW="395" imgH="394" progId="TCLayout.ActiveDocument.1">
                  <p:embed/>
                </p:oleObj>
              </mc:Choice>
              <mc:Fallback>
                <p:oleObj name="think-cell Slide" r:id="rId5" imgW="395" imgH="394" progId="TCLayout.ActiveDocument.1">
                  <p:embed/>
                  <p:pic>
                    <p:nvPicPr>
                      <p:cNvPr id="3" name="Object 2" hidden="1">
                        <a:extLst>
                          <a:ext uri="{FF2B5EF4-FFF2-40B4-BE49-F238E27FC236}">
                            <a16:creationId xmlns:a16="http://schemas.microsoft.com/office/drawing/2014/main" id="{EF4AD34F-3B47-47E2-A09C-FFEB949F6A10}"/>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endParaRPr lang="en-US" dirty="0"/>
          </a:p>
        </p:txBody>
      </p:sp>
      <p:sp>
        <p:nvSpPr>
          <p:cNvPr id="15" name="Slide Number"/>
          <p:cNvSpPr txBox="1">
            <a:spLocks/>
          </p:cNvSpPr>
          <p:nvPr/>
        </p:nvSpPr>
        <p:spPr>
          <a:xfrm>
            <a:off x="8564563" y="6508272"/>
            <a:ext cx="125034" cy="123111"/>
          </a:xfrm>
          <a:prstGeom prst="rect">
            <a:avLst/>
          </a:prstGeom>
        </p:spPr>
        <p:txBody>
          <a:bodyPr vert="horz" wrap="none" lIns="0" tIns="0" rIns="0" bIns="0" rtlCol="0" anchor="ctr">
            <a:spAutoFit/>
          </a:bodyPr>
          <a:lstStyle>
            <a:defPPr>
              <a:defRPr lang="en-US"/>
            </a:defPPr>
            <a:lvl1pPr>
              <a:defRPr sz="1000" baseline="0">
                <a:latin typeface="+mn-lt"/>
              </a:defRPr>
            </a:lvl1pPr>
          </a:lstStyle>
          <a:p>
            <a:fld id="{42C328C1-A84F-4A39-A664-DBA00541A8C6}" type="slidenum">
              <a:rPr lang="en-US" sz="800" baseline="0" smtClean="0">
                <a:solidFill>
                  <a:srgbClr val="FFFFFF"/>
                </a:solidFill>
                <a:latin typeface="+mn-lt"/>
              </a:rPr>
              <a:pPr/>
              <a:t>‹#›</a:t>
            </a:fld>
            <a:endParaRPr lang="en-US" sz="800" baseline="0" dirty="0">
              <a:solidFill>
                <a:srgbClr val="FFFFFF"/>
              </a:solidFill>
              <a:latin typeface="+mn-lt"/>
            </a:endParaRPr>
          </a:p>
        </p:txBody>
      </p:sp>
      <p:sp>
        <p:nvSpPr>
          <p:cNvPr id="16" name="SlideLogoText"/>
          <p:cNvSpPr>
            <a:spLocks noChangeArrowheads="1"/>
          </p:cNvSpPr>
          <p:nvPr>
            <p:custDataLst>
              <p:tags r:id="rId3"/>
            </p:custDataLst>
          </p:nvPr>
        </p:nvSpPr>
        <p:spPr bwMode="auto">
          <a:xfrm>
            <a:off x="7450817" y="6508272"/>
            <a:ext cx="1013098"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algn="r" defTabSz="895350"/>
            <a:r>
              <a:rPr lang="en-US" sz="800" baseline="0" dirty="0">
                <a:solidFill>
                  <a:srgbClr val="FFFFFF"/>
                </a:solidFill>
                <a:latin typeface="+mn-lt"/>
              </a:rPr>
              <a:t>McKinsey &amp; Company</a:t>
            </a:r>
          </a:p>
        </p:txBody>
      </p:sp>
      <p:sp>
        <p:nvSpPr>
          <p:cNvPr id="5" name="doc id" hidden="1"/>
          <p:cNvSpPr txBox="1">
            <a:spLocks noChangeArrowheads="1"/>
          </p:cNvSpPr>
          <p:nvPr/>
        </p:nvSpPr>
        <p:spPr bwMode="white">
          <a:xfrm>
            <a:off x="8104473" y="36513"/>
            <a:ext cx="634716" cy="115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hangingPunct="1">
              <a:defRPr/>
            </a:pPr>
            <a:endParaRPr lang="en-US" sz="800" baseline="0" dirty="0">
              <a:solidFill>
                <a:schemeClr val="accent1"/>
              </a:solidFill>
              <a:latin typeface="+mn-lt"/>
              <a:ea typeface="+mn-ea"/>
            </a:endParaRPr>
          </a:p>
        </p:txBody>
      </p:sp>
    </p:spTree>
    <p:extLst>
      <p:ext uri="{BB962C8B-B14F-4D97-AF65-F5344CB8AC3E}">
        <p14:creationId xmlns:p14="http://schemas.microsoft.com/office/powerpoint/2010/main" val="2911889356"/>
      </p:ext>
    </p:extLst>
  </p:cSld>
  <p:clrMapOvr>
    <a:masterClrMapping/>
  </p:clrMapOvr>
  <p:extLst mod="1">
    <p:ext uri="{DCECCB84-F9BA-43D5-87BE-67443E8EF086}">
      <p15:sldGuideLst xmlns:p15="http://schemas.microsoft.com/office/powerpoint/2012/main">
        <p15:guide id="1" pos="3978">
          <p15:clr>
            <a:srgbClr val="000000"/>
          </p15:clr>
        </p15:guide>
        <p15:guide id="2" orient="horz" pos="570">
          <p15:clr>
            <a:srgbClr val="000000"/>
          </p15:clr>
        </p15:guide>
        <p15:guide id="3" orient="horz" pos="3912">
          <p15:clr>
            <a:srgbClr val="000000"/>
          </p15:clr>
        </p15:guide>
        <p15:guide id="4" pos="72">
          <p15:clr>
            <a:srgbClr val="000000"/>
          </p15:clr>
        </p15:guide>
      </p15:sldGuideLst>
    </p:ext>
  </p:extLst>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p:cSld name="1_Title Only">
    <p:bg>
      <p:bgPr>
        <a:solidFill>
          <a:schemeClr val="accent2"/>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F4AD34F-3B47-47E2-A09C-FFEB949F6A10}"/>
              </a:ext>
            </a:extLst>
          </p:cNvPr>
          <p:cNvGraphicFramePr>
            <a:graphicFrameLocks noChangeAspect="1"/>
          </p:cNvGraphicFramePr>
          <p:nvPr>
            <p:custDataLst>
              <p:tags r:id="rId2"/>
            </p:custDataLst>
            <p:extLst>
              <p:ext uri="{D42A27DB-BD31-4B8C-83A1-F6EECF244321}">
                <p14:modId xmlns:p14="http://schemas.microsoft.com/office/powerpoint/2010/main" val="192633486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3732" name="think-cell Slide" r:id="rId5" imgW="395" imgH="394" progId="TCLayout.ActiveDocument.1">
                  <p:embed/>
                </p:oleObj>
              </mc:Choice>
              <mc:Fallback>
                <p:oleObj name="think-cell Slide" r:id="rId5" imgW="395" imgH="394" progId="TCLayout.ActiveDocument.1">
                  <p:embed/>
                  <p:pic>
                    <p:nvPicPr>
                      <p:cNvPr id="3" name="Object 2" hidden="1">
                        <a:extLst>
                          <a:ext uri="{FF2B5EF4-FFF2-40B4-BE49-F238E27FC236}">
                            <a16:creationId xmlns:a16="http://schemas.microsoft.com/office/drawing/2014/main" id="{EF4AD34F-3B47-47E2-A09C-FFEB949F6A10}"/>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endParaRPr lang="en-US" dirty="0"/>
          </a:p>
        </p:txBody>
      </p:sp>
      <p:sp>
        <p:nvSpPr>
          <p:cNvPr id="15" name="Slide Number"/>
          <p:cNvSpPr txBox="1">
            <a:spLocks/>
          </p:cNvSpPr>
          <p:nvPr/>
        </p:nvSpPr>
        <p:spPr>
          <a:xfrm>
            <a:off x="8564563" y="6508272"/>
            <a:ext cx="125034" cy="123111"/>
          </a:xfrm>
          <a:prstGeom prst="rect">
            <a:avLst/>
          </a:prstGeom>
        </p:spPr>
        <p:txBody>
          <a:bodyPr vert="horz" wrap="none" lIns="0" tIns="0" rIns="0" bIns="0" rtlCol="0" anchor="ctr">
            <a:spAutoFit/>
          </a:bodyPr>
          <a:lstStyle>
            <a:defPPr>
              <a:defRPr lang="en-US"/>
            </a:defPPr>
            <a:lvl1pPr>
              <a:defRPr sz="1000" baseline="0">
                <a:latin typeface="+mn-lt"/>
              </a:defRPr>
            </a:lvl1pPr>
          </a:lstStyle>
          <a:p>
            <a:fld id="{42C328C1-A84F-4A39-A664-DBA00541A8C6}" type="slidenum">
              <a:rPr lang="en-US" sz="800" baseline="0" smtClean="0">
                <a:solidFill>
                  <a:srgbClr val="FFFFFF"/>
                </a:solidFill>
                <a:latin typeface="+mn-lt"/>
              </a:rPr>
              <a:pPr/>
              <a:t>‹#›</a:t>
            </a:fld>
            <a:endParaRPr lang="en-US" sz="800" baseline="0" dirty="0">
              <a:solidFill>
                <a:srgbClr val="FFFFFF"/>
              </a:solidFill>
              <a:latin typeface="+mn-lt"/>
            </a:endParaRPr>
          </a:p>
        </p:txBody>
      </p:sp>
      <p:sp>
        <p:nvSpPr>
          <p:cNvPr id="16" name="SlideLogoText"/>
          <p:cNvSpPr>
            <a:spLocks noChangeArrowheads="1"/>
          </p:cNvSpPr>
          <p:nvPr>
            <p:custDataLst>
              <p:tags r:id="rId3"/>
            </p:custDataLst>
          </p:nvPr>
        </p:nvSpPr>
        <p:spPr bwMode="auto">
          <a:xfrm>
            <a:off x="7450817" y="6508272"/>
            <a:ext cx="1013098"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algn="r" defTabSz="895350"/>
            <a:r>
              <a:rPr lang="en-US" sz="800" baseline="0" dirty="0">
                <a:solidFill>
                  <a:srgbClr val="FFFFFF"/>
                </a:solidFill>
                <a:latin typeface="+mn-lt"/>
              </a:rPr>
              <a:t>McKinsey &amp; Company</a:t>
            </a:r>
          </a:p>
        </p:txBody>
      </p:sp>
      <p:sp>
        <p:nvSpPr>
          <p:cNvPr id="5" name="doc id" hidden="1"/>
          <p:cNvSpPr txBox="1">
            <a:spLocks noChangeArrowheads="1"/>
          </p:cNvSpPr>
          <p:nvPr/>
        </p:nvSpPr>
        <p:spPr bwMode="white">
          <a:xfrm>
            <a:off x="8104473" y="36513"/>
            <a:ext cx="634716" cy="115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hangingPunct="1">
              <a:defRPr/>
            </a:pPr>
            <a:endParaRPr lang="en-US" sz="800" baseline="0" dirty="0">
              <a:solidFill>
                <a:schemeClr val="accent1"/>
              </a:solidFill>
              <a:latin typeface="+mn-lt"/>
              <a:ea typeface="+mn-ea"/>
            </a:endParaRPr>
          </a:p>
        </p:txBody>
      </p:sp>
    </p:spTree>
    <p:extLst>
      <p:ext uri="{BB962C8B-B14F-4D97-AF65-F5344CB8AC3E}">
        <p14:creationId xmlns:p14="http://schemas.microsoft.com/office/powerpoint/2010/main" val="1652937265"/>
      </p:ext>
    </p:extLst>
  </p:cSld>
  <p:clrMapOvr>
    <a:masterClrMapping/>
  </p:clrMapOvr>
  <p:extLst mod="1">
    <p:ext uri="{DCECCB84-F9BA-43D5-87BE-67443E8EF086}">
      <p15:sldGuideLst xmlns:p15="http://schemas.microsoft.com/office/powerpoint/2012/main">
        <p15:guide id="1" pos="3978">
          <p15:clr>
            <a:srgbClr val="000000"/>
          </p15:clr>
        </p15:guide>
        <p15:guide id="2" orient="horz" pos="570">
          <p15:clr>
            <a:srgbClr val="000000"/>
          </p15:clr>
        </p15:guide>
        <p15:guide id="3" orient="horz" pos="3912">
          <p15:clr>
            <a:srgbClr val="000000"/>
          </p15:clr>
        </p15:guide>
        <p15:guide id="4" pos="72">
          <p15:clr>
            <a:srgbClr val="000000"/>
          </p15:clr>
        </p15:guide>
      </p15:sldGuideLst>
    </p:ext>
  </p:extLst>
</p:sldLayout>
</file>

<file path=ppt/slideLayouts/slideLayout191.xml><?xml version="1.0" encoding="utf-8"?>
<p:sldLayout xmlns:a="http://schemas.openxmlformats.org/drawingml/2006/main" xmlns:r="http://schemas.openxmlformats.org/officeDocument/2006/relationships" xmlns:p="http://schemas.openxmlformats.org/presentationml/2006/main" type="titleOnly">
  <p:cSld name="2_Title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ECD524A-1569-4253-8CD8-48D288AD883C}"/>
              </a:ext>
            </a:extLst>
          </p:cNvPr>
          <p:cNvGraphicFramePr>
            <a:graphicFrameLocks noChangeAspect="1"/>
          </p:cNvGraphicFramePr>
          <p:nvPr>
            <p:custDataLst>
              <p:tags r:id="rId2"/>
            </p:custDataLst>
            <p:extLst>
              <p:ext uri="{D42A27DB-BD31-4B8C-83A1-F6EECF244321}">
                <p14:modId xmlns:p14="http://schemas.microsoft.com/office/powerpoint/2010/main" val="84747922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4756" name="think-cell Slide" r:id="rId4" imgW="395" imgH="394" progId="TCLayout.ActiveDocument.1">
                  <p:embed/>
                </p:oleObj>
              </mc:Choice>
              <mc:Fallback>
                <p:oleObj name="think-cell Slide" r:id="rId4" imgW="395" imgH="394" progId="TCLayout.ActiveDocument.1">
                  <p:embed/>
                  <p:pic>
                    <p:nvPicPr>
                      <p:cNvPr id="3" name="Object 2" hidden="1">
                        <a:extLst>
                          <a:ext uri="{FF2B5EF4-FFF2-40B4-BE49-F238E27FC236}">
                            <a16:creationId xmlns:a16="http://schemas.microsoft.com/office/drawing/2014/main" id="{5ECD524A-1569-4253-8CD8-48D288AD883C}"/>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83458051"/>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pic>
        <p:nvPicPr>
          <p:cNvPr id="2" name="background"/>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0" y="198"/>
            <a:ext cx="8961438" cy="6721079"/>
          </a:xfrm>
          <a:prstGeom prst="rect">
            <a:avLst/>
          </a:prstGeom>
        </p:spPr>
      </p:pic>
      <p:sp>
        <p:nvSpPr>
          <p:cNvPr id="28" name="TitleRectangle"/>
          <p:cNvSpPr txBox="1">
            <a:spLocks/>
          </p:cNvSpPr>
          <p:nvPr/>
        </p:nvSpPr>
        <p:spPr>
          <a:xfrm>
            <a:off x="2084388" y="0"/>
            <a:ext cx="6875462" cy="3575976"/>
          </a:xfrm>
          <a:prstGeom prst="rect">
            <a:avLst/>
          </a:prstGeom>
          <a:solidFill>
            <a:srgbClr val="002960">
              <a:alpha val="92000"/>
            </a:srgbClr>
          </a:solidFill>
        </p:spPr>
        <p:txBody>
          <a:bodyPr vert="horz" wrap="square" lIns="216000" tIns="1440000" rIns="216000" bIns="108000" rtlCol="0">
            <a:noAutofit/>
          </a:bodyPr>
          <a:lstStyle>
            <a:lvl1pPr marL="0" indent="0" algn="l" defTabSz="914400" rtl="0" eaLnBrk="1" latinLnBrk="0" hangingPunct="1">
              <a:spcBef>
                <a:spcPct val="20000"/>
              </a:spcBef>
              <a:spcAft>
                <a:spcPts val="6000"/>
              </a:spcAft>
              <a:buFont typeface="Arial" pitchFamily="34" charset="0"/>
              <a:buNone/>
              <a:defRPr sz="3200" kern="1200">
                <a:solidFill>
                  <a:schemeClr val="accent1"/>
                </a:solidFill>
                <a:latin typeface="+mn-lt"/>
                <a:ea typeface="+mn-ea"/>
                <a:cs typeface="+mn-cs"/>
              </a:defRPr>
            </a:lvl1pPr>
            <a:lvl2pPr marL="0" indent="0" algn="l" defTabSz="914400" rtl="0" eaLnBrk="1" latinLnBrk="0" hangingPunct="1">
              <a:spcBef>
                <a:spcPct val="20000"/>
              </a:spcBef>
              <a:buFont typeface="Wingdings" charset="2"/>
              <a:buNone/>
              <a:defRPr sz="1400" kern="1200">
                <a:solidFill>
                  <a:schemeClr val="tx1">
                    <a:lumMod val="50000"/>
                    <a:lumOff val="50000"/>
                  </a:schemeClr>
                </a:solidFill>
                <a:latin typeface="+mn-lt"/>
                <a:ea typeface="+mn-ea"/>
                <a:cs typeface="+mn-cs"/>
              </a:defRPr>
            </a:lvl2pPr>
            <a:lvl3pPr marL="1143000" indent="-228600" algn="l" defTabSz="914400" rtl="0" eaLnBrk="1" latinLnBrk="0" hangingPunct="1">
              <a:spcBef>
                <a:spcPct val="20000"/>
              </a:spcBef>
              <a:buFont typeface="Lucida Grande"/>
              <a:buChar char="–"/>
              <a:defRPr sz="16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fontAlgn="auto">
              <a:defRPr/>
            </a:pPr>
            <a:r>
              <a:rPr lang="en-US" baseline="0" dirty="0">
                <a:solidFill>
                  <a:srgbClr val="00ADEF"/>
                </a:solidFill>
                <a:latin typeface="+mn-lt"/>
              </a:rPr>
              <a:t>
              </a:t>
            </a:r>
            <a:br>
              <a:rPr lang="en-US" baseline="0" dirty="0">
                <a:solidFill>
                  <a:srgbClr val="00ADEF"/>
                </a:solidFill>
                <a:latin typeface="+mn-lt"/>
              </a:rPr>
            </a:br>
            <a:endParaRPr lang="en-US" baseline="0" dirty="0">
              <a:solidFill>
                <a:srgbClr val="00ADEF"/>
              </a:solidFill>
              <a:latin typeface="+mn-lt"/>
            </a:endParaRPr>
          </a:p>
        </p:txBody>
      </p:sp>
      <p:graphicFrame>
        <p:nvGraphicFramePr>
          <p:cNvPr id="3" name="Object 2"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6804"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Working Draft Text" hidden="1"/>
          <p:cNvSpPr txBox="1">
            <a:spLocks noChangeArrowheads="1"/>
          </p:cNvSpPr>
          <p:nvPr/>
        </p:nvSpPr>
        <p:spPr bwMode="black">
          <a:xfrm>
            <a:off x="5992719" y="6287538"/>
            <a:ext cx="2790000"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800" b="1" baseline="0" dirty="0">
                <a:solidFill>
                  <a:srgbClr val="FFFFFF"/>
                </a:solidFill>
                <a:latin typeface="+mn-lt"/>
              </a:rPr>
              <a:t>WORKING DRAFT</a:t>
            </a:r>
          </a:p>
        </p:txBody>
      </p:sp>
      <p:sp>
        <p:nvSpPr>
          <p:cNvPr id="6" name="Working Draft" hidden="1"/>
          <p:cNvSpPr txBox="1">
            <a:spLocks noChangeArrowheads="1"/>
          </p:cNvSpPr>
          <p:nvPr/>
        </p:nvSpPr>
        <p:spPr bwMode="black">
          <a:xfrm>
            <a:off x="5992718" y="6410648"/>
            <a:ext cx="2968719"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800" baseline="0">
                <a:solidFill>
                  <a:srgbClr val="FFFFFF"/>
                </a:solidFill>
                <a:latin typeface="+mn-lt"/>
              </a:rPr>
              <a:t>Last Modified 21/05/2018 17:44 India Standard Time</a:t>
            </a:r>
            <a:endParaRPr lang="en-US" sz="800" baseline="0" dirty="0">
              <a:solidFill>
                <a:srgbClr val="FFFFFF"/>
              </a:solidFill>
              <a:latin typeface="+mn-lt"/>
            </a:endParaRPr>
          </a:p>
        </p:txBody>
      </p:sp>
      <p:sp>
        <p:nvSpPr>
          <p:cNvPr id="7" name="Printed" hidden="1"/>
          <p:cNvSpPr txBox="1">
            <a:spLocks noChangeArrowheads="1"/>
          </p:cNvSpPr>
          <p:nvPr/>
        </p:nvSpPr>
        <p:spPr bwMode="black">
          <a:xfrm>
            <a:off x="5992719" y="6533759"/>
            <a:ext cx="2790000"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800" baseline="0" dirty="0">
                <a:solidFill>
                  <a:srgbClr val="FFFFFF"/>
                </a:solidFill>
                <a:latin typeface="+mn-lt"/>
              </a:rPr>
              <a:t>Printed</a:t>
            </a:r>
          </a:p>
        </p:txBody>
      </p:sp>
      <p:sp>
        <p:nvSpPr>
          <p:cNvPr id="13314" name="Title"/>
          <p:cNvSpPr>
            <a:spLocks noGrp="1" noChangeArrowheads="1"/>
          </p:cNvSpPr>
          <p:nvPr>
            <p:ph type="ctrTitle"/>
          </p:nvPr>
        </p:nvSpPr>
        <p:spPr>
          <a:xfrm>
            <a:off x="2268266" y="1434419"/>
            <a:ext cx="6231663" cy="492443"/>
          </a:xfrm>
          <a:prstGeom prst="rect">
            <a:avLst/>
          </a:prstGeom>
        </p:spPr>
        <p:txBody>
          <a:bodyPr>
            <a:spAutoFit/>
          </a:bodyPr>
          <a:lstStyle>
            <a:lvl1pPr>
              <a:defRPr sz="3200" b="0" baseline="0">
                <a:solidFill>
                  <a:schemeClr val="accent2"/>
                </a:solidFill>
                <a:latin typeface="+mj-lt"/>
                <a:ea typeface="+mj-ea"/>
              </a:defRPr>
            </a:lvl1pPr>
          </a:lstStyle>
          <a:p>
            <a:pPr lvl="0" latinLnBrk="0"/>
            <a:r>
              <a:rPr lang="en-US" noProof="0"/>
              <a:t>Click to edit Master title style</a:t>
            </a:r>
            <a:endParaRPr lang="en-US" noProof="0" dirty="0"/>
          </a:p>
        </p:txBody>
      </p:sp>
      <p:sp>
        <p:nvSpPr>
          <p:cNvPr id="13315" name="Subtitle"/>
          <p:cNvSpPr>
            <a:spLocks noGrp="1" noChangeArrowheads="1"/>
          </p:cNvSpPr>
          <p:nvPr>
            <p:ph type="subTitle" idx="1"/>
          </p:nvPr>
        </p:nvSpPr>
        <p:spPr>
          <a:xfrm>
            <a:off x="2268266" y="2819401"/>
            <a:ext cx="6231663" cy="215444"/>
          </a:xfrm>
          <a:prstGeom prst="rect">
            <a:avLst/>
          </a:prstGeom>
        </p:spPr>
        <p:txBody>
          <a:bodyPr wrap="square">
            <a:spAutoFit/>
          </a:bodyPr>
          <a:lstStyle>
            <a:lvl1pPr>
              <a:defRPr sz="1400" cap="all" baseline="0">
                <a:solidFill>
                  <a:schemeClr val="bg1"/>
                </a:solidFill>
                <a:latin typeface="+mn-lt"/>
                <a:ea typeface="+mn-ea"/>
              </a:defRPr>
            </a:lvl1pPr>
          </a:lstStyle>
          <a:p>
            <a:pPr lvl="0" latinLnBrk="0"/>
            <a:r>
              <a:rPr lang="en-US" noProof="0"/>
              <a:t>Click to edit Master subtitle style</a:t>
            </a:r>
            <a:endParaRPr lang="en-US" noProof="0" dirty="0"/>
          </a:p>
        </p:txBody>
      </p:sp>
      <p:sp>
        <p:nvSpPr>
          <p:cNvPr id="57" name="Document type" hidden="1"/>
          <p:cNvSpPr txBox="1">
            <a:spLocks noChangeArrowheads="1"/>
          </p:cNvSpPr>
          <p:nvPr/>
        </p:nvSpPr>
        <p:spPr bwMode="gray">
          <a:xfrm>
            <a:off x="2268266" y="3227411"/>
            <a:ext cx="6231663"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00" baseline="0" dirty="0">
                <a:solidFill>
                  <a:schemeClr val="bg1"/>
                </a:solidFill>
                <a:latin typeface="+mn-lt"/>
              </a:rPr>
              <a:t>Document type | Date</a:t>
            </a:r>
          </a:p>
        </p:txBody>
      </p:sp>
      <p:sp>
        <p:nvSpPr>
          <p:cNvPr id="5" name="doc id" hidden="1"/>
          <p:cNvSpPr txBox="1">
            <a:spLocks noChangeArrowheads="1"/>
          </p:cNvSpPr>
          <p:nvPr/>
        </p:nvSpPr>
        <p:spPr bwMode="white">
          <a:xfrm>
            <a:off x="8443913" y="36513"/>
            <a:ext cx="295275" cy="1222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hangingPunct="1">
              <a:defRPr/>
            </a:pPr>
            <a:endParaRPr lang="en-US" sz="800" baseline="0" dirty="0">
              <a:solidFill>
                <a:srgbClr val="FFFFFF"/>
              </a:solidFill>
              <a:latin typeface="+mn-lt"/>
            </a:endParaRPr>
          </a:p>
        </p:txBody>
      </p:sp>
      <p:sp>
        <p:nvSpPr>
          <p:cNvPr id="43" name="LogoImage"/>
          <p:cNvSpPr>
            <a:spLocks noEditPoints="1"/>
          </p:cNvSpPr>
          <p:nvPr/>
        </p:nvSpPr>
        <p:spPr bwMode="white">
          <a:xfrm>
            <a:off x="2269098" y="182925"/>
            <a:ext cx="2176978" cy="238073"/>
          </a:xfrm>
          <a:custGeom>
            <a:avLst/>
            <a:gdLst>
              <a:gd name="T0" fmla="*/ 504 w 5516"/>
              <a:gd name="T1" fmla="*/ 26 h 606"/>
              <a:gd name="T2" fmla="*/ 18 w 5516"/>
              <a:gd name="T3" fmla="*/ 22 h 606"/>
              <a:gd name="T4" fmla="*/ 140 w 5516"/>
              <a:gd name="T5" fmla="*/ 436 h 606"/>
              <a:gd name="T6" fmla="*/ 408 w 5516"/>
              <a:gd name="T7" fmla="*/ 372 h 606"/>
              <a:gd name="T8" fmla="*/ 696 w 5516"/>
              <a:gd name="T9" fmla="*/ 422 h 606"/>
              <a:gd name="T10" fmla="*/ 768 w 5516"/>
              <a:gd name="T11" fmla="*/ 196 h 606"/>
              <a:gd name="T12" fmla="*/ 1272 w 5516"/>
              <a:gd name="T13" fmla="*/ 26 h 606"/>
              <a:gd name="T14" fmla="*/ 1302 w 5516"/>
              <a:gd name="T15" fmla="*/ 338 h 606"/>
              <a:gd name="T16" fmla="*/ 1202 w 5516"/>
              <a:gd name="T17" fmla="*/ 436 h 606"/>
              <a:gd name="T18" fmla="*/ 1030 w 5516"/>
              <a:gd name="T19" fmla="*/ 10 h 606"/>
              <a:gd name="T20" fmla="*/ 960 w 5516"/>
              <a:gd name="T21" fmla="*/ 22 h 606"/>
              <a:gd name="T22" fmla="*/ 804 w 5516"/>
              <a:gd name="T23" fmla="*/ 434 h 606"/>
              <a:gd name="T24" fmla="*/ 930 w 5516"/>
              <a:gd name="T25" fmla="*/ 246 h 606"/>
              <a:gd name="T26" fmla="*/ 1658 w 5516"/>
              <a:gd name="T27" fmla="*/ 342 h 606"/>
              <a:gd name="T28" fmla="*/ 1368 w 5516"/>
              <a:gd name="T29" fmla="*/ 188 h 606"/>
              <a:gd name="T30" fmla="*/ 1514 w 5516"/>
              <a:gd name="T31" fmla="*/ 436 h 606"/>
              <a:gd name="T32" fmla="*/ 1564 w 5516"/>
              <a:gd name="T33" fmla="*/ 434 h 606"/>
              <a:gd name="T34" fmla="*/ 1904 w 5516"/>
              <a:gd name="T35" fmla="*/ 184 h 606"/>
              <a:gd name="T36" fmla="*/ 1728 w 5516"/>
              <a:gd name="T37" fmla="*/ 366 h 606"/>
              <a:gd name="T38" fmla="*/ 2102 w 5516"/>
              <a:gd name="T39" fmla="*/ 192 h 606"/>
              <a:gd name="T40" fmla="*/ 1982 w 5516"/>
              <a:gd name="T41" fmla="*/ 320 h 606"/>
              <a:gd name="T42" fmla="*/ 2478 w 5516"/>
              <a:gd name="T43" fmla="*/ 242 h 606"/>
              <a:gd name="T44" fmla="*/ 2406 w 5516"/>
              <a:gd name="T45" fmla="*/ 390 h 606"/>
              <a:gd name="T46" fmla="*/ 2234 w 5516"/>
              <a:gd name="T47" fmla="*/ 192 h 606"/>
              <a:gd name="T48" fmla="*/ 2478 w 5516"/>
              <a:gd name="T49" fmla="*/ 242 h 606"/>
              <a:gd name="T50" fmla="*/ 2928 w 5516"/>
              <a:gd name="T51" fmla="*/ 448 h 606"/>
              <a:gd name="T52" fmla="*/ 2958 w 5516"/>
              <a:gd name="T53" fmla="*/ 230 h 606"/>
              <a:gd name="T54" fmla="*/ 2716 w 5516"/>
              <a:gd name="T55" fmla="*/ 54 h 606"/>
              <a:gd name="T56" fmla="*/ 2714 w 5516"/>
              <a:gd name="T57" fmla="*/ 36 h 606"/>
              <a:gd name="T58" fmla="*/ 2928 w 5516"/>
              <a:gd name="T59" fmla="*/ 448 h 606"/>
              <a:gd name="T60" fmla="*/ 3388 w 5516"/>
              <a:gd name="T61" fmla="*/ 4 h 606"/>
              <a:gd name="T62" fmla="*/ 3396 w 5516"/>
              <a:gd name="T63" fmla="*/ 366 h 606"/>
              <a:gd name="T64" fmla="*/ 3580 w 5516"/>
              <a:gd name="T65" fmla="*/ 190 h 606"/>
              <a:gd name="T66" fmla="*/ 3502 w 5516"/>
              <a:gd name="T67" fmla="*/ 432 h 606"/>
              <a:gd name="T68" fmla="*/ 4232 w 5516"/>
              <a:gd name="T69" fmla="*/ 348 h 606"/>
              <a:gd name="T70" fmla="*/ 3858 w 5516"/>
              <a:gd name="T71" fmla="*/ 176 h 606"/>
              <a:gd name="T72" fmla="*/ 3758 w 5516"/>
              <a:gd name="T73" fmla="*/ 446 h 606"/>
              <a:gd name="T74" fmla="*/ 3990 w 5516"/>
              <a:gd name="T75" fmla="*/ 282 h 606"/>
              <a:gd name="T76" fmla="*/ 4042 w 5516"/>
              <a:gd name="T77" fmla="*/ 342 h 606"/>
              <a:gd name="T78" fmla="*/ 4134 w 5516"/>
              <a:gd name="T79" fmla="*/ 448 h 606"/>
              <a:gd name="T80" fmla="*/ 4454 w 5516"/>
              <a:gd name="T81" fmla="*/ 202 h 606"/>
              <a:gd name="T82" fmla="*/ 4284 w 5516"/>
              <a:gd name="T83" fmla="*/ 174 h 606"/>
              <a:gd name="T84" fmla="*/ 4432 w 5516"/>
              <a:gd name="T85" fmla="*/ 588 h 606"/>
              <a:gd name="T86" fmla="*/ 4792 w 5516"/>
              <a:gd name="T87" fmla="*/ 382 h 606"/>
              <a:gd name="T88" fmla="*/ 5192 w 5516"/>
              <a:gd name="T89" fmla="*/ 340 h 606"/>
              <a:gd name="T90" fmla="*/ 4902 w 5516"/>
              <a:gd name="T91" fmla="*/ 186 h 606"/>
              <a:gd name="T92" fmla="*/ 4850 w 5516"/>
              <a:gd name="T93" fmla="*/ 274 h 606"/>
              <a:gd name="T94" fmla="*/ 4742 w 5516"/>
              <a:gd name="T95" fmla="*/ 194 h 606"/>
              <a:gd name="T96" fmla="*/ 4794 w 5516"/>
              <a:gd name="T97" fmla="*/ 418 h 606"/>
              <a:gd name="T98" fmla="*/ 5004 w 5516"/>
              <a:gd name="T99" fmla="*/ 338 h 606"/>
              <a:gd name="T100" fmla="*/ 5098 w 5516"/>
              <a:gd name="T101" fmla="*/ 446 h 606"/>
              <a:gd name="T102" fmla="*/ 5418 w 5516"/>
              <a:gd name="T103" fmla="*/ 192 h 606"/>
              <a:gd name="T104" fmla="*/ 5348 w 5516"/>
              <a:gd name="T105" fmla="*/ 180 h 606"/>
              <a:gd name="T106" fmla="*/ 5254 w 5516"/>
              <a:gd name="T107" fmla="*/ 606 h 6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516" h="606">
                <a:moveTo>
                  <a:pt x="366" y="448"/>
                </a:moveTo>
                <a:cubicBezTo>
                  <a:pt x="524" y="448"/>
                  <a:pt x="524" y="448"/>
                  <a:pt x="524" y="448"/>
                </a:cubicBezTo>
                <a:cubicBezTo>
                  <a:pt x="524" y="436"/>
                  <a:pt x="524" y="436"/>
                  <a:pt x="524" y="436"/>
                </a:cubicBezTo>
                <a:cubicBezTo>
                  <a:pt x="486" y="432"/>
                  <a:pt x="470" y="414"/>
                  <a:pt x="468" y="362"/>
                </a:cubicBezTo>
                <a:cubicBezTo>
                  <a:pt x="454" y="86"/>
                  <a:pt x="454" y="86"/>
                  <a:pt x="454" y="86"/>
                </a:cubicBezTo>
                <a:cubicBezTo>
                  <a:pt x="452" y="46"/>
                  <a:pt x="470" y="30"/>
                  <a:pt x="504" y="26"/>
                </a:cubicBezTo>
                <a:cubicBezTo>
                  <a:pt x="504" y="12"/>
                  <a:pt x="504" y="12"/>
                  <a:pt x="504" y="12"/>
                </a:cubicBezTo>
                <a:cubicBezTo>
                  <a:pt x="394" y="12"/>
                  <a:pt x="394" y="12"/>
                  <a:pt x="394" y="12"/>
                </a:cubicBezTo>
                <a:cubicBezTo>
                  <a:pt x="264" y="350"/>
                  <a:pt x="264" y="350"/>
                  <a:pt x="264" y="350"/>
                </a:cubicBezTo>
                <a:cubicBezTo>
                  <a:pt x="132" y="10"/>
                  <a:pt x="132" y="10"/>
                  <a:pt x="132" y="10"/>
                </a:cubicBezTo>
                <a:cubicBezTo>
                  <a:pt x="18" y="10"/>
                  <a:pt x="18" y="10"/>
                  <a:pt x="18" y="10"/>
                </a:cubicBezTo>
                <a:cubicBezTo>
                  <a:pt x="18" y="22"/>
                  <a:pt x="18" y="22"/>
                  <a:pt x="18" y="22"/>
                </a:cubicBezTo>
                <a:cubicBezTo>
                  <a:pt x="40" y="26"/>
                  <a:pt x="74" y="32"/>
                  <a:pt x="72" y="84"/>
                </a:cubicBezTo>
                <a:cubicBezTo>
                  <a:pt x="58" y="352"/>
                  <a:pt x="58" y="352"/>
                  <a:pt x="58" y="352"/>
                </a:cubicBezTo>
                <a:cubicBezTo>
                  <a:pt x="54" y="410"/>
                  <a:pt x="38" y="430"/>
                  <a:pt x="0" y="436"/>
                </a:cubicBezTo>
                <a:cubicBezTo>
                  <a:pt x="0" y="448"/>
                  <a:pt x="0" y="448"/>
                  <a:pt x="0" y="448"/>
                </a:cubicBezTo>
                <a:cubicBezTo>
                  <a:pt x="140" y="448"/>
                  <a:pt x="140" y="448"/>
                  <a:pt x="140" y="448"/>
                </a:cubicBezTo>
                <a:cubicBezTo>
                  <a:pt x="140" y="436"/>
                  <a:pt x="140" y="436"/>
                  <a:pt x="140" y="436"/>
                </a:cubicBezTo>
                <a:cubicBezTo>
                  <a:pt x="98" y="428"/>
                  <a:pt x="84" y="414"/>
                  <a:pt x="88" y="356"/>
                </a:cubicBezTo>
                <a:cubicBezTo>
                  <a:pt x="100" y="86"/>
                  <a:pt x="100" y="86"/>
                  <a:pt x="100" y="86"/>
                </a:cubicBezTo>
                <a:cubicBezTo>
                  <a:pt x="240" y="444"/>
                  <a:pt x="240" y="444"/>
                  <a:pt x="240" y="444"/>
                </a:cubicBezTo>
                <a:cubicBezTo>
                  <a:pt x="258" y="444"/>
                  <a:pt x="258" y="444"/>
                  <a:pt x="258" y="444"/>
                </a:cubicBezTo>
                <a:cubicBezTo>
                  <a:pt x="396" y="86"/>
                  <a:pt x="396" y="86"/>
                  <a:pt x="396" y="86"/>
                </a:cubicBezTo>
                <a:cubicBezTo>
                  <a:pt x="408" y="372"/>
                  <a:pt x="408" y="372"/>
                  <a:pt x="408" y="372"/>
                </a:cubicBezTo>
                <a:cubicBezTo>
                  <a:pt x="410" y="416"/>
                  <a:pt x="398" y="430"/>
                  <a:pt x="366" y="434"/>
                </a:cubicBezTo>
                <a:lnTo>
                  <a:pt x="366" y="448"/>
                </a:lnTo>
                <a:close/>
                <a:moveTo>
                  <a:pt x="670" y="456"/>
                </a:moveTo>
                <a:cubicBezTo>
                  <a:pt x="708" y="456"/>
                  <a:pt x="756" y="440"/>
                  <a:pt x="782" y="412"/>
                </a:cubicBezTo>
                <a:cubicBezTo>
                  <a:pt x="776" y="400"/>
                  <a:pt x="776" y="400"/>
                  <a:pt x="776" y="400"/>
                </a:cubicBezTo>
                <a:cubicBezTo>
                  <a:pt x="750" y="416"/>
                  <a:pt x="722" y="422"/>
                  <a:pt x="696" y="422"/>
                </a:cubicBezTo>
                <a:cubicBezTo>
                  <a:pt x="620" y="422"/>
                  <a:pt x="592" y="358"/>
                  <a:pt x="592" y="290"/>
                </a:cubicBezTo>
                <a:cubicBezTo>
                  <a:pt x="592" y="258"/>
                  <a:pt x="600" y="236"/>
                  <a:pt x="614" y="222"/>
                </a:cubicBezTo>
                <a:cubicBezTo>
                  <a:pt x="626" y="210"/>
                  <a:pt x="646" y="204"/>
                  <a:pt x="664" y="204"/>
                </a:cubicBezTo>
                <a:cubicBezTo>
                  <a:pt x="690" y="204"/>
                  <a:pt x="722" y="214"/>
                  <a:pt x="744" y="244"/>
                </a:cubicBezTo>
                <a:cubicBezTo>
                  <a:pt x="750" y="244"/>
                  <a:pt x="750" y="244"/>
                  <a:pt x="750" y="244"/>
                </a:cubicBezTo>
                <a:cubicBezTo>
                  <a:pt x="758" y="234"/>
                  <a:pt x="766" y="212"/>
                  <a:pt x="768" y="196"/>
                </a:cubicBezTo>
                <a:cubicBezTo>
                  <a:pt x="748" y="180"/>
                  <a:pt x="720" y="172"/>
                  <a:pt x="686" y="172"/>
                </a:cubicBezTo>
                <a:cubicBezTo>
                  <a:pt x="604" y="172"/>
                  <a:pt x="544" y="246"/>
                  <a:pt x="544" y="326"/>
                </a:cubicBezTo>
                <a:cubicBezTo>
                  <a:pt x="540" y="390"/>
                  <a:pt x="576" y="456"/>
                  <a:pt x="670" y="456"/>
                </a:cubicBezTo>
                <a:moveTo>
                  <a:pt x="1272" y="98"/>
                </a:moveTo>
                <a:cubicBezTo>
                  <a:pt x="1292" y="98"/>
                  <a:pt x="1308" y="82"/>
                  <a:pt x="1308" y="62"/>
                </a:cubicBezTo>
                <a:cubicBezTo>
                  <a:pt x="1308" y="42"/>
                  <a:pt x="1292" y="26"/>
                  <a:pt x="1272" y="26"/>
                </a:cubicBezTo>
                <a:cubicBezTo>
                  <a:pt x="1252" y="26"/>
                  <a:pt x="1238" y="42"/>
                  <a:pt x="1238" y="62"/>
                </a:cubicBezTo>
                <a:cubicBezTo>
                  <a:pt x="1238" y="82"/>
                  <a:pt x="1252" y="98"/>
                  <a:pt x="1272" y="98"/>
                </a:cubicBezTo>
                <a:moveTo>
                  <a:pt x="1202" y="448"/>
                </a:moveTo>
                <a:cubicBezTo>
                  <a:pt x="1346" y="448"/>
                  <a:pt x="1346" y="448"/>
                  <a:pt x="1346" y="448"/>
                </a:cubicBezTo>
                <a:cubicBezTo>
                  <a:pt x="1346" y="436"/>
                  <a:pt x="1346" y="436"/>
                  <a:pt x="1346" y="436"/>
                </a:cubicBezTo>
                <a:cubicBezTo>
                  <a:pt x="1304" y="432"/>
                  <a:pt x="1302" y="434"/>
                  <a:pt x="1302" y="338"/>
                </a:cubicBezTo>
                <a:cubicBezTo>
                  <a:pt x="1302" y="176"/>
                  <a:pt x="1302" y="176"/>
                  <a:pt x="1302" y="176"/>
                </a:cubicBezTo>
                <a:cubicBezTo>
                  <a:pt x="1200" y="176"/>
                  <a:pt x="1200" y="176"/>
                  <a:pt x="1200" y="176"/>
                </a:cubicBezTo>
                <a:cubicBezTo>
                  <a:pt x="1200" y="188"/>
                  <a:pt x="1200" y="188"/>
                  <a:pt x="1200" y="188"/>
                </a:cubicBezTo>
                <a:cubicBezTo>
                  <a:pt x="1244" y="190"/>
                  <a:pt x="1250" y="192"/>
                  <a:pt x="1250" y="268"/>
                </a:cubicBezTo>
                <a:cubicBezTo>
                  <a:pt x="1250" y="336"/>
                  <a:pt x="1250" y="336"/>
                  <a:pt x="1250" y="336"/>
                </a:cubicBezTo>
                <a:cubicBezTo>
                  <a:pt x="1250" y="432"/>
                  <a:pt x="1248" y="432"/>
                  <a:pt x="1202" y="436"/>
                </a:cubicBezTo>
                <a:cubicBezTo>
                  <a:pt x="1178" y="434"/>
                  <a:pt x="1154" y="426"/>
                  <a:pt x="1076" y="338"/>
                </a:cubicBezTo>
                <a:cubicBezTo>
                  <a:pt x="1046" y="302"/>
                  <a:pt x="996" y="244"/>
                  <a:pt x="968" y="206"/>
                </a:cubicBezTo>
                <a:cubicBezTo>
                  <a:pt x="1062" y="102"/>
                  <a:pt x="1062" y="102"/>
                  <a:pt x="1062" y="102"/>
                </a:cubicBezTo>
                <a:cubicBezTo>
                  <a:pt x="1108" y="52"/>
                  <a:pt x="1132" y="26"/>
                  <a:pt x="1176" y="24"/>
                </a:cubicBezTo>
                <a:cubicBezTo>
                  <a:pt x="1176" y="10"/>
                  <a:pt x="1176" y="10"/>
                  <a:pt x="1176" y="10"/>
                </a:cubicBezTo>
                <a:cubicBezTo>
                  <a:pt x="1030" y="10"/>
                  <a:pt x="1030" y="10"/>
                  <a:pt x="1030" y="10"/>
                </a:cubicBezTo>
                <a:cubicBezTo>
                  <a:pt x="1030" y="22"/>
                  <a:pt x="1030" y="22"/>
                  <a:pt x="1030" y="22"/>
                </a:cubicBezTo>
                <a:cubicBezTo>
                  <a:pt x="1050" y="26"/>
                  <a:pt x="1056" y="32"/>
                  <a:pt x="1056" y="46"/>
                </a:cubicBezTo>
                <a:cubicBezTo>
                  <a:pt x="1056" y="56"/>
                  <a:pt x="1054" y="72"/>
                  <a:pt x="1026" y="102"/>
                </a:cubicBezTo>
                <a:cubicBezTo>
                  <a:pt x="910" y="230"/>
                  <a:pt x="910" y="230"/>
                  <a:pt x="910" y="230"/>
                </a:cubicBezTo>
                <a:cubicBezTo>
                  <a:pt x="910" y="148"/>
                  <a:pt x="910" y="148"/>
                  <a:pt x="910" y="148"/>
                </a:cubicBezTo>
                <a:cubicBezTo>
                  <a:pt x="910" y="36"/>
                  <a:pt x="916" y="28"/>
                  <a:pt x="960" y="22"/>
                </a:cubicBezTo>
                <a:cubicBezTo>
                  <a:pt x="960" y="8"/>
                  <a:pt x="960" y="8"/>
                  <a:pt x="960" y="8"/>
                </a:cubicBezTo>
                <a:cubicBezTo>
                  <a:pt x="804" y="8"/>
                  <a:pt x="804" y="8"/>
                  <a:pt x="804" y="8"/>
                </a:cubicBezTo>
                <a:cubicBezTo>
                  <a:pt x="804" y="22"/>
                  <a:pt x="804" y="22"/>
                  <a:pt x="804" y="22"/>
                </a:cubicBezTo>
                <a:cubicBezTo>
                  <a:pt x="852" y="26"/>
                  <a:pt x="854" y="36"/>
                  <a:pt x="854" y="148"/>
                </a:cubicBezTo>
                <a:cubicBezTo>
                  <a:pt x="854" y="300"/>
                  <a:pt x="854" y="300"/>
                  <a:pt x="854" y="300"/>
                </a:cubicBezTo>
                <a:cubicBezTo>
                  <a:pt x="854" y="422"/>
                  <a:pt x="850" y="430"/>
                  <a:pt x="804" y="434"/>
                </a:cubicBezTo>
                <a:cubicBezTo>
                  <a:pt x="804" y="446"/>
                  <a:pt x="804" y="446"/>
                  <a:pt x="804" y="446"/>
                </a:cubicBezTo>
                <a:cubicBezTo>
                  <a:pt x="960" y="446"/>
                  <a:pt x="960" y="446"/>
                  <a:pt x="960" y="446"/>
                </a:cubicBezTo>
                <a:cubicBezTo>
                  <a:pt x="960" y="434"/>
                  <a:pt x="960" y="434"/>
                  <a:pt x="960" y="434"/>
                </a:cubicBezTo>
                <a:cubicBezTo>
                  <a:pt x="910" y="428"/>
                  <a:pt x="910" y="424"/>
                  <a:pt x="910" y="292"/>
                </a:cubicBezTo>
                <a:cubicBezTo>
                  <a:pt x="910" y="268"/>
                  <a:pt x="910" y="268"/>
                  <a:pt x="910" y="268"/>
                </a:cubicBezTo>
                <a:cubicBezTo>
                  <a:pt x="930" y="246"/>
                  <a:pt x="930" y="246"/>
                  <a:pt x="930" y="246"/>
                </a:cubicBezTo>
                <a:cubicBezTo>
                  <a:pt x="982" y="310"/>
                  <a:pt x="1038" y="380"/>
                  <a:pt x="1098" y="448"/>
                </a:cubicBezTo>
                <a:cubicBezTo>
                  <a:pt x="1202" y="448"/>
                  <a:pt x="1202" y="448"/>
                  <a:pt x="1202" y="448"/>
                </a:cubicBezTo>
                <a:close/>
                <a:moveTo>
                  <a:pt x="1564" y="448"/>
                </a:moveTo>
                <a:cubicBezTo>
                  <a:pt x="1706" y="448"/>
                  <a:pt x="1706" y="448"/>
                  <a:pt x="1706" y="448"/>
                </a:cubicBezTo>
                <a:cubicBezTo>
                  <a:pt x="1706" y="436"/>
                  <a:pt x="1706" y="436"/>
                  <a:pt x="1706" y="436"/>
                </a:cubicBezTo>
                <a:cubicBezTo>
                  <a:pt x="1658" y="434"/>
                  <a:pt x="1658" y="432"/>
                  <a:pt x="1658" y="342"/>
                </a:cubicBezTo>
                <a:cubicBezTo>
                  <a:pt x="1658" y="280"/>
                  <a:pt x="1658" y="280"/>
                  <a:pt x="1658" y="280"/>
                </a:cubicBezTo>
                <a:cubicBezTo>
                  <a:pt x="1658" y="198"/>
                  <a:pt x="1612" y="172"/>
                  <a:pt x="1570" y="172"/>
                </a:cubicBezTo>
                <a:cubicBezTo>
                  <a:pt x="1534" y="172"/>
                  <a:pt x="1498" y="188"/>
                  <a:pt x="1470" y="224"/>
                </a:cubicBezTo>
                <a:cubicBezTo>
                  <a:pt x="1470" y="176"/>
                  <a:pt x="1470" y="176"/>
                  <a:pt x="1470" y="176"/>
                </a:cubicBezTo>
                <a:cubicBezTo>
                  <a:pt x="1368" y="176"/>
                  <a:pt x="1368" y="176"/>
                  <a:pt x="1368" y="176"/>
                </a:cubicBezTo>
                <a:cubicBezTo>
                  <a:pt x="1368" y="188"/>
                  <a:pt x="1368" y="188"/>
                  <a:pt x="1368" y="188"/>
                </a:cubicBezTo>
                <a:cubicBezTo>
                  <a:pt x="1412" y="190"/>
                  <a:pt x="1418" y="192"/>
                  <a:pt x="1418" y="268"/>
                </a:cubicBezTo>
                <a:cubicBezTo>
                  <a:pt x="1418" y="336"/>
                  <a:pt x="1418" y="336"/>
                  <a:pt x="1418" y="336"/>
                </a:cubicBezTo>
                <a:cubicBezTo>
                  <a:pt x="1418" y="434"/>
                  <a:pt x="1418" y="434"/>
                  <a:pt x="1370" y="436"/>
                </a:cubicBezTo>
                <a:cubicBezTo>
                  <a:pt x="1370" y="448"/>
                  <a:pt x="1370" y="448"/>
                  <a:pt x="1370" y="448"/>
                </a:cubicBezTo>
                <a:cubicBezTo>
                  <a:pt x="1514" y="448"/>
                  <a:pt x="1514" y="448"/>
                  <a:pt x="1514" y="448"/>
                </a:cubicBezTo>
                <a:cubicBezTo>
                  <a:pt x="1514" y="436"/>
                  <a:pt x="1514" y="436"/>
                  <a:pt x="1514" y="436"/>
                </a:cubicBezTo>
                <a:cubicBezTo>
                  <a:pt x="1472" y="432"/>
                  <a:pt x="1470" y="434"/>
                  <a:pt x="1470" y="338"/>
                </a:cubicBezTo>
                <a:cubicBezTo>
                  <a:pt x="1470" y="262"/>
                  <a:pt x="1470" y="262"/>
                  <a:pt x="1470" y="262"/>
                </a:cubicBezTo>
                <a:cubicBezTo>
                  <a:pt x="1470" y="236"/>
                  <a:pt x="1504" y="206"/>
                  <a:pt x="1546" y="206"/>
                </a:cubicBezTo>
                <a:cubicBezTo>
                  <a:pt x="1580" y="206"/>
                  <a:pt x="1606" y="220"/>
                  <a:pt x="1606" y="286"/>
                </a:cubicBezTo>
                <a:cubicBezTo>
                  <a:pt x="1606" y="340"/>
                  <a:pt x="1606" y="340"/>
                  <a:pt x="1606" y="340"/>
                </a:cubicBezTo>
                <a:cubicBezTo>
                  <a:pt x="1606" y="432"/>
                  <a:pt x="1602" y="432"/>
                  <a:pt x="1564" y="434"/>
                </a:cubicBezTo>
                <a:lnTo>
                  <a:pt x="1564" y="448"/>
                </a:lnTo>
                <a:close/>
                <a:moveTo>
                  <a:pt x="1776" y="222"/>
                </a:moveTo>
                <a:cubicBezTo>
                  <a:pt x="1776" y="200"/>
                  <a:pt x="1796" y="188"/>
                  <a:pt x="1822" y="188"/>
                </a:cubicBezTo>
                <a:cubicBezTo>
                  <a:pt x="1874" y="188"/>
                  <a:pt x="1896" y="236"/>
                  <a:pt x="1900" y="252"/>
                </a:cubicBezTo>
                <a:cubicBezTo>
                  <a:pt x="1912" y="252"/>
                  <a:pt x="1912" y="252"/>
                  <a:pt x="1912" y="252"/>
                </a:cubicBezTo>
                <a:cubicBezTo>
                  <a:pt x="1912" y="212"/>
                  <a:pt x="1908" y="188"/>
                  <a:pt x="1904" y="184"/>
                </a:cubicBezTo>
                <a:cubicBezTo>
                  <a:pt x="1900" y="180"/>
                  <a:pt x="1862" y="170"/>
                  <a:pt x="1824" y="170"/>
                </a:cubicBezTo>
                <a:cubicBezTo>
                  <a:pt x="1768" y="170"/>
                  <a:pt x="1734" y="206"/>
                  <a:pt x="1734" y="248"/>
                </a:cubicBezTo>
                <a:cubicBezTo>
                  <a:pt x="1734" y="340"/>
                  <a:pt x="1890" y="322"/>
                  <a:pt x="1890" y="396"/>
                </a:cubicBezTo>
                <a:cubicBezTo>
                  <a:pt x="1890" y="422"/>
                  <a:pt x="1866" y="436"/>
                  <a:pt x="1826" y="436"/>
                </a:cubicBezTo>
                <a:cubicBezTo>
                  <a:pt x="1788" y="436"/>
                  <a:pt x="1754" y="416"/>
                  <a:pt x="1744" y="366"/>
                </a:cubicBezTo>
                <a:cubicBezTo>
                  <a:pt x="1728" y="366"/>
                  <a:pt x="1728" y="366"/>
                  <a:pt x="1728" y="366"/>
                </a:cubicBezTo>
                <a:cubicBezTo>
                  <a:pt x="1728" y="386"/>
                  <a:pt x="1732" y="422"/>
                  <a:pt x="1734" y="428"/>
                </a:cubicBezTo>
                <a:cubicBezTo>
                  <a:pt x="1744" y="446"/>
                  <a:pt x="1788" y="454"/>
                  <a:pt x="1824" y="454"/>
                </a:cubicBezTo>
                <a:cubicBezTo>
                  <a:pt x="1888" y="454"/>
                  <a:pt x="1928" y="416"/>
                  <a:pt x="1928" y="372"/>
                </a:cubicBezTo>
                <a:cubicBezTo>
                  <a:pt x="1932" y="270"/>
                  <a:pt x="1776" y="286"/>
                  <a:pt x="1776" y="222"/>
                </a:cubicBezTo>
                <a:moveTo>
                  <a:pt x="2030" y="270"/>
                </a:moveTo>
                <a:cubicBezTo>
                  <a:pt x="2034" y="220"/>
                  <a:pt x="2058" y="192"/>
                  <a:pt x="2102" y="192"/>
                </a:cubicBezTo>
                <a:cubicBezTo>
                  <a:pt x="2144" y="192"/>
                  <a:pt x="2170" y="220"/>
                  <a:pt x="2172" y="270"/>
                </a:cubicBezTo>
                <a:lnTo>
                  <a:pt x="2030" y="270"/>
                </a:lnTo>
                <a:close/>
                <a:moveTo>
                  <a:pt x="2030" y="290"/>
                </a:moveTo>
                <a:cubicBezTo>
                  <a:pt x="2222" y="290"/>
                  <a:pt x="2222" y="290"/>
                  <a:pt x="2222" y="290"/>
                </a:cubicBezTo>
                <a:cubicBezTo>
                  <a:pt x="2226" y="228"/>
                  <a:pt x="2192" y="168"/>
                  <a:pt x="2114" y="168"/>
                </a:cubicBezTo>
                <a:cubicBezTo>
                  <a:pt x="2034" y="168"/>
                  <a:pt x="1982" y="232"/>
                  <a:pt x="1982" y="320"/>
                </a:cubicBezTo>
                <a:cubicBezTo>
                  <a:pt x="1982" y="388"/>
                  <a:pt x="2018" y="456"/>
                  <a:pt x="2112" y="456"/>
                </a:cubicBezTo>
                <a:cubicBezTo>
                  <a:pt x="2150" y="456"/>
                  <a:pt x="2198" y="440"/>
                  <a:pt x="2224" y="412"/>
                </a:cubicBezTo>
                <a:cubicBezTo>
                  <a:pt x="2218" y="400"/>
                  <a:pt x="2218" y="400"/>
                  <a:pt x="2218" y="400"/>
                </a:cubicBezTo>
                <a:cubicBezTo>
                  <a:pt x="2192" y="416"/>
                  <a:pt x="2164" y="422"/>
                  <a:pt x="2138" y="422"/>
                </a:cubicBezTo>
                <a:cubicBezTo>
                  <a:pt x="2058" y="420"/>
                  <a:pt x="2028" y="352"/>
                  <a:pt x="2030" y="290"/>
                </a:cubicBezTo>
                <a:moveTo>
                  <a:pt x="2478" y="242"/>
                </a:moveTo>
                <a:cubicBezTo>
                  <a:pt x="2490" y="206"/>
                  <a:pt x="2510" y="192"/>
                  <a:pt x="2528" y="192"/>
                </a:cubicBezTo>
                <a:cubicBezTo>
                  <a:pt x="2528" y="180"/>
                  <a:pt x="2528" y="180"/>
                  <a:pt x="2528" y="180"/>
                </a:cubicBezTo>
                <a:cubicBezTo>
                  <a:pt x="2430" y="180"/>
                  <a:pt x="2430" y="180"/>
                  <a:pt x="2430" y="180"/>
                </a:cubicBezTo>
                <a:cubicBezTo>
                  <a:pt x="2430" y="192"/>
                  <a:pt x="2430" y="192"/>
                  <a:pt x="2430" y="192"/>
                </a:cubicBezTo>
                <a:cubicBezTo>
                  <a:pt x="2454" y="194"/>
                  <a:pt x="2466" y="206"/>
                  <a:pt x="2458" y="234"/>
                </a:cubicBezTo>
                <a:cubicBezTo>
                  <a:pt x="2406" y="390"/>
                  <a:pt x="2406" y="390"/>
                  <a:pt x="2406" y="390"/>
                </a:cubicBezTo>
                <a:cubicBezTo>
                  <a:pt x="2354" y="270"/>
                  <a:pt x="2354" y="270"/>
                  <a:pt x="2354" y="270"/>
                </a:cubicBezTo>
                <a:cubicBezTo>
                  <a:pt x="2340" y="238"/>
                  <a:pt x="2334" y="224"/>
                  <a:pt x="2334" y="212"/>
                </a:cubicBezTo>
                <a:cubicBezTo>
                  <a:pt x="2334" y="202"/>
                  <a:pt x="2340" y="196"/>
                  <a:pt x="2360" y="192"/>
                </a:cubicBezTo>
                <a:cubicBezTo>
                  <a:pt x="2360" y="180"/>
                  <a:pt x="2360" y="180"/>
                  <a:pt x="2360" y="180"/>
                </a:cubicBezTo>
                <a:cubicBezTo>
                  <a:pt x="2234" y="180"/>
                  <a:pt x="2234" y="180"/>
                  <a:pt x="2234" y="180"/>
                </a:cubicBezTo>
                <a:cubicBezTo>
                  <a:pt x="2234" y="192"/>
                  <a:pt x="2234" y="192"/>
                  <a:pt x="2234" y="192"/>
                </a:cubicBezTo>
                <a:cubicBezTo>
                  <a:pt x="2266" y="194"/>
                  <a:pt x="2268" y="198"/>
                  <a:pt x="2310" y="292"/>
                </a:cubicBezTo>
                <a:cubicBezTo>
                  <a:pt x="2382" y="450"/>
                  <a:pt x="2382" y="450"/>
                  <a:pt x="2382" y="450"/>
                </a:cubicBezTo>
                <a:cubicBezTo>
                  <a:pt x="2358" y="512"/>
                  <a:pt x="2320" y="546"/>
                  <a:pt x="2242" y="564"/>
                </a:cubicBezTo>
                <a:cubicBezTo>
                  <a:pt x="2246" y="576"/>
                  <a:pt x="2260" y="600"/>
                  <a:pt x="2268" y="606"/>
                </a:cubicBezTo>
                <a:cubicBezTo>
                  <a:pt x="2370" y="564"/>
                  <a:pt x="2390" y="498"/>
                  <a:pt x="2426" y="396"/>
                </a:cubicBezTo>
                <a:lnTo>
                  <a:pt x="2478" y="242"/>
                </a:lnTo>
                <a:close/>
                <a:moveTo>
                  <a:pt x="2844" y="394"/>
                </a:moveTo>
                <a:cubicBezTo>
                  <a:pt x="2822" y="412"/>
                  <a:pt x="2782" y="416"/>
                  <a:pt x="2750" y="416"/>
                </a:cubicBezTo>
                <a:cubicBezTo>
                  <a:pt x="2670" y="416"/>
                  <a:pt x="2606" y="360"/>
                  <a:pt x="2606" y="284"/>
                </a:cubicBezTo>
                <a:cubicBezTo>
                  <a:pt x="2606" y="236"/>
                  <a:pt x="2626" y="206"/>
                  <a:pt x="2658" y="198"/>
                </a:cubicBezTo>
                <a:cubicBezTo>
                  <a:pt x="2698" y="266"/>
                  <a:pt x="2770" y="338"/>
                  <a:pt x="2844" y="394"/>
                </a:cubicBezTo>
                <a:moveTo>
                  <a:pt x="2928" y="448"/>
                </a:moveTo>
                <a:cubicBezTo>
                  <a:pt x="3022" y="448"/>
                  <a:pt x="3022" y="448"/>
                  <a:pt x="3022" y="448"/>
                </a:cubicBezTo>
                <a:cubicBezTo>
                  <a:pt x="3022" y="436"/>
                  <a:pt x="3022" y="436"/>
                  <a:pt x="3022" y="436"/>
                </a:cubicBezTo>
                <a:cubicBezTo>
                  <a:pt x="2992" y="432"/>
                  <a:pt x="2946" y="408"/>
                  <a:pt x="2896" y="372"/>
                </a:cubicBezTo>
                <a:cubicBezTo>
                  <a:pt x="2914" y="342"/>
                  <a:pt x="2918" y="300"/>
                  <a:pt x="2922" y="270"/>
                </a:cubicBezTo>
                <a:cubicBezTo>
                  <a:pt x="2926" y="244"/>
                  <a:pt x="2946" y="244"/>
                  <a:pt x="2958" y="242"/>
                </a:cubicBezTo>
                <a:cubicBezTo>
                  <a:pt x="2958" y="230"/>
                  <a:pt x="2958" y="230"/>
                  <a:pt x="2958" y="230"/>
                </a:cubicBezTo>
                <a:cubicBezTo>
                  <a:pt x="2834" y="230"/>
                  <a:pt x="2834" y="230"/>
                  <a:pt x="2834" y="230"/>
                </a:cubicBezTo>
                <a:cubicBezTo>
                  <a:pt x="2834" y="242"/>
                  <a:pt x="2834" y="242"/>
                  <a:pt x="2834" y="242"/>
                </a:cubicBezTo>
                <a:cubicBezTo>
                  <a:pt x="2864" y="246"/>
                  <a:pt x="2892" y="250"/>
                  <a:pt x="2892" y="294"/>
                </a:cubicBezTo>
                <a:cubicBezTo>
                  <a:pt x="2892" y="318"/>
                  <a:pt x="2888" y="342"/>
                  <a:pt x="2878" y="358"/>
                </a:cubicBezTo>
                <a:cubicBezTo>
                  <a:pt x="2770" y="274"/>
                  <a:pt x="2670" y="156"/>
                  <a:pt x="2670" y="96"/>
                </a:cubicBezTo>
                <a:cubicBezTo>
                  <a:pt x="2670" y="66"/>
                  <a:pt x="2688" y="54"/>
                  <a:pt x="2716" y="54"/>
                </a:cubicBezTo>
                <a:cubicBezTo>
                  <a:pt x="2752" y="54"/>
                  <a:pt x="2784" y="78"/>
                  <a:pt x="2800" y="124"/>
                </a:cubicBezTo>
                <a:cubicBezTo>
                  <a:pt x="2812" y="124"/>
                  <a:pt x="2812" y="124"/>
                  <a:pt x="2812" y="124"/>
                </a:cubicBezTo>
                <a:cubicBezTo>
                  <a:pt x="2810" y="42"/>
                  <a:pt x="2810" y="42"/>
                  <a:pt x="2810" y="42"/>
                </a:cubicBezTo>
                <a:cubicBezTo>
                  <a:pt x="2798" y="42"/>
                  <a:pt x="2798" y="42"/>
                  <a:pt x="2798" y="42"/>
                </a:cubicBezTo>
                <a:cubicBezTo>
                  <a:pt x="2798" y="48"/>
                  <a:pt x="2792" y="52"/>
                  <a:pt x="2788" y="52"/>
                </a:cubicBezTo>
                <a:cubicBezTo>
                  <a:pt x="2772" y="52"/>
                  <a:pt x="2752" y="36"/>
                  <a:pt x="2714" y="36"/>
                </a:cubicBezTo>
                <a:cubicBezTo>
                  <a:pt x="2672" y="36"/>
                  <a:pt x="2630" y="62"/>
                  <a:pt x="2630" y="118"/>
                </a:cubicBezTo>
                <a:cubicBezTo>
                  <a:pt x="2630" y="140"/>
                  <a:pt x="2636" y="160"/>
                  <a:pt x="2648" y="182"/>
                </a:cubicBezTo>
                <a:cubicBezTo>
                  <a:pt x="2592" y="200"/>
                  <a:pt x="2562" y="248"/>
                  <a:pt x="2562" y="304"/>
                </a:cubicBezTo>
                <a:cubicBezTo>
                  <a:pt x="2562" y="406"/>
                  <a:pt x="2640" y="460"/>
                  <a:pt x="2726" y="460"/>
                </a:cubicBezTo>
                <a:cubicBezTo>
                  <a:pt x="2780" y="460"/>
                  <a:pt x="2824" y="444"/>
                  <a:pt x="2862" y="410"/>
                </a:cubicBezTo>
                <a:cubicBezTo>
                  <a:pt x="2888" y="424"/>
                  <a:pt x="2912" y="442"/>
                  <a:pt x="2928" y="448"/>
                </a:cubicBezTo>
                <a:moveTo>
                  <a:pt x="3094" y="212"/>
                </a:moveTo>
                <a:cubicBezTo>
                  <a:pt x="3094" y="88"/>
                  <a:pt x="3154" y="20"/>
                  <a:pt x="3252" y="20"/>
                </a:cubicBezTo>
                <a:cubicBezTo>
                  <a:pt x="3328" y="20"/>
                  <a:pt x="3372" y="58"/>
                  <a:pt x="3392" y="134"/>
                </a:cubicBezTo>
                <a:cubicBezTo>
                  <a:pt x="3404" y="134"/>
                  <a:pt x="3404" y="134"/>
                  <a:pt x="3404" y="134"/>
                </a:cubicBezTo>
                <a:cubicBezTo>
                  <a:pt x="3400" y="4"/>
                  <a:pt x="3400" y="4"/>
                  <a:pt x="3400" y="4"/>
                </a:cubicBezTo>
                <a:cubicBezTo>
                  <a:pt x="3388" y="4"/>
                  <a:pt x="3388" y="4"/>
                  <a:pt x="3388" y="4"/>
                </a:cubicBezTo>
                <a:cubicBezTo>
                  <a:pt x="3384" y="14"/>
                  <a:pt x="3376" y="18"/>
                  <a:pt x="3364" y="18"/>
                </a:cubicBezTo>
                <a:cubicBezTo>
                  <a:pt x="3338" y="18"/>
                  <a:pt x="3314" y="0"/>
                  <a:pt x="3248" y="0"/>
                </a:cubicBezTo>
                <a:cubicBezTo>
                  <a:pt x="3118" y="0"/>
                  <a:pt x="3030" y="102"/>
                  <a:pt x="3030" y="242"/>
                </a:cubicBezTo>
                <a:cubicBezTo>
                  <a:pt x="3030" y="376"/>
                  <a:pt x="3110" y="460"/>
                  <a:pt x="3238" y="460"/>
                </a:cubicBezTo>
                <a:cubicBezTo>
                  <a:pt x="3320" y="460"/>
                  <a:pt x="3384" y="420"/>
                  <a:pt x="3408" y="380"/>
                </a:cubicBezTo>
                <a:cubicBezTo>
                  <a:pt x="3396" y="366"/>
                  <a:pt x="3396" y="366"/>
                  <a:pt x="3396" y="366"/>
                </a:cubicBezTo>
                <a:cubicBezTo>
                  <a:pt x="3370" y="402"/>
                  <a:pt x="3314" y="426"/>
                  <a:pt x="3256" y="426"/>
                </a:cubicBezTo>
                <a:cubicBezTo>
                  <a:pt x="3156" y="426"/>
                  <a:pt x="3094" y="340"/>
                  <a:pt x="3094" y="212"/>
                </a:cubicBezTo>
                <a:moveTo>
                  <a:pt x="3678" y="328"/>
                </a:moveTo>
                <a:cubicBezTo>
                  <a:pt x="3678" y="392"/>
                  <a:pt x="3650" y="430"/>
                  <a:pt x="3592" y="430"/>
                </a:cubicBezTo>
                <a:cubicBezTo>
                  <a:pt x="3542" y="430"/>
                  <a:pt x="3496" y="384"/>
                  <a:pt x="3496" y="292"/>
                </a:cubicBezTo>
                <a:cubicBezTo>
                  <a:pt x="3496" y="226"/>
                  <a:pt x="3528" y="190"/>
                  <a:pt x="3580" y="190"/>
                </a:cubicBezTo>
                <a:cubicBezTo>
                  <a:pt x="3628" y="192"/>
                  <a:pt x="3678" y="238"/>
                  <a:pt x="3678" y="328"/>
                </a:cubicBezTo>
                <a:moveTo>
                  <a:pt x="3732" y="312"/>
                </a:moveTo>
                <a:cubicBezTo>
                  <a:pt x="3732" y="260"/>
                  <a:pt x="3710" y="214"/>
                  <a:pt x="3672" y="190"/>
                </a:cubicBezTo>
                <a:cubicBezTo>
                  <a:pt x="3650" y="176"/>
                  <a:pt x="3620" y="168"/>
                  <a:pt x="3588" y="168"/>
                </a:cubicBezTo>
                <a:cubicBezTo>
                  <a:pt x="3502" y="168"/>
                  <a:pt x="3442" y="230"/>
                  <a:pt x="3442" y="310"/>
                </a:cubicBezTo>
                <a:cubicBezTo>
                  <a:pt x="3442" y="364"/>
                  <a:pt x="3464" y="408"/>
                  <a:pt x="3502" y="432"/>
                </a:cubicBezTo>
                <a:cubicBezTo>
                  <a:pt x="3524" y="446"/>
                  <a:pt x="3554" y="452"/>
                  <a:pt x="3586" y="452"/>
                </a:cubicBezTo>
                <a:cubicBezTo>
                  <a:pt x="3672" y="454"/>
                  <a:pt x="3732" y="394"/>
                  <a:pt x="3732" y="312"/>
                </a:cubicBezTo>
                <a:moveTo>
                  <a:pt x="4136" y="448"/>
                </a:moveTo>
                <a:cubicBezTo>
                  <a:pt x="4280" y="448"/>
                  <a:pt x="4280" y="448"/>
                  <a:pt x="4280" y="448"/>
                </a:cubicBezTo>
                <a:cubicBezTo>
                  <a:pt x="4280" y="436"/>
                  <a:pt x="4280" y="436"/>
                  <a:pt x="4280" y="436"/>
                </a:cubicBezTo>
                <a:cubicBezTo>
                  <a:pt x="4230" y="434"/>
                  <a:pt x="4232" y="426"/>
                  <a:pt x="4232" y="348"/>
                </a:cubicBezTo>
                <a:cubicBezTo>
                  <a:pt x="4232" y="276"/>
                  <a:pt x="4232" y="276"/>
                  <a:pt x="4232" y="276"/>
                </a:cubicBezTo>
                <a:cubicBezTo>
                  <a:pt x="4232" y="200"/>
                  <a:pt x="4190" y="172"/>
                  <a:pt x="4142" y="172"/>
                </a:cubicBezTo>
                <a:cubicBezTo>
                  <a:pt x="4098" y="172"/>
                  <a:pt x="4064" y="196"/>
                  <a:pt x="4038" y="232"/>
                </a:cubicBezTo>
                <a:cubicBezTo>
                  <a:pt x="4028" y="194"/>
                  <a:pt x="4000" y="172"/>
                  <a:pt x="3954" y="172"/>
                </a:cubicBezTo>
                <a:cubicBezTo>
                  <a:pt x="3916" y="172"/>
                  <a:pt x="3880" y="196"/>
                  <a:pt x="3858" y="224"/>
                </a:cubicBezTo>
                <a:cubicBezTo>
                  <a:pt x="3858" y="176"/>
                  <a:pt x="3858" y="176"/>
                  <a:pt x="3858" y="176"/>
                </a:cubicBezTo>
                <a:cubicBezTo>
                  <a:pt x="3756" y="176"/>
                  <a:pt x="3756" y="176"/>
                  <a:pt x="3756" y="176"/>
                </a:cubicBezTo>
                <a:cubicBezTo>
                  <a:pt x="3756" y="188"/>
                  <a:pt x="3756" y="188"/>
                  <a:pt x="3756" y="188"/>
                </a:cubicBezTo>
                <a:cubicBezTo>
                  <a:pt x="3800" y="190"/>
                  <a:pt x="3806" y="192"/>
                  <a:pt x="3806" y="268"/>
                </a:cubicBezTo>
                <a:cubicBezTo>
                  <a:pt x="3806" y="346"/>
                  <a:pt x="3806" y="346"/>
                  <a:pt x="3806" y="346"/>
                </a:cubicBezTo>
                <a:cubicBezTo>
                  <a:pt x="3806" y="434"/>
                  <a:pt x="3804" y="434"/>
                  <a:pt x="3758" y="434"/>
                </a:cubicBezTo>
                <a:cubicBezTo>
                  <a:pt x="3758" y="446"/>
                  <a:pt x="3758" y="446"/>
                  <a:pt x="3758" y="446"/>
                </a:cubicBezTo>
                <a:cubicBezTo>
                  <a:pt x="3902" y="446"/>
                  <a:pt x="3902" y="446"/>
                  <a:pt x="3902" y="446"/>
                </a:cubicBezTo>
                <a:cubicBezTo>
                  <a:pt x="3902" y="434"/>
                  <a:pt x="3902" y="434"/>
                  <a:pt x="3902" y="434"/>
                </a:cubicBezTo>
                <a:cubicBezTo>
                  <a:pt x="3862" y="430"/>
                  <a:pt x="3858" y="430"/>
                  <a:pt x="3858" y="342"/>
                </a:cubicBezTo>
                <a:cubicBezTo>
                  <a:pt x="3858" y="262"/>
                  <a:pt x="3858" y="262"/>
                  <a:pt x="3858" y="262"/>
                </a:cubicBezTo>
                <a:cubicBezTo>
                  <a:pt x="3858" y="234"/>
                  <a:pt x="3894" y="204"/>
                  <a:pt x="3932" y="204"/>
                </a:cubicBezTo>
                <a:cubicBezTo>
                  <a:pt x="3974" y="204"/>
                  <a:pt x="3990" y="226"/>
                  <a:pt x="3990" y="282"/>
                </a:cubicBezTo>
                <a:cubicBezTo>
                  <a:pt x="3990" y="338"/>
                  <a:pt x="3990" y="338"/>
                  <a:pt x="3990" y="338"/>
                </a:cubicBezTo>
                <a:cubicBezTo>
                  <a:pt x="3990" y="428"/>
                  <a:pt x="3988" y="432"/>
                  <a:pt x="3950" y="436"/>
                </a:cubicBezTo>
                <a:cubicBezTo>
                  <a:pt x="3950" y="448"/>
                  <a:pt x="3950" y="448"/>
                  <a:pt x="3950" y="448"/>
                </a:cubicBezTo>
                <a:cubicBezTo>
                  <a:pt x="4086" y="448"/>
                  <a:pt x="4086" y="448"/>
                  <a:pt x="4086" y="448"/>
                </a:cubicBezTo>
                <a:cubicBezTo>
                  <a:pt x="4086" y="436"/>
                  <a:pt x="4086" y="436"/>
                  <a:pt x="4086" y="436"/>
                </a:cubicBezTo>
                <a:cubicBezTo>
                  <a:pt x="4040" y="432"/>
                  <a:pt x="4042" y="428"/>
                  <a:pt x="4042" y="342"/>
                </a:cubicBezTo>
                <a:cubicBezTo>
                  <a:pt x="4042" y="264"/>
                  <a:pt x="4042" y="264"/>
                  <a:pt x="4042" y="264"/>
                </a:cubicBezTo>
                <a:cubicBezTo>
                  <a:pt x="4042" y="236"/>
                  <a:pt x="4078" y="206"/>
                  <a:pt x="4118" y="206"/>
                </a:cubicBezTo>
                <a:cubicBezTo>
                  <a:pt x="4152" y="206"/>
                  <a:pt x="4174" y="226"/>
                  <a:pt x="4174" y="284"/>
                </a:cubicBezTo>
                <a:cubicBezTo>
                  <a:pt x="4174" y="346"/>
                  <a:pt x="4174" y="346"/>
                  <a:pt x="4174" y="346"/>
                </a:cubicBezTo>
                <a:cubicBezTo>
                  <a:pt x="4174" y="428"/>
                  <a:pt x="4174" y="432"/>
                  <a:pt x="4134" y="436"/>
                </a:cubicBezTo>
                <a:cubicBezTo>
                  <a:pt x="4134" y="448"/>
                  <a:pt x="4134" y="448"/>
                  <a:pt x="4134" y="448"/>
                </a:cubicBezTo>
                <a:lnTo>
                  <a:pt x="4136" y="448"/>
                </a:lnTo>
                <a:close/>
                <a:moveTo>
                  <a:pt x="4546" y="316"/>
                </a:moveTo>
                <a:cubicBezTo>
                  <a:pt x="4546" y="388"/>
                  <a:pt x="4516" y="432"/>
                  <a:pt x="4460" y="432"/>
                </a:cubicBezTo>
                <a:cubicBezTo>
                  <a:pt x="4424" y="432"/>
                  <a:pt x="4384" y="412"/>
                  <a:pt x="4384" y="384"/>
                </a:cubicBezTo>
                <a:cubicBezTo>
                  <a:pt x="4384" y="248"/>
                  <a:pt x="4384" y="248"/>
                  <a:pt x="4384" y="248"/>
                </a:cubicBezTo>
                <a:cubicBezTo>
                  <a:pt x="4384" y="226"/>
                  <a:pt x="4416" y="202"/>
                  <a:pt x="4454" y="202"/>
                </a:cubicBezTo>
                <a:cubicBezTo>
                  <a:pt x="4510" y="206"/>
                  <a:pt x="4546" y="248"/>
                  <a:pt x="4546" y="316"/>
                </a:cubicBezTo>
                <a:moveTo>
                  <a:pt x="4600" y="310"/>
                </a:moveTo>
                <a:cubicBezTo>
                  <a:pt x="4600" y="230"/>
                  <a:pt x="4548" y="170"/>
                  <a:pt x="4478" y="170"/>
                </a:cubicBezTo>
                <a:cubicBezTo>
                  <a:pt x="4438" y="170"/>
                  <a:pt x="4406" y="188"/>
                  <a:pt x="4384" y="214"/>
                </a:cubicBezTo>
                <a:cubicBezTo>
                  <a:pt x="4384" y="174"/>
                  <a:pt x="4384" y="174"/>
                  <a:pt x="4384" y="174"/>
                </a:cubicBezTo>
                <a:cubicBezTo>
                  <a:pt x="4284" y="174"/>
                  <a:pt x="4284" y="174"/>
                  <a:pt x="4284" y="174"/>
                </a:cubicBezTo>
                <a:cubicBezTo>
                  <a:pt x="4284" y="186"/>
                  <a:pt x="4284" y="186"/>
                  <a:pt x="4284" y="186"/>
                </a:cubicBezTo>
                <a:cubicBezTo>
                  <a:pt x="4326" y="188"/>
                  <a:pt x="4332" y="190"/>
                  <a:pt x="4332" y="280"/>
                </a:cubicBezTo>
                <a:cubicBezTo>
                  <a:pt x="4332" y="466"/>
                  <a:pt x="4332" y="466"/>
                  <a:pt x="4332" y="466"/>
                </a:cubicBezTo>
                <a:cubicBezTo>
                  <a:pt x="4332" y="564"/>
                  <a:pt x="4334" y="570"/>
                  <a:pt x="4286" y="574"/>
                </a:cubicBezTo>
                <a:cubicBezTo>
                  <a:pt x="4286" y="588"/>
                  <a:pt x="4286" y="588"/>
                  <a:pt x="4286" y="588"/>
                </a:cubicBezTo>
                <a:cubicBezTo>
                  <a:pt x="4432" y="588"/>
                  <a:pt x="4432" y="588"/>
                  <a:pt x="4432" y="588"/>
                </a:cubicBezTo>
                <a:cubicBezTo>
                  <a:pt x="4432" y="574"/>
                  <a:pt x="4432" y="574"/>
                  <a:pt x="4432" y="574"/>
                </a:cubicBezTo>
                <a:cubicBezTo>
                  <a:pt x="4380" y="572"/>
                  <a:pt x="4384" y="564"/>
                  <a:pt x="4384" y="462"/>
                </a:cubicBezTo>
                <a:cubicBezTo>
                  <a:pt x="4384" y="424"/>
                  <a:pt x="4384" y="424"/>
                  <a:pt x="4384" y="424"/>
                </a:cubicBezTo>
                <a:cubicBezTo>
                  <a:pt x="4404" y="444"/>
                  <a:pt x="4436" y="454"/>
                  <a:pt x="4466" y="454"/>
                </a:cubicBezTo>
                <a:cubicBezTo>
                  <a:pt x="4548" y="454"/>
                  <a:pt x="4600" y="392"/>
                  <a:pt x="4600" y="310"/>
                </a:cubicBezTo>
                <a:moveTo>
                  <a:pt x="4792" y="382"/>
                </a:moveTo>
                <a:cubicBezTo>
                  <a:pt x="4792" y="404"/>
                  <a:pt x="4762" y="424"/>
                  <a:pt x="4736" y="424"/>
                </a:cubicBezTo>
                <a:cubicBezTo>
                  <a:pt x="4712" y="424"/>
                  <a:pt x="4694" y="410"/>
                  <a:pt x="4694" y="378"/>
                </a:cubicBezTo>
                <a:cubicBezTo>
                  <a:pt x="4694" y="322"/>
                  <a:pt x="4752" y="328"/>
                  <a:pt x="4792" y="306"/>
                </a:cubicBezTo>
                <a:cubicBezTo>
                  <a:pt x="4792" y="382"/>
                  <a:pt x="4792" y="382"/>
                  <a:pt x="4792" y="382"/>
                </a:cubicBezTo>
                <a:close/>
                <a:moveTo>
                  <a:pt x="5240" y="434"/>
                </a:moveTo>
                <a:cubicBezTo>
                  <a:pt x="5192" y="432"/>
                  <a:pt x="5192" y="430"/>
                  <a:pt x="5192" y="340"/>
                </a:cubicBezTo>
                <a:cubicBezTo>
                  <a:pt x="5192" y="278"/>
                  <a:pt x="5192" y="278"/>
                  <a:pt x="5192" y="278"/>
                </a:cubicBezTo>
                <a:cubicBezTo>
                  <a:pt x="5192" y="196"/>
                  <a:pt x="5146" y="170"/>
                  <a:pt x="5104" y="170"/>
                </a:cubicBezTo>
                <a:cubicBezTo>
                  <a:pt x="5068" y="170"/>
                  <a:pt x="5032" y="186"/>
                  <a:pt x="5004" y="222"/>
                </a:cubicBezTo>
                <a:cubicBezTo>
                  <a:pt x="5004" y="174"/>
                  <a:pt x="5004" y="174"/>
                  <a:pt x="5004" y="174"/>
                </a:cubicBezTo>
                <a:cubicBezTo>
                  <a:pt x="4902" y="174"/>
                  <a:pt x="4902" y="174"/>
                  <a:pt x="4902" y="174"/>
                </a:cubicBezTo>
                <a:cubicBezTo>
                  <a:pt x="4902" y="186"/>
                  <a:pt x="4902" y="186"/>
                  <a:pt x="4902" y="186"/>
                </a:cubicBezTo>
                <a:cubicBezTo>
                  <a:pt x="4946" y="188"/>
                  <a:pt x="4952" y="190"/>
                  <a:pt x="4952" y="266"/>
                </a:cubicBezTo>
                <a:cubicBezTo>
                  <a:pt x="4952" y="334"/>
                  <a:pt x="4952" y="334"/>
                  <a:pt x="4952" y="334"/>
                </a:cubicBezTo>
                <a:cubicBezTo>
                  <a:pt x="4952" y="430"/>
                  <a:pt x="4952" y="432"/>
                  <a:pt x="4904" y="434"/>
                </a:cubicBezTo>
                <a:cubicBezTo>
                  <a:pt x="4892" y="434"/>
                  <a:pt x="4892" y="434"/>
                  <a:pt x="4892" y="434"/>
                </a:cubicBezTo>
                <a:cubicBezTo>
                  <a:pt x="4854" y="434"/>
                  <a:pt x="4850" y="422"/>
                  <a:pt x="4850" y="366"/>
                </a:cubicBezTo>
                <a:cubicBezTo>
                  <a:pt x="4850" y="274"/>
                  <a:pt x="4850" y="274"/>
                  <a:pt x="4850" y="274"/>
                </a:cubicBezTo>
                <a:cubicBezTo>
                  <a:pt x="4850" y="256"/>
                  <a:pt x="4848" y="240"/>
                  <a:pt x="4844" y="228"/>
                </a:cubicBezTo>
                <a:cubicBezTo>
                  <a:pt x="4830" y="186"/>
                  <a:pt x="4796" y="170"/>
                  <a:pt x="4748" y="170"/>
                </a:cubicBezTo>
                <a:cubicBezTo>
                  <a:pt x="4718" y="170"/>
                  <a:pt x="4674" y="180"/>
                  <a:pt x="4650" y="202"/>
                </a:cubicBezTo>
                <a:cubicBezTo>
                  <a:pt x="4652" y="214"/>
                  <a:pt x="4664" y="240"/>
                  <a:pt x="4670" y="248"/>
                </a:cubicBezTo>
                <a:cubicBezTo>
                  <a:pt x="4676" y="246"/>
                  <a:pt x="4676" y="246"/>
                  <a:pt x="4676" y="246"/>
                </a:cubicBezTo>
                <a:cubicBezTo>
                  <a:pt x="4688" y="216"/>
                  <a:pt x="4708" y="194"/>
                  <a:pt x="4742" y="194"/>
                </a:cubicBezTo>
                <a:cubicBezTo>
                  <a:pt x="4778" y="194"/>
                  <a:pt x="4794" y="220"/>
                  <a:pt x="4794" y="250"/>
                </a:cubicBezTo>
                <a:cubicBezTo>
                  <a:pt x="4794" y="282"/>
                  <a:pt x="4794" y="282"/>
                  <a:pt x="4794" y="282"/>
                </a:cubicBezTo>
                <a:cubicBezTo>
                  <a:pt x="4794" y="302"/>
                  <a:pt x="4702" y="306"/>
                  <a:pt x="4664" y="338"/>
                </a:cubicBezTo>
                <a:cubicBezTo>
                  <a:pt x="4652" y="350"/>
                  <a:pt x="4642" y="364"/>
                  <a:pt x="4642" y="384"/>
                </a:cubicBezTo>
                <a:cubicBezTo>
                  <a:pt x="4642" y="426"/>
                  <a:pt x="4672" y="456"/>
                  <a:pt x="4716" y="456"/>
                </a:cubicBezTo>
                <a:cubicBezTo>
                  <a:pt x="4744" y="456"/>
                  <a:pt x="4768" y="446"/>
                  <a:pt x="4794" y="418"/>
                </a:cubicBezTo>
                <a:cubicBezTo>
                  <a:pt x="4798" y="438"/>
                  <a:pt x="4814" y="448"/>
                  <a:pt x="4842" y="448"/>
                </a:cubicBezTo>
                <a:cubicBezTo>
                  <a:pt x="4906" y="448"/>
                  <a:pt x="4906" y="448"/>
                  <a:pt x="4906" y="448"/>
                </a:cubicBezTo>
                <a:cubicBezTo>
                  <a:pt x="4906" y="448"/>
                  <a:pt x="4906" y="448"/>
                  <a:pt x="4906" y="448"/>
                </a:cubicBezTo>
                <a:cubicBezTo>
                  <a:pt x="5048" y="448"/>
                  <a:pt x="5048" y="448"/>
                  <a:pt x="5048" y="448"/>
                </a:cubicBezTo>
                <a:cubicBezTo>
                  <a:pt x="5048" y="436"/>
                  <a:pt x="5048" y="436"/>
                  <a:pt x="5048" y="436"/>
                </a:cubicBezTo>
                <a:cubicBezTo>
                  <a:pt x="5006" y="432"/>
                  <a:pt x="5004" y="434"/>
                  <a:pt x="5004" y="338"/>
                </a:cubicBezTo>
                <a:cubicBezTo>
                  <a:pt x="5004" y="262"/>
                  <a:pt x="5004" y="262"/>
                  <a:pt x="5004" y="262"/>
                </a:cubicBezTo>
                <a:cubicBezTo>
                  <a:pt x="5004" y="236"/>
                  <a:pt x="5038" y="206"/>
                  <a:pt x="5080" y="206"/>
                </a:cubicBezTo>
                <a:cubicBezTo>
                  <a:pt x="5114" y="206"/>
                  <a:pt x="5140" y="220"/>
                  <a:pt x="5140" y="286"/>
                </a:cubicBezTo>
                <a:cubicBezTo>
                  <a:pt x="5140" y="340"/>
                  <a:pt x="5140" y="340"/>
                  <a:pt x="5140" y="340"/>
                </a:cubicBezTo>
                <a:cubicBezTo>
                  <a:pt x="5140" y="432"/>
                  <a:pt x="5136" y="432"/>
                  <a:pt x="5098" y="434"/>
                </a:cubicBezTo>
                <a:cubicBezTo>
                  <a:pt x="5098" y="446"/>
                  <a:pt x="5098" y="446"/>
                  <a:pt x="5098" y="446"/>
                </a:cubicBezTo>
                <a:cubicBezTo>
                  <a:pt x="5240" y="446"/>
                  <a:pt x="5240" y="446"/>
                  <a:pt x="5240" y="446"/>
                </a:cubicBezTo>
                <a:lnTo>
                  <a:pt x="5240" y="434"/>
                </a:lnTo>
                <a:close/>
                <a:moveTo>
                  <a:pt x="5516" y="192"/>
                </a:moveTo>
                <a:cubicBezTo>
                  <a:pt x="5516" y="180"/>
                  <a:pt x="5516" y="180"/>
                  <a:pt x="5516" y="180"/>
                </a:cubicBezTo>
                <a:cubicBezTo>
                  <a:pt x="5418" y="180"/>
                  <a:pt x="5418" y="180"/>
                  <a:pt x="5418" y="180"/>
                </a:cubicBezTo>
                <a:cubicBezTo>
                  <a:pt x="5418" y="192"/>
                  <a:pt x="5418" y="192"/>
                  <a:pt x="5418" y="192"/>
                </a:cubicBezTo>
                <a:cubicBezTo>
                  <a:pt x="5442" y="194"/>
                  <a:pt x="5454" y="206"/>
                  <a:pt x="5446" y="234"/>
                </a:cubicBezTo>
                <a:cubicBezTo>
                  <a:pt x="5394" y="390"/>
                  <a:pt x="5394" y="390"/>
                  <a:pt x="5394" y="390"/>
                </a:cubicBezTo>
                <a:cubicBezTo>
                  <a:pt x="5342" y="270"/>
                  <a:pt x="5342" y="270"/>
                  <a:pt x="5342" y="270"/>
                </a:cubicBezTo>
                <a:cubicBezTo>
                  <a:pt x="5328" y="238"/>
                  <a:pt x="5322" y="224"/>
                  <a:pt x="5322" y="212"/>
                </a:cubicBezTo>
                <a:cubicBezTo>
                  <a:pt x="5322" y="202"/>
                  <a:pt x="5328" y="196"/>
                  <a:pt x="5348" y="192"/>
                </a:cubicBezTo>
                <a:cubicBezTo>
                  <a:pt x="5348" y="180"/>
                  <a:pt x="5348" y="180"/>
                  <a:pt x="5348" y="180"/>
                </a:cubicBezTo>
                <a:cubicBezTo>
                  <a:pt x="5220" y="180"/>
                  <a:pt x="5220" y="180"/>
                  <a:pt x="5220" y="180"/>
                </a:cubicBezTo>
                <a:cubicBezTo>
                  <a:pt x="5220" y="192"/>
                  <a:pt x="5220" y="192"/>
                  <a:pt x="5220" y="192"/>
                </a:cubicBezTo>
                <a:cubicBezTo>
                  <a:pt x="5252" y="194"/>
                  <a:pt x="5254" y="198"/>
                  <a:pt x="5296" y="292"/>
                </a:cubicBezTo>
                <a:cubicBezTo>
                  <a:pt x="5368" y="450"/>
                  <a:pt x="5368" y="450"/>
                  <a:pt x="5368" y="450"/>
                </a:cubicBezTo>
                <a:cubicBezTo>
                  <a:pt x="5344" y="512"/>
                  <a:pt x="5306" y="546"/>
                  <a:pt x="5228" y="564"/>
                </a:cubicBezTo>
                <a:cubicBezTo>
                  <a:pt x="5232" y="576"/>
                  <a:pt x="5246" y="600"/>
                  <a:pt x="5254" y="606"/>
                </a:cubicBezTo>
                <a:cubicBezTo>
                  <a:pt x="5356" y="564"/>
                  <a:pt x="5376" y="498"/>
                  <a:pt x="5412" y="396"/>
                </a:cubicBezTo>
                <a:cubicBezTo>
                  <a:pt x="5466" y="242"/>
                  <a:pt x="5466" y="242"/>
                  <a:pt x="5466" y="242"/>
                </a:cubicBezTo>
                <a:cubicBezTo>
                  <a:pt x="5478" y="206"/>
                  <a:pt x="5498" y="192"/>
                  <a:pt x="5516" y="192"/>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600" kern="1200">
                <a:solidFill>
                  <a:schemeClr val="tx1"/>
                </a:solidFill>
                <a:latin typeface="Arial" charset="0"/>
                <a:ea typeface="+mn-ea"/>
                <a:cs typeface="+mn-cs"/>
              </a:defRPr>
            </a:lvl1pPr>
            <a:lvl2pPr marL="457200" algn="l" rtl="0" fontAlgn="base">
              <a:spcBef>
                <a:spcPct val="0"/>
              </a:spcBef>
              <a:spcAft>
                <a:spcPct val="0"/>
              </a:spcAft>
              <a:defRPr sz="1600" kern="1200">
                <a:solidFill>
                  <a:schemeClr val="tx1"/>
                </a:solidFill>
                <a:latin typeface="Arial" charset="0"/>
                <a:ea typeface="+mn-ea"/>
                <a:cs typeface="+mn-cs"/>
              </a:defRPr>
            </a:lvl2pPr>
            <a:lvl3pPr marL="914400" algn="l" rtl="0" fontAlgn="base">
              <a:spcBef>
                <a:spcPct val="0"/>
              </a:spcBef>
              <a:spcAft>
                <a:spcPct val="0"/>
              </a:spcAft>
              <a:defRPr sz="1600" kern="1200">
                <a:solidFill>
                  <a:schemeClr val="tx1"/>
                </a:solidFill>
                <a:latin typeface="Arial" charset="0"/>
                <a:ea typeface="+mn-ea"/>
                <a:cs typeface="+mn-cs"/>
              </a:defRPr>
            </a:lvl3pPr>
            <a:lvl4pPr marL="1371600" algn="l" rtl="0" fontAlgn="base">
              <a:spcBef>
                <a:spcPct val="0"/>
              </a:spcBef>
              <a:spcAft>
                <a:spcPct val="0"/>
              </a:spcAft>
              <a:defRPr sz="1600" kern="1200">
                <a:solidFill>
                  <a:schemeClr val="tx1"/>
                </a:solidFill>
                <a:latin typeface="Arial" charset="0"/>
                <a:ea typeface="+mn-ea"/>
                <a:cs typeface="+mn-cs"/>
              </a:defRPr>
            </a:lvl4pPr>
            <a:lvl5pPr marL="1828800" algn="l" rtl="0" fontAlgn="base">
              <a:spcBef>
                <a:spcPct val="0"/>
              </a:spcBef>
              <a:spcAft>
                <a:spcPct val="0"/>
              </a:spcAft>
              <a:defRPr sz="1600" kern="1200">
                <a:solidFill>
                  <a:schemeClr val="tx1"/>
                </a:solidFill>
                <a:latin typeface="Arial" charset="0"/>
                <a:ea typeface="+mn-ea"/>
                <a:cs typeface="+mn-cs"/>
              </a:defRPr>
            </a:lvl5pPr>
            <a:lvl6pPr marL="2286000" algn="l" defTabSz="914400" rtl="0" eaLnBrk="1" latinLnBrk="0" hangingPunct="1">
              <a:defRPr sz="1600" kern="1200">
                <a:solidFill>
                  <a:schemeClr val="tx1"/>
                </a:solidFill>
                <a:latin typeface="Arial" charset="0"/>
                <a:ea typeface="+mn-ea"/>
                <a:cs typeface="+mn-cs"/>
              </a:defRPr>
            </a:lvl6pPr>
            <a:lvl7pPr marL="2743200" algn="l" defTabSz="914400" rtl="0" eaLnBrk="1" latinLnBrk="0" hangingPunct="1">
              <a:defRPr sz="1600" kern="1200">
                <a:solidFill>
                  <a:schemeClr val="tx1"/>
                </a:solidFill>
                <a:latin typeface="Arial" charset="0"/>
                <a:ea typeface="+mn-ea"/>
                <a:cs typeface="+mn-cs"/>
              </a:defRPr>
            </a:lvl7pPr>
            <a:lvl8pPr marL="3200400" algn="l" defTabSz="914400" rtl="0" eaLnBrk="1" latinLnBrk="0" hangingPunct="1">
              <a:defRPr sz="1600" kern="1200">
                <a:solidFill>
                  <a:schemeClr val="tx1"/>
                </a:solidFill>
                <a:latin typeface="Arial" charset="0"/>
                <a:ea typeface="+mn-ea"/>
                <a:cs typeface="+mn-cs"/>
              </a:defRPr>
            </a:lvl8pPr>
            <a:lvl9pPr marL="3657600" algn="l" defTabSz="914400" rtl="0" eaLnBrk="1" latinLnBrk="0" hangingPunct="1">
              <a:defRPr sz="1600" kern="1200">
                <a:solidFill>
                  <a:schemeClr val="tx1"/>
                </a:solidFill>
                <a:latin typeface="Arial" charset="0"/>
                <a:ea typeface="+mn-ea"/>
                <a:cs typeface="+mn-cs"/>
              </a:defRPr>
            </a:lvl9pPr>
          </a:lstStyle>
          <a:p>
            <a:endParaRPr lang="en-US" baseline="0" dirty="0">
              <a:solidFill>
                <a:srgbClr val="000000"/>
              </a:solidFill>
              <a:latin typeface="+mn-lt"/>
            </a:endParaRPr>
          </a:p>
        </p:txBody>
      </p:sp>
      <p:sp>
        <p:nvSpPr>
          <p:cNvPr id="27" name="Disclaimer-English (United States)" hidden="1"/>
          <p:cNvSpPr>
            <a:spLocks noChangeArrowheads="1"/>
          </p:cNvSpPr>
          <p:nvPr/>
        </p:nvSpPr>
        <p:spPr bwMode="black">
          <a:xfrm>
            <a:off x="2268266" y="6287785"/>
            <a:ext cx="3544453" cy="36908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t" anchorCtr="0">
            <a:noAutofit/>
          </a:bodyPr>
          <a:lstStyle/>
          <a:p>
            <a:pPr defTabSz="804863" eaLnBrk="0" hangingPunct="0"/>
            <a:r>
              <a:rPr lang="en-US" sz="800" baseline="0" dirty="0">
                <a:solidFill>
                  <a:srgbClr val="FFFFFF"/>
                </a:solidFill>
                <a:latin typeface="+mn-lt"/>
              </a:rPr>
              <a:t>CONFIDENTIAL AND PROPRIETARY</a:t>
            </a:r>
          </a:p>
          <a:p>
            <a:pPr defTabSz="804863" eaLnBrk="0" hangingPunct="0"/>
            <a:r>
              <a:rPr lang="en-US" sz="800" baseline="0" dirty="0">
                <a:solidFill>
                  <a:srgbClr val="FFFFFF"/>
                </a:solidFill>
                <a:latin typeface="+mn-lt"/>
              </a:rPr>
              <a:t>Any use of this material without specific permission of McKinsey &amp; Company is strictly prohibited</a:t>
            </a:r>
          </a:p>
        </p:txBody>
      </p:sp>
    </p:spTree>
    <p:extLst>
      <p:ext uri="{BB962C8B-B14F-4D97-AF65-F5344CB8AC3E}">
        <p14:creationId xmlns:p14="http://schemas.microsoft.com/office/powerpoint/2010/main" val="3191389454"/>
      </p:ext>
    </p:extLst>
  </p:cSld>
  <p:clrMapOvr>
    <a:masterClrMapping/>
  </p:clrMapOvr>
  <p:extLst mod="1">
    <p:ext uri="{DCECCB84-F9BA-43D5-87BE-67443E8EF086}">
      <p15:sldGuideLst xmlns:p15="http://schemas.microsoft.com/office/powerpoint/2012/main">
        <p15:guide id="1" orient="horz" pos="2117">
          <p15:clr>
            <a:srgbClr val="FBAE40"/>
          </p15:clr>
        </p15:guide>
        <p15:guide id="2" pos="1416">
          <p15:clr>
            <a:srgbClr val="FBAE40"/>
          </p15:clr>
        </p15:guide>
      </p15:sldGuideLst>
    </p:ext>
  </p:extLst>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6E228F5-5CF1-42E1-9748-97D7582A107A}"/>
              </a:ext>
            </a:extLst>
          </p:cNvPr>
          <p:cNvGraphicFramePr>
            <a:graphicFrameLocks noChangeAspect="1"/>
          </p:cNvGraphicFramePr>
          <p:nvPr>
            <p:custDataLst>
              <p:tags r:id="rId2"/>
            </p:custDataLst>
            <p:extLst>
              <p:ext uri="{D42A27DB-BD31-4B8C-83A1-F6EECF244321}">
                <p14:modId xmlns:p14="http://schemas.microsoft.com/office/powerpoint/2010/main" val="378017871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7828" name="think-cell Slide" r:id="rId5" imgW="353" imgH="353" progId="TCLayout.ActiveDocument.1">
                  <p:embed/>
                </p:oleObj>
              </mc:Choice>
              <mc:Fallback>
                <p:oleObj name="think-cell Slide" r:id="rId5" imgW="353" imgH="353" progId="TCLayout.ActiveDocument.1">
                  <p:embed/>
                  <p:pic>
                    <p:nvPicPr>
                      <p:cNvPr id="3" name="Object 2" hidden="1">
                        <a:extLst>
                          <a:ext uri="{FF2B5EF4-FFF2-40B4-BE49-F238E27FC236}">
                            <a16:creationId xmlns:a16="http://schemas.microsoft.com/office/drawing/2014/main" id="{C6E228F5-5CF1-42E1-9748-97D7582A107A}"/>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2. Slide Title"/>
          <p:cNvSpPr>
            <a:spLocks noGrp="1"/>
          </p:cNvSpPr>
          <p:nvPr>
            <p:ph type="title"/>
          </p:nvPr>
        </p:nvSpPr>
        <p:spPr bwMode="auto"/>
        <p:txBody>
          <a:bodyPr/>
          <a:lstStyle/>
          <a:p>
            <a:r>
              <a:rPr lang="en-US"/>
              <a:t>Click to edit Master title style</a:t>
            </a:r>
            <a:endParaRPr lang="en-US" dirty="0"/>
          </a:p>
        </p:txBody>
      </p:sp>
      <p:sp>
        <p:nvSpPr>
          <p:cNvPr id="8" name="Slide Number"/>
          <p:cNvSpPr txBox="1">
            <a:spLocks/>
          </p:cNvSpPr>
          <p:nvPr/>
        </p:nvSpPr>
        <p:spPr bwMode="auto">
          <a:xfrm>
            <a:off x="8564563" y="6508272"/>
            <a:ext cx="125034" cy="123111"/>
          </a:xfrm>
          <a:prstGeom prst="rect">
            <a:avLst/>
          </a:prstGeom>
        </p:spPr>
        <p:txBody>
          <a:bodyPr vert="horz" wrap="none" lIns="0" tIns="0" rIns="0" bIns="0" rtlCol="0" anchor="ctr">
            <a:spAutoFit/>
          </a:bodyPr>
          <a:lstStyle>
            <a:defPPr>
              <a:defRPr lang="en-US"/>
            </a:defPPr>
            <a:lvl1pPr>
              <a:defRPr sz="1000" baseline="0">
                <a:latin typeface="+mn-lt"/>
              </a:defRPr>
            </a:lvl1pPr>
          </a:lstStyle>
          <a:p>
            <a:fld id="{42C328C1-A84F-4A39-A664-DBA00541A8C6}" type="slidenum">
              <a:rPr lang="en-US" sz="800" baseline="0" smtClean="0">
                <a:solidFill>
                  <a:srgbClr val="808080"/>
                </a:solidFill>
                <a:latin typeface="+mn-lt"/>
              </a:rPr>
              <a:pPr/>
              <a:t>‹#›</a:t>
            </a:fld>
            <a:endParaRPr lang="en-US" sz="800" baseline="0" dirty="0">
              <a:solidFill>
                <a:srgbClr val="808080"/>
              </a:solidFill>
              <a:latin typeface="+mn-lt"/>
            </a:endParaRPr>
          </a:p>
        </p:txBody>
      </p:sp>
      <p:sp>
        <p:nvSpPr>
          <p:cNvPr id="9" name="SlideLogoText"/>
          <p:cNvSpPr>
            <a:spLocks noChangeArrowheads="1"/>
          </p:cNvSpPr>
          <p:nvPr>
            <p:custDataLst>
              <p:tags r:id="rId3"/>
            </p:custDataLst>
          </p:nvPr>
        </p:nvSpPr>
        <p:spPr bwMode="auto">
          <a:xfrm>
            <a:off x="7450817" y="6508272"/>
            <a:ext cx="1013098"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algn="r" defTabSz="895350"/>
            <a:r>
              <a:rPr lang="en-US" sz="800" baseline="0" dirty="0">
                <a:solidFill>
                  <a:srgbClr val="808080"/>
                </a:solidFill>
                <a:latin typeface="+mn-lt"/>
              </a:rPr>
              <a:t>McKinsey &amp; Company</a:t>
            </a:r>
          </a:p>
        </p:txBody>
      </p:sp>
      <p:sp>
        <p:nvSpPr>
          <p:cNvPr id="5" name="doc id" hidden="1"/>
          <p:cNvSpPr txBox="1">
            <a:spLocks noChangeArrowheads="1"/>
          </p:cNvSpPr>
          <p:nvPr/>
        </p:nvSpPr>
        <p:spPr bwMode="white">
          <a:xfrm>
            <a:off x="8104473" y="36513"/>
            <a:ext cx="634716" cy="115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hangingPunct="1">
              <a:defRPr/>
            </a:pPr>
            <a:endParaRPr lang="en-US" sz="800" baseline="0" dirty="0">
              <a:solidFill>
                <a:schemeClr val="accent1"/>
              </a:solidFill>
              <a:latin typeface="+mn-lt"/>
              <a:ea typeface="+mn-ea"/>
            </a:endParaRPr>
          </a:p>
        </p:txBody>
      </p:sp>
    </p:spTree>
    <p:extLst>
      <p:ext uri="{BB962C8B-B14F-4D97-AF65-F5344CB8AC3E}">
        <p14:creationId xmlns:p14="http://schemas.microsoft.com/office/powerpoint/2010/main" val="327889528"/>
      </p:ext>
    </p:extLst>
  </p:cSld>
  <p:clrMapOvr>
    <a:masterClrMapping/>
  </p:clrMapOvr>
  <p:extLst mod="1">
    <p:ext uri="{DCECCB84-F9BA-43D5-87BE-67443E8EF086}">
      <p15:sldGuideLst xmlns:p15="http://schemas.microsoft.com/office/powerpoint/2012/main">
        <p15:guide id="1" pos="5505">
          <p15:clr>
            <a:srgbClr val="F26B43"/>
          </p15:clr>
        </p15:guide>
        <p15:guide id="2" pos="74">
          <p15:clr>
            <a:srgbClr val="F26B43"/>
          </p15:clr>
        </p15:guide>
        <p15:guide id="3" orient="horz" pos="571">
          <p15:clr>
            <a:srgbClr val="F26B43"/>
          </p15:clr>
        </p15:guide>
        <p15:guide id="4" orient="horz" pos="3911">
          <p15:clr>
            <a:srgbClr val="F26B43"/>
          </p15:clr>
        </p15:guide>
      </p15:sldGuideLst>
    </p:ext>
  </p:extLst>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p:cSld name="1_Title Only">
    <p:bg>
      <p:bgPr>
        <a:solidFill>
          <a:schemeClr val="accent2"/>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F4AD34F-3B47-47E2-A09C-FFEB949F6A10}"/>
              </a:ext>
            </a:extLst>
          </p:cNvPr>
          <p:cNvGraphicFramePr>
            <a:graphicFrameLocks noChangeAspect="1"/>
          </p:cNvGraphicFramePr>
          <p:nvPr>
            <p:custDataLst>
              <p:tags r:id="rId2"/>
            </p:custDataLst>
            <p:extLst>
              <p:ext uri="{D42A27DB-BD31-4B8C-83A1-F6EECF244321}">
                <p14:modId xmlns:p14="http://schemas.microsoft.com/office/powerpoint/2010/main" val="196211496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8852" name="think-cell Slide" r:id="rId5" imgW="395" imgH="394" progId="TCLayout.ActiveDocument.1">
                  <p:embed/>
                </p:oleObj>
              </mc:Choice>
              <mc:Fallback>
                <p:oleObj name="think-cell Slide" r:id="rId5" imgW="395" imgH="394" progId="TCLayout.ActiveDocument.1">
                  <p:embed/>
                  <p:pic>
                    <p:nvPicPr>
                      <p:cNvPr id="3" name="Object 2" hidden="1">
                        <a:extLst>
                          <a:ext uri="{FF2B5EF4-FFF2-40B4-BE49-F238E27FC236}">
                            <a16:creationId xmlns:a16="http://schemas.microsoft.com/office/drawing/2014/main" id="{EF4AD34F-3B47-47E2-A09C-FFEB949F6A10}"/>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endParaRPr lang="en-US" dirty="0"/>
          </a:p>
        </p:txBody>
      </p:sp>
      <p:sp>
        <p:nvSpPr>
          <p:cNvPr id="15" name="Slide Number"/>
          <p:cNvSpPr txBox="1">
            <a:spLocks/>
          </p:cNvSpPr>
          <p:nvPr/>
        </p:nvSpPr>
        <p:spPr>
          <a:xfrm>
            <a:off x="8564563" y="6508272"/>
            <a:ext cx="125034" cy="123111"/>
          </a:xfrm>
          <a:prstGeom prst="rect">
            <a:avLst/>
          </a:prstGeom>
        </p:spPr>
        <p:txBody>
          <a:bodyPr vert="horz" wrap="none" lIns="0" tIns="0" rIns="0" bIns="0" rtlCol="0" anchor="ctr">
            <a:spAutoFit/>
          </a:bodyPr>
          <a:lstStyle>
            <a:defPPr>
              <a:defRPr lang="en-US"/>
            </a:defPPr>
            <a:lvl1pPr>
              <a:defRPr sz="1000" baseline="0">
                <a:latin typeface="+mn-lt"/>
              </a:defRPr>
            </a:lvl1pPr>
          </a:lstStyle>
          <a:p>
            <a:fld id="{42C328C1-A84F-4A39-A664-DBA00541A8C6}" type="slidenum">
              <a:rPr lang="en-US" sz="800" baseline="0" smtClean="0">
                <a:solidFill>
                  <a:srgbClr val="FFFFFF"/>
                </a:solidFill>
                <a:latin typeface="+mn-lt"/>
              </a:rPr>
              <a:pPr/>
              <a:t>‹#›</a:t>
            </a:fld>
            <a:endParaRPr lang="en-US" sz="800" baseline="0" dirty="0">
              <a:solidFill>
                <a:srgbClr val="FFFFFF"/>
              </a:solidFill>
              <a:latin typeface="+mn-lt"/>
            </a:endParaRPr>
          </a:p>
        </p:txBody>
      </p:sp>
      <p:sp>
        <p:nvSpPr>
          <p:cNvPr id="16" name="SlideLogoText"/>
          <p:cNvSpPr>
            <a:spLocks noChangeArrowheads="1"/>
          </p:cNvSpPr>
          <p:nvPr>
            <p:custDataLst>
              <p:tags r:id="rId3"/>
            </p:custDataLst>
          </p:nvPr>
        </p:nvSpPr>
        <p:spPr bwMode="auto">
          <a:xfrm>
            <a:off x="7450817" y="6508272"/>
            <a:ext cx="1013098"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algn="r" defTabSz="895350"/>
            <a:r>
              <a:rPr lang="en-US" sz="800" baseline="0" dirty="0">
                <a:solidFill>
                  <a:srgbClr val="FFFFFF"/>
                </a:solidFill>
                <a:latin typeface="+mn-lt"/>
              </a:rPr>
              <a:t>McKinsey &amp; Company</a:t>
            </a:r>
          </a:p>
        </p:txBody>
      </p:sp>
      <p:sp>
        <p:nvSpPr>
          <p:cNvPr id="5" name="doc id" hidden="1"/>
          <p:cNvSpPr txBox="1">
            <a:spLocks noChangeArrowheads="1"/>
          </p:cNvSpPr>
          <p:nvPr/>
        </p:nvSpPr>
        <p:spPr bwMode="white">
          <a:xfrm>
            <a:off x="8104473" y="36513"/>
            <a:ext cx="634716" cy="115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hangingPunct="1">
              <a:defRPr/>
            </a:pPr>
            <a:endParaRPr lang="en-US" sz="800" baseline="0" dirty="0">
              <a:solidFill>
                <a:schemeClr val="accent1"/>
              </a:solidFill>
              <a:latin typeface="+mn-lt"/>
              <a:ea typeface="+mn-ea"/>
            </a:endParaRPr>
          </a:p>
        </p:txBody>
      </p:sp>
    </p:spTree>
    <p:extLst>
      <p:ext uri="{BB962C8B-B14F-4D97-AF65-F5344CB8AC3E}">
        <p14:creationId xmlns:p14="http://schemas.microsoft.com/office/powerpoint/2010/main" val="2568909461"/>
      </p:ext>
    </p:extLst>
  </p:cSld>
  <p:clrMapOvr>
    <a:masterClrMapping/>
  </p:clrMapOvr>
  <p:extLst mod="1">
    <p:ext uri="{DCECCB84-F9BA-43D5-87BE-67443E8EF086}">
      <p15:sldGuideLst xmlns:p15="http://schemas.microsoft.com/office/powerpoint/2012/main">
        <p15:guide id="1" pos="3978">
          <p15:clr>
            <a:srgbClr val="000000"/>
          </p15:clr>
        </p15:guide>
        <p15:guide id="2" orient="horz" pos="570">
          <p15:clr>
            <a:srgbClr val="000000"/>
          </p15:clr>
        </p15:guide>
        <p15:guide id="3" orient="horz" pos="3912">
          <p15:clr>
            <a:srgbClr val="000000"/>
          </p15:clr>
        </p15:guide>
        <p15:guide id="4" pos="72">
          <p15:clr>
            <a:srgbClr val="000000"/>
          </p15:clr>
        </p15:guide>
      </p15:sldGuideLst>
    </p:ext>
  </p:extLst>
</p:sldLayout>
</file>

<file path=ppt/slideLayouts/slideLayout195.xml><?xml version="1.0" encoding="utf-8"?>
<p:sldLayout xmlns:a="http://schemas.openxmlformats.org/drawingml/2006/main" xmlns:r="http://schemas.openxmlformats.org/officeDocument/2006/relationships" xmlns:p="http://schemas.openxmlformats.org/presentationml/2006/main" type="titleOnly">
  <p:cSld name="2_Title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ECD524A-1569-4253-8CD8-48D288AD883C}"/>
              </a:ext>
            </a:extLst>
          </p:cNvPr>
          <p:cNvGraphicFramePr>
            <a:graphicFrameLocks noChangeAspect="1"/>
          </p:cNvGraphicFramePr>
          <p:nvPr>
            <p:custDataLst>
              <p:tags r:id="rId2"/>
            </p:custDataLst>
            <p:extLst>
              <p:ext uri="{D42A27DB-BD31-4B8C-83A1-F6EECF244321}">
                <p14:modId xmlns:p14="http://schemas.microsoft.com/office/powerpoint/2010/main" val="3831800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9876" name="think-cell Slide" r:id="rId4" imgW="395" imgH="394" progId="TCLayout.ActiveDocument.1">
                  <p:embed/>
                </p:oleObj>
              </mc:Choice>
              <mc:Fallback>
                <p:oleObj name="think-cell Slide" r:id="rId4" imgW="395" imgH="394" progId="TCLayout.ActiveDocument.1">
                  <p:embed/>
                  <p:pic>
                    <p:nvPicPr>
                      <p:cNvPr id="3" name="Object 2" hidden="1">
                        <a:extLst>
                          <a:ext uri="{FF2B5EF4-FFF2-40B4-BE49-F238E27FC236}">
                            <a16:creationId xmlns:a16="http://schemas.microsoft.com/office/drawing/2014/main" id="{5ECD524A-1569-4253-8CD8-48D288AD883C}"/>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91281961"/>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pic>
        <p:nvPicPr>
          <p:cNvPr id="2" name="background"/>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0" y="198"/>
            <a:ext cx="8961438" cy="6721079"/>
          </a:xfrm>
          <a:prstGeom prst="rect">
            <a:avLst/>
          </a:prstGeom>
        </p:spPr>
      </p:pic>
      <p:sp>
        <p:nvSpPr>
          <p:cNvPr id="28" name="TitleRectangle"/>
          <p:cNvSpPr txBox="1">
            <a:spLocks/>
          </p:cNvSpPr>
          <p:nvPr/>
        </p:nvSpPr>
        <p:spPr>
          <a:xfrm>
            <a:off x="2084388" y="0"/>
            <a:ext cx="6875462" cy="3575976"/>
          </a:xfrm>
          <a:prstGeom prst="rect">
            <a:avLst/>
          </a:prstGeom>
          <a:solidFill>
            <a:srgbClr val="002960">
              <a:alpha val="92000"/>
            </a:srgbClr>
          </a:solidFill>
        </p:spPr>
        <p:txBody>
          <a:bodyPr vert="horz" wrap="square" lIns="216000" tIns="1440000" rIns="216000" bIns="108000" rtlCol="0">
            <a:noAutofit/>
          </a:bodyPr>
          <a:lstStyle>
            <a:lvl1pPr marL="0" indent="0" algn="l" defTabSz="914400" rtl="0" eaLnBrk="1" latinLnBrk="0" hangingPunct="1">
              <a:spcBef>
                <a:spcPct val="20000"/>
              </a:spcBef>
              <a:spcAft>
                <a:spcPts val="6000"/>
              </a:spcAft>
              <a:buFont typeface="Arial" pitchFamily="34" charset="0"/>
              <a:buNone/>
              <a:defRPr sz="3200" kern="1200">
                <a:solidFill>
                  <a:schemeClr val="accent1"/>
                </a:solidFill>
                <a:latin typeface="+mn-lt"/>
                <a:ea typeface="+mn-ea"/>
                <a:cs typeface="+mn-cs"/>
              </a:defRPr>
            </a:lvl1pPr>
            <a:lvl2pPr marL="0" indent="0" algn="l" defTabSz="914400" rtl="0" eaLnBrk="1" latinLnBrk="0" hangingPunct="1">
              <a:spcBef>
                <a:spcPct val="20000"/>
              </a:spcBef>
              <a:buFont typeface="Wingdings" charset="2"/>
              <a:buNone/>
              <a:defRPr sz="1400" kern="1200">
                <a:solidFill>
                  <a:schemeClr val="tx1">
                    <a:lumMod val="50000"/>
                    <a:lumOff val="50000"/>
                  </a:schemeClr>
                </a:solidFill>
                <a:latin typeface="+mn-lt"/>
                <a:ea typeface="+mn-ea"/>
                <a:cs typeface="+mn-cs"/>
              </a:defRPr>
            </a:lvl2pPr>
            <a:lvl3pPr marL="1143000" indent="-228600" algn="l" defTabSz="914400" rtl="0" eaLnBrk="1" latinLnBrk="0" hangingPunct="1">
              <a:spcBef>
                <a:spcPct val="20000"/>
              </a:spcBef>
              <a:buFont typeface="Lucida Grande"/>
              <a:buChar char="–"/>
              <a:defRPr sz="16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fontAlgn="auto">
              <a:defRPr/>
            </a:pPr>
            <a:r>
              <a:rPr lang="en-US" baseline="0" dirty="0">
                <a:solidFill>
                  <a:srgbClr val="00ADEF"/>
                </a:solidFill>
                <a:latin typeface="+mn-lt"/>
              </a:rPr>
              <a:t>
              </a:t>
            </a:r>
            <a:br>
              <a:rPr lang="en-US" baseline="0" dirty="0">
                <a:solidFill>
                  <a:srgbClr val="00ADEF"/>
                </a:solidFill>
                <a:latin typeface="+mn-lt"/>
              </a:rPr>
            </a:br>
            <a:endParaRPr lang="en-US" baseline="0" dirty="0">
              <a:solidFill>
                <a:srgbClr val="00ADEF"/>
              </a:solidFill>
              <a:latin typeface="+mn-lt"/>
            </a:endParaRPr>
          </a:p>
        </p:txBody>
      </p:sp>
      <p:graphicFrame>
        <p:nvGraphicFramePr>
          <p:cNvPr id="3" name="Object 2"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51924"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Working Draft Text" hidden="1"/>
          <p:cNvSpPr txBox="1">
            <a:spLocks noChangeArrowheads="1"/>
          </p:cNvSpPr>
          <p:nvPr/>
        </p:nvSpPr>
        <p:spPr bwMode="black">
          <a:xfrm>
            <a:off x="5992719" y="6287538"/>
            <a:ext cx="2790000"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800" b="1" baseline="0" dirty="0">
                <a:solidFill>
                  <a:srgbClr val="FFFFFF"/>
                </a:solidFill>
                <a:latin typeface="+mn-lt"/>
              </a:rPr>
              <a:t>WORKING DRAFT</a:t>
            </a:r>
          </a:p>
        </p:txBody>
      </p:sp>
      <p:sp>
        <p:nvSpPr>
          <p:cNvPr id="6" name="Working Draft" hidden="1"/>
          <p:cNvSpPr txBox="1">
            <a:spLocks noChangeArrowheads="1"/>
          </p:cNvSpPr>
          <p:nvPr/>
        </p:nvSpPr>
        <p:spPr bwMode="black">
          <a:xfrm>
            <a:off x="5992718" y="6410648"/>
            <a:ext cx="2968719"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800" baseline="0">
                <a:solidFill>
                  <a:srgbClr val="FFFFFF"/>
                </a:solidFill>
                <a:latin typeface="+mn-lt"/>
              </a:rPr>
              <a:t>Last Modified 21/05/2018 17:44 India Standard Time</a:t>
            </a:r>
            <a:endParaRPr lang="en-US" sz="800" baseline="0" dirty="0">
              <a:solidFill>
                <a:srgbClr val="FFFFFF"/>
              </a:solidFill>
              <a:latin typeface="+mn-lt"/>
            </a:endParaRPr>
          </a:p>
        </p:txBody>
      </p:sp>
      <p:sp>
        <p:nvSpPr>
          <p:cNvPr id="7" name="Printed" hidden="1"/>
          <p:cNvSpPr txBox="1">
            <a:spLocks noChangeArrowheads="1"/>
          </p:cNvSpPr>
          <p:nvPr/>
        </p:nvSpPr>
        <p:spPr bwMode="black">
          <a:xfrm>
            <a:off x="5992719" y="6533759"/>
            <a:ext cx="2790000"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800" baseline="0" dirty="0">
                <a:solidFill>
                  <a:srgbClr val="FFFFFF"/>
                </a:solidFill>
                <a:latin typeface="+mn-lt"/>
              </a:rPr>
              <a:t>Printed</a:t>
            </a:r>
          </a:p>
        </p:txBody>
      </p:sp>
      <p:sp>
        <p:nvSpPr>
          <p:cNvPr id="13314" name="Title"/>
          <p:cNvSpPr>
            <a:spLocks noGrp="1" noChangeArrowheads="1"/>
          </p:cNvSpPr>
          <p:nvPr>
            <p:ph type="ctrTitle"/>
          </p:nvPr>
        </p:nvSpPr>
        <p:spPr>
          <a:xfrm>
            <a:off x="2268266" y="1434419"/>
            <a:ext cx="6231663" cy="492443"/>
          </a:xfrm>
          <a:prstGeom prst="rect">
            <a:avLst/>
          </a:prstGeom>
        </p:spPr>
        <p:txBody>
          <a:bodyPr>
            <a:spAutoFit/>
          </a:bodyPr>
          <a:lstStyle>
            <a:lvl1pPr>
              <a:defRPr sz="3200" b="0" baseline="0">
                <a:solidFill>
                  <a:schemeClr val="accent2"/>
                </a:solidFill>
                <a:latin typeface="+mj-lt"/>
                <a:ea typeface="+mj-ea"/>
              </a:defRPr>
            </a:lvl1pPr>
          </a:lstStyle>
          <a:p>
            <a:pPr lvl="0" latinLnBrk="0"/>
            <a:r>
              <a:rPr lang="en-US" noProof="0"/>
              <a:t>Click to edit Master title style</a:t>
            </a:r>
            <a:endParaRPr lang="en-US" noProof="0" dirty="0"/>
          </a:p>
        </p:txBody>
      </p:sp>
      <p:sp>
        <p:nvSpPr>
          <p:cNvPr id="13315" name="Subtitle"/>
          <p:cNvSpPr>
            <a:spLocks noGrp="1" noChangeArrowheads="1"/>
          </p:cNvSpPr>
          <p:nvPr>
            <p:ph type="subTitle" idx="1"/>
          </p:nvPr>
        </p:nvSpPr>
        <p:spPr>
          <a:xfrm>
            <a:off x="2268266" y="2819401"/>
            <a:ext cx="6231663" cy="215444"/>
          </a:xfrm>
          <a:prstGeom prst="rect">
            <a:avLst/>
          </a:prstGeom>
        </p:spPr>
        <p:txBody>
          <a:bodyPr wrap="square">
            <a:spAutoFit/>
          </a:bodyPr>
          <a:lstStyle>
            <a:lvl1pPr>
              <a:defRPr sz="1400" cap="all" baseline="0">
                <a:solidFill>
                  <a:schemeClr val="bg1"/>
                </a:solidFill>
                <a:latin typeface="+mn-lt"/>
                <a:ea typeface="+mn-ea"/>
              </a:defRPr>
            </a:lvl1pPr>
          </a:lstStyle>
          <a:p>
            <a:pPr lvl="0" latinLnBrk="0"/>
            <a:r>
              <a:rPr lang="en-US" noProof="0"/>
              <a:t>Click to edit Master subtitle style</a:t>
            </a:r>
            <a:endParaRPr lang="en-US" noProof="0" dirty="0"/>
          </a:p>
        </p:txBody>
      </p:sp>
      <p:sp>
        <p:nvSpPr>
          <p:cNvPr id="57" name="Document type" hidden="1"/>
          <p:cNvSpPr txBox="1">
            <a:spLocks noChangeArrowheads="1"/>
          </p:cNvSpPr>
          <p:nvPr/>
        </p:nvSpPr>
        <p:spPr bwMode="gray">
          <a:xfrm>
            <a:off x="2268266" y="3227411"/>
            <a:ext cx="6231663"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00" baseline="0" dirty="0">
                <a:solidFill>
                  <a:schemeClr val="bg1"/>
                </a:solidFill>
                <a:latin typeface="+mn-lt"/>
              </a:rPr>
              <a:t>Document type | Date</a:t>
            </a:r>
          </a:p>
        </p:txBody>
      </p:sp>
      <p:sp>
        <p:nvSpPr>
          <p:cNvPr id="5" name="doc id" hidden="1"/>
          <p:cNvSpPr txBox="1">
            <a:spLocks noChangeArrowheads="1"/>
          </p:cNvSpPr>
          <p:nvPr/>
        </p:nvSpPr>
        <p:spPr bwMode="white">
          <a:xfrm>
            <a:off x="8443913" y="36513"/>
            <a:ext cx="295275" cy="1222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hangingPunct="1">
              <a:defRPr/>
            </a:pPr>
            <a:endParaRPr lang="en-US" sz="800" baseline="0" dirty="0">
              <a:solidFill>
                <a:srgbClr val="FFFFFF"/>
              </a:solidFill>
              <a:latin typeface="+mn-lt"/>
            </a:endParaRPr>
          </a:p>
        </p:txBody>
      </p:sp>
      <p:sp>
        <p:nvSpPr>
          <p:cNvPr id="43" name="LogoImage"/>
          <p:cNvSpPr>
            <a:spLocks noEditPoints="1"/>
          </p:cNvSpPr>
          <p:nvPr/>
        </p:nvSpPr>
        <p:spPr bwMode="white">
          <a:xfrm>
            <a:off x="2269098" y="182925"/>
            <a:ext cx="2176978" cy="238073"/>
          </a:xfrm>
          <a:custGeom>
            <a:avLst/>
            <a:gdLst>
              <a:gd name="T0" fmla="*/ 504 w 5516"/>
              <a:gd name="T1" fmla="*/ 26 h 606"/>
              <a:gd name="T2" fmla="*/ 18 w 5516"/>
              <a:gd name="T3" fmla="*/ 22 h 606"/>
              <a:gd name="T4" fmla="*/ 140 w 5516"/>
              <a:gd name="T5" fmla="*/ 436 h 606"/>
              <a:gd name="T6" fmla="*/ 408 w 5516"/>
              <a:gd name="T7" fmla="*/ 372 h 606"/>
              <a:gd name="T8" fmla="*/ 696 w 5516"/>
              <a:gd name="T9" fmla="*/ 422 h 606"/>
              <a:gd name="T10" fmla="*/ 768 w 5516"/>
              <a:gd name="T11" fmla="*/ 196 h 606"/>
              <a:gd name="T12" fmla="*/ 1272 w 5516"/>
              <a:gd name="T13" fmla="*/ 26 h 606"/>
              <a:gd name="T14" fmla="*/ 1302 w 5516"/>
              <a:gd name="T15" fmla="*/ 338 h 606"/>
              <a:gd name="T16" fmla="*/ 1202 w 5516"/>
              <a:gd name="T17" fmla="*/ 436 h 606"/>
              <a:gd name="T18" fmla="*/ 1030 w 5516"/>
              <a:gd name="T19" fmla="*/ 10 h 606"/>
              <a:gd name="T20" fmla="*/ 960 w 5516"/>
              <a:gd name="T21" fmla="*/ 22 h 606"/>
              <a:gd name="T22" fmla="*/ 804 w 5516"/>
              <a:gd name="T23" fmla="*/ 434 h 606"/>
              <a:gd name="T24" fmla="*/ 930 w 5516"/>
              <a:gd name="T25" fmla="*/ 246 h 606"/>
              <a:gd name="T26" fmla="*/ 1658 w 5516"/>
              <a:gd name="T27" fmla="*/ 342 h 606"/>
              <a:gd name="T28" fmla="*/ 1368 w 5516"/>
              <a:gd name="T29" fmla="*/ 188 h 606"/>
              <a:gd name="T30" fmla="*/ 1514 w 5516"/>
              <a:gd name="T31" fmla="*/ 436 h 606"/>
              <a:gd name="T32" fmla="*/ 1564 w 5516"/>
              <a:gd name="T33" fmla="*/ 434 h 606"/>
              <a:gd name="T34" fmla="*/ 1904 w 5516"/>
              <a:gd name="T35" fmla="*/ 184 h 606"/>
              <a:gd name="T36" fmla="*/ 1728 w 5516"/>
              <a:gd name="T37" fmla="*/ 366 h 606"/>
              <a:gd name="T38" fmla="*/ 2102 w 5516"/>
              <a:gd name="T39" fmla="*/ 192 h 606"/>
              <a:gd name="T40" fmla="*/ 1982 w 5516"/>
              <a:gd name="T41" fmla="*/ 320 h 606"/>
              <a:gd name="T42" fmla="*/ 2478 w 5516"/>
              <a:gd name="T43" fmla="*/ 242 h 606"/>
              <a:gd name="T44" fmla="*/ 2406 w 5516"/>
              <a:gd name="T45" fmla="*/ 390 h 606"/>
              <a:gd name="T46" fmla="*/ 2234 w 5516"/>
              <a:gd name="T47" fmla="*/ 192 h 606"/>
              <a:gd name="T48" fmla="*/ 2478 w 5516"/>
              <a:gd name="T49" fmla="*/ 242 h 606"/>
              <a:gd name="T50" fmla="*/ 2928 w 5516"/>
              <a:gd name="T51" fmla="*/ 448 h 606"/>
              <a:gd name="T52" fmla="*/ 2958 w 5516"/>
              <a:gd name="T53" fmla="*/ 230 h 606"/>
              <a:gd name="T54" fmla="*/ 2716 w 5516"/>
              <a:gd name="T55" fmla="*/ 54 h 606"/>
              <a:gd name="T56" fmla="*/ 2714 w 5516"/>
              <a:gd name="T57" fmla="*/ 36 h 606"/>
              <a:gd name="T58" fmla="*/ 2928 w 5516"/>
              <a:gd name="T59" fmla="*/ 448 h 606"/>
              <a:gd name="T60" fmla="*/ 3388 w 5516"/>
              <a:gd name="T61" fmla="*/ 4 h 606"/>
              <a:gd name="T62" fmla="*/ 3396 w 5516"/>
              <a:gd name="T63" fmla="*/ 366 h 606"/>
              <a:gd name="T64" fmla="*/ 3580 w 5516"/>
              <a:gd name="T65" fmla="*/ 190 h 606"/>
              <a:gd name="T66" fmla="*/ 3502 w 5516"/>
              <a:gd name="T67" fmla="*/ 432 h 606"/>
              <a:gd name="T68" fmla="*/ 4232 w 5516"/>
              <a:gd name="T69" fmla="*/ 348 h 606"/>
              <a:gd name="T70" fmla="*/ 3858 w 5516"/>
              <a:gd name="T71" fmla="*/ 176 h 606"/>
              <a:gd name="T72" fmla="*/ 3758 w 5516"/>
              <a:gd name="T73" fmla="*/ 446 h 606"/>
              <a:gd name="T74" fmla="*/ 3990 w 5516"/>
              <a:gd name="T75" fmla="*/ 282 h 606"/>
              <a:gd name="T76" fmla="*/ 4042 w 5516"/>
              <a:gd name="T77" fmla="*/ 342 h 606"/>
              <a:gd name="T78" fmla="*/ 4134 w 5516"/>
              <a:gd name="T79" fmla="*/ 448 h 606"/>
              <a:gd name="T80" fmla="*/ 4454 w 5516"/>
              <a:gd name="T81" fmla="*/ 202 h 606"/>
              <a:gd name="T82" fmla="*/ 4284 w 5516"/>
              <a:gd name="T83" fmla="*/ 174 h 606"/>
              <a:gd name="T84" fmla="*/ 4432 w 5516"/>
              <a:gd name="T85" fmla="*/ 588 h 606"/>
              <a:gd name="T86" fmla="*/ 4792 w 5516"/>
              <a:gd name="T87" fmla="*/ 382 h 606"/>
              <a:gd name="T88" fmla="*/ 5192 w 5516"/>
              <a:gd name="T89" fmla="*/ 340 h 606"/>
              <a:gd name="T90" fmla="*/ 4902 w 5516"/>
              <a:gd name="T91" fmla="*/ 186 h 606"/>
              <a:gd name="T92" fmla="*/ 4850 w 5516"/>
              <a:gd name="T93" fmla="*/ 274 h 606"/>
              <a:gd name="T94" fmla="*/ 4742 w 5516"/>
              <a:gd name="T95" fmla="*/ 194 h 606"/>
              <a:gd name="T96" fmla="*/ 4794 w 5516"/>
              <a:gd name="T97" fmla="*/ 418 h 606"/>
              <a:gd name="T98" fmla="*/ 5004 w 5516"/>
              <a:gd name="T99" fmla="*/ 338 h 606"/>
              <a:gd name="T100" fmla="*/ 5098 w 5516"/>
              <a:gd name="T101" fmla="*/ 446 h 606"/>
              <a:gd name="T102" fmla="*/ 5418 w 5516"/>
              <a:gd name="T103" fmla="*/ 192 h 606"/>
              <a:gd name="T104" fmla="*/ 5348 w 5516"/>
              <a:gd name="T105" fmla="*/ 180 h 606"/>
              <a:gd name="T106" fmla="*/ 5254 w 5516"/>
              <a:gd name="T107" fmla="*/ 606 h 6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516" h="606">
                <a:moveTo>
                  <a:pt x="366" y="448"/>
                </a:moveTo>
                <a:cubicBezTo>
                  <a:pt x="524" y="448"/>
                  <a:pt x="524" y="448"/>
                  <a:pt x="524" y="448"/>
                </a:cubicBezTo>
                <a:cubicBezTo>
                  <a:pt x="524" y="436"/>
                  <a:pt x="524" y="436"/>
                  <a:pt x="524" y="436"/>
                </a:cubicBezTo>
                <a:cubicBezTo>
                  <a:pt x="486" y="432"/>
                  <a:pt x="470" y="414"/>
                  <a:pt x="468" y="362"/>
                </a:cubicBezTo>
                <a:cubicBezTo>
                  <a:pt x="454" y="86"/>
                  <a:pt x="454" y="86"/>
                  <a:pt x="454" y="86"/>
                </a:cubicBezTo>
                <a:cubicBezTo>
                  <a:pt x="452" y="46"/>
                  <a:pt x="470" y="30"/>
                  <a:pt x="504" y="26"/>
                </a:cubicBezTo>
                <a:cubicBezTo>
                  <a:pt x="504" y="12"/>
                  <a:pt x="504" y="12"/>
                  <a:pt x="504" y="12"/>
                </a:cubicBezTo>
                <a:cubicBezTo>
                  <a:pt x="394" y="12"/>
                  <a:pt x="394" y="12"/>
                  <a:pt x="394" y="12"/>
                </a:cubicBezTo>
                <a:cubicBezTo>
                  <a:pt x="264" y="350"/>
                  <a:pt x="264" y="350"/>
                  <a:pt x="264" y="350"/>
                </a:cubicBezTo>
                <a:cubicBezTo>
                  <a:pt x="132" y="10"/>
                  <a:pt x="132" y="10"/>
                  <a:pt x="132" y="10"/>
                </a:cubicBezTo>
                <a:cubicBezTo>
                  <a:pt x="18" y="10"/>
                  <a:pt x="18" y="10"/>
                  <a:pt x="18" y="10"/>
                </a:cubicBezTo>
                <a:cubicBezTo>
                  <a:pt x="18" y="22"/>
                  <a:pt x="18" y="22"/>
                  <a:pt x="18" y="22"/>
                </a:cubicBezTo>
                <a:cubicBezTo>
                  <a:pt x="40" y="26"/>
                  <a:pt x="74" y="32"/>
                  <a:pt x="72" y="84"/>
                </a:cubicBezTo>
                <a:cubicBezTo>
                  <a:pt x="58" y="352"/>
                  <a:pt x="58" y="352"/>
                  <a:pt x="58" y="352"/>
                </a:cubicBezTo>
                <a:cubicBezTo>
                  <a:pt x="54" y="410"/>
                  <a:pt x="38" y="430"/>
                  <a:pt x="0" y="436"/>
                </a:cubicBezTo>
                <a:cubicBezTo>
                  <a:pt x="0" y="448"/>
                  <a:pt x="0" y="448"/>
                  <a:pt x="0" y="448"/>
                </a:cubicBezTo>
                <a:cubicBezTo>
                  <a:pt x="140" y="448"/>
                  <a:pt x="140" y="448"/>
                  <a:pt x="140" y="448"/>
                </a:cubicBezTo>
                <a:cubicBezTo>
                  <a:pt x="140" y="436"/>
                  <a:pt x="140" y="436"/>
                  <a:pt x="140" y="436"/>
                </a:cubicBezTo>
                <a:cubicBezTo>
                  <a:pt x="98" y="428"/>
                  <a:pt x="84" y="414"/>
                  <a:pt x="88" y="356"/>
                </a:cubicBezTo>
                <a:cubicBezTo>
                  <a:pt x="100" y="86"/>
                  <a:pt x="100" y="86"/>
                  <a:pt x="100" y="86"/>
                </a:cubicBezTo>
                <a:cubicBezTo>
                  <a:pt x="240" y="444"/>
                  <a:pt x="240" y="444"/>
                  <a:pt x="240" y="444"/>
                </a:cubicBezTo>
                <a:cubicBezTo>
                  <a:pt x="258" y="444"/>
                  <a:pt x="258" y="444"/>
                  <a:pt x="258" y="444"/>
                </a:cubicBezTo>
                <a:cubicBezTo>
                  <a:pt x="396" y="86"/>
                  <a:pt x="396" y="86"/>
                  <a:pt x="396" y="86"/>
                </a:cubicBezTo>
                <a:cubicBezTo>
                  <a:pt x="408" y="372"/>
                  <a:pt x="408" y="372"/>
                  <a:pt x="408" y="372"/>
                </a:cubicBezTo>
                <a:cubicBezTo>
                  <a:pt x="410" y="416"/>
                  <a:pt x="398" y="430"/>
                  <a:pt x="366" y="434"/>
                </a:cubicBezTo>
                <a:lnTo>
                  <a:pt x="366" y="448"/>
                </a:lnTo>
                <a:close/>
                <a:moveTo>
                  <a:pt x="670" y="456"/>
                </a:moveTo>
                <a:cubicBezTo>
                  <a:pt x="708" y="456"/>
                  <a:pt x="756" y="440"/>
                  <a:pt x="782" y="412"/>
                </a:cubicBezTo>
                <a:cubicBezTo>
                  <a:pt x="776" y="400"/>
                  <a:pt x="776" y="400"/>
                  <a:pt x="776" y="400"/>
                </a:cubicBezTo>
                <a:cubicBezTo>
                  <a:pt x="750" y="416"/>
                  <a:pt x="722" y="422"/>
                  <a:pt x="696" y="422"/>
                </a:cubicBezTo>
                <a:cubicBezTo>
                  <a:pt x="620" y="422"/>
                  <a:pt x="592" y="358"/>
                  <a:pt x="592" y="290"/>
                </a:cubicBezTo>
                <a:cubicBezTo>
                  <a:pt x="592" y="258"/>
                  <a:pt x="600" y="236"/>
                  <a:pt x="614" y="222"/>
                </a:cubicBezTo>
                <a:cubicBezTo>
                  <a:pt x="626" y="210"/>
                  <a:pt x="646" y="204"/>
                  <a:pt x="664" y="204"/>
                </a:cubicBezTo>
                <a:cubicBezTo>
                  <a:pt x="690" y="204"/>
                  <a:pt x="722" y="214"/>
                  <a:pt x="744" y="244"/>
                </a:cubicBezTo>
                <a:cubicBezTo>
                  <a:pt x="750" y="244"/>
                  <a:pt x="750" y="244"/>
                  <a:pt x="750" y="244"/>
                </a:cubicBezTo>
                <a:cubicBezTo>
                  <a:pt x="758" y="234"/>
                  <a:pt x="766" y="212"/>
                  <a:pt x="768" y="196"/>
                </a:cubicBezTo>
                <a:cubicBezTo>
                  <a:pt x="748" y="180"/>
                  <a:pt x="720" y="172"/>
                  <a:pt x="686" y="172"/>
                </a:cubicBezTo>
                <a:cubicBezTo>
                  <a:pt x="604" y="172"/>
                  <a:pt x="544" y="246"/>
                  <a:pt x="544" y="326"/>
                </a:cubicBezTo>
                <a:cubicBezTo>
                  <a:pt x="540" y="390"/>
                  <a:pt x="576" y="456"/>
                  <a:pt x="670" y="456"/>
                </a:cubicBezTo>
                <a:moveTo>
                  <a:pt x="1272" y="98"/>
                </a:moveTo>
                <a:cubicBezTo>
                  <a:pt x="1292" y="98"/>
                  <a:pt x="1308" y="82"/>
                  <a:pt x="1308" y="62"/>
                </a:cubicBezTo>
                <a:cubicBezTo>
                  <a:pt x="1308" y="42"/>
                  <a:pt x="1292" y="26"/>
                  <a:pt x="1272" y="26"/>
                </a:cubicBezTo>
                <a:cubicBezTo>
                  <a:pt x="1252" y="26"/>
                  <a:pt x="1238" y="42"/>
                  <a:pt x="1238" y="62"/>
                </a:cubicBezTo>
                <a:cubicBezTo>
                  <a:pt x="1238" y="82"/>
                  <a:pt x="1252" y="98"/>
                  <a:pt x="1272" y="98"/>
                </a:cubicBezTo>
                <a:moveTo>
                  <a:pt x="1202" y="448"/>
                </a:moveTo>
                <a:cubicBezTo>
                  <a:pt x="1346" y="448"/>
                  <a:pt x="1346" y="448"/>
                  <a:pt x="1346" y="448"/>
                </a:cubicBezTo>
                <a:cubicBezTo>
                  <a:pt x="1346" y="436"/>
                  <a:pt x="1346" y="436"/>
                  <a:pt x="1346" y="436"/>
                </a:cubicBezTo>
                <a:cubicBezTo>
                  <a:pt x="1304" y="432"/>
                  <a:pt x="1302" y="434"/>
                  <a:pt x="1302" y="338"/>
                </a:cubicBezTo>
                <a:cubicBezTo>
                  <a:pt x="1302" y="176"/>
                  <a:pt x="1302" y="176"/>
                  <a:pt x="1302" y="176"/>
                </a:cubicBezTo>
                <a:cubicBezTo>
                  <a:pt x="1200" y="176"/>
                  <a:pt x="1200" y="176"/>
                  <a:pt x="1200" y="176"/>
                </a:cubicBezTo>
                <a:cubicBezTo>
                  <a:pt x="1200" y="188"/>
                  <a:pt x="1200" y="188"/>
                  <a:pt x="1200" y="188"/>
                </a:cubicBezTo>
                <a:cubicBezTo>
                  <a:pt x="1244" y="190"/>
                  <a:pt x="1250" y="192"/>
                  <a:pt x="1250" y="268"/>
                </a:cubicBezTo>
                <a:cubicBezTo>
                  <a:pt x="1250" y="336"/>
                  <a:pt x="1250" y="336"/>
                  <a:pt x="1250" y="336"/>
                </a:cubicBezTo>
                <a:cubicBezTo>
                  <a:pt x="1250" y="432"/>
                  <a:pt x="1248" y="432"/>
                  <a:pt x="1202" y="436"/>
                </a:cubicBezTo>
                <a:cubicBezTo>
                  <a:pt x="1178" y="434"/>
                  <a:pt x="1154" y="426"/>
                  <a:pt x="1076" y="338"/>
                </a:cubicBezTo>
                <a:cubicBezTo>
                  <a:pt x="1046" y="302"/>
                  <a:pt x="996" y="244"/>
                  <a:pt x="968" y="206"/>
                </a:cubicBezTo>
                <a:cubicBezTo>
                  <a:pt x="1062" y="102"/>
                  <a:pt x="1062" y="102"/>
                  <a:pt x="1062" y="102"/>
                </a:cubicBezTo>
                <a:cubicBezTo>
                  <a:pt x="1108" y="52"/>
                  <a:pt x="1132" y="26"/>
                  <a:pt x="1176" y="24"/>
                </a:cubicBezTo>
                <a:cubicBezTo>
                  <a:pt x="1176" y="10"/>
                  <a:pt x="1176" y="10"/>
                  <a:pt x="1176" y="10"/>
                </a:cubicBezTo>
                <a:cubicBezTo>
                  <a:pt x="1030" y="10"/>
                  <a:pt x="1030" y="10"/>
                  <a:pt x="1030" y="10"/>
                </a:cubicBezTo>
                <a:cubicBezTo>
                  <a:pt x="1030" y="22"/>
                  <a:pt x="1030" y="22"/>
                  <a:pt x="1030" y="22"/>
                </a:cubicBezTo>
                <a:cubicBezTo>
                  <a:pt x="1050" y="26"/>
                  <a:pt x="1056" y="32"/>
                  <a:pt x="1056" y="46"/>
                </a:cubicBezTo>
                <a:cubicBezTo>
                  <a:pt x="1056" y="56"/>
                  <a:pt x="1054" y="72"/>
                  <a:pt x="1026" y="102"/>
                </a:cubicBezTo>
                <a:cubicBezTo>
                  <a:pt x="910" y="230"/>
                  <a:pt x="910" y="230"/>
                  <a:pt x="910" y="230"/>
                </a:cubicBezTo>
                <a:cubicBezTo>
                  <a:pt x="910" y="148"/>
                  <a:pt x="910" y="148"/>
                  <a:pt x="910" y="148"/>
                </a:cubicBezTo>
                <a:cubicBezTo>
                  <a:pt x="910" y="36"/>
                  <a:pt x="916" y="28"/>
                  <a:pt x="960" y="22"/>
                </a:cubicBezTo>
                <a:cubicBezTo>
                  <a:pt x="960" y="8"/>
                  <a:pt x="960" y="8"/>
                  <a:pt x="960" y="8"/>
                </a:cubicBezTo>
                <a:cubicBezTo>
                  <a:pt x="804" y="8"/>
                  <a:pt x="804" y="8"/>
                  <a:pt x="804" y="8"/>
                </a:cubicBezTo>
                <a:cubicBezTo>
                  <a:pt x="804" y="22"/>
                  <a:pt x="804" y="22"/>
                  <a:pt x="804" y="22"/>
                </a:cubicBezTo>
                <a:cubicBezTo>
                  <a:pt x="852" y="26"/>
                  <a:pt x="854" y="36"/>
                  <a:pt x="854" y="148"/>
                </a:cubicBezTo>
                <a:cubicBezTo>
                  <a:pt x="854" y="300"/>
                  <a:pt x="854" y="300"/>
                  <a:pt x="854" y="300"/>
                </a:cubicBezTo>
                <a:cubicBezTo>
                  <a:pt x="854" y="422"/>
                  <a:pt x="850" y="430"/>
                  <a:pt x="804" y="434"/>
                </a:cubicBezTo>
                <a:cubicBezTo>
                  <a:pt x="804" y="446"/>
                  <a:pt x="804" y="446"/>
                  <a:pt x="804" y="446"/>
                </a:cubicBezTo>
                <a:cubicBezTo>
                  <a:pt x="960" y="446"/>
                  <a:pt x="960" y="446"/>
                  <a:pt x="960" y="446"/>
                </a:cubicBezTo>
                <a:cubicBezTo>
                  <a:pt x="960" y="434"/>
                  <a:pt x="960" y="434"/>
                  <a:pt x="960" y="434"/>
                </a:cubicBezTo>
                <a:cubicBezTo>
                  <a:pt x="910" y="428"/>
                  <a:pt x="910" y="424"/>
                  <a:pt x="910" y="292"/>
                </a:cubicBezTo>
                <a:cubicBezTo>
                  <a:pt x="910" y="268"/>
                  <a:pt x="910" y="268"/>
                  <a:pt x="910" y="268"/>
                </a:cubicBezTo>
                <a:cubicBezTo>
                  <a:pt x="930" y="246"/>
                  <a:pt x="930" y="246"/>
                  <a:pt x="930" y="246"/>
                </a:cubicBezTo>
                <a:cubicBezTo>
                  <a:pt x="982" y="310"/>
                  <a:pt x="1038" y="380"/>
                  <a:pt x="1098" y="448"/>
                </a:cubicBezTo>
                <a:cubicBezTo>
                  <a:pt x="1202" y="448"/>
                  <a:pt x="1202" y="448"/>
                  <a:pt x="1202" y="448"/>
                </a:cubicBezTo>
                <a:close/>
                <a:moveTo>
                  <a:pt x="1564" y="448"/>
                </a:moveTo>
                <a:cubicBezTo>
                  <a:pt x="1706" y="448"/>
                  <a:pt x="1706" y="448"/>
                  <a:pt x="1706" y="448"/>
                </a:cubicBezTo>
                <a:cubicBezTo>
                  <a:pt x="1706" y="436"/>
                  <a:pt x="1706" y="436"/>
                  <a:pt x="1706" y="436"/>
                </a:cubicBezTo>
                <a:cubicBezTo>
                  <a:pt x="1658" y="434"/>
                  <a:pt x="1658" y="432"/>
                  <a:pt x="1658" y="342"/>
                </a:cubicBezTo>
                <a:cubicBezTo>
                  <a:pt x="1658" y="280"/>
                  <a:pt x="1658" y="280"/>
                  <a:pt x="1658" y="280"/>
                </a:cubicBezTo>
                <a:cubicBezTo>
                  <a:pt x="1658" y="198"/>
                  <a:pt x="1612" y="172"/>
                  <a:pt x="1570" y="172"/>
                </a:cubicBezTo>
                <a:cubicBezTo>
                  <a:pt x="1534" y="172"/>
                  <a:pt x="1498" y="188"/>
                  <a:pt x="1470" y="224"/>
                </a:cubicBezTo>
                <a:cubicBezTo>
                  <a:pt x="1470" y="176"/>
                  <a:pt x="1470" y="176"/>
                  <a:pt x="1470" y="176"/>
                </a:cubicBezTo>
                <a:cubicBezTo>
                  <a:pt x="1368" y="176"/>
                  <a:pt x="1368" y="176"/>
                  <a:pt x="1368" y="176"/>
                </a:cubicBezTo>
                <a:cubicBezTo>
                  <a:pt x="1368" y="188"/>
                  <a:pt x="1368" y="188"/>
                  <a:pt x="1368" y="188"/>
                </a:cubicBezTo>
                <a:cubicBezTo>
                  <a:pt x="1412" y="190"/>
                  <a:pt x="1418" y="192"/>
                  <a:pt x="1418" y="268"/>
                </a:cubicBezTo>
                <a:cubicBezTo>
                  <a:pt x="1418" y="336"/>
                  <a:pt x="1418" y="336"/>
                  <a:pt x="1418" y="336"/>
                </a:cubicBezTo>
                <a:cubicBezTo>
                  <a:pt x="1418" y="434"/>
                  <a:pt x="1418" y="434"/>
                  <a:pt x="1370" y="436"/>
                </a:cubicBezTo>
                <a:cubicBezTo>
                  <a:pt x="1370" y="448"/>
                  <a:pt x="1370" y="448"/>
                  <a:pt x="1370" y="448"/>
                </a:cubicBezTo>
                <a:cubicBezTo>
                  <a:pt x="1514" y="448"/>
                  <a:pt x="1514" y="448"/>
                  <a:pt x="1514" y="448"/>
                </a:cubicBezTo>
                <a:cubicBezTo>
                  <a:pt x="1514" y="436"/>
                  <a:pt x="1514" y="436"/>
                  <a:pt x="1514" y="436"/>
                </a:cubicBezTo>
                <a:cubicBezTo>
                  <a:pt x="1472" y="432"/>
                  <a:pt x="1470" y="434"/>
                  <a:pt x="1470" y="338"/>
                </a:cubicBezTo>
                <a:cubicBezTo>
                  <a:pt x="1470" y="262"/>
                  <a:pt x="1470" y="262"/>
                  <a:pt x="1470" y="262"/>
                </a:cubicBezTo>
                <a:cubicBezTo>
                  <a:pt x="1470" y="236"/>
                  <a:pt x="1504" y="206"/>
                  <a:pt x="1546" y="206"/>
                </a:cubicBezTo>
                <a:cubicBezTo>
                  <a:pt x="1580" y="206"/>
                  <a:pt x="1606" y="220"/>
                  <a:pt x="1606" y="286"/>
                </a:cubicBezTo>
                <a:cubicBezTo>
                  <a:pt x="1606" y="340"/>
                  <a:pt x="1606" y="340"/>
                  <a:pt x="1606" y="340"/>
                </a:cubicBezTo>
                <a:cubicBezTo>
                  <a:pt x="1606" y="432"/>
                  <a:pt x="1602" y="432"/>
                  <a:pt x="1564" y="434"/>
                </a:cubicBezTo>
                <a:lnTo>
                  <a:pt x="1564" y="448"/>
                </a:lnTo>
                <a:close/>
                <a:moveTo>
                  <a:pt x="1776" y="222"/>
                </a:moveTo>
                <a:cubicBezTo>
                  <a:pt x="1776" y="200"/>
                  <a:pt x="1796" y="188"/>
                  <a:pt x="1822" y="188"/>
                </a:cubicBezTo>
                <a:cubicBezTo>
                  <a:pt x="1874" y="188"/>
                  <a:pt x="1896" y="236"/>
                  <a:pt x="1900" y="252"/>
                </a:cubicBezTo>
                <a:cubicBezTo>
                  <a:pt x="1912" y="252"/>
                  <a:pt x="1912" y="252"/>
                  <a:pt x="1912" y="252"/>
                </a:cubicBezTo>
                <a:cubicBezTo>
                  <a:pt x="1912" y="212"/>
                  <a:pt x="1908" y="188"/>
                  <a:pt x="1904" y="184"/>
                </a:cubicBezTo>
                <a:cubicBezTo>
                  <a:pt x="1900" y="180"/>
                  <a:pt x="1862" y="170"/>
                  <a:pt x="1824" y="170"/>
                </a:cubicBezTo>
                <a:cubicBezTo>
                  <a:pt x="1768" y="170"/>
                  <a:pt x="1734" y="206"/>
                  <a:pt x="1734" y="248"/>
                </a:cubicBezTo>
                <a:cubicBezTo>
                  <a:pt x="1734" y="340"/>
                  <a:pt x="1890" y="322"/>
                  <a:pt x="1890" y="396"/>
                </a:cubicBezTo>
                <a:cubicBezTo>
                  <a:pt x="1890" y="422"/>
                  <a:pt x="1866" y="436"/>
                  <a:pt x="1826" y="436"/>
                </a:cubicBezTo>
                <a:cubicBezTo>
                  <a:pt x="1788" y="436"/>
                  <a:pt x="1754" y="416"/>
                  <a:pt x="1744" y="366"/>
                </a:cubicBezTo>
                <a:cubicBezTo>
                  <a:pt x="1728" y="366"/>
                  <a:pt x="1728" y="366"/>
                  <a:pt x="1728" y="366"/>
                </a:cubicBezTo>
                <a:cubicBezTo>
                  <a:pt x="1728" y="386"/>
                  <a:pt x="1732" y="422"/>
                  <a:pt x="1734" y="428"/>
                </a:cubicBezTo>
                <a:cubicBezTo>
                  <a:pt x="1744" y="446"/>
                  <a:pt x="1788" y="454"/>
                  <a:pt x="1824" y="454"/>
                </a:cubicBezTo>
                <a:cubicBezTo>
                  <a:pt x="1888" y="454"/>
                  <a:pt x="1928" y="416"/>
                  <a:pt x="1928" y="372"/>
                </a:cubicBezTo>
                <a:cubicBezTo>
                  <a:pt x="1932" y="270"/>
                  <a:pt x="1776" y="286"/>
                  <a:pt x="1776" y="222"/>
                </a:cubicBezTo>
                <a:moveTo>
                  <a:pt x="2030" y="270"/>
                </a:moveTo>
                <a:cubicBezTo>
                  <a:pt x="2034" y="220"/>
                  <a:pt x="2058" y="192"/>
                  <a:pt x="2102" y="192"/>
                </a:cubicBezTo>
                <a:cubicBezTo>
                  <a:pt x="2144" y="192"/>
                  <a:pt x="2170" y="220"/>
                  <a:pt x="2172" y="270"/>
                </a:cubicBezTo>
                <a:lnTo>
                  <a:pt x="2030" y="270"/>
                </a:lnTo>
                <a:close/>
                <a:moveTo>
                  <a:pt x="2030" y="290"/>
                </a:moveTo>
                <a:cubicBezTo>
                  <a:pt x="2222" y="290"/>
                  <a:pt x="2222" y="290"/>
                  <a:pt x="2222" y="290"/>
                </a:cubicBezTo>
                <a:cubicBezTo>
                  <a:pt x="2226" y="228"/>
                  <a:pt x="2192" y="168"/>
                  <a:pt x="2114" y="168"/>
                </a:cubicBezTo>
                <a:cubicBezTo>
                  <a:pt x="2034" y="168"/>
                  <a:pt x="1982" y="232"/>
                  <a:pt x="1982" y="320"/>
                </a:cubicBezTo>
                <a:cubicBezTo>
                  <a:pt x="1982" y="388"/>
                  <a:pt x="2018" y="456"/>
                  <a:pt x="2112" y="456"/>
                </a:cubicBezTo>
                <a:cubicBezTo>
                  <a:pt x="2150" y="456"/>
                  <a:pt x="2198" y="440"/>
                  <a:pt x="2224" y="412"/>
                </a:cubicBezTo>
                <a:cubicBezTo>
                  <a:pt x="2218" y="400"/>
                  <a:pt x="2218" y="400"/>
                  <a:pt x="2218" y="400"/>
                </a:cubicBezTo>
                <a:cubicBezTo>
                  <a:pt x="2192" y="416"/>
                  <a:pt x="2164" y="422"/>
                  <a:pt x="2138" y="422"/>
                </a:cubicBezTo>
                <a:cubicBezTo>
                  <a:pt x="2058" y="420"/>
                  <a:pt x="2028" y="352"/>
                  <a:pt x="2030" y="290"/>
                </a:cubicBezTo>
                <a:moveTo>
                  <a:pt x="2478" y="242"/>
                </a:moveTo>
                <a:cubicBezTo>
                  <a:pt x="2490" y="206"/>
                  <a:pt x="2510" y="192"/>
                  <a:pt x="2528" y="192"/>
                </a:cubicBezTo>
                <a:cubicBezTo>
                  <a:pt x="2528" y="180"/>
                  <a:pt x="2528" y="180"/>
                  <a:pt x="2528" y="180"/>
                </a:cubicBezTo>
                <a:cubicBezTo>
                  <a:pt x="2430" y="180"/>
                  <a:pt x="2430" y="180"/>
                  <a:pt x="2430" y="180"/>
                </a:cubicBezTo>
                <a:cubicBezTo>
                  <a:pt x="2430" y="192"/>
                  <a:pt x="2430" y="192"/>
                  <a:pt x="2430" y="192"/>
                </a:cubicBezTo>
                <a:cubicBezTo>
                  <a:pt x="2454" y="194"/>
                  <a:pt x="2466" y="206"/>
                  <a:pt x="2458" y="234"/>
                </a:cubicBezTo>
                <a:cubicBezTo>
                  <a:pt x="2406" y="390"/>
                  <a:pt x="2406" y="390"/>
                  <a:pt x="2406" y="390"/>
                </a:cubicBezTo>
                <a:cubicBezTo>
                  <a:pt x="2354" y="270"/>
                  <a:pt x="2354" y="270"/>
                  <a:pt x="2354" y="270"/>
                </a:cubicBezTo>
                <a:cubicBezTo>
                  <a:pt x="2340" y="238"/>
                  <a:pt x="2334" y="224"/>
                  <a:pt x="2334" y="212"/>
                </a:cubicBezTo>
                <a:cubicBezTo>
                  <a:pt x="2334" y="202"/>
                  <a:pt x="2340" y="196"/>
                  <a:pt x="2360" y="192"/>
                </a:cubicBezTo>
                <a:cubicBezTo>
                  <a:pt x="2360" y="180"/>
                  <a:pt x="2360" y="180"/>
                  <a:pt x="2360" y="180"/>
                </a:cubicBezTo>
                <a:cubicBezTo>
                  <a:pt x="2234" y="180"/>
                  <a:pt x="2234" y="180"/>
                  <a:pt x="2234" y="180"/>
                </a:cubicBezTo>
                <a:cubicBezTo>
                  <a:pt x="2234" y="192"/>
                  <a:pt x="2234" y="192"/>
                  <a:pt x="2234" y="192"/>
                </a:cubicBezTo>
                <a:cubicBezTo>
                  <a:pt x="2266" y="194"/>
                  <a:pt x="2268" y="198"/>
                  <a:pt x="2310" y="292"/>
                </a:cubicBezTo>
                <a:cubicBezTo>
                  <a:pt x="2382" y="450"/>
                  <a:pt x="2382" y="450"/>
                  <a:pt x="2382" y="450"/>
                </a:cubicBezTo>
                <a:cubicBezTo>
                  <a:pt x="2358" y="512"/>
                  <a:pt x="2320" y="546"/>
                  <a:pt x="2242" y="564"/>
                </a:cubicBezTo>
                <a:cubicBezTo>
                  <a:pt x="2246" y="576"/>
                  <a:pt x="2260" y="600"/>
                  <a:pt x="2268" y="606"/>
                </a:cubicBezTo>
                <a:cubicBezTo>
                  <a:pt x="2370" y="564"/>
                  <a:pt x="2390" y="498"/>
                  <a:pt x="2426" y="396"/>
                </a:cubicBezTo>
                <a:lnTo>
                  <a:pt x="2478" y="242"/>
                </a:lnTo>
                <a:close/>
                <a:moveTo>
                  <a:pt x="2844" y="394"/>
                </a:moveTo>
                <a:cubicBezTo>
                  <a:pt x="2822" y="412"/>
                  <a:pt x="2782" y="416"/>
                  <a:pt x="2750" y="416"/>
                </a:cubicBezTo>
                <a:cubicBezTo>
                  <a:pt x="2670" y="416"/>
                  <a:pt x="2606" y="360"/>
                  <a:pt x="2606" y="284"/>
                </a:cubicBezTo>
                <a:cubicBezTo>
                  <a:pt x="2606" y="236"/>
                  <a:pt x="2626" y="206"/>
                  <a:pt x="2658" y="198"/>
                </a:cubicBezTo>
                <a:cubicBezTo>
                  <a:pt x="2698" y="266"/>
                  <a:pt x="2770" y="338"/>
                  <a:pt x="2844" y="394"/>
                </a:cubicBezTo>
                <a:moveTo>
                  <a:pt x="2928" y="448"/>
                </a:moveTo>
                <a:cubicBezTo>
                  <a:pt x="3022" y="448"/>
                  <a:pt x="3022" y="448"/>
                  <a:pt x="3022" y="448"/>
                </a:cubicBezTo>
                <a:cubicBezTo>
                  <a:pt x="3022" y="436"/>
                  <a:pt x="3022" y="436"/>
                  <a:pt x="3022" y="436"/>
                </a:cubicBezTo>
                <a:cubicBezTo>
                  <a:pt x="2992" y="432"/>
                  <a:pt x="2946" y="408"/>
                  <a:pt x="2896" y="372"/>
                </a:cubicBezTo>
                <a:cubicBezTo>
                  <a:pt x="2914" y="342"/>
                  <a:pt x="2918" y="300"/>
                  <a:pt x="2922" y="270"/>
                </a:cubicBezTo>
                <a:cubicBezTo>
                  <a:pt x="2926" y="244"/>
                  <a:pt x="2946" y="244"/>
                  <a:pt x="2958" y="242"/>
                </a:cubicBezTo>
                <a:cubicBezTo>
                  <a:pt x="2958" y="230"/>
                  <a:pt x="2958" y="230"/>
                  <a:pt x="2958" y="230"/>
                </a:cubicBezTo>
                <a:cubicBezTo>
                  <a:pt x="2834" y="230"/>
                  <a:pt x="2834" y="230"/>
                  <a:pt x="2834" y="230"/>
                </a:cubicBezTo>
                <a:cubicBezTo>
                  <a:pt x="2834" y="242"/>
                  <a:pt x="2834" y="242"/>
                  <a:pt x="2834" y="242"/>
                </a:cubicBezTo>
                <a:cubicBezTo>
                  <a:pt x="2864" y="246"/>
                  <a:pt x="2892" y="250"/>
                  <a:pt x="2892" y="294"/>
                </a:cubicBezTo>
                <a:cubicBezTo>
                  <a:pt x="2892" y="318"/>
                  <a:pt x="2888" y="342"/>
                  <a:pt x="2878" y="358"/>
                </a:cubicBezTo>
                <a:cubicBezTo>
                  <a:pt x="2770" y="274"/>
                  <a:pt x="2670" y="156"/>
                  <a:pt x="2670" y="96"/>
                </a:cubicBezTo>
                <a:cubicBezTo>
                  <a:pt x="2670" y="66"/>
                  <a:pt x="2688" y="54"/>
                  <a:pt x="2716" y="54"/>
                </a:cubicBezTo>
                <a:cubicBezTo>
                  <a:pt x="2752" y="54"/>
                  <a:pt x="2784" y="78"/>
                  <a:pt x="2800" y="124"/>
                </a:cubicBezTo>
                <a:cubicBezTo>
                  <a:pt x="2812" y="124"/>
                  <a:pt x="2812" y="124"/>
                  <a:pt x="2812" y="124"/>
                </a:cubicBezTo>
                <a:cubicBezTo>
                  <a:pt x="2810" y="42"/>
                  <a:pt x="2810" y="42"/>
                  <a:pt x="2810" y="42"/>
                </a:cubicBezTo>
                <a:cubicBezTo>
                  <a:pt x="2798" y="42"/>
                  <a:pt x="2798" y="42"/>
                  <a:pt x="2798" y="42"/>
                </a:cubicBezTo>
                <a:cubicBezTo>
                  <a:pt x="2798" y="48"/>
                  <a:pt x="2792" y="52"/>
                  <a:pt x="2788" y="52"/>
                </a:cubicBezTo>
                <a:cubicBezTo>
                  <a:pt x="2772" y="52"/>
                  <a:pt x="2752" y="36"/>
                  <a:pt x="2714" y="36"/>
                </a:cubicBezTo>
                <a:cubicBezTo>
                  <a:pt x="2672" y="36"/>
                  <a:pt x="2630" y="62"/>
                  <a:pt x="2630" y="118"/>
                </a:cubicBezTo>
                <a:cubicBezTo>
                  <a:pt x="2630" y="140"/>
                  <a:pt x="2636" y="160"/>
                  <a:pt x="2648" y="182"/>
                </a:cubicBezTo>
                <a:cubicBezTo>
                  <a:pt x="2592" y="200"/>
                  <a:pt x="2562" y="248"/>
                  <a:pt x="2562" y="304"/>
                </a:cubicBezTo>
                <a:cubicBezTo>
                  <a:pt x="2562" y="406"/>
                  <a:pt x="2640" y="460"/>
                  <a:pt x="2726" y="460"/>
                </a:cubicBezTo>
                <a:cubicBezTo>
                  <a:pt x="2780" y="460"/>
                  <a:pt x="2824" y="444"/>
                  <a:pt x="2862" y="410"/>
                </a:cubicBezTo>
                <a:cubicBezTo>
                  <a:pt x="2888" y="424"/>
                  <a:pt x="2912" y="442"/>
                  <a:pt x="2928" y="448"/>
                </a:cubicBezTo>
                <a:moveTo>
                  <a:pt x="3094" y="212"/>
                </a:moveTo>
                <a:cubicBezTo>
                  <a:pt x="3094" y="88"/>
                  <a:pt x="3154" y="20"/>
                  <a:pt x="3252" y="20"/>
                </a:cubicBezTo>
                <a:cubicBezTo>
                  <a:pt x="3328" y="20"/>
                  <a:pt x="3372" y="58"/>
                  <a:pt x="3392" y="134"/>
                </a:cubicBezTo>
                <a:cubicBezTo>
                  <a:pt x="3404" y="134"/>
                  <a:pt x="3404" y="134"/>
                  <a:pt x="3404" y="134"/>
                </a:cubicBezTo>
                <a:cubicBezTo>
                  <a:pt x="3400" y="4"/>
                  <a:pt x="3400" y="4"/>
                  <a:pt x="3400" y="4"/>
                </a:cubicBezTo>
                <a:cubicBezTo>
                  <a:pt x="3388" y="4"/>
                  <a:pt x="3388" y="4"/>
                  <a:pt x="3388" y="4"/>
                </a:cubicBezTo>
                <a:cubicBezTo>
                  <a:pt x="3384" y="14"/>
                  <a:pt x="3376" y="18"/>
                  <a:pt x="3364" y="18"/>
                </a:cubicBezTo>
                <a:cubicBezTo>
                  <a:pt x="3338" y="18"/>
                  <a:pt x="3314" y="0"/>
                  <a:pt x="3248" y="0"/>
                </a:cubicBezTo>
                <a:cubicBezTo>
                  <a:pt x="3118" y="0"/>
                  <a:pt x="3030" y="102"/>
                  <a:pt x="3030" y="242"/>
                </a:cubicBezTo>
                <a:cubicBezTo>
                  <a:pt x="3030" y="376"/>
                  <a:pt x="3110" y="460"/>
                  <a:pt x="3238" y="460"/>
                </a:cubicBezTo>
                <a:cubicBezTo>
                  <a:pt x="3320" y="460"/>
                  <a:pt x="3384" y="420"/>
                  <a:pt x="3408" y="380"/>
                </a:cubicBezTo>
                <a:cubicBezTo>
                  <a:pt x="3396" y="366"/>
                  <a:pt x="3396" y="366"/>
                  <a:pt x="3396" y="366"/>
                </a:cubicBezTo>
                <a:cubicBezTo>
                  <a:pt x="3370" y="402"/>
                  <a:pt x="3314" y="426"/>
                  <a:pt x="3256" y="426"/>
                </a:cubicBezTo>
                <a:cubicBezTo>
                  <a:pt x="3156" y="426"/>
                  <a:pt x="3094" y="340"/>
                  <a:pt x="3094" y="212"/>
                </a:cubicBezTo>
                <a:moveTo>
                  <a:pt x="3678" y="328"/>
                </a:moveTo>
                <a:cubicBezTo>
                  <a:pt x="3678" y="392"/>
                  <a:pt x="3650" y="430"/>
                  <a:pt x="3592" y="430"/>
                </a:cubicBezTo>
                <a:cubicBezTo>
                  <a:pt x="3542" y="430"/>
                  <a:pt x="3496" y="384"/>
                  <a:pt x="3496" y="292"/>
                </a:cubicBezTo>
                <a:cubicBezTo>
                  <a:pt x="3496" y="226"/>
                  <a:pt x="3528" y="190"/>
                  <a:pt x="3580" y="190"/>
                </a:cubicBezTo>
                <a:cubicBezTo>
                  <a:pt x="3628" y="192"/>
                  <a:pt x="3678" y="238"/>
                  <a:pt x="3678" y="328"/>
                </a:cubicBezTo>
                <a:moveTo>
                  <a:pt x="3732" y="312"/>
                </a:moveTo>
                <a:cubicBezTo>
                  <a:pt x="3732" y="260"/>
                  <a:pt x="3710" y="214"/>
                  <a:pt x="3672" y="190"/>
                </a:cubicBezTo>
                <a:cubicBezTo>
                  <a:pt x="3650" y="176"/>
                  <a:pt x="3620" y="168"/>
                  <a:pt x="3588" y="168"/>
                </a:cubicBezTo>
                <a:cubicBezTo>
                  <a:pt x="3502" y="168"/>
                  <a:pt x="3442" y="230"/>
                  <a:pt x="3442" y="310"/>
                </a:cubicBezTo>
                <a:cubicBezTo>
                  <a:pt x="3442" y="364"/>
                  <a:pt x="3464" y="408"/>
                  <a:pt x="3502" y="432"/>
                </a:cubicBezTo>
                <a:cubicBezTo>
                  <a:pt x="3524" y="446"/>
                  <a:pt x="3554" y="452"/>
                  <a:pt x="3586" y="452"/>
                </a:cubicBezTo>
                <a:cubicBezTo>
                  <a:pt x="3672" y="454"/>
                  <a:pt x="3732" y="394"/>
                  <a:pt x="3732" y="312"/>
                </a:cubicBezTo>
                <a:moveTo>
                  <a:pt x="4136" y="448"/>
                </a:moveTo>
                <a:cubicBezTo>
                  <a:pt x="4280" y="448"/>
                  <a:pt x="4280" y="448"/>
                  <a:pt x="4280" y="448"/>
                </a:cubicBezTo>
                <a:cubicBezTo>
                  <a:pt x="4280" y="436"/>
                  <a:pt x="4280" y="436"/>
                  <a:pt x="4280" y="436"/>
                </a:cubicBezTo>
                <a:cubicBezTo>
                  <a:pt x="4230" y="434"/>
                  <a:pt x="4232" y="426"/>
                  <a:pt x="4232" y="348"/>
                </a:cubicBezTo>
                <a:cubicBezTo>
                  <a:pt x="4232" y="276"/>
                  <a:pt x="4232" y="276"/>
                  <a:pt x="4232" y="276"/>
                </a:cubicBezTo>
                <a:cubicBezTo>
                  <a:pt x="4232" y="200"/>
                  <a:pt x="4190" y="172"/>
                  <a:pt x="4142" y="172"/>
                </a:cubicBezTo>
                <a:cubicBezTo>
                  <a:pt x="4098" y="172"/>
                  <a:pt x="4064" y="196"/>
                  <a:pt x="4038" y="232"/>
                </a:cubicBezTo>
                <a:cubicBezTo>
                  <a:pt x="4028" y="194"/>
                  <a:pt x="4000" y="172"/>
                  <a:pt x="3954" y="172"/>
                </a:cubicBezTo>
                <a:cubicBezTo>
                  <a:pt x="3916" y="172"/>
                  <a:pt x="3880" y="196"/>
                  <a:pt x="3858" y="224"/>
                </a:cubicBezTo>
                <a:cubicBezTo>
                  <a:pt x="3858" y="176"/>
                  <a:pt x="3858" y="176"/>
                  <a:pt x="3858" y="176"/>
                </a:cubicBezTo>
                <a:cubicBezTo>
                  <a:pt x="3756" y="176"/>
                  <a:pt x="3756" y="176"/>
                  <a:pt x="3756" y="176"/>
                </a:cubicBezTo>
                <a:cubicBezTo>
                  <a:pt x="3756" y="188"/>
                  <a:pt x="3756" y="188"/>
                  <a:pt x="3756" y="188"/>
                </a:cubicBezTo>
                <a:cubicBezTo>
                  <a:pt x="3800" y="190"/>
                  <a:pt x="3806" y="192"/>
                  <a:pt x="3806" y="268"/>
                </a:cubicBezTo>
                <a:cubicBezTo>
                  <a:pt x="3806" y="346"/>
                  <a:pt x="3806" y="346"/>
                  <a:pt x="3806" y="346"/>
                </a:cubicBezTo>
                <a:cubicBezTo>
                  <a:pt x="3806" y="434"/>
                  <a:pt x="3804" y="434"/>
                  <a:pt x="3758" y="434"/>
                </a:cubicBezTo>
                <a:cubicBezTo>
                  <a:pt x="3758" y="446"/>
                  <a:pt x="3758" y="446"/>
                  <a:pt x="3758" y="446"/>
                </a:cubicBezTo>
                <a:cubicBezTo>
                  <a:pt x="3902" y="446"/>
                  <a:pt x="3902" y="446"/>
                  <a:pt x="3902" y="446"/>
                </a:cubicBezTo>
                <a:cubicBezTo>
                  <a:pt x="3902" y="434"/>
                  <a:pt x="3902" y="434"/>
                  <a:pt x="3902" y="434"/>
                </a:cubicBezTo>
                <a:cubicBezTo>
                  <a:pt x="3862" y="430"/>
                  <a:pt x="3858" y="430"/>
                  <a:pt x="3858" y="342"/>
                </a:cubicBezTo>
                <a:cubicBezTo>
                  <a:pt x="3858" y="262"/>
                  <a:pt x="3858" y="262"/>
                  <a:pt x="3858" y="262"/>
                </a:cubicBezTo>
                <a:cubicBezTo>
                  <a:pt x="3858" y="234"/>
                  <a:pt x="3894" y="204"/>
                  <a:pt x="3932" y="204"/>
                </a:cubicBezTo>
                <a:cubicBezTo>
                  <a:pt x="3974" y="204"/>
                  <a:pt x="3990" y="226"/>
                  <a:pt x="3990" y="282"/>
                </a:cubicBezTo>
                <a:cubicBezTo>
                  <a:pt x="3990" y="338"/>
                  <a:pt x="3990" y="338"/>
                  <a:pt x="3990" y="338"/>
                </a:cubicBezTo>
                <a:cubicBezTo>
                  <a:pt x="3990" y="428"/>
                  <a:pt x="3988" y="432"/>
                  <a:pt x="3950" y="436"/>
                </a:cubicBezTo>
                <a:cubicBezTo>
                  <a:pt x="3950" y="448"/>
                  <a:pt x="3950" y="448"/>
                  <a:pt x="3950" y="448"/>
                </a:cubicBezTo>
                <a:cubicBezTo>
                  <a:pt x="4086" y="448"/>
                  <a:pt x="4086" y="448"/>
                  <a:pt x="4086" y="448"/>
                </a:cubicBezTo>
                <a:cubicBezTo>
                  <a:pt x="4086" y="436"/>
                  <a:pt x="4086" y="436"/>
                  <a:pt x="4086" y="436"/>
                </a:cubicBezTo>
                <a:cubicBezTo>
                  <a:pt x="4040" y="432"/>
                  <a:pt x="4042" y="428"/>
                  <a:pt x="4042" y="342"/>
                </a:cubicBezTo>
                <a:cubicBezTo>
                  <a:pt x="4042" y="264"/>
                  <a:pt x="4042" y="264"/>
                  <a:pt x="4042" y="264"/>
                </a:cubicBezTo>
                <a:cubicBezTo>
                  <a:pt x="4042" y="236"/>
                  <a:pt x="4078" y="206"/>
                  <a:pt x="4118" y="206"/>
                </a:cubicBezTo>
                <a:cubicBezTo>
                  <a:pt x="4152" y="206"/>
                  <a:pt x="4174" y="226"/>
                  <a:pt x="4174" y="284"/>
                </a:cubicBezTo>
                <a:cubicBezTo>
                  <a:pt x="4174" y="346"/>
                  <a:pt x="4174" y="346"/>
                  <a:pt x="4174" y="346"/>
                </a:cubicBezTo>
                <a:cubicBezTo>
                  <a:pt x="4174" y="428"/>
                  <a:pt x="4174" y="432"/>
                  <a:pt x="4134" y="436"/>
                </a:cubicBezTo>
                <a:cubicBezTo>
                  <a:pt x="4134" y="448"/>
                  <a:pt x="4134" y="448"/>
                  <a:pt x="4134" y="448"/>
                </a:cubicBezTo>
                <a:lnTo>
                  <a:pt x="4136" y="448"/>
                </a:lnTo>
                <a:close/>
                <a:moveTo>
                  <a:pt x="4546" y="316"/>
                </a:moveTo>
                <a:cubicBezTo>
                  <a:pt x="4546" y="388"/>
                  <a:pt x="4516" y="432"/>
                  <a:pt x="4460" y="432"/>
                </a:cubicBezTo>
                <a:cubicBezTo>
                  <a:pt x="4424" y="432"/>
                  <a:pt x="4384" y="412"/>
                  <a:pt x="4384" y="384"/>
                </a:cubicBezTo>
                <a:cubicBezTo>
                  <a:pt x="4384" y="248"/>
                  <a:pt x="4384" y="248"/>
                  <a:pt x="4384" y="248"/>
                </a:cubicBezTo>
                <a:cubicBezTo>
                  <a:pt x="4384" y="226"/>
                  <a:pt x="4416" y="202"/>
                  <a:pt x="4454" y="202"/>
                </a:cubicBezTo>
                <a:cubicBezTo>
                  <a:pt x="4510" y="206"/>
                  <a:pt x="4546" y="248"/>
                  <a:pt x="4546" y="316"/>
                </a:cubicBezTo>
                <a:moveTo>
                  <a:pt x="4600" y="310"/>
                </a:moveTo>
                <a:cubicBezTo>
                  <a:pt x="4600" y="230"/>
                  <a:pt x="4548" y="170"/>
                  <a:pt x="4478" y="170"/>
                </a:cubicBezTo>
                <a:cubicBezTo>
                  <a:pt x="4438" y="170"/>
                  <a:pt x="4406" y="188"/>
                  <a:pt x="4384" y="214"/>
                </a:cubicBezTo>
                <a:cubicBezTo>
                  <a:pt x="4384" y="174"/>
                  <a:pt x="4384" y="174"/>
                  <a:pt x="4384" y="174"/>
                </a:cubicBezTo>
                <a:cubicBezTo>
                  <a:pt x="4284" y="174"/>
                  <a:pt x="4284" y="174"/>
                  <a:pt x="4284" y="174"/>
                </a:cubicBezTo>
                <a:cubicBezTo>
                  <a:pt x="4284" y="186"/>
                  <a:pt x="4284" y="186"/>
                  <a:pt x="4284" y="186"/>
                </a:cubicBezTo>
                <a:cubicBezTo>
                  <a:pt x="4326" y="188"/>
                  <a:pt x="4332" y="190"/>
                  <a:pt x="4332" y="280"/>
                </a:cubicBezTo>
                <a:cubicBezTo>
                  <a:pt x="4332" y="466"/>
                  <a:pt x="4332" y="466"/>
                  <a:pt x="4332" y="466"/>
                </a:cubicBezTo>
                <a:cubicBezTo>
                  <a:pt x="4332" y="564"/>
                  <a:pt x="4334" y="570"/>
                  <a:pt x="4286" y="574"/>
                </a:cubicBezTo>
                <a:cubicBezTo>
                  <a:pt x="4286" y="588"/>
                  <a:pt x="4286" y="588"/>
                  <a:pt x="4286" y="588"/>
                </a:cubicBezTo>
                <a:cubicBezTo>
                  <a:pt x="4432" y="588"/>
                  <a:pt x="4432" y="588"/>
                  <a:pt x="4432" y="588"/>
                </a:cubicBezTo>
                <a:cubicBezTo>
                  <a:pt x="4432" y="574"/>
                  <a:pt x="4432" y="574"/>
                  <a:pt x="4432" y="574"/>
                </a:cubicBezTo>
                <a:cubicBezTo>
                  <a:pt x="4380" y="572"/>
                  <a:pt x="4384" y="564"/>
                  <a:pt x="4384" y="462"/>
                </a:cubicBezTo>
                <a:cubicBezTo>
                  <a:pt x="4384" y="424"/>
                  <a:pt x="4384" y="424"/>
                  <a:pt x="4384" y="424"/>
                </a:cubicBezTo>
                <a:cubicBezTo>
                  <a:pt x="4404" y="444"/>
                  <a:pt x="4436" y="454"/>
                  <a:pt x="4466" y="454"/>
                </a:cubicBezTo>
                <a:cubicBezTo>
                  <a:pt x="4548" y="454"/>
                  <a:pt x="4600" y="392"/>
                  <a:pt x="4600" y="310"/>
                </a:cubicBezTo>
                <a:moveTo>
                  <a:pt x="4792" y="382"/>
                </a:moveTo>
                <a:cubicBezTo>
                  <a:pt x="4792" y="404"/>
                  <a:pt x="4762" y="424"/>
                  <a:pt x="4736" y="424"/>
                </a:cubicBezTo>
                <a:cubicBezTo>
                  <a:pt x="4712" y="424"/>
                  <a:pt x="4694" y="410"/>
                  <a:pt x="4694" y="378"/>
                </a:cubicBezTo>
                <a:cubicBezTo>
                  <a:pt x="4694" y="322"/>
                  <a:pt x="4752" y="328"/>
                  <a:pt x="4792" y="306"/>
                </a:cubicBezTo>
                <a:cubicBezTo>
                  <a:pt x="4792" y="382"/>
                  <a:pt x="4792" y="382"/>
                  <a:pt x="4792" y="382"/>
                </a:cubicBezTo>
                <a:close/>
                <a:moveTo>
                  <a:pt x="5240" y="434"/>
                </a:moveTo>
                <a:cubicBezTo>
                  <a:pt x="5192" y="432"/>
                  <a:pt x="5192" y="430"/>
                  <a:pt x="5192" y="340"/>
                </a:cubicBezTo>
                <a:cubicBezTo>
                  <a:pt x="5192" y="278"/>
                  <a:pt x="5192" y="278"/>
                  <a:pt x="5192" y="278"/>
                </a:cubicBezTo>
                <a:cubicBezTo>
                  <a:pt x="5192" y="196"/>
                  <a:pt x="5146" y="170"/>
                  <a:pt x="5104" y="170"/>
                </a:cubicBezTo>
                <a:cubicBezTo>
                  <a:pt x="5068" y="170"/>
                  <a:pt x="5032" y="186"/>
                  <a:pt x="5004" y="222"/>
                </a:cubicBezTo>
                <a:cubicBezTo>
                  <a:pt x="5004" y="174"/>
                  <a:pt x="5004" y="174"/>
                  <a:pt x="5004" y="174"/>
                </a:cubicBezTo>
                <a:cubicBezTo>
                  <a:pt x="4902" y="174"/>
                  <a:pt x="4902" y="174"/>
                  <a:pt x="4902" y="174"/>
                </a:cubicBezTo>
                <a:cubicBezTo>
                  <a:pt x="4902" y="186"/>
                  <a:pt x="4902" y="186"/>
                  <a:pt x="4902" y="186"/>
                </a:cubicBezTo>
                <a:cubicBezTo>
                  <a:pt x="4946" y="188"/>
                  <a:pt x="4952" y="190"/>
                  <a:pt x="4952" y="266"/>
                </a:cubicBezTo>
                <a:cubicBezTo>
                  <a:pt x="4952" y="334"/>
                  <a:pt x="4952" y="334"/>
                  <a:pt x="4952" y="334"/>
                </a:cubicBezTo>
                <a:cubicBezTo>
                  <a:pt x="4952" y="430"/>
                  <a:pt x="4952" y="432"/>
                  <a:pt x="4904" y="434"/>
                </a:cubicBezTo>
                <a:cubicBezTo>
                  <a:pt x="4892" y="434"/>
                  <a:pt x="4892" y="434"/>
                  <a:pt x="4892" y="434"/>
                </a:cubicBezTo>
                <a:cubicBezTo>
                  <a:pt x="4854" y="434"/>
                  <a:pt x="4850" y="422"/>
                  <a:pt x="4850" y="366"/>
                </a:cubicBezTo>
                <a:cubicBezTo>
                  <a:pt x="4850" y="274"/>
                  <a:pt x="4850" y="274"/>
                  <a:pt x="4850" y="274"/>
                </a:cubicBezTo>
                <a:cubicBezTo>
                  <a:pt x="4850" y="256"/>
                  <a:pt x="4848" y="240"/>
                  <a:pt x="4844" y="228"/>
                </a:cubicBezTo>
                <a:cubicBezTo>
                  <a:pt x="4830" y="186"/>
                  <a:pt x="4796" y="170"/>
                  <a:pt x="4748" y="170"/>
                </a:cubicBezTo>
                <a:cubicBezTo>
                  <a:pt x="4718" y="170"/>
                  <a:pt x="4674" y="180"/>
                  <a:pt x="4650" y="202"/>
                </a:cubicBezTo>
                <a:cubicBezTo>
                  <a:pt x="4652" y="214"/>
                  <a:pt x="4664" y="240"/>
                  <a:pt x="4670" y="248"/>
                </a:cubicBezTo>
                <a:cubicBezTo>
                  <a:pt x="4676" y="246"/>
                  <a:pt x="4676" y="246"/>
                  <a:pt x="4676" y="246"/>
                </a:cubicBezTo>
                <a:cubicBezTo>
                  <a:pt x="4688" y="216"/>
                  <a:pt x="4708" y="194"/>
                  <a:pt x="4742" y="194"/>
                </a:cubicBezTo>
                <a:cubicBezTo>
                  <a:pt x="4778" y="194"/>
                  <a:pt x="4794" y="220"/>
                  <a:pt x="4794" y="250"/>
                </a:cubicBezTo>
                <a:cubicBezTo>
                  <a:pt x="4794" y="282"/>
                  <a:pt x="4794" y="282"/>
                  <a:pt x="4794" y="282"/>
                </a:cubicBezTo>
                <a:cubicBezTo>
                  <a:pt x="4794" y="302"/>
                  <a:pt x="4702" y="306"/>
                  <a:pt x="4664" y="338"/>
                </a:cubicBezTo>
                <a:cubicBezTo>
                  <a:pt x="4652" y="350"/>
                  <a:pt x="4642" y="364"/>
                  <a:pt x="4642" y="384"/>
                </a:cubicBezTo>
                <a:cubicBezTo>
                  <a:pt x="4642" y="426"/>
                  <a:pt x="4672" y="456"/>
                  <a:pt x="4716" y="456"/>
                </a:cubicBezTo>
                <a:cubicBezTo>
                  <a:pt x="4744" y="456"/>
                  <a:pt x="4768" y="446"/>
                  <a:pt x="4794" y="418"/>
                </a:cubicBezTo>
                <a:cubicBezTo>
                  <a:pt x="4798" y="438"/>
                  <a:pt x="4814" y="448"/>
                  <a:pt x="4842" y="448"/>
                </a:cubicBezTo>
                <a:cubicBezTo>
                  <a:pt x="4906" y="448"/>
                  <a:pt x="4906" y="448"/>
                  <a:pt x="4906" y="448"/>
                </a:cubicBezTo>
                <a:cubicBezTo>
                  <a:pt x="4906" y="448"/>
                  <a:pt x="4906" y="448"/>
                  <a:pt x="4906" y="448"/>
                </a:cubicBezTo>
                <a:cubicBezTo>
                  <a:pt x="5048" y="448"/>
                  <a:pt x="5048" y="448"/>
                  <a:pt x="5048" y="448"/>
                </a:cubicBezTo>
                <a:cubicBezTo>
                  <a:pt x="5048" y="436"/>
                  <a:pt x="5048" y="436"/>
                  <a:pt x="5048" y="436"/>
                </a:cubicBezTo>
                <a:cubicBezTo>
                  <a:pt x="5006" y="432"/>
                  <a:pt x="5004" y="434"/>
                  <a:pt x="5004" y="338"/>
                </a:cubicBezTo>
                <a:cubicBezTo>
                  <a:pt x="5004" y="262"/>
                  <a:pt x="5004" y="262"/>
                  <a:pt x="5004" y="262"/>
                </a:cubicBezTo>
                <a:cubicBezTo>
                  <a:pt x="5004" y="236"/>
                  <a:pt x="5038" y="206"/>
                  <a:pt x="5080" y="206"/>
                </a:cubicBezTo>
                <a:cubicBezTo>
                  <a:pt x="5114" y="206"/>
                  <a:pt x="5140" y="220"/>
                  <a:pt x="5140" y="286"/>
                </a:cubicBezTo>
                <a:cubicBezTo>
                  <a:pt x="5140" y="340"/>
                  <a:pt x="5140" y="340"/>
                  <a:pt x="5140" y="340"/>
                </a:cubicBezTo>
                <a:cubicBezTo>
                  <a:pt x="5140" y="432"/>
                  <a:pt x="5136" y="432"/>
                  <a:pt x="5098" y="434"/>
                </a:cubicBezTo>
                <a:cubicBezTo>
                  <a:pt x="5098" y="446"/>
                  <a:pt x="5098" y="446"/>
                  <a:pt x="5098" y="446"/>
                </a:cubicBezTo>
                <a:cubicBezTo>
                  <a:pt x="5240" y="446"/>
                  <a:pt x="5240" y="446"/>
                  <a:pt x="5240" y="446"/>
                </a:cubicBezTo>
                <a:lnTo>
                  <a:pt x="5240" y="434"/>
                </a:lnTo>
                <a:close/>
                <a:moveTo>
                  <a:pt x="5516" y="192"/>
                </a:moveTo>
                <a:cubicBezTo>
                  <a:pt x="5516" y="180"/>
                  <a:pt x="5516" y="180"/>
                  <a:pt x="5516" y="180"/>
                </a:cubicBezTo>
                <a:cubicBezTo>
                  <a:pt x="5418" y="180"/>
                  <a:pt x="5418" y="180"/>
                  <a:pt x="5418" y="180"/>
                </a:cubicBezTo>
                <a:cubicBezTo>
                  <a:pt x="5418" y="192"/>
                  <a:pt x="5418" y="192"/>
                  <a:pt x="5418" y="192"/>
                </a:cubicBezTo>
                <a:cubicBezTo>
                  <a:pt x="5442" y="194"/>
                  <a:pt x="5454" y="206"/>
                  <a:pt x="5446" y="234"/>
                </a:cubicBezTo>
                <a:cubicBezTo>
                  <a:pt x="5394" y="390"/>
                  <a:pt x="5394" y="390"/>
                  <a:pt x="5394" y="390"/>
                </a:cubicBezTo>
                <a:cubicBezTo>
                  <a:pt x="5342" y="270"/>
                  <a:pt x="5342" y="270"/>
                  <a:pt x="5342" y="270"/>
                </a:cubicBezTo>
                <a:cubicBezTo>
                  <a:pt x="5328" y="238"/>
                  <a:pt x="5322" y="224"/>
                  <a:pt x="5322" y="212"/>
                </a:cubicBezTo>
                <a:cubicBezTo>
                  <a:pt x="5322" y="202"/>
                  <a:pt x="5328" y="196"/>
                  <a:pt x="5348" y="192"/>
                </a:cubicBezTo>
                <a:cubicBezTo>
                  <a:pt x="5348" y="180"/>
                  <a:pt x="5348" y="180"/>
                  <a:pt x="5348" y="180"/>
                </a:cubicBezTo>
                <a:cubicBezTo>
                  <a:pt x="5220" y="180"/>
                  <a:pt x="5220" y="180"/>
                  <a:pt x="5220" y="180"/>
                </a:cubicBezTo>
                <a:cubicBezTo>
                  <a:pt x="5220" y="192"/>
                  <a:pt x="5220" y="192"/>
                  <a:pt x="5220" y="192"/>
                </a:cubicBezTo>
                <a:cubicBezTo>
                  <a:pt x="5252" y="194"/>
                  <a:pt x="5254" y="198"/>
                  <a:pt x="5296" y="292"/>
                </a:cubicBezTo>
                <a:cubicBezTo>
                  <a:pt x="5368" y="450"/>
                  <a:pt x="5368" y="450"/>
                  <a:pt x="5368" y="450"/>
                </a:cubicBezTo>
                <a:cubicBezTo>
                  <a:pt x="5344" y="512"/>
                  <a:pt x="5306" y="546"/>
                  <a:pt x="5228" y="564"/>
                </a:cubicBezTo>
                <a:cubicBezTo>
                  <a:pt x="5232" y="576"/>
                  <a:pt x="5246" y="600"/>
                  <a:pt x="5254" y="606"/>
                </a:cubicBezTo>
                <a:cubicBezTo>
                  <a:pt x="5356" y="564"/>
                  <a:pt x="5376" y="498"/>
                  <a:pt x="5412" y="396"/>
                </a:cubicBezTo>
                <a:cubicBezTo>
                  <a:pt x="5466" y="242"/>
                  <a:pt x="5466" y="242"/>
                  <a:pt x="5466" y="242"/>
                </a:cubicBezTo>
                <a:cubicBezTo>
                  <a:pt x="5478" y="206"/>
                  <a:pt x="5498" y="192"/>
                  <a:pt x="5516" y="192"/>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600" kern="1200">
                <a:solidFill>
                  <a:schemeClr val="tx1"/>
                </a:solidFill>
                <a:latin typeface="Arial" charset="0"/>
                <a:ea typeface="+mn-ea"/>
                <a:cs typeface="+mn-cs"/>
              </a:defRPr>
            </a:lvl1pPr>
            <a:lvl2pPr marL="457200" algn="l" rtl="0" fontAlgn="base">
              <a:spcBef>
                <a:spcPct val="0"/>
              </a:spcBef>
              <a:spcAft>
                <a:spcPct val="0"/>
              </a:spcAft>
              <a:defRPr sz="1600" kern="1200">
                <a:solidFill>
                  <a:schemeClr val="tx1"/>
                </a:solidFill>
                <a:latin typeface="Arial" charset="0"/>
                <a:ea typeface="+mn-ea"/>
                <a:cs typeface="+mn-cs"/>
              </a:defRPr>
            </a:lvl2pPr>
            <a:lvl3pPr marL="914400" algn="l" rtl="0" fontAlgn="base">
              <a:spcBef>
                <a:spcPct val="0"/>
              </a:spcBef>
              <a:spcAft>
                <a:spcPct val="0"/>
              </a:spcAft>
              <a:defRPr sz="1600" kern="1200">
                <a:solidFill>
                  <a:schemeClr val="tx1"/>
                </a:solidFill>
                <a:latin typeface="Arial" charset="0"/>
                <a:ea typeface="+mn-ea"/>
                <a:cs typeface="+mn-cs"/>
              </a:defRPr>
            </a:lvl3pPr>
            <a:lvl4pPr marL="1371600" algn="l" rtl="0" fontAlgn="base">
              <a:spcBef>
                <a:spcPct val="0"/>
              </a:spcBef>
              <a:spcAft>
                <a:spcPct val="0"/>
              </a:spcAft>
              <a:defRPr sz="1600" kern="1200">
                <a:solidFill>
                  <a:schemeClr val="tx1"/>
                </a:solidFill>
                <a:latin typeface="Arial" charset="0"/>
                <a:ea typeface="+mn-ea"/>
                <a:cs typeface="+mn-cs"/>
              </a:defRPr>
            </a:lvl4pPr>
            <a:lvl5pPr marL="1828800" algn="l" rtl="0" fontAlgn="base">
              <a:spcBef>
                <a:spcPct val="0"/>
              </a:spcBef>
              <a:spcAft>
                <a:spcPct val="0"/>
              </a:spcAft>
              <a:defRPr sz="1600" kern="1200">
                <a:solidFill>
                  <a:schemeClr val="tx1"/>
                </a:solidFill>
                <a:latin typeface="Arial" charset="0"/>
                <a:ea typeface="+mn-ea"/>
                <a:cs typeface="+mn-cs"/>
              </a:defRPr>
            </a:lvl5pPr>
            <a:lvl6pPr marL="2286000" algn="l" defTabSz="914400" rtl="0" eaLnBrk="1" latinLnBrk="0" hangingPunct="1">
              <a:defRPr sz="1600" kern="1200">
                <a:solidFill>
                  <a:schemeClr val="tx1"/>
                </a:solidFill>
                <a:latin typeface="Arial" charset="0"/>
                <a:ea typeface="+mn-ea"/>
                <a:cs typeface="+mn-cs"/>
              </a:defRPr>
            </a:lvl6pPr>
            <a:lvl7pPr marL="2743200" algn="l" defTabSz="914400" rtl="0" eaLnBrk="1" latinLnBrk="0" hangingPunct="1">
              <a:defRPr sz="1600" kern="1200">
                <a:solidFill>
                  <a:schemeClr val="tx1"/>
                </a:solidFill>
                <a:latin typeface="Arial" charset="0"/>
                <a:ea typeface="+mn-ea"/>
                <a:cs typeface="+mn-cs"/>
              </a:defRPr>
            </a:lvl7pPr>
            <a:lvl8pPr marL="3200400" algn="l" defTabSz="914400" rtl="0" eaLnBrk="1" latinLnBrk="0" hangingPunct="1">
              <a:defRPr sz="1600" kern="1200">
                <a:solidFill>
                  <a:schemeClr val="tx1"/>
                </a:solidFill>
                <a:latin typeface="Arial" charset="0"/>
                <a:ea typeface="+mn-ea"/>
                <a:cs typeface="+mn-cs"/>
              </a:defRPr>
            </a:lvl8pPr>
            <a:lvl9pPr marL="3657600" algn="l" defTabSz="914400" rtl="0" eaLnBrk="1" latinLnBrk="0" hangingPunct="1">
              <a:defRPr sz="1600" kern="1200">
                <a:solidFill>
                  <a:schemeClr val="tx1"/>
                </a:solidFill>
                <a:latin typeface="Arial" charset="0"/>
                <a:ea typeface="+mn-ea"/>
                <a:cs typeface="+mn-cs"/>
              </a:defRPr>
            </a:lvl9pPr>
          </a:lstStyle>
          <a:p>
            <a:endParaRPr lang="en-US" baseline="0" dirty="0">
              <a:solidFill>
                <a:srgbClr val="000000"/>
              </a:solidFill>
              <a:latin typeface="+mn-lt"/>
            </a:endParaRPr>
          </a:p>
        </p:txBody>
      </p:sp>
      <p:sp>
        <p:nvSpPr>
          <p:cNvPr id="27" name="Disclaimer-English (United States)" hidden="1"/>
          <p:cNvSpPr>
            <a:spLocks noChangeArrowheads="1"/>
          </p:cNvSpPr>
          <p:nvPr/>
        </p:nvSpPr>
        <p:spPr bwMode="black">
          <a:xfrm>
            <a:off x="2268266" y="6287785"/>
            <a:ext cx="3544453" cy="36908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t" anchorCtr="0">
            <a:noAutofit/>
          </a:bodyPr>
          <a:lstStyle/>
          <a:p>
            <a:pPr defTabSz="804863" eaLnBrk="0" hangingPunct="0"/>
            <a:r>
              <a:rPr lang="en-US" sz="800" baseline="0" dirty="0">
                <a:solidFill>
                  <a:srgbClr val="FFFFFF"/>
                </a:solidFill>
                <a:latin typeface="+mn-lt"/>
              </a:rPr>
              <a:t>CONFIDENTIAL AND PROPRIETARY</a:t>
            </a:r>
          </a:p>
          <a:p>
            <a:pPr defTabSz="804863" eaLnBrk="0" hangingPunct="0"/>
            <a:r>
              <a:rPr lang="en-US" sz="800" baseline="0" dirty="0">
                <a:solidFill>
                  <a:srgbClr val="FFFFFF"/>
                </a:solidFill>
                <a:latin typeface="+mn-lt"/>
              </a:rPr>
              <a:t>Any use of this material without specific permission of McKinsey &amp; Company is strictly prohibited</a:t>
            </a:r>
          </a:p>
        </p:txBody>
      </p:sp>
    </p:spTree>
    <p:extLst>
      <p:ext uri="{BB962C8B-B14F-4D97-AF65-F5344CB8AC3E}">
        <p14:creationId xmlns:p14="http://schemas.microsoft.com/office/powerpoint/2010/main" val="4115333601"/>
      </p:ext>
    </p:extLst>
  </p:cSld>
  <p:clrMapOvr>
    <a:masterClrMapping/>
  </p:clrMapOvr>
  <p:extLst mod="1">
    <p:ext uri="{DCECCB84-F9BA-43D5-87BE-67443E8EF086}">
      <p15:sldGuideLst xmlns:p15="http://schemas.microsoft.com/office/powerpoint/2012/main">
        <p15:guide id="1" orient="horz" pos="2117">
          <p15:clr>
            <a:srgbClr val="FBAE40"/>
          </p15:clr>
        </p15:guide>
        <p15:guide id="2" pos="1416">
          <p15:clr>
            <a:srgbClr val="FBAE40"/>
          </p15:clr>
        </p15:guide>
      </p15:sldGuideLst>
    </p:ext>
  </p:extLst>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6E228F5-5CF1-42E1-9748-97D7582A107A}"/>
              </a:ext>
            </a:extLst>
          </p:cNvPr>
          <p:cNvGraphicFramePr>
            <a:graphicFrameLocks noChangeAspect="1"/>
          </p:cNvGraphicFramePr>
          <p:nvPr>
            <p:custDataLst>
              <p:tags r:id="rId2"/>
            </p:custDataLst>
            <p:extLst>
              <p:ext uri="{D42A27DB-BD31-4B8C-83A1-F6EECF244321}">
                <p14:modId xmlns:p14="http://schemas.microsoft.com/office/powerpoint/2010/main" val="335535845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52948" name="think-cell Slide" r:id="rId5" imgW="353" imgH="353" progId="TCLayout.ActiveDocument.1">
                  <p:embed/>
                </p:oleObj>
              </mc:Choice>
              <mc:Fallback>
                <p:oleObj name="think-cell Slide" r:id="rId5" imgW="353" imgH="353" progId="TCLayout.ActiveDocument.1">
                  <p:embed/>
                  <p:pic>
                    <p:nvPicPr>
                      <p:cNvPr id="3" name="Object 2" hidden="1">
                        <a:extLst>
                          <a:ext uri="{FF2B5EF4-FFF2-40B4-BE49-F238E27FC236}">
                            <a16:creationId xmlns:a16="http://schemas.microsoft.com/office/drawing/2014/main" id="{C6E228F5-5CF1-42E1-9748-97D7582A107A}"/>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2. Slide Title"/>
          <p:cNvSpPr>
            <a:spLocks noGrp="1"/>
          </p:cNvSpPr>
          <p:nvPr>
            <p:ph type="title"/>
          </p:nvPr>
        </p:nvSpPr>
        <p:spPr bwMode="auto"/>
        <p:txBody>
          <a:bodyPr/>
          <a:lstStyle/>
          <a:p>
            <a:r>
              <a:rPr lang="en-US"/>
              <a:t>Click to edit Master title style</a:t>
            </a:r>
            <a:endParaRPr lang="en-US" dirty="0"/>
          </a:p>
        </p:txBody>
      </p:sp>
      <p:sp>
        <p:nvSpPr>
          <p:cNvPr id="8" name="Slide Number"/>
          <p:cNvSpPr txBox="1">
            <a:spLocks/>
          </p:cNvSpPr>
          <p:nvPr/>
        </p:nvSpPr>
        <p:spPr bwMode="auto">
          <a:xfrm>
            <a:off x="8564563" y="6508272"/>
            <a:ext cx="125034" cy="123111"/>
          </a:xfrm>
          <a:prstGeom prst="rect">
            <a:avLst/>
          </a:prstGeom>
        </p:spPr>
        <p:txBody>
          <a:bodyPr vert="horz" wrap="none" lIns="0" tIns="0" rIns="0" bIns="0" rtlCol="0" anchor="ctr">
            <a:spAutoFit/>
          </a:bodyPr>
          <a:lstStyle>
            <a:defPPr>
              <a:defRPr lang="en-US"/>
            </a:defPPr>
            <a:lvl1pPr>
              <a:defRPr sz="1000" baseline="0">
                <a:latin typeface="+mn-lt"/>
              </a:defRPr>
            </a:lvl1pPr>
          </a:lstStyle>
          <a:p>
            <a:fld id="{42C328C1-A84F-4A39-A664-DBA00541A8C6}" type="slidenum">
              <a:rPr lang="en-US" sz="800" baseline="0" smtClean="0">
                <a:solidFill>
                  <a:srgbClr val="808080"/>
                </a:solidFill>
                <a:latin typeface="+mn-lt"/>
              </a:rPr>
              <a:pPr/>
              <a:t>‹#›</a:t>
            </a:fld>
            <a:endParaRPr lang="en-US" sz="800" baseline="0" dirty="0">
              <a:solidFill>
                <a:srgbClr val="808080"/>
              </a:solidFill>
              <a:latin typeface="+mn-lt"/>
            </a:endParaRPr>
          </a:p>
        </p:txBody>
      </p:sp>
      <p:sp>
        <p:nvSpPr>
          <p:cNvPr id="9" name="SlideLogoText"/>
          <p:cNvSpPr>
            <a:spLocks noChangeArrowheads="1"/>
          </p:cNvSpPr>
          <p:nvPr>
            <p:custDataLst>
              <p:tags r:id="rId3"/>
            </p:custDataLst>
          </p:nvPr>
        </p:nvSpPr>
        <p:spPr bwMode="auto">
          <a:xfrm>
            <a:off x="7450817" y="6508272"/>
            <a:ext cx="1013098"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algn="r" defTabSz="895350"/>
            <a:r>
              <a:rPr lang="en-US" sz="800" baseline="0" dirty="0">
                <a:solidFill>
                  <a:srgbClr val="808080"/>
                </a:solidFill>
                <a:latin typeface="+mn-lt"/>
              </a:rPr>
              <a:t>McKinsey &amp; Company</a:t>
            </a:r>
          </a:p>
        </p:txBody>
      </p:sp>
      <p:sp>
        <p:nvSpPr>
          <p:cNvPr id="5" name="doc id" hidden="1"/>
          <p:cNvSpPr txBox="1">
            <a:spLocks noChangeArrowheads="1"/>
          </p:cNvSpPr>
          <p:nvPr/>
        </p:nvSpPr>
        <p:spPr bwMode="white">
          <a:xfrm>
            <a:off x="8104473" y="36513"/>
            <a:ext cx="634716" cy="115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hangingPunct="1">
              <a:defRPr/>
            </a:pPr>
            <a:endParaRPr lang="en-US" sz="800" baseline="0" dirty="0">
              <a:solidFill>
                <a:schemeClr val="accent1"/>
              </a:solidFill>
              <a:latin typeface="+mn-lt"/>
              <a:ea typeface="+mn-ea"/>
            </a:endParaRPr>
          </a:p>
        </p:txBody>
      </p:sp>
    </p:spTree>
    <p:extLst>
      <p:ext uri="{BB962C8B-B14F-4D97-AF65-F5344CB8AC3E}">
        <p14:creationId xmlns:p14="http://schemas.microsoft.com/office/powerpoint/2010/main" val="3483657709"/>
      </p:ext>
    </p:extLst>
  </p:cSld>
  <p:clrMapOvr>
    <a:masterClrMapping/>
  </p:clrMapOvr>
  <p:extLst mod="1">
    <p:ext uri="{DCECCB84-F9BA-43D5-87BE-67443E8EF086}">
      <p15:sldGuideLst xmlns:p15="http://schemas.microsoft.com/office/powerpoint/2012/main">
        <p15:guide id="1" pos="5505">
          <p15:clr>
            <a:srgbClr val="F26B43"/>
          </p15:clr>
        </p15:guide>
        <p15:guide id="2" pos="74">
          <p15:clr>
            <a:srgbClr val="F26B43"/>
          </p15:clr>
        </p15:guide>
        <p15:guide id="3" orient="horz" pos="571">
          <p15:clr>
            <a:srgbClr val="F26B43"/>
          </p15:clr>
        </p15:guide>
        <p15:guide id="4" orient="horz" pos="3911">
          <p15:clr>
            <a:srgbClr val="F26B43"/>
          </p15:clr>
        </p15:guide>
      </p15:sldGuideLst>
    </p:ext>
  </p:extLst>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p:cSld name="1_Title Only">
    <p:bg>
      <p:bgPr>
        <a:solidFill>
          <a:schemeClr val="accent2"/>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F4AD34F-3B47-47E2-A09C-FFEB949F6A10}"/>
              </a:ext>
            </a:extLst>
          </p:cNvPr>
          <p:cNvGraphicFramePr>
            <a:graphicFrameLocks noChangeAspect="1"/>
          </p:cNvGraphicFramePr>
          <p:nvPr>
            <p:custDataLst>
              <p:tags r:id="rId2"/>
            </p:custDataLst>
            <p:extLst>
              <p:ext uri="{D42A27DB-BD31-4B8C-83A1-F6EECF244321}">
                <p14:modId xmlns:p14="http://schemas.microsoft.com/office/powerpoint/2010/main" val="3739591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53972" name="think-cell Slide" r:id="rId5" imgW="395" imgH="394" progId="TCLayout.ActiveDocument.1">
                  <p:embed/>
                </p:oleObj>
              </mc:Choice>
              <mc:Fallback>
                <p:oleObj name="think-cell Slide" r:id="rId5" imgW="395" imgH="394" progId="TCLayout.ActiveDocument.1">
                  <p:embed/>
                  <p:pic>
                    <p:nvPicPr>
                      <p:cNvPr id="3" name="Object 2" hidden="1">
                        <a:extLst>
                          <a:ext uri="{FF2B5EF4-FFF2-40B4-BE49-F238E27FC236}">
                            <a16:creationId xmlns:a16="http://schemas.microsoft.com/office/drawing/2014/main" id="{EF4AD34F-3B47-47E2-A09C-FFEB949F6A10}"/>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endParaRPr lang="en-US" dirty="0"/>
          </a:p>
        </p:txBody>
      </p:sp>
      <p:sp>
        <p:nvSpPr>
          <p:cNvPr id="15" name="Slide Number"/>
          <p:cNvSpPr txBox="1">
            <a:spLocks/>
          </p:cNvSpPr>
          <p:nvPr/>
        </p:nvSpPr>
        <p:spPr>
          <a:xfrm>
            <a:off x="8564563" y="6508272"/>
            <a:ext cx="125034" cy="123111"/>
          </a:xfrm>
          <a:prstGeom prst="rect">
            <a:avLst/>
          </a:prstGeom>
        </p:spPr>
        <p:txBody>
          <a:bodyPr vert="horz" wrap="none" lIns="0" tIns="0" rIns="0" bIns="0" rtlCol="0" anchor="ctr">
            <a:spAutoFit/>
          </a:bodyPr>
          <a:lstStyle>
            <a:defPPr>
              <a:defRPr lang="en-US"/>
            </a:defPPr>
            <a:lvl1pPr>
              <a:defRPr sz="1000" baseline="0">
                <a:latin typeface="+mn-lt"/>
              </a:defRPr>
            </a:lvl1pPr>
          </a:lstStyle>
          <a:p>
            <a:fld id="{42C328C1-A84F-4A39-A664-DBA00541A8C6}" type="slidenum">
              <a:rPr lang="en-US" sz="800" baseline="0" smtClean="0">
                <a:solidFill>
                  <a:srgbClr val="FFFFFF"/>
                </a:solidFill>
                <a:latin typeface="+mn-lt"/>
              </a:rPr>
              <a:pPr/>
              <a:t>‹#›</a:t>
            </a:fld>
            <a:endParaRPr lang="en-US" sz="800" baseline="0" dirty="0">
              <a:solidFill>
                <a:srgbClr val="FFFFFF"/>
              </a:solidFill>
              <a:latin typeface="+mn-lt"/>
            </a:endParaRPr>
          </a:p>
        </p:txBody>
      </p:sp>
      <p:sp>
        <p:nvSpPr>
          <p:cNvPr id="16" name="SlideLogoText"/>
          <p:cNvSpPr>
            <a:spLocks noChangeArrowheads="1"/>
          </p:cNvSpPr>
          <p:nvPr>
            <p:custDataLst>
              <p:tags r:id="rId3"/>
            </p:custDataLst>
          </p:nvPr>
        </p:nvSpPr>
        <p:spPr bwMode="auto">
          <a:xfrm>
            <a:off x="7450817" y="6508272"/>
            <a:ext cx="1013098"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algn="r" defTabSz="895350"/>
            <a:r>
              <a:rPr lang="en-US" sz="800" baseline="0" dirty="0">
                <a:solidFill>
                  <a:srgbClr val="FFFFFF"/>
                </a:solidFill>
                <a:latin typeface="+mn-lt"/>
              </a:rPr>
              <a:t>McKinsey &amp; Company</a:t>
            </a:r>
          </a:p>
        </p:txBody>
      </p:sp>
      <p:sp>
        <p:nvSpPr>
          <p:cNvPr id="5" name="doc id" hidden="1"/>
          <p:cNvSpPr txBox="1">
            <a:spLocks noChangeArrowheads="1"/>
          </p:cNvSpPr>
          <p:nvPr/>
        </p:nvSpPr>
        <p:spPr bwMode="white">
          <a:xfrm>
            <a:off x="8104473" y="36513"/>
            <a:ext cx="634716" cy="115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hangingPunct="1">
              <a:defRPr/>
            </a:pPr>
            <a:endParaRPr lang="en-US" sz="800" baseline="0" dirty="0">
              <a:solidFill>
                <a:schemeClr val="accent1"/>
              </a:solidFill>
              <a:latin typeface="+mn-lt"/>
              <a:ea typeface="+mn-ea"/>
            </a:endParaRPr>
          </a:p>
        </p:txBody>
      </p:sp>
    </p:spTree>
    <p:extLst>
      <p:ext uri="{BB962C8B-B14F-4D97-AF65-F5344CB8AC3E}">
        <p14:creationId xmlns:p14="http://schemas.microsoft.com/office/powerpoint/2010/main" val="555435208"/>
      </p:ext>
    </p:extLst>
  </p:cSld>
  <p:clrMapOvr>
    <a:masterClrMapping/>
  </p:clrMapOvr>
  <p:extLst mod="1">
    <p:ext uri="{DCECCB84-F9BA-43D5-87BE-67443E8EF086}">
      <p15:sldGuideLst xmlns:p15="http://schemas.microsoft.com/office/powerpoint/2012/main">
        <p15:guide id="1" pos="3978">
          <p15:clr>
            <a:srgbClr val="000000"/>
          </p15:clr>
        </p15:guide>
        <p15:guide id="2" orient="horz" pos="570">
          <p15:clr>
            <a:srgbClr val="000000"/>
          </p15:clr>
        </p15:guide>
        <p15:guide id="3" orient="horz" pos="3912">
          <p15:clr>
            <a:srgbClr val="000000"/>
          </p15:clr>
        </p15:guide>
        <p15:guide id="4" pos="72">
          <p15:clr>
            <a:srgbClr val="000000"/>
          </p15:clr>
        </p15:guide>
      </p15:sldGuideLst>
    </p:ext>
  </p:extLst>
</p:sldLayout>
</file>

<file path=ppt/slideLayouts/slideLayout199.xml><?xml version="1.0" encoding="utf-8"?>
<p:sldLayout xmlns:a="http://schemas.openxmlformats.org/drawingml/2006/main" xmlns:r="http://schemas.openxmlformats.org/officeDocument/2006/relationships" xmlns:p="http://schemas.openxmlformats.org/presentationml/2006/main" type="titleOnly">
  <p:cSld name="2_Title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ECD524A-1569-4253-8CD8-48D288AD883C}"/>
              </a:ext>
            </a:extLst>
          </p:cNvPr>
          <p:cNvGraphicFramePr>
            <a:graphicFrameLocks noChangeAspect="1"/>
          </p:cNvGraphicFramePr>
          <p:nvPr>
            <p:custDataLst>
              <p:tags r:id="rId2"/>
            </p:custDataLst>
            <p:extLst>
              <p:ext uri="{D42A27DB-BD31-4B8C-83A1-F6EECF244321}">
                <p14:modId xmlns:p14="http://schemas.microsoft.com/office/powerpoint/2010/main" val="99567084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54996" name="think-cell Slide" r:id="rId4" imgW="395" imgH="394" progId="TCLayout.ActiveDocument.1">
                  <p:embed/>
                </p:oleObj>
              </mc:Choice>
              <mc:Fallback>
                <p:oleObj name="think-cell Slide" r:id="rId4" imgW="395" imgH="394" progId="TCLayout.ActiveDocument.1">
                  <p:embed/>
                  <p:pic>
                    <p:nvPicPr>
                      <p:cNvPr id="3" name="Object 2" hidden="1">
                        <a:extLst>
                          <a:ext uri="{FF2B5EF4-FFF2-40B4-BE49-F238E27FC236}">
                            <a16:creationId xmlns:a16="http://schemas.microsoft.com/office/drawing/2014/main" id="{5ECD524A-1569-4253-8CD8-48D288AD883C}"/>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7449217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6E228F5-5CF1-42E1-9748-97D7582A107A}"/>
              </a:ext>
            </a:extLst>
          </p:cNvPr>
          <p:cNvGraphicFramePr>
            <a:graphicFrameLocks noChangeAspect="1"/>
          </p:cNvGraphicFramePr>
          <p:nvPr>
            <p:custDataLst>
              <p:tags r:id="rId2"/>
            </p:custDataLst>
            <p:extLst>
              <p:ext uri="{D42A27DB-BD31-4B8C-83A1-F6EECF244321}">
                <p14:modId xmlns:p14="http://schemas.microsoft.com/office/powerpoint/2010/main" val="74713385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92" name="think-cell Slide" r:id="rId5" imgW="353" imgH="353" progId="TCLayout.ActiveDocument.1">
                  <p:embed/>
                </p:oleObj>
              </mc:Choice>
              <mc:Fallback>
                <p:oleObj name="think-cell Slide" r:id="rId5" imgW="353" imgH="353" progId="TCLayout.ActiveDocument.1">
                  <p:embed/>
                  <p:pic>
                    <p:nvPicPr>
                      <p:cNvPr id="3" name="Object 2" hidden="1">
                        <a:extLst>
                          <a:ext uri="{FF2B5EF4-FFF2-40B4-BE49-F238E27FC236}">
                            <a16:creationId xmlns:a16="http://schemas.microsoft.com/office/drawing/2014/main" id="{C6E228F5-5CF1-42E1-9748-97D7582A107A}"/>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2. Slide Title"/>
          <p:cNvSpPr>
            <a:spLocks noGrp="1"/>
          </p:cNvSpPr>
          <p:nvPr>
            <p:ph type="title"/>
          </p:nvPr>
        </p:nvSpPr>
        <p:spPr bwMode="auto"/>
        <p:txBody>
          <a:bodyPr/>
          <a:lstStyle/>
          <a:p>
            <a:r>
              <a:rPr lang="en-US"/>
              <a:t>Click to edit Master title style</a:t>
            </a:r>
            <a:endParaRPr lang="en-US" dirty="0"/>
          </a:p>
        </p:txBody>
      </p:sp>
      <p:sp>
        <p:nvSpPr>
          <p:cNvPr id="8" name="Slide Number"/>
          <p:cNvSpPr txBox="1">
            <a:spLocks/>
          </p:cNvSpPr>
          <p:nvPr/>
        </p:nvSpPr>
        <p:spPr bwMode="auto">
          <a:xfrm>
            <a:off x="8564563" y="6508272"/>
            <a:ext cx="125034" cy="123111"/>
          </a:xfrm>
          <a:prstGeom prst="rect">
            <a:avLst/>
          </a:prstGeom>
        </p:spPr>
        <p:txBody>
          <a:bodyPr vert="horz" wrap="none" lIns="0" tIns="0" rIns="0" bIns="0" rtlCol="0" anchor="ctr">
            <a:spAutoFit/>
          </a:bodyPr>
          <a:lstStyle>
            <a:defPPr>
              <a:defRPr lang="en-US"/>
            </a:defPPr>
            <a:lvl1pPr>
              <a:defRPr sz="1000" baseline="0">
                <a:latin typeface="+mn-lt"/>
              </a:defRPr>
            </a:lvl1pPr>
          </a:lstStyle>
          <a:p>
            <a:fld id="{42C328C1-A84F-4A39-A664-DBA00541A8C6}" type="slidenum">
              <a:rPr lang="en-US" sz="800" baseline="0" smtClean="0">
                <a:solidFill>
                  <a:srgbClr val="808080"/>
                </a:solidFill>
                <a:latin typeface="+mn-lt"/>
              </a:rPr>
              <a:pPr/>
              <a:t>‹#›</a:t>
            </a:fld>
            <a:endParaRPr lang="en-US" sz="800" baseline="0" dirty="0">
              <a:solidFill>
                <a:srgbClr val="808080"/>
              </a:solidFill>
              <a:latin typeface="+mn-lt"/>
            </a:endParaRPr>
          </a:p>
        </p:txBody>
      </p:sp>
      <p:sp>
        <p:nvSpPr>
          <p:cNvPr id="9" name="SlideLogoText"/>
          <p:cNvSpPr>
            <a:spLocks noChangeArrowheads="1"/>
          </p:cNvSpPr>
          <p:nvPr>
            <p:custDataLst>
              <p:tags r:id="rId3"/>
            </p:custDataLst>
          </p:nvPr>
        </p:nvSpPr>
        <p:spPr bwMode="auto">
          <a:xfrm>
            <a:off x="7450817" y="6508272"/>
            <a:ext cx="1013098"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algn="r" defTabSz="895350"/>
            <a:r>
              <a:rPr lang="en-US" sz="800" baseline="0" dirty="0">
                <a:solidFill>
                  <a:srgbClr val="808080"/>
                </a:solidFill>
                <a:latin typeface="+mn-lt"/>
              </a:rPr>
              <a:t>McKinsey &amp; Company</a:t>
            </a:r>
          </a:p>
        </p:txBody>
      </p:sp>
      <p:sp>
        <p:nvSpPr>
          <p:cNvPr id="5" name="doc id" hidden="1"/>
          <p:cNvSpPr txBox="1">
            <a:spLocks noChangeArrowheads="1"/>
          </p:cNvSpPr>
          <p:nvPr/>
        </p:nvSpPr>
        <p:spPr bwMode="white">
          <a:xfrm>
            <a:off x="8104473" y="36513"/>
            <a:ext cx="634716" cy="115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hangingPunct="1">
              <a:defRPr/>
            </a:pPr>
            <a:endParaRPr lang="en-US" sz="800" baseline="0" dirty="0">
              <a:solidFill>
                <a:schemeClr val="accent1"/>
              </a:solidFill>
              <a:latin typeface="+mn-lt"/>
              <a:ea typeface="+mn-ea"/>
            </a:endParaRPr>
          </a:p>
        </p:txBody>
      </p:sp>
    </p:spTree>
    <p:extLst>
      <p:ext uri="{BB962C8B-B14F-4D97-AF65-F5344CB8AC3E}">
        <p14:creationId xmlns:p14="http://schemas.microsoft.com/office/powerpoint/2010/main" val="1128953410"/>
      </p:ext>
    </p:extLst>
  </p:cSld>
  <p:clrMapOvr>
    <a:masterClrMapping/>
  </p:clrMapOvr>
  <p:extLst mod="1">
    <p:ext uri="{DCECCB84-F9BA-43D5-87BE-67443E8EF086}">
      <p15:sldGuideLst xmlns:p15="http://schemas.microsoft.com/office/powerpoint/2012/main">
        <p15:guide id="1" pos="5505">
          <p15:clr>
            <a:srgbClr val="F26B43"/>
          </p15:clr>
        </p15:guide>
        <p15:guide id="2" pos="74">
          <p15:clr>
            <a:srgbClr val="F26B43"/>
          </p15:clr>
        </p15:guide>
        <p15:guide id="3" orient="horz" pos="571">
          <p15:clr>
            <a:srgbClr val="F26B43"/>
          </p15:clr>
        </p15:guide>
        <p15:guide id="4" orient="horz" pos="3911">
          <p15:clr>
            <a:srgbClr val="F26B43"/>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type="titleOnly">
  <p:cSld name="2_Title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ECD524A-1569-4253-8CD8-48D288AD883C}"/>
              </a:ext>
            </a:extLst>
          </p:cNvPr>
          <p:cNvGraphicFramePr>
            <a:graphicFrameLocks noChangeAspect="1"/>
          </p:cNvGraphicFramePr>
          <p:nvPr>
            <p:custDataLst>
              <p:tags r:id="rId2"/>
            </p:custDataLst>
            <p:extLst>
              <p:ext uri="{D42A27DB-BD31-4B8C-83A1-F6EECF244321}">
                <p14:modId xmlns:p14="http://schemas.microsoft.com/office/powerpoint/2010/main" val="53511357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5620" name="think-cell Slide" r:id="rId4" imgW="395" imgH="394" progId="TCLayout.ActiveDocument.1">
                  <p:embed/>
                </p:oleObj>
              </mc:Choice>
              <mc:Fallback>
                <p:oleObj name="think-cell Slide" r:id="rId4" imgW="395" imgH="394" progId="TCLayout.ActiveDocument.1">
                  <p:embed/>
                  <p:pic>
                    <p:nvPicPr>
                      <p:cNvPr id="3" name="Object 2" hidden="1">
                        <a:extLst>
                          <a:ext uri="{FF2B5EF4-FFF2-40B4-BE49-F238E27FC236}">
                            <a16:creationId xmlns:a16="http://schemas.microsoft.com/office/drawing/2014/main" id="{5ECD524A-1569-4253-8CD8-48D288AD883C}"/>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93900373"/>
      </p:ext>
    </p:extLst>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pic>
        <p:nvPicPr>
          <p:cNvPr id="2" name="background"/>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0" y="198"/>
            <a:ext cx="8961438" cy="6721079"/>
          </a:xfrm>
          <a:prstGeom prst="rect">
            <a:avLst/>
          </a:prstGeom>
        </p:spPr>
      </p:pic>
      <p:sp>
        <p:nvSpPr>
          <p:cNvPr id="28" name="TitleRectangle"/>
          <p:cNvSpPr txBox="1">
            <a:spLocks/>
          </p:cNvSpPr>
          <p:nvPr/>
        </p:nvSpPr>
        <p:spPr>
          <a:xfrm>
            <a:off x="2084388" y="0"/>
            <a:ext cx="6875462" cy="3575976"/>
          </a:xfrm>
          <a:prstGeom prst="rect">
            <a:avLst/>
          </a:prstGeom>
          <a:solidFill>
            <a:srgbClr val="002960">
              <a:alpha val="92000"/>
            </a:srgbClr>
          </a:solidFill>
        </p:spPr>
        <p:txBody>
          <a:bodyPr vert="horz" wrap="square" lIns="216000" tIns="1440000" rIns="216000" bIns="108000" rtlCol="0">
            <a:noAutofit/>
          </a:bodyPr>
          <a:lstStyle>
            <a:lvl1pPr marL="0" indent="0" algn="l" defTabSz="914400" rtl="0" eaLnBrk="1" latinLnBrk="0" hangingPunct="1">
              <a:spcBef>
                <a:spcPct val="20000"/>
              </a:spcBef>
              <a:spcAft>
                <a:spcPts val="6000"/>
              </a:spcAft>
              <a:buFont typeface="Arial" pitchFamily="34" charset="0"/>
              <a:buNone/>
              <a:defRPr sz="3200" kern="1200">
                <a:solidFill>
                  <a:schemeClr val="accent1"/>
                </a:solidFill>
                <a:latin typeface="+mn-lt"/>
                <a:ea typeface="+mn-ea"/>
                <a:cs typeface="+mn-cs"/>
              </a:defRPr>
            </a:lvl1pPr>
            <a:lvl2pPr marL="0" indent="0" algn="l" defTabSz="914400" rtl="0" eaLnBrk="1" latinLnBrk="0" hangingPunct="1">
              <a:spcBef>
                <a:spcPct val="20000"/>
              </a:spcBef>
              <a:buFont typeface="Wingdings" charset="2"/>
              <a:buNone/>
              <a:defRPr sz="1400" kern="1200">
                <a:solidFill>
                  <a:schemeClr val="tx1">
                    <a:lumMod val="50000"/>
                    <a:lumOff val="50000"/>
                  </a:schemeClr>
                </a:solidFill>
                <a:latin typeface="+mn-lt"/>
                <a:ea typeface="+mn-ea"/>
                <a:cs typeface="+mn-cs"/>
              </a:defRPr>
            </a:lvl2pPr>
            <a:lvl3pPr marL="1143000" indent="-228600" algn="l" defTabSz="914400" rtl="0" eaLnBrk="1" latinLnBrk="0" hangingPunct="1">
              <a:spcBef>
                <a:spcPct val="20000"/>
              </a:spcBef>
              <a:buFont typeface="Lucida Grande"/>
              <a:buChar char="–"/>
              <a:defRPr sz="16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fontAlgn="auto">
              <a:defRPr/>
            </a:pPr>
            <a:r>
              <a:rPr lang="en-US" baseline="0" dirty="0">
                <a:solidFill>
                  <a:srgbClr val="00ADEF"/>
                </a:solidFill>
                <a:latin typeface="+mn-lt"/>
              </a:rPr>
              <a:t>
              </a:t>
            </a:r>
            <a:br>
              <a:rPr lang="en-US" baseline="0" dirty="0">
                <a:solidFill>
                  <a:srgbClr val="00ADEF"/>
                </a:solidFill>
                <a:latin typeface="+mn-lt"/>
              </a:rPr>
            </a:br>
            <a:endParaRPr lang="en-US" baseline="0" dirty="0">
              <a:solidFill>
                <a:srgbClr val="00ADEF"/>
              </a:solidFill>
              <a:latin typeface="+mn-lt"/>
            </a:endParaRPr>
          </a:p>
        </p:txBody>
      </p:sp>
      <p:graphicFrame>
        <p:nvGraphicFramePr>
          <p:cNvPr id="3" name="Object 2"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57044"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Working Draft Text" hidden="1"/>
          <p:cNvSpPr txBox="1">
            <a:spLocks noChangeArrowheads="1"/>
          </p:cNvSpPr>
          <p:nvPr/>
        </p:nvSpPr>
        <p:spPr bwMode="black">
          <a:xfrm>
            <a:off x="5992719" y="6287538"/>
            <a:ext cx="2790000"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800" b="1" baseline="0" dirty="0">
                <a:solidFill>
                  <a:srgbClr val="FFFFFF"/>
                </a:solidFill>
                <a:latin typeface="+mn-lt"/>
              </a:rPr>
              <a:t>WORKING DRAFT</a:t>
            </a:r>
          </a:p>
        </p:txBody>
      </p:sp>
      <p:sp>
        <p:nvSpPr>
          <p:cNvPr id="6" name="Working Draft" hidden="1"/>
          <p:cNvSpPr txBox="1">
            <a:spLocks noChangeArrowheads="1"/>
          </p:cNvSpPr>
          <p:nvPr/>
        </p:nvSpPr>
        <p:spPr bwMode="black">
          <a:xfrm>
            <a:off x="5992718" y="6410648"/>
            <a:ext cx="2968719"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800" baseline="0">
                <a:solidFill>
                  <a:srgbClr val="FFFFFF"/>
                </a:solidFill>
                <a:latin typeface="+mn-lt"/>
              </a:rPr>
              <a:t>Last Modified 21/05/2018 17:44 India Standard Time</a:t>
            </a:r>
            <a:endParaRPr lang="en-US" sz="800" baseline="0" dirty="0">
              <a:solidFill>
                <a:srgbClr val="FFFFFF"/>
              </a:solidFill>
              <a:latin typeface="+mn-lt"/>
            </a:endParaRPr>
          </a:p>
        </p:txBody>
      </p:sp>
      <p:sp>
        <p:nvSpPr>
          <p:cNvPr id="7" name="Printed" hidden="1"/>
          <p:cNvSpPr txBox="1">
            <a:spLocks noChangeArrowheads="1"/>
          </p:cNvSpPr>
          <p:nvPr/>
        </p:nvSpPr>
        <p:spPr bwMode="black">
          <a:xfrm>
            <a:off x="5992719" y="6533759"/>
            <a:ext cx="2790000"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800" baseline="0" dirty="0">
                <a:solidFill>
                  <a:srgbClr val="FFFFFF"/>
                </a:solidFill>
                <a:latin typeface="+mn-lt"/>
              </a:rPr>
              <a:t>Printed</a:t>
            </a:r>
          </a:p>
        </p:txBody>
      </p:sp>
      <p:sp>
        <p:nvSpPr>
          <p:cNvPr id="13314" name="Title"/>
          <p:cNvSpPr>
            <a:spLocks noGrp="1" noChangeArrowheads="1"/>
          </p:cNvSpPr>
          <p:nvPr>
            <p:ph type="ctrTitle"/>
          </p:nvPr>
        </p:nvSpPr>
        <p:spPr>
          <a:xfrm>
            <a:off x="2268266" y="1434419"/>
            <a:ext cx="6231663" cy="492443"/>
          </a:xfrm>
          <a:prstGeom prst="rect">
            <a:avLst/>
          </a:prstGeom>
        </p:spPr>
        <p:txBody>
          <a:bodyPr>
            <a:spAutoFit/>
          </a:bodyPr>
          <a:lstStyle>
            <a:lvl1pPr>
              <a:defRPr sz="3200" b="0" baseline="0">
                <a:solidFill>
                  <a:schemeClr val="accent2"/>
                </a:solidFill>
                <a:latin typeface="+mj-lt"/>
                <a:ea typeface="+mj-ea"/>
              </a:defRPr>
            </a:lvl1pPr>
          </a:lstStyle>
          <a:p>
            <a:pPr lvl="0" latinLnBrk="0"/>
            <a:r>
              <a:rPr lang="en-US" noProof="0"/>
              <a:t>Click to edit Master title style</a:t>
            </a:r>
            <a:endParaRPr lang="en-US" noProof="0" dirty="0"/>
          </a:p>
        </p:txBody>
      </p:sp>
      <p:sp>
        <p:nvSpPr>
          <p:cNvPr id="13315" name="Subtitle"/>
          <p:cNvSpPr>
            <a:spLocks noGrp="1" noChangeArrowheads="1"/>
          </p:cNvSpPr>
          <p:nvPr>
            <p:ph type="subTitle" idx="1"/>
          </p:nvPr>
        </p:nvSpPr>
        <p:spPr>
          <a:xfrm>
            <a:off x="2268266" y="2819401"/>
            <a:ext cx="6231663" cy="215444"/>
          </a:xfrm>
          <a:prstGeom prst="rect">
            <a:avLst/>
          </a:prstGeom>
        </p:spPr>
        <p:txBody>
          <a:bodyPr wrap="square">
            <a:spAutoFit/>
          </a:bodyPr>
          <a:lstStyle>
            <a:lvl1pPr>
              <a:defRPr sz="1400" cap="all" baseline="0">
                <a:solidFill>
                  <a:schemeClr val="bg1"/>
                </a:solidFill>
                <a:latin typeface="+mn-lt"/>
                <a:ea typeface="+mn-ea"/>
              </a:defRPr>
            </a:lvl1pPr>
          </a:lstStyle>
          <a:p>
            <a:pPr lvl="0" latinLnBrk="0"/>
            <a:r>
              <a:rPr lang="en-US" noProof="0"/>
              <a:t>Click to edit Master subtitle style</a:t>
            </a:r>
            <a:endParaRPr lang="en-US" noProof="0" dirty="0"/>
          </a:p>
        </p:txBody>
      </p:sp>
      <p:sp>
        <p:nvSpPr>
          <p:cNvPr id="57" name="Document type" hidden="1"/>
          <p:cNvSpPr txBox="1">
            <a:spLocks noChangeArrowheads="1"/>
          </p:cNvSpPr>
          <p:nvPr/>
        </p:nvSpPr>
        <p:spPr bwMode="gray">
          <a:xfrm>
            <a:off x="2268266" y="3227411"/>
            <a:ext cx="6231663"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00" baseline="0" dirty="0">
                <a:solidFill>
                  <a:schemeClr val="bg1"/>
                </a:solidFill>
                <a:latin typeface="+mn-lt"/>
              </a:rPr>
              <a:t>Document type | Date</a:t>
            </a:r>
          </a:p>
        </p:txBody>
      </p:sp>
      <p:sp>
        <p:nvSpPr>
          <p:cNvPr id="5" name="doc id" hidden="1"/>
          <p:cNvSpPr txBox="1">
            <a:spLocks noChangeArrowheads="1"/>
          </p:cNvSpPr>
          <p:nvPr/>
        </p:nvSpPr>
        <p:spPr bwMode="white">
          <a:xfrm>
            <a:off x="8443913" y="36513"/>
            <a:ext cx="295275" cy="1222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hangingPunct="1">
              <a:defRPr/>
            </a:pPr>
            <a:endParaRPr lang="en-US" sz="800" baseline="0" dirty="0">
              <a:solidFill>
                <a:srgbClr val="FFFFFF"/>
              </a:solidFill>
              <a:latin typeface="+mn-lt"/>
            </a:endParaRPr>
          </a:p>
        </p:txBody>
      </p:sp>
      <p:sp>
        <p:nvSpPr>
          <p:cNvPr id="43" name="LogoImage"/>
          <p:cNvSpPr>
            <a:spLocks noEditPoints="1"/>
          </p:cNvSpPr>
          <p:nvPr/>
        </p:nvSpPr>
        <p:spPr bwMode="white">
          <a:xfrm>
            <a:off x="2269098" y="182925"/>
            <a:ext cx="2176978" cy="238073"/>
          </a:xfrm>
          <a:custGeom>
            <a:avLst/>
            <a:gdLst>
              <a:gd name="T0" fmla="*/ 504 w 5516"/>
              <a:gd name="T1" fmla="*/ 26 h 606"/>
              <a:gd name="T2" fmla="*/ 18 w 5516"/>
              <a:gd name="T3" fmla="*/ 22 h 606"/>
              <a:gd name="T4" fmla="*/ 140 w 5516"/>
              <a:gd name="T5" fmla="*/ 436 h 606"/>
              <a:gd name="T6" fmla="*/ 408 w 5516"/>
              <a:gd name="T7" fmla="*/ 372 h 606"/>
              <a:gd name="T8" fmla="*/ 696 w 5516"/>
              <a:gd name="T9" fmla="*/ 422 h 606"/>
              <a:gd name="T10" fmla="*/ 768 w 5516"/>
              <a:gd name="T11" fmla="*/ 196 h 606"/>
              <a:gd name="T12" fmla="*/ 1272 w 5516"/>
              <a:gd name="T13" fmla="*/ 26 h 606"/>
              <a:gd name="T14" fmla="*/ 1302 w 5516"/>
              <a:gd name="T15" fmla="*/ 338 h 606"/>
              <a:gd name="T16" fmla="*/ 1202 w 5516"/>
              <a:gd name="T17" fmla="*/ 436 h 606"/>
              <a:gd name="T18" fmla="*/ 1030 w 5516"/>
              <a:gd name="T19" fmla="*/ 10 h 606"/>
              <a:gd name="T20" fmla="*/ 960 w 5516"/>
              <a:gd name="T21" fmla="*/ 22 h 606"/>
              <a:gd name="T22" fmla="*/ 804 w 5516"/>
              <a:gd name="T23" fmla="*/ 434 h 606"/>
              <a:gd name="T24" fmla="*/ 930 w 5516"/>
              <a:gd name="T25" fmla="*/ 246 h 606"/>
              <a:gd name="T26" fmla="*/ 1658 w 5516"/>
              <a:gd name="T27" fmla="*/ 342 h 606"/>
              <a:gd name="T28" fmla="*/ 1368 w 5516"/>
              <a:gd name="T29" fmla="*/ 188 h 606"/>
              <a:gd name="T30" fmla="*/ 1514 w 5516"/>
              <a:gd name="T31" fmla="*/ 436 h 606"/>
              <a:gd name="T32" fmla="*/ 1564 w 5516"/>
              <a:gd name="T33" fmla="*/ 434 h 606"/>
              <a:gd name="T34" fmla="*/ 1904 w 5516"/>
              <a:gd name="T35" fmla="*/ 184 h 606"/>
              <a:gd name="T36" fmla="*/ 1728 w 5516"/>
              <a:gd name="T37" fmla="*/ 366 h 606"/>
              <a:gd name="T38" fmla="*/ 2102 w 5516"/>
              <a:gd name="T39" fmla="*/ 192 h 606"/>
              <a:gd name="T40" fmla="*/ 1982 w 5516"/>
              <a:gd name="T41" fmla="*/ 320 h 606"/>
              <a:gd name="T42" fmla="*/ 2478 w 5516"/>
              <a:gd name="T43" fmla="*/ 242 h 606"/>
              <a:gd name="T44" fmla="*/ 2406 w 5516"/>
              <a:gd name="T45" fmla="*/ 390 h 606"/>
              <a:gd name="T46" fmla="*/ 2234 w 5516"/>
              <a:gd name="T47" fmla="*/ 192 h 606"/>
              <a:gd name="T48" fmla="*/ 2478 w 5516"/>
              <a:gd name="T49" fmla="*/ 242 h 606"/>
              <a:gd name="T50" fmla="*/ 2928 w 5516"/>
              <a:gd name="T51" fmla="*/ 448 h 606"/>
              <a:gd name="T52" fmla="*/ 2958 w 5516"/>
              <a:gd name="T53" fmla="*/ 230 h 606"/>
              <a:gd name="T54" fmla="*/ 2716 w 5516"/>
              <a:gd name="T55" fmla="*/ 54 h 606"/>
              <a:gd name="T56" fmla="*/ 2714 w 5516"/>
              <a:gd name="T57" fmla="*/ 36 h 606"/>
              <a:gd name="T58" fmla="*/ 2928 w 5516"/>
              <a:gd name="T59" fmla="*/ 448 h 606"/>
              <a:gd name="T60" fmla="*/ 3388 w 5516"/>
              <a:gd name="T61" fmla="*/ 4 h 606"/>
              <a:gd name="T62" fmla="*/ 3396 w 5516"/>
              <a:gd name="T63" fmla="*/ 366 h 606"/>
              <a:gd name="T64" fmla="*/ 3580 w 5516"/>
              <a:gd name="T65" fmla="*/ 190 h 606"/>
              <a:gd name="T66" fmla="*/ 3502 w 5516"/>
              <a:gd name="T67" fmla="*/ 432 h 606"/>
              <a:gd name="T68" fmla="*/ 4232 w 5516"/>
              <a:gd name="T69" fmla="*/ 348 h 606"/>
              <a:gd name="T70" fmla="*/ 3858 w 5516"/>
              <a:gd name="T71" fmla="*/ 176 h 606"/>
              <a:gd name="T72" fmla="*/ 3758 w 5516"/>
              <a:gd name="T73" fmla="*/ 446 h 606"/>
              <a:gd name="T74" fmla="*/ 3990 w 5516"/>
              <a:gd name="T75" fmla="*/ 282 h 606"/>
              <a:gd name="T76" fmla="*/ 4042 w 5516"/>
              <a:gd name="T77" fmla="*/ 342 h 606"/>
              <a:gd name="T78" fmla="*/ 4134 w 5516"/>
              <a:gd name="T79" fmla="*/ 448 h 606"/>
              <a:gd name="T80" fmla="*/ 4454 w 5516"/>
              <a:gd name="T81" fmla="*/ 202 h 606"/>
              <a:gd name="T82" fmla="*/ 4284 w 5516"/>
              <a:gd name="T83" fmla="*/ 174 h 606"/>
              <a:gd name="T84" fmla="*/ 4432 w 5516"/>
              <a:gd name="T85" fmla="*/ 588 h 606"/>
              <a:gd name="T86" fmla="*/ 4792 w 5516"/>
              <a:gd name="T87" fmla="*/ 382 h 606"/>
              <a:gd name="T88" fmla="*/ 5192 w 5516"/>
              <a:gd name="T89" fmla="*/ 340 h 606"/>
              <a:gd name="T90" fmla="*/ 4902 w 5516"/>
              <a:gd name="T91" fmla="*/ 186 h 606"/>
              <a:gd name="T92" fmla="*/ 4850 w 5516"/>
              <a:gd name="T93" fmla="*/ 274 h 606"/>
              <a:gd name="T94" fmla="*/ 4742 w 5516"/>
              <a:gd name="T95" fmla="*/ 194 h 606"/>
              <a:gd name="T96" fmla="*/ 4794 w 5516"/>
              <a:gd name="T97" fmla="*/ 418 h 606"/>
              <a:gd name="T98" fmla="*/ 5004 w 5516"/>
              <a:gd name="T99" fmla="*/ 338 h 606"/>
              <a:gd name="T100" fmla="*/ 5098 w 5516"/>
              <a:gd name="T101" fmla="*/ 446 h 606"/>
              <a:gd name="T102" fmla="*/ 5418 w 5516"/>
              <a:gd name="T103" fmla="*/ 192 h 606"/>
              <a:gd name="T104" fmla="*/ 5348 w 5516"/>
              <a:gd name="T105" fmla="*/ 180 h 606"/>
              <a:gd name="T106" fmla="*/ 5254 w 5516"/>
              <a:gd name="T107" fmla="*/ 606 h 6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516" h="606">
                <a:moveTo>
                  <a:pt x="366" y="448"/>
                </a:moveTo>
                <a:cubicBezTo>
                  <a:pt x="524" y="448"/>
                  <a:pt x="524" y="448"/>
                  <a:pt x="524" y="448"/>
                </a:cubicBezTo>
                <a:cubicBezTo>
                  <a:pt x="524" y="436"/>
                  <a:pt x="524" y="436"/>
                  <a:pt x="524" y="436"/>
                </a:cubicBezTo>
                <a:cubicBezTo>
                  <a:pt x="486" y="432"/>
                  <a:pt x="470" y="414"/>
                  <a:pt x="468" y="362"/>
                </a:cubicBezTo>
                <a:cubicBezTo>
                  <a:pt x="454" y="86"/>
                  <a:pt x="454" y="86"/>
                  <a:pt x="454" y="86"/>
                </a:cubicBezTo>
                <a:cubicBezTo>
                  <a:pt x="452" y="46"/>
                  <a:pt x="470" y="30"/>
                  <a:pt x="504" y="26"/>
                </a:cubicBezTo>
                <a:cubicBezTo>
                  <a:pt x="504" y="12"/>
                  <a:pt x="504" y="12"/>
                  <a:pt x="504" y="12"/>
                </a:cubicBezTo>
                <a:cubicBezTo>
                  <a:pt x="394" y="12"/>
                  <a:pt x="394" y="12"/>
                  <a:pt x="394" y="12"/>
                </a:cubicBezTo>
                <a:cubicBezTo>
                  <a:pt x="264" y="350"/>
                  <a:pt x="264" y="350"/>
                  <a:pt x="264" y="350"/>
                </a:cubicBezTo>
                <a:cubicBezTo>
                  <a:pt x="132" y="10"/>
                  <a:pt x="132" y="10"/>
                  <a:pt x="132" y="10"/>
                </a:cubicBezTo>
                <a:cubicBezTo>
                  <a:pt x="18" y="10"/>
                  <a:pt x="18" y="10"/>
                  <a:pt x="18" y="10"/>
                </a:cubicBezTo>
                <a:cubicBezTo>
                  <a:pt x="18" y="22"/>
                  <a:pt x="18" y="22"/>
                  <a:pt x="18" y="22"/>
                </a:cubicBezTo>
                <a:cubicBezTo>
                  <a:pt x="40" y="26"/>
                  <a:pt x="74" y="32"/>
                  <a:pt x="72" y="84"/>
                </a:cubicBezTo>
                <a:cubicBezTo>
                  <a:pt x="58" y="352"/>
                  <a:pt x="58" y="352"/>
                  <a:pt x="58" y="352"/>
                </a:cubicBezTo>
                <a:cubicBezTo>
                  <a:pt x="54" y="410"/>
                  <a:pt x="38" y="430"/>
                  <a:pt x="0" y="436"/>
                </a:cubicBezTo>
                <a:cubicBezTo>
                  <a:pt x="0" y="448"/>
                  <a:pt x="0" y="448"/>
                  <a:pt x="0" y="448"/>
                </a:cubicBezTo>
                <a:cubicBezTo>
                  <a:pt x="140" y="448"/>
                  <a:pt x="140" y="448"/>
                  <a:pt x="140" y="448"/>
                </a:cubicBezTo>
                <a:cubicBezTo>
                  <a:pt x="140" y="436"/>
                  <a:pt x="140" y="436"/>
                  <a:pt x="140" y="436"/>
                </a:cubicBezTo>
                <a:cubicBezTo>
                  <a:pt x="98" y="428"/>
                  <a:pt x="84" y="414"/>
                  <a:pt x="88" y="356"/>
                </a:cubicBezTo>
                <a:cubicBezTo>
                  <a:pt x="100" y="86"/>
                  <a:pt x="100" y="86"/>
                  <a:pt x="100" y="86"/>
                </a:cubicBezTo>
                <a:cubicBezTo>
                  <a:pt x="240" y="444"/>
                  <a:pt x="240" y="444"/>
                  <a:pt x="240" y="444"/>
                </a:cubicBezTo>
                <a:cubicBezTo>
                  <a:pt x="258" y="444"/>
                  <a:pt x="258" y="444"/>
                  <a:pt x="258" y="444"/>
                </a:cubicBezTo>
                <a:cubicBezTo>
                  <a:pt x="396" y="86"/>
                  <a:pt x="396" y="86"/>
                  <a:pt x="396" y="86"/>
                </a:cubicBezTo>
                <a:cubicBezTo>
                  <a:pt x="408" y="372"/>
                  <a:pt x="408" y="372"/>
                  <a:pt x="408" y="372"/>
                </a:cubicBezTo>
                <a:cubicBezTo>
                  <a:pt x="410" y="416"/>
                  <a:pt x="398" y="430"/>
                  <a:pt x="366" y="434"/>
                </a:cubicBezTo>
                <a:lnTo>
                  <a:pt x="366" y="448"/>
                </a:lnTo>
                <a:close/>
                <a:moveTo>
                  <a:pt x="670" y="456"/>
                </a:moveTo>
                <a:cubicBezTo>
                  <a:pt x="708" y="456"/>
                  <a:pt x="756" y="440"/>
                  <a:pt x="782" y="412"/>
                </a:cubicBezTo>
                <a:cubicBezTo>
                  <a:pt x="776" y="400"/>
                  <a:pt x="776" y="400"/>
                  <a:pt x="776" y="400"/>
                </a:cubicBezTo>
                <a:cubicBezTo>
                  <a:pt x="750" y="416"/>
                  <a:pt x="722" y="422"/>
                  <a:pt x="696" y="422"/>
                </a:cubicBezTo>
                <a:cubicBezTo>
                  <a:pt x="620" y="422"/>
                  <a:pt x="592" y="358"/>
                  <a:pt x="592" y="290"/>
                </a:cubicBezTo>
                <a:cubicBezTo>
                  <a:pt x="592" y="258"/>
                  <a:pt x="600" y="236"/>
                  <a:pt x="614" y="222"/>
                </a:cubicBezTo>
                <a:cubicBezTo>
                  <a:pt x="626" y="210"/>
                  <a:pt x="646" y="204"/>
                  <a:pt x="664" y="204"/>
                </a:cubicBezTo>
                <a:cubicBezTo>
                  <a:pt x="690" y="204"/>
                  <a:pt x="722" y="214"/>
                  <a:pt x="744" y="244"/>
                </a:cubicBezTo>
                <a:cubicBezTo>
                  <a:pt x="750" y="244"/>
                  <a:pt x="750" y="244"/>
                  <a:pt x="750" y="244"/>
                </a:cubicBezTo>
                <a:cubicBezTo>
                  <a:pt x="758" y="234"/>
                  <a:pt x="766" y="212"/>
                  <a:pt x="768" y="196"/>
                </a:cubicBezTo>
                <a:cubicBezTo>
                  <a:pt x="748" y="180"/>
                  <a:pt x="720" y="172"/>
                  <a:pt x="686" y="172"/>
                </a:cubicBezTo>
                <a:cubicBezTo>
                  <a:pt x="604" y="172"/>
                  <a:pt x="544" y="246"/>
                  <a:pt x="544" y="326"/>
                </a:cubicBezTo>
                <a:cubicBezTo>
                  <a:pt x="540" y="390"/>
                  <a:pt x="576" y="456"/>
                  <a:pt x="670" y="456"/>
                </a:cubicBezTo>
                <a:moveTo>
                  <a:pt x="1272" y="98"/>
                </a:moveTo>
                <a:cubicBezTo>
                  <a:pt x="1292" y="98"/>
                  <a:pt x="1308" y="82"/>
                  <a:pt x="1308" y="62"/>
                </a:cubicBezTo>
                <a:cubicBezTo>
                  <a:pt x="1308" y="42"/>
                  <a:pt x="1292" y="26"/>
                  <a:pt x="1272" y="26"/>
                </a:cubicBezTo>
                <a:cubicBezTo>
                  <a:pt x="1252" y="26"/>
                  <a:pt x="1238" y="42"/>
                  <a:pt x="1238" y="62"/>
                </a:cubicBezTo>
                <a:cubicBezTo>
                  <a:pt x="1238" y="82"/>
                  <a:pt x="1252" y="98"/>
                  <a:pt x="1272" y="98"/>
                </a:cubicBezTo>
                <a:moveTo>
                  <a:pt x="1202" y="448"/>
                </a:moveTo>
                <a:cubicBezTo>
                  <a:pt x="1346" y="448"/>
                  <a:pt x="1346" y="448"/>
                  <a:pt x="1346" y="448"/>
                </a:cubicBezTo>
                <a:cubicBezTo>
                  <a:pt x="1346" y="436"/>
                  <a:pt x="1346" y="436"/>
                  <a:pt x="1346" y="436"/>
                </a:cubicBezTo>
                <a:cubicBezTo>
                  <a:pt x="1304" y="432"/>
                  <a:pt x="1302" y="434"/>
                  <a:pt x="1302" y="338"/>
                </a:cubicBezTo>
                <a:cubicBezTo>
                  <a:pt x="1302" y="176"/>
                  <a:pt x="1302" y="176"/>
                  <a:pt x="1302" y="176"/>
                </a:cubicBezTo>
                <a:cubicBezTo>
                  <a:pt x="1200" y="176"/>
                  <a:pt x="1200" y="176"/>
                  <a:pt x="1200" y="176"/>
                </a:cubicBezTo>
                <a:cubicBezTo>
                  <a:pt x="1200" y="188"/>
                  <a:pt x="1200" y="188"/>
                  <a:pt x="1200" y="188"/>
                </a:cubicBezTo>
                <a:cubicBezTo>
                  <a:pt x="1244" y="190"/>
                  <a:pt x="1250" y="192"/>
                  <a:pt x="1250" y="268"/>
                </a:cubicBezTo>
                <a:cubicBezTo>
                  <a:pt x="1250" y="336"/>
                  <a:pt x="1250" y="336"/>
                  <a:pt x="1250" y="336"/>
                </a:cubicBezTo>
                <a:cubicBezTo>
                  <a:pt x="1250" y="432"/>
                  <a:pt x="1248" y="432"/>
                  <a:pt x="1202" y="436"/>
                </a:cubicBezTo>
                <a:cubicBezTo>
                  <a:pt x="1178" y="434"/>
                  <a:pt x="1154" y="426"/>
                  <a:pt x="1076" y="338"/>
                </a:cubicBezTo>
                <a:cubicBezTo>
                  <a:pt x="1046" y="302"/>
                  <a:pt x="996" y="244"/>
                  <a:pt x="968" y="206"/>
                </a:cubicBezTo>
                <a:cubicBezTo>
                  <a:pt x="1062" y="102"/>
                  <a:pt x="1062" y="102"/>
                  <a:pt x="1062" y="102"/>
                </a:cubicBezTo>
                <a:cubicBezTo>
                  <a:pt x="1108" y="52"/>
                  <a:pt x="1132" y="26"/>
                  <a:pt x="1176" y="24"/>
                </a:cubicBezTo>
                <a:cubicBezTo>
                  <a:pt x="1176" y="10"/>
                  <a:pt x="1176" y="10"/>
                  <a:pt x="1176" y="10"/>
                </a:cubicBezTo>
                <a:cubicBezTo>
                  <a:pt x="1030" y="10"/>
                  <a:pt x="1030" y="10"/>
                  <a:pt x="1030" y="10"/>
                </a:cubicBezTo>
                <a:cubicBezTo>
                  <a:pt x="1030" y="22"/>
                  <a:pt x="1030" y="22"/>
                  <a:pt x="1030" y="22"/>
                </a:cubicBezTo>
                <a:cubicBezTo>
                  <a:pt x="1050" y="26"/>
                  <a:pt x="1056" y="32"/>
                  <a:pt x="1056" y="46"/>
                </a:cubicBezTo>
                <a:cubicBezTo>
                  <a:pt x="1056" y="56"/>
                  <a:pt x="1054" y="72"/>
                  <a:pt x="1026" y="102"/>
                </a:cubicBezTo>
                <a:cubicBezTo>
                  <a:pt x="910" y="230"/>
                  <a:pt x="910" y="230"/>
                  <a:pt x="910" y="230"/>
                </a:cubicBezTo>
                <a:cubicBezTo>
                  <a:pt x="910" y="148"/>
                  <a:pt x="910" y="148"/>
                  <a:pt x="910" y="148"/>
                </a:cubicBezTo>
                <a:cubicBezTo>
                  <a:pt x="910" y="36"/>
                  <a:pt x="916" y="28"/>
                  <a:pt x="960" y="22"/>
                </a:cubicBezTo>
                <a:cubicBezTo>
                  <a:pt x="960" y="8"/>
                  <a:pt x="960" y="8"/>
                  <a:pt x="960" y="8"/>
                </a:cubicBezTo>
                <a:cubicBezTo>
                  <a:pt x="804" y="8"/>
                  <a:pt x="804" y="8"/>
                  <a:pt x="804" y="8"/>
                </a:cubicBezTo>
                <a:cubicBezTo>
                  <a:pt x="804" y="22"/>
                  <a:pt x="804" y="22"/>
                  <a:pt x="804" y="22"/>
                </a:cubicBezTo>
                <a:cubicBezTo>
                  <a:pt x="852" y="26"/>
                  <a:pt x="854" y="36"/>
                  <a:pt x="854" y="148"/>
                </a:cubicBezTo>
                <a:cubicBezTo>
                  <a:pt x="854" y="300"/>
                  <a:pt x="854" y="300"/>
                  <a:pt x="854" y="300"/>
                </a:cubicBezTo>
                <a:cubicBezTo>
                  <a:pt x="854" y="422"/>
                  <a:pt x="850" y="430"/>
                  <a:pt x="804" y="434"/>
                </a:cubicBezTo>
                <a:cubicBezTo>
                  <a:pt x="804" y="446"/>
                  <a:pt x="804" y="446"/>
                  <a:pt x="804" y="446"/>
                </a:cubicBezTo>
                <a:cubicBezTo>
                  <a:pt x="960" y="446"/>
                  <a:pt x="960" y="446"/>
                  <a:pt x="960" y="446"/>
                </a:cubicBezTo>
                <a:cubicBezTo>
                  <a:pt x="960" y="434"/>
                  <a:pt x="960" y="434"/>
                  <a:pt x="960" y="434"/>
                </a:cubicBezTo>
                <a:cubicBezTo>
                  <a:pt x="910" y="428"/>
                  <a:pt x="910" y="424"/>
                  <a:pt x="910" y="292"/>
                </a:cubicBezTo>
                <a:cubicBezTo>
                  <a:pt x="910" y="268"/>
                  <a:pt x="910" y="268"/>
                  <a:pt x="910" y="268"/>
                </a:cubicBezTo>
                <a:cubicBezTo>
                  <a:pt x="930" y="246"/>
                  <a:pt x="930" y="246"/>
                  <a:pt x="930" y="246"/>
                </a:cubicBezTo>
                <a:cubicBezTo>
                  <a:pt x="982" y="310"/>
                  <a:pt x="1038" y="380"/>
                  <a:pt x="1098" y="448"/>
                </a:cubicBezTo>
                <a:cubicBezTo>
                  <a:pt x="1202" y="448"/>
                  <a:pt x="1202" y="448"/>
                  <a:pt x="1202" y="448"/>
                </a:cubicBezTo>
                <a:close/>
                <a:moveTo>
                  <a:pt x="1564" y="448"/>
                </a:moveTo>
                <a:cubicBezTo>
                  <a:pt x="1706" y="448"/>
                  <a:pt x="1706" y="448"/>
                  <a:pt x="1706" y="448"/>
                </a:cubicBezTo>
                <a:cubicBezTo>
                  <a:pt x="1706" y="436"/>
                  <a:pt x="1706" y="436"/>
                  <a:pt x="1706" y="436"/>
                </a:cubicBezTo>
                <a:cubicBezTo>
                  <a:pt x="1658" y="434"/>
                  <a:pt x="1658" y="432"/>
                  <a:pt x="1658" y="342"/>
                </a:cubicBezTo>
                <a:cubicBezTo>
                  <a:pt x="1658" y="280"/>
                  <a:pt x="1658" y="280"/>
                  <a:pt x="1658" y="280"/>
                </a:cubicBezTo>
                <a:cubicBezTo>
                  <a:pt x="1658" y="198"/>
                  <a:pt x="1612" y="172"/>
                  <a:pt x="1570" y="172"/>
                </a:cubicBezTo>
                <a:cubicBezTo>
                  <a:pt x="1534" y="172"/>
                  <a:pt x="1498" y="188"/>
                  <a:pt x="1470" y="224"/>
                </a:cubicBezTo>
                <a:cubicBezTo>
                  <a:pt x="1470" y="176"/>
                  <a:pt x="1470" y="176"/>
                  <a:pt x="1470" y="176"/>
                </a:cubicBezTo>
                <a:cubicBezTo>
                  <a:pt x="1368" y="176"/>
                  <a:pt x="1368" y="176"/>
                  <a:pt x="1368" y="176"/>
                </a:cubicBezTo>
                <a:cubicBezTo>
                  <a:pt x="1368" y="188"/>
                  <a:pt x="1368" y="188"/>
                  <a:pt x="1368" y="188"/>
                </a:cubicBezTo>
                <a:cubicBezTo>
                  <a:pt x="1412" y="190"/>
                  <a:pt x="1418" y="192"/>
                  <a:pt x="1418" y="268"/>
                </a:cubicBezTo>
                <a:cubicBezTo>
                  <a:pt x="1418" y="336"/>
                  <a:pt x="1418" y="336"/>
                  <a:pt x="1418" y="336"/>
                </a:cubicBezTo>
                <a:cubicBezTo>
                  <a:pt x="1418" y="434"/>
                  <a:pt x="1418" y="434"/>
                  <a:pt x="1370" y="436"/>
                </a:cubicBezTo>
                <a:cubicBezTo>
                  <a:pt x="1370" y="448"/>
                  <a:pt x="1370" y="448"/>
                  <a:pt x="1370" y="448"/>
                </a:cubicBezTo>
                <a:cubicBezTo>
                  <a:pt x="1514" y="448"/>
                  <a:pt x="1514" y="448"/>
                  <a:pt x="1514" y="448"/>
                </a:cubicBezTo>
                <a:cubicBezTo>
                  <a:pt x="1514" y="436"/>
                  <a:pt x="1514" y="436"/>
                  <a:pt x="1514" y="436"/>
                </a:cubicBezTo>
                <a:cubicBezTo>
                  <a:pt x="1472" y="432"/>
                  <a:pt x="1470" y="434"/>
                  <a:pt x="1470" y="338"/>
                </a:cubicBezTo>
                <a:cubicBezTo>
                  <a:pt x="1470" y="262"/>
                  <a:pt x="1470" y="262"/>
                  <a:pt x="1470" y="262"/>
                </a:cubicBezTo>
                <a:cubicBezTo>
                  <a:pt x="1470" y="236"/>
                  <a:pt x="1504" y="206"/>
                  <a:pt x="1546" y="206"/>
                </a:cubicBezTo>
                <a:cubicBezTo>
                  <a:pt x="1580" y="206"/>
                  <a:pt x="1606" y="220"/>
                  <a:pt x="1606" y="286"/>
                </a:cubicBezTo>
                <a:cubicBezTo>
                  <a:pt x="1606" y="340"/>
                  <a:pt x="1606" y="340"/>
                  <a:pt x="1606" y="340"/>
                </a:cubicBezTo>
                <a:cubicBezTo>
                  <a:pt x="1606" y="432"/>
                  <a:pt x="1602" y="432"/>
                  <a:pt x="1564" y="434"/>
                </a:cubicBezTo>
                <a:lnTo>
                  <a:pt x="1564" y="448"/>
                </a:lnTo>
                <a:close/>
                <a:moveTo>
                  <a:pt x="1776" y="222"/>
                </a:moveTo>
                <a:cubicBezTo>
                  <a:pt x="1776" y="200"/>
                  <a:pt x="1796" y="188"/>
                  <a:pt x="1822" y="188"/>
                </a:cubicBezTo>
                <a:cubicBezTo>
                  <a:pt x="1874" y="188"/>
                  <a:pt x="1896" y="236"/>
                  <a:pt x="1900" y="252"/>
                </a:cubicBezTo>
                <a:cubicBezTo>
                  <a:pt x="1912" y="252"/>
                  <a:pt x="1912" y="252"/>
                  <a:pt x="1912" y="252"/>
                </a:cubicBezTo>
                <a:cubicBezTo>
                  <a:pt x="1912" y="212"/>
                  <a:pt x="1908" y="188"/>
                  <a:pt x="1904" y="184"/>
                </a:cubicBezTo>
                <a:cubicBezTo>
                  <a:pt x="1900" y="180"/>
                  <a:pt x="1862" y="170"/>
                  <a:pt x="1824" y="170"/>
                </a:cubicBezTo>
                <a:cubicBezTo>
                  <a:pt x="1768" y="170"/>
                  <a:pt x="1734" y="206"/>
                  <a:pt x="1734" y="248"/>
                </a:cubicBezTo>
                <a:cubicBezTo>
                  <a:pt x="1734" y="340"/>
                  <a:pt x="1890" y="322"/>
                  <a:pt x="1890" y="396"/>
                </a:cubicBezTo>
                <a:cubicBezTo>
                  <a:pt x="1890" y="422"/>
                  <a:pt x="1866" y="436"/>
                  <a:pt x="1826" y="436"/>
                </a:cubicBezTo>
                <a:cubicBezTo>
                  <a:pt x="1788" y="436"/>
                  <a:pt x="1754" y="416"/>
                  <a:pt x="1744" y="366"/>
                </a:cubicBezTo>
                <a:cubicBezTo>
                  <a:pt x="1728" y="366"/>
                  <a:pt x="1728" y="366"/>
                  <a:pt x="1728" y="366"/>
                </a:cubicBezTo>
                <a:cubicBezTo>
                  <a:pt x="1728" y="386"/>
                  <a:pt x="1732" y="422"/>
                  <a:pt x="1734" y="428"/>
                </a:cubicBezTo>
                <a:cubicBezTo>
                  <a:pt x="1744" y="446"/>
                  <a:pt x="1788" y="454"/>
                  <a:pt x="1824" y="454"/>
                </a:cubicBezTo>
                <a:cubicBezTo>
                  <a:pt x="1888" y="454"/>
                  <a:pt x="1928" y="416"/>
                  <a:pt x="1928" y="372"/>
                </a:cubicBezTo>
                <a:cubicBezTo>
                  <a:pt x="1932" y="270"/>
                  <a:pt x="1776" y="286"/>
                  <a:pt x="1776" y="222"/>
                </a:cubicBezTo>
                <a:moveTo>
                  <a:pt x="2030" y="270"/>
                </a:moveTo>
                <a:cubicBezTo>
                  <a:pt x="2034" y="220"/>
                  <a:pt x="2058" y="192"/>
                  <a:pt x="2102" y="192"/>
                </a:cubicBezTo>
                <a:cubicBezTo>
                  <a:pt x="2144" y="192"/>
                  <a:pt x="2170" y="220"/>
                  <a:pt x="2172" y="270"/>
                </a:cubicBezTo>
                <a:lnTo>
                  <a:pt x="2030" y="270"/>
                </a:lnTo>
                <a:close/>
                <a:moveTo>
                  <a:pt x="2030" y="290"/>
                </a:moveTo>
                <a:cubicBezTo>
                  <a:pt x="2222" y="290"/>
                  <a:pt x="2222" y="290"/>
                  <a:pt x="2222" y="290"/>
                </a:cubicBezTo>
                <a:cubicBezTo>
                  <a:pt x="2226" y="228"/>
                  <a:pt x="2192" y="168"/>
                  <a:pt x="2114" y="168"/>
                </a:cubicBezTo>
                <a:cubicBezTo>
                  <a:pt x="2034" y="168"/>
                  <a:pt x="1982" y="232"/>
                  <a:pt x="1982" y="320"/>
                </a:cubicBezTo>
                <a:cubicBezTo>
                  <a:pt x="1982" y="388"/>
                  <a:pt x="2018" y="456"/>
                  <a:pt x="2112" y="456"/>
                </a:cubicBezTo>
                <a:cubicBezTo>
                  <a:pt x="2150" y="456"/>
                  <a:pt x="2198" y="440"/>
                  <a:pt x="2224" y="412"/>
                </a:cubicBezTo>
                <a:cubicBezTo>
                  <a:pt x="2218" y="400"/>
                  <a:pt x="2218" y="400"/>
                  <a:pt x="2218" y="400"/>
                </a:cubicBezTo>
                <a:cubicBezTo>
                  <a:pt x="2192" y="416"/>
                  <a:pt x="2164" y="422"/>
                  <a:pt x="2138" y="422"/>
                </a:cubicBezTo>
                <a:cubicBezTo>
                  <a:pt x="2058" y="420"/>
                  <a:pt x="2028" y="352"/>
                  <a:pt x="2030" y="290"/>
                </a:cubicBezTo>
                <a:moveTo>
                  <a:pt x="2478" y="242"/>
                </a:moveTo>
                <a:cubicBezTo>
                  <a:pt x="2490" y="206"/>
                  <a:pt x="2510" y="192"/>
                  <a:pt x="2528" y="192"/>
                </a:cubicBezTo>
                <a:cubicBezTo>
                  <a:pt x="2528" y="180"/>
                  <a:pt x="2528" y="180"/>
                  <a:pt x="2528" y="180"/>
                </a:cubicBezTo>
                <a:cubicBezTo>
                  <a:pt x="2430" y="180"/>
                  <a:pt x="2430" y="180"/>
                  <a:pt x="2430" y="180"/>
                </a:cubicBezTo>
                <a:cubicBezTo>
                  <a:pt x="2430" y="192"/>
                  <a:pt x="2430" y="192"/>
                  <a:pt x="2430" y="192"/>
                </a:cubicBezTo>
                <a:cubicBezTo>
                  <a:pt x="2454" y="194"/>
                  <a:pt x="2466" y="206"/>
                  <a:pt x="2458" y="234"/>
                </a:cubicBezTo>
                <a:cubicBezTo>
                  <a:pt x="2406" y="390"/>
                  <a:pt x="2406" y="390"/>
                  <a:pt x="2406" y="390"/>
                </a:cubicBezTo>
                <a:cubicBezTo>
                  <a:pt x="2354" y="270"/>
                  <a:pt x="2354" y="270"/>
                  <a:pt x="2354" y="270"/>
                </a:cubicBezTo>
                <a:cubicBezTo>
                  <a:pt x="2340" y="238"/>
                  <a:pt x="2334" y="224"/>
                  <a:pt x="2334" y="212"/>
                </a:cubicBezTo>
                <a:cubicBezTo>
                  <a:pt x="2334" y="202"/>
                  <a:pt x="2340" y="196"/>
                  <a:pt x="2360" y="192"/>
                </a:cubicBezTo>
                <a:cubicBezTo>
                  <a:pt x="2360" y="180"/>
                  <a:pt x="2360" y="180"/>
                  <a:pt x="2360" y="180"/>
                </a:cubicBezTo>
                <a:cubicBezTo>
                  <a:pt x="2234" y="180"/>
                  <a:pt x="2234" y="180"/>
                  <a:pt x="2234" y="180"/>
                </a:cubicBezTo>
                <a:cubicBezTo>
                  <a:pt x="2234" y="192"/>
                  <a:pt x="2234" y="192"/>
                  <a:pt x="2234" y="192"/>
                </a:cubicBezTo>
                <a:cubicBezTo>
                  <a:pt x="2266" y="194"/>
                  <a:pt x="2268" y="198"/>
                  <a:pt x="2310" y="292"/>
                </a:cubicBezTo>
                <a:cubicBezTo>
                  <a:pt x="2382" y="450"/>
                  <a:pt x="2382" y="450"/>
                  <a:pt x="2382" y="450"/>
                </a:cubicBezTo>
                <a:cubicBezTo>
                  <a:pt x="2358" y="512"/>
                  <a:pt x="2320" y="546"/>
                  <a:pt x="2242" y="564"/>
                </a:cubicBezTo>
                <a:cubicBezTo>
                  <a:pt x="2246" y="576"/>
                  <a:pt x="2260" y="600"/>
                  <a:pt x="2268" y="606"/>
                </a:cubicBezTo>
                <a:cubicBezTo>
                  <a:pt x="2370" y="564"/>
                  <a:pt x="2390" y="498"/>
                  <a:pt x="2426" y="396"/>
                </a:cubicBezTo>
                <a:lnTo>
                  <a:pt x="2478" y="242"/>
                </a:lnTo>
                <a:close/>
                <a:moveTo>
                  <a:pt x="2844" y="394"/>
                </a:moveTo>
                <a:cubicBezTo>
                  <a:pt x="2822" y="412"/>
                  <a:pt x="2782" y="416"/>
                  <a:pt x="2750" y="416"/>
                </a:cubicBezTo>
                <a:cubicBezTo>
                  <a:pt x="2670" y="416"/>
                  <a:pt x="2606" y="360"/>
                  <a:pt x="2606" y="284"/>
                </a:cubicBezTo>
                <a:cubicBezTo>
                  <a:pt x="2606" y="236"/>
                  <a:pt x="2626" y="206"/>
                  <a:pt x="2658" y="198"/>
                </a:cubicBezTo>
                <a:cubicBezTo>
                  <a:pt x="2698" y="266"/>
                  <a:pt x="2770" y="338"/>
                  <a:pt x="2844" y="394"/>
                </a:cubicBezTo>
                <a:moveTo>
                  <a:pt x="2928" y="448"/>
                </a:moveTo>
                <a:cubicBezTo>
                  <a:pt x="3022" y="448"/>
                  <a:pt x="3022" y="448"/>
                  <a:pt x="3022" y="448"/>
                </a:cubicBezTo>
                <a:cubicBezTo>
                  <a:pt x="3022" y="436"/>
                  <a:pt x="3022" y="436"/>
                  <a:pt x="3022" y="436"/>
                </a:cubicBezTo>
                <a:cubicBezTo>
                  <a:pt x="2992" y="432"/>
                  <a:pt x="2946" y="408"/>
                  <a:pt x="2896" y="372"/>
                </a:cubicBezTo>
                <a:cubicBezTo>
                  <a:pt x="2914" y="342"/>
                  <a:pt x="2918" y="300"/>
                  <a:pt x="2922" y="270"/>
                </a:cubicBezTo>
                <a:cubicBezTo>
                  <a:pt x="2926" y="244"/>
                  <a:pt x="2946" y="244"/>
                  <a:pt x="2958" y="242"/>
                </a:cubicBezTo>
                <a:cubicBezTo>
                  <a:pt x="2958" y="230"/>
                  <a:pt x="2958" y="230"/>
                  <a:pt x="2958" y="230"/>
                </a:cubicBezTo>
                <a:cubicBezTo>
                  <a:pt x="2834" y="230"/>
                  <a:pt x="2834" y="230"/>
                  <a:pt x="2834" y="230"/>
                </a:cubicBezTo>
                <a:cubicBezTo>
                  <a:pt x="2834" y="242"/>
                  <a:pt x="2834" y="242"/>
                  <a:pt x="2834" y="242"/>
                </a:cubicBezTo>
                <a:cubicBezTo>
                  <a:pt x="2864" y="246"/>
                  <a:pt x="2892" y="250"/>
                  <a:pt x="2892" y="294"/>
                </a:cubicBezTo>
                <a:cubicBezTo>
                  <a:pt x="2892" y="318"/>
                  <a:pt x="2888" y="342"/>
                  <a:pt x="2878" y="358"/>
                </a:cubicBezTo>
                <a:cubicBezTo>
                  <a:pt x="2770" y="274"/>
                  <a:pt x="2670" y="156"/>
                  <a:pt x="2670" y="96"/>
                </a:cubicBezTo>
                <a:cubicBezTo>
                  <a:pt x="2670" y="66"/>
                  <a:pt x="2688" y="54"/>
                  <a:pt x="2716" y="54"/>
                </a:cubicBezTo>
                <a:cubicBezTo>
                  <a:pt x="2752" y="54"/>
                  <a:pt x="2784" y="78"/>
                  <a:pt x="2800" y="124"/>
                </a:cubicBezTo>
                <a:cubicBezTo>
                  <a:pt x="2812" y="124"/>
                  <a:pt x="2812" y="124"/>
                  <a:pt x="2812" y="124"/>
                </a:cubicBezTo>
                <a:cubicBezTo>
                  <a:pt x="2810" y="42"/>
                  <a:pt x="2810" y="42"/>
                  <a:pt x="2810" y="42"/>
                </a:cubicBezTo>
                <a:cubicBezTo>
                  <a:pt x="2798" y="42"/>
                  <a:pt x="2798" y="42"/>
                  <a:pt x="2798" y="42"/>
                </a:cubicBezTo>
                <a:cubicBezTo>
                  <a:pt x="2798" y="48"/>
                  <a:pt x="2792" y="52"/>
                  <a:pt x="2788" y="52"/>
                </a:cubicBezTo>
                <a:cubicBezTo>
                  <a:pt x="2772" y="52"/>
                  <a:pt x="2752" y="36"/>
                  <a:pt x="2714" y="36"/>
                </a:cubicBezTo>
                <a:cubicBezTo>
                  <a:pt x="2672" y="36"/>
                  <a:pt x="2630" y="62"/>
                  <a:pt x="2630" y="118"/>
                </a:cubicBezTo>
                <a:cubicBezTo>
                  <a:pt x="2630" y="140"/>
                  <a:pt x="2636" y="160"/>
                  <a:pt x="2648" y="182"/>
                </a:cubicBezTo>
                <a:cubicBezTo>
                  <a:pt x="2592" y="200"/>
                  <a:pt x="2562" y="248"/>
                  <a:pt x="2562" y="304"/>
                </a:cubicBezTo>
                <a:cubicBezTo>
                  <a:pt x="2562" y="406"/>
                  <a:pt x="2640" y="460"/>
                  <a:pt x="2726" y="460"/>
                </a:cubicBezTo>
                <a:cubicBezTo>
                  <a:pt x="2780" y="460"/>
                  <a:pt x="2824" y="444"/>
                  <a:pt x="2862" y="410"/>
                </a:cubicBezTo>
                <a:cubicBezTo>
                  <a:pt x="2888" y="424"/>
                  <a:pt x="2912" y="442"/>
                  <a:pt x="2928" y="448"/>
                </a:cubicBezTo>
                <a:moveTo>
                  <a:pt x="3094" y="212"/>
                </a:moveTo>
                <a:cubicBezTo>
                  <a:pt x="3094" y="88"/>
                  <a:pt x="3154" y="20"/>
                  <a:pt x="3252" y="20"/>
                </a:cubicBezTo>
                <a:cubicBezTo>
                  <a:pt x="3328" y="20"/>
                  <a:pt x="3372" y="58"/>
                  <a:pt x="3392" y="134"/>
                </a:cubicBezTo>
                <a:cubicBezTo>
                  <a:pt x="3404" y="134"/>
                  <a:pt x="3404" y="134"/>
                  <a:pt x="3404" y="134"/>
                </a:cubicBezTo>
                <a:cubicBezTo>
                  <a:pt x="3400" y="4"/>
                  <a:pt x="3400" y="4"/>
                  <a:pt x="3400" y="4"/>
                </a:cubicBezTo>
                <a:cubicBezTo>
                  <a:pt x="3388" y="4"/>
                  <a:pt x="3388" y="4"/>
                  <a:pt x="3388" y="4"/>
                </a:cubicBezTo>
                <a:cubicBezTo>
                  <a:pt x="3384" y="14"/>
                  <a:pt x="3376" y="18"/>
                  <a:pt x="3364" y="18"/>
                </a:cubicBezTo>
                <a:cubicBezTo>
                  <a:pt x="3338" y="18"/>
                  <a:pt x="3314" y="0"/>
                  <a:pt x="3248" y="0"/>
                </a:cubicBezTo>
                <a:cubicBezTo>
                  <a:pt x="3118" y="0"/>
                  <a:pt x="3030" y="102"/>
                  <a:pt x="3030" y="242"/>
                </a:cubicBezTo>
                <a:cubicBezTo>
                  <a:pt x="3030" y="376"/>
                  <a:pt x="3110" y="460"/>
                  <a:pt x="3238" y="460"/>
                </a:cubicBezTo>
                <a:cubicBezTo>
                  <a:pt x="3320" y="460"/>
                  <a:pt x="3384" y="420"/>
                  <a:pt x="3408" y="380"/>
                </a:cubicBezTo>
                <a:cubicBezTo>
                  <a:pt x="3396" y="366"/>
                  <a:pt x="3396" y="366"/>
                  <a:pt x="3396" y="366"/>
                </a:cubicBezTo>
                <a:cubicBezTo>
                  <a:pt x="3370" y="402"/>
                  <a:pt x="3314" y="426"/>
                  <a:pt x="3256" y="426"/>
                </a:cubicBezTo>
                <a:cubicBezTo>
                  <a:pt x="3156" y="426"/>
                  <a:pt x="3094" y="340"/>
                  <a:pt x="3094" y="212"/>
                </a:cubicBezTo>
                <a:moveTo>
                  <a:pt x="3678" y="328"/>
                </a:moveTo>
                <a:cubicBezTo>
                  <a:pt x="3678" y="392"/>
                  <a:pt x="3650" y="430"/>
                  <a:pt x="3592" y="430"/>
                </a:cubicBezTo>
                <a:cubicBezTo>
                  <a:pt x="3542" y="430"/>
                  <a:pt x="3496" y="384"/>
                  <a:pt x="3496" y="292"/>
                </a:cubicBezTo>
                <a:cubicBezTo>
                  <a:pt x="3496" y="226"/>
                  <a:pt x="3528" y="190"/>
                  <a:pt x="3580" y="190"/>
                </a:cubicBezTo>
                <a:cubicBezTo>
                  <a:pt x="3628" y="192"/>
                  <a:pt x="3678" y="238"/>
                  <a:pt x="3678" y="328"/>
                </a:cubicBezTo>
                <a:moveTo>
                  <a:pt x="3732" y="312"/>
                </a:moveTo>
                <a:cubicBezTo>
                  <a:pt x="3732" y="260"/>
                  <a:pt x="3710" y="214"/>
                  <a:pt x="3672" y="190"/>
                </a:cubicBezTo>
                <a:cubicBezTo>
                  <a:pt x="3650" y="176"/>
                  <a:pt x="3620" y="168"/>
                  <a:pt x="3588" y="168"/>
                </a:cubicBezTo>
                <a:cubicBezTo>
                  <a:pt x="3502" y="168"/>
                  <a:pt x="3442" y="230"/>
                  <a:pt x="3442" y="310"/>
                </a:cubicBezTo>
                <a:cubicBezTo>
                  <a:pt x="3442" y="364"/>
                  <a:pt x="3464" y="408"/>
                  <a:pt x="3502" y="432"/>
                </a:cubicBezTo>
                <a:cubicBezTo>
                  <a:pt x="3524" y="446"/>
                  <a:pt x="3554" y="452"/>
                  <a:pt x="3586" y="452"/>
                </a:cubicBezTo>
                <a:cubicBezTo>
                  <a:pt x="3672" y="454"/>
                  <a:pt x="3732" y="394"/>
                  <a:pt x="3732" y="312"/>
                </a:cubicBezTo>
                <a:moveTo>
                  <a:pt x="4136" y="448"/>
                </a:moveTo>
                <a:cubicBezTo>
                  <a:pt x="4280" y="448"/>
                  <a:pt x="4280" y="448"/>
                  <a:pt x="4280" y="448"/>
                </a:cubicBezTo>
                <a:cubicBezTo>
                  <a:pt x="4280" y="436"/>
                  <a:pt x="4280" y="436"/>
                  <a:pt x="4280" y="436"/>
                </a:cubicBezTo>
                <a:cubicBezTo>
                  <a:pt x="4230" y="434"/>
                  <a:pt x="4232" y="426"/>
                  <a:pt x="4232" y="348"/>
                </a:cubicBezTo>
                <a:cubicBezTo>
                  <a:pt x="4232" y="276"/>
                  <a:pt x="4232" y="276"/>
                  <a:pt x="4232" y="276"/>
                </a:cubicBezTo>
                <a:cubicBezTo>
                  <a:pt x="4232" y="200"/>
                  <a:pt x="4190" y="172"/>
                  <a:pt x="4142" y="172"/>
                </a:cubicBezTo>
                <a:cubicBezTo>
                  <a:pt x="4098" y="172"/>
                  <a:pt x="4064" y="196"/>
                  <a:pt x="4038" y="232"/>
                </a:cubicBezTo>
                <a:cubicBezTo>
                  <a:pt x="4028" y="194"/>
                  <a:pt x="4000" y="172"/>
                  <a:pt x="3954" y="172"/>
                </a:cubicBezTo>
                <a:cubicBezTo>
                  <a:pt x="3916" y="172"/>
                  <a:pt x="3880" y="196"/>
                  <a:pt x="3858" y="224"/>
                </a:cubicBezTo>
                <a:cubicBezTo>
                  <a:pt x="3858" y="176"/>
                  <a:pt x="3858" y="176"/>
                  <a:pt x="3858" y="176"/>
                </a:cubicBezTo>
                <a:cubicBezTo>
                  <a:pt x="3756" y="176"/>
                  <a:pt x="3756" y="176"/>
                  <a:pt x="3756" y="176"/>
                </a:cubicBezTo>
                <a:cubicBezTo>
                  <a:pt x="3756" y="188"/>
                  <a:pt x="3756" y="188"/>
                  <a:pt x="3756" y="188"/>
                </a:cubicBezTo>
                <a:cubicBezTo>
                  <a:pt x="3800" y="190"/>
                  <a:pt x="3806" y="192"/>
                  <a:pt x="3806" y="268"/>
                </a:cubicBezTo>
                <a:cubicBezTo>
                  <a:pt x="3806" y="346"/>
                  <a:pt x="3806" y="346"/>
                  <a:pt x="3806" y="346"/>
                </a:cubicBezTo>
                <a:cubicBezTo>
                  <a:pt x="3806" y="434"/>
                  <a:pt x="3804" y="434"/>
                  <a:pt x="3758" y="434"/>
                </a:cubicBezTo>
                <a:cubicBezTo>
                  <a:pt x="3758" y="446"/>
                  <a:pt x="3758" y="446"/>
                  <a:pt x="3758" y="446"/>
                </a:cubicBezTo>
                <a:cubicBezTo>
                  <a:pt x="3902" y="446"/>
                  <a:pt x="3902" y="446"/>
                  <a:pt x="3902" y="446"/>
                </a:cubicBezTo>
                <a:cubicBezTo>
                  <a:pt x="3902" y="434"/>
                  <a:pt x="3902" y="434"/>
                  <a:pt x="3902" y="434"/>
                </a:cubicBezTo>
                <a:cubicBezTo>
                  <a:pt x="3862" y="430"/>
                  <a:pt x="3858" y="430"/>
                  <a:pt x="3858" y="342"/>
                </a:cubicBezTo>
                <a:cubicBezTo>
                  <a:pt x="3858" y="262"/>
                  <a:pt x="3858" y="262"/>
                  <a:pt x="3858" y="262"/>
                </a:cubicBezTo>
                <a:cubicBezTo>
                  <a:pt x="3858" y="234"/>
                  <a:pt x="3894" y="204"/>
                  <a:pt x="3932" y="204"/>
                </a:cubicBezTo>
                <a:cubicBezTo>
                  <a:pt x="3974" y="204"/>
                  <a:pt x="3990" y="226"/>
                  <a:pt x="3990" y="282"/>
                </a:cubicBezTo>
                <a:cubicBezTo>
                  <a:pt x="3990" y="338"/>
                  <a:pt x="3990" y="338"/>
                  <a:pt x="3990" y="338"/>
                </a:cubicBezTo>
                <a:cubicBezTo>
                  <a:pt x="3990" y="428"/>
                  <a:pt x="3988" y="432"/>
                  <a:pt x="3950" y="436"/>
                </a:cubicBezTo>
                <a:cubicBezTo>
                  <a:pt x="3950" y="448"/>
                  <a:pt x="3950" y="448"/>
                  <a:pt x="3950" y="448"/>
                </a:cubicBezTo>
                <a:cubicBezTo>
                  <a:pt x="4086" y="448"/>
                  <a:pt x="4086" y="448"/>
                  <a:pt x="4086" y="448"/>
                </a:cubicBezTo>
                <a:cubicBezTo>
                  <a:pt x="4086" y="436"/>
                  <a:pt x="4086" y="436"/>
                  <a:pt x="4086" y="436"/>
                </a:cubicBezTo>
                <a:cubicBezTo>
                  <a:pt x="4040" y="432"/>
                  <a:pt x="4042" y="428"/>
                  <a:pt x="4042" y="342"/>
                </a:cubicBezTo>
                <a:cubicBezTo>
                  <a:pt x="4042" y="264"/>
                  <a:pt x="4042" y="264"/>
                  <a:pt x="4042" y="264"/>
                </a:cubicBezTo>
                <a:cubicBezTo>
                  <a:pt x="4042" y="236"/>
                  <a:pt x="4078" y="206"/>
                  <a:pt x="4118" y="206"/>
                </a:cubicBezTo>
                <a:cubicBezTo>
                  <a:pt x="4152" y="206"/>
                  <a:pt x="4174" y="226"/>
                  <a:pt x="4174" y="284"/>
                </a:cubicBezTo>
                <a:cubicBezTo>
                  <a:pt x="4174" y="346"/>
                  <a:pt x="4174" y="346"/>
                  <a:pt x="4174" y="346"/>
                </a:cubicBezTo>
                <a:cubicBezTo>
                  <a:pt x="4174" y="428"/>
                  <a:pt x="4174" y="432"/>
                  <a:pt x="4134" y="436"/>
                </a:cubicBezTo>
                <a:cubicBezTo>
                  <a:pt x="4134" y="448"/>
                  <a:pt x="4134" y="448"/>
                  <a:pt x="4134" y="448"/>
                </a:cubicBezTo>
                <a:lnTo>
                  <a:pt x="4136" y="448"/>
                </a:lnTo>
                <a:close/>
                <a:moveTo>
                  <a:pt x="4546" y="316"/>
                </a:moveTo>
                <a:cubicBezTo>
                  <a:pt x="4546" y="388"/>
                  <a:pt x="4516" y="432"/>
                  <a:pt x="4460" y="432"/>
                </a:cubicBezTo>
                <a:cubicBezTo>
                  <a:pt x="4424" y="432"/>
                  <a:pt x="4384" y="412"/>
                  <a:pt x="4384" y="384"/>
                </a:cubicBezTo>
                <a:cubicBezTo>
                  <a:pt x="4384" y="248"/>
                  <a:pt x="4384" y="248"/>
                  <a:pt x="4384" y="248"/>
                </a:cubicBezTo>
                <a:cubicBezTo>
                  <a:pt x="4384" y="226"/>
                  <a:pt x="4416" y="202"/>
                  <a:pt x="4454" y="202"/>
                </a:cubicBezTo>
                <a:cubicBezTo>
                  <a:pt x="4510" y="206"/>
                  <a:pt x="4546" y="248"/>
                  <a:pt x="4546" y="316"/>
                </a:cubicBezTo>
                <a:moveTo>
                  <a:pt x="4600" y="310"/>
                </a:moveTo>
                <a:cubicBezTo>
                  <a:pt x="4600" y="230"/>
                  <a:pt x="4548" y="170"/>
                  <a:pt x="4478" y="170"/>
                </a:cubicBezTo>
                <a:cubicBezTo>
                  <a:pt x="4438" y="170"/>
                  <a:pt x="4406" y="188"/>
                  <a:pt x="4384" y="214"/>
                </a:cubicBezTo>
                <a:cubicBezTo>
                  <a:pt x="4384" y="174"/>
                  <a:pt x="4384" y="174"/>
                  <a:pt x="4384" y="174"/>
                </a:cubicBezTo>
                <a:cubicBezTo>
                  <a:pt x="4284" y="174"/>
                  <a:pt x="4284" y="174"/>
                  <a:pt x="4284" y="174"/>
                </a:cubicBezTo>
                <a:cubicBezTo>
                  <a:pt x="4284" y="186"/>
                  <a:pt x="4284" y="186"/>
                  <a:pt x="4284" y="186"/>
                </a:cubicBezTo>
                <a:cubicBezTo>
                  <a:pt x="4326" y="188"/>
                  <a:pt x="4332" y="190"/>
                  <a:pt x="4332" y="280"/>
                </a:cubicBezTo>
                <a:cubicBezTo>
                  <a:pt x="4332" y="466"/>
                  <a:pt x="4332" y="466"/>
                  <a:pt x="4332" y="466"/>
                </a:cubicBezTo>
                <a:cubicBezTo>
                  <a:pt x="4332" y="564"/>
                  <a:pt x="4334" y="570"/>
                  <a:pt x="4286" y="574"/>
                </a:cubicBezTo>
                <a:cubicBezTo>
                  <a:pt x="4286" y="588"/>
                  <a:pt x="4286" y="588"/>
                  <a:pt x="4286" y="588"/>
                </a:cubicBezTo>
                <a:cubicBezTo>
                  <a:pt x="4432" y="588"/>
                  <a:pt x="4432" y="588"/>
                  <a:pt x="4432" y="588"/>
                </a:cubicBezTo>
                <a:cubicBezTo>
                  <a:pt x="4432" y="574"/>
                  <a:pt x="4432" y="574"/>
                  <a:pt x="4432" y="574"/>
                </a:cubicBezTo>
                <a:cubicBezTo>
                  <a:pt x="4380" y="572"/>
                  <a:pt x="4384" y="564"/>
                  <a:pt x="4384" y="462"/>
                </a:cubicBezTo>
                <a:cubicBezTo>
                  <a:pt x="4384" y="424"/>
                  <a:pt x="4384" y="424"/>
                  <a:pt x="4384" y="424"/>
                </a:cubicBezTo>
                <a:cubicBezTo>
                  <a:pt x="4404" y="444"/>
                  <a:pt x="4436" y="454"/>
                  <a:pt x="4466" y="454"/>
                </a:cubicBezTo>
                <a:cubicBezTo>
                  <a:pt x="4548" y="454"/>
                  <a:pt x="4600" y="392"/>
                  <a:pt x="4600" y="310"/>
                </a:cubicBezTo>
                <a:moveTo>
                  <a:pt x="4792" y="382"/>
                </a:moveTo>
                <a:cubicBezTo>
                  <a:pt x="4792" y="404"/>
                  <a:pt x="4762" y="424"/>
                  <a:pt x="4736" y="424"/>
                </a:cubicBezTo>
                <a:cubicBezTo>
                  <a:pt x="4712" y="424"/>
                  <a:pt x="4694" y="410"/>
                  <a:pt x="4694" y="378"/>
                </a:cubicBezTo>
                <a:cubicBezTo>
                  <a:pt x="4694" y="322"/>
                  <a:pt x="4752" y="328"/>
                  <a:pt x="4792" y="306"/>
                </a:cubicBezTo>
                <a:cubicBezTo>
                  <a:pt x="4792" y="382"/>
                  <a:pt x="4792" y="382"/>
                  <a:pt x="4792" y="382"/>
                </a:cubicBezTo>
                <a:close/>
                <a:moveTo>
                  <a:pt x="5240" y="434"/>
                </a:moveTo>
                <a:cubicBezTo>
                  <a:pt x="5192" y="432"/>
                  <a:pt x="5192" y="430"/>
                  <a:pt x="5192" y="340"/>
                </a:cubicBezTo>
                <a:cubicBezTo>
                  <a:pt x="5192" y="278"/>
                  <a:pt x="5192" y="278"/>
                  <a:pt x="5192" y="278"/>
                </a:cubicBezTo>
                <a:cubicBezTo>
                  <a:pt x="5192" y="196"/>
                  <a:pt x="5146" y="170"/>
                  <a:pt x="5104" y="170"/>
                </a:cubicBezTo>
                <a:cubicBezTo>
                  <a:pt x="5068" y="170"/>
                  <a:pt x="5032" y="186"/>
                  <a:pt x="5004" y="222"/>
                </a:cubicBezTo>
                <a:cubicBezTo>
                  <a:pt x="5004" y="174"/>
                  <a:pt x="5004" y="174"/>
                  <a:pt x="5004" y="174"/>
                </a:cubicBezTo>
                <a:cubicBezTo>
                  <a:pt x="4902" y="174"/>
                  <a:pt x="4902" y="174"/>
                  <a:pt x="4902" y="174"/>
                </a:cubicBezTo>
                <a:cubicBezTo>
                  <a:pt x="4902" y="186"/>
                  <a:pt x="4902" y="186"/>
                  <a:pt x="4902" y="186"/>
                </a:cubicBezTo>
                <a:cubicBezTo>
                  <a:pt x="4946" y="188"/>
                  <a:pt x="4952" y="190"/>
                  <a:pt x="4952" y="266"/>
                </a:cubicBezTo>
                <a:cubicBezTo>
                  <a:pt x="4952" y="334"/>
                  <a:pt x="4952" y="334"/>
                  <a:pt x="4952" y="334"/>
                </a:cubicBezTo>
                <a:cubicBezTo>
                  <a:pt x="4952" y="430"/>
                  <a:pt x="4952" y="432"/>
                  <a:pt x="4904" y="434"/>
                </a:cubicBezTo>
                <a:cubicBezTo>
                  <a:pt x="4892" y="434"/>
                  <a:pt x="4892" y="434"/>
                  <a:pt x="4892" y="434"/>
                </a:cubicBezTo>
                <a:cubicBezTo>
                  <a:pt x="4854" y="434"/>
                  <a:pt x="4850" y="422"/>
                  <a:pt x="4850" y="366"/>
                </a:cubicBezTo>
                <a:cubicBezTo>
                  <a:pt x="4850" y="274"/>
                  <a:pt x="4850" y="274"/>
                  <a:pt x="4850" y="274"/>
                </a:cubicBezTo>
                <a:cubicBezTo>
                  <a:pt x="4850" y="256"/>
                  <a:pt x="4848" y="240"/>
                  <a:pt x="4844" y="228"/>
                </a:cubicBezTo>
                <a:cubicBezTo>
                  <a:pt x="4830" y="186"/>
                  <a:pt x="4796" y="170"/>
                  <a:pt x="4748" y="170"/>
                </a:cubicBezTo>
                <a:cubicBezTo>
                  <a:pt x="4718" y="170"/>
                  <a:pt x="4674" y="180"/>
                  <a:pt x="4650" y="202"/>
                </a:cubicBezTo>
                <a:cubicBezTo>
                  <a:pt x="4652" y="214"/>
                  <a:pt x="4664" y="240"/>
                  <a:pt x="4670" y="248"/>
                </a:cubicBezTo>
                <a:cubicBezTo>
                  <a:pt x="4676" y="246"/>
                  <a:pt x="4676" y="246"/>
                  <a:pt x="4676" y="246"/>
                </a:cubicBezTo>
                <a:cubicBezTo>
                  <a:pt x="4688" y="216"/>
                  <a:pt x="4708" y="194"/>
                  <a:pt x="4742" y="194"/>
                </a:cubicBezTo>
                <a:cubicBezTo>
                  <a:pt x="4778" y="194"/>
                  <a:pt x="4794" y="220"/>
                  <a:pt x="4794" y="250"/>
                </a:cubicBezTo>
                <a:cubicBezTo>
                  <a:pt x="4794" y="282"/>
                  <a:pt x="4794" y="282"/>
                  <a:pt x="4794" y="282"/>
                </a:cubicBezTo>
                <a:cubicBezTo>
                  <a:pt x="4794" y="302"/>
                  <a:pt x="4702" y="306"/>
                  <a:pt x="4664" y="338"/>
                </a:cubicBezTo>
                <a:cubicBezTo>
                  <a:pt x="4652" y="350"/>
                  <a:pt x="4642" y="364"/>
                  <a:pt x="4642" y="384"/>
                </a:cubicBezTo>
                <a:cubicBezTo>
                  <a:pt x="4642" y="426"/>
                  <a:pt x="4672" y="456"/>
                  <a:pt x="4716" y="456"/>
                </a:cubicBezTo>
                <a:cubicBezTo>
                  <a:pt x="4744" y="456"/>
                  <a:pt x="4768" y="446"/>
                  <a:pt x="4794" y="418"/>
                </a:cubicBezTo>
                <a:cubicBezTo>
                  <a:pt x="4798" y="438"/>
                  <a:pt x="4814" y="448"/>
                  <a:pt x="4842" y="448"/>
                </a:cubicBezTo>
                <a:cubicBezTo>
                  <a:pt x="4906" y="448"/>
                  <a:pt x="4906" y="448"/>
                  <a:pt x="4906" y="448"/>
                </a:cubicBezTo>
                <a:cubicBezTo>
                  <a:pt x="4906" y="448"/>
                  <a:pt x="4906" y="448"/>
                  <a:pt x="4906" y="448"/>
                </a:cubicBezTo>
                <a:cubicBezTo>
                  <a:pt x="5048" y="448"/>
                  <a:pt x="5048" y="448"/>
                  <a:pt x="5048" y="448"/>
                </a:cubicBezTo>
                <a:cubicBezTo>
                  <a:pt x="5048" y="436"/>
                  <a:pt x="5048" y="436"/>
                  <a:pt x="5048" y="436"/>
                </a:cubicBezTo>
                <a:cubicBezTo>
                  <a:pt x="5006" y="432"/>
                  <a:pt x="5004" y="434"/>
                  <a:pt x="5004" y="338"/>
                </a:cubicBezTo>
                <a:cubicBezTo>
                  <a:pt x="5004" y="262"/>
                  <a:pt x="5004" y="262"/>
                  <a:pt x="5004" y="262"/>
                </a:cubicBezTo>
                <a:cubicBezTo>
                  <a:pt x="5004" y="236"/>
                  <a:pt x="5038" y="206"/>
                  <a:pt x="5080" y="206"/>
                </a:cubicBezTo>
                <a:cubicBezTo>
                  <a:pt x="5114" y="206"/>
                  <a:pt x="5140" y="220"/>
                  <a:pt x="5140" y="286"/>
                </a:cubicBezTo>
                <a:cubicBezTo>
                  <a:pt x="5140" y="340"/>
                  <a:pt x="5140" y="340"/>
                  <a:pt x="5140" y="340"/>
                </a:cubicBezTo>
                <a:cubicBezTo>
                  <a:pt x="5140" y="432"/>
                  <a:pt x="5136" y="432"/>
                  <a:pt x="5098" y="434"/>
                </a:cubicBezTo>
                <a:cubicBezTo>
                  <a:pt x="5098" y="446"/>
                  <a:pt x="5098" y="446"/>
                  <a:pt x="5098" y="446"/>
                </a:cubicBezTo>
                <a:cubicBezTo>
                  <a:pt x="5240" y="446"/>
                  <a:pt x="5240" y="446"/>
                  <a:pt x="5240" y="446"/>
                </a:cubicBezTo>
                <a:lnTo>
                  <a:pt x="5240" y="434"/>
                </a:lnTo>
                <a:close/>
                <a:moveTo>
                  <a:pt x="5516" y="192"/>
                </a:moveTo>
                <a:cubicBezTo>
                  <a:pt x="5516" y="180"/>
                  <a:pt x="5516" y="180"/>
                  <a:pt x="5516" y="180"/>
                </a:cubicBezTo>
                <a:cubicBezTo>
                  <a:pt x="5418" y="180"/>
                  <a:pt x="5418" y="180"/>
                  <a:pt x="5418" y="180"/>
                </a:cubicBezTo>
                <a:cubicBezTo>
                  <a:pt x="5418" y="192"/>
                  <a:pt x="5418" y="192"/>
                  <a:pt x="5418" y="192"/>
                </a:cubicBezTo>
                <a:cubicBezTo>
                  <a:pt x="5442" y="194"/>
                  <a:pt x="5454" y="206"/>
                  <a:pt x="5446" y="234"/>
                </a:cubicBezTo>
                <a:cubicBezTo>
                  <a:pt x="5394" y="390"/>
                  <a:pt x="5394" y="390"/>
                  <a:pt x="5394" y="390"/>
                </a:cubicBezTo>
                <a:cubicBezTo>
                  <a:pt x="5342" y="270"/>
                  <a:pt x="5342" y="270"/>
                  <a:pt x="5342" y="270"/>
                </a:cubicBezTo>
                <a:cubicBezTo>
                  <a:pt x="5328" y="238"/>
                  <a:pt x="5322" y="224"/>
                  <a:pt x="5322" y="212"/>
                </a:cubicBezTo>
                <a:cubicBezTo>
                  <a:pt x="5322" y="202"/>
                  <a:pt x="5328" y="196"/>
                  <a:pt x="5348" y="192"/>
                </a:cubicBezTo>
                <a:cubicBezTo>
                  <a:pt x="5348" y="180"/>
                  <a:pt x="5348" y="180"/>
                  <a:pt x="5348" y="180"/>
                </a:cubicBezTo>
                <a:cubicBezTo>
                  <a:pt x="5220" y="180"/>
                  <a:pt x="5220" y="180"/>
                  <a:pt x="5220" y="180"/>
                </a:cubicBezTo>
                <a:cubicBezTo>
                  <a:pt x="5220" y="192"/>
                  <a:pt x="5220" y="192"/>
                  <a:pt x="5220" y="192"/>
                </a:cubicBezTo>
                <a:cubicBezTo>
                  <a:pt x="5252" y="194"/>
                  <a:pt x="5254" y="198"/>
                  <a:pt x="5296" y="292"/>
                </a:cubicBezTo>
                <a:cubicBezTo>
                  <a:pt x="5368" y="450"/>
                  <a:pt x="5368" y="450"/>
                  <a:pt x="5368" y="450"/>
                </a:cubicBezTo>
                <a:cubicBezTo>
                  <a:pt x="5344" y="512"/>
                  <a:pt x="5306" y="546"/>
                  <a:pt x="5228" y="564"/>
                </a:cubicBezTo>
                <a:cubicBezTo>
                  <a:pt x="5232" y="576"/>
                  <a:pt x="5246" y="600"/>
                  <a:pt x="5254" y="606"/>
                </a:cubicBezTo>
                <a:cubicBezTo>
                  <a:pt x="5356" y="564"/>
                  <a:pt x="5376" y="498"/>
                  <a:pt x="5412" y="396"/>
                </a:cubicBezTo>
                <a:cubicBezTo>
                  <a:pt x="5466" y="242"/>
                  <a:pt x="5466" y="242"/>
                  <a:pt x="5466" y="242"/>
                </a:cubicBezTo>
                <a:cubicBezTo>
                  <a:pt x="5478" y="206"/>
                  <a:pt x="5498" y="192"/>
                  <a:pt x="5516" y="192"/>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600" kern="1200">
                <a:solidFill>
                  <a:schemeClr val="tx1"/>
                </a:solidFill>
                <a:latin typeface="Arial" charset="0"/>
                <a:ea typeface="+mn-ea"/>
                <a:cs typeface="+mn-cs"/>
              </a:defRPr>
            </a:lvl1pPr>
            <a:lvl2pPr marL="457200" algn="l" rtl="0" fontAlgn="base">
              <a:spcBef>
                <a:spcPct val="0"/>
              </a:spcBef>
              <a:spcAft>
                <a:spcPct val="0"/>
              </a:spcAft>
              <a:defRPr sz="1600" kern="1200">
                <a:solidFill>
                  <a:schemeClr val="tx1"/>
                </a:solidFill>
                <a:latin typeface="Arial" charset="0"/>
                <a:ea typeface="+mn-ea"/>
                <a:cs typeface="+mn-cs"/>
              </a:defRPr>
            </a:lvl2pPr>
            <a:lvl3pPr marL="914400" algn="l" rtl="0" fontAlgn="base">
              <a:spcBef>
                <a:spcPct val="0"/>
              </a:spcBef>
              <a:spcAft>
                <a:spcPct val="0"/>
              </a:spcAft>
              <a:defRPr sz="1600" kern="1200">
                <a:solidFill>
                  <a:schemeClr val="tx1"/>
                </a:solidFill>
                <a:latin typeface="Arial" charset="0"/>
                <a:ea typeface="+mn-ea"/>
                <a:cs typeface="+mn-cs"/>
              </a:defRPr>
            </a:lvl3pPr>
            <a:lvl4pPr marL="1371600" algn="l" rtl="0" fontAlgn="base">
              <a:spcBef>
                <a:spcPct val="0"/>
              </a:spcBef>
              <a:spcAft>
                <a:spcPct val="0"/>
              </a:spcAft>
              <a:defRPr sz="1600" kern="1200">
                <a:solidFill>
                  <a:schemeClr val="tx1"/>
                </a:solidFill>
                <a:latin typeface="Arial" charset="0"/>
                <a:ea typeface="+mn-ea"/>
                <a:cs typeface="+mn-cs"/>
              </a:defRPr>
            </a:lvl4pPr>
            <a:lvl5pPr marL="1828800" algn="l" rtl="0" fontAlgn="base">
              <a:spcBef>
                <a:spcPct val="0"/>
              </a:spcBef>
              <a:spcAft>
                <a:spcPct val="0"/>
              </a:spcAft>
              <a:defRPr sz="1600" kern="1200">
                <a:solidFill>
                  <a:schemeClr val="tx1"/>
                </a:solidFill>
                <a:latin typeface="Arial" charset="0"/>
                <a:ea typeface="+mn-ea"/>
                <a:cs typeface="+mn-cs"/>
              </a:defRPr>
            </a:lvl5pPr>
            <a:lvl6pPr marL="2286000" algn="l" defTabSz="914400" rtl="0" eaLnBrk="1" latinLnBrk="0" hangingPunct="1">
              <a:defRPr sz="1600" kern="1200">
                <a:solidFill>
                  <a:schemeClr val="tx1"/>
                </a:solidFill>
                <a:latin typeface="Arial" charset="0"/>
                <a:ea typeface="+mn-ea"/>
                <a:cs typeface="+mn-cs"/>
              </a:defRPr>
            </a:lvl6pPr>
            <a:lvl7pPr marL="2743200" algn="l" defTabSz="914400" rtl="0" eaLnBrk="1" latinLnBrk="0" hangingPunct="1">
              <a:defRPr sz="1600" kern="1200">
                <a:solidFill>
                  <a:schemeClr val="tx1"/>
                </a:solidFill>
                <a:latin typeface="Arial" charset="0"/>
                <a:ea typeface="+mn-ea"/>
                <a:cs typeface="+mn-cs"/>
              </a:defRPr>
            </a:lvl7pPr>
            <a:lvl8pPr marL="3200400" algn="l" defTabSz="914400" rtl="0" eaLnBrk="1" latinLnBrk="0" hangingPunct="1">
              <a:defRPr sz="1600" kern="1200">
                <a:solidFill>
                  <a:schemeClr val="tx1"/>
                </a:solidFill>
                <a:latin typeface="Arial" charset="0"/>
                <a:ea typeface="+mn-ea"/>
                <a:cs typeface="+mn-cs"/>
              </a:defRPr>
            </a:lvl8pPr>
            <a:lvl9pPr marL="3657600" algn="l" defTabSz="914400" rtl="0" eaLnBrk="1" latinLnBrk="0" hangingPunct="1">
              <a:defRPr sz="1600" kern="1200">
                <a:solidFill>
                  <a:schemeClr val="tx1"/>
                </a:solidFill>
                <a:latin typeface="Arial" charset="0"/>
                <a:ea typeface="+mn-ea"/>
                <a:cs typeface="+mn-cs"/>
              </a:defRPr>
            </a:lvl9pPr>
          </a:lstStyle>
          <a:p>
            <a:endParaRPr lang="en-US" baseline="0" dirty="0">
              <a:solidFill>
                <a:srgbClr val="000000"/>
              </a:solidFill>
              <a:latin typeface="+mn-lt"/>
            </a:endParaRPr>
          </a:p>
        </p:txBody>
      </p:sp>
      <p:sp>
        <p:nvSpPr>
          <p:cNvPr id="27" name="Disclaimer-English (United States)" hidden="1"/>
          <p:cNvSpPr>
            <a:spLocks noChangeArrowheads="1"/>
          </p:cNvSpPr>
          <p:nvPr/>
        </p:nvSpPr>
        <p:spPr bwMode="black">
          <a:xfrm>
            <a:off x="2268266" y="6287785"/>
            <a:ext cx="3544453" cy="36908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t" anchorCtr="0">
            <a:noAutofit/>
          </a:bodyPr>
          <a:lstStyle/>
          <a:p>
            <a:pPr defTabSz="804863" eaLnBrk="0" hangingPunct="0"/>
            <a:r>
              <a:rPr lang="en-US" sz="800" baseline="0" dirty="0">
                <a:solidFill>
                  <a:srgbClr val="FFFFFF"/>
                </a:solidFill>
                <a:latin typeface="+mn-lt"/>
              </a:rPr>
              <a:t>CONFIDENTIAL AND PROPRIETARY</a:t>
            </a:r>
          </a:p>
          <a:p>
            <a:pPr defTabSz="804863" eaLnBrk="0" hangingPunct="0"/>
            <a:r>
              <a:rPr lang="en-US" sz="800" baseline="0" dirty="0">
                <a:solidFill>
                  <a:srgbClr val="FFFFFF"/>
                </a:solidFill>
                <a:latin typeface="+mn-lt"/>
              </a:rPr>
              <a:t>Any use of this material without specific permission of McKinsey &amp; Company is strictly prohibited</a:t>
            </a:r>
          </a:p>
        </p:txBody>
      </p:sp>
    </p:spTree>
    <p:extLst>
      <p:ext uri="{BB962C8B-B14F-4D97-AF65-F5344CB8AC3E}">
        <p14:creationId xmlns:p14="http://schemas.microsoft.com/office/powerpoint/2010/main" val="3367442143"/>
      </p:ext>
    </p:extLst>
  </p:cSld>
  <p:clrMapOvr>
    <a:masterClrMapping/>
  </p:clrMapOvr>
  <p:extLst mod="1">
    <p:ext uri="{DCECCB84-F9BA-43D5-87BE-67443E8EF086}">
      <p15:sldGuideLst xmlns:p15="http://schemas.microsoft.com/office/powerpoint/2012/main">
        <p15:guide id="1" orient="horz" pos="2117">
          <p15:clr>
            <a:srgbClr val="FBAE40"/>
          </p15:clr>
        </p15:guide>
        <p15:guide id="2" pos="1416">
          <p15:clr>
            <a:srgbClr val="FBAE40"/>
          </p15:clr>
        </p15:guide>
      </p15:sldGuideLst>
    </p:ext>
  </p:extLst>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6E228F5-5CF1-42E1-9748-97D7582A107A}"/>
              </a:ext>
            </a:extLst>
          </p:cNvPr>
          <p:cNvGraphicFramePr>
            <a:graphicFrameLocks noChangeAspect="1"/>
          </p:cNvGraphicFramePr>
          <p:nvPr>
            <p:custDataLst>
              <p:tags r:id="rId2"/>
            </p:custDataLst>
            <p:extLst>
              <p:ext uri="{D42A27DB-BD31-4B8C-83A1-F6EECF244321}">
                <p14:modId xmlns:p14="http://schemas.microsoft.com/office/powerpoint/2010/main" val="79043592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58068" name="think-cell Slide" r:id="rId5" imgW="353" imgH="353" progId="TCLayout.ActiveDocument.1">
                  <p:embed/>
                </p:oleObj>
              </mc:Choice>
              <mc:Fallback>
                <p:oleObj name="think-cell Slide" r:id="rId5" imgW="353" imgH="353" progId="TCLayout.ActiveDocument.1">
                  <p:embed/>
                  <p:pic>
                    <p:nvPicPr>
                      <p:cNvPr id="3" name="Object 2" hidden="1">
                        <a:extLst>
                          <a:ext uri="{FF2B5EF4-FFF2-40B4-BE49-F238E27FC236}">
                            <a16:creationId xmlns:a16="http://schemas.microsoft.com/office/drawing/2014/main" id="{C6E228F5-5CF1-42E1-9748-97D7582A107A}"/>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2. Slide Title"/>
          <p:cNvSpPr>
            <a:spLocks noGrp="1"/>
          </p:cNvSpPr>
          <p:nvPr>
            <p:ph type="title"/>
          </p:nvPr>
        </p:nvSpPr>
        <p:spPr bwMode="auto"/>
        <p:txBody>
          <a:bodyPr/>
          <a:lstStyle/>
          <a:p>
            <a:r>
              <a:rPr lang="en-US"/>
              <a:t>Click to edit Master title style</a:t>
            </a:r>
            <a:endParaRPr lang="en-US" dirty="0"/>
          </a:p>
        </p:txBody>
      </p:sp>
      <p:sp>
        <p:nvSpPr>
          <p:cNvPr id="8" name="Slide Number"/>
          <p:cNvSpPr txBox="1">
            <a:spLocks/>
          </p:cNvSpPr>
          <p:nvPr/>
        </p:nvSpPr>
        <p:spPr bwMode="auto">
          <a:xfrm>
            <a:off x="8564563" y="6508272"/>
            <a:ext cx="125034" cy="123111"/>
          </a:xfrm>
          <a:prstGeom prst="rect">
            <a:avLst/>
          </a:prstGeom>
        </p:spPr>
        <p:txBody>
          <a:bodyPr vert="horz" wrap="none" lIns="0" tIns="0" rIns="0" bIns="0" rtlCol="0" anchor="ctr">
            <a:spAutoFit/>
          </a:bodyPr>
          <a:lstStyle>
            <a:defPPr>
              <a:defRPr lang="en-US"/>
            </a:defPPr>
            <a:lvl1pPr>
              <a:defRPr sz="1000" baseline="0">
                <a:latin typeface="+mn-lt"/>
              </a:defRPr>
            </a:lvl1pPr>
          </a:lstStyle>
          <a:p>
            <a:fld id="{42C328C1-A84F-4A39-A664-DBA00541A8C6}" type="slidenum">
              <a:rPr lang="en-US" sz="800" baseline="0" smtClean="0">
                <a:solidFill>
                  <a:srgbClr val="808080"/>
                </a:solidFill>
                <a:latin typeface="+mn-lt"/>
              </a:rPr>
              <a:pPr/>
              <a:t>‹#›</a:t>
            </a:fld>
            <a:endParaRPr lang="en-US" sz="800" baseline="0" dirty="0">
              <a:solidFill>
                <a:srgbClr val="808080"/>
              </a:solidFill>
              <a:latin typeface="+mn-lt"/>
            </a:endParaRPr>
          </a:p>
        </p:txBody>
      </p:sp>
      <p:sp>
        <p:nvSpPr>
          <p:cNvPr id="9" name="SlideLogoText"/>
          <p:cNvSpPr>
            <a:spLocks noChangeArrowheads="1"/>
          </p:cNvSpPr>
          <p:nvPr>
            <p:custDataLst>
              <p:tags r:id="rId3"/>
            </p:custDataLst>
          </p:nvPr>
        </p:nvSpPr>
        <p:spPr bwMode="auto">
          <a:xfrm>
            <a:off x="7450817" y="6508272"/>
            <a:ext cx="1013098"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algn="r" defTabSz="895350"/>
            <a:r>
              <a:rPr lang="en-US" sz="800" baseline="0" dirty="0">
                <a:solidFill>
                  <a:srgbClr val="808080"/>
                </a:solidFill>
                <a:latin typeface="+mn-lt"/>
              </a:rPr>
              <a:t>McKinsey &amp; Company</a:t>
            </a:r>
          </a:p>
        </p:txBody>
      </p:sp>
      <p:sp>
        <p:nvSpPr>
          <p:cNvPr id="5" name="doc id" hidden="1"/>
          <p:cNvSpPr txBox="1">
            <a:spLocks noChangeArrowheads="1"/>
          </p:cNvSpPr>
          <p:nvPr/>
        </p:nvSpPr>
        <p:spPr bwMode="white">
          <a:xfrm>
            <a:off x="8104473" y="36513"/>
            <a:ext cx="634716" cy="115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hangingPunct="1">
              <a:defRPr/>
            </a:pPr>
            <a:endParaRPr lang="en-US" sz="800" baseline="0" dirty="0">
              <a:solidFill>
                <a:schemeClr val="accent1"/>
              </a:solidFill>
              <a:latin typeface="+mn-lt"/>
              <a:ea typeface="+mn-ea"/>
            </a:endParaRPr>
          </a:p>
        </p:txBody>
      </p:sp>
    </p:spTree>
    <p:extLst>
      <p:ext uri="{BB962C8B-B14F-4D97-AF65-F5344CB8AC3E}">
        <p14:creationId xmlns:p14="http://schemas.microsoft.com/office/powerpoint/2010/main" val="3203100510"/>
      </p:ext>
    </p:extLst>
  </p:cSld>
  <p:clrMapOvr>
    <a:masterClrMapping/>
  </p:clrMapOvr>
  <p:extLst mod="1">
    <p:ext uri="{DCECCB84-F9BA-43D5-87BE-67443E8EF086}">
      <p15:sldGuideLst xmlns:p15="http://schemas.microsoft.com/office/powerpoint/2012/main">
        <p15:guide id="1" pos="5505">
          <p15:clr>
            <a:srgbClr val="F26B43"/>
          </p15:clr>
        </p15:guide>
        <p15:guide id="2" pos="74">
          <p15:clr>
            <a:srgbClr val="F26B43"/>
          </p15:clr>
        </p15:guide>
        <p15:guide id="3" orient="horz" pos="571">
          <p15:clr>
            <a:srgbClr val="F26B43"/>
          </p15:clr>
        </p15:guide>
        <p15:guide id="4" orient="horz" pos="3911">
          <p15:clr>
            <a:srgbClr val="F26B43"/>
          </p15:clr>
        </p15:guide>
      </p15:sldGuideLst>
    </p:ext>
  </p:extLst>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p:cSld name="1_Title Only">
    <p:bg>
      <p:bgPr>
        <a:solidFill>
          <a:schemeClr val="accent2"/>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F4AD34F-3B47-47E2-A09C-FFEB949F6A10}"/>
              </a:ext>
            </a:extLst>
          </p:cNvPr>
          <p:cNvGraphicFramePr>
            <a:graphicFrameLocks noChangeAspect="1"/>
          </p:cNvGraphicFramePr>
          <p:nvPr>
            <p:custDataLst>
              <p:tags r:id="rId2"/>
            </p:custDataLst>
            <p:extLst>
              <p:ext uri="{D42A27DB-BD31-4B8C-83A1-F6EECF244321}">
                <p14:modId xmlns:p14="http://schemas.microsoft.com/office/powerpoint/2010/main" val="244165284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59092" name="think-cell Slide" r:id="rId5" imgW="395" imgH="394" progId="TCLayout.ActiveDocument.1">
                  <p:embed/>
                </p:oleObj>
              </mc:Choice>
              <mc:Fallback>
                <p:oleObj name="think-cell Slide" r:id="rId5" imgW="395" imgH="394" progId="TCLayout.ActiveDocument.1">
                  <p:embed/>
                  <p:pic>
                    <p:nvPicPr>
                      <p:cNvPr id="3" name="Object 2" hidden="1">
                        <a:extLst>
                          <a:ext uri="{FF2B5EF4-FFF2-40B4-BE49-F238E27FC236}">
                            <a16:creationId xmlns:a16="http://schemas.microsoft.com/office/drawing/2014/main" id="{EF4AD34F-3B47-47E2-A09C-FFEB949F6A10}"/>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endParaRPr lang="en-US" dirty="0"/>
          </a:p>
        </p:txBody>
      </p:sp>
      <p:sp>
        <p:nvSpPr>
          <p:cNvPr id="15" name="Slide Number"/>
          <p:cNvSpPr txBox="1">
            <a:spLocks/>
          </p:cNvSpPr>
          <p:nvPr/>
        </p:nvSpPr>
        <p:spPr>
          <a:xfrm>
            <a:off x="8564563" y="6508272"/>
            <a:ext cx="125034" cy="123111"/>
          </a:xfrm>
          <a:prstGeom prst="rect">
            <a:avLst/>
          </a:prstGeom>
        </p:spPr>
        <p:txBody>
          <a:bodyPr vert="horz" wrap="none" lIns="0" tIns="0" rIns="0" bIns="0" rtlCol="0" anchor="ctr">
            <a:spAutoFit/>
          </a:bodyPr>
          <a:lstStyle>
            <a:defPPr>
              <a:defRPr lang="en-US"/>
            </a:defPPr>
            <a:lvl1pPr>
              <a:defRPr sz="1000" baseline="0">
                <a:latin typeface="+mn-lt"/>
              </a:defRPr>
            </a:lvl1pPr>
          </a:lstStyle>
          <a:p>
            <a:fld id="{42C328C1-A84F-4A39-A664-DBA00541A8C6}" type="slidenum">
              <a:rPr lang="en-US" sz="800" baseline="0" smtClean="0">
                <a:solidFill>
                  <a:srgbClr val="FFFFFF"/>
                </a:solidFill>
                <a:latin typeface="+mn-lt"/>
              </a:rPr>
              <a:pPr/>
              <a:t>‹#›</a:t>
            </a:fld>
            <a:endParaRPr lang="en-US" sz="800" baseline="0" dirty="0">
              <a:solidFill>
                <a:srgbClr val="FFFFFF"/>
              </a:solidFill>
              <a:latin typeface="+mn-lt"/>
            </a:endParaRPr>
          </a:p>
        </p:txBody>
      </p:sp>
      <p:sp>
        <p:nvSpPr>
          <p:cNvPr id="16" name="SlideLogoText"/>
          <p:cNvSpPr>
            <a:spLocks noChangeArrowheads="1"/>
          </p:cNvSpPr>
          <p:nvPr>
            <p:custDataLst>
              <p:tags r:id="rId3"/>
            </p:custDataLst>
          </p:nvPr>
        </p:nvSpPr>
        <p:spPr bwMode="auto">
          <a:xfrm>
            <a:off x="7450817" y="6508272"/>
            <a:ext cx="1013098"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algn="r" defTabSz="895350"/>
            <a:r>
              <a:rPr lang="en-US" sz="800" baseline="0" dirty="0">
                <a:solidFill>
                  <a:srgbClr val="FFFFFF"/>
                </a:solidFill>
                <a:latin typeface="+mn-lt"/>
              </a:rPr>
              <a:t>McKinsey &amp; Company</a:t>
            </a:r>
          </a:p>
        </p:txBody>
      </p:sp>
      <p:sp>
        <p:nvSpPr>
          <p:cNvPr id="5" name="doc id" hidden="1"/>
          <p:cNvSpPr txBox="1">
            <a:spLocks noChangeArrowheads="1"/>
          </p:cNvSpPr>
          <p:nvPr/>
        </p:nvSpPr>
        <p:spPr bwMode="white">
          <a:xfrm>
            <a:off x="8104473" y="36513"/>
            <a:ext cx="634716" cy="115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hangingPunct="1">
              <a:defRPr/>
            </a:pPr>
            <a:endParaRPr lang="en-US" sz="800" baseline="0" dirty="0">
              <a:solidFill>
                <a:schemeClr val="accent1"/>
              </a:solidFill>
              <a:latin typeface="+mn-lt"/>
              <a:ea typeface="+mn-ea"/>
            </a:endParaRPr>
          </a:p>
        </p:txBody>
      </p:sp>
    </p:spTree>
    <p:extLst>
      <p:ext uri="{BB962C8B-B14F-4D97-AF65-F5344CB8AC3E}">
        <p14:creationId xmlns:p14="http://schemas.microsoft.com/office/powerpoint/2010/main" val="1827200557"/>
      </p:ext>
    </p:extLst>
  </p:cSld>
  <p:clrMapOvr>
    <a:masterClrMapping/>
  </p:clrMapOvr>
  <p:extLst mod="1">
    <p:ext uri="{DCECCB84-F9BA-43D5-87BE-67443E8EF086}">
      <p15:sldGuideLst xmlns:p15="http://schemas.microsoft.com/office/powerpoint/2012/main">
        <p15:guide id="1" pos="3978">
          <p15:clr>
            <a:srgbClr val="000000"/>
          </p15:clr>
        </p15:guide>
        <p15:guide id="2" orient="horz" pos="570">
          <p15:clr>
            <a:srgbClr val="000000"/>
          </p15:clr>
        </p15:guide>
        <p15:guide id="3" orient="horz" pos="3912">
          <p15:clr>
            <a:srgbClr val="000000"/>
          </p15:clr>
        </p15:guide>
        <p15:guide id="4" pos="72">
          <p15:clr>
            <a:srgbClr val="000000"/>
          </p15:clr>
        </p15:guide>
      </p15:sldGuideLst>
    </p:ext>
  </p:extLst>
</p:sldLayout>
</file>

<file path=ppt/slideLayouts/slideLayout203.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pic>
        <p:nvPicPr>
          <p:cNvPr id="2" name="background"/>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0" y="198"/>
            <a:ext cx="8961438" cy="6721079"/>
          </a:xfrm>
          <a:prstGeom prst="rect">
            <a:avLst/>
          </a:prstGeom>
        </p:spPr>
      </p:pic>
      <p:sp>
        <p:nvSpPr>
          <p:cNvPr id="28" name="TitleRectangle"/>
          <p:cNvSpPr txBox="1">
            <a:spLocks/>
          </p:cNvSpPr>
          <p:nvPr/>
        </p:nvSpPr>
        <p:spPr>
          <a:xfrm>
            <a:off x="2084388" y="0"/>
            <a:ext cx="6875462" cy="3575976"/>
          </a:xfrm>
          <a:prstGeom prst="rect">
            <a:avLst/>
          </a:prstGeom>
          <a:solidFill>
            <a:srgbClr val="002960">
              <a:alpha val="92000"/>
            </a:srgbClr>
          </a:solidFill>
        </p:spPr>
        <p:txBody>
          <a:bodyPr vert="horz" wrap="square" lIns="216000" tIns="1440000" rIns="216000" bIns="108000" rtlCol="0">
            <a:noAutofit/>
          </a:bodyPr>
          <a:lstStyle>
            <a:lvl1pPr marL="0" indent="0" algn="l" defTabSz="914400" rtl="0" eaLnBrk="1" latinLnBrk="0" hangingPunct="1">
              <a:spcBef>
                <a:spcPct val="20000"/>
              </a:spcBef>
              <a:spcAft>
                <a:spcPts val="6000"/>
              </a:spcAft>
              <a:buFont typeface="Arial" pitchFamily="34" charset="0"/>
              <a:buNone/>
              <a:defRPr sz="3200" kern="1200">
                <a:solidFill>
                  <a:schemeClr val="accent1"/>
                </a:solidFill>
                <a:latin typeface="+mn-lt"/>
                <a:ea typeface="+mn-ea"/>
                <a:cs typeface="+mn-cs"/>
              </a:defRPr>
            </a:lvl1pPr>
            <a:lvl2pPr marL="0" indent="0" algn="l" defTabSz="914400" rtl="0" eaLnBrk="1" latinLnBrk="0" hangingPunct="1">
              <a:spcBef>
                <a:spcPct val="20000"/>
              </a:spcBef>
              <a:buFont typeface="Wingdings" charset="2"/>
              <a:buNone/>
              <a:defRPr sz="1400" kern="1200">
                <a:solidFill>
                  <a:schemeClr val="tx1">
                    <a:lumMod val="50000"/>
                    <a:lumOff val="50000"/>
                  </a:schemeClr>
                </a:solidFill>
                <a:latin typeface="+mn-lt"/>
                <a:ea typeface="+mn-ea"/>
                <a:cs typeface="+mn-cs"/>
              </a:defRPr>
            </a:lvl2pPr>
            <a:lvl3pPr marL="1143000" indent="-228600" algn="l" defTabSz="914400" rtl="0" eaLnBrk="1" latinLnBrk="0" hangingPunct="1">
              <a:spcBef>
                <a:spcPct val="20000"/>
              </a:spcBef>
              <a:buFont typeface="Lucida Grande"/>
              <a:buChar char="–"/>
              <a:defRPr sz="16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fontAlgn="auto">
              <a:defRPr/>
            </a:pPr>
            <a:r>
              <a:rPr lang="en-US" baseline="0" dirty="0">
                <a:solidFill>
                  <a:srgbClr val="00ADEF"/>
                </a:solidFill>
                <a:latin typeface="+mn-lt"/>
              </a:rPr>
              <a:t>
              </a:t>
            </a:r>
            <a:br>
              <a:rPr lang="en-US" baseline="0" dirty="0">
                <a:solidFill>
                  <a:srgbClr val="00ADEF"/>
                </a:solidFill>
                <a:latin typeface="+mn-lt"/>
              </a:rPr>
            </a:br>
            <a:endParaRPr lang="en-US" baseline="0" dirty="0">
              <a:solidFill>
                <a:srgbClr val="00ADEF"/>
              </a:solidFill>
              <a:latin typeface="+mn-lt"/>
            </a:endParaRPr>
          </a:p>
        </p:txBody>
      </p:sp>
      <p:graphicFrame>
        <p:nvGraphicFramePr>
          <p:cNvPr id="3" name="Object 2"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61140"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Working Draft Text" hidden="1"/>
          <p:cNvSpPr txBox="1">
            <a:spLocks noChangeArrowheads="1"/>
          </p:cNvSpPr>
          <p:nvPr/>
        </p:nvSpPr>
        <p:spPr bwMode="black">
          <a:xfrm>
            <a:off x="5992719" y="6287538"/>
            <a:ext cx="2790000"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800" b="1" baseline="0" dirty="0">
                <a:solidFill>
                  <a:srgbClr val="FFFFFF"/>
                </a:solidFill>
                <a:latin typeface="+mn-lt"/>
              </a:rPr>
              <a:t>WORKING DRAFT</a:t>
            </a:r>
          </a:p>
        </p:txBody>
      </p:sp>
      <p:sp>
        <p:nvSpPr>
          <p:cNvPr id="6" name="Working Draft" hidden="1"/>
          <p:cNvSpPr txBox="1">
            <a:spLocks noChangeArrowheads="1"/>
          </p:cNvSpPr>
          <p:nvPr/>
        </p:nvSpPr>
        <p:spPr bwMode="black">
          <a:xfrm>
            <a:off x="5992718" y="6410648"/>
            <a:ext cx="2968719"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800" baseline="0">
                <a:solidFill>
                  <a:srgbClr val="FFFFFF"/>
                </a:solidFill>
                <a:latin typeface="+mn-lt"/>
              </a:rPr>
              <a:t>Last Modified 21/05/2018 17:44 India Standard Time</a:t>
            </a:r>
            <a:endParaRPr lang="en-US" sz="800" baseline="0" dirty="0">
              <a:solidFill>
                <a:srgbClr val="FFFFFF"/>
              </a:solidFill>
              <a:latin typeface="+mn-lt"/>
            </a:endParaRPr>
          </a:p>
        </p:txBody>
      </p:sp>
      <p:sp>
        <p:nvSpPr>
          <p:cNvPr id="7" name="Printed" hidden="1"/>
          <p:cNvSpPr txBox="1">
            <a:spLocks noChangeArrowheads="1"/>
          </p:cNvSpPr>
          <p:nvPr/>
        </p:nvSpPr>
        <p:spPr bwMode="black">
          <a:xfrm>
            <a:off x="5992719" y="6533759"/>
            <a:ext cx="2790000"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800" baseline="0" dirty="0">
                <a:solidFill>
                  <a:srgbClr val="FFFFFF"/>
                </a:solidFill>
                <a:latin typeface="+mn-lt"/>
              </a:rPr>
              <a:t>Printed</a:t>
            </a:r>
          </a:p>
        </p:txBody>
      </p:sp>
      <p:sp>
        <p:nvSpPr>
          <p:cNvPr id="13314" name="Title"/>
          <p:cNvSpPr>
            <a:spLocks noGrp="1" noChangeArrowheads="1"/>
          </p:cNvSpPr>
          <p:nvPr>
            <p:ph type="ctrTitle"/>
          </p:nvPr>
        </p:nvSpPr>
        <p:spPr>
          <a:xfrm>
            <a:off x="2268266" y="1434419"/>
            <a:ext cx="6231663" cy="492443"/>
          </a:xfrm>
          <a:prstGeom prst="rect">
            <a:avLst/>
          </a:prstGeom>
        </p:spPr>
        <p:txBody>
          <a:bodyPr>
            <a:spAutoFit/>
          </a:bodyPr>
          <a:lstStyle>
            <a:lvl1pPr>
              <a:defRPr sz="3200" b="0" baseline="0">
                <a:solidFill>
                  <a:schemeClr val="accent2"/>
                </a:solidFill>
                <a:latin typeface="+mj-lt"/>
                <a:ea typeface="+mj-ea"/>
              </a:defRPr>
            </a:lvl1pPr>
          </a:lstStyle>
          <a:p>
            <a:pPr lvl="0" latinLnBrk="0"/>
            <a:r>
              <a:rPr lang="en-US" noProof="0"/>
              <a:t>Click to edit Master title style</a:t>
            </a:r>
            <a:endParaRPr lang="en-US" noProof="0" dirty="0"/>
          </a:p>
        </p:txBody>
      </p:sp>
      <p:sp>
        <p:nvSpPr>
          <p:cNvPr id="13315" name="Subtitle"/>
          <p:cNvSpPr>
            <a:spLocks noGrp="1" noChangeArrowheads="1"/>
          </p:cNvSpPr>
          <p:nvPr>
            <p:ph type="subTitle" idx="1"/>
          </p:nvPr>
        </p:nvSpPr>
        <p:spPr>
          <a:xfrm>
            <a:off x="2268266" y="2819401"/>
            <a:ext cx="6231663" cy="215444"/>
          </a:xfrm>
          <a:prstGeom prst="rect">
            <a:avLst/>
          </a:prstGeom>
        </p:spPr>
        <p:txBody>
          <a:bodyPr wrap="square">
            <a:spAutoFit/>
          </a:bodyPr>
          <a:lstStyle>
            <a:lvl1pPr>
              <a:defRPr sz="1400" cap="all" baseline="0">
                <a:solidFill>
                  <a:schemeClr val="bg1"/>
                </a:solidFill>
                <a:latin typeface="+mn-lt"/>
                <a:ea typeface="+mn-ea"/>
              </a:defRPr>
            </a:lvl1pPr>
          </a:lstStyle>
          <a:p>
            <a:pPr lvl="0" latinLnBrk="0"/>
            <a:r>
              <a:rPr lang="en-US" noProof="0"/>
              <a:t>Click to edit Master subtitle style</a:t>
            </a:r>
            <a:endParaRPr lang="en-US" noProof="0" dirty="0"/>
          </a:p>
        </p:txBody>
      </p:sp>
      <p:sp>
        <p:nvSpPr>
          <p:cNvPr id="57" name="Document type" hidden="1"/>
          <p:cNvSpPr txBox="1">
            <a:spLocks noChangeArrowheads="1"/>
          </p:cNvSpPr>
          <p:nvPr/>
        </p:nvSpPr>
        <p:spPr bwMode="gray">
          <a:xfrm>
            <a:off x="2268266" y="3227411"/>
            <a:ext cx="6231663"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00" baseline="0" dirty="0">
                <a:solidFill>
                  <a:schemeClr val="bg1"/>
                </a:solidFill>
                <a:latin typeface="+mn-lt"/>
              </a:rPr>
              <a:t>Document type | Date</a:t>
            </a:r>
          </a:p>
        </p:txBody>
      </p:sp>
      <p:sp>
        <p:nvSpPr>
          <p:cNvPr id="5" name="doc id" hidden="1"/>
          <p:cNvSpPr txBox="1">
            <a:spLocks noChangeArrowheads="1"/>
          </p:cNvSpPr>
          <p:nvPr/>
        </p:nvSpPr>
        <p:spPr bwMode="white">
          <a:xfrm>
            <a:off x="8443913" y="36513"/>
            <a:ext cx="295275" cy="1222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hangingPunct="1">
              <a:defRPr/>
            </a:pPr>
            <a:endParaRPr lang="en-US" sz="800" baseline="0" dirty="0">
              <a:solidFill>
                <a:srgbClr val="FFFFFF"/>
              </a:solidFill>
              <a:latin typeface="+mn-lt"/>
            </a:endParaRPr>
          </a:p>
        </p:txBody>
      </p:sp>
      <p:sp>
        <p:nvSpPr>
          <p:cNvPr id="43" name="LogoImage"/>
          <p:cNvSpPr>
            <a:spLocks noEditPoints="1"/>
          </p:cNvSpPr>
          <p:nvPr/>
        </p:nvSpPr>
        <p:spPr bwMode="white">
          <a:xfrm>
            <a:off x="2269098" y="182925"/>
            <a:ext cx="2176978" cy="238073"/>
          </a:xfrm>
          <a:custGeom>
            <a:avLst/>
            <a:gdLst>
              <a:gd name="T0" fmla="*/ 504 w 5516"/>
              <a:gd name="T1" fmla="*/ 26 h 606"/>
              <a:gd name="T2" fmla="*/ 18 w 5516"/>
              <a:gd name="T3" fmla="*/ 22 h 606"/>
              <a:gd name="T4" fmla="*/ 140 w 5516"/>
              <a:gd name="T5" fmla="*/ 436 h 606"/>
              <a:gd name="T6" fmla="*/ 408 w 5516"/>
              <a:gd name="T7" fmla="*/ 372 h 606"/>
              <a:gd name="T8" fmla="*/ 696 w 5516"/>
              <a:gd name="T9" fmla="*/ 422 h 606"/>
              <a:gd name="T10" fmla="*/ 768 w 5516"/>
              <a:gd name="T11" fmla="*/ 196 h 606"/>
              <a:gd name="T12" fmla="*/ 1272 w 5516"/>
              <a:gd name="T13" fmla="*/ 26 h 606"/>
              <a:gd name="T14" fmla="*/ 1302 w 5516"/>
              <a:gd name="T15" fmla="*/ 338 h 606"/>
              <a:gd name="T16" fmla="*/ 1202 w 5516"/>
              <a:gd name="T17" fmla="*/ 436 h 606"/>
              <a:gd name="T18" fmla="*/ 1030 w 5516"/>
              <a:gd name="T19" fmla="*/ 10 h 606"/>
              <a:gd name="T20" fmla="*/ 960 w 5516"/>
              <a:gd name="T21" fmla="*/ 22 h 606"/>
              <a:gd name="T22" fmla="*/ 804 w 5516"/>
              <a:gd name="T23" fmla="*/ 434 h 606"/>
              <a:gd name="T24" fmla="*/ 930 w 5516"/>
              <a:gd name="T25" fmla="*/ 246 h 606"/>
              <a:gd name="T26" fmla="*/ 1658 w 5516"/>
              <a:gd name="T27" fmla="*/ 342 h 606"/>
              <a:gd name="T28" fmla="*/ 1368 w 5516"/>
              <a:gd name="T29" fmla="*/ 188 h 606"/>
              <a:gd name="T30" fmla="*/ 1514 w 5516"/>
              <a:gd name="T31" fmla="*/ 436 h 606"/>
              <a:gd name="T32" fmla="*/ 1564 w 5516"/>
              <a:gd name="T33" fmla="*/ 434 h 606"/>
              <a:gd name="T34" fmla="*/ 1904 w 5516"/>
              <a:gd name="T35" fmla="*/ 184 h 606"/>
              <a:gd name="T36" fmla="*/ 1728 w 5516"/>
              <a:gd name="T37" fmla="*/ 366 h 606"/>
              <a:gd name="T38" fmla="*/ 2102 w 5516"/>
              <a:gd name="T39" fmla="*/ 192 h 606"/>
              <a:gd name="T40" fmla="*/ 1982 w 5516"/>
              <a:gd name="T41" fmla="*/ 320 h 606"/>
              <a:gd name="T42" fmla="*/ 2478 w 5516"/>
              <a:gd name="T43" fmla="*/ 242 h 606"/>
              <a:gd name="T44" fmla="*/ 2406 w 5516"/>
              <a:gd name="T45" fmla="*/ 390 h 606"/>
              <a:gd name="T46" fmla="*/ 2234 w 5516"/>
              <a:gd name="T47" fmla="*/ 192 h 606"/>
              <a:gd name="T48" fmla="*/ 2478 w 5516"/>
              <a:gd name="T49" fmla="*/ 242 h 606"/>
              <a:gd name="T50" fmla="*/ 2928 w 5516"/>
              <a:gd name="T51" fmla="*/ 448 h 606"/>
              <a:gd name="T52" fmla="*/ 2958 w 5516"/>
              <a:gd name="T53" fmla="*/ 230 h 606"/>
              <a:gd name="T54" fmla="*/ 2716 w 5516"/>
              <a:gd name="T55" fmla="*/ 54 h 606"/>
              <a:gd name="T56" fmla="*/ 2714 w 5516"/>
              <a:gd name="T57" fmla="*/ 36 h 606"/>
              <a:gd name="T58" fmla="*/ 2928 w 5516"/>
              <a:gd name="T59" fmla="*/ 448 h 606"/>
              <a:gd name="T60" fmla="*/ 3388 w 5516"/>
              <a:gd name="T61" fmla="*/ 4 h 606"/>
              <a:gd name="T62" fmla="*/ 3396 w 5516"/>
              <a:gd name="T63" fmla="*/ 366 h 606"/>
              <a:gd name="T64" fmla="*/ 3580 w 5516"/>
              <a:gd name="T65" fmla="*/ 190 h 606"/>
              <a:gd name="T66" fmla="*/ 3502 w 5516"/>
              <a:gd name="T67" fmla="*/ 432 h 606"/>
              <a:gd name="T68" fmla="*/ 4232 w 5516"/>
              <a:gd name="T69" fmla="*/ 348 h 606"/>
              <a:gd name="T70" fmla="*/ 3858 w 5516"/>
              <a:gd name="T71" fmla="*/ 176 h 606"/>
              <a:gd name="T72" fmla="*/ 3758 w 5516"/>
              <a:gd name="T73" fmla="*/ 446 h 606"/>
              <a:gd name="T74" fmla="*/ 3990 w 5516"/>
              <a:gd name="T75" fmla="*/ 282 h 606"/>
              <a:gd name="T76" fmla="*/ 4042 w 5516"/>
              <a:gd name="T77" fmla="*/ 342 h 606"/>
              <a:gd name="T78" fmla="*/ 4134 w 5516"/>
              <a:gd name="T79" fmla="*/ 448 h 606"/>
              <a:gd name="T80" fmla="*/ 4454 w 5516"/>
              <a:gd name="T81" fmla="*/ 202 h 606"/>
              <a:gd name="T82" fmla="*/ 4284 w 5516"/>
              <a:gd name="T83" fmla="*/ 174 h 606"/>
              <a:gd name="T84" fmla="*/ 4432 w 5516"/>
              <a:gd name="T85" fmla="*/ 588 h 606"/>
              <a:gd name="T86" fmla="*/ 4792 w 5516"/>
              <a:gd name="T87" fmla="*/ 382 h 606"/>
              <a:gd name="T88" fmla="*/ 5192 w 5516"/>
              <a:gd name="T89" fmla="*/ 340 h 606"/>
              <a:gd name="T90" fmla="*/ 4902 w 5516"/>
              <a:gd name="T91" fmla="*/ 186 h 606"/>
              <a:gd name="T92" fmla="*/ 4850 w 5516"/>
              <a:gd name="T93" fmla="*/ 274 h 606"/>
              <a:gd name="T94" fmla="*/ 4742 w 5516"/>
              <a:gd name="T95" fmla="*/ 194 h 606"/>
              <a:gd name="T96" fmla="*/ 4794 w 5516"/>
              <a:gd name="T97" fmla="*/ 418 h 606"/>
              <a:gd name="T98" fmla="*/ 5004 w 5516"/>
              <a:gd name="T99" fmla="*/ 338 h 606"/>
              <a:gd name="T100" fmla="*/ 5098 w 5516"/>
              <a:gd name="T101" fmla="*/ 446 h 606"/>
              <a:gd name="T102" fmla="*/ 5418 w 5516"/>
              <a:gd name="T103" fmla="*/ 192 h 606"/>
              <a:gd name="T104" fmla="*/ 5348 w 5516"/>
              <a:gd name="T105" fmla="*/ 180 h 606"/>
              <a:gd name="T106" fmla="*/ 5254 w 5516"/>
              <a:gd name="T107" fmla="*/ 606 h 6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516" h="606">
                <a:moveTo>
                  <a:pt x="366" y="448"/>
                </a:moveTo>
                <a:cubicBezTo>
                  <a:pt x="524" y="448"/>
                  <a:pt x="524" y="448"/>
                  <a:pt x="524" y="448"/>
                </a:cubicBezTo>
                <a:cubicBezTo>
                  <a:pt x="524" y="436"/>
                  <a:pt x="524" y="436"/>
                  <a:pt x="524" y="436"/>
                </a:cubicBezTo>
                <a:cubicBezTo>
                  <a:pt x="486" y="432"/>
                  <a:pt x="470" y="414"/>
                  <a:pt x="468" y="362"/>
                </a:cubicBezTo>
                <a:cubicBezTo>
                  <a:pt x="454" y="86"/>
                  <a:pt x="454" y="86"/>
                  <a:pt x="454" y="86"/>
                </a:cubicBezTo>
                <a:cubicBezTo>
                  <a:pt x="452" y="46"/>
                  <a:pt x="470" y="30"/>
                  <a:pt x="504" y="26"/>
                </a:cubicBezTo>
                <a:cubicBezTo>
                  <a:pt x="504" y="12"/>
                  <a:pt x="504" y="12"/>
                  <a:pt x="504" y="12"/>
                </a:cubicBezTo>
                <a:cubicBezTo>
                  <a:pt x="394" y="12"/>
                  <a:pt x="394" y="12"/>
                  <a:pt x="394" y="12"/>
                </a:cubicBezTo>
                <a:cubicBezTo>
                  <a:pt x="264" y="350"/>
                  <a:pt x="264" y="350"/>
                  <a:pt x="264" y="350"/>
                </a:cubicBezTo>
                <a:cubicBezTo>
                  <a:pt x="132" y="10"/>
                  <a:pt x="132" y="10"/>
                  <a:pt x="132" y="10"/>
                </a:cubicBezTo>
                <a:cubicBezTo>
                  <a:pt x="18" y="10"/>
                  <a:pt x="18" y="10"/>
                  <a:pt x="18" y="10"/>
                </a:cubicBezTo>
                <a:cubicBezTo>
                  <a:pt x="18" y="22"/>
                  <a:pt x="18" y="22"/>
                  <a:pt x="18" y="22"/>
                </a:cubicBezTo>
                <a:cubicBezTo>
                  <a:pt x="40" y="26"/>
                  <a:pt x="74" y="32"/>
                  <a:pt x="72" y="84"/>
                </a:cubicBezTo>
                <a:cubicBezTo>
                  <a:pt x="58" y="352"/>
                  <a:pt x="58" y="352"/>
                  <a:pt x="58" y="352"/>
                </a:cubicBezTo>
                <a:cubicBezTo>
                  <a:pt x="54" y="410"/>
                  <a:pt x="38" y="430"/>
                  <a:pt x="0" y="436"/>
                </a:cubicBezTo>
                <a:cubicBezTo>
                  <a:pt x="0" y="448"/>
                  <a:pt x="0" y="448"/>
                  <a:pt x="0" y="448"/>
                </a:cubicBezTo>
                <a:cubicBezTo>
                  <a:pt x="140" y="448"/>
                  <a:pt x="140" y="448"/>
                  <a:pt x="140" y="448"/>
                </a:cubicBezTo>
                <a:cubicBezTo>
                  <a:pt x="140" y="436"/>
                  <a:pt x="140" y="436"/>
                  <a:pt x="140" y="436"/>
                </a:cubicBezTo>
                <a:cubicBezTo>
                  <a:pt x="98" y="428"/>
                  <a:pt x="84" y="414"/>
                  <a:pt x="88" y="356"/>
                </a:cubicBezTo>
                <a:cubicBezTo>
                  <a:pt x="100" y="86"/>
                  <a:pt x="100" y="86"/>
                  <a:pt x="100" y="86"/>
                </a:cubicBezTo>
                <a:cubicBezTo>
                  <a:pt x="240" y="444"/>
                  <a:pt x="240" y="444"/>
                  <a:pt x="240" y="444"/>
                </a:cubicBezTo>
                <a:cubicBezTo>
                  <a:pt x="258" y="444"/>
                  <a:pt x="258" y="444"/>
                  <a:pt x="258" y="444"/>
                </a:cubicBezTo>
                <a:cubicBezTo>
                  <a:pt x="396" y="86"/>
                  <a:pt x="396" y="86"/>
                  <a:pt x="396" y="86"/>
                </a:cubicBezTo>
                <a:cubicBezTo>
                  <a:pt x="408" y="372"/>
                  <a:pt x="408" y="372"/>
                  <a:pt x="408" y="372"/>
                </a:cubicBezTo>
                <a:cubicBezTo>
                  <a:pt x="410" y="416"/>
                  <a:pt x="398" y="430"/>
                  <a:pt x="366" y="434"/>
                </a:cubicBezTo>
                <a:lnTo>
                  <a:pt x="366" y="448"/>
                </a:lnTo>
                <a:close/>
                <a:moveTo>
                  <a:pt x="670" y="456"/>
                </a:moveTo>
                <a:cubicBezTo>
                  <a:pt x="708" y="456"/>
                  <a:pt x="756" y="440"/>
                  <a:pt x="782" y="412"/>
                </a:cubicBezTo>
                <a:cubicBezTo>
                  <a:pt x="776" y="400"/>
                  <a:pt x="776" y="400"/>
                  <a:pt x="776" y="400"/>
                </a:cubicBezTo>
                <a:cubicBezTo>
                  <a:pt x="750" y="416"/>
                  <a:pt x="722" y="422"/>
                  <a:pt x="696" y="422"/>
                </a:cubicBezTo>
                <a:cubicBezTo>
                  <a:pt x="620" y="422"/>
                  <a:pt x="592" y="358"/>
                  <a:pt x="592" y="290"/>
                </a:cubicBezTo>
                <a:cubicBezTo>
                  <a:pt x="592" y="258"/>
                  <a:pt x="600" y="236"/>
                  <a:pt x="614" y="222"/>
                </a:cubicBezTo>
                <a:cubicBezTo>
                  <a:pt x="626" y="210"/>
                  <a:pt x="646" y="204"/>
                  <a:pt x="664" y="204"/>
                </a:cubicBezTo>
                <a:cubicBezTo>
                  <a:pt x="690" y="204"/>
                  <a:pt x="722" y="214"/>
                  <a:pt x="744" y="244"/>
                </a:cubicBezTo>
                <a:cubicBezTo>
                  <a:pt x="750" y="244"/>
                  <a:pt x="750" y="244"/>
                  <a:pt x="750" y="244"/>
                </a:cubicBezTo>
                <a:cubicBezTo>
                  <a:pt x="758" y="234"/>
                  <a:pt x="766" y="212"/>
                  <a:pt x="768" y="196"/>
                </a:cubicBezTo>
                <a:cubicBezTo>
                  <a:pt x="748" y="180"/>
                  <a:pt x="720" y="172"/>
                  <a:pt x="686" y="172"/>
                </a:cubicBezTo>
                <a:cubicBezTo>
                  <a:pt x="604" y="172"/>
                  <a:pt x="544" y="246"/>
                  <a:pt x="544" y="326"/>
                </a:cubicBezTo>
                <a:cubicBezTo>
                  <a:pt x="540" y="390"/>
                  <a:pt x="576" y="456"/>
                  <a:pt x="670" y="456"/>
                </a:cubicBezTo>
                <a:moveTo>
                  <a:pt x="1272" y="98"/>
                </a:moveTo>
                <a:cubicBezTo>
                  <a:pt x="1292" y="98"/>
                  <a:pt x="1308" y="82"/>
                  <a:pt x="1308" y="62"/>
                </a:cubicBezTo>
                <a:cubicBezTo>
                  <a:pt x="1308" y="42"/>
                  <a:pt x="1292" y="26"/>
                  <a:pt x="1272" y="26"/>
                </a:cubicBezTo>
                <a:cubicBezTo>
                  <a:pt x="1252" y="26"/>
                  <a:pt x="1238" y="42"/>
                  <a:pt x="1238" y="62"/>
                </a:cubicBezTo>
                <a:cubicBezTo>
                  <a:pt x="1238" y="82"/>
                  <a:pt x="1252" y="98"/>
                  <a:pt x="1272" y="98"/>
                </a:cubicBezTo>
                <a:moveTo>
                  <a:pt x="1202" y="448"/>
                </a:moveTo>
                <a:cubicBezTo>
                  <a:pt x="1346" y="448"/>
                  <a:pt x="1346" y="448"/>
                  <a:pt x="1346" y="448"/>
                </a:cubicBezTo>
                <a:cubicBezTo>
                  <a:pt x="1346" y="436"/>
                  <a:pt x="1346" y="436"/>
                  <a:pt x="1346" y="436"/>
                </a:cubicBezTo>
                <a:cubicBezTo>
                  <a:pt x="1304" y="432"/>
                  <a:pt x="1302" y="434"/>
                  <a:pt x="1302" y="338"/>
                </a:cubicBezTo>
                <a:cubicBezTo>
                  <a:pt x="1302" y="176"/>
                  <a:pt x="1302" y="176"/>
                  <a:pt x="1302" y="176"/>
                </a:cubicBezTo>
                <a:cubicBezTo>
                  <a:pt x="1200" y="176"/>
                  <a:pt x="1200" y="176"/>
                  <a:pt x="1200" y="176"/>
                </a:cubicBezTo>
                <a:cubicBezTo>
                  <a:pt x="1200" y="188"/>
                  <a:pt x="1200" y="188"/>
                  <a:pt x="1200" y="188"/>
                </a:cubicBezTo>
                <a:cubicBezTo>
                  <a:pt x="1244" y="190"/>
                  <a:pt x="1250" y="192"/>
                  <a:pt x="1250" y="268"/>
                </a:cubicBezTo>
                <a:cubicBezTo>
                  <a:pt x="1250" y="336"/>
                  <a:pt x="1250" y="336"/>
                  <a:pt x="1250" y="336"/>
                </a:cubicBezTo>
                <a:cubicBezTo>
                  <a:pt x="1250" y="432"/>
                  <a:pt x="1248" y="432"/>
                  <a:pt x="1202" y="436"/>
                </a:cubicBezTo>
                <a:cubicBezTo>
                  <a:pt x="1178" y="434"/>
                  <a:pt x="1154" y="426"/>
                  <a:pt x="1076" y="338"/>
                </a:cubicBezTo>
                <a:cubicBezTo>
                  <a:pt x="1046" y="302"/>
                  <a:pt x="996" y="244"/>
                  <a:pt x="968" y="206"/>
                </a:cubicBezTo>
                <a:cubicBezTo>
                  <a:pt x="1062" y="102"/>
                  <a:pt x="1062" y="102"/>
                  <a:pt x="1062" y="102"/>
                </a:cubicBezTo>
                <a:cubicBezTo>
                  <a:pt x="1108" y="52"/>
                  <a:pt x="1132" y="26"/>
                  <a:pt x="1176" y="24"/>
                </a:cubicBezTo>
                <a:cubicBezTo>
                  <a:pt x="1176" y="10"/>
                  <a:pt x="1176" y="10"/>
                  <a:pt x="1176" y="10"/>
                </a:cubicBezTo>
                <a:cubicBezTo>
                  <a:pt x="1030" y="10"/>
                  <a:pt x="1030" y="10"/>
                  <a:pt x="1030" y="10"/>
                </a:cubicBezTo>
                <a:cubicBezTo>
                  <a:pt x="1030" y="22"/>
                  <a:pt x="1030" y="22"/>
                  <a:pt x="1030" y="22"/>
                </a:cubicBezTo>
                <a:cubicBezTo>
                  <a:pt x="1050" y="26"/>
                  <a:pt x="1056" y="32"/>
                  <a:pt x="1056" y="46"/>
                </a:cubicBezTo>
                <a:cubicBezTo>
                  <a:pt x="1056" y="56"/>
                  <a:pt x="1054" y="72"/>
                  <a:pt x="1026" y="102"/>
                </a:cubicBezTo>
                <a:cubicBezTo>
                  <a:pt x="910" y="230"/>
                  <a:pt x="910" y="230"/>
                  <a:pt x="910" y="230"/>
                </a:cubicBezTo>
                <a:cubicBezTo>
                  <a:pt x="910" y="148"/>
                  <a:pt x="910" y="148"/>
                  <a:pt x="910" y="148"/>
                </a:cubicBezTo>
                <a:cubicBezTo>
                  <a:pt x="910" y="36"/>
                  <a:pt x="916" y="28"/>
                  <a:pt x="960" y="22"/>
                </a:cubicBezTo>
                <a:cubicBezTo>
                  <a:pt x="960" y="8"/>
                  <a:pt x="960" y="8"/>
                  <a:pt x="960" y="8"/>
                </a:cubicBezTo>
                <a:cubicBezTo>
                  <a:pt x="804" y="8"/>
                  <a:pt x="804" y="8"/>
                  <a:pt x="804" y="8"/>
                </a:cubicBezTo>
                <a:cubicBezTo>
                  <a:pt x="804" y="22"/>
                  <a:pt x="804" y="22"/>
                  <a:pt x="804" y="22"/>
                </a:cubicBezTo>
                <a:cubicBezTo>
                  <a:pt x="852" y="26"/>
                  <a:pt x="854" y="36"/>
                  <a:pt x="854" y="148"/>
                </a:cubicBezTo>
                <a:cubicBezTo>
                  <a:pt x="854" y="300"/>
                  <a:pt x="854" y="300"/>
                  <a:pt x="854" y="300"/>
                </a:cubicBezTo>
                <a:cubicBezTo>
                  <a:pt x="854" y="422"/>
                  <a:pt x="850" y="430"/>
                  <a:pt x="804" y="434"/>
                </a:cubicBezTo>
                <a:cubicBezTo>
                  <a:pt x="804" y="446"/>
                  <a:pt x="804" y="446"/>
                  <a:pt x="804" y="446"/>
                </a:cubicBezTo>
                <a:cubicBezTo>
                  <a:pt x="960" y="446"/>
                  <a:pt x="960" y="446"/>
                  <a:pt x="960" y="446"/>
                </a:cubicBezTo>
                <a:cubicBezTo>
                  <a:pt x="960" y="434"/>
                  <a:pt x="960" y="434"/>
                  <a:pt x="960" y="434"/>
                </a:cubicBezTo>
                <a:cubicBezTo>
                  <a:pt x="910" y="428"/>
                  <a:pt x="910" y="424"/>
                  <a:pt x="910" y="292"/>
                </a:cubicBezTo>
                <a:cubicBezTo>
                  <a:pt x="910" y="268"/>
                  <a:pt x="910" y="268"/>
                  <a:pt x="910" y="268"/>
                </a:cubicBezTo>
                <a:cubicBezTo>
                  <a:pt x="930" y="246"/>
                  <a:pt x="930" y="246"/>
                  <a:pt x="930" y="246"/>
                </a:cubicBezTo>
                <a:cubicBezTo>
                  <a:pt x="982" y="310"/>
                  <a:pt x="1038" y="380"/>
                  <a:pt x="1098" y="448"/>
                </a:cubicBezTo>
                <a:cubicBezTo>
                  <a:pt x="1202" y="448"/>
                  <a:pt x="1202" y="448"/>
                  <a:pt x="1202" y="448"/>
                </a:cubicBezTo>
                <a:close/>
                <a:moveTo>
                  <a:pt x="1564" y="448"/>
                </a:moveTo>
                <a:cubicBezTo>
                  <a:pt x="1706" y="448"/>
                  <a:pt x="1706" y="448"/>
                  <a:pt x="1706" y="448"/>
                </a:cubicBezTo>
                <a:cubicBezTo>
                  <a:pt x="1706" y="436"/>
                  <a:pt x="1706" y="436"/>
                  <a:pt x="1706" y="436"/>
                </a:cubicBezTo>
                <a:cubicBezTo>
                  <a:pt x="1658" y="434"/>
                  <a:pt x="1658" y="432"/>
                  <a:pt x="1658" y="342"/>
                </a:cubicBezTo>
                <a:cubicBezTo>
                  <a:pt x="1658" y="280"/>
                  <a:pt x="1658" y="280"/>
                  <a:pt x="1658" y="280"/>
                </a:cubicBezTo>
                <a:cubicBezTo>
                  <a:pt x="1658" y="198"/>
                  <a:pt x="1612" y="172"/>
                  <a:pt x="1570" y="172"/>
                </a:cubicBezTo>
                <a:cubicBezTo>
                  <a:pt x="1534" y="172"/>
                  <a:pt x="1498" y="188"/>
                  <a:pt x="1470" y="224"/>
                </a:cubicBezTo>
                <a:cubicBezTo>
                  <a:pt x="1470" y="176"/>
                  <a:pt x="1470" y="176"/>
                  <a:pt x="1470" y="176"/>
                </a:cubicBezTo>
                <a:cubicBezTo>
                  <a:pt x="1368" y="176"/>
                  <a:pt x="1368" y="176"/>
                  <a:pt x="1368" y="176"/>
                </a:cubicBezTo>
                <a:cubicBezTo>
                  <a:pt x="1368" y="188"/>
                  <a:pt x="1368" y="188"/>
                  <a:pt x="1368" y="188"/>
                </a:cubicBezTo>
                <a:cubicBezTo>
                  <a:pt x="1412" y="190"/>
                  <a:pt x="1418" y="192"/>
                  <a:pt x="1418" y="268"/>
                </a:cubicBezTo>
                <a:cubicBezTo>
                  <a:pt x="1418" y="336"/>
                  <a:pt x="1418" y="336"/>
                  <a:pt x="1418" y="336"/>
                </a:cubicBezTo>
                <a:cubicBezTo>
                  <a:pt x="1418" y="434"/>
                  <a:pt x="1418" y="434"/>
                  <a:pt x="1370" y="436"/>
                </a:cubicBezTo>
                <a:cubicBezTo>
                  <a:pt x="1370" y="448"/>
                  <a:pt x="1370" y="448"/>
                  <a:pt x="1370" y="448"/>
                </a:cubicBezTo>
                <a:cubicBezTo>
                  <a:pt x="1514" y="448"/>
                  <a:pt x="1514" y="448"/>
                  <a:pt x="1514" y="448"/>
                </a:cubicBezTo>
                <a:cubicBezTo>
                  <a:pt x="1514" y="436"/>
                  <a:pt x="1514" y="436"/>
                  <a:pt x="1514" y="436"/>
                </a:cubicBezTo>
                <a:cubicBezTo>
                  <a:pt x="1472" y="432"/>
                  <a:pt x="1470" y="434"/>
                  <a:pt x="1470" y="338"/>
                </a:cubicBezTo>
                <a:cubicBezTo>
                  <a:pt x="1470" y="262"/>
                  <a:pt x="1470" y="262"/>
                  <a:pt x="1470" y="262"/>
                </a:cubicBezTo>
                <a:cubicBezTo>
                  <a:pt x="1470" y="236"/>
                  <a:pt x="1504" y="206"/>
                  <a:pt x="1546" y="206"/>
                </a:cubicBezTo>
                <a:cubicBezTo>
                  <a:pt x="1580" y="206"/>
                  <a:pt x="1606" y="220"/>
                  <a:pt x="1606" y="286"/>
                </a:cubicBezTo>
                <a:cubicBezTo>
                  <a:pt x="1606" y="340"/>
                  <a:pt x="1606" y="340"/>
                  <a:pt x="1606" y="340"/>
                </a:cubicBezTo>
                <a:cubicBezTo>
                  <a:pt x="1606" y="432"/>
                  <a:pt x="1602" y="432"/>
                  <a:pt x="1564" y="434"/>
                </a:cubicBezTo>
                <a:lnTo>
                  <a:pt x="1564" y="448"/>
                </a:lnTo>
                <a:close/>
                <a:moveTo>
                  <a:pt x="1776" y="222"/>
                </a:moveTo>
                <a:cubicBezTo>
                  <a:pt x="1776" y="200"/>
                  <a:pt x="1796" y="188"/>
                  <a:pt x="1822" y="188"/>
                </a:cubicBezTo>
                <a:cubicBezTo>
                  <a:pt x="1874" y="188"/>
                  <a:pt x="1896" y="236"/>
                  <a:pt x="1900" y="252"/>
                </a:cubicBezTo>
                <a:cubicBezTo>
                  <a:pt x="1912" y="252"/>
                  <a:pt x="1912" y="252"/>
                  <a:pt x="1912" y="252"/>
                </a:cubicBezTo>
                <a:cubicBezTo>
                  <a:pt x="1912" y="212"/>
                  <a:pt x="1908" y="188"/>
                  <a:pt x="1904" y="184"/>
                </a:cubicBezTo>
                <a:cubicBezTo>
                  <a:pt x="1900" y="180"/>
                  <a:pt x="1862" y="170"/>
                  <a:pt x="1824" y="170"/>
                </a:cubicBezTo>
                <a:cubicBezTo>
                  <a:pt x="1768" y="170"/>
                  <a:pt x="1734" y="206"/>
                  <a:pt x="1734" y="248"/>
                </a:cubicBezTo>
                <a:cubicBezTo>
                  <a:pt x="1734" y="340"/>
                  <a:pt x="1890" y="322"/>
                  <a:pt x="1890" y="396"/>
                </a:cubicBezTo>
                <a:cubicBezTo>
                  <a:pt x="1890" y="422"/>
                  <a:pt x="1866" y="436"/>
                  <a:pt x="1826" y="436"/>
                </a:cubicBezTo>
                <a:cubicBezTo>
                  <a:pt x="1788" y="436"/>
                  <a:pt x="1754" y="416"/>
                  <a:pt x="1744" y="366"/>
                </a:cubicBezTo>
                <a:cubicBezTo>
                  <a:pt x="1728" y="366"/>
                  <a:pt x="1728" y="366"/>
                  <a:pt x="1728" y="366"/>
                </a:cubicBezTo>
                <a:cubicBezTo>
                  <a:pt x="1728" y="386"/>
                  <a:pt x="1732" y="422"/>
                  <a:pt x="1734" y="428"/>
                </a:cubicBezTo>
                <a:cubicBezTo>
                  <a:pt x="1744" y="446"/>
                  <a:pt x="1788" y="454"/>
                  <a:pt x="1824" y="454"/>
                </a:cubicBezTo>
                <a:cubicBezTo>
                  <a:pt x="1888" y="454"/>
                  <a:pt x="1928" y="416"/>
                  <a:pt x="1928" y="372"/>
                </a:cubicBezTo>
                <a:cubicBezTo>
                  <a:pt x="1932" y="270"/>
                  <a:pt x="1776" y="286"/>
                  <a:pt x="1776" y="222"/>
                </a:cubicBezTo>
                <a:moveTo>
                  <a:pt x="2030" y="270"/>
                </a:moveTo>
                <a:cubicBezTo>
                  <a:pt x="2034" y="220"/>
                  <a:pt x="2058" y="192"/>
                  <a:pt x="2102" y="192"/>
                </a:cubicBezTo>
                <a:cubicBezTo>
                  <a:pt x="2144" y="192"/>
                  <a:pt x="2170" y="220"/>
                  <a:pt x="2172" y="270"/>
                </a:cubicBezTo>
                <a:lnTo>
                  <a:pt x="2030" y="270"/>
                </a:lnTo>
                <a:close/>
                <a:moveTo>
                  <a:pt x="2030" y="290"/>
                </a:moveTo>
                <a:cubicBezTo>
                  <a:pt x="2222" y="290"/>
                  <a:pt x="2222" y="290"/>
                  <a:pt x="2222" y="290"/>
                </a:cubicBezTo>
                <a:cubicBezTo>
                  <a:pt x="2226" y="228"/>
                  <a:pt x="2192" y="168"/>
                  <a:pt x="2114" y="168"/>
                </a:cubicBezTo>
                <a:cubicBezTo>
                  <a:pt x="2034" y="168"/>
                  <a:pt x="1982" y="232"/>
                  <a:pt x="1982" y="320"/>
                </a:cubicBezTo>
                <a:cubicBezTo>
                  <a:pt x="1982" y="388"/>
                  <a:pt x="2018" y="456"/>
                  <a:pt x="2112" y="456"/>
                </a:cubicBezTo>
                <a:cubicBezTo>
                  <a:pt x="2150" y="456"/>
                  <a:pt x="2198" y="440"/>
                  <a:pt x="2224" y="412"/>
                </a:cubicBezTo>
                <a:cubicBezTo>
                  <a:pt x="2218" y="400"/>
                  <a:pt x="2218" y="400"/>
                  <a:pt x="2218" y="400"/>
                </a:cubicBezTo>
                <a:cubicBezTo>
                  <a:pt x="2192" y="416"/>
                  <a:pt x="2164" y="422"/>
                  <a:pt x="2138" y="422"/>
                </a:cubicBezTo>
                <a:cubicBezTo>
                  <a:pt x="2058" y="420"/>
                  <a:pt x="2028" y="352"/>
                  <a:pt x="2030" y="290"/>
                </a:cubicBezTo>
                <a:moveTo>
                  <a:pt x="2478" y="242"/>
                </a:moveTo>
                <a:cubicBezTo>
                  <a:pt x="2490" y="206"/>
                  <a:pt x="2510" y="192"/>
                  <a:pt x="2528" y="192"/>
                </a:cubicBezTo>
                <a:cubicBezTo>
                  <a:pt x="2528" y="180"/>
                  <a:pt x="2528" y="180"/>
                  <a:pt x="2528" y="180"/>
                </a:cubicBezTo>
                <a:cubicBezTo>
                  <a:pt x="2430" y="180"/>
                  <a:pt x="2430" y="180"/>
                  <a:pt x="2430" y="180"/>
                </a:cubicBezTo>
                <a:cubicBezTo>
                  <a:pt x="2430" y="192"/>
                  <a:pt x="2430" y="192"/>
                  <a:pt x="2430" y="192"/>
                </a:cubicBezTo>
                <a:cubicBezTo>
                  <a:pt x="2454" y="194"/>
                  <a:pt x="2466" y="206"/>
                  <a:pt x="2458" y="234"/>
                </a:cubicBezTo>
                <a:cubicBezTo>
                  <a:pt x="2406" y="390"/>
                  <a:pt x="2406" y="390"/>
                  <a:pt x="2406" y="390"/>
                </a:cubicBezTo>
                <a:cubicBezTo>
                  <a:pt x="2354" y="270"/>
                  <a:pt x="2354" y="270"/>
                  <a:pt x="2354" y="270"/>
                </a:cubicBezTo>
                <a:cubicBezTo>
                  <a:pt x="2340" y="238"/>
                  <a:pt x="2334" y="224"/>
                  <a:pt x="2334" y="212"/>
                </a:cubicBezTo>
                <a:cubicBezTo>
                  <a:pt x="2334" y="202"/>
                  <a:pt x="2340" y="196"/>
                  <a:pt x="2360" y="192"/>
                </a:cubicBezTo>
                <a:cubicBezTo>
                  <a:pt x="2360" y="180"/>
                  <a:pt x="2360" y="180"/>
                  <a:pt x="2360" y="180"/>
                </a:cubicBezTo>
                <a:cubicBezTo>
                  <a:pt x="2234" y="180"/>
                  <a:pt x="2234" y="180"/>
                  <a:pt x="2234" y="180"/>
                </a:cubicBezTo>
                <a:cubicBezTo>
                  <a:pt x="2234" y="192"/>
                  <a:pt x="2234" y="192"/>
                  <a:pt x="2234" y="192"/>
                </a:cubicBezTo>
                <a:cubicBezTo>
                  <a:pt x="2266" y="194"/>
                  <a:pt x="2268" y="198"/>
                  <a:pt x="2310" y="292"/>
                </a:cubicBezTo>
                <a:cubicBezTo>
                  <a:pt x="2382" y="450"/>
                  <a:pt x="2382" y="450"/>
                  <a:pt x="2382" y="450"/>
                </a:cubicBezTo>
                <a:cubicBezTo>
                  <a:pt x="2358" y="512"/>
                  <a:pt x="2320" y="546"/>
                  <a:pt x="2242" y="564"/>
                </a:cubicBezTo>
                <a:cubicBezTo>
                  <a:pt x="2246" y="576"/>
                  <a:pt x="2260" y="600"/>
                  <a:pt x="2268" y="606"/>
                </a:cubicBezTo>
                <a:cubicBezTo>
                  <a:pt x="2370" y="564"/>
                  <a:pt x="2390" y="498"/>
                  <a:pt x="2426" y="396"/>
                </a:cubicBezTo>
                <a:lnTo>
                  <a:pt x="2478" y="242"/>
                </a:lnTo>
                <a:close/>
                <a:moveTo>
                  <a:pt x="2844" y="394"/>
                </a:moveTo>
                <a:cubicBezTo>
                  <a:pt x="2822" y="412"/>
                  <a:pt x="2782" y="416"/>
                  <a:pt x="2750" y="416"/>
                </a:cubicBezTo>
                <a:cubicBezTo>
                  <a:pt x="2670" y="416"/>
                  <a:pt x="2606" y="360"/>
                  <a:pt x="2606" y="284"/>
                </a:cubicBezTo>
                <a:cubicBezTo>
                  <a:pt x="2606" y="236"/>
                  <a:pt x="2626" y="206"/>
                  <a:pt x="2658" y="198"/>
                </a:cubicBezTo>
                <a:cubicBezTo>
                  <a:pt x="2698" y="266"/>
                  <a:pt x="2770" y="338"/>
                  <a:pt x="2844" y="394"/>
                </a:cubicBezTo>
                <a:moveTo>
                  <a:pt x="2928" y="448"/>
                </a:moveTo>
                <a:cubicBezTo>
                  <a:pt x="3022" y="448"/>
                  <a:pt x="3022" y="448"/>
                  <a:pt x="3022" y="448"/>
                </a:cubicBezTo>
                <a:cubicBezTo>
                  <a:pt x="3022" y="436"/>
                  <a:pt x="3022" y="436"/>
                  <a:pt x="3022" y="436"/>
                </a:cubicBezTo>
                <a:cubicBezTo>
                  <a:pt x="2992" y="432"/>
                  <a:pt x="2946" y="408"/>
                  <a:pt x="2896" y="372"/>
                </a:cubicBezTo>
                <a:cubicBezTo>
                  <a:pt x="2914" y="342"/>
                  <a:pt x="2918" y="300"/>
                  <a:pt x="2922" y="270"/>
                </a:cubicBezTo>
                <a:cubicBezTo>
                  <a:pt x="2926" y="244"/>
                  <a:pt x="2946" y="244"/>
                  <a:pt x="2958" y="242"/>
                </a:cubicBezTo>
                <a:cubicBezTo>
                  <a:pt x="2958" y="230"/>
                  <a:pt x="2958" y="230"/>
                  <a:pt x="2958" y="230"/>
                </a:cubicBezTo>
                <a:cubicBezTo>
                  <a:pt x="2834" y="230"/>
                  <a:pt x="2834" y="230"/>
                  <a:pt x="2834" y="230"/>
                </a:cubicBezTo>
                <a:cubicBezTo>
                  <a:pt x="2834" y="242"/>
                  <a:pt x="2834" y="242"/>
                  <a:pt x="2834" y="242"/>
                </a:cubicBezTo>
                <a:cubicBezTo>
                  <a:pt x="2864" y="246"/>
                  <a:pt x="2892" y="250"/>
                  <a:pt x="2892" y="294"/>
                </a:cubicBezTo>
                <a:cubicBezTo>
                  <a:pt x="2892" y="318"/>
                  <a:pt x="2888" y="342"/>
                  <a:pt x="2878" y="358"/>
                </a:cubicBezTo>
                <a:cubicBezTo>
                  <a:pt x="2770" y="274"/>
                  <a:pt x="2670" y="156"/>
                  <a:pt x="2670" y="96"/>
                </a:cubicBezTo>
                <a:cubicBezTo>
                  <a:pt x="2670" y="66"/>
                  <a:pt x="2688" y="54"/>
                  <a:pt x="2716" y="54"/>
                </a:cubicBezTo>
                <a:cubicBezTo>
                  <a:pt x="2752" y="54"/>
                  <a:pt x="2784" y="78"/>
                  <a:pt x="2800" y="124"/>
                </a:cubicBezTo>
                <a:cubicBezTo>
                  <a:pt x="2812" y="124"/>
                  <a:pt x="2812" y="124"/>
                  <a:pt x="2812" y="124"/>
                </a:cubicBezTo>
                <a:cubicBezTo>
                  <a:pt x="2810" y="42"/>
                  <a:pt x="2810" y="42"/>
                  <a:pt x="2810" y="42"/>
                </a:cubicBezTo>
                <a:cubicBezTo>
                  <a:pt x="2798" y="42"/>
                  <a:pt x="2798" y="42"/>
                  <a:pt x="2798" y="42"/>
                </a:cubicBezTo>
                <a:cubicBezTo>
                  <a:pt x="2798" y="48"/>
                  <a:pt x="2792" y="52"/>
                  <a:pt x="2788" y="52"/>
                </a:cubicBezTo>
                <a:cubicBezTo>
                  <a:pt x="2772" y="52"/>
                  <a:pt x="2752" y="36"/>
                  <a:pt x="2714" y="36"/>
                </a:cubicBezTo>
                <a:cubicBezTo>
                  <a:pt x="2672" y="36"/>
                  <a:pt x="2630" y="62"/>
                  <a:pt x="2630" y="118"/>
                </a:cubicBezTo>
                <a:cubicBezTo>
                  <a:pt x="2630" y="140"/>
                  <a:pt x="2636" y="160"/>
                  <a:pt x="2648" y="182"/>
                </a:cubicBezTo>
                <a:cubicBezTo>
                  <a:pt x="2592" y="200"/>
                  <a:pt x="2562" y="248"/>
                  <a:pt x="2562" y="304"/>
                </a:cubicBezTo>
                <a:cubicBezTo>
                  <a:pt x="2562" y="406"/>
                  <a:pt x="2640" y="460"/>
                  <a:pt x="2726" y="460"/>
                </a:cubicBezTo>
                <a:cubicBezTo>
                  <a:pt x="2780" y="460"/>
                  <a:pt x="2824" y="444"/>
                  <a:pt x="2862" y="410"/>
                </a:cubicBezTo>
                <a:cubicBezTo>
                  <a:pt x="2888" y="424"/>
                  <a:pt x="2912" y="442"/>
                  <a:pt x="2928" y="448"/>
                </a:cubicBezTo>
                <a:moveTo>
                  <a:pt x="3094" y="212"/>
                </a:moveTo>
                <a:cubicBezTo>
                  <a:pt x="3094" y="88"/>
                  <a:pt x="3154" y="20"/>
                  <a:pt x="3252" y="20"/>
                </a:cubicBezTo>
                <a:cubicBezTo>
                  <a:pt x="3328" y="20"/>
                  <a:pt x="3372" y="58"/>
                  <a:pt x="3392" y="134"/>
                </a:cubicBezTo>
                <a:cubicBezTo>
                  <a:pt x="3404" y="134"/>
                  <a:pt x="3404" y="134"/>
                  <a:pt x="3404" y="134"/>
                </a:cubicBezTo>
                <a:cubicBezTo>
                  <a:pt x="3400" y="4"/>
                  <a:pt x="3400" y="4"/>
                  <a:pt x="3400" y="4"/>
                </a:cubicBezTo>
                <a:cubicBezTo>
                  <a:pt x="3388" y="4"/>
                  <a:pt x="3388" y="4"/>
                  <a:pt x="3388" y="4"/>
                </a:cubicBezTo>
                <a:cubicBezTo>
                  <a:pt x="3384" y="14"/>
                  <a:pt x="3376" y="18"/>
                  <a:pt x="3364" y="18"/>
                </a:cubicBezTo>
                <a:cubicBezTo>
                  <a:pt x="3338" y="18"/>
                  <a:pt x="3314" y="0"/>
                  <a:pt x="3248" y="0"/>
                </a:cubicBezTo>
                <a:cubicBezTo>
                  <a:pt x="3118" y="0"/>
                  <a:pt x="3030" y="102"/>
                  <a:pt x="3030" y="242"/>
                </a:cubicBezTo>
                <a:cubicBezTo>
                  <a:pt x="3030" y="376"/>
                  <a:pt x="3110" y="460"/>
                  <a:pt x="3238" y="460"/>
                </a:cubicBezTo>
                <a:cubicBezTo>
                  <a:pt x="3320" y="460"/>
                  <a:pt x="3384" y="420"/>
                  <a:pt x="3408" y="380"/>
                </a:cubicBezTo>
                <a:cubicBezTo>
                  <a:pt x="3396" y="366"/>
                  <a:pt x="3396" y="366"/>
                  <a:pt x="3396" y="366"/>
                </a:cubicBezTo>
                <a:cubicBezTo>
                  <a:pt x="3370" y="402"/>
                  <a:pt x="3314" y="426"/>
                  <a:pt x="3256" y="426"/>
                </a:cubicBezTo>
                <a:cubicBezTo>
                  <a:pt x="3156" y="426"/>
                  <a:pt x="3094" y="340"/>
                  <a:pt x="3094" y="212"/>
                </a:cubicBezTo>
                <a:moveTo>
                  <a:pt x="3678" y="328"/>
                </a:moveTo>
                <a:cubicBezTo>
                  <a:pt x="3678" y="392"/>
                  <a:pt x="3650" y="430"/>
                  <a:pt x="3592" y="430"/>
                </a:cubicBezTo>
                <a:cubicBezTo>
                  <a:pt x="3542" y="430"/>
                  <a:pt x="3496" y="384"/>
                  <a:pt x="3496" y="292"/>
                </a:cubicBezTo>
                <a:cubicBezTo>
                  <a:pt x="3496" y="226"/>
                  <a:pt x="3528" y="190"/>
                  <a:pt x="3580" y="190"/>
                </a:cubicBezTo>
                <a:cubicBezTo>
                  <a:pt x="3628" y="192"/>
                  <a:pt x="3678" y="238"/>
                  <a:pt x="3678" y="328"/>
                </a:cubicBezTo>
                <a:moveTo>
                  <a:pt x="3732" y="312"/>
                </a:moveTo>
                <a:cubicBezTo>
                  <a:pt x="3732" y="260"/>
                  <a:pt x="3710" y="214"/>
                  <a:pt x="3672" y="190"/>
                </a:cubicBezTo>
                <a:cubicBezTo>
                  <a:pt x="3650" y="176"/>
                  <a:pt x="3620" y="168"/>
                  <a:pt x="3588" y="168"/>
                </a:cubicBezTo>
                <a:cubicBezTo>
                  <a:pt x="3502" y="168"/>
                  <a:pt x="3442" y="230"/>
                  <a:pt x="3442" y="310"/>
                </a:cubicBezTo>
                <a:cubicBezTo>
                  <a:pt x="3442" y="364"/>
                  <a:pt x="3464" y="408"/>
                  <a:pt x="3502" y="432"/>
                </a:cubicBezTo>
                <a:cubicBezTo>
                  <a:pt x="3524" y="446"/>
                  <a:pt x="3554" y="452"/>
                  <a:pt x="3586" y="452"/>
                </a:cubicBezTo>
                <a:cubicBezTo>
                  <a:pt x="3672" y="454"/>
                  <a:pt x="3732" y="394"/>
                  <a:pt x="3732" y="312"/>
                </a:cubicBezTo>
                <a:moveTo>
                  <a:pt x="4136" y="448"/>
                </a:moveTo>
                <a:cubicBezTo>
                  <a:pt x="4280" y="448"/>
                  <a:pt x="4280" y="448"/>
                  <a:pt x="4280" y="448"/>
                </a:cubicBezTo>
                <a:cubicBezTo>
                  <a:pt x="4280" y="436"/>
                  <a:pt x="4280" y="436"/>
                  <a:pt x="4280" y="436"/>
                </a:cubicBezTo>
                <a:cubicBezTo>
                  <a:pt x="4230" y="434"/>
                  <a:pt x="4232" y="426"/>
                  <a:pt x="4232" y="348"/>
                </a:cubicBezTo>
                <a:cubicBezTo>
                  <a:pt x="4232" y="276"/>
                  <a:pt x="4232" y="276"/>
                  <a:pt x="4232" y="276"/>
                </a:cubicBezTo>
                <a:cubicBezTo>
                  <a:pt x="4232" y="200"/>
                  <a:pt x="4190" y="172"/>
                  <a:pt x="4142" y="172"/>
                </a:cubicBezTo>
                <a:cubicBezTo>
                  <a:pt x="4098" y="172"/>
                  <a:pt x="4064" y="196"/>
                  <a:pt x="4038" y="232"/>
                </a:cubicBezTo>
                <a:cubicBezTo>
                  <a:pt x="4028" y="194"/>
                  <a:pt x="4000" y="172"/>
                  <a:pt x="3954" y="172"/>
                </a:cubicBezTo>
                <a:cubicBezTo>
                  <a:pt x="3916" y="172"/>
                  <a:pt x="3880" y="196"/>
                  <a:pt x="3858" y="224"/>
                </a:cubicBezTo>
                <a:cubicBezTo>
                  <a:pt x="3858" y="176"/>
                  <a:pt x="3858" y="176"/>
                  <a:pt x="3858" y="176"/>
                </a:cubicBezTo>
                <a:cubicBezTo>
                  <a:pt x="3756" y="176"/>
                  <a:pt x="3756" y="176"/>
                  <a:pt x="3756" y="176"/>
                </a:cubicBezTo>
                <a:cubicBezTo>
                  <a:pt x="3756" y="188"/>
                  <a:pt x="3756" y="188"/>
                  <a:pt x="3756" y="188"/>
                </a:cubicBezTo>
                <a:cubicBezTo>
                  <a:pt x="3800" y="190"/>
                  <a:pt x="3806" y="192"/>
                  <a:pt x="3806" y="268"/>
                </a:cubicBezTo>
                <a:cubicBezTo>
                  <a:pt x="3806" y="346"/>
                  <a:pt x="3806" y="346"/>
                  <a:pt x="3806" y="346"/>
                </a:cubicBezTo>
                <a:cubicBezTo>
                  <a:pt x="3806" y="434"/>
                  <a:pt x="3804" y="434"/>
                  <a:pt x="3758" y="434"/>
                </a:cubicBezTo>
                <a:cubicBezTo>
                  <a:pt x="3758" y="446"/>
                  <a:pt x="3758" y="446"/>
                  <a:pt x="3758" y="446"/>
                </a:cubicBezTo>
                <a:cubicBezTo>
                  <a:pt x="3902" y="446"/>
                  <a:pt x="3902" y="446"/>
                  <a:pt x="3902" y="446"/>
                </a:cubicBezTo>
                <a:cubicBezTo>
                  <a:pt x="3902" y="434"/>
                  <a:pt x="3902" y="434"/>
                  <a:pt x="3902" y="434"/>
                </a:cubicBezTo>
                <a:cubicBezTo>
                  <a:pt x="3862" y="430"/>
                  <a:pt x="3858" y="430"/>
                  <a:pt x="3858" y="342"/>
                </a:cubicBezTo>
                <a:cubicBezTo>
                  <a:pt x="3858" y="262"/>
                  <a:pt x="3858" y="262"/>
                  <a:pt x="3858" y="262"/>
                </a:cubicBezTo>
                <a:cubicBezTo>
                  <a:pt x="3858" y="234"/>
                  <a:pt x="3894" y="204"/>
                  <a:pt x="3932" y="204"/>
                </a:cubicBezTo>
                <a:cubicBezTo>
                  <a:pt x="3974" y="204"/>
                  <a:pt x="3990" y="226"/>
                  <a:pt x="3990" y="282"/>
                </a:cubicBezTo>
                <a:cubicBezTo>
                  <a:pt x="3990" y="338"/>
                  <a:pt x="3990" y="338"/>
                  <a:pt x="3990" y="338"/>
                </a:cubicBezTo>
                <a:cubicBezTo>
                  <a:pt x="3990" y="428"/>
                  <a:pt x="3988" y="432"/>
                  <a:pt x="3950" y="436"/>
                </a:cubicBezTo>
                <a:cubicBezTo>
                  <a:pt x="3950" y="448"/>
                  <a:pt x="3950" y="448"/>
                  <a:pt x="3950" y="448"/>
                </a:cubicBezTo>
                <a:cubicBezTo>
                  <a:pt x="4086" y="448"/>
                  <a:pt x="4086" y="448"/>
                  <a:pt x="4086" y="448"/>
                </a:cubicBezTo>
                <a:cubicBezTo>
                  <a:pt x="4086" y="436"/>
                  <a:pt x="4086" y="436"/>
                  <a:pt x="4086" y="436"/>
                </a:cubicBezTo>
                <a:cubicBezTo>
                  <a:pt x="4040" y="432"/>
                  <a:pt x="4042" y="428"/>
                  <a:pt x="4042" y="342"/>
                </a:cubicBezTo>
                <a:cubicBezTo>
                  <a:pt x="4042" y="264"/>
                  <a:pt x="4042" y="264"/>
                  <a:pt x="4042" y="264"/>
                </a:cubicBezTo>
                <a:cubicBezTo>
                  <a:pt x="4042" y="236"/>
                  <a:pt x="4078" y="206"/>
                  <a:pt x="4118" y="206"/>
                </a:cubicBezTo>
                <a:cubicBezTo>
                  <a:pt x="4152" y="206"/>
                  <a:pt x="4174" y="226"/>
                  <a:pt x="4174" y="284"/>
                </a:cubicBezTo>
                <a:cubicBezTo>
                  <a:pt x="4174" y="346"/>
                  <a:pt x="4174" y="346"/>
                  <a:pt x="4174" y="346"/>
                </a:cubicBezTo>
                <a:cubicBezTo>
                  <a:pt x="4174" y="428"/>
                  <a:pt x="4174" y="432"/>
                  <a:pt x="4134" y="436"/>
                </a:cubicBezTo>
                <a:cubicBezTo>
                  <a:pt x="4134" y="448"/>
                  <a:pt x="4134" y="448"/>
                  <a:pt x="4134" y="448"/>
                </a:cubicBezTo>
                <a:lnTo>
                  <a:pt x="4136" y="448"/>
                </a:lnTo>
                <a:close/>
                <a:moveTo>
                  <a:pt x="4546" y="316"/>
                </a:moveTo>
                <a:cubicBezTo>
                  <a:pt x="4546" y="388"/>
                  <a:pt x="4516" y="432"/>
                  <a:pt x="4460" y="432"/>
                </a:cubicBezTo>
                <a:cubicBezTo>
                  <a:pt x="4424" y="432"/>
                  <a:pt x="4384" y="412"/>
                  <a:pt x="4384" y="384"/>
                </a:cubicBezTo>
                <a:cubicBezTo>
                  <a:pt x="4384" y="248"/>
                  <a:pt x="4384" y="248"/>
                  <a:pt x="4384" y="248"/>
                </a:cubicBezTo>
                <a:cubicBezTo>
                  <a:pt x="4384" y="226"/>
                  <a:pt x="4416" y="202"/>
                  <a:pt x="4454" y="202"/>
                </a:cubicBezTo>
                <a:cubicBezTo>
                  <a:pt x="4510" y="206"/>
                  <a:pt x="4546" y="248"/>
                  <a:pt x="4546" y="316"/>
                </a:cubicBezTo>
                <a:moveTo>
                  <a:pt x="4600" y="310"/>
                </a:moveTo>
                <a:cubicBezTo>
                  <a:pt x="4600" y="230"/>
                  <a:pt x="4548" y="170"/>
                  <a:pt x="4478" y="170"/>
                </a:cubicBezTo>
                <a:cubicBezTo>
                  <a:pt x="4438" y="170"/>
                  <a:pt x="4406" y="188"/>
                  <a:pt x="4384" y="214"/>
                </a:cubicBezTo>
                <a:cubicBezTo>
                  <a:pt x="4384" y="174"/>
                  <a:pt x="4384" y="174"/>
                  <a:pt x="4384" y="174"/>
                </a:cubicBezTo>
                <a:cubicBezTo>
                  <a:pt x="4284" y="174"/>
                  <a:pt x="4284" y="174"/>
                  <a:pt x="4284" y="174"/>
                </a:cubicBezTo>
                <a:cubicBezTo>
                  <a:pt x="4284" y="186"/>
                  <a:pt x="4284" y="186"/>
                  <a:pt x="4284" y="186"/>
                </a:cubicBezTo>
                <a:cubicBezTo>
                  <a:pt x="4326" y="188"/>
                  <a:pt x="4332" y="190"/>
                  <a:pt x="4332" y="280"/>
                </a:cubicBezTo>
                <a:cubicBezTo>
                  <a:pt x="4332" y="466"/>
                  <a:pt x="4332" y="466"/>
                  <a:pt x="4332" y="466"/>
                </a:cubicBezTo>
                <a:cubicBezTo>
                  <a:pt x="4332" y="564"/>
                  <a:pt x="4334" y="570"/>
                  <a:pt x="4286" y="574"/>
                </a:cubicBezTo>
                <a:cubicBezTo>
                  <a:pt x="4286" y="588"/>
                  <a:pt x="4286" y="588"/>
                  <a:pt x="4286" y="588"/>
                </a:cubicBezTo>
                <a:cubicBezTo>
                  <a:pt x="4432" y="588"/>
                  <a:pt x="4432" y="588"/>
                  <a:pt x="4432" y="588"/>
                </a:cubicBezTo>
                <a:cubicBezTo>
                  <a:pt x="4432" y="574"/>
                  <a:pt x="4432" y="574"/>
                  <a:pt x="4432" y="574"/>
                </a:cubicBezTo>
                <a:cubicBezTo>
                  <a:pt x="4380" y="572"/>
                  <a:pt x="4384" y="564"/>
                  <a:pt x="4384" y="462"/>
                </a:cubicBezTo>
                <a:cubicBezTo>
                  <a:pt x="4384" y="424"/>
                  <a:pt x="4384" y="424"/>
                  <a:pt x="4384" y="424"/>
                </a:cubicBezTo>
                <a:cubicBezTo>
                  <a:pt x="4404" y="444"/>
                  <a:pt x="4436" y="454"/>
                  <a:pt x="4466" y="454"/>
                </a:cubicBezTo>
                <a:cubicBezTo>
                  <a:pt x="4548" y="454"/>
                  <a:pt x="4600" y="392"/>
                  <a:pt x="4600" y="310"/>
                </a:cubicBezTo>
                <a:moveTo>
                  <a:pt x="4792" y="382"/>
                </a:moveTo>
                <a:cubicBezTo>
                  <a:pt x="4792" y="404"/>
                  <a:pt x="4762" y="424"/>
                  <a:pt x="4736" y="424"/>
                </a:cubicBezTo>
                <a:cubicBezTo>
                  <a:pt x="4712" y="424"/>
                  <a:pt x="4694" y="410"/>
                  <a:pt x="4694" y="378"/>
                </a:cubicBezTo>
                <a:cubicBezTo>
                  <a:pt x="4694" y="322"/>
                  <a:pt x="4752" y="328"/>
                  <a:pt x="4792" y="306"/>
                </a:cubicBezTo>
                <a:cubicBezTo>
                  <a:pt x="4792" y="382"/>
                  <a:pt x="4792" y="382"/>
                  <a:pt x="4792" y="382"/>
                </a:cubicBezTo>
                <a:close/>
                <a:moveTo>
                  <a:pt x="5240" y="434"/>
                </a:moveTo>
                <a:cubicBezTo>
                  <a:pt x="5192" y="432"/>
                  <a:pt x="5192" y="430"/>
                  <a:pt x="5192" y="340"/>
                </a:cubicBezTo>
                <a:cubicBezTo>
                  <a:pt x="5192" y="278"/>
                  <a:pt x="5192" y="278"/>
                  <a:pt x="5192" y="278"/>
                </a:cubicBezTo>
                <a:cubicBezTo>
                  <a:pt x="5192" y="196"/>
                  <a:pt x="5146" y="170"/>
                  <a:pt x="5104" y="170"/>
                </a:cubicBezTo>
                <a:cubicBezTo>
                  <a:pt x="5068" y="170"/>
                  <a:pt x="5032" y="186"/>
                  <a:pt x="5004" y="222"/>
                </a:cubicBezTo>
                <a:cubicBezTo>
                  <a:pt x="5004" y="174"/>
                  <a:pt x="5004" y="174"/>
                  <a:pt x="5004" y="174"/>
                </a:cubicBezTo>
                <a:cubicBezTo>
                  <a:pt x="4902" y="174"/>
                  <a:pt x="4902" y="174"/>
                  <a:pt x="4902" y="174"/>
                </a:cubicBezTo>
                <a:cubicBezTo>
                  <a:pt x="4902" y="186"/>
                  <a:pt x="4902" y="186"/>
                  <a:pt x="4902" y="186"/>
                </a:cubicBezTo>
                <a:cubicBezTo>
                  <a:pt x="4946" y="188"/>
                  <a:pt x="4952" y="190"/>
                  <a:pt x="4952" y="266"/>
                </a:cubicBezTo>
                <a:cubicBezTo>
                  <a:pt x="4952" y="334"/>
                  <a:pt x="4952" y="334"/>
                  <a:pt x="4952" y="334"/>
                </a:cubicBezTo>
                <a:cubicBezTo>
                  <a:pt x="4952" y="430"/>
                  <a:pt x="4952" y="432"/>
                  <a:pt x="4904" y="434"/>
                </a:cubicBezTo>
                <a:cubicBezTo>
                  <a:pt x="4892" y="434"/>
                  <a:pt x="4892" y="434"/>
                  <a:pt x="4892" y="434"/>
                </a:cubicBezTo>
                <a:cubicBezTo>
                  <a:pt x="4854" y="434"/>
                  <a:pt x="4850" y="422"/>
                  <a:pt x="4850" y="366"/>
                </a:cubicBezTo>
                <a:cubicBezTo>
                  <a:pt x="4850" y="274"/>
                  <a:pt x="4850" y="274"/>
                  <a:pt x="4850" y="274"/>
                </a:cubicBezTo>
                <a:cubicBezTo>
                  <a:pt x="4850" y="256"/>
                  <a:pt x="4848" y="240"/>
                  <a:pt x="4844" y="228"/>
                </a:cubicBezTo>
                <a:cubicBezTo>
                  <a:pt x="4830" y="186"/>
                  <a:pt x="4796" y="170"/>
                  <a:pt x="4748" y="170"/>
                </a:cubicBezTo>
                <a:cubicBezTo>
                  <a:pt x="4718" y="170"/>
                  <a:pt x="4674" y="180"/>
                  <a:pt x="4650" y="202"/>
                </a:cubicBezTo>
                <a:cubicBezTo>
                  <a:pt x="4652" y="214"/>
                  <a:pt x="4664" y="240"/>
                  <a:pt x="4670" y="248"/>
                </a:cubicBezTo>
                <a:cubicBezTo>
                  <a:pt x="4676" y="246"/>
                  <a:pt x="4676" y="246"/>
                  <a:pt x="4676" y="246"/>
                </a:cubicBezTo>
                <a:cubicBezTo>
                  <a:pt x="4688" y="216"/>
                  <a:pt x="4708" y="194"/>
                  <a:pt x="4742" y="194"/>
                </a:cubicBezTo>
                <a:cubicBezTo>
                  <a:pt x="4778" y="194"/>
                  <a:pt x="4794" y="220"/>
                  <a:pt x="4794" y="250"/>
                </a:cubicBezTo>
                <a:cubicBezTo>
                  <a:pt x="4794" y="282"/>
                  <a:pt x="4794" y="282"/>
                  <a:pt x="4794" y="282"/>
                </a:cubicBezTo>
                <a:cubicBezTo>
                  <a:pt x="4794" y="302"/>
                  <a:pt x="4702" y="306"/>
                  <a:pt x="4664" y="338"/>
                </a:cubicBezTo>
                <a:cubicBezTo>
                  <a:pt x="4652" y="350"/>
                  <a:pt x="4642" y="364"/>
                  <a:pt x="4642" y="384"/>
                </a:cubicBezTo>
                <a:cubicBezTo>
                  <a:pt x="4642" y="426"/>
                  <a:pt x="4672" y="456"/>
                  <a:pt x="4716" y="456"/>
                </a:cubicBezTo>
                <a:cubicBezTo>
                  <a:pt x="4744" y="456"/>
                  <a:pt x="4768" y="446"/>
                  <a:pt x="4794" y="418"/>
                </a:cubicBezTo>
                <a:cubicBezTo>
                  <a:pt x="4798" y="438"/>
                  <a:pt x="4814" y="448"/>
                  <a:pt x="4842" y="448"/>
                </a:cubicBezTo>
                <a:cubicBezTo>
                  <a:pt x="4906" y="448"/>
                  <a:pt x="4906" y="448"/>
                  <a:pt x="4906" y="448"/>
                </a:cubicBezTo>
                <a:cubicBezTo>
                  <a:pt x="4906" y="448"/>
                  <a:pt x="4906" y="448"/>
                  <a:pt x="4906" y="448"/>
                </a:cubicBezTo>
                <a:cubicBezTo>
                  <a:pt x="5048" y="448"/>
                  <a:pt x="5048" y="448"/>
                  <a:pt x="5048" y="448"/>
                </a:cubicBezTo>
                <a:cubicBezTo>
                  <a:pt x="5048" y="436"/>
                  <a:pt x="5048" y="436"/>
                  <a:pt x="5048" y="436"/>
                </a:cubicBezTo>
                <a:cubicBezTo>
                  <a:pt x="5006" y="432"/>
                  <a:pt x="5004" y="434"/>
                  <a:pt x="5004" y="338"/>
                </a:cubicBezTo>
                <a:cubicBezTo>
                  <a:pt x="5004" y="262"/>
                  <a:pt x="5004" y="262"/>
                  <a:pt x="5004" y="262"/>
                </a:cubicBezTo>
                <a:cubicBezTo>
                  <a:pt x="5004" y="236"/>
                  <a:pt x="5038" y="206"/>
                  <a:pt x="5080" y="206"/>
                </a:cubicBezTo>
                <a:cubicBezTo>
                  <a:pt x="5114" y="206"/>
                  <a:pt x="5140" y="220"/>
                  <a:pt x="5140" y="286"/>
                </a:cubicBezTo>
                <a:cubicBezTo>
                  <a:pt x="5140" y="340"/>
                  <a:pt x="5140" y="340"/>
                  <a:pt x="5140" y="340"/>
                </a:cubicBezTo>
                <a:cubicBezTo>
                  <a:pt x="5140" y="432"/>
                  <a:pt x="5136" y="432"/>
                  <a:pt x="5098" y="434"/>
                </a:cubicBezTo>
                <a:cubicBezTo>
                  <a:pt x="5098" y="446"/>
                  <a:pt x="5098" y="446"/>
                  <a:pt x="5098" y="446"/>
                </a:cubicBezTo>
                <a:cubicBezTo>
                  <a:pt x="5240" y="446"/>
                  <a:pt x="5240" y="446"/>
                  <a:pt x="5240" y="446"/>
                </a:cubicBezTo>
                <a:lnTo>
                  <a:pt x="5240" y="434"/>
                </a:lnTo>
                <a:close/>
                <a:moveTo>
                  <a:pt x="5516" y="192"/>
                </a:moveTo>
                <a:cubicBezTo>
                  <a:pt x="5516" y="180"/>
                  <a:pt x="5516" y="180"/>
                  <a:pt x="5516" y="180"/>
                </a:cubicBezTo>
                <a:cubicBezTo>
                  <a:pt x="5418" y="180"/>
                  <a:pt x="5418" y="180"/>
                  <a:pt x="5418" y="180"/>
                </a:cubicBezTo>
                <a:cubicBezTo>
                  <a:pt x="5418" y="192"/>
                  <a:pt x="5418" y="192"/>
                  <a:pt x="5418" y="192"/>
                </a:cubicBezTo>
                <a:cubicBezTo>
                  <a:pt x="5442" y="194"/>
                  <a:pt x="5454" y="206"/>
                  <a:pt x="5446" y="234"/>
                </a:cubicBezTo>
                <a:cubicBezTo>
                  <a:pt x="5394" y="390"/>
                  <a:pt x="5394" y="390"/>
                  <a:pt x="5394" y="390"/>
                </a:cubicBezTo>
                <a:cubicBezTo>
                  <a:pt x="5342" y="270"/>
                  <a:pt x="5342" y="270"/>
                  <a:pt x="5342" y="270"/>
                </a:cubicBezTo>
                <a:cubicBezTo>
                  <a:pt x="5328" y="238"/>
                  <a:pt x="5322" y="224"/>
                  <a:pt x="5322" y="212"/>
                </a:cubicBezTo>
                <a:cubicBezTo>
                  <a:pt x="5322" y="202"/>
                  <a:pt x="5328" y="196"/>
                  <a:pt x="5348" y="192"/>
                </a:cubicBezTo>
                <a:cubicBezTo>
                  <a:pt x="5348" y="180"/>
                  <a:pt x="5348" y="180"/>
                  <a:pt x="5348" y="180"/>
                </a:cubicBezTo>
                <a:cubicBezTo>
                  <a:pt x="5220" y="180"/>
                  <a:pt x="5220" y="180"/>
                  <a:pt x="5220" y="180"/>
                </a:cubicBezTo>
                <a:cubicBezTo>
                  <a:pt x="5220" y="192"/>
                  <a:pt x="5220" y="192"/>
                  <a:pt x="5220" y="192"/>
                </a:cubicBezTo>
                <a:cubicBezTo>
                  <a:pt x="5252" y="194"/>
                  <a:pt x="5254" y="198"/>
                  <a:pt x="5296" y="292"/>
                </a:cubicBezTo>
                <a:cubicBezTo>
                  <a:pt x="5368" y="450"/>
                  <a:pt x="5368" y="450"/>
                  <a:pt x="5368" y="450"/>
                </a:cubicBezTo>
                <a:cubicBezTo>
                  <a:pt x="5344" y="512"/>
                  <a:pt x="5306" y="546"/>
                  <a:pt x="5228" y="564"/>
                </a:cubicBezTo>
                <a:cubicBezTo>
                  <a:pt x="5232" y="576"/>
                  <a:pt x="5246" y="600"/>
                  <a:pt x="5254" y="606"/>
                </a:cubicBezTo>
                <a:cubicBezTo>
                  <a:pt x="5356" y="564"/>
                  <a:pt x="5376" y="498"/>
                  <a:pt x="5412" y="396"/>
                </a:cubicBezTo>
                <a:cubicBezTo>
                  <a:pt x="5466" y="242"/>
                  <a:pt x="5466" y="242"/>
                  <a:pt x="5466" y="242"/>
                </a:cubicBezTo>
                <a:cubicBezTo>
                  <a:pt x="5478" y="206"/>
                  <a:pt x="5498" y="192"/>
                  <a:pt x="5516" y="192"/>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600" kern="1200">
                <a:solidFill>
                  <a:schemeClr val="tx1"/>
                </a:solidFill>
                <a:latin typeface="Arial" charset="0"/>
                <a:ea typeface="+mn-ea"/>
                <a:cs typeface="+mn-cs"/>
              </a:defRPr>
            </a:lvl1pPr>
            <a:lvl2pPr marL="457200" algn="l" rtl="0" fontAlgn="base">
              <a:spcBef>
                <a:spcPct val="0"/>
              </a:spcBef>
              <a:spcAft>
                <a:spcPct val="0"/>
              </a:spcAft>
              <a:defRPr sz="1600" kern="1200">
                <a:solidFill>
                  <a:schemeClr val="tx1"/>
                </a:solidFill>
                <a:latin typeface="Arial" charset="0"/>
                <a:ea typeface="+mn-ea"/>
                <a:cs typeface="+mn-cs"/>
              </a:defRPr>
            </a:lvl2pPr>
            <a:lvl3pPr marL="914400" algn="l" rtl="0" fontAlgn="base">
              <a:spcBef>
                <a:spcPct val="0"/>
              </a:spcBef>
              <a:spcAft>
                <a:spcPct val="0"/>
              </a:spcAft>
              <a:defRPr sz="1600" kern="1200">
                <a:solidFill>
                  <a:schemeClr val="tx1"/>
                </a:solidFill>
                <a:latin typeface="Arial" charset="0"/>
                <a:ea typeface="+mn-ea"/>
                <a:cs typeface="+mn-cs"/>
              </a:defRPr>
            </a:lvl3pPr>
            <a:lvl4pPr marL="1371600" algn="l" rtl="0" fontAlgn="base">
              <a:spcBef>
                <a:spcPct val="0"/>
              </a:spcBef>
              <a:spcAft>
                <a:spcPct val="0"/>
              </a:spcAft>
              <a:defRPr sz="1600" kern="1200">
                <a:solidFill>
                  <a:schemeClr val="tx1"/>
                </a:solidFill>
                <a:latin typeface="Arial" charset="0"/>
                <a:ea typeface="+mn-ea"/>
                <a:cs typeface="+mn-cs"/>
              </a:defRPr>
            </a:lvl4pPr>
            <a:lvl5pPr marL="1828800" algn="l" rtl="0" fontAlgn="base">
              <a:spcBef>
                <a:spcPct val="0"/>
              </a:spcBef>
              <a:spcAft>
                <a:spcPct val="0"/>
              </a:spcAft>
              <a:defRPr sz="1600" kern="1200">
                <a:solidFill>
                  <a:schemeClr val="tx1"/>
                </a:solidFill>
                <a:latin typeface="Arial" charset="0"/>
                <a:ea typeface="+mn-ea"/>
                <a:cs typeface="+mn-cs"/>
              </a:defRPr>
            </a:lvl5pPr>
            <a:lvl6pPr marL="2286000" algn="l" defTabSz="914400" rtl="0" eaLnBrk="1" latinLnBrk="0" hangingPunct="1">
              <a:defRPr sz="1600" kern="1200">
                <a:solidFill>
                  <a:schemeClr val="tx1"/>
                </a:solidFill>
                <a:latin typeface="Arial" charset="0"/>
                <a:ea typeface="+mn-ea"/>
                <a:cs typeface="+mn-cs"/>
              </a:defRPr>
            </a:lvl6pPr>
            <a:lvl7pPr marL="2743200" algn="l" defTabSz="914400" rtl="0" eaLnBrk="1" latinLnBrk="0" hangingPunct="1">
              <a:defRPr sz="1600" kern="1200">
                <a:solidFill>
                  <a:schemeClr val="tx1"/>
                </a:solidFill>
                <a:latin typeface="Arial" charset="0"/>
                <a:ea typeface="+mn-ea"/>
                <a:cs typeface="+mn-cs"/>
              </a:defRPr>
            </a:lvl7pPr>
            <a:lvl8pPr marL="3200400" algn="l" defTabSz="914400" rtl="0" eaLnBrk="1" latinLnBrk="0" hangingPunct="1">
              <a:defRPr sz="1600" kern="1200">
                <a:solidFill>
                  <a:schemeClr val="tx1"/>
                </a:solidFill>
                <a:latin typeface="Arial" charset="0"/>
                <a:ea typeface="+mn-ea"/>
                <a:cs typeface="+mn-cs"/>
              </a:defRPr>
            </a:lvl8pPr>
            <a:lvl9pPr marL="3657600" algn="l" defTabSz="914400" rtl="0" eaLnBrk="1" latinLnBrk="0" hangingPunct="1">
              <a:defRPr sz="1600" kern="1200">
                <a:solidFill>
                  <a:schemeClr val="tx1"/>
                </a:solidFill>
                <a:latin typeface="Arial" charset="0"/>
                <a:ea typeface="+mn-ea"/>
                <a:cs typeface="+mn-cs"/>
              </a:defRPr>
            </a:lvl9pPr>
          </a:lstStyle>
          <a:p>
            <a:endParaRPr lang="en-US" baseline="0" dirty="0">
              <a:solidFill>
                <a:srgbClr val="000000"/>
              </a:solidFill>
              <a:latin typeface="+mn-lt"/>
            </a:endParaRPr>
          </a:p>
        </p:txBody>
      </p:sp>
      <p:sp>
        <p:nvSpPr>
          <p:cNvPr id="27" name="Disclaimer-English (United States)" hidden="1"/>
          <p:cNvSpPr>
            <a:spLocks noChangeArrowheads="1"/>
          </p:cNvSpPr>
          <p:nvPr/>
        </p:nvSpPr>
        <p:spPr bwMode="black">
          <a:xfrm>
            <a:off x="2268266" y="6287785"/>
            <a:ext cx="3544453" cy="36908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t" anchorCtr="0">
            <a:noAutofit/>
          </a:bodyPr>
          <a:lstStyle/>
          <a:p>
            <a:pPr defTabSz="804863" eaLnBrk="0" hangingPunct="0"/>
            <a:r>
              <a:rPr lang="en-US" sz="800" baseline="0" dirty="0">
                <a:solidFill>
                  <a:srgbClr val="FFFFFF"/>
                </a:solidFill>
                <a:latin typeface="+mn-lt"/>
              </a:rPr>
              <a:t>CONFIDENTIAL AND PROPRIETARY</a:t>
            </a:r>
          </a:p>
          <a:p>
            <a:pPr defTabSz="804863" eaLnBrk="0" hangingPunct="0"/>
            <a:r>
              <a:rPr lang="en-US" sz="800" baseline="0" dirty="0">
                <a:solidFill>
                  <a:srgbClr val="FFFFFF"/>
                </a:solidFill>
                <a:latin typeface="+mn-lt"/>
              </a:rPr>
              <a:t>Any use of this material without specific permission of McKinsey &amp; Company is strictly prohibited</a:t>
            </a:r>
          </a:p>
        </p:txBody>
      </p:sp>
    </p:spTree>
    <p:extLst>
      <p:ext uri="{BB962C8B-B14F-4D97-AF65-F5344CB8AC3E}">
        <p14:creationId xmlns:p14="http://schemas.microsoft.com/office/powerpoint/2010/main" val="1959574354"/>
      </p:ext>
    </p:extLst>
  </p:cSld>
  <p:clrMapOvr>
    <a:masterClrMapping/>
  </p:clrMapOvr>
  <p:extLst mod="1">
    <p:ext uri="{DCECCB84-F9BA-43D5-87BE-67443E8EF086}">
      <p15:sldGuideLst xmlns:p15="http://schemas.microsoft.com/office/powerpoint/2012/main">
        <p15:guide id="1" orient="horz" pos="2117">
          <p15:clr>
            <a:srgbClr val="FBAE40"/>
          </p15:clr>
        </p15:guide>
        <p15:guide id="2" pos="1416">
          <p15:clr>
            <a:srgbClr val="FBAE40"/>
          </p15:clr>
        </p15:guide>
      </p15:sldGuideLst>
    </p:ext>
  </p:extLst>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6E228F5-5CF1-42E1-9748-97D7582A107A}"/>
              </a:ext>
            </a:extLst>
          </p:cNvPr>
          <p:cNvGraphicFramePr>
            <a:graphicFrameLocks noChangeAspect="1"/>
          </p:cNvGraphicFramePr>
          <p:nvPr>
            <p:custDataLst>
              <p:tags r:id="rId2"/>
            </p:custDataLst>
            <p:extLst>
              <p:ext uri="{D42A27DB-BD31-4B8C-83A1-F6EECF244321}">
                <p14:modId xmlns:p14="http://schemas.microsoft.com/office/powerpoint/2010/main" val="261793865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62164" name="think-cell Slide" r:id="rId5" imgW="353" imgH="353" progId="TCLayout.ActiveDocument.1">
                  <p:embed/>
                </p:oleObj>
              </mc:Choice>
              <mc:Fallback>
                <p:oleObj name="think-cell Slide" r:id="rId5" imgW="353" imgH="353" progId="TCLayout.ActiveDocument.1">
                  <p:embed/>
                  <p:pic>
                    <p:nvPicPr>
                      <p:cNvPr id="3" name="Object 2" hidden="1">
                        <a:extLst>
                          <a:ext uri="{FF2B5EF4-FFF2-40B4-BE49-F238E27FC236}">
                            <a16:creationId xmlns:a16="http://schemas.microsoft.com/office/drawing/2014/main" id="{C6E228F5-5CF1-42E1-9748-97D7582A107A}"/>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2. Slide Title"/>
          <p:cNvSpPr>
            <a:spLocks noGrp="1"/>
          </p:cNvSpPr>
          <p:nvPr>
            <p:ph type="title"/>
          </p:nvPr>
        </p:nvSpPr>
        <p:spPr bwMode="auto"/>
        <p:txBody>
          <a:bodyPr/>
          <a:lstStyle/>
          <a:p>
            <a:r>
              <a:rPr lang="en-US"/>
              <a:t>Click to edit Master title style</a:t>
            </a:r>
            <a:endParaRPr lang="en-US" dirty="0"/>
          </a:p>
        </p:txBody>
      </p:sp>
      <p:sp>
        <p:nvSpPr>
          <p:cNvPr id="8" name="Slide Number"/>
          <p:cNvSpPr txBox="1">
            <a:spLocks/>
          </p:cNvSpPr>
          <p:nvPr/>
        </p:nvSpPr>
        <p:spPr bwMode="auto">
          <a:xfrm>
            <a:off x="8564563" y="6508272"/>
            <a:ext cx="125034" cy="123111"/>
          </a:xfrm>
          <a:prstGeom prst="rect">
            <a:avLst/>
          </a:prstGeom>
        </p:spPr>
        <p:txBody>
          <a:bodyPr vert="horz" wrap="none" lIns="0" tIns="0" rIns="0" bIns="0" rtlCol="0" anchor="ctr">
            <a:spAutoFit/>
          </a:bodyPr>
          <a:lstStyle>
            <a:defPPr>
              <a:defRPr lang="en-US"/>
            </a:defPPr>
            <a:lvl1pPr>
              <a:defRPr sz="1000" baseline="0">
                <a:latin typeface="+mn-lt"/>
              </a:defRPr>
            </a:lvl1pPr>
          </a:lstStyle>
          <a:p>
            <a:fld id="{42C328C1-A84F-4A39-A664-DBA00541A8C6}" type="slidenum">
              <a:rPr lang="en-US" sz="800" baseline="0" smtClean="0">
                <a:solidFill>
                  <a:srgbClr val="808080"/>
                </a:solidFill>
                <a:latin typeface="+mn-lt"/>
              </a:rPr>
              <a:pPr/>
              <a:t>‹#›</a:t>
            </a:fld>
            <a:endParaRPr lang="en-US" sz="800" baseline="0" dirty="0">
              <a:solidFill>
                <a:srgbClr val="808080"/>
              </a:solidFill>
              <a:latin typeface="+mn-lt"/>
            </a:endParaRPr>
          </a:p>
        </p:txBody>
      </p:sp>
      <p:sp>
        <p:nvSpPr>
          <p:cNvPr id="9" name="SlideLogoText"/>
          <p:cNvSpPr>
            <a:spLocks noChangeArrowheads="1"/>
          </p:cNvSpPr>
          <p:nvPr>
            <p:custDataLst>
              <p:tags r:id="rId3"/>
            </p:custDataLst>
          </p:nvPr>
        </p:nvSpPr>
        <p:spPr bwMode="auto">
          <a:xfrm>
            <a:off x="7450817" y="6508272"/>
            <a:ext cx="1013098"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algn="r" defTabSz="895350"/>
            <a:r>
              <a:rPr lang="en-US" sz="800" baseline="0" dirty="0">
                <a:solidFill>
                  <a:srgbClr val="808080"/>
                </a:solidFill>
                <a:latin typeface="+mn-lt"/>
              </a:rPr>
              <a:t>McKinsey &amp; Company</a:t>
            </a:r>
          </a:p>
        </p:txBody>
      </p:sp>
      <p:sp>
        <p:nvSpPr>
          <p:cNvPr id="5" name="doc id" hidden="1"/>
          <p:cNvSpPr txBox="1">
            <a:spLocks noChangeArrowheads="1"/>
          </p:cNvSpPr>
          <p:nvPr/>
        </p:nvSpPr>
        <p:spPr bwMode="white">
          <a:xfrm>
            <a:off x="8104473" y="36513"/>
            <a:ext cx="634716" cy="115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hangingPunct="1">
              <a:defRPr/>
            </a:pPr>
            <a:endParaRPr lang="en-US" sz="800" baseline="0" dirty="0">
              <a:solidFill>
                <a:schemeClr val="accent1"/>
              </a:solidFill>
              <a:latin typeface="+mn-lt"/>
              <a:ea typeface="+mn-ea"/>
            </a:endParaRPr>
          </a:p>
        </p:txBody>
      </p:sp>
    </p:spTree>
    <p:extLst>
      <p:ext uri="{BB962C8B-B14F-4D97-AF65-F5344CB8AC3E}">
        <p14:creationId xmlns:p14="http://schemas.microsoft.com/office/powerpoint/2010/main" val="2936103204"/>
      </p:ext>
    </p:extLst>
  </p:cSld>
  <p:clrMapOvr>
    <a:masterClrMapping/>
  </p:clrMapOvr>
  <p:extLst mod="1">
    <p:ext uri="{DCECCB84-F9BA-43D5-87BE-67443E8EF086}">
      <p15:sldGuideLst xmlns:p15="http://schemas.microsoft.com/office/powerpoint/2012/main">
        <p15:guide id="1" pos="5505">
          <p15:clr>
            <a:srgbClr val="F26B43"/>
          </p15:clr>
        </p15:guide>
        <p15:guide id="2" pos="74">
          <p15:clr>
            <a:srgbClr val="F26B43"/>
          </p15:clr>
        </p15:guide>
        <p15:guide id="3" orient="horz" pos="571">
          <p15:clr>
            <a:srgbClr val="F26B43"/>
          </p15:clr>
        </p15:guide>
        <p15:guide id="4" orient="horz" pos="3911">
          <p15:clr>
            <a:srgbClr val="F26B43"/>
          </p15:clr>
        </p15:guide>
      </p15:sldGuideLst>
    </p:ext>
  </p:extLst>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p:cSld name="1_Title Only">
    <p:bg>
      <p:bgPr>
        <a:solidFill>
          <a:schemeClr val="accent2"/>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F4AD34F-3B47-47E2-A09C-FFEB949F6A10}"/>
              </a:ext>
            </a:extLst>
          </p:cNvPr>
          <p:cNvGraphicFramePr>
            <a:graphicFrameLocks noChangeAspect="1"/>
          </p:cNvGraphicFramePr>
          <p:nvPr>
            <p:custDataLst>
              <p:tags r:id="rId2"/>
            </p:custDataLst>
            <p:extLst>
              <p:ext uri="{D42A27DB-BD31-4B8C-83A1-F6EECF244321}">
                <p14:modId xmlns:p14="http://schemas.microsoft.com/office/powerpoint/2010/main" val="9397961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63188" name="think-cell Slide" r:id="rId5" imgW="395" imgH="394" progId="TCLayout.ActiveDocument.1">
                  <p:embed/>
                </p:oleObj>
              </mc:Choice>
              <mc:Fallback>
                <p:oleObj name="think-cell Slide" r:id="rId5" imgW="395" imgH="394" progId="TCLayout.ActiveDocument.1">
                  <p:embed/>
                  <p:pic>
                    <p:nvPicPr>
                      <p:cNvPr id="3" name="Object 2" hidden="1">
                        <a:extLst>
                          <a:ext uri="{FF2B5EF4-FFF2-40B4-BE49-F238E27FC236}">
                            <a16:creationId xmlns:a16="http://schemas.microsoft.com/office/drawing/2014/main" id="{EF4AD34F-3B47-47E2-A09C-FFEB949F6A10}"/>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endParaRPr lang="en-US" dirty="0"/>
          </a:p>
        </p:txBody>
      </p:sp>
      <p:sp>
        <p:nvSpPr>
          <p:cNvPr id="15" name="Slide Number"/>
          <p:cNvSpPr txBox="1">
            <a:spLocks/>
          </p:cNvSpPr>
          <p:nvPr/>
        </p:nvSpPr>
        <p:spPr>
          <a:xfrm>
            <a:off x="8564563" y="6508272"/>
            <a:ext cx="125034" cy="123111"/>
          </a:xfrm>
          <a:prstGeom prst="rect">
            <a:avLst/>
          </a:prstGeom>
        </p:spPr>
        <p:txBody>
          <a:bodyPr vert="horz" wrap="none" lIns="0" tIns="0" rIns="0" bIns="0" rtlCol="0" anchor="ctr">
            <a:spAutoFit/>
          </a:bodyPr>
          <a:lstStyle>
            <a:defPPr>
              <a:defRPr lang="en-US"/>
            </a:defPPr>
            <a:lvl1pPr>
              <a:defRPr sz="1000" baseline="0">
                <a:latin typeface="+mn-lt"/>
              </a:defRPr>
            </a:lvl1pPr>
          </a:lstStyle>
          <a:p>
            <a:fld id="{42C328C1-A84F-4A39-A664-DBA00541A8C6}" type="slidenum">
              <a:rPr lang="en-US" sz="800" baseline="0" smtClean="0">
                <a:solidFill>
                  <a:srgbClr val="FFFFFF"/>
                </a:solidFill>
                <a:latin typeface="+mn-lt"/>
              </a:rPr>
              <a:pPr/>
              <a:t>‹#›</a:t>
            </a:fld>
            <a:endParaRPr lang="en-US" sz="800" baseline="0" dirty="0">
              <a:solidFill>
                <a:srgbClr val="FFFFFF"/>
              </a:solidFill>
              <a:latin typeface="+mn-lt"/>
            </a:endParaRPr>
          </a:p>
        </p:txBody>
      </p:sp>
      <p:sp>
        <p:nvSpPr>
          <p:cNvPr id="16" name="SlideLogoText"/>
          <p:cNvSpPr>
            <a:spLocks noChangeArrowheads="1"/>
          </p:cNvSpPr>
          <p:nvPr>
            <p:custDataLst>
              <p:tags r:id="rId3"/>
            </p:custDataLst>
          </p:nvPr>
        </p:nvSpPr>
        <p:spPr bwMode="auto">
          <a:xfrm>
            <a:off x="7450817" y="6508272"/>
            <a:ext cx="1013098"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algn="r" defTabSz="895350"/>
            <a:r>
              <a:rPr lang="en-US" sz="800" baseline="0" dirty="0">
                <a:solidFill>
                  <a:srgbClr val="FFFFFF"/>
                </a:solidFill>
                <a:latin typeface="+mn-lt"/>
              </a:rPr>
              <a:t>McKinsey &amp; Company</a:t>
            </a:r>
          </a:p>
        </p:txBody>
      </p:sp>
      <p:sp>
        <p:nvSpPr>
          <p:cNvPr id="5" name="doc id" hidden="1"/>
          <p:cNvSpPr txBox="1">
            <a:spLocks noChangeArrowheads="1"/>
          </p:cNvSpPr>
          <p:nvPr/>
        </p:nvSpPr>
        <p:spPr bwMode="white">
          <a:xfrm>
            <a:off x="8104473" y="36513"/>
            <a:ext cx="634716" cy="115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hangingPunct="1">
              <a:defRPr/>
            </a:pPr>
            <a:endParaRPr lang="en-US" sz="800" baseline="0" dirty="0">
              <a:solidFill>
                <a:schemeClr val="accent1"/>
              </a:solidFill>
              <a:latin typeface="+mn-lt"/>
              <a:ea typeface="+mn-ea"/>
            </a:endParaRPr>
          </a:p>
        </p:txBody>
      </p:sp>
    </p:spTree>
    <p:extLst>
      <p:ext uri="{BB962C8B-B14F-4D97-AF65-F5344CB8AC3E}">
        <p14:creationId xmlns:p14="http://schemas.microsoft.com/office/powerpoint/2010/main" val="887214592"/>
      </p:ext>
    </p:extLst>
  </p:cSld>
  <p:clrMapOvr>
    <a:masterClrMapping/>
  </p:clrMapOvr>
  <p:extLst mod="1">
    <p:ext uri="{DCECCB84-F9BA-43D5-87BE-67443E8EF086}">
      <p15:sldGuideLst xmlns:p15="http://schemas.microsoft.com/office/powerpoint/2012/main">
        <p15:guide id="1" pos="3978">
          <p15:clr>
            <a:srgbClr val="000000"/>
          </p15:clr>
        </p15:guide>
        <p15:guide id="2" orient="horz" pos="570">
          <p15:clr>
            <a:srgbClr val="000000"/>
          </p15:clr>
        </p15:guide>
        <p15:guide id="3" orient="horz" pos="3912">
          <p15:clr>
            <a:srgbClr val="000000"/>
          </p15:clr>
        </p15:guide>
        <p15:guide id="4" pos="72">
          <p15:clr>
            <a:srgbClr val="000000"/>
          </p15:clr>
        </p15:guide>
      </p15:sldGuideLst>
    </p:ext>
  </p:extLst>
</p:sldLayout>
</file>

<file path=ppt/slideLayouts/slideLayout206.xml><?xml version="1.0" encoding="utf-8"?>
<p:sldLayout xmlns:a="http://schemas.openxmlformats.org/drawingml/2006/main" xmlns:r="http://schemas.openxmlformats.org/officeDocument/2006/relationships" xmlns:p="http://schemas.openxmlformats.org/presentationml/2006/main" type="titleOnly">
  <p:cSld name="2_Title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ECD524A-1569-4253-8CD8-48D288AD883C}"/>
              </a:ext>
            </a:extLst>
          </p:cNvPr>
          <p:cNvGraphicFramePr>
            <a:graphicFrameLocks noChangeAspect="1"/>
          </p:cNvGraphicFramePr>
          <p:nvPr>
            <p:custDataLst>
              <p:tags r:id="rId2"/>
            </p:custDataLst>
            <p:extLst>
              <p:ext uri="{D42A27DB-BD31-4B8C-83A1-F6EECF244321}">
                <p14:modId xmlns:p14="http://schemas.microsoft.com/office/powerpoint/2010/main" val="35997953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64212" name="think-cell Slide" r:id="rId4" imgW="395" imgH="394" progId="TCLayout.ActiveDocument.1">
                  <p:embed/>
                </p:oleObj>
              </mc:Choice>
              <mc:Fallback>
                <p:oleObj name="think-cell Slide" r:id="rId4" imgW="395" imgH="394" progId="TCLayout.ActiveDocument.1">
                  <p:embed/>
                  <p:pic>
                    <p:nvPicPr>
                      <p:cNvPr id="3" name="Object 2" hidden="1">
                        <a:extLst>
                          <a:ext uri="{FF2B5EF4-FFF2-40B4-BE49-F238E27FC236}">
                            <a16:creationId xmlns:a16="http://schemas.microsoft.com/office/drawing/2014/main" id="{5ECD524A-1569-4253-8CD8-48D288AD883C}"/>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6826781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pic>
        <p:nvPicPr>
          <p:cNvPr id="2" name="background"/>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0" y="198"/>
            <a:ext cx="8961438" cy="6721079"/>
          </a:xfrm>
          <a:prstGeom prst="rect">
            <a:avLst/>
          </a:prstGeom>
        </p:spPr>
      </p:pic>
      <p:sp>
        <p:nvSpPr>
          <p:cNvPr id="28" name="TitleRectangle"/>
          <p:cNvSpPr txBox="1">
            <a:spLocks/>
          </p:cNvSpPr>
          <p:nvPr/>
        </p:nvSpPr>
        <p:spPr>
          <a:xfrm>
            <a:off x="2084388" y="0"/>
            <a:ext cx="6875462" cy="3575976"/>
          </a:xfrm>
          <a:prstGeom prst="rect">
            <a:avLst/>
          </a:prstGeom>
          <a:solidFill>
            <a:srgbClr val="002960">
              <a:alpha val="92000"/>
            </a:srgbClr>
          </a:solidFill>
        </p:spPr>
        <p:txBody>
          <a:bodyPr vert="horz" wrap="square" lIns="216000" tIns="1440000" rIns="216000" bIns="108000" rtlCol="0">
            <a:noAutofit/>
          </a:bodyPr>
          <a:lstStyle>
            <a:lvl1pPr marL="0" indent="0" algn="l" defTabSz="914400" rtl="0" eaLnBrk="1" latinLnBrk="0" hangingPunct="1">
              <a:spcBef>
                <a:spcPct val="20000"/>
              </a:spcBef>
              <a:spcAft>
                <a:spcPts val="6000"/>
              </a:spcAft>
              <a:buFont typeface="Arial" pitchFamily="34" charset="0"/>
              <a:buNone/>
              <a:defRPr sz="3200" kern="1200">
                <a:solidFill>
                  <a:schemeClr val="accent1"/>
                </a:solidFill>
                <a:latin typeface="+mn-lt"/>
                <a:ea typeface="+mn-ea"/>
                <a:cs typeface="+mn-cs"/>
              </a:defRPr>
            </a:lvl1pPr>
            <a:lvl2pPr marL="0" indent="0" algn="l" defTabSz="914400" rtl="0" eaLnBrk="1" latinLnBrk="0" hangingPunct="1">
              <a:spcBef>
                <a:spcPct val="20000"/>
              </a:spcBef>
              <a:buFont typeface="Wingdings" charset="2"/>
              <a:buNone/>
              <a:defRPr sz="1400" kern="1200">
                <a:solidFill>
                  <a:schemeClr val="tx1">
                    <a:lumMod val="50000"/>
                    <a:lumOff val="50000"/>
                  </a:schemeClr>
                </a:solidFill>
                <a:latin typeface="+mn-lt"/>
                <a:ea typeface="+mn-ea"/>
                <a:cs typeface="+mn-cs"/>
              </a:defRPr>
            </a:lvl2pPr>
            <a:lvl3pPr marL="1143000" indent="-228600" algn="l" defTabSz="914400" rtl="0" eaLnBrk="1" latinLnBrk="0" hangingPunct="1">
              <a:spcBef>
                <a:spcPct val="20000"/>
              </a:spcBef>
              <a:buFont typeface="Lucida Grande"/>
              <a:buChar char="–"/>
              <a:defRPr sz="16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fontAlgn="auto">
              <a:defRPr/>
            </a:pPr>
            <a:r>
              <a:rPr lang="en-US" baseline="0" dirty="0">
                <a:solidFill>
                  <a:srgbClr val="00ADEF"/>
                </a:solidFill>
                <a:latin typeface="+mn-lt"/>
              </a:rPr>
              <a:t>
              </a:t>
            </a:r>
            <a:br>
              <a:rPr lang="en-US" baseline="0" dirty="0">
                <a:solidFill>
                  <a:srgbClr val="00ADEF"/>
                </a:solidFill>
                <a:latin typeface="+mn-lt"/>
              </a:rPr>
            </a:br>
            <a:endParaRPr lang="en-US" baseline="0" dirty="0">
              <a:solidFill>
                <a:srgbClr val="00ADEF"/>
              </a:solidFill>
              <a:latin typeface="+mn-lt"/>
            </a:endParaRPr>
          </a:p>
        </p:txBody>
      </p:sp>
      <p:graphicFrame>
        <p:nvGraphicFramePr>
          <p:cNvPr id="3" name="Object 2"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7668"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Working Draft Text" hidden="1"/>
          <p:cNvSpPr txBox="1">
            <a:spLocks noChangeArrowheads="1"/>
          </p:cNvSpPr>
          <p:nvPr/>
        </p:nvSpPr>
        <p:spPr bwMode="black">
          <a:xfrm>
            <a:off x="5992719" y="6287538"/>
            <a:ext cx="2790000"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800" b="1" baseline="0" dirty="0">
                <a:solidFill>
                  <a:srgbClr val="FFFFFF"/>
                </a:solidFill>
                <a:latin typeface="+mn-lt"/>
              </a:rPr>
              <a:t>WORKING DRAFT</a:t>
            </a:r>
          </a:p>
        </p:txBody>
      </p:sp>
      <p:sp>
        <p:nvSpPr>
          <p:cNvPr id="6" name="Working Draft" hidden="1"/>
          <p:cNvSpPr txBox="1">
            <a:spLocks noChangeArrowheads="1"/>
          </p:cNvSpPr>
          <p:nvPr/>
        </p:nvSpPr>
        <p:spPr bwMode="black">
          <a:xfrm>
            <a:off x="5992718" y="6410648"/>
            <a:ext cx="2968719"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800" baseline="0">
                <a:solidFill>
                  <a:srgbClr val="FFFFFF"/>
                </a:solidFill>
                <a:latin typeface="+mn-lt"/>
              </a:rPr>
              <a:t>Last Modified 21/05/2018 17:44 India Standard Time</a:t>
            </a:r>
            <a:endParaRPr lang="en-US" sz="800" baseline="0" dirty="0">
              <a:solidFill>
                <a:srgbClr val="FFFFFF"/>
              </a:solidFill>
              <a:latin typeface="+mn-lt"/>
            </a:endParaRPr>
          </a:p>
        </p:txBody>
      </p:sp>
      <p:sp>
        <p:nvSpPr>
          <p:cNvPr id="7" name="Printed" hidden="1"/>
          <p:cNvSpPr txBox="1">
            <a:spLocks noChangeArrowheads="1"/>
          </p:cNvSpPr>
          <p:nvPr/>
        </p:nvSpPr>
        <p:spPr bwMode="black">
          <a:xfrm>
            <a:off x="5992719" y="6533759"/>
            <a:ext cx="2790000"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800" baseline="0" dirty="0">
                <a:solidFill>
                  <a:srgbClr val="FFFFFF"/>
                </a:solidFill>
                <a:latin typeface="+mn-lt"/>
              </a:rPr>
              <a:t>Printed</a:t>
            </a:r>
          </a:p>
        </p:txBody>
      </p:sp>
      <p:sp>
        <p:nvSpPr>
          <p:cNvPr id="13314" name="Title"/>
          <p:cNvSpPr>
            <a:spLocks noGrp="1" noChangeArrowheads="1"/>
          </p:cNvSpPr>
          <p:nvPr>
            <p:ph type="ctrTitle"/>
          </p:nvPr>
        </p:nvSpPr>
        <p:spPr>
          <a:xfrm>
            <a:off x="2268266" y="1434419"/>
            <a:ext cx="6231663" cy="492443"/>
          </a:xfrm>
          <a:prstGeom prst="rect">
            <a:avLst/>
          </a:prstGeom>
        </p:spPr>
        <p:txBody>
          <a:bodyPr>
            <a:spAutoFit/>
          </a:bodyPr>
          <a:lstStyle>
            <a:lvl1pPr>
              <a:defRPr sz="3200" b="0" baseline="0">
                <a:solidFill>
                  <a:schemeClr val="accent2"/>
                </a:solidFill>
                <a:latin typeface="+mj-lt"/>
                <a:ea typeface="+mj-ea"/>
              </a:defRPr>
            </a:lvl1pPr>
          </a:lstStyle>
          <a:p>
            <a:pPr lvl="0" latinLnBrk="0"/>
            <a:r>
              <a:rPr lang="en-US" noProof="0"/>
              <a:t>Click to edit Master title style</a:t>
            </a:r>
            <a:endParaRPr lang="en-US" noProof="0" dirty="0"/>
          </a:p>
        </p:txBody>
      </p:sp>
      <p:sp>
        <p:nvSpPr>
          <p:cNvPr id="13315" name="Subtitle"/>
          <p:cNvSpPr>
            <a:spLocks noGrp="1" noChangeArrowheads="1"/>
          </p:cNvSpPr>
          <p:nvPr>
            <p:ph type="subTitle" idx="1"/>
          </p:nvPr>
        </p:nvSpPr>
        <p:spPr>
          <a:xfrm>
            <a:off x="2268266" y="2819401"/>
            <a:ext cx="6231663" cy="215444"/>
          </a:xfrm>
          <a:prstGeom prst="rect">
            <a:avLst/>
          </a:prstGeom>
        </p:spPr>
        <p:txBody>
          <a:bodyPr wrap="square">
            <a:spAutoFit/>
          </a:bodyPr>
          <a:lstStyle>
            <a:lvl1pPr>
              <a:defRPr sz="1400" cap="all" baseline="0">
                <a:solidFill>
                  <a:schemeClr val="bg1"/>
                </a:solidFill>
                <a:latin typeface="+mn-lt"/>
                <a:ea typeface="+mn-ea"/>
              </a:defRPr>
            </a:lvl1pPr>
          </a:lstStyle>
          <a:p>
            <a:pPr lvl="0" latinLnBrk="0"/>
            <a:r>
              <a:rPr lang="en-US" noProof="0"/>
              <a:t>Click to edit Master subtitle style</a:t>
            </a:r>
            <a:endParaRPr lang="en-US" noProof="0" dirty="0"/>
          </a:p>
        </p:txBody>
      </p:sp>
      <p:sp>
        <p:nvSpPr>
          <p:cNvPr id="57" name="Document type" hidden="1"/>
          <p:cNvSpPr txBox="1">
            <a:spLocks noChangeArrowheads="1"/>
          </p:cNvSpPr>
          <p:nvPr/>
        </p:nvSpPr>
        <p:spPr bwMode="gray">
          <a:xfrm>
            <a:off x="2268266" y="3227411"/>
            <a:ext cx="6231663"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00" baseline="0" dirty="0">
                <a:solidFill>
                  <a:schemeClr val="bg1"/>
                </a:solidFill>
                <a:latin typeface="+mn-lt"/>
              </a:rPr>
              <a:t>Document type | Date</a:t>
            </a:r>
          </a:p>
        </p:txBody>
      </p:sp>
      <p:sp>
        <p:nvSpPr>
          <p:cNvPr id="5" name="doc id" hidden="1"/>
          <p:cNvSpPr txBox="1">
            <a:spLocks noChangeArrowheads="1"/>
          </p:cNvSpPr>
          <p:nvPr/>
        </p:nvSpPr>
        <p:spPr bwMode="white">
          <a:xfrm>
            <a:off x="8443913" y="36513"/>
            <a:ext cx="295275" cy="1222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hangingPunct="1">
              <a:defRPr/>
            </a:pPr>
            <a:endParaRPr lang="en-US" sz="800" baseline="0" dirty="0">
              <a:solidFill>
                <a:srgbClr val="FFFFFF"/>
              </a:solidFill>
              <a:latin typeface="+mn-lt"/>
            </a:endParaRPr>
          </a:p>
        </p:txBody>
      </p:sp>
      <p:sp>
        <p:nvSpPr>
          <p:cNvPr id="43" name="LogoImage"/>
          <p:cNvSpPr>
            <a:spLocks noEditPoints="1"/>
          </p:cNvSpPr>
          <p:nvPr/>
        </p:nvSpPr>
        <p:spPr bwMode="white">
          <a:xfrm>
            <a:off x="2269098" y="182925"/>
            <a:ext cx="2176978" cy="238073"/>
          </a:xfrm>
          <a:custGeom>
            <a:avLst/>
            <a:gdLst>
              <a:gd name="T0" fmla="*/ 504 w 5516"/>
              <a:gd name="T1" fmla="*/ 26 h 606"/>
              <a:gd name="T2" fmla="*/ 18 w 5516"/>
              <a:gd name="T3" fmla="*/ 22 h 606"/>
              <a:gd name="T4" fmla="*/ 140 w 5516"/>
              <a:gd name="T5" fmla="*/ 436 h 606"/>
              <a:gd name="T6" fmla="*/ 408 w 5516"/>
              <a:gd name="T7" fmla="*/ 372 h 606"/>
              <a:gd name="T8" fmla="*/ 696 w 5516"/>
              <a:gd name="T9" fmla="*/ 422 h 606"/>
              <a:gd name="T10" fmla="*/ 768 w 5516"/>
              <a:gd name="T11" fmla="*/ 196 h 606"/>
              <a:gd name="T12" fmla="*/ 1272 w 5516"/>
              <a:gd name="T13" fmla="*/ 26 h 606"/>
              <a:gd name="T14" fmla="*/ 1302 w 5516"/>
              <a:gd name="T15" fmla="*/ 338 h 606"/>
              <a:gd name="T16" fmla="*/ 1202 w 5516"/>
              <a:gd name="T17" fmla="*/ 436 h 606"/>
              <a:gd name="T18" fmla="*/ 1030 w 5516"/>
              <a:gd name="T19" fmla="*/ 10 h 606"/>
              <a:gd name="T20" fmla="*/ 960 w 5516"/>
              <a:gd name="T21" fmla="*/ 22 h 606"/>
              <a:gd name="T22" fmla="*/ 804 w 5516"/>
              <a:gd name="T23" fmla="*/ 434 h 606"/>
              <a:gd name="T24" fmla="*/ 930 w 5516"/>
              <a:gd name="T25" fmla="*/ 246 h 606"/>
              <a:gd name="T26" fmla="*/ 1658 w 5516"/>
              <a:gd name="T27" fmla="*/ 342 h 606"/>
              <a:gd name="T28" fmla="*/ 1368 w 5516"/>
              <a:gd name="T29" fmla="*/ 188 h 606"/>
              <a:gd name="T30" fmla="*/ 1514 w 5516"/>
              <a:gd name="T31" fmla="*/ 436 h 606"/>
              <a:gd name="T32" fmla="*/ 1564 w 5516"/>
              <a:gd name="T33" fmla="*/ 434 h 606"/>
              <a:gd name="T34" fmla="*/ 1904 w 5516"/>
              <a:gd name="T35" fmla="*/ 184 h 606"/>
              <a:gd name="T36" fmla="*/ 1728 w 5516"/>
              <a:gd name="T37" fmla="*/ 366 h 606"/>
              <a:gd name="T38" fmla="*/ 2102 w 5516"/>
              <a:gd name="T39" fmla="*/ 192 h 606"/>
              <a:gd name="T40" fmla="*/ 1982 w 5516"/>
              <a:gd name="T41" fmla="*/ 320 h 606"/>
              <a:gd name="T42" fmla="*/ 2478 w 5516"/>
              <a:gd name="T43" fmla="*/ 242 h 606"/>
              <a:gd name="T44" fmla="*/ 2406 w 5516"/>
              <a:gd name="T45" fmla="*/ 390 h 606"/>
              <a:gd name="T46" fmla="*/ 2234 w 5516"/>
              <a:gd name="T47" fmla="*/ 192 h 606"/>
              <a:gd name="T48" fmla="*/ 2478 w 5516"/>
              <a:gd name="T49" fmla="*/ 242 h 606"/>
              <a:gd name="T50" fmla="*/ 2928 w 5516"/>
              <a:gd name="T51" fmla="*/ 448 h 606"/>
              <a:gd name="T52" fmla="*/ 2958 w 5516"/>
              <a:gd name="T53" fmla="*/ 230 h 606"/>
              <a:gd name="T54" fmla="*/ 2716 w 5516"/>
              <a:gd name="T55" fmla="*/ 54 h 606"/>
              <a:gd name="T56" fmla="*/ 2714 w 5516"/>
              <a:gd name="T57" fmla="*/ 36 h 606"/>
              <a:gd name="T58" fmla="*/ 2928 w 5516"/>
              <a:gd name="T59" fmla="*/ 448 h 606"/>
              <a:gd name="T60" fmla="*/ 3388 w 5516"/>
              <a:gd name="T61" fmla="*/ 4 h 606"/>
              <a:gd name="T62" fmla="*/ 3396 w 5516"/>
              <a:gd name="T63" fmla="*/ 366 h 606"/>
              <a:gd name="T64" fmla="*/ 3580 w 5516"/>
              <a:gd name="T65" fmla="*/ 190 h 606"/>
              <a:gd name="T66" fmla="*/ 3502 w 5516"/>
              <a:gd name="T67" fmla="*/ 432 h 606"/>
              <a:gd name="T68" fmla="*/ 4232 w 5516"/>
              <a:gd name="T69" fmla="*/ 348 h 606"/>
              <a:gd name="T70" fmla="*/ 3858 w 5516"/>
              <a:gd name="T71" fmla="*/ 176 h 606"/>
              <a:gd name="T72" fmla="*/ 3758 w 5516"/>
              <a:gd name="T73" fmla="*/ 446 h 606"/>
              <a:gd name="T74" fmla="*/ 3990 w 5516"/>
              <a:gd name="T75" fmla="*/ 282 h 606"/>
              <a:gd name="T76" fmla="*/ 4042 w 5516"/>
              <a:gd name="T77" fmla="*/ 342 h 606"/>
              <a:gd name="T78" fmla="*/ 4134 w 5516"/>
              <a:gd name="T79" fmla="*/ 448 h 606"/>
              <a:gd name="T80" fmla="*/ 4454 w 5516"/>
              <a:gd name="T81" fmla="*/ 202 h 606"/>
              <a:gd name="T82" fmla="*/ 4284 w 5516"/>
              <a:gd name="T83" fmla="*/ 174 h 606"/>
              <a:gd name="T84" fmla="*/ 4432 w 5516"/>
              <a:gd name="T85" fmla="*/ 588 h 606"/>
              <a:gd name="T86" fmla="*/ 4792 w 5516"/>
              <a:gd name="T87" fmla="*/ 382 h 606"/>
              <a:gd name="T88" fmla="*/ 5192 w 5516"/>
              <a:gd name="T89" fmla="*/ 340 h 606"/>
              <a:gd name="T90" fmla="*/ 4902 w 5516"/>
              <a:gd name="T91" fmla="*/ 186 h 606"/>
              <a:gd name="T92" fmla="*/ 4850 w 5516"/>
              <a:gd name="T93" fmla="*/ 274 h 606"/>
              <a:gd name="T94" fmla="*/ 4742 w 5516"/>
              <a:gd name="T95" fmla="*/ 194 h 606"/>
              <a:gd name="T96" fmla="*/ 4794 w 5516"/>
              <a:gd name="T97" fmla="*/ 418 h 606"/>
              <a:gd name="T98" fmla="*/ 5004 w 5516"/>
              <a:gd name="T99" fmla="*/ 338 h 606"/>
              <a:gd name="T100" fmla="*/ 5098 w 5516"/>
              <a:gd name="T101" fmla="*/ 446 h 606"/>
              <a:gd name="T102" fmla="*/ 5418 w 5516"/>
              <a:gd name="T103" fmla="*/ 192 h 606"/>
              <a:gd name="T104" fmla="*/ 5348 w 5516"/>
              <a:gd name="T105" fmla="*/ 180 h 606"/>
              <a:gd name="T106" fmla="*/ 5254 w 5516"/>
              <a:gd name="T107" fmla="*/ 606 h 6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516" h="606">
                <a:moveTo>
                  <a:pt x="366" y="448"/>
                </a:moveTo>
                <a:cubicBezTo>
                  <a:pt x="524" y="448"/>
                  <a:pt x="524" y="448"/>
                  <a:pt x="524" y="448"/>
                </a:cubicBezTo>
                <a:cubicBezTo>
                  <a:pt x="524" y="436"/>
                  <a:pt x="524" y="436"/>
                  <a:pt x="524" y="436"/>
                </a:cubicBezTo>
                <a:cubicBezTo>
                  <a:pt x="486" y="432"/>
                  <a:pt x="470" y="414"/>
                  <a:pt x="468" y="362"/>
                </a:cubicBezTo>
                <a:cubicBezTo>
                  <a:pt x="454" y="86"/>
                  <a:pt x="454" y="86"/>
                  <a:pt x="454" y="86"/>
                </a:cubicBezTo>
                <a:cubicBezTo>
                  <a:pt x="452" y="46"/>
                  <a:pt x="470" y="30"/>
                  <a:pt x="504" y="26"/>
                </a:cubicBezTo>
                <a:cubicBezTo>
                  <a:pt x="504" y="12"/>
                  <a:pt x="504" y="12"/>
                  <a:pt x="504" y="12"/>
                </a:cubicBezTo>
                <a:cubicBezTo>
                  <a:pt x="394" y="12"/>
                  <a:pt x="394" y="12"/>
                  <a:pt x="394" y="12"/>
                </a:cubicBezTo>
                <a:cubicBezTo>
                  <a:pt x="264" y="350"/>
                  <a:pt x="264" y="350"/>
                  <a:pt x="264" y="350"/>
                </a:cubicBezTo>
                <a:cubicBezTo>
                  <a:pt x="132" y="10"/>
                  <a:pt x="132" y="10"/>
                  <a:pt x="132" y="10"/>
                </a:cubicBezTo>
                <a:cubicBezTo>
                  <a:pt x="18" y="10"/>
                  <a:pt x="18" y="10"/>
                  <a:pt x="18" y="10"/>
                </a:cubicBezTo>
                <a:cubicBezTo>
                  <a:pt x="18" y="22"/>
                  <a:pt x="18" y="22"/>
                  <a:pt x="18" y="22"/>
                </a:cubicBezTo>
                <a:cubicBezTo>
                  <a:pt x="40" y="26"/>
                  <a:pt x="74" y="32"/>
                  <a:pt x="72" y="84"/>
                </a:cubicBezTo>
                <a:cubicBezTo>
                  <a:pt x="58" y="352"/>
                  <a:pt x="58" y="352"/>
                  <a:pt x="58" y="352"/>
                </a:cubicBezTo>
                <a:cubicBezTo>
                  <a:pt x="54" y="410"/>
                  <a:pt x="38" y="430"/>
                  <a:pt x="0" y="436"/>
                </a:cubicBezTo>
                <a:cubicBezTo>
                  <a:pt x="0" y="448"/>
                  <a:pt x="0" y="448"/>
                  <a:pt x="0" y="448"/>
                </a:cubicBezTo>
                <a:cubicBezTo>
                  <a:pt x="140" y="448"/>
                  <a:pt x="140" y="448"/>
                  <a:pt x="140" y="448"/>
                </a:cubicBezTo>
                <a:cubicBezTo>
                  <a:pt x="140" y="436"/>
                  <a:pt x="140" y="436"/>
                  <a:pt x="140" y="436"/>
                </a:cubicBezTo>
                <a:cubicBezTo>
                  <a:pt x="98" y="428"/>
                  <a:pt x="84" y="414"/>
                  <a:pt x="88" y="356"/>
                </a:cubicBezTo>
                <a:cubicBezTo>
                  <a:pt x="100" y="86"/>
                  <a:pt x="100" y="86"/>
                  <a:pt x="100" y="86"/>
                </a:cubicBezTo>
                <a:cubicBezTo>
                  <a:pt x="240" y="444"/>
                  <a:pt x="240" y="444"/>
                  <a:pt x="240" y="444"/>
                </a:cubicBezTo>
                <a:cubicBezTo>
                  <a:pt x="258" y="444"/>
                  <a:pt x="258" y="444"/>
                  <a:pt x="258" y="444"/>
                </a:cubicBezTo>
                <a:cubicBezTo>
                  <a:pt x="396" y="86"/>
                  <a:pt x="396" y="86"/>
                  <a:pt x="396" y="86"/>
                </a:cubicBezTo>
                <a:cubicBezTo>
                  <a:pt x="408" y="372"/>
                  <a:pt x="408" y="372"/>
                  <a:pt x="408" y="372"/>
                </a:cubicBezTo>
                <a:cubicBezTo>
                  <a:pt x="410" y="416"/>
                  <a:pt x="398" y="430"/>
                  <a:pt x="366" y="434"/>
                </a:cubicBezTo>
                <a:lnTo>
                  <a:pt x="366" y="448"/>
                </a:lnTo>
                <a:close/>
                <a:moveTo>
                  <a:pt x="670" y="456"/>
                </a:moveTo>
                <a:cubicBezTo>
                  <a:pt x="708" y="456"/>
                  <a:pt x="756" y="440"/>
                  <a:pt x="782" y="412"/>
                </a:cubicBezTo>
                <a:cubicBezTo>
                  <a:pt x="776" y="400"/>
                  <a:pt x="776" y="400"/>
                  <a:pt x="776" y="400"/>
                </a:cubicBezTo>
                <a:cubicBezTo>
                  <a:pt x="750" y="416"/>
                  <a:pt x="722" y="422"/>
                  <a:pt x="696" y="422"/>
                </a:cubicBezTo>
                <a:cubicBezTo>
                  <a:pt x="620" y="422"/>
                  <a:pt x="592" y="358"/>
                  <a:pt x="592" y="290"/>
                </a:cubicBezTo>
                <a:cubicBezTo>
                  <a:pt x="592" y="258"/>
                  <a:pt x="600" y="236"/>
                  <a:pt x="614" y="222"/>
                </a:cubicBezTo>
                <a:cubicBezTo>
                  <a:pt x="626" y="210"/>
                  <a:pt x="646" y="204"/>
                  <a:pt x="664" y="204"/>
                </a:cubicBezTo>
                <a:cubicBezTo>
                  <a:pt x="690" y="204"/>
                  <a:pt x="722" y="214"/>
                  <a:pt x="744" y="244"/>
                </a:cubicBezTo>
                <a:cubicBezTo>
                  <a:pt x="750" y="244"/>
                  <a:pt x="750" y="244"/>
                  <a:pt x="750" y="244"/>
                </a:cubicBezTo>
                <a:cubicBezTo>
                  <a:pt x="758" y="234"/>
                  <a:pt x="766" y="212"/>
                  <a:pt x="768" y="196"/>
                </a:cubicBezTo>
                <a:cubicBezTo>
                  <a:pt x="748" y="180"/>
                  <a:pt x="720" y="172"/>
                  <a:pt x="686" y="172"/>
                </a:cubicBezTo>
                <a:cubicBezTo>
                  <a:pt x="604" y="172"/>
                  <a:pt x="544" y="246"/>
                  <a:pt x="544" y="326"/>
                </a:cubicBezTo>
                <a:cubicBezTo>
                  <a:pt x="540" y="390"/>
                  <a:pt x="576" y="456"/>
                  <a:pt x="670" y="456"/>
                </a:cubicBezTo>
                <a:moveTo>
                  <a:pt x="1272" y="98"/>
                </a:moveTo>
                <a:cubicBezTo>
                  <a:pt x="1292" y="98"/>
                  <a:pt x="1308" y="82"/>
                  <a:pt x="1308" y="62"/>
                </a:cubicBezTo>
                <a:cubicBezTo>
                  <a:pt x="1308" y="42"/>
                  <a:pt x="1292" y="26"/>
                  <a:pt x="1272" y="26"/>
                </a:cubicBezTo>
                <a:cubicBezTo>
                  <a:pt x="1252" y="26"/>
                  <a:pt x="1238" y="42"/>
                  <a:pt x="1238" y="62"/>
                </a:cubicBezTo>
                <a:cubicBezTo>
                  <a:pt x="1238" y="82"/>
                  <a:pt x="1252" y="98"/>
                  <a:pt x="1272" y="98"/>
                </a:cubicBezTo>
                <a:moveTo>
                  <a:pt x="1202" y="448"/>
                </a:moveTo>
                <a:cubicBezTo>
                  <a:pt x="1346" y="448"/>
                  <a:pt x="1346" y="448"/>
                  <a:pt x="1346" y="448"/>
                </a:cubicBezTo>
                <a:cubicBezTo>
                  <a:pt x="1346" y="436"/>
                  <a:pt x="1346" y="436"/>
                  <a:pt x="1346" y="436"/>
                </a:cubicBezTo>
                <a:cubicBezTo>
                  <a:pt x="1304" y="432"/>
                  <a:pt x="1302" y="434"/>
                  <a:pt x="1302" y="338"/>
                </a:cubicBezTo>
                <a:cubicBezTo>
                  <a:pt x="1302" y="176"/>
                  <a:pt x="1302" y="176"/>
                  <a:pt x="1302" y="176"/>
                </a:cubicBezTo>
                <a:cubicBezTo>
                  <a:pt x="1200" y="176"/>
                  <a:pt x="1200" y="176"/>
                  <a:pt x="1200" y="176"/>
                </a:cubicBezTo>
                <a:cubicBezTo>
                  <a:pt x="1200" y="188"/>
                  <a:pt x="1200" y="188"/>
                  <a:pt x="1200" y="188"/>
                </a:cubicBezTo>
                <a:cubicBezTo>
                  <a:pt x="1244" y="190"/>
                  <a:pt x="1250" y="192"/>
                  <a:pt x="1250" y="268"/>
                </a:cubicBezTo>
                <a:cubicBezTo>
                  <a:pt x="1250" y="336"/>
                  <a:pt x="1250" y="336"/>
                  <a:pt x="1250" y="336"/>
                </a:cubicBezTo>
                <a:cubicBezTo>
                  <a:pt x="1250" y="432"/>
                  <a:pt x="1248" y="432"/>
                  <a:pt x="1202" y="436"/>
                </a:cubicBezTo>
                <a:cubicBezTo>
                  <a:pt x="1178" y="434"/>
                  <a:pt x="1154" y="426"/>
                  <a:pt x="1076" y="338"/>
                </a:cubicBezTo>
                <a:cubicBezTo>
                  <a:pt x="1046" y="302"/>
                  <a:pt x="996" y="244"/>
                  <a:pt x="968" y="206"/>
                </a:cubicBezTo>
                <a:cubicBezTo>
                  <a:pt x="1062" y="102"/>
                  <a:pt x="1062" y="102"/>
                  <a:pt x="1062" y="102"/>
                </a:cubicBezTo>
                <a:cubicBezTo>
                  <a:pt x="1108" y="52"/>
                  <a:pt x="1132" y="26"/>
                  <a:pt x="1176" y="24"/>
                </a:cubicBezTo>
                <a:cubicBezTo>
                  <a:pt x="1176" y="10"/>
                  <a:pt x="1176" y="10"/>
                  <a:pt x="1176" y="10"/>
                </a:cubicBezTo>
                <a:cubicBezTo>
                  <a:pt x="1030" y="10"/>
                  <a:pt x="1030" y="10"/>
                  <a:pt x="1030" y="10"/>
                </a:cubicBezTo>
                <a:cubicBezTo>
                  <a:pt x="1030" y="22"/>
                  <a:pt x="1030" y="22"/>
                  <a:pt x="1030" y="22"/>
                </a:cubicBezTo>
                <a:cubicBezTo>
                  <a:pt x="1050" y="26"/>
                  <a:pt x="1056" y="32"/>
                  <a:pt x="1056" y="46"/>
                </a:cubicBezTo>
                <a:cubicBezTo>
                  <a:pt x="1056" y="56"/>
                  <a:pt x="1054" y="72"/>
                  <a:pt x="1026" y="102"/>
                </a:cubicBezTo>
                <a:cubicBezTo>
                  <a:pt x="910" y="230"/>
                  <a:pt x="910" y="230"/>
                  <a:pt x="910" y="230"/>
                </a:cubicBezTo>
                <a:cubicBezTo>
                  <a:pt x="910" y="148"/>
                  <a:pt x="910" y="148"/>
                  <a:pt x="910" y="148"/>
                </a:cubicBezTo>
                <a:cubicBezTo>
                  <a:pt x="910" y="36"/>
                  <a:pt x="916" y="28"/>
                  <a:pt x="960" y="22"/>
                </a:cubicBezTo>
                <a:cubicBezTo>
                  <a:pt x="960" y="8"/>
                  <a:pt x="960" y="8"/>
                  <a:pt x="960" y="8"/>
                </a:cubicBezTo>
                <a:cubicBezTo>
                  <a:pt x="804" y="8"/>
                  <a:pt x="804" y="8"/>
                  <a:pt x="804" y="8"/>
                </a:cubicBezTo>
                <a:cubicBezTo>
                  <a:pt x="804" y="22"/>
                  <a:pt x="804" y="22"/>
                  <a:pt x="804" y="22"/>
                </a:cubicBezTo>
                <a:cubicBezTo>
                  <a:pt x="852" y="26"/>
                  <a:pt x="854" y="36"/>
                  <a:pt x="854" y="148"/>
                </a:cubicBezTo>
                <a:cubicBezTo>
                  <a:pt x="854" y="300"/>
                  <a:pt x="854" y="300"/>
                  <a:pt x="854" y="300"/>
                </a:cubicBezTo>
                <a:cubicBezTo>
                  <a:pt x="854" y="422"/>
                  <a:pt x="850" y="430"/>
                  <a:pt x="804" y="434"/>
                </a:cubicBezTo>
                <a:cubicBezTo>
                  <a:pt x="804" y="446"/>
                  <a:pt x="804" y="446"/>
                  <a:pt x="804" y="446"/>
                </a:cubicBezTo>
                <a:cubicBezTo>
                  <a:pt x="960" y="446"/>
                  <a:pt x="960" y="446"/>
                  <a:pt x="960" y="446"/>
                </a:cubicBezTo>
                <a:cubicBezTo>
                  <a:pt x="960" y="434"/>
                  <a:pt x="960" y="434"/>
                  <a:pt x="960" y="434"/>
                </a:cubicBezTo>
                <a:cubicBezTo>
                  <a:pt x="910" y="428"/>
                  <a:pt x="910" y="424"/>
                  <a:pt x="910" y="292"/>
                </a:cubicBezTo>
                <a:cubicBezTo>
                  <a:pt x="910" y="268"/>
                  <a:pt x="910" y="268"/>
                  <a:pt x="910" y="268"/>
                </a:cubicBezTo>
                <a:cubicBezTo>
                  <a:pt x="930" y="246"/>
                  <a:pt x="930" y="246"/>
                  <a:pt x="930" y="246"/>
                </a:cubicBezTo>
                <a:cubicBezTo>
                  <a:pt x="982" y="310"/>
                  <a:pt x="1038" y="380"/>
                  <a:pt x="1098" y="448"/>
                </a:cubicBezTo>
                <a:cubicBezTo>
                  <a:pt x="1202" y="448"/>
                  <a:pt x="1202" y="448"/>
                  <a:pt x="1202" y="448"/>
                </a:cubicBezTo>
                <a:close/>
                <a:moveTo>
                  <a:pt x="1564" y="448"/>
                </a:moveTo>
                <a:cubicBezTo>
                  <a:pt x="1706" y="448"/>
                  <a:pt x="1706" y="448"/>
                  <a:pt x="1706" y="448"/>
                </a:cubicBezTo>
                <a:cubicBezTo>
                  <a:pt x="1706" y="436"/>
                  <a:pt x="1706" y="436"/>
                  <a:pt x="1706" y="436"/>
                </a:cubicBezTo>
                <a:cubicBezTo>
                  <a:pt x="1658" y="434"/>
                  <a:pt x="1658" y="432"/>
                  <a:pt x="1658" y="342"/>
                </a:cubicBezTo>
                <a:cubicBezTo>
                  <a:pt x="1658" y="280"/>
                  <a:pt x="1658" y="280"/>
                  <a:pt x="1658" y="280"/>
                </a:cubicBezTo>
                <a:cubicBezTo>
                  <a:pt x="1658" y="198"/>
                  <a:pt x="1612" y="172"/>
                  <a:pt x="1570" y="172"/>
                </a:cubicBezTo>
                <a:cubicBezTo>
                  <a:pt x="1534" y="172"/>
                  <a:pt x="1498" y="188"/>
                  <a:pt x="1470" y="224"/>
                </a:cubicBezTo>
                <a:cubicBezTo>
                  <a:pt x="1470" y="176"/>
                  <a:pt x="1470" y="176"/>
                  <a:pt x="1470" y="176"/>
                </a:cubicBezTo>
                <a:cubicBezTo>
                  <a:pt x="1368" y="176"/>
                  <a:pt x="1368" y="176"/>
                  <a:pt x="1368" y="176"/>
                </a:cubicBezTo>
                <a:cubicBezTo>
                  <a:pt x="1368" y="188"/>
                  <a:pt x="1368" y="188"/>
                  <a:pt x="1368" y="188"/>
                </a:cubicBezTo>
                <a:cubicBezTo>
                  <a:pt x="1412" y="190"/>
                  <a:pt x="1418" y="192"/>
                  <a:pt x="1418" y="268"/>
                </a:cubicBezTo>
                <a:cubicBezTo>
                  <a:pt x="1418" y="336"/>
                  <a:pt x="1418" y="336"/>
                  <a:pt x="1418" y="336"/>
                </a:cubicBezTo>
                <a:cubicBezTo>
                  <a:pt x="1418" y="434"/>
                  <a:pt x="1418" y="434"/>
                  <a:pt x="1370" y="436"/>
                </a:cubicBezTo>
                <a:cubicBezTo>
                  <a:pt x="1370" y="448"/>
                  <a:pt x="1370" y="448"/>
                  <a:pt x="1370" y="448"/>
                </a:cubicBezTo>
                <a:cubicBezTo>
                  <a:pt x="1514" y="448"/>
                  <a:pt x="1514" y="448"/>
                  <a:pt x="1514" y="448"/>
                </a:cubicBezTo>
                <a:cubicBezTo>
                  <a:pt x="1514" y="436"/>
                  <a:pt x="1514" y="436"/>
                  <a:pt x="1514" y="436"/>
                </a:cubicBezTo>
                <a:cubicBezTo>
                  <a:pt x="1472" y="432"/>
                  <a:pt x="1470" y="434"/>
                  <a:pt x="1470" y="338"/>
                </a:cubicBezTo>
                <a:cubicBezTo>
                  <a:pt x="1470" y="262"/>
                  <a:pt x="1470" y="262"/>
                  <a:pt x="1470" y="262"/>
                </a:cubicBezTo>
                <a:cubicBezTo>
                  <a:pt x="1470" y="236"/>
                  <a:pt x="1504" y="206"/>
                  <a:pt x="1546" y="206"/>
                </a:cubicBezTo>
                <a:cubicBezTo>
                  <a:pt x="1580" y="206"/>
                  <a:pt x="1606" y="220"/>
                  <a:pt x="1606" y="286"/>
                </a:cubicBezTo>
                <a:cubicBezTo>
                  <a:pt x="1606" y="340"/>
                  <a:pt x="1606" y="340"/>
                  <a:pt x="1606" y="340"/>
                </a:cubicBezTo>
                <a:cubicBezTo>
                  <a:pt x="1606" y="432"/>
                  <a:pt x="1602" y="432"/>
                  <a:pt x="1564" y="434"/>
                </a:cubicBezTo>
                <a:lnTo>
                  <a:pt x="1564" y="448"/>
                </a:lnTo>
                <a:close/>
                <a:moveTo>
                  <a:pt x="1776" y="222"/>
                </a:moveTo>
                <a:cubicBezTo>
                  <a:pt x="1776" y="200"/>
                  <a:pt x="1796" y="188"/>
                  <a:pt x="1822" y="188"/>
                </a:cubicBezTo>
                <a:cubicBezTo>
                  <a:pt x="1874" y="188"/>
                  <a:pt x="1896" y="236"/>
                  <a:pt x="1900" y="252"/>
                </a:cubicBezTo>
                <a:cubicBezTo>
                  <a:pt x="1912" y="252"/>
                  <a:pt x="1912" y="252"/>
                  <a:pt x="1912" y="252"/>
                </a:cubicBezTo>
                <a:cubicBezTo>
                  <a:pt x="1912" y="212"/>
                  <a:pt x="1908" y="188"/>
                  <a:pt x="1904" y="184"/>
                </a:cubicBezTo>
                <a:cubicBezTo>
                  <a:pt x="1900" y="180"/>
                  <a:pt x="1862" y="170"/>
                  <a:pt x="1824" y="170"/>
                </a:cubicBezTo>
                <a:cubicBezTo>
                  <a:pt x="1768" y="170"/>
                  <a:pt x="1734" y="206"/>
                  <a:pt x="1734" y="248"/>
                </a:cubicBezTo>
                <a:cubicBezTo>
                  <a:pt x="1734" y="340"/>
                  <a:pt x="1890" y="322"/>
                  <a:pt x="1890" y="396"/>
                </a:cubicBezTo>
                <a:cubicBezTo>
                  <a:pt x="1890" y="422"/>
                  <a:pt x="1866" y="436"/>
                  <a:pt x="1826" y="436"/>
                </a:cubicBezTo>
                <a:cubicBezTo>
                  <a:pt x="1788" y="436"/>
                  <a:pt x="1754" y="416"/>
                  <a:pt x="1744" y="366"/>
                </a:cubicBezTo>
                <a:cubicBezTo>
                  <a:pt x="1728" y="366"/>
                  <a:pt x="1728" y="366"/>
                  <a:pt x="1728" y="366"/>
                </a:cubicBezTo>
                <a:cubicBezTo>
                  <a:pt x="1728" y="386"/>
                  <a:pt x="1732" y="422"/>
                  <a:pt x="1734" y="428"/>
                </a:cubicBezTo>
                <a:cubicBezTo>
                  <a:pt x="1744" y="446"/>
                  <a:pt x="1788" y="454"/>
                  <a:pt x="1824" y="454"/>
                </a:cubicBezTo>
                <a:cubicBezTo>
                  <a:pt x="1888" y="454"/>
                  <a:pt x="1928" y="416"/>
                  <a:pt x="1928" y="372"/>
                </a:cubicBezTo>
                <a:cubicBezTo>
                  <a:pt x="1932" y="270"/>
                  <a:pt x="1776" y="286"/>
                  <a:pt x="1776" y="222"/>
                </a:cubicBezTo>
                <a:moveTo>
                  <a:pt x="2030" y="270"/>
                </a:moveTo>
                <a:cubicBezTo>
                  <a:pt x="2034" y="220"/>
                  <a:pt x="2058" y="192"/>
                  <a:pt x="2102" y="192"/>
                </a:cubicBezTo>
                <a:cubicBezTo>
                  <a:pt x="2144" y="192"/>
                  <a:pt x="2170" y="220"/>
                  <a:pt x="2172" y="270"/>
                </a:cubicBezTo>
                <a:lnTo>
                  <a:pt x="2030" y="270"/>
                </a:lnTo>
                <a:close/>
                <a:moveTo>
                  <a:pt x="2030" y="290"/>
                </a:moveTo>
                <a:cubicBezTo>
                  <a:pt x="2222" y="290"/>
                  <a:pt x="2222" y="290"/>
                  <a:pt x="2222" y="290"/>
                </a:cubicBezTo>
                <a:cubicBezTo>
                  <a:pt x="2226" y="228"/>
                  <a:pt x="2192" y="168"/>
                  <a:pt x="2114" y="168"/>
                </a:cubicBezTo>
                <a:cubicBezTo>
                  <a:pt x="2034" y="168"/>
                  <a:pt x="1982" y="232"/>
                  <a:pt x="1982" y="320"/>
                </a:cubicBezTo>
                <a:cubicBezTo>
                  <a:pt x="1982" y="388"/>
                  <a:pt x="2018" y="456"/>
                  <a:pt x="2112" y="456"/>
                </a:cubicBezTo>
                <a:cubicBezTo>
                  <a:pt x="2150" y="456"/>
                  <a:pt x="2198" y="440"/>
                  <a:pt x="2224" y="412"/>
                </a:cubicBezTo>
                <a:cubicBezTo>
                  <a:pt x="2218" y="400"/>
                  <a:pt x="2218" y="400"/>
                  <a:pt x="2218" y="400"/>
                </a:cubicBezTo>
                <a:cubicBezTo>
                  <a:pt x="2192" y="416"/>
                  <a:pt x="2164" y="422"/>
                  <a:pt x="2138" y="422"/>
                </a:cubicBezTo>
                <a:cubicBezTo>
                  <a:pt x="2058" y="420"/>
                  <a:pt x="2028" y="352"/>
                  <a:pt x="2030" y="290"/>
                </a:cubicBezTo>
                <a:moveTo>
                  <a:pt x="2478" y="242"/>
                </a:moveTo>
                <a:cubicBezTo>
                  <a:pt x="2490" y="206"/>
                  <a:pt x="2510" y="192"/>
                  <a:pt x="2528" y="192"/>
                </a:cubicBezTo>
                <a:cubicBezTo>
                  <a:pt x="2528" y="180"/>
                  <a:pt x="2528" y="180"/>
                  <a:pt x="2528" y="180"/>
                </a:cubicBezTo>
                <a:cubicBezTo>
                  <a:pt x="2430" y="180"/>
                  <a:pt x="2430" y="180"/>
                  <a:pt x="2430" y="180"/>
                </a:cubicBezTo>
                <a:cubicBezTo>
                  <a:pt x="2430" y="192"/>
                  <a:pt x="2430" y="192"/>
                  <a:pt x="2430" y="192"/>
                </a:cubicBezTo>
                <a:cubicBezTo>
                  <a:pt x="2454" y="194"/>
                  <a:pt x="2466" y="206"/>
                  <a:pt x="2458" y="234"/>
                </a:cubicBezTo>
                <a:cubicBezTo>
                  <a:pt x="2406" y="390"/>
                  <a:pt x="2406" y="390"/>
                  <a:pt x="2406" y="390"/>
                </a:cubicBezTo>
                <a:cubicBezTo>
                  <a:pt x="2354" y="270"/>
                  <a:pt x="2354" y="270"/>
                  <a:pt x="2354" y="270"/>
                </a:cubicBezTo>
                <a:cubicBezTo>
                  <a:pt x="2340" y="238"/>
                  <a:pt x="2334" y="224"/>
                  <a:pt x="2334" y="212"/>
                </a:cubicBezTo>
                <a:cubicBezTo>
                  <a:pt x="2334" y="202"/>
                  <a:pt x="2340" y="196"/>
                  <a:pt x="2360" y="192"/>
                </a:cubicBezTo>
                <a:cubicBezTo>
                  <a:pt x="2360" y="180"/>
                  <a:pt x="2360" y="180"/>
                  <a:pt x="2360" y="180"/>
                </a:cubicBezTo>
                <a:cubicBezTo>
                  <a:pt x="2234" y="180"/>
                  <a:pt x="2234" y="180"/>
                  <a:pt x="2234" y="180"/>
                </a:cubicBezTo>
                <a:cubicBezTo>
                  <a:pt x="2234" y="192"/>
                  <a:pt x="2234" y="192"/>
                  <a:pt x="2234" y="192"/>
                </a:cubicBezTo>
                <a:cubicBezTo>
                  <a:pt x="2266" y="194"/>
                  <a:pt x="2268" y="198"/>
                  <a:pt x="2310" y="292"/>
                </a:cubicBezTo>
                <a:cubicBezTo>
                  <a:pt x="2382" y="450"/>
                  <a:pt x="2382" y="450"/>
                  <a:pt x="2382" y="450"/>
                </a:cubicBezTo>
                <a:cubicBezTo>
                  <a:pt x="2358" y="512"/>
                  <a:pt x="2320" y="546"/>
                  <a:pt x="2242" y="564"/>
                </a:cubicBezTo>
                <a:cubicBezTo>
                  <a:pt x="2246" y="576"/>
                  <a:pt x="2260" y="600"/>
                  <a:pt x="2268" y="606"/>
                </a:cubicBezTo>
                <a:cubicBezTo>
                  <a:pt x="2370" y="564"/>
                  <a:pt x="2390" y="498"/>
                  <a:pt x="2426" y="396"/>
                </a:cubicBezTo>
                <a:lnTo>
                  <a:pt x="2478" y="242"/>
                </a:lnTo>
                <a:close/>
                <a:moveTo>
                  <a:pt x="2844" y="394"/>
                </a:moveTo>
                <a:cubicBezTo>
                  <a:pt x="2822" y="412"/>
                  <a:pt x="2782" y="416"/>
                  <a:pt x="2750" y="416"/>
                </a:cubicBezTo>
                <a:cubicBezTo>
                  <a:pt x="2670" y="416"/>
                  <a:pt x="2606" y="360"/>
                  <a:pt x="2606" y="284"/>
                </a:cubicBezTo>
                <a:cubicBezTo>
                  <a:pt x="2606" y="236"/>
                  <a:pt x="2626" y="206"/>
                  <a:pt x="2658" y="198"/>
                </a:cubicBezTo>
                <a:cubicBezTo>
                  <a:pt x="2698" y="266"/>
                  <a:pt x="2770" y="338"/>
                  <a:pt x="2844" y="394"/>
                </a:cubicBezTo>
                <a:moveTo>
                  <a:pt x="2928" y="448"/>
                </a:moveTo>
                <a:cubicBezTo>
                  <a:pt x="3022" y="448"/>
                  <a:pt x="3022" y="448"/>
                  <a:pt x="3022" y="448"/>
                </a:cubicBezTo>
                <a:cubicBezTo>
                  <a:pt x="3022" y="436"/>
                  <a:pt x="3022" y="436"/>
                  <a:pt x="3022" y="436"/>
                </a:cubicBezTo>
                <a:cubicBezTo>
                  <a:pt x="2992" y="432"/>
                  <a:pt x="2946" y="408"/>
                  <a:pt x="2896" y="372"/>
                </a:cubicBezTo>
                <a:cubicBezTo>
                  <a:pt x="2914" y="342"/>
                  <a:pt x="2918" y="300"/>
                  <a:pt x="2922" y="270"/>
                </a:cubicBezTo>
                <a:cubicBezTo>
                  <a:pt x="2926" y="244"/>
                  <a:pt x="2946" y="244"/>
                  <a:pt x="2958" y="242"/>
                </a:cubicBezTo>
                <a:cubicBezTo>
                  <a:pt x="2958" y="230"/>
                  <a:pt x="2958" y="230"/>
                  <a:pt x="2958" y="230"/>
                </a:cubicBezTo>
                <a:cubicBezTo>
                  <a:pt x="2834" y="230"/>
                  <a:pt x="2834" y="230"/>
                  <a:pt x="2834" y="230"/>
                </a:cubicBezTo>
                <a:cubicBezTo>
                  <a:pt x="2834" y="242"/>
                  <a:pt x="2834" y="242"/>
                  <a:pt x="2834" y="242"/>
                </a:cubicBezTo>
                <a:cubicBezTo>
                  <a:pt x="2864" y="246"/>
                  <a:pt x="2892" y="250"/>
                  <a:pt x="2892" y="294"/>
                </a:cubicBezTo>
                <a:cubicBezTo>
                  <a:pt x="2892" y="318"/>
                  <a:pt x="2888" y="342"/>
                  <a:pt x="2878" y="358"/>
                </a:cubicBezTo>
                <a:cubicBezTo>
                  <a:pt x="2770" y="274"/>
                  <a:pt x="2670" y="156"/>
                  <a:pt x="2670" y="96"/>
                </a:cubicBezTo>
                <a:cubicBezTo>
                  <a:pt x="2670" y="66"/>
                  <a:pt x="2688" y="54"/>
                  <a:pt x="2716" y="54"/>
                </a:cubicBezTo>
                <a:cubicBezTo>
                  <a:pt x="2752" y="54"/>
                  <a:pt x="2784" y="78"/>
                  <a:pt x="2800" y="124"/>
                </a:cubicBezTo>
                <a:cubicBezTo>
                  <a:pt x="2812" y="124"/>
                  <a:pt x="2812" y="124"/>
                  <a:pt x="2812" y="124"/>
                </a:cubicBezTo>
                <a:cubicBezTo>
                  <a:pt x="2810" y="42"/>
                  <a:pt x="2810" y="42"/>
                  <a:pt x="2810" y="42"/>
                </a:cubicBezTo>
                <a:cubicBezTo>
                  <a:pt x="2798" y="42"/>
                  <a:pt x="2798" y="42"/>
                  <a:pt x="2798" y="42"/>
                </a:cubicBezTo>
                <a:cubicBezTo>
                  <a:pt x="2798" y="48"/>
                  <a:pt x="2792" y="52"/>
                  <a:pt x="2788" y="52"/>
                </a:cubicBezTo>
                <a:cubicBezTo>
                  <a:pt x="2772" y="52"/>
                  <a:pt x="2752" y="36"/>
                  <a:pt x="2714" y="36"/>
                </a:cubicBezTo>
                <a:cubicBezTo>
                  <a:pt x="2672" y="36"/>
                  <a:pt x="2630" y="62"/>
                  <a:pt x="2630" y="118"/>
                </a:cubicBezTo>
                <a:cubicBezTo>
                  <a:pt x="2630" y="140"/>
                  <a:pt x="2636" y="160"/>
                  <a:pt x="2648" y="182"/>
                </a:cubicBezTo>
                <a:cubicBezTo>
                  <a:pt x="2592" y="200"/>
                  <a:pt x="2562" y="248"/>
                  <a:pt x="2562" y="304"/>
                </a:cubicBezTo>
                <a:cubicBezTo>
                  <a:pt x="2562" y="406"/>
                  <a:pt x="2640" y="460"/>
                  <a:pt x="2726" y="460"/>
                </a:cubicBezTo>
                <a:cubicBezTo>
                  <a:pt x="2780" y="460"/>
                  <a:pt x="2824" y="444"/>
                  <a:pt x="2862" y="410"/>
                </a:cubicBezTo>
                <a:cubicBezTo>
                  <a:pt x="2888" y="424"/>
                  <a:pt x="2912" y="442"/>
                  <a:pt x="2928" y="448"/>
                </a:cubicBezTo>
                <a:moveTo>
                  <a:pt x="3094" y="212"/>
                </a:moveTo>
                <a:cubicBezTo>
                  <a:pt x="3094" y="88"/>
                  <a:pt x="3154" y="20"/>
                  <a:pt x="3252" y="20"/>
                </a:cubicBezTo>
                <a:cubicBezTo>
                  <a:pt x="3328" y="20"/>
                  <a:pt x="3372" y="58"/>
                  <a:pt x="3392" y="134"/>
                </a:cubicBezTo>
                <a:cubicBezTo>
                  <a:pt x="3404" y="134"/>
                  <a:pt x="3404" y="134"/>
                  <a:pt x="3404" y="134"/>
                </a:cubicBezTo>
                <a:cubicBezTo>
                  <a:pt x="3400" y="4"/>
                  <a:pt x="3400" y="4"/>
                  <a:pt x="3400" y="4"/>
                </a:cubicBezTo>
                <a:cubicBezTo>
                  <a:pt x="3388" y="4"/>
                  <a:pt x="3388" y="4"/>
                  <a:pt x="3388" y="4"/>
                </a:cubicBezTo>
                <a:cubicBezTo>
                  <a:pt x="3384" y="14"/>
                  <a:pt x="3376" y="18"/>
                  <a:pt x="3364" y="18"/>
                </a:cubicBezTo>
                <a:cubicBezTo>
                  <a:pt x="3338" y="18"/>
                  <a:pt x="3314" y="0"/>
                  <a:pt x="3248" y="0"/>
                </a:cubicBezTo>
                <a:cubicBezTo>
                  <a:pt x="3118" y="0"/>
                  <a:pt x="3030" y="102"/>
                  <a:pt x="3030" y="242"/>
                </a:cubicBezTo>
                <a:cubicBezTo>
                  <a:pt x="3030" y="376"/>
                  <a:pt x="3110" y="460"/>
                  <a:pt x="3238" y="460"/>
                </a:cubicBezTo>
                <a:cubicBezTo>
                  <a:pt x="3320" y="460"/>
                  <a:pt x="3384" y="420"/>
                  <a:pt x="3408" y="380"/>
                </a:cubicBezTo>
                <a:cubicBezTo>
                  <a:pt x="3396" y="366"/>
                  <a:pt x="3396" y="366"/>
                  <a:pt x="3396" y="366"/>
                </a:cubicBezTo>
                <a:cubicBezTo>
                  <a:pt x="3370" y="402"/>
                  <a:pt x="3314" y="426"/>
                  <a:pt x="3256" y="426"/>
                </a:cubicBezTo>
                <a:cubicBezTo>
                  <a:pt x="3156" y="426"/>
                  <a:pt x="3094" y="340"/>
                  <a:pt x="3094" y="212"/>
                </a:cubicBezTo>
                <a:moveTo>
                  <a:pt x="3678" y="328"/>
                </a:moveTo>
                <a:cubicBezTo>
                  <a:pt x="3678" y="392"/>
                  <a:pt x="3650" y="430"/>
                  <a:pt x="3592" y="430"/>
                </a:cubicBezTo>
                <a:cubicBezTo>
                  <a:pt x="3542" y="430"/>
                  <a:pt x="3496" y="384"/>
                  <a:pt x="3496" y="292"/>
                </a:cubicBezTo>
                <a:cubicBezTo>
                  <a:pt x="3496" y="226"/>
                  <a:pt x="3528" y="190"/>
                  <a:pt x="3580" y="190"/>
                </a:cubicBezTo>
                <a:cubicBezTo>
                  <a:pt x="3628" y="192"/>
                  <a:pt x="3678" y="238"/>
                  <a:pt x="3678" y="328"/>
                </a:cubicBezTo>
                <a:moveTo>
                  <a:pt x="3732" y="312"/>
                </a:moveTo>
                <a:cubicBezTo>
                  <a:pt x="3732" y="260"/>
                  <a:pt x="3710" y="214"/>
                  <a:pt x="3672" y="190"/>
                </a:cubicBezTo>
                <a:cubicBezTo>
                  <a:pt x="3650" y="176"/>
                  <a:pt x="3620" y="168"/>
                  <a:pt x="3588" y="168"/>
                </a:cubicBezTo>
                <a:cubicBezTo>
                  <a:pt x="3502" y="168"/>
                  <a:pt x="3442" y="230"/>
                  <a:pt x="3442" y="310"/>
                </a:cubicBezTo>
                <a:cubicBezTo>
                  <a:pt x="3442" y="364"/>
                  <a:pt x="3464" y="408"/>
                  <a:pt x="3502" y="432"/>
                </a:cubicBezTo>
                <a:cubicBezTo>
                  <a:pt x="3524" y="446"/>
                  <a:pt x="3554" y="452"/>
                  <a:pt x="3586" y="452"/>
                </a:cubicBezTo>
                <a:cubicBezTo>
                  <a:pt x="3672" y="454"/>
                  <a:pt x="3732" y="394"/>
                  <a:pt x="3732" y="312"/>
                </a:cubicBezTo>
                <a:moveTo>
                  <a:pt x="4136" y="448"/>
                </a:moveTo>
                <a:cubicBezTo>
                  <a:pt x="4280" y="448"/>
                  <a:pt x="4280" y="448"/>
                  <a:pt x="4280" y="448"/>
                </a:cubicBezTo>
                <a:cubicBezTo>
                  <a:pt x="4280" y="436"/>
                  <a:pt x="4280" y="436"/>
                  <a:pt x="4280" y="436"/>
                </a:cubicBezTo>
                <a:cubicBezTo>
                  <a:pt x="4230" y="434"/>
                  <a:pt x="4232" y="426"/>
                  <a:pt x="4232" y="348"/>
                </a:cubicBezTo>
                <a:cubicBezTo>
                  <a:pt x="4232" y="276"/>
                  <a:pt x="4232" y="276"/>
                  <a:pt x="4232" y="276"/>
                </a:cubicBezTo>
                <a:cubicBezTo>
                  <a:pt x="4232" y="200"/>
                  <a:pt x="4190" y="172"/>
                  <a:pt x="4142" y="172"/>
                </a:cubicBezTo>
                <a:cubicBezTo>
                  <a:pt x="4098" y="172"/>
                  <a:pt x="4064" y="196"/>
                  <a:pt x="4038" y="232"/>
                </a:cubicBezTo>
                <a:cubicBezTo>
                  <a:pt x="4028" y="194"/>
                  <a:pt x="4000" y="172"/>
                  <a:pt x="3954" y="172"/>
                </a:cubicBezTo>
                <a:cubicBezTo>
                  <a:pt x="3916" y="172"/>
                  <a:pt x="3880" y="196"/>
                  <a:pt x="3858" y="224"/>
                </a:cubicBezTo>
                <a:cubicBezTo>
                  <a:pt x="3858" y="176"/>
                  <a:pt x="3858" y="176"/>
                  <a:pt x="3858" y="176"/>
                </a:cubicBezTo>
                <a:cubicBezTo>
                  <a:pt x="3756" y="176"/>
                  <a:pt x="3756" y="176"/>
                  <a:pt x="3756" y="176"/>
                </a:cubicBezTo>
                <a:cubicBezTo>
                  <a:pt x="3756" y="188"/>
                  <a:pt x="3756" y="188"/>
                  <a:pt x="3756" y="188"/>
                </a:cubicBezTo>
                <a:cubicBezTo>
                  <a:pt x="3800" y="190"/>
                  <a:pt x="3806" y="192"/>
                  <a:pt x="3806" y="268"/>
                </a:cubicBezTo>
                <a:cubicBezTo>
                  <a:pt x="3806" y="346"/>
                  <a:pt x="3806" y="346"/>
                  <a:pt x="3806" y="346"/>
                </a:cubicBezTo>
                <a:cubicBezTo>
                  <a:pt x="3806" y="434"/>
                  <a:pt x="3804" y="434"/>
                  <a:pt x="3758" y="434"/>
                </a:cubicBezTo>
                <a:cubicBezTo>
                  <a:pt x="3758" y="446"/>
                  <a:pt x="3758" y="446"/>
                  <a:pt x="3758" y="446"/>
                </a:cubicBezTo>
                <a:cubicBezTo>
                  <a:pt x="3902" y="446"/>
                  <a:pt x="3902" y="446"/>
                  <a:pt x="3902" y="446"/>
                </a:cubicBezTo>
                <a:cubicBezTo>
                  <a:pt x="3902" y="434"/>
                  <a:pt x="3902" y="434"/>
                  <a:pt x="3902" y="434"/>
                </a:cubicBezTo>
                <a:cubicBezTo>
                  <a:pt x="3862" y="430"/>
                  <a:pt x="3858" y="430"/>
                  <a:pt x="3858" y="342"/>
                </a:cubicBezTo>
                <a:cubicBezTo>
                  <a:pt x="3858" y="262"/>
                  <a:pt x="3858" y="262"/>
                  <a:pt x="3858" y="262"/>
                </a:cubicBezTo>
                <a:cubicBezTo>
                  <a:pt x="3858" y="234"/>
                  <a:pt x="3894" y="204"/>
                  <a:pt x="3932" y="204"/>
                </a:cubicBezTo>
                <a:cubicBezTo>
                  <a:pt x="3974" y="204"/>
                  <a:pt x="3990" y="226"/>
                  <a:pt x="3990" y="282"/>
                </a:cubicBezTo>
                <a:cubicBezTo>
                  <a:pt x="3990" y="338"/>
                  <a:pt x="3990" y="338"/>
                  <a:pt x="3990" y="338"/>
                </a:cubicBezTo>
                <a:cubicBezTo>
                  <a:pt x="3990" y="428"/>
                  <a:pt x="3988" y="432"/>
                  <a:pt x="3950" y="436"/>
                </a:cubicBezTo>
                <a:cubicBezTo>
                  <a:pt x="3950" y="448"/>
                  <a:pt x="3950" y="448"/>
                  <a:pt x="3950" y="448"/>
                </a:cubicBezTo>
                <a:cubicBezTo>
                  <a:pt x="4086" y="448"/>
                  <a:pt x="4086" y="448"/>
                  <a:pt x="4086" y="448"/>
                </a:cubicBezTo>
                <a:cubicBezTo>
                  <a:pt x="4086" y="436"/>
                  <a:pt x="4086" y="436"/>
                  <a:pt x="4086" y="436"/>
                </a:cubicBezTo>
                <a:cubicBezTo>
                  <a:pt x="4040" y="432"/>
                  <a:pt x="4042" y="428"/>
                  <a:pt x="4042" y="342"/>
                </a:cubicBezTo>
                <a:cubicBezTo>
                  <a:pt x="4042" y="264"/>
                  <a:pt x="4042" y="264"/>
                  <a:pt x="4042" y="264"/>
                </a:cubicBezTo>
                <a:cubicBezTo>
                  <a:pt x="4042" y="236"/>
                  <a:pt x="4078" y="206"/>
                  <a:pt x="4118" y="206"/>
                </a:cubicBezTo>
                <a:cubicBezTo>
                  <a:pt x="4152" y="206"/>
                  <a:pt x="4174" y="226"/>
                  <a:pt x="4174" y="284"/>
                </a:cubicBezTo>
                <a:cubicBezTo>
                  <a:pt x="4174" y="346"/>
                  <a:pt x="4174" y="346"/>
                  <a:pt x="4174" y="346"/>
                </a:cubicBezTo>
                <a:cubicBezTo>
                  <a:pt x="4174" y="428"/>
                  <a:pt x="4174" y="432"/>
                  <a:pt x="4134" y="436"/>
                </a:cubicBezTo>
                <a:cubicBezTo>
                  <a:pt x="4134" y="448"/>
                  <a:pt x="4134" y="448"/>
                  <a:pt x="4134" y="448"/>
                </a:cubicBezTo>
                <a:lnTo>
                  <a:pt x="4136" y="448"/>
                </a:lnTo>
                <a:close/>
                <a:moveTo>
                  <a:pt x="4546" y="316"/>
                </a:moveTo>
                <a:cubicBezTo>
                  <a:pt x="4546" y="388"/>
                  <a:pt x="4516" y="432"/>
                  <a:pt x="4460" y="432"/>
                </a:cubicBezTo>
                <a:cubicBezTo>
                  <a:pt x="4424" y="432"/>
                  <a:pt x="4384" y="412"/>
                  <a:pt x="4384" y="384"/>
                </a:cubicBezTo>
                <a:cubicBezTo>
                  <a:pt x="4384" y="248"/>
                  <a:pt x="4384" y="248"/>
                  <a:pt x="4384" y="248"/>
                </a:cubicBezTo>
                <a:cubicBezTo>
                  <a:pt x="4384" y="226"/>
                  <a:pt x="4416" y="202"/>
                  <a:pt x="4454" y="202"/>
                </a:cubicBezTo>
                <a:cubicBezTo>
                  <a:pt x="4510" y="206"/>
                  <a:pt x="4546" y="248"/>
                  <a:pt x="4546" y="316"/>
                </a:cubicBezTo>
                <a:moveTo>
                  <a:pt x="4600" y="310"/>
                </a:moveTo>
                <a:cubicBezTo>
                  <a:pt x="4600" y="230"/>
                  <a:pt x="4548" y="170"/>
                  <a:pt x="4478" y="170"/>
                </a:cubicBezTo>
                <a:cubicBezTo>
                  <a:pt x="4438" y="170"/>
                  <a:pt x="4406" y="188"/>
                  <a:pt x="4384" y="214"/>
                </a:cubicBezTo>
                <a:cubicBezTo>
                  <a:pt x="4384" y="174"/>
                  <a:pt x="4384" y="174"/>
                  <a:pt x="4384" y="174"/>
                </a:cubicBezTo>
                <a:cubicBezTo>
                  <a:pt x="4284" y="174"/>
                  <a:pt x="4284" y="174"/>
                  <a:pt x="4284" y="174"/>
                </a:cubicBezTo>
                <a:cubicBezTo>
                  <a:pt x="4284" y="186"/>
                  <a:pt x="4284" y="186"/>
                  <a:pt x="4284" y="186"/>
                </a:cubicBezTo>
                <a:cubicBezTo>
                  <a:pt x="4326" y="188"/>
                  <a:pt x="4332" y="190"/>
                  <a:pt x="4332" y="280"/>
                </a:cubicBezTo>
                <a:cubicBezTo>
                  <a:pt x="4332" y="466"/>
                  <a:pt x="4332" y="466"/>
                  <a:pt x="4332" y="466"/>
                </a:cubicBezTo>
                <a:cubicBezTo>
                  <a:pt x="4332" y="564"/>
                  <a:pt x="4334" y="570"/>
                  <a:pt x="4286" y="574"/>
                </a:cubicBezTo>
                <a:cubicBezTo>
                  <a:pt x="4286" y="588"/>
                  <a:pt x="4286" y="588"/>
                  <a:pt x="4286" y="588"/>
                </a:cubicBezTo>
                <a:cubicBezTo>
                  <a:pt x="4432" y="588"/>
                  <a:pt x="4432" y="588"/>
                  <a:pt x="4432" y="588"/>
                </a:cubicBezTo>
                <a:cubicBezTo>
                  <a:pt x="4432" y="574"/>
                  <a:pt x="4432" y="574"/>
                  <a:pt x="4432" y="574"/>
                </a:cubicBezTo>
                <a:cubicBezTo>
                  <a:pt x="4380" y="572"/>
                  <a:pt x="4384" y="564"/>
                  <a:pt x="4384" y="462"/>
                </a:cubicBezTo>
                <a:cubicBezTo>
                  <a:pt x="4384" y="424"/>
                  <a:pt x="4384" y="424"/>
                  <a:pt x="4384" y="424"/>
                </a:cubicBezTo>
                <a:cubicBezTo>
                  <a:pt x="4404" y="444"/>
                  <a:pt x="4436" y="454"/>
                  <a:pt x="4466" y="454"/>
                </a:cubicBezTo>
                <a:cubicBezTo>
                  <a:pt x="4548" y="454"/>
                  <a:pt x="4600" y="392"/>
                  <a:pt x="4600" y="310"/>
                </a:cubicBezTo>
                <a:moveTo>
                  <a:pt x="4792" y="382"/>
                </a:moveTo>
                <a:cubicBezTo>
                  <a:pt x="4792" y="404"/>
                  <a:pt x="4762" y="424"/>
                  <a:pt x="4736" y="424"/>
                </a:cubicBezTo>
                <a:cubicBezTo>
                  <a:pt x="4712" y="424"/>
                  <a:pt x="4694" y="410"/>
                  <a:pt x="4694" y="378"/>
                </a:cubicBezTo>
                <a:cubicBezTo>
                  <a:pt x="4694" y="322"/>
                  <a:pt x="4752" y="328"/>
                  <a:pt x="4792" y="306"/>
                </a:cubicBezTo>
                <a:cubicBezTo>
                  <a:pt x="4792" y="382"/>
                  <a:pt x="4792" y="382"/>
                  <a:pt x="4792" y="382"/>
                </a:cubicBezTo>
                <a:close/>
                <a:moveTo>
                  <a:pt x="5240" y="434"/>
                </a:moveTo>
                <a:cubicBezTo>
                  <a:pt x="5192" y="432"/>
                  <a:pt x="5192" y="430"/>
                  <a:pt x="5192" y="340"/>
                </a:cubicBezTo>
                <a:cubicBezTo>
                  <a:pt x="5192" y="278"/>
                  <a:pt x="5192" y="278"/>
                  <a:pt x="5192" y="278"/>
                </a:cubicBezTo>
                <a:cubicBezTo>
                  <a:pt x="5192" y="196"/>
                  <a:pt x="5146" y="170"/>
                  <a:pt x="5104" y="170"/>
                </a:cubicBezTo>
                <a:cubicBezTo>
                  <a:pt x="5068" y="170"/>
                  <a:pt x="5032" y="186"/>
                  <a:pt x="5004" y="222"/>
                </a:cubicBezTo>
                <a:cubicBezTo>
                  <a:pt x="5004" y="174"/>
                  <a:pt x="5004" y="174"/>
                  <a:pt x="5004" y="174"/>
                </a:cubicBezTo>
                <a:cubicBezTo>
                  <a:pt x="4902" y="174"/>
                  <a:pt x="4902" y="174"/>
                  <a:pt x="4902" y="174"/>
                </a:cubicBezTo>
                <a:cubicBezTo>
                  <a:pt x="4902" y="186"/>
                  <a:pt x="4902" y="186"/>
                  <a:pt x="4902" y="186"/>
                </a:cubicBezTo>
                <a:cubicBezTo>
                  <a:pt x="4946" y="188"/>
                  <a:pt x="4952" y="190"/>
                  <a:pt x="4952" y="266"/>
                </a:cubicBezTo>
                <a:cubicBezTo>
                  <a:pt x="4952" y="334"/>
                  <a:pt x="4952" y="334"/>
                  <a:pt x="4952" y="334"/>
                </a:cubicBezTo>
                <a:cubicBezTo>
                  <a:pt x="4952" y="430"/>
                  <a:pt x="4952" y="432"/>
                  <a:pt x="4904" y="434"/>
                </a:cubicBezTo>
                <a:cubicBezTo>
                  <a:pt x="4892" y="434"/>
                  <a:pt x="4892" y="434"/>
                  <a:pt x="4892" y="434"/>
                </a:cubicBezTo>
                <a:cubicBezTo>
                  <a:pt x="4854" y="434"/>
                  <a:pt x="4850" y="422"/>
                  <a:pt x="4850" y="366"/>
                </a:cubicBezTo>
                <a:cubicBezTo>
                  <a:pt x="4850" y="274"/>
                  <a:pt x="4850" y="274"/>
                  <a:pt x="4850" y="274"/>
                </a:cubicBezTo>
                <a:cubicBezTo>
                  <a:pt x="4850" y="256"/>
                  <a:pt x="4848" y="240"/>
                  <a:pt x="4844" y="228"/>
                </a:cubicBezTo>
                <a:cubicBezTo>
                  <a:pt x="4830" y="186"/>
                  <a:pt x="4796" y="170"/>
                  <a:pt x="4748" y="170"/>
                </a:cubicBezTo>
                <a:cubicBezTo>
                  <a:pt x="4718" y="170"/>
                  <a:pt x="4674" y="180"/>
                  <a:pt x="4650" y="202"/>
                </a:cubicBezTo>
                <a:cubicBezTo>
                  <a:pt x="4652" y="214"/>
                  <a:pt x="4664" y="240"/>
                  <a:pt x="4670" y="248"/>
                </a:cubicBezTo>
                <a:cubicBezTo>
                  <a:pt x="4676" y="246"/>
                  <a:pt x="4676" y="246"/>
                  <a:pt x="4676" y="246"/>
                </a:cubicBezTo>
                <a:cubicBezTo>
                  <a:pt x="4688" y="216"/>
                  <a:pt x="4708" y="194"/>
                  <a:pt x="4742" y="194"/>
                </a:cubicBezTo>
                <a:cubicBezTo>
                  <a:pt x="4778" y="194"/>
                  <a:pt x="4794" y="220"/>
                  <a:pt x="4794" y="250"/>
                </a:cubicBezTo>
                <a:cubicBezTo>
                  <a:pt x="4794" y="282"/>
                  <a:pt x="4794" y="282"/>
                  <a:pt x="4794" y="282"/>
                </a:cubicBezTo>
                <a:cubicBezTo>
                  <a:pt x="4794" y="302"/>
                  <a:pt x="4702" y="306"/>
                  <a:pt x="4664" y="338"/>
                </a:cubicBezTo>
                <a:cubicBezTo>
                  <a:pt x="4652" y="350"/>
                  <a:pt x="4642" y="364"/>
                  <a:pt x="4642" y="384"/>
                </a:cubicBezTo>
                <a:cubicBezTo>
                  <a:pt x="4642" y="426"/>
                  <a:pt x="4672" y="456"/>
                  <a:pt x="4716" y="456"/>
                </a:cubicBezTo>
                <a:cubicBezTo>
                  <a:pt x="4744" y="456"/>
                  <a:pt x="4768" y="446"/>
                  <a:pt x="4794" y="418"/>
                </a:cubicBezTo>
                <a:cubicBezTo>
                  <a:pt x="4798" y="438"/>
                  <a:pt x="4814" y="448"/>
                  <a:pt x="4842" y="448"/>
                </a:cubicBezTo>
                <a:cubicBezTo>
                  <a:pt x="4906" y="448"/>
                  <a:pt x="4906" y="448"/>
                  <a:pt x="4906" y="448"/>
                </a:cubicBezTo>
                <a:cubicBezTo>
                  <a:pt x="4906" y="448"/>
                  <a:pt x="4906" y="448"/>
                  <a:pt x="4906" y="448"/>
                </a:cubicBezTo>
                <a:cubicBezTo>
                  <a:pt x="5048" y="448"/>
                  <a:pt x="5048" y="448"/>
                  <a:pt x="5048" y="448"/>
                </a:cubicBezTo>
                <a:cubicBezTo>
                  <a:pt x="5048" y="436"/>
                  <a:pt x="5048" y="436"/>
                  <a:pt x="5048" y="436"/>
                </a:cubicBezTo>
                <a:cubicBezTo>
                  <a:pt x="5006" y="432"/>
                  <a:pt x="5004" y="434"/>
                  <a:pt x="5004" y="338"/>
                </a:cubicBezTo>
                <a:cubicBezTo>
                  <a:pt x="5004" y="262"/>
                  <a:pt x="5004" y="262"/>
                  <a:pt x="5004" y="262"/>
                </a:cubicBezTo>
                <a:cubicBezTo>
                  <a:pt x="5004" y="236"/>
                  <a:pt x="5038" y="206"/>
                  <a:pt x="5080" y="206"/>
                </a:cubicBezTo>
                <a:cubicBezTo>
                  <a:pt x="5114" y="206"/>
                  <a:pt x="5140" y="220"/>
                  <a:pt x="5140" y="286"/>
                </a:cubicBezTo>
                <a:cubicBezTo>
                  <a:pt x="5140" y="340"/>
                  <a:pt x="5140" y="340"/>
                  <a:pt x="5140" y="340"/>
                </a:cubicBezTo>
                <a:cubicBezTo>
                  <a:pt x="5140" y="432"/>
                  <a:pt x="5136" y="432"/>
                  <a:pt x="5098" y="434"/>
                </a:cubicBezTo>
                <a:cubicBezTo>
                  <a:pt x="5098" y="446"/>
                  <a:pt x="5098" y="446"/>
                  <a:pt x="5098" y="446"/>
                </a:cubicBezTo>
                <a:cubicBezTo>
                  <a:pt x="5240" y="446"/>
                  <a:pt x="5240" y="446"/>
                  <a:pt x="5240" y="446"/>
                </a:cubicBezTo>
                <a:lnTo>
                  <a:pt x="5240" y="434"/>
                </a:lnTo>
                <a:close/>
                <a:moveTo>
                  <a:pt x="5516" y="192"/>
                </a:moveTo>
                <a:cubicBezTo>
                  <a:pt x="5516" y="180"/>
                  <a:pt x="5516" y="180"/>
                  <a:pt x="5516" y="180"/>
                </a:cubicBezTo>
                <a:cubicBezTo>
                  <a:pt x="5418" y="180"/>
                  <a:pt x="5418" y="180"/>
                  <a:pt x="5418" y="180"/>
                </a:cubicBezTo>
                <a:cubicBezTo>
                  <a:pt x="5418" y="192"/>
                  <a:pt x="5418" y="192"/>
                  <a:pt x="5418" y="192"/>
                </a:cubicBezTo>
                <a:cubicBezTo>
                  <a:pt x="5442" y="194"/>
                  <a:pt x="5454" y="206"/>
                  <a:pt x="5446" y="234"/>
                </a:cubicBezTo>
                <a:cubicBezTo>
                  <a:pt x="5394" y="390"/>
                  <a:pt x="5394" y="390"/>
                  <a:pt x="5394" y="390"/>
                </a:cubicBezTo>
                <a:cubicBezTo>
                  <a:pt x="5342" y="270"/>
                  <a:pt x="5342" y="270"/>
                  <a:pt x="5342" y="270"/>
                </a:cubicBezTo>
                <a:cubicBezTo>
                  <a:pt x="5328" y="238"/>
                  <a:pt x="5322" y="224"/>
                  <a:pt x="5322" y="212"/>
                </a:cubicBezTo>
                <a:cubicBezTo>
                  <a:pt x="5322" y="202"/>
                  <a:pt x="5328" y="196"/>
                  <a:pt x="5348" y="192"/>
                </a:cubicBezTo>
                <a:cubicBezTo>
                  <a:pt x="5348" y="180"/>
                  <a:pt x="5348" y="180"/>
                  <a:pt x="5348" y="180"/>
                </a:cubicBezTo>
                <a:cubicBezTo>
                  <a:pt x="5220" y="180"/>
                  <a:pt x="5220" y="180"/>
                  <a:pt x="5220" y="180"/>
                </a:cubicBezTo>
                <a:cubicBezTo>
                  <a:pt x="5220" y="192"/>
                  <a:pt x="5220" y="192"/>
                  <a:pt x="5220" y="192"/>
                </a:cubicBezTo>
                <a:cubicBezTo>
                  <a:pt x="5252" y="194"/>
                  <a:pt x="5254" y="198"/>
                  <a:pt x="5296" y="292"/>
                </a:cubicBezTo>
                <a:cubicBezTo>
                  <a:pt x="5368" y="450"/>
                  <a:pt x="5368" y="450"/>
                  <a:pt x="5368" y="450"/>
                </a:cubicBezTo>
                <a:cubicBezTo>
                  <a:pt x="5344" y="512"/>
                  <a:pt x="5306" y="546"/>
                  <a:pt x="5228" y="564"/>
                </a:cubicBezTo>
                <a:cubicBezTo>
                  <a:pt x="5232" y="576"/>
                  <a:pt x="5246" y="600"/>
                  <a:pt x="5254" y="606"/>
                </a:cubicBezTo>
                <a:cubicBezTo>
                  <a:pt x="5356" y="564"/>
                  <a:pt x="5376" y="498"/>
                  <a:pt x="5412" y="396"/>
                </a:cubicBezTo>
                <a:cubicBezTo>
                  <a:pt x="5466" y="242"/>
                  <a:pt x="5466" y="242"/>
                  <a:pt x="5466" y="242"/>
                </a:cubicBezTo>
                <a:cubicBezTo>
                  <a:pt x="5478" y="206"/>
                  <a:pt x="5498" y="192"/>
                  <a:pt x="5516" y="192"/>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600" kern="1200">
                <a:solidFill>
                  <a:schemeClr val="tx1"/>
                </a:solidFill>
                <a:latin typeface="Arial" charset="0"/>
                <a:ea typeface="+mn-ea"/>
                <a:cs typeface="+mn-cs"/>
              </a:defRPr>
            </a:lvl1pPr>
            <a:lvl2pPr marL="457200" algn="l" rtl="0" fontAlgn="base">
              <a:spcBef>
                <a:spcPct val="0"/>
              </a:spcBef>
              <a:spcAft>
                <a:spcPct val="0"/>
              </a:spcAft>
              <a:defRPr sz="1600" kern="1200">
                <a:solidFill>
                  <a:schemeClr val="tx1"/>
                </a:solidFill>
                <a:latin typeface="Arial" charset="0"/>
                <a:ea typeface="+mn-ea"/>
                <a:cs typeface="+mn-cs"/>
              </a:defRPr>
            </a:lvl2pPr>
            <a:lvl3pPr marL="914400" algn="l" rtl="0" fontAlgn="base">
              <a:spcBef>
                <a:spcPct val="0"/>
              </a:spcBef>
              <a:spcAft>
                <a:spcPct val="0"/>
              </a:spcAft>
              <a:defRPr sz="1600" kern="1200">
                <a:solidFill>
                  <a:schemeClr val="tx1"/>
                </a:solidFill>
                <a:latin typeface="Arial" charset="0"/>
                <a:ea typeface="+mn-ea"/>
                <a:cs typeface="+mn-cs"/>
              </a:defRPr>
            </a:lvl3pPr>
            <a:lvl4pPr marL="1371600" algn="l" rtl="0" fontAlgn="base">
              <a:spcBef>
                <a:spcPct val="0"/>
              </a:spcBef>
              <a:spcAft>
                <a:spcPct val="0"/>
              </a:spcAft>
              <a:defRPr sz="1600" kern="1200">
                <a:solidFill>
                  <a:schemeClr val="tx1"/>
                </a:solidFill>
                <a:latin typeface="Arial" charset="0"/>
                <a:ea typeface="+mn-ea"/>
                <a:cs typeface="+mn-cs"/>
              </a:defRPr>
            </a:lvl4pPr>
            <a:lvl5pPr marL="1828800" algn="l" rtl="0" fontAlgn="base">
              <a:spcBef>
                <a:spcPct val="0"/>
              </a:spcBef>
              <a:spcAft>
                <a:spcPct val="0"/>
              </a:spcAft>
              <a:defRPr sz="1600" kern="1200">
                <a:solidFill>
                  <a:schemeClr val="tx1"/>
                </a:solidFill>
                <a:latin typeface="Arial" charset="0"/>
                <a:ea typeface="+mn-ea"/>
                <a:cs typeface="+mn-cs"/>
              </a:defRPr>
            </a:lvl5pPr>
            <a:lvl6pPr marL="2286000" algn="l" defTabSz="914400" rtl="0" eaLnBrk="1" latinLnBrk="0" hangingPunct="1">
              <a:defRPr sz="1600" kern="1200">
                <a:solidFill>
                  <a:schemeClr val="tx1"/>
                </a:solidFill>
                <a:latin typeface="Arial" charset="0"/>
                <a:ea typeface="+mn-ea"/>
                <a:cs typeface="+mn-cs"/>
              </a:defRPr>
            </a:lvl6pPr>
            <a:lvl7pPr marL="2743200" algn="l" defTabSz="914400" rtl="0" eaLnBrk="1" latinLnBrk="0" hangingPunct="1">
              <a:defRPr sz="1600" kern="1200">
                <a:solidFill>
                  <a:schemeClr val="tx1"/>
                </a:solidFill>
                <a:latin typeface="Arial" charset="0"/>
                <a:ea typeface="+mn-ea"/>
                <a:cs typeface="+mn-cs"/>
              </a:defRPr>
            </a:lvl7pPr>
            <a:lvl8pPr marL="3200400" algn="l" defTabSz="914400" rtl="0" eaLnBrk="1" latinLnBrk="0" hangingPunct="1">
              <a:defRPr sz="1600" kern="1200">
                <a:solidFill>
                  <a:schemeClr val="tx1"/>
                </a:solidFill>
                <a:latin typeface="Arial" charset="0"/>
                <a:ea typeface="+mn-ea"/>
                <a:cs typeface="+mn-cs"/>
              </a:defRPr>
            </a:lvl8pPr>
            <a:lvl9pPr marL="3657600" algn="l" defTabSz="914400" rtl="0" eaLnBrk="1" latinLnBrk="0" hangingPunct="1">
              <a:defRPr sz="1600" kern="1200">
                <a:solidFill>
                  <a:schemeClr val="tx1"/>
                </a:solidFill>
                <a:latin typeface="Arial" charset="0"/>
                <a:ea typeface="+mn-ea"/>
                <a:cs typeface="+mn-cs"/>
              </a:defRPr>
            </a:lvl9pPr>
          </a:lstStyle>
          <a:p>
            <a:endParaRPr lang="en-US" baseline="0" dirty="0">
              <a:solidFill>
                <a:srgbClr val="000000"/>
              </a:solidFill>
              <a:latin typeface="+mn-lt"/>
            </a:endParaRPr>
          </a:p>
        </p:txBody>
      </p:sp>
      <p:sp>
        <p:nvSpPr>
          <p:cNvPr id="27" name="Disclaimer-English (United States)" hidden="1"/>
          <p:cNvSpPr>
            <a:spLocks noChangeArrowheads="1"/>
          </p:cNvSpPr>
          <p:nvPr/>
        </p:nvSpPr>
        <p:spPr bwMode="black">
          <a:xfrm>
            <a:off x="2268266" y="6287785"/>
            <a:ext cx="3544453" cy="36908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t" anchorCtr="0">
            <a:noAutofit/>
          </a:bodyPr>
          <a:lstStyle/>
          <a:p>
            <a:pPr defTabSz="804863" eaLnBrk="0" hangingPunct="0"/>
            <a:r>
              <a:rPr lang="en-US" sz="800" baseline="0" dirty="0">
                <a:solidFill>
                  <a:srgbClr val="FFFFFF"/>
                </a:solidFill>
                <a:latin typeface="+mn-lt"/>
              </a:rPr>
              <a:t>CONFIDENTIAL AND PROPRIETARY</a:t>
            </a:r>
          </a:p>
          <a:p>
            <a:pPr defTabSz="804863" eaLnBrk="0" hangingPunct="0"/>
            <a:r>
              <a:rPr lang="en-US" sz="800" baseline="0" dirty="0">
                <a:solidFill>
                  <a:srgbClr val="FFFFFF"/>
                </a:solidFill>
                <a:latin typeface="+mn-lt"/>
              </a:rPr>
              <a:t>Any use of this material without specific permission of McKinsey &amp; Company is strictly prohibited</a:t>
            </a:r>
          </a:p>
        </p:txBody>
      </p:sp>
    </p:spTree>
    <p:extLst>
      <p:ext uri="{BB962C8B-B14F-4D97-AF65-F5344CB8AC3E}">
        <p14:creationId xmlns:p14="http://schemas.microsoft.com/office/powerpoint/2010/main" val="3518429190"/>
      </p:ext>
    </p:extLst>
  </p:cSld>
  <p:clrMapOvr>
    <a:masterClrMapping/>
  </p:clrMapOvr>
  <p:extLst mod="1">
    <p:ext uri="{DCECCB84-F9BA-43D5-87BE-67443E8EF086}">
      <p15:sldGuideLst xmlns:p15="http://schemas.microsoft.com/office/powerpoint/2012/main">
        <p15:guide id="1" orient="horz" pos="2117">
          <p15:clr>
            <a:srgbClr val="FBAE40"/>
          </p15:clr>
        </p15:guide>
        <p15:guide id="2" pos="1416">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6E228F5-5CF1-42E1-9748-97D7582A107A}"/>
              </a:ext>
            </a:extLst>
          </p:cNvPr>
          <p:cNvGraphicFramePr>
            <a:graphicFrameLocks noChangeAspect="1"/>
          </p:cNvGraphicFramePr>
          <p:nvPr>
            <p:custDataLst>
              <p:tags r:id="rId2"/>
            </p:custDataLst>
            <p:extLst>
              <p:ext uri="{D42A27DB-BD31-4B8C-83A1-F6EECF244321}">
                <p14:modId xmlns:p14="http://schemas.microsoft.com/office/powerpoint/2010/main" val="256587880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8692" name="think-cell Slide" r:id="rId5" imgW="353" imgH="353" progId="TCLayout.ActiveDocument.1">
                  <p:embed/>
                </p:oleObj>
              </mc:Choice>
              <mc:Fallback>
                <p:oleObj name="think-cell Slide" r:id="rId5" imgW="353" imgH="353" progId="TCLayout.ActiveDocument.1">
                  <p:embed/>
                  <p:pic>
                    <p:nvPicPr>
                      <p:cNvPr id="3" name="Object 2" hidden="1">
                        <a:extLst>
                          <a:ext uri="{FF2B5EF4-FFF2-40B4-BE49-F238E27FC236}">
                            <a16:creationId xmlns:a16="http://schemas.microsoft.com/office/drawing/2014/main" id="{C6E228F5-5CF1-42E1-9748-97D7582A107A}"/>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2. Slide Title"/>
          <p:cNvSpPr>
            <a:spLocks noGrp="1"/>
          </p:cNvSpPr>
          <p:nvPr>
            <p:ph type="title"/>
          </p:nvPr>
        </p:nvSpPr>
        <p:spPr bwMode="auto"/>
        <p:txBody>
          <a:bodyPr/>
          <a:lstStyle/>
          <a:p>
            <a:r>
              <a:rPr lang="en-US"/>
              <a:t>Click to edit Master title style</a:t>
            </a:r>
            <a:endParaRPr lang="en-US" dirty="0"/>
          </a:p>
        </p:txBody>
      </p:sp>
      <p:sp>
        <p:nvSpPr>
          <p:cNvPr id="8" name="Slide Number"/>
          <p:cNvSpPr txBox="1">
            <a:spLocks/>
          </p:cNvSpPr>
          <p:nvPr/>
        </p:nvSpPr>
        <p:spPr bwMode="auto">
          <a:xfrm>
            <a:off x="8564563" y="6508272"/>
            <a:ext cx="125034" cy="123111"/>
          </a:xfrm>
          <a:prstGeom prst="rect">
            <a:avLst/>
          </a:prstGeom>
        </p:spPr>
        <p:txBody>
          <a:bodyPr vert="horz" wrap="none" lIns="0" tIns="0" rIns="0" bIns="0" rtlCol="0" anchor="ctr">
            <a:spAutoFit/>
          </a:bodyPr>
          <a:lstStyle>
            <a:defPPr>
              <a:defRPr lang="en-US"/>
            </a:defPPr>
            <a:lvl1pPr>
              <a:defRPr sz="1000" baseline="0">
                <a:latin typeface="+mn-lt"/>
              </a:defRPr>
            </a:lvl1pPr>
          </a:lstStyle>
          <a:p>
            <a:fld id="{42C328C1-A84F-4A39-A664-DBA00541A8C6}" type="slidenum">
              <a:rPr lang="en-US" sz="800" baseline="0" smtClean="0">
                <a:solidFill>
                  <a:srgbClr val="808080"/>
                </a:solidFill>
                <a:latin typeface="+mn-lt"/>
              </a:rPr>
              <a:pPr/>
              <a:t>‹#›</a:t>
            </a:fld>
            <a:endParaRPr lang="en-US" sz="800" baseline="0" dirty="0">
              <a:solidFill>
                <a:srgbClr val="808080"/>
              </a:solidFill>
              <a:latin typeface="+mn-lt"/>
            </a:endParaRPr>
          </a:p>
        </p:txBody>
      </p:sp>
      <p:sp>
        <p:nvSpPr>
          <p:cNvPr id="9" name="SlideLogoText"/>
          <p:cNvSpPr>
            <a:spLocks noChangeArrowheads="1"/>
          </p:cNvSpPr>
          <p:nvPr>
            <p:custDataLst>
              <p:tags r:id="rId3"/>
            </p:custDataLst>
          </p:nvPr>
        </p:nvSpPr>
        <p:spPr bwMode="auto">
          <a:xfrm>
            <a:off x="7450817" y="6508272"/>
            <a:ext cx="1013098"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algn="r" defTabSz="895350"/>
            <a:r>
              <a:rPr lang="en-US" sz="800" baseline="0" dirty="0">
                <a:solidFill>
                  <a:srgbClr val="808080"/>
                </a:solidFill>
                <a:latin typeface="+mn-lt"/>
              </a:rPr>
              <a:t>McKinsey &amp; Company</a:t>
            </a:r>
          </a:p>
        </p:txBody>
      </p:sp>
      <p:sp>
        <p:nvSpPr>
          <p:cNvPr id="5" name="doc id" hidden="1"/>
          <p:cNvSpPr txBox="1">
            <a:spLocks noChangeArrowheads="1"/>
          </p:cNvSpPr>
          <p:nvPr/>
        </p:nvSpPr>
        <p:spPr bwMode="white">
          <a:xfrm>
            <a:off x="8104473" y="36513"/>
            <a:ext cx="634716" cy="115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hangingPunct="1">
              <a:defRPr/>
            </a:pPr>
            <a:endParaRPr lang="en-US" sz="800" baseline="0" dirty="0">
              <a:solidFill>
                <a:schemeClr val="accent1"/>
              </a:solidFill>
              <a:latin typeface="+mn-lt"/>
              <a:ea typeface="+mn-ea"/>
            </a:endParaRPr>
          </a:p>
        </p:txBody>
      </p:sp>
    </p:spTree>
    <p:extLst>
      <p:ext uri="{BB962C8B-B14F-4D97-AF65-F5344CB8AC3E}">
        <p14:creationId xmlns:p14="http://schemas.microsoft.com/office/powerpoint/2010/main" val="1173421591"/>
      </p:ext>
    </p:extLst>
  </p:cSld>
  <p:clrMapOvr>
    <a:masterClrMapping/>
  </p:clrMapOvr>
  <p:extLst mod="1">
    <p:ext uri="{DCECCB84-F9BA-43D5-87BE-67443E8EF086}">
      <p15:sldGuideLst xmlns:p15="http://schemas.microsoft.com/office/powerpoint/2012/main">
        <p15:guide id="1" pos="5505">
          <p15:clr>
            <a:srgbClr val="F26B43"/>
          </p15:clr>
        </p15:guide>
        <p15:guide id="2" pos="74">
          <p15:clr>
            <a:srgbClr val="F26B43"/>
          </p15:clr>
        </p15:guide>
        <p15:guide id="3" orient="horz" pos="571">
          <p15:clr>
            <a:srgbClr val="F26B43"/>
          </p15:clr>
        </p15:guide>
        <p15:guide id="4" orient="horz" pos="3911">
          <p15:clr>
            <a:srgbClr val="F26B43"/>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1_Title Only">
    <p:bg>
      <p:bgPr>
        <a:solidFill>
          <a:schemeClr val="accent2"/>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F4AD34F-3B47-47E2-A09C-FFEB949F6A10}"/>
              </a:ext>
            </a:extLst>
          </p:cNvPr>
          <p:cNvGraphicFramePr>
            <a:graphicFrameLocks noChangeAspect="1"/>
          </p:cNvGraphicFramePr>
          <p:nvPr>
            <p:custDataLst>
              <p:tags r:id="rId2"/>
            </p:custDataLst>
            <p:extLst>
              <p:ext uri="{D42A27DB-BD31-4B8C-83A1-F6EECF244321}">
                <p14:modId xmlns:p14="http://schemas.microsoft.com/office/powerpoint/2010/main" val="356465132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9716" name="think-cell Slide" r:id="rId5" imgW="395" imgH="394" progId="TCLayout.ActiveDocument.1">
                  <p:embed/>
                </p:oleObj>
              </mc:Choice>
              <mc:Fallback>
                <p:oleObj name="think-cell Slide" r:id="rId5" imgW="395" imgH="394" progId="TCLayout.ActiveDocument.1">
                  <p:embed/>
                  <p:pic>
                    <p:nvPicPr>
                      <p:cNvPr id="3" name="Object 2" hidden="1">
                        <a:extLst>
                          <a:ext uri="{FF2B5EF4-FFF2-40B4-BE49-F238E27FC236}">
                            <a16:creationId xmlns:a16="http://schemas.microsoft.com/office/drawing/2014/main" id="{EF4AD34F-3B47-47E2-A09C-FFEB949F6A10}"/>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endParaRPr lang="en-US" dirty="0"/>
          </a:p>
        </p:txBody>
      </p:sp>
      <p:sp>
        <p:nvSpPr>
          <p:cNvPr id="15" name="Slide Number"/>
          <p:cNvSpPr txBox="1">
            <a:spLocks/>
          </p:cNvSpPr>
          <p:nvPr/>
        </p:nvSpPr>
        <p:spPr>
          <a:xfrm>
            <a:off x="8564563" y="6508272"/>
            <a:ext cx="125034" cy="123111"/>
          </a:xfrm>
          <a:prstGeom prst="rect">
            <a:avLst/>
          </a:prstGeom>
        </p:spPr>
        <p:txBody>
          <a:bodyPr vert="horz" wrap="none" lIns="0" tIns="0" rIns="0" bIns="0" rtlCol="0" anchor="ctr">
            <a:spAutoFit/>
          </a:bodyPr>
          <a:lstStyle>
            <a:defPPr>
              <a:defRPr lang="en-US"/>
            </a:defPPr>
            <a:lvl1pPr>
              <a:defRPr sz="1000" baseline="0">
                <a:latin typeface="+mn-lt"/>
              </a:defRPr>
            </a:lvl1pPr>
          </a:lstStyle>
          <a:p>
            <a:fld id="{42C328C1-A84F-4A39-A664-DBA00541A8C6}" type="slidenum">
              <a:rPr lang="en-US" sz="800" baseline="0" smtClean="0">
                <a:solidFill>
                  <a:srgbClr val="FFFFFF"/>
                </a:solidFill>
                <a:latin typeface="+mn-lt"/>
              </a:rPr>
              <a:pPr/>
              <a:t>‹#›</a:t>
            </a:fld>
            <a:endParaRPr lang="en-US" sz="800" baseline="0" dirty="0">
              <a:solidFill>
                <a:srgbClr val="FFFFFF"/>
              </a:solidFill>
              <a:latin typeface="+mn-lt"/>
            </a:endParaRPr>
          </a:p>
        </p:txBody>
      </p:sp>
      <p:sp>
        <p:nvSpPr>
          <p:cNvPr id="16" name="SlideLogoText"/>
          <p:cNvSpPr>
            <a:spLocks noChangeArrowheads="1"/>
          </p:cNvSpPr>
          <p:nvPr>
            <p:custDataLst>
              <p:tags r:id="rId3"/>
            </p:custDataLst>
          </p:nvPr>
        </p:nvSpPr>
        <p:spPr bwMode="auto">
          <a:xfrm>
            <a:off x="7450817" y="6508272"/>
            <a:ext cx="1013098"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algn="r" defTabSz="895350"/>
            <a:r>
              <a:rPr lang="en-US" sz="800" baseline="0" dirty="0">
                <a:solidFill>
                  <a:srgbClr val="FFFFFF"/>
                </a:solidFill>
                <a:latin typeface="+mn-lt"/>
              </a:rPr>
              <a:t>McKinsey &amp; Company</a:t>
            </a:r>
          </a:p>
        </p:txBody>
      </p:sp>
      <p:sp>
        <p:nvSpPr>
          <p:cNvPr id="5" name="doc id" hidden="1"/>
          <p:cNvSpPr txBox="1">
            <a:spLocks noChangeArrowheads="1"/>
          </p:cNvSpPr>
          <p:nvPr/>
        </p:nvSpPr>
        <p:spPr bwMode="white">
          <a:xfrm>
            <a:off x="8104473" y="36513"/>
            <a:ext cx="634716" cy="115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hangingPunct="1">
              <a:defRPr/>
            </a:pPr>
            <a:endParaRPr lang="en-US" sz="800" baseline="0" dirty="0">
              <a:solidFill>
                <a:schemeClr val="accent1"/>
              </a:solidFill>
              <a:latin typeface="+mn-lt"/>
              <a:ea typeface="+mn-ea"/>
            </a:endParaRPr>
          </a:p>
        </p:txBody>
      </p:sp>
    </p:spTree>
    <p:extLst>
      <p:ext uri="{BB962C8B-B14F-4D97-AF65-F5344CB8AC3E}">
        <p14:creationId xmlns:p14="http://schemas.microsoft.com/office/powerpoint/2010/main" val="3751794991"/>
      </p:ext>
    </p:extLst>
  </p:cSld>
  <p:clrMapOvr>
    <a:masterClrMapping/>
  </p:clrMapOvr>
  <p:extLst mod="1">
    <p:ext uri="{DCECCB84-F9BA-43D5-87BE-67443E8EF086}">
      <p15:sldGuideLst xmlns:p15="http://schemas.microsoft.com/office/powerpoint/2012/main">
        <p15:guide id="1" pos="3978">
          <p15:clr>
            <a:srgbClr val="000000"/>
          </p15:clr>
        </p15:guide>
        <p15:guide id="2" orient="horz" pos="570">
          <p15:clr>
            <a:srgbClr val="000000"/>
          </p15:clr>
        </p15:guide>
        <p15:guide id="3" orient="horz" pos="3912">
          <p15:clr>
            <a:srgbClr val="000000"/>
          </p15:clr>
        </p15:guide>
        <p15:guide id="4" pos="72">
          <p15:clr>
            <a:srgbClr val="00000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type="titleOnly">
  <p:cSld name="2_Title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ECD524A-1569-4253-8CD8-48D288AD883C}"/>
              </a:ext>
            </a:extLst>
          </p:cNvPr>
          <p:cNvGraphicFramePr>
            <a:graphicFrameLocks noChangeAspect="1"/>
          </p:cNvGraphicFramePr>
          <p:nvPr>
            <p:custDataLst>
              <p:tags r:id="rId2"/>
            </p:custDataLst>
            <p:extLst>
              <p:ext uri="{D42A27DB-BD31-4B8C-83A1-F6EECF244321}">
                <p14:modId xmlns:p14="http://schemas.microsoft.com/office/powerpoint/2010/main" val="13381158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740" name="think-cell Slide" r:id="rId4" imgW="395" imgH="394" progId="TCLayout.ActiveDocument.1">
                  <p:embed/>
                </p:oleObj>
              </mc:Choice>
              <mc:Fallback>
                <p:oleObj name="think-cell Slide" r:id="rId4" imgW="395" imgH="394" progId="TCLayout.ActiveDocument.1">
                  <p:embed/>
                  <p:pic>
                    <p:nvPicPr>
                      <p:cNvPr id="3" name="Object 2" hidden="1">
                        <a:extLst>
                          <a:ext uri="{FF2B5EF4-FFF2-40B4-BE49-F238E27FC236}">
                            <a16:creationId xmlns:a16="http://schemas.microsoft.com/office/drawing/2014/main" id="{5ECD524A-1569-4253-8CD8-48D288AD883C}"/>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9775181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pic>
        <p:nvPicPr>
          <p:cNvPr id="2" name="background"/>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0" y="198"/>
            <a:ext cx="8961438" cy="6721079"/>
          </a:xfrm>
          <a:prstGeom prst="rect">
            <a:avLst/>
          </a:prstGeom>
        </p:spPr>
      </p:pic>
      <p:sp>
        <p:nvSpPr>
          <p:cNvPr id="28" name="TitleRectangle"/>
          <p:cNvSpPr txBox="1">
            <a:spLocks/>
          </p:cNvSpPr>
          <p:nvPr/>
        </p:nvSpPr>
        <p:spPr>
          <a:xfrm>
            <a:off x="2084388" y="0"/>
            <a:ext cx="6875462" cy="3575976"/>
          </a:xfrm>
          <a:prstGeom prst="rect">
            <a:avLst/>
          </a:prstGeom>
          <a:solidFill>
            <a:srgbClr val="002960">
              <a:alpha val="92000"/>
            </a:srgbClr>
          </a:solidFill>
        </p:spPr>
        <p:txBody>
          <a:bodyPr vert="horz" wrap="square" lIns="216000" tIns="1440000" rIns="216000" bIns="108000" rtlCol="0">
            <a:noAutofit/>
          </a:bodyPr>
          <a:lstStyle>
            <a:lvl1pPr marL="0" indent="0" algn="l" defTabSz="914400" rtl="0" eaLnBrk="1" latinLnBrk="0" hangingPunct="1">
              <a:spcBef>
                <a:spcPct val="20000"/>
              </a:spcBef>
              <a:spcAft>
                <a:spcPts val="6000"/>
              </a:spcAft>
              <a:buFont typeface="Arial" pitchFamily="34" charset="0"/>
              <a:buNone/>
              <a:defRPr sz="3200" kern="1200">
                <a:solidFill>
                  <a:schemeClr val="accent1"/>
                </a:solidFill>
                <a:latin typeface="+mn-lt"/>
                <a:ea typeface="+mn-ea"/>
                <a:cs typeface="+mn-cs"/>
              </a:defRPr>
            </a:lvl1pPr>
            <a:lvl2pPr marL="0" indent="0" algn="l" defTabSz="914400" rtl="0" eaLnBrk="1" latinLnBrk="0" hangingPunct="1">
              <a:spcBef>
                <a:spcPct val="20000"/>
              </a:spcBef>
              <a:buFont typeface="Wingdings" charset="2"/>
              <a:buNone/>
              <a:defRPr sz="1400" kern="1200">
                <a:solidFill>
                  <a:schemeClr val="tx1">
                    <a:lumMod val="50000"/>
                    <a:lumOff val="50000"/>
                  </a:schemeClr>
                </a:solidFill>
                <a:latin typeface="+mn-lt"/>
                <a:ea typeface="+mn-ea"/>
                <a:cs typeface="+mn-cs"/>
              </a:defRPr>
            </a:lvl2pPr>
            <a:lvl3pPr marL="1143000" indent="-228600" algn="l" defTabSz="914400" rtl="0" eaLnBrk="1" latinLnBrk="0" hangingPunct="1">
              <a:spcBef>
                <a:spcPct val="20000"/>
              </a:spcBef>
              <a:buFont typeface="Lucida Grande"/>
              <a:buChar char="–"/>
              <a:defRPr sz="16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fontAlgn="auto">
              <a:defRPr/>
            </a:pPr>
            <a:r>
              <a:rPr lang="en-US" baseline="0" dirty="0">
                <a:solidFill>
                  <a:srgbClr val="00ADEF"/>
                </a:solidFill>
                <a:latin typeface="+mn-lt"/>
              </a:rPr>
              <a:t>
              </a:t>
            </a:r>
            <a:br>
              <a:rPr lang="en-US" baseline="0" dirty="0">
                <a:solidFill>
                  <a:srgbClr val="00ADEF"/>
                </a:solidFill>
                <a:latin typeface="+mn-lt"/>
              </a:rPr>
            </a:br>
            <a:endParaRPr lang="en-US" baseline="0" dirty="0">
              <a:solidFill>
                <a:srgbClr val="00ADEF"/>
              </a:solidFill>
              <a:latin typeface="+mn-lt"/>
            </a:endParaRPr>
          </a:p>
        </p:txBody>
      </p:sp>
      <p:graphicFrame>
        <p:nvGraphicFramePr>
          <p:cNvPr id="3" name="Object 2"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2788"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Working Draft Text" hidden="1"/>
          <p:cNvSpPr txBox="1">
            <a:spLocks noChangeArrowheads="1"/>
          </p:cNvSpPr>
          <p:nvPr/>
        </p:nvSpPr>
        <p:spPr bwMode="black">
          <a:xfrm>
            <a:off x="5992719" y="6287538"/>
            <a:ext cx="2790000"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800" b="1" baseline="0" dirty="0">
                <a:solidFill>
                  <a:srgbClr val="FFFFFF"/>
                </a:solidFill>
                <a:latin typeface="+mn-lt"/>
              </a:rPr>
              <a:t>WORKING DRAFT</a:t>
            </a:r>
          </a:p>
        </p:txBody>
      </p:sp>
      <p:sp>
        <p:nvSpPr>
          <p:cNvPr id="6" name="Working Draft" hidden="1"/>
          <p:cNvSpPr txBox="1">
            <a:spLocks noChangeArrowheads="1"/>
          </p:cNvSpPr>
          <p:nvPr/>
        </p:nvSpPr>
        <p:spPr bwMode="black">
          <a:xfrm>
            <a:off x="5992718" y="6410648"/>
            <a:ext cx="2968719"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800" baseline="0">
                <a:solidFill>
                  <a:srgbClr val="FFFFFF"/>
                </a:solidFill>
                <a:latin typeface="+mn-lt"/>
              </a:rPr>
              <a:t>Last Modified 21/05/2018 17:44 India Standard Time</a:t>
            </a:r>
            <a:endParaRPr lang="en-US" sz="800" baseline="0" dirty="0">
              <a:solidFill>
                <a:srgbClr val="FFFFFF"/>
              </a:solidFill>
              <a:latin typeface="+mn-lt"/>
            </a:endParaRPr>
          </a:p>
        </p:txBody>
      </p:sp>
      <p:sp>
        <p:nvSpPr>
          <p:cNvPr id="7" name="Printed" hidden="1"/>
          <p:cNvSpPr txBox="1">
            <a:spLocks noChangeArrowheads="1"/>
          </p:cNvSpPr>
          <p:nvPr/>
        </p:nvSpPr>
        <p:spPr bwMode="black">
          <a:xfrm>
            <a:off x="5992719" y="6533759"/>
            <a:ext cx="2790000"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800" baseline="0" dirty="0">
                <a:solidFill>
                  <a:srgbClr val="FFFFFF"/>
                </a:solidFill>
                <a:latin typeface="+mn-lt"/>
              </a:rPr>
              <a:t>Printed</a:t>
            </a:r>
          </a:p>
        </p:txBody>
      </p:sp>
      <p:sp>
        <p:nvSpPr>
          <p:cNvPr id="13314" name="Title"/>
          <p:cNvSpPr>
            <a:spLocks noGrp="1" noChangeArrowheads="1"/>
          </p:cNvSpPr>
          <p:nvPr>
            <p:ph type="ctrTitle"/>
          </p:nvPr>
        </p:nvSpPr>
        <p:spPr>
          <a:xfrm>
            <a:off x="2268266" y="1434419"/>
            <a:ext cx="6231663" cy="492443"/>
          </a:xfrm>
          <a:prstGeom prst="rect">
            <a:avLst/>
          </a:prstGeom>
        </p:spPr>
        <p:txBody>
          <a:bodyPr>
            <a:spAutoFit/>
          </a:bodyPr>
          <a:lstStyle>
            <a:lvl1pPr>
              <a:defRPr sz="3200" b="0" baseline="0">
                <a:solidFill>
                  <a:schemeClr val="accent2"/>
                </a:solidFill>
                <a:latin typeface="+mj-lt"/>
                <a:ea typeface="+mj-ea"/>
              </a:defRPr>
            </a:lvl1pPr>
          </a:lstStyle>
          <a:p>
            <a:pPr lvl="0" latinLnBrk="0"/>
            <a:r>
              <a:rPr lang="en-US" noProof="0"/>
              <a:t>Click to edit Master title style</a:t>
            </a:r>
            <a:endParaRPr lang="en-US" noProof="0" dirty="0"/>
          </a:p>
        </p:txBody>
      </p:sp>
      <p:sp>
        <p:nvSpPr>
          <p:cNvPr id="13315" name="Subtitle"/>
          <p:cNvSpPr>
            <a:spLocks noGrp="1" noChangeArrowheads="1"/>
          </p:cNvSpPr>
          <p:nvPr>
            <p:ph type="subTitle" idx="1"/>
          </p:nvPr>
        </p:nvSpPr>
        <p:spPr>
          <a:xfrm>
            <a:off x="2268266" y="2819401"/>
            <a:ext cx="6231663" cy="215444"/>
          </a:xfrm>
          <a:prstGeom prst="rect">
            <a:avLst/>
          </a:prstGeom>
        </p:spPr>
        <p:txBody>
          <a:bodyPr wrap="square">
            <a:spAutoFit/>
          </a:bodyPr>
          <a:lstStyle>
            <a:lvl1pPr>
              <a:defRPr sz="1400" cap="all" baseline="0">
                <a:solidFill>
                  <a:schemeClr val="bg1"/>
                </a:solidFill>
                <a:latin typeface="+mn-lt"/>
                <a:ea typeface="+mn-ea"/>
              </a:defRPr>
            </a:lvl1pPr>
          </a:lstStyle>
          <a:p>
            <a:pPr lvl="0" latinLnBrk="0"/>
            <a:r>
              <a:rPr lang="en-US" noProof="0"/>
              <a:t>Click to edit Master subtitle style</a:t>
            </a:r>
            <a:endParaRPr lang="en-US" noProof="0" dirty="0"/>
          </a:p>
        </p:txBody>
      </p:sp>
      <p:sp>
        <p:nvSpPr>
          <p:cNvPr id="57" name="Document type" hidden="1"/>
          <p:cNvSpPr txBox="1">
            <a:spLocks noChangeArrowheads="1"/>
          </p:cNvSpPr>
          <p:nvPr/>
        </p:nvSpPr>
        <p:spPr bwMode="gray">
          <a:xfrm>
            <a:off x="2268266" y="3227411"/>
            <a:ext cx="6231663"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00" baseline="0" dirty="0">
                <a:solidFill>
                  <a:schemeClr val="bg1"/>
                </a:solidFill>
                <a:latin typeface="+mn-lt"/>
              </a:rPr>
              <a:t>Document type | Date</a:t>
            </a:r>
          </a:p>
        </p:txBody>
      </p:sp>
      <p:sp>
        <p:nvSpPr>
          <p:cNvPr id="5" name="doc id" hidden="1"/>
          <p:cNvSpPr txBox="1">
            <a:spLocks noChangeArrowheads="1"/>
          </p:cNvSpPr>
          <p:nvPr/>
        </p:nvSpPr>
        <p:spPr bwMode="white">
          <a:xfrm>
            <a:off x="8443913" y="36513"/>
            <a:ext cx="295275" cy="1222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hangingPunct="1">
              <a:defRPr/>
            </a:pPr>
            <a:endParaRPr lang="en-US" sz="800" baseline="0" dirty="0">
              <a:solidFill>
                <a:srgbClr val="FFFFFF"/>
              </a:solidFill>
              <a:latin typeface="+mn-lt"/>
            </a:endParaRPr>
          </a:p>
        </p:txBody>
      </p:sp>
      <p:sp>
        <p:nvSpPr>
          <p:cNvPr id="43" name="LogoImage"/>
          <p:cNvSpPr>
            <a:spLocks noEditPoints="1"/>
          </p:cNvSpPr>
          <p:nvPr/>
        </p:nvSpPr>
        <p:spPr bwMode="white">
          <a:xfrm>
            <a:off x="2269098" y="182925"/>
            <a:ext cx="2176978" cy="238073"/>
          </a:xfrm>
          <a:custGeom>
            <a:avLst/>
            <a:gdLst>
              <a:gd name="T0" fmla="*/ 504 w 5516"/>
              <a:gd name="T1" fmla="*/ 26 h 606"/>
              <a:gd name="T2" fmla="*/ 18 w 5516"/>
              <a:gd name="T3" fmla="*/ 22 h 606"/>
              <a:gd name="T4" fmla="*/ 140 w 5516"/>
              <a:gd name="T5" fmla="*/ 436 h 606"/>
              <a:gd name="T6" fmla="*/ 408 w 5516"/>
              <a:gd name="T7" fmla="*/ 372 h 606"/>
              <a:gd name="T8" fmla="*/ 696 w 5516"/>
              <a:gd name="T9" fmla="*/ 422 h 606"/>
              <a:gd name="T10" fmla="*/ 768 w 5516"/>
              <a:gd name="T11" fmla="*/ 196 h 606"/>
              <a:gd name="T12" fmla="*/ 1272 w 5516"/>
              <a:gd name="T13" fmla="*/ 26 h 606"/>
              <a:gd name="T14" fmla="*/ 1302 w 5516"/>
              <a:gd name="T15" fmla="*/ 338 h 606"/>
              <a:gd name="T16" fmla="*/ 1202 w 5516"/>
              <a:gd name="T17" fmla="*/ 436 h 606"/>
              <a:gd name="T18" fmla="*/ 1030 w 5516"/>
              <a:gd name="T19" fmla="*/ 10 h 606"/>
              <a:gd name="T20" fmla="*/ 960 w 5516"/>
              <a:gd name="T21" fmla="*/ 22 h 606"/>
              <a:gd name="T22" fmla="*/ 804 w 5516"/>
              <a:gd name="T23" fmla="*/ 434 h 606"/>
              <a:gd name="T24" fmla="*/ 930 w 5516"/>
              <a:gd name="T25" fmla="*/ 246 h 606"/>
              <a:gd name="T26" fmla="*/ 1658 w 5516"/>
              <a:gd name="T27" fmla="*/ 342 h 606"/>
              <a:gd name="T28" fmla="*/ 1368 w 5516"/>
              <a:gd name="T29" fmla="*/ 188 h 606"/>
              <a:gd name="T30" fmla="*/ 1514 w 5516"/>
              <a:gd name="T31" fmla="*/ 436 h 606"/>
              <a:gd name="T32" fmla="*/ 1564 w 5516"/>
              <a:gd name="T33" fmla="*/ 434 h 606"/>
              <a:gd name="T34" fmla="*/ 1904 w 5516"/>
              <a:gd name="T35" fmla="*/ 184 h 606"/>
              <a:gd name="T36" fmla="*/ 1728 w 5516"/>
              <a:gd name="T37" fmla="*/ 366 h 606"/>
              <a:gd name="T38" fmla="*/ 2102 w 5516"/>
              <a:gd name="T39" fmla="*/ 192 h 606"/>
              <a:gd name="T40" fmla="*/ 1982 w 5516"/>
              <a:gd name="T41" fmla="*/ 320 h 606"/>
              <a:gd name="T42" fmla="*/ 2478 w 5516"/>
              <a:gd name="T43" fmla="*/ 242 h 606"/>
              <a:gd name="T44" fmla="*/ 2406 w 5516"/>
              <a:gd name="T45" fmla="*/ 390 h 606"/>
              <a:gd name="T46" fmla="*/ 2234 w 5516"/>
              <a:gd name="T47" fmla="*/ 192 h 606"/>
              <a:gd name="T48" fmla="*/ 2478 w 5516"/>
              <a:gd name="T49" fmla="*/ 242 h 606"/>
              <a:gd name="T50" fmla="*/ 2928 w 5516"/>
              <a:gd name="T51" fmla="*/ 448 h 606"/>
              <a:gd name="T52" fmla="*/ 2958 w 5516"/>
              <a:gd name="T53" fmla="*/ 230 h 606"/>
              <a:gd name="T54" fmla="*/ 2716 w 5516"/>
              <a:gd name="T55" fmla="*/ 54 h 606"/>
              <a:gd name="T56" fmla="*/ 2714 w 5516"/>
              <a:gd name="T57" fmla="*/ 36 h 606"/>
              <a:gd name="T58" fmla="*/ 2928 w 5516"/>
              <a:gd name="T59" fmla="*/ 448 h 606"/>
              <a:gd name="T60" fmla="*/ 3388 w 5516"/>
              <a:gd name="T61" fmla="*/ 4 h 606"/>
              <a:gd name="T62" fmla="*/ 3396 w 5516"/>
              <a:gd name="T63" fmla="*/ 366 h 606"/>
              <a:gd name="T64" fmla="*/ 3580 w 5516"/>
              <a:gd name="T65" fmla="*/ 190 h 606"/>
              <a:gd name="T66" fmla="*/ 3502 w 5516"/>
              <a:gd name="T67" fmla="*/ 432 h 606"/>
              <a:gd name="T68" fmla="*/ 4232 w 5516"/>
              <a:gd name="T69" fmla="*/ 348 h 606"/>
              <a:gd name="T70" fmla="*/ 3858 w 5516"/>
              <a:gd name="T71" fmla="*/ 176 h 606"/>
              <a:gd name="T72" fmla="*/ 3758 w 5516"/>
              <a:gd name="T73" fmla="*/ 446 h 606"/>
              <a:gd name="T74" fmla="*/ 3990 w 5516"/>
              <a:gd name="T75" fmla="*/ 282 h 606"/>
              <a:gd name="T76" fmla="*/ 4042 w 5516"/>
              <a:gd name="T77" fmla="*/ 342 h 606"/>
              <a:gd name="T78" fmla="*/ 4134 w 5516"/>
              <a:gd name="T79" fmla="*/ 448 h 606"/>
              <a:gd name="T80" fmla="*/ 4454 w 5516"/>
              <a:gd name="T81" fmla="*/ 202 h 606"/>
              <a:gd name="T82" fmla="*/ 4284 w 5516"/>
              <a:gd name="T83" fmla="*/ 174 h 606"/>
              <a:gd name="T84" fmla="*/ 4432 w 5516"/>
              <a:gd name="T85" fmla="*/ 588 h 606"/>
              <a:gd name="T86" fmla="*/ 4792 w 5516"/>
              <a:gd name="T87" fmla="*/ 382 h 606"/>
              <a:gd name="T88" fmla="*/ 5192 w 5516"/>
              <a:gd name="T89" fmla="*/ 340 h 606"/>
              <a:gd name="T90" fmla="*/ 4902 w 5516"/>
              <a:gd name="T91" fmla="*/ 186 h 606"/>
              <a:gd name="T92" fmla="*/ 4850 w 5516"/>
              <a:gd name="T93" fmla="*/ 274 h 606"/>
              <a:gd name="T94" fmla="*/ 4742 w 5516"/>
              <a:gd name="T95" fmla="*/ 194 h 606"/>
              <a:gd name="T96" fmla="*/ 4794 w 5516"/>
              <a:gd name="T97" fmla="*/ 418 h 606"/>
              <a:gd name="T98" fmla="*/ 5004 w 5516"/>
              <a:gd name="T99" fmla="*/ 338 h 606"/>
              <a:gd name="T100" fmla="*/ 5098 w 5516"/>
              <a:gd name="T101" fmla="*/ 446 h 606"/>
              <a:gd name="T102" fmla="*/ 5418 w 5516"/>
              <a:gd name="T103" fmla="*/ 192 h 606"/>
              <a:gd name="T104" fmla="*/ 5348 w 5516"/>
              <a:gd name="T105" fmla="*/ 180 h 606"/>
              <a:gd name="T106" fmla="*/ 5254 w 5516"/>
              <a:gd name="T107" fmla="*/ 606 h 6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516" h="606">
                <a:moveTo>
                  <a:pt x="366" y="448"/>
                </a:moveTo>
                <a:cubicBezTo>
                  <a:pt x="524" y="448"/>
                  <a:pt x="524" y="448"/>
                  <a:pt x="524" y="448"/>
                </a:cubicBezTo>
                <a:cubicBezTo>
                  <a:pt x="524" y="436"/>
                  <a:pt x="524" y="436"/>
                  <a:pt x="524" y="436"/>
                </a:cubicBezTo>
                <a:cubicBezTo>
                  <a:pt x="486" y="432"/>
                  <a:pt x="470" y="414"/>
                  <a:pt x="468" y="362"/>
                </a:cubicBezTo>
                <a:cubicBezTo>
                  <a:pt x="454" y="86"/>
                  <a:pt x="454" y="86"/>
                  <a:pt x="454" y="86"/>
                </a:cubicBezTo>
                <a:cubicBezTo>
                  <a:pt x="452" y="46"/>
                  <a:pt x="470" y="30"/>
                  <a:pt x="504" y="26"/>
                </a:cubicBezTo>
                <a:cubicBezTo>
                  <a:pt x="504" y="12"/>
                  <a:pt x="504" y="12"/>
                  <a:pt x="504" y="12"/>
                </a:cubicBezTo>
                <a:cubicBezTo>
                  <a:pt x="394" y="12"/>
                  <a:pt x="394" y="12"/>
                  <a:pt x="394" y="12"/>
                </a:cubicBezTo>
                <a:cubicBezTo>
                  <a:pt x="264" y="350"/>
                  <a:pt x="264" y="350"/>
                  <a:pt x="264" y="350"/>
                </a:cubicBezTo>
                <a:cubicBezTo>
                  <a:pt x="132" y="10"/>
                  <a:pt x="132" y="10"/>
                  <a:pt x="132" y="10"/>
                </a:cubicBezTo>
                <a:cubicBezTo>
                  <a:pt x="18" y="10"/>
                  <a:pt x="18" y="10"/>
                  <a:pt x="18" y="10"/>
                </a:cubicBezTo>
                <a:cubicBezTo>
                  <a:pt x="18" y="22"/>
                  <a:pt x="18" y="22"/>
                  <a:pt x="18" y="22"/>
                </a:cubicBezTo>
                <a:cubicBezTo>
                  <a:pt x="40" y="26"/>
                  <a:pt x="74" y="32"/>
                  <a:pt x="72" y="84"/>
                </a:cubicBezTo>
                <a:cubicBezTo>
                  <a:pt x="58" y="352"/>
                  <a:pt x="58" y="352"/>
                  <a:pt x="58" y="352"/>
                </a:cubicBezTo>
                <a:cubicBezTo>
                  <a:pt x="54" y="410"/>
                  <a:pt x="38" y="430"/>
                  <a:pt x="0" y="436"/>
                </a:cubicBezTo>
                <a:cubicBezTo>
                  <a:pt x="0" y="448"/>
                  <a:pt x="0" y="448"/>
                  <a:pt x="0" y="448"/>
                </a:cubicBezTo>
                <a:cubicBezTo>
                  <a:pt x="140" y="448"/>
                  <a:pt x="140" y="448"/>
                  <a:pt x="140" y="448"/>
                </a:cubicBezTo>
                <a:cubicBezTo>
                  <a:pt x="140" y="436"/>
                  <a:pt x="140" y="436"/>
                  <a:pt x="140" y="436"/>
                </a:cubicBezTo>
                <a:cubicBezTo>
                  <a:pt x="98" y="428"/>
                  <a:pt x="84" y="414"/>
                  <a:pt x="88" y="356"/>
                </a:cubicBezTo>
                <a:cubicBezTo>
                  <a:pt x="100" y="86"/>
                  <a:pt x="100" y="86"/>
                  <a:pt x="100" y="86"/>
                </a:cubicBezTo>
                <a:cubicBezTo>
                  <a:pt x="240" y="444"/>
                  <a:pt x="240" y="444"/>
                  <a:pt x="240" y="444"/>
                </a:cubicBezTo>
                <a:cubicBezTo>
                  <a:pt x="258" y="444"/>
                  <a:pt x="258" y="444"/>
                  <a:pt x="258" y="444"/>
                </a:cubicBezTo>
                <a:cubicBezTo>
                  <a:pt x="396" y="86"/>
                  <a:pt x="396" y="86"/>
                  <a:pt x="396" y="86"/>
                </a:cubicBezTo>
                <a:cubicBezTo>
                  <a:pt x="408" y="372"/>
                  <a:pt x="408" y="372"/>
                  <a:pt x="408" y="372"/>
                </a:cubicBezTo>
                <a:cubicBezTo>
                  <a:pt x="410" y="416"/>
                  <a:pt x="398" y="430"/>
                  <a:pt x="366" y="434"/>
                </a:cubicBezTo>
                <a:lnTo>
                  <a:pt x="366" y="448"/>
                </a:lnTo>
                <a:close/>
                <a:moveTo>
                  <a:pt x="670" y="456"/>
                </a:moveTo>
                <a:cubicBezTo>
                  <a:pt x="708" y="456"/>
                  <a:pt x="756" y="440"/>
                  <a:pt x="782" y="412"/>
                </a:cubicBezTo>
                <a:cubicBezTo>
                  <a:pt x="776" y="400"/>
                  <a:pt x="776" y="400"/>
                  <a:pt x="776" y="400"/>
                </a:cubicBezTo>
                <a:cubicBezTo>
                  <a:pt x="750" y="416"/>
                  <a:pt x="722" y="422"/>
                  <a:pt x="696" y="422"/>
                </a:cubicBezTo>
                <a:cubicBezTo>
                  <a:pt x="620" y="422"/>
                  <a:pt x="592" y="358"/>
                  <a:pt x="592" y="290"/>
                </a:cubicBezTo>
                <a:cubicBezTo>
                  <a:pt x="592" y="258"/>
                  <a:pt x="600" y="236"/>
                  <a:pt x="614" y="222"/>
                </a:cubicBezTo>
                <a:cubicBezTo>
                  <a:pt x="626" y="210"/>
                  <a:pt x="646" y="204"/>
                  <a:pt x="664" y="204"/>
                </a:cubicBezTo>
                <a:cubicBezTo>
                  <a:pt x="690" y="204"/>
                  <a:pt x="722" y="214"/>
                  <a:pt x="744" y="244"/>
                </a:cubicBezTo>
                <a:cubicBezTo>
                  <a:pt x="750" y="244"/>
                  <a:pt x="750" y="244"/>
                  <a:pt x="750" y="244"/>
                </a:cubicBezTo>
                <a:cubicBezTo>
                  <a:pt x="758" y="234"/>
                  <a:pt x="766" y="212"/>
                  <a:pt x="768" y="196"/>
                </a:cubicBezTo>
                <a:cubicBezTo>
                  <a:pt x="748" y="180"/>
                  <a:pt x="720" y="172"/>
                  <a:pt x="686" y="172"/>
                </a:cubicBezTo>
                <a:cubicBezTo>
                  <a:pt x="604" y="172"/>
                  <a:pt x="544" y="246"/>
                  <a:pt x="544" y="326"/>
                </a:cubicBezTo>
                <a:cubicBezTo>
                  <a:pt x="540" y="390"/>
                  <a:pt x="576" y="456"/>
                  <a:pt x="670" y="456"/>
                </a:cubicBezTo>
                <a:moveTo>
                  <a:pt x="1272" y="98"/>
                </a:moveTo>
                <a:cubicBezTo>
                  <a:pt x="1292" y="98"/>
                  <a:pt x="1308" y="82"/>
                  <a:pt x="1308" y="62"/>
                </a:cubicBezTo>
                <a:cubicBezTo>
                  <a:pt x="1308" y="42"/>
                  <a:pt x="1292" y="26"/>
                  <a:pt x="1272" y="26"/>
                </a:cubicBezTo>
                <a:cubicBezTo>
                  <a:pt x="1252" y="26"/>
                  <a:pt x="1238" y="42"/>
                  <a:pt x="1238" y="62"/>
                </a:cubicBezTo>
                <a:cubicBezTo>
                  <a:pt x="1238" y="82"/>
                  <a:pt x="1252" y="98"/>
                  <a:pt x="1272" y="98"/>
                </a:cubicBezTo>
                <a:moveTo>
                  <a:pt x="1202" y="448"/>
                </a:moveTo>
                <a:cubicBezTo>
                  <a:pt x="1346" y="448"/>
                  <a:pt x="1346" y="448"/>
                  <a:pt x="1346" y="448"/>
                </a:cubicBezTo>
                <a:cubicBezTo>
                  <a:pt x="1346" y="436"/>
                  <a:pt x="1346" y="436"/>
                  <a:pt x="1346" y="436"/>
                </a:cubicBezTo>
                <a:cubicBezTo>
                  <a:pt x="1304" y="432"/>
                  <a:pt x="1302" y="434"/>
                  <a:pt x="1302" y="338"/>
                </a:cubicBezTo>
                <a:cubicBezTo>
                  <a:pt x="1302" y="176"/>
                  <a:pt x="1302" y="176"/>
                  <a:pt x="1302" y="176"/>
                </a:cubicBezTo>
                <a:cubicBezTo>
                  <a:pt x="1200" y="176"/>
                  <a:pt x="1200" y="176"/>
                  <a:pt x="1200" y="176"/>
                </a:cubicBezTo>
                <a:cubicBezTo>
                  <a:pt x="1200" y="188"/>
                  <a:pt x="1200" y="188"/>
                  <a:pt x="1200" y="188"/>
                </a:cubicBezTo>
                <a:cubicBezTo>
                  <a:pt x="1244" y="190"/>
                  <a:pt x="1250" y="192"/>
                  <a:pt x="1250" y="268"/>
                </a:cubicBezTo>
                <a:cubicBezTo>
                  <a:pt x="1250" y="336"/>
                  <a:pt x="1250" y="336"/>
                  <a:pt x="1250" y="336"/>
                </a:cubicBezTo>
                <a:cubicBezTo>
                  <a:pt x="1250" y="432"/>
                  <a:pt x="1248" y="432"/>
                  <a:pt x="1202" y="436"/>
                </a:cubicBezTo>
                <a:cubicBezTo>
                  <a:pt x="1178" y="434"/>
                  <a:pt x="1154" y="426"/>
                  <a:pt x="1076" y="338"/>
                </a:cubicBezTo>
                <a:cubicBezTo>
                  <a:pt x="1046" y="302"/>
                  <a:pt x="996" y="244"/>
                  <a:pt x="968" y="206"/>
                </a:cubicBezTo>
                <a:cubicBezTo>
                  <a:pt x="1062" y="102"/>
                  <a:pt x="1062" y="102"/>
                  <a:pt x="1062" y="102"/>
                </a:cubicBezTo>
                <a:cubicBezTo>
                  <a:pt x="1108" y="52"/>
                  <a:pt x="1132" y="26"/>
                  <a:pt x="1176" y="24"/>
                </a:cubicBezTo>
                <a:cubicBezTo>
                  <a:pt x="1176" y="10"/>
                  <a:pt x="1176" y="10"/>
                  <a:pt x="1176" y="10"/>
                </a:cubicBezTo>
                <a:cubicBezTo>
                  <a:pt x="1030" y="10"/>
                  <a:pt x="1030" y="10"/>
                  <a:pt x="1030" y="10"/>
                </a:cubicBezTo>
                <a:cubicBezTo>
                  <a:pt x="1030" y="22"/>
                  <a:pt x="1030" y="22"/>
                  <a:pt x="1030" y="22"/>
                </a:cubicBezTo>
                <a:cubicBezTo>
                  <a:pt x="1050" y="26"/>
                  <a:pt x="1056" y="32"/>
                  <a:pt x="1056" y="46"/>
                </a:cubicBezTo>
                <a:cubicBezTo>
                  <a:pt x="1056" y="56"/>
                  <a:pt x="1054" y="72"/>
                  <a:pt x="1026" y="102"/>
                </a:cubicBezTo>
                <a:cubicBezTo>
                  <a:pt x="910" y="230"/>
                  <a:pt x="910" y="230"/>
                  <a:pt x="910" y="230"/>
                </a:cubicBezTo>
                <a:cubicBezTo>
                  <a:pt x="910" y="148"/>
                  <a:pt x="910" y="148"/>
                  <a:pt x="910" y="148"/>
                </a:cubicBezTo>
                <a:cubicBezTo>
                  <a:pt x="910" y="36"/>
                  <a:pt x="916" y="28"/>
                  <a:pt x="960" y="22"/>
                </a:cubicBezTo>
                <a:cubicBezTo>
                  <a:pt x="960" y="8"/>
                  <a:pt x="960" y="8"/>
                  <a:pt x="960" y="8"/>
                </a:cubicBezTo>
                <a:cubicBezTo>
                  <a:pt x="804" y="8"/>
                  <a:pt x="804" y="8"/>
                  <a:pt x="804" y="8"/>
                </a:cubicBezTo>
                <a:cubicBezTo>
                  <a:pt x="804" y="22"/>
                  <a:pt x="804" y="22"/>
                  <a:pt x="804" y="22"/>
                </a:cubicBezTo>
                <a:cubicBezTo>
                  <a:pt x="852" y="26"/>
                  <a:pt x="854" y="36"/>
                  <a:pt x="854" y="148"/>
                </a:cubicBezTo>
                <a:cubicBezTo>
                  <a:pt x="854" y="300"/>
                  <a:pt x="854" y="300"/>
                  <a:pt x="854" y="300"/>
                </a:cubicBezTo>
                <a:cubicBezTo>
                  <a:pt x="854" y="422"/>
                  <a:pt x="850" y="430"/>
                  <a:pt x="804" y="434"/>
                </a:cubicBezTo>
                <a:cubicBezTo>
                  <a:pt x="804" y="446"/>
                  <a:pt x="804" y="446"/>
                  <a:pt x="804" y="446"/>
                </a:cubicBezTo>
                <a:cubicBezTo>
                  <a:pt x="960" y="446"/>
                  <a:pt x="960" y="446"/>
                  <a:pt x="960" y="446"/>
                </a:cubicBezTo>
                <a:cubicBezTo>
                  <a:pt x="960" y="434"/>
                  <a:pt x="960" y="434"/>
                  <a:pt x="960" y="434"/>
                </a:cubicBezTo>
                <a:cubicBezTo>
                  <a:pt x="910" y="428"/>
                  <a:pt x="910" y="424"/>
                  <a:pt x="910" y="292"/>
                </a:cubicBezTo>
                <a:cubicBezTo>
                  <a:pt x="910" y="268"/>
                  <a:pt x="910" y="268"/>
                  <a:pt x="910" y="268"/>
                </a:cubicBezTo>
                <a:cubicBezTo>
                  <a:pt x="930" y="246"/>
                  <a:pt x="930" y="246"/>
                  <a:pt x="930" y="246"/>
                </a:cubicBezTo>
                <a:cubicBezTo>
                  <a:pt x="982" y="310"/>
                  <a:pt x="1038" y="380"/>
                  <a:pt x="1098" y="448"/>
                </a:cubicBezTo>
                <a:cubicBezTo>
                  <a:pt x="1202" y="448"/>
                  <a:pt x="1202" y="448"/>
                  <a:pt x="1202" y="448"/>
                </a:cubicBezTo>
                <a:close/>
                <a:moveTo>
                  <a:pt x="1564" y="448"/>
                </a:moveTo>
                <a:cubicBezTo>
                  <a:pt x="1706" y="448"/>
                  <a:pt x="1706" y="448"/>
                  <a:pt x="1706" y="448"/>
                </a:cubicBezTo>
                <a:cubicBezTo>
                  <a:pt x="1706" y="436"/>
                  <a:pt x="1706" y="436"/>
                  <a:pt x="1706" y="436"/>
                </a:cubicBezTo>
                <a:cubicBezTo>
                  <a:pt x="1658" y="434"/>
                  <a:pt x="1658" y="432"/>
                  <a:pt x="1658" y="342"/>
                </a:cubicBezTo>
                <a:cubicBezTo>
                  <a:pt x="1658" y="280"/>
                  <a:pt x="1658" y="280"/>
                  <a:pt x="1658" y="280"/>
                </a:cubicBezTo>
                <a:cubicBezTo>
                  <a:pt x="1658" y="198"/>
                  <a:pt x="1612" y="172"/>
                  <a:pt x="1570" y="172"/>
                </a:cubicBezTo>
                <a:cubicBezTo>
                  <a:pt x="1534" y="172"/>
                  <a:pt x="1498" y="188"/>
                  <a:pt x="1470" y="224"/>
                </a:cubicBezTo>
                <a:cubicBezTo>
                  <a:pt x="1470" y="176"/>
                  <a:pt x="1470" y="176"/>
                  <a:pt x="1470" y="176"/>
                </a:cubicBezTo>
                <a:cubicBezTo>
                  <a:pt x="1368" y="176"/>
                  <a:pt x="1368" y="176"/>
                  <a:pt x="1368" y="176"/>
                </a:cubicBezTo>
                <a:cubicBezTo>
                  <a:pt x="1368" y="188"/>
                  <a:pt x="1368" y="188"/>
                  <a:pt x="1368" y="188"/>
                </a:cubicBezTo>
                <a:cubicBezTo>
                  <a:pt x="1412" y="190"/>
                  <a:pt x="1418" y="192"/>
                  <a:pt x="1418" y="268"/>
                </a:cubicBezTo>
                <a:cubicBezTo>
                  <a:pt x="1418" y="336"/>
                  <a:pt x="1418" y="336"/>
                  <a:pt x="1418" y="336"/>
                </a:cubicBezTo>
                <a:cubicBezTo>
                  <a:pt x="1418" y="434"/>
                  <a:pt x="1418" y="434"/>
                  <a:pt x="1370" y="436"/>
                </a:cubicBezTo>
                <a:cubicBezTo>
                  <a:pt x="1370" y="448"/>
                  <a:pt x="1370" y="448"/>
                  <a:pt x="1370" y="448"/>
                </a:cubicBezTo>
                <a:cubicBezTo>
                  <a:pt x="1514" y="448"/>
                  <a:pt x="1514" y="448"/>
                  <a:pt x="1514" y="448"/>
                </a:cubicBezTo>
                <a:cubicBezTo>
                  <a:pt x="1514" y="436"/>
                  <a:pt x="1514" y="436"/>
                  <a:pt x="1514" y="436"/>
                </a:cubicBezTo>
                <a:cubicBezTo>
                  <a:pt x="1472" y="432"/>
                  <a:pt x="1470" y="434"/>
                  <a:pt x="1470" y="338"/>
                </a:cubicBezTo>
                <a:cubicBezTo>
                  <a:pt x="1470" y="262"/>
                  <a:pt x="1470" y="262"/>
                  <a:pt x="1470" y="262"/>
                </a:cubicBezTo>
                <a:cubicBezTo>
                  <a:pt x="1470" y="236"/>
                  <a:pt x="1504" y="206"/>
                  <a:pt x="1546" y="206"/>
                </a:cubicBezTo>
                <a:cubicBezTo>
                  <a:pt x="1580" y="206"/>
                  <a:pt x="1606" y="220"/>
                  <a:pt x="1606" y="286"/>
                </a:cubicBezTo>
                <a:cubicBezTo>
                  <a:pt x="1606" y="340"/>
                  <a:pt x="1606" y="340"/>
                  <a:pt x="1606" y="340"/>
                </a:cubicBezTo>
                <a:cubicBezTo>
                  <a:pt x="1606" y="432"/>
                  <a:pt x="1602" y="432"/>
                  <a:pt x="1564" y="434"/>
                </a:cubicBezTo>
                <a:lnTo>
                  <a:pt x="1564" y="448"/>
                </a:lnTo>
                <a:close/>
                <a:moveTo>
                  <a:pt x="1776" y="222"/>
                </a:moveTo>
                <a:cubicBezTo>
                  <a:pt x="1776" y="200"/>
                  <a:pt x="1796" y="188"/>
                  <a:pt x="1822" y="188"/>
                </a:cubicBezTo>
                <a:cubicBezTo>
                  <a:pt x="1874" y="188"/>
                  <a:pt x="1896" y="236"/>
                  <a:pt x="1900" y="252"/>
                </a:cubicBezTo>
                <a:cubicBezTo>
                  <a:pt x="1912" y="252"/>
                  <a:pt x="1912" y="252"/>
                  <a:pt x="1912" y="252"/>
                </a:cubicBezTo>
                <a:cubicBezTo>
                  <a:pt x="1912" y="212"/>
                  <a:pt x="1908" y="188"/>
                  <a:pt x="1904" y="184"/>
                </a:cubicBezTo>
                <a:cubicBezTo>
                  <a:pt x="1900" y="180"/>
                  <a:pt x="1862" y="170"/>
                  <a:pt x="1824" y="170"/>
                </a:cubicBezTo>
                <a:cubicBezTo>
                  <a:pt x="1768" y="170"/>
                  <a:pt x="1734" y="206"/>
                  <a:pt x="1734" y="248"/>
                </a:cubicBezTo>
                <a:cubicBezTo>
                  <a:pt x="1734" y="340"/>
                  <a:pt x="1890" y="322"/>
                  <a:pt x="1890" y="396"/>
                </a:cubicBezTo>
                <a:cubicBezTo>
                  <a:pt x="1890" y="422"/>
                  <a:pt x="1866" y="436"/>
                  <a:pt x="1826" y="436"/>
                </a:cubicBezTo>
                <a:cubicBezTo>
                  <a:pt x="1788" y="436"/>
                  <a:pt x="1754" y="416"/>
                  <a:pt x="1744" y="366"/>
                </a:cubicBezTo>
                <a:cubicBezTo>
                  <a:pt x="1728" y="366"/>
                  <a:pt x="1728" y="366"/>
                  <a:pt x="1728" y="366"/>
                </a:cubicBezTo>
                <a:cubicBezTo>
                  <a:pt x="1728" y="386"/>
                  <a:pt x="1732" y="422"/>
                  <a:pt x="1734" y="428"/>
                </a:cubicBezTo>
                <a:cubicBezTo>
                  <a:pt x="1744" y="446"/>
                  <a:pt x="1788" y="454"/>
                  <a:pt x="1824" y="454"/>
                </a:cubicBezTo>
                <a:cubicBezTo>
                  <a:pt x="1888" y="454"/>
                  <a:pt x="1928" y="416"/>
                  <a:pt x="1928" y="372"/>
                </a:cubicBezTo>
                <a:cubicBezTo>
                  <a:pt x="1932" y="270"/>
                  <a:pt x="1776" y="286"/>
                  <a:pt x="1776" y="222"/>
                </a:cubicBezTo>
                <a:moveTo>
                  <a:pt x="2030" y="270"/>
                </a:moveTo>
                <a:cubicBezTo>
                  <a:pt x="2034" y="220"/>
                  <a:pt x="2058" y="192"/>
                  <a:pt x="2102" y="192"/>
                </a:cubicBezTo>
                <a:cubicBezTo>
                  <a:pt x="2144" y="192"/>
                  <a:pt x="2170" y="220"/>
                  <a:pt x="2172" y="270"/>
                </a:cubicBezTo>
                <a:lnTo>
                  <a:pt x="2030" y="270"/>
                </a:lnTo>
                <a:close/>
                <a:moveTo>
                  <a:pt x="2030" y="290"/>
                </a:moveTo>
                <a:cubicBezTo>
                  <a:pt x="2222" y="290"/>
                  <a:pt x="2222" y="290"/>
                  <a:pt x="2222" y="290"/>
                </a:cubicBezTo>
                <a:cubicBezTo>
                  <a:pt x="2226" y="228"/>
                  <a:pt x="2192" y="168"/>
                  <a:pt x="2114" y="168"/>
                </a:cubicBezTo>
                <a:cubicBezTo>
                  <a:pt x="2034" y="168"/>
                  <a:pt x="1982" y="232"/>
                  <a:pt x="1982" y="320"/>
                </a:cubicBezTo>
                <a:cubicBezTo>
                  <a:pt x="1982" y="388"/>
                  <a:pt x="2018" y="456"/>
                  <a:pt x="2112" y="456"/>
                </a:cubicBezTo>
                <a:cubicBezTo>
                  <a:pt x="2150" y="456"/>
                  <a:pt x="2198" y="440"/>
                  <a:pt x="2224" y="412"/>
                </a:cubicBezTo>
                <a:cubicBezTo>
                  <a:pt x="2218" y="400"/>
                  <a:pt x="2218" y="400"/>
                  <a:pt x="2218" y="400"/>
                </a:cubicBezTo>
                <a:cubicBezTo>
                  <a:pt x="2192" y="416"/>
                  <a:pt x="2164" y="422"/>
                  <a:pt x="2138" y="422"/>
                </a:cubicBezTo>
                <a:cubicBezTo>
                  <a:pt x="2058" y="420"/>
                  <a:pt x="2028" y="352"/>
                  <a:pt x="2030" y="290"/>
                </a:cubicBezTo>
                <a:moveTo>
                  <a:pt x="2478" y="242"/>
                </a:moveTo>
                <a:cubicBezTo>
                  <a:pt x="2490" y="206"/>
                  <a:pt x="2510" y="192"/>
                  <a:pt x="2528" y="192"/>
                </a:cubicBezTo>
                <a:cubicBezTo>
                  <a:pt x="2528" y="180"/>
                  <a:pt x="2528" y="180"/>
                  <a:pt x="2528" y="180"/>
                </a:cubicBezTo>
                <a:cubicBezTo>
                  <a:pt x="2430" y="180"/>
                  <a:pt x="2430" y="180"/>
                  <a:pt x="2430" y="180"/>
                </a:cubicBezTo>
                <a:cubicBezTo>
                  <a:pt x="2430" y="192"/>
                  <a:pt x="2430" y="192"/>
                  <a:pt x="2430" y="192"/>
                </a:cubicBezTo>
                <a:cubicBezTo>
                  <a:pt x="2454" y="194"/>
                  <a:pt x="2466" y="206"/>
                  <a:pt x="2458" y="234"/>
                </a:cubicBezTo>
                <a:cubicBezTo>
                  <a:pt x="2406" y="390"/>
                  <a:pt x="2406" y="390"/>
                  <a:pt x="2406" y="390"/>
                </a:cubicBezTo>
                <a:cubicBezTo>
                  <a:pt x="2354" y="270"/>
                  <a:pt x="2354" y="270"/>
                  <a:pt x="2354" y="270"/>
                </a:cubicBezTo>
                <a:cubicBezTo>
                  <a:pt x="2340" y="238"/>
                  <a:pt x="2334" y="224"/>
                  <a:pt x="2334" y="212"/>
                </a:cubicBezTo>
                <a:cubicBezTo>
                  <a:pt x="2334" y="202"/>
                  <a:pt x="2340" y="196"/>
                  <a:pt x="2360" y="192"/>
                </a:cubicBezTo>
                <a:cubicBezTo>
                  <a:pt x="2360" y="180"/>
                  <a:pt x="2360" y="180"/>
                  <a:pt x="2360" y="180"/>
                </a:cubicBezTo>
                <a:cubicBezTo>
                  <a:pt x="2234" y="180"/>
                  <a:pt x="2234" y="180"/>
                  <a:pt x="2234" y="180"/>
                </a:cubicBezTo>
                <a:cubicBezTo>
                  <a:pt x="2234" y="192"/>
                  <a:pt x="2234" y="192"/>
                  <a:pt x="2234" y="192"/>
                </a:cubicBezTo>
                <a:cubicBezTo>
                  <a:pt x="2266" y="194"/>
                  <a:pt x="2268" y="198"/>
                  <a:pt x="2310" y="292"/>
                </a:cubicBezTo>
                <a:cubicBezTo>
                  <a:pt x="2382" y="450"/>
                  <a:pt x="2382" y="450"/>
                  <a:pt x="2382" y="450"/>
                </a:cubicBezTo>
                <a:cubicBezTo>
                  <a:pt x="2358" y="512"/>
                  <a:pt x="2320" y="546"/>
                  <a:pt x="2242" y="564"/>
                </a:cubicBezTo>
                <a:cubicBezTo>
                  <a:pt x="2246" y="576"/>
                  <a:pt x="2260" y="600"/>
                  <a:pt x="2268" y="606"/>
                </a:cubicBezTo>
                <a:cubicBezTo>
                  <a:pt x="2370" y="564"/>
                  <a:pt x="2390" y="498"/>
                  <a:pt x="2426" y="396"/>
                </a:cubicBezTo>
                <a:lnTo>
                  <a:pt x="2478" y="242"/>
                </a:lnTo>
                <a:close/>
                <a:moveTo>
                  <a:pt x="2844" y="394"/>
                </a:moveTo>
                <a:cubicBezTo>
                  <a:pt x="2822" y="412"/>
                  <a:pt x="2782" y="416"/>
                  <a:pt x="2750" y="416"/>
                </a:cubicBezTo>
                <a:cubicBezTo>
                  <a:pt x="2670" y="416"/>
                  <a:pt x="2606" y="360"/>
                  <a:pt x="2606" y="284"/>
                </a:cubicBezTo>
                <a:cubicBezTo>
                  <a:pt x="2606" y="236"/>
                  <a:pt x="2626" y="206"/>
                  <a:pt x="2658" y="198"/>
                </a:cubicBezTo>
                <a:cubicBezTo>
                  <a:pt x="2698" y="266"/>
                  <a:pt x="2770" y="338"/>
                  <a:pt x="2844" y="394"/>
                </a:cubicBezTo>
                <a:moveTo>
                  <a:pt x="2928" y="448"/>
                </a:moveTo>
                <a:cubicBezTo>
                  <a:pt x="3022" y="448"/>
                  <a:pt x="3022" y="448"/>
                  <a:pt x="3022" y="448"/>
                </a:cubicBezTo>
                <a:cubicBezTo>
                  <a:pt x="3022" y="436"/>
                  <a:pt x="3022" y="436"/>
                  <a:pt x="3022" y="436"/>
                </a:cubicBezTo>
                <a:cubicBezTo>
                  <a:pt x="2992" y="432"/>
                  <a:pt x="2946" y="408"/>
                  <a:pt x="2896" y="372"/>
                </a:cubicBezTo>
                <a:cubicBezTo>
                  <a:pt x="2914" y="342"/>
                  <a:pt x="2918" y="300"/>
                  <a:pt x="2922" y="270"/>
                </a:cubicBezTo>
                <a:cubicBezTo>
                  <a:pt x="2926" y="244"/>
                  <a:pt x="2946" y="244"/>
                  <a:pt x="2958" y="242"/>
                </a:cubicBezTo>
                <a:cubicBezTo>
                  <a:pt x="2958" y="230"/>
                  <a:pt x="2958" y="230"/>
                  <a:pt x="2958" y="230"/>
                </a:cubicBezTo>
                <a:cubicBezTo>
                  <a:pt x="2834" y="230"/>
                  <a:pt x="2834" y="230"/>
                  <a:pt x="2834" y="230"/>
                </a:cubicBezTo>
                <a:cubicBezTo>
                  <a:pt x="2834" y="242"/>
                  <a:pt x="2834" y="242"/>
                  <a:pt x="2834" y="242"/>
                </a:cubicBezTo>
                <a:cubicBezTo>
                  <a:pt x="2864" y="246"/>
                  <a:pt x="2892" y="250"/>
                  <a:pt x="2892" y="294"/>
                </a:cubicBezTo>
                <a:cubicBezTo>
                  <a:pt x="2892" y="318"/>
                  <a:pt x="2888" y="342"/>
                  <a:pt x="2878" y="358"/>
                </a:cubicBezTo>
                <a:cubicBezTo>
                  <a:pt x="2770" y="274"/>
                  <a:pt x="2670" y="156"/>
                  <a:pt x="2670" y="96"/>
                </a:cubicBezTo>
                <a:cubicBezTo>
                  <a:pt x="2670" y="66"/>
                  <a:pt x="2688" y="54"/>
                  <a:pt x="2716" y="54"/>
                </a:cubicBezTo>
                <a:cubicBezTo>
                  <a:pt x="2752" y="54"/>
                  <a:pt x="2784" y="78"/>
                  <a:pt x="2800" y="124"/>
                </a:cubicBezTo>
                <a:cubicBezTo>
                  <a:pt x="2812" y="124"/>
                  <a:pt x="2812" y="124"/>
                  <a:pt x="2812" y="124"/>
                </a:cubicBezTo>
                <a:cubicBezTo>
                  <a:pt x="2810" y="42"/>
                  <a:pt x="2810" y="42"/>
                  <a:pt x="2810" y="42"/>
                </a:cubicBezTo>
                <a:cubicBezTo>
                  <a:pt x="2798" y="42"/>
                  <a:pt x="2798" y="42"/>
                  <a:pt x="2798" y="42"/>
                </a:cubicBezTo>
                <a:cubicBezTo>
                  <a:pt x="2798" y="48"/>
                  <a:pt x="2792" y="52"/>
                  <a:pt x="2788" y="52"/>
                </a:cubicBezTo>
                <a:cubicBezTo>
                  <a:pt x="2772" y="52"/>
                  <a:pt x="2752" y="36"/>
                  <a:pt x="2714" y="36"/>
                </a:cubicBezTo>
                <a:cubicBezTo>
                  <a:pt x="2672" y="36"/>
                  <a:pt x="2630" y="62"/>
                  <a:pt x="2630" y="118"/>
                </a:cubicBezTo>
                <a:cubicBezTo>
                  <a:pt x="2630" y="140"/>
                  <a:pt x="2636" y="160"/>
                  <a:pt x="2648" y="182"/>
                </a:cubicBezTo>
                <a:cubicBezTo>
                  <a:pt x="2592" y="200"/>
                  <a:pt x="2562" y="248"/>
                  <a:pt x="2562" y="304"/>
                </a:cubicBezTo>
                <a:cubicBezTo>
                  <a:pt x="2562" y="406"/>
                  <a:pt x="2640" y="460"/>
                  <a:pt x="2726" y="460"/>
                </a:cubicBezTo>
                <a:cubicBezTo>
                  <a:pt x="2780" y="460"/>
                  <a:pt x="2824" y="444"/>
                  <a:pt x="2862" y="410"/>
                </a:cubicBezTo>
                <a:cubicBezTo>
                  <a:pt x="2888" y="424"/>
                  <a:pt x="2912" y="442"/>
                  <a:pt x="2928" y="448"/>
                </a:cubicBezTo>
                <a:moveTo>
                  <a:pt x="3094" y="212"/>
                </a:moveTo>
                <a:cubicBezTo>
                  <a:pt x="3094" y="88"/>
                  <a:pt x="3154" y="20"/>
                  <a:pt x="3252" y="20"/>
                </a:cubicBezTo>
                <a:cubicBezTo>
                  <a:pt x="3328" y="20"/>
                  <a:pt x="3372" y="58"/>
                  <a:pt x="3392" y="134"/>
                </a:cubicBezTo>
                <a:cubicBezTo>
                  <a:pt x="3404" y="134"/>
                  <a:pt x="3404" y="134"/>
                  <a:pt x="3404" y="134"/>
                </a:cubicBezTo>
                <a:cubicBezTo>
                  <a:pt x="3400" y="4"/>
                  <a:pt x="3400" y="4"/>
                  <a:pt x="3400" y="4"/>
                </a:cubicBezTo>
                <a:cubicBezTo>
                  <a:pt x="3388" y="4"/>
                  <a:pt x="3388" y="4"/>
                  <a:pt x="3388" y="4"/>
                </a:cubicBezTo>
                <a:cubicBezTo>
                  <a:pt x="3384" y="14"/>
                  <a:pt x="3376" y="18"/>
                  <a:pt x="3364" y="18"/>
                </a:cubicBezTo>
                <a:cubicBezTo>
                  <a:pt x="3338" y="18"/>
                  <a:pt x="3314" y="0"/>
                  <a:pt x="3248" y="0"/>
                </a:cubicBezTo>
                <a:cubicBezTo>
                  <a:pt x="3118" y="0"/>
                  <a:pt x="3030" y="102"/>
                  <a:pt x="3030" y="242"/>
                </a:cubicBezTo>
                <a:cubicBezTo>
                  <a:pt x="3030" y="376"/>
                  <a:pt x="3110" y="460"/>
                  <a:pt x="3238" y="460"/>
                </a:cubicBezTo>
                <a:cubicBezTo>
                  <a:pt x="3320" y="460"/>
                  <a:pt x="3384" y="420"/>
                  <a:pt x="3408" y="380"/>
                </a:cubicBezTo>
                <a:cubicBezTo>
                  <a:pt x="3396" y="366"/>
                  <a:pt x="3396" y="366"/>
                  <a:pt x="3396" y="366"/>
                </a:cubicBezTo>
                <a:cubicBezTo>
                  <a:pt x="3370" y="402"/>
                  <a:pt x="3314" y="426"/>
                  <a:pt x="3256" y="426"/>
                </a:cubicBezTo>
                <a:cubicBezTo>
                  <a:pt x="3156" y="426"/>
                  <a:pt x="3094" y="340"/>
                  <a:pt x="3094" y="212"/>
                </a:cubicBezTo>
                <a:moveTo>
                  <a:pt x="3678" y="328"/>
                </a:moveTo>
                <a:cubicBezTo>
                  <a:pt x="3678" y="392"/>
                  <a:pt x="3650" y="430"/>
                  <a:pt x="3592" y="430"/>
                </a:cubicBezTo>
                <a:cubicBezTo>
                  <a:pt x="3542" y="430"/>
                  <a:pt x="3496" y="384"/>
                  <a:pt x="3496" y="292"/>
                </a:cubicBezTo>
                <a:cubicBezTo>
                  <a:pt x="3496" y="226"/>
                  <a:pt x="3528" y="190"/>
                  <a:pt x="3580" y="190"/>
                </a:cubicBezTo>
                <a:cubicBezTo>
                  <a:pt x="3628" y="192"/>
                  <a:pt x="3678" y="238"/>
                  <a:pt x="3678" y="328"/>
                </a:cubicBezTo>
                <a:moveTo>
                  <a:pt x="3732" y="312"/>
                </a:moveTo>
                <a:cubicBezTo>
                  <a:pt x="3732" y="260"/>
                  <a:pt x="3710" y="214"/>
                  <a:pt x="3672" y="190"/>
                </a:cubicBezTo>
                <a:cubicBezTo>
                  <a:pt x="3650" y="176"/>
                  <a:pt x="3620" y="168"/>
                  <a:pt x="3588" y="168"/>
                </a:cubicBezTo>
                <a:cubicBezTo>
                  <a:pt x="3502" y="168"/>
                  <a:pt x="3442" y="230"/>
                  <a:pt x="3442" y="310"/>
                </a:cubicBezTo>
                <a:cubicBezTo>
                  <a:pt x="3442" y="364"/>
                  <a:pt x="3464" y="408"/>
                  <a:pt x="3502" y="432"/>
                </a:cubicBezTo>
                <a:cubicBezTo>
                  <a:pt x="3524" y="446"/>
                  <a:pt x="3554" y="452"/>
                  <a:pt x="3586" y="452"/>
                </a:cubicBezTo>
                <a:cubicBezTo>
                  <a:pt x="3672" y="454"/>
                  <a:pt x="3732" y="394"/>
                  <a:pt x="3732" y="312"/>
                </a:cubicBezTo>
                <a:moveTo>
                  <a:pt x="4136" y="448"/>
                </a:moveTo>
                <a:cubicBezTo>
                  <a:pt x="4280" y="448"/>
                  <a:pt x="4280" y="448"/>
                  <a:pt x="4280" y="448"/>
                </a:cubicBezTo>
                <a:cubicBezTo>
                  <a:pt x="4280" y="436"/>
                  <a:pt x="4280" y="436"/>
                  <a:pt x="4280" y="436"/>
                </a:cubicBezTo>
                <a:cubicBezTo>
                  <a:pt x="4230" y="434"/>
                  <a:pt x="4232" y="426"/>
                  <a:pt x="4232" y="348"/>
                </a:cubicBezTo>
                <a:cubicBezTo>
                  <a:pt x="4232" y="276"/>
                  <a:pt x="4232" y="276"/>
                  <a:pt x="4232" y="276"/>
                </a:cubicBezTo>
                <a:cubicBezTo>
                  <a:pt x="4232" y="200"/>
                  <a:pt x="4190" y="172"/>
                  <a:pt x="4142" y="172"/>
                </a:cubicBezTo>
                <a:cubicBezTo>
                  <a:pt x="4098" y="172"/>
                  <a:pt x="4064" y="196"/>
                  <a:pt x="4038" y="232"/>
                </a:cubicBezTo>
                <a:cubicBezTo>
                  <a:pt x="4028" y="194"/>
                  <a:pt x="4000" y="172"/>
                  <a:pt x="3954" y="172"/>
                </a:cubicBezTo>
                <a:cubicBezTo>
                  <a:pt x="3916" y="172"/>
                  <a:pt x="3880" y="196"/>
                  <a:pt x="3858" y="224"/>
                </a:cubicBezTo>
                <a:cubicBezTo>
                  <a:pt x="3858" y="176"/>
                  <a:pt x="3858" y="176"/>
                  <a:pt x="3858" y="176"/>
                </a:cubicBezTo>
                <a:cubicBezTo>
                  <a:pt x="3756" y="176"/>
                  <a:pt x="3756" y="176"/>
                  <a:pt x="3756" y="176"/>
                </a:cubicBezTo>
                <a:cubicBezTo>
                  <a:pt x="3756" y="188"/>
                  <a:pt x="3756" y="188"/>
                  <a:pt x="3756" y="188"/>
                </a:cubicBezTo>
                <a:cubicBezTo>
                  <a:pt x="3800" y="190"/>
                  <a:pt x="3806" y="192"/>
                  <a:pt x="3806" y="268"/>
                </a:cubicBezTo>
                <a:cubicBezTo>
                  <a:pt x="3806" y="346"/>
                  <a:pt x="3806" y="346"/>
                  <a:pt x="3806" y="346"/>
                </a:cubicBezTo>
                <a:cubicBezTo>
                  <a:pt x="3806" y="434"/>
                  <a:pt x="3804" y="434"/>
                  <a:pt x="3758" y="434"/>
                </a:cubicBezTo>
                <a:cubicBezTo>
                  <a:pt x="3758" y="446"/>
                  <a:pt x="3758" y="446"/>
                  <a:pt x="3758" y="446"/>
                </a:cubicBezTo>
                <a:cubicBezTo>
                  <a:pt x="3902" y="446"/>
                  <a:pt x="3902" y="446"/>
                  <a:pt x="3902" y="446"/>
                </a:cubicBezTo>
                <a:cubicBezTo>
                  <a:pt x="3902" y="434"/>
                  <a:pt x="3902" y="434"/>
                  <a:pt x="3902" y="434"/>
                </a:cubicBezTo>
                <a:cubicBezTo>
                  <a:pt x="3862" y="430"/>
                  <a:pt x="3858" y="430"/>
                  <a:pt x="3858" y="342"/>
                </a:cubicBezTo>
                <a:cubicBezTo>
                  <a:pt x="3858" y="262"/>
                  <a:pt x="3858" y="262"/>
                  <a:pt x="3858" y="262"/>
                </a:cubicBezTo>
                <a:cubicBezTo>
                  <a:pt x="3858" y="234"/>
                  <a:pt x="3894" y="204"/>
                  <a:pt x="3932" y="204"/>
                </a:cubicBezTo>
                <a:cubicBezTo>
                  <a:pt x="3974" y="204"/>
                  <a:pt x="3990" y="226"/>
                  <a:pt x="3990" y="282"/>
                </a:cubicBezTo>
                <a:cubicBezTo>
                  <a:pt x="3990" y="338"/>
                  <a:pt x="3990" y="338"/>
                  <a:pt x="3990" y="338"/>
                </a:cubicBezTo>
                <a:cubicBezTo>
                  <a:pt x="3990" y="428"/>
                  <a:pt x="3988" y="432"/>
                  <a:pt x="3950" y="436"/>
                </a:cubicBezTo>
                <a:cubicBezTo>
                  <a:pt x="3950" y="448"/>
                  <a:pt x="3950" y="448"/>
                  <a:pt x="3950" y="448"/>
                </a:cubicBezTo>
                <a:cubicBezTo>
                  <a:pt x="4086" y="448"/>
                  <a:pt x="4086" y="448"/>
                  <a:pt x="4086" y="448"/>
                </a:cubicBezTo>
                <a:cubicBezTo>
                  <a:pt x="4086" y="436"/>
                  <a:pt x="4086" y="436"/>
                  <a:pt x="4086" y="436"/>
                </a:cubicBezTo>
                <a:cubicBezTo>
                  <a:pt x="4040" y="432"/>
                  <a:pt x="4042" y="428"/>
                  <a:pt x="4042" y="342"/>
                </a:cubicBezTo>
                <a:cubicBezTo>
                  <a:pt x="4042" y="264"/>
                  <a:pt x="4042" y="264"/>
                  <a:pt x="4042" y="264"/>
                </a:cubicBezTo>
                <a:cubicBezTo>
                  <a:pt x="4042" y="236"/>
                  <a:pt x="4078" y="206"/>
                  <a:pt x="4118" y="206"/>
                </a:cubicBezTo>
                <a:cubicBezTo>
                  <a:pt x="4152" y="206"/>
                  <a:pt x="4174" y="226"/>
                  <a:pt x="4174" y="284"/>
                </a:cubicBezTo>
                <a:cubicBezTo>
                  <a:pt x="4174" y="346"/>
                  <a:pt x="4174" y="346"/>
                  <a:pt x="4174" y="346"/>
                </a:cubicBezTo>
                <a:cubicBezTo>
                  <a:pt x="4174" y="428"/>
                  <a:pt x="4174" y="432"/>
                  <a:pt x="4134" y="436"/>
                </a:cubicBezTo>
                <a:cubicBezTo>
                  <a:pt x="4134" y="448"/>
                  <a:pt x="4134" y="448"/>
                  <a:pt x="4134" y="448"/>
                </a:cubicBezTo>
                <a:lnTo>
                  <a:pt x="4136" y="448"/>
                </a:lnTo>
                <a:close/>
                <a:moveTo>
                  <a:pt x="4546" y="316"/>
                </a:moveTo>
                <a:cubicBezTo>
                  <a:pt x="4546" y="388"/>
                  <a:pt x="4516" y="432"/>
                  <a:pt x="4460" y="432"/>
                </a:cubicBezTo>
                <a:cubicBezTo>
                  <a:pt x="4424" y="432"/>
                  <a:pt x="4384" y="412"/>
                  <a:pt x="4384" y="384"/>
                </a:cubicBezTo>
                <a:cubicBezTo>
                  <a:pt x="4384" y="248"/>
                  <a:pt x="4384" y="248"/>
                  <a:pt x="4384" y="248"/>
                </a:cubicBezTo>
                <a:cubicBezTo>
                  <a:pt x="4384" y="226"/>
                  <a:pt x="4416" y="202"/>
                  <a:pt x="4454" y="202"/>
                </a:cubicBezTo>
                <a:cubicBezTo>
                  <a:pt x="4510" y="206"/>
                  <a:pt x="4546" y="248"/>
                  <a:pt x="4546" y="316"/>
                </a:cubicBezTo>
                <a:moveTo>
                  <a:pt x="4600" y="310"/>
                </a:moveTo>
                <a:cubicBezTo>
                  <a:pt x="4600" y="230"/>
                  <a:pt x="4548" y="170"/>
                  <a:pt x="4478" y="170"/>
                </a:cubicBezTo>
                <a:cubicBezTo>
                  <a:pt x="4438" y="170"/>
                  <a:pt x="4406" y="188"/>
                  <a:pt x="4384" y="214"/>
                </a:cubicBezTo>
                <a:cubicBezTo>
                  <a:pt x="4384" y="174"/>
                  <a:pt x="4384" y="174"/>
                  <a:pt x="4384" y="174"/>
                </a:cubicBezTo>
                <a:cubicBezTo>
                  <a:pt x="4284" y="174"/>
                  <a:pt x="4284" y="174"/>
                  <a:pt x="4284" y="174"/>
                </a:cubicBezTo>
                <a:cubicBezTo>
                  <a:pt x="4284" y="186"/>
                  <a:pt x="4284" y="186"/>
                  <a:pt x="4284" y="186"/>
                </a:cubicBezTo>
                <a:cubicBezTo>
                  <a:pt x="4326" y="188"/>
                  <a:pt x="4332" y="190"/>
                  <a:pt x="4332" y="280"/>
                </a:cubicBezTo>
                <a:cubicBezTo>
                  <a:pt x="4332" y="466"/>
                  <a:pt x="4332" y="466"/>
                  <a:pt x="4332" y="466"/>
                </a:cubicBezTo>
                <a:cubicBezTo>
                  <a:pt x="4332" y="564"/>
                  <a:pt x="4334" y="570"/>
                  <a:pt x="4286" y="574"/>
                </a:cubicBezTo>
                <a:cubicBezTo>
                  <a:pt x="4286" y="588"/>
                  <a:pt x="4286" y="588"/>
                  <a:pt x="4286" y="588"/>
                </a:cubicBezTo>
                <a:cubicBezTo>
                  <a:pt x="4432" y="588"/>
                  <a:pt x="4432" y="588"/>
                  <a:pt x="4432" y="588"/>
                </a:cubicBezTo>
                <a:cubicBezTo>
                  <a:pt x="4432" y="574"/>
                  <a:pt x="4432" y="574"/>
                  <a:pt x="4432" y="574"/>
                </a:cubicBezTo>
                <a:cubicBezTo>
                  <a:pt x="4380" y="572"/>
                  <a:pt x="4384" y="564"/>
                  <a:pt x="4384" y="462"/>
                </a:cubicBezTo>
                <a:cubicBezTo>
                  <a:pt x="4384" y="424"/>
                  <a:pt x="4384" y="424"/>
                  <a:pt x="4384" y="424"/>
                </a:cubicBezTo>
                <a:cubicBezTo>
                  <a:pt x="4404" y="444"/>
                  <a:pt x="4436" y="454"/>
                  <a:pt x="4466" y="454"/>
                </a:cubicBezTo>
                <a:cubicBezTo>
                  <a:pt x="4548" y="454"/>
                  <a:pt x="4600" y="392"/>
                  <a:pt x="4600" y="310"/>
                </a:cubicBezTo>
                <a:moveTo>
                  <a:pt x="4792" y="382"/>
                </a:moveTo>
                <a:cubicBezTo>
                  <a:pt x="4792" y="404"/>
                  <a:pt x="4762" y="424"/>
                  <a:pt x="4736" y="424"/>
                </a:cubicBezTo>
                <a:cubicBezTo>
                  <a:pt x="4712" y="424"/>
                  <a:pt x="4694" y="410"/>
                  <a:pt x="4694" y="378"/>
                </a:cubicBezTo>
                <a:cubicBezTo>
                  <a:pt x="4694" y="322"/>
                  <a:pt x="4752" y="328"/>
                  <a:pt x="4792" y="306"/>
                </a:cubicBezTo>
                <a:cubicBezTo>
                  <a:pt x="4792" y="382"/>
                  <a:pt x="4792" y="382"/>
                  <a:pt x="4792" y="382"/>
                </a:cubicBezTo>
                <a:close/>
                <a:moveTo>
                  <a:pt x="5240" y="434"/>
                </a:moveTo>
                <a:cubicBezTo>
                  <a:pt x="5192" y="432"/>
                  <a:pt x="5192" y="430"/>
                  <a:pt x="5192" y="340"/>
                </a:cubicBezTo>
                <a:cubicBezTo>
                  <a:pt x="5192" y="278"/>
                  <a:pt x="5192" y="278"/>
                  <a:pt x="5192" y="278"/>
                </a:cubicBezTo>
                <a:cubicBezTo>
                  <a:pt x="5192" y="196"/>
                  <a:pt x="5146" y="170"/>
                  <a:pt x="5104" y="170"/>
                </a:cubicBezTo>
                <a:cubicBezTo>
                  <a:pt x="5068" y="170"/>
                  <a:pt x="5032" y="186"/>
                  <a:pt x="5004" y="222"/>
                </a:cubicBezTo>
                <a:cubicBezTo>
                  <a:pt x="5004" y="174"/>
                  <a:pt x="5004" y="174"/>
                  <a:pt x="5004" y="174"/>
                </a:cubicBezTo>
                <a:cubicBezTo>
                  <a:pt x="4902" y="174"/>
                  <a:pt x="4902" y="174"/>
                  <a:pt x="4902" y="174"/>
                </a:cubicBezTo>
                <a:cubicBezTo>
                  <a:pt x="4902" y="186"/>
                  <a:pt x="4902" y="186"/>
                  <a:pt x="4902" y="186"/>
                </a:cubicBezTo>
                <a:cubicBezTo>
                  <a:pt x="4946" y="188"/>
                  <a:pt x="4952" y="190"/>
                  <a:pt x="4952" y="266"/>
                </a:cubicBezTo>
                <a:cubicBezTo>
                  <a:pt x="4952" y="334"/>
                  <a:pt x="4952" y="334"/>
                  <a:pt x="4952" y="334"/>
                </a:cubicBezTo>
                <a:cubicBezTo>
                  <a:pt x="4952" y="430"/>
                  <a:pt x="4952" y="432"/>
                  <a:pt x="4904" y="434"/>
                </a:cubicBezTo>
                <a:cubicBezTo>
                  <a:pt x="4892" y="434"/>
                  <a:pt x="4892" y="434"/>
                  <a:pt x="4892" y="434"/>
                </a:cubicBezTo>
                <a:cubicBezTo>
                  <a:pt x="4854" y="434"/>
                  <a:pt x="4850" y="422"/>
                  <a:pt x="4850" y="366"/>
                </a:cubicBezTo>
                <a:cubicBezTo>
                  <a:pt x="4850" y="274"/>
                  <a:pt x="4850" y="274"/>
                  <a:pt x="4850" y="274"/>
                </a:cubicBezTo>
                <a:cubicBezTo>
                  <a:pt x="4850" y="256"/>
                  <a:pt x="4848" y="240"/>
                  <a:pt x="4844" y="228"/>
                </a:cubicBezTo>
                <a:cubicBezTo>
                  <a:pt x="4830" y="186"/>
                  <a:pt x="4796" y="170"/>
                  <a:pt x="4748" y="170"/>
                </a:cubicBezTo>
                <a:cubicBezTo>
                  <a:pt x="4718" y="170"/>
                  <a:pt x="4674" y="180"/>
                  <a:pt x="4650" y="202"/>
                </a:cubicBezTo>
                <a:cubicBezTo>
                  <a:pt x="4652" y="214"/>
                  <a:pt x="4664" y="240"/>
                  <a:pt x="4670" y="248"/>
                </a:cubicBezTo>
                <a:cubicBezTo>
                  <a:pt x="4676" y="246"/>
                  <a:pt x="4676" y="246"/>
                  <a:pt x="4676" y="246"/>
                </a:cubicBezTo>
                <a:cubicBezTo>
                  <a:pt x="4688" y="216"/>
                  <a:pt x="4708" y="194"/>
                  <a:pt x="4742" y="194"/>
                </a:cubicBezTo>
                <a:cubicBezTo>
                  <a:pt x="4778" y="194"/>
                  <a:pt x="4794" y="220"/>
                  <a:pt x="4794" y="250"/>
                </a:cubicBezTo>
                <a:cubicBezTo>
                  <a:pt x="4794" y="282"/>
                  <a:pt x="4794" y="282"/>
                  <a:pt x="4794" y="282"/>
                </a:cubicBezTo>
                <a:cubicBezTo>
                  <a:pt x="4794" y="302"/>
                  <a:pt x="4702" y="306"/>
                  <a:pt x="4664" y="338"/>
                </a:cubicBezTo>
                <a:cubicBezTo>
                  <a:pt x="4652" y="350"/>
                  <a:pt x="4642" y="364"/>
                  <a:pt x="4642" y="384"/>
                </a:cubicBezTo>
                <a:cubicBezTo>
                  <a:pt x="4642" y="426"/>
                  <a:pt x="4672" y="456"/>
                  <a:pt x="4716" y="456"/>
                </a:cubicBezTo>
                <a:cubicBezTo>
                  <a:pt x="4744" y="456"/>
                  <a:pt x="4768" y="446"/>
                  <a:pt x="4794" y="418"/>
                </a:cubicBezTo>
                <a:cubicBezTo>
                  <a:pt x="4798" y="438"/>
                  <a:pt x="4814" y="448"/>
                  <a:pt x="4842" y="448"/>
                </a:cubicBezTo>
                <a:cubicBezTo>
                  <a:pt x="4906" y="448"/>
                  <a:pt x="4906" y="448"/>
                  <a:pt x="4906" y="448"/>
                </a:cubicBezTo>
                <a:cubicBezTo>
                  <a:pt x="4906" y="448"/>
                  <a:pt x="4906" y="448"/>
                  <a:pt x="4906" y="448"/>
                </a:cubicBezTo>
                <a:cubicBezTo>
                  <a:pt x="5048" y="448"/>
                  <a:pt x="5048" y="448"/>
                  <a:pt x="5048" y="448"/>
                </a:cubicBezTo>
                <a:cubicBezTo>
                  <a:pt x="5048" y="436"/>
                  <a:pt x="5048" y="436"/>
                  <a:pt x="5048" y="436"/>
                </a:cubicBezTo>
                <a:cubicBezTo>
                  <a:pt x="5006" y="432"/>
                  <a:pt x="5004" y="434"/>
                  <a:pt x="5004" y="338"/>
                </a:cubicBezTo>
                <a:cubicBezTo>
                  <a:pt x="5004" y="262"/>
                  <a:pt x="5004" y="262"/>
                  <a:pt x="5004" y="262"/>
                </a:cubicBezTo>
                <a:cubicBezTo>
                  <a:pt x="5004" y="236"/>
                  <a:pt x="5038" y="206"/>
                  <a:pt x="5080" y="206"/>
                </a:cubicBezTo>
                <a:cubicBezTo>
                  <a:pt x="5114" y="206"/>
                  <a:pt x="5140" y="220"/>
                  <a:pt x="5140" y="286"/>
                </a:cubicBezTo>
                <a:cubicBezTo>
                  <a:pt x="5140" y="340"/>
                  <a:pt x="5140" y="340"/>
                  <a:pt x="5140" y="340"/>
                </a:cubicBezTo>
                <a:cubicBezTo>
                  <a:pt x="5140" y="432"/>
                  <a:pt x="5136" y="432"/>
                  <a:pt x="5098" y="434"/>
                </a:cubicBezTo>
                <a:cubicBezTo>
                  <a:pt x="5098" y="446"/>
                  <a:pt x="5098" y="446"/>
                  <a:pt x="5098" y="446"/>
                </a:cubicBezTo>
                <a:cubicBezTo>
                  <a:pt x="5240" y="446"/>
                  <a:pt x="5240" y="446"/>
                  <a:pt x="5240" y="446"/>
                </a:cubicBezTo>
                <a:lnTo>
                  <a:pt x="5240" y="434"/>
                </a:lnTo>
                <a:close/>
                <a:moveTo>
                  <a:pt x="5516" y="192"/>
                </a:moveTo>
                <a:cubicBezTo>
                  <a:pt x="5516" y="180"/>
                  <a:pt x="5516" y="180"/>
                  <a:pt x="5516" y="180"/>
                </a:cubicBezTo>
                <a:cubicBezTo>
                  <a:pt x="5418" y="180"/>
                  <a:pt x="5418" y="180"/>
                  <a:pt x="5418" y="180"/>
                </a:cubicBezTo>
                <a:cubicBezTo>
                  <a:pt x="5418" y="192"/>
                  <a:pt x="5418" y="192"/>
                  <a:pt x="5418" y="192"/>
                </a:cubicBezTo>
                <a:cubicBezTo>
                  <a:pt x="5442" y="194"/>
                  <a:pt x="5454" y="206"/>
                  <a:pt x="5446" y="234"/>
                </a:cubicBezTo>
                <a:cubicBezTo>
                  <a:pt x="5394" y="390"/>
                  <a:pt x="5394" y="390"/>
                  <a:pt x="5394" y="390"/>
                </a:cubicBezTo>
                <a:cubicBezTo>
                  <a:pt x="5342" y="270"/>
                  <a:pt x="5342" y="270"/>
                  <a:pt x="5342" y="270"/>
                </a:cubicBezTo>
                <a:cubicBezTo>
                  <a:pt x="5328" y="238"/>
                  <a:pt x="5322" y="224"/>
                  <a:pt x="5322" y="212"/>
                </a:cubicBezTo>
                <a:cubicBezTo>
                  <a:pt x="5322" y="202"/>
                  <a:pt x="5328" y="196"/>
                  <a:pt x="5348" y="192"/>
                </a:cubicBezTo>
                <a:cubicBezTo>
                  <a:pt x="5348" y="180"/>
                  <a:pt x="5348" y="180"/>
                  <a:pt x="5348" y="180"/>
                </a:cubicBezTo>
                <a:cubicBezTo>
                  <a:pt x="5220" y="180"/>
                  <a:pt x="5220" y="180"/>
                  <a:pt x="5220" y="180"/>
                </a:cubicBezTo>
                <a:cubicBezTo>
                  <a:pt x="5220" y="192"/>
                  <a:pt x="5220" y="192"/>
                  <a:pt x="5220" y="192"/>
                </a:cubicBezTo>
                <a:cubicBezTo>
                  <a:pt x="5252" y="194"/>
                  <a:pt x="5254" y="198"/>
                  <a:pt x="5296" y="292"/>
                </a:cubicBezTo>
                <a:cubicBezTo>
                  <a:pt x="5368" y="450"/>
                  <a:pt x="5368" y="450"/>
                  <a:pt x="5368" y="450"/>
                </a:cubicBezTo>
                <a:cubicBezTo>
                  <a:pt x="5344" y="512"/>
                  <a:pt x="5306" y="546"/>
                  <a:pt x="5228" y="564"/>
                </a:cubicBezTo>
                <a:cubicBezTo>
                  <a:pt x="5232" y="576"/>
                  <a:pt x="5246" y="600"/>
                  <a:pt x="5254" y="606"/>
                </a:cubicBezTo>
                <a:cubicBezTo>
                  <a:pt x="5356" y="564"/>
                  <a:pt x="5376" y="498"/>
                  <a:pt x="5412" y="396"/>
                </a:cubicBezTo>
                <a:cubicBezTo>
                  <a:pt x="5466" y="242"/>
                  <a:pt x="5466" y="242"/>
                  <a:pt x="5466" y="242"/>
                </a:cubicBezTo>
                <a:cubicBezTo>
                  <a:pt x="5478" y="206"/>
                  <a:pt x="5498" y="192"/>
                  <a:pt x="5516" y="192"/>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600" kern="1200">
                <a:solidFill>
                  <a:schemeClr val="tx1"/>
                </a:solidFill>
                <a:latin typeface="Arial" charset="0"/>
                <a:ea typeface="+mn-ea"/>
                <a:cs typeface="+mn-cs"/>
              </a:defRPr>
            </a:lvl1pPr>
            <a:lvl2pPr marL="457200" algn="l" rtl="0" fontAlgn="base">
              <a:spcBef>
                <a:spcPct val="0"/>
              </a:spcBef>
              <a:spcAft>
                <a:spcPct val="0"/>
              </a:spcAft>
              <a:defRPr sz="1600" kern="1200">
                <a:solidFill>
                  <a:schemeClr val="tx1"/>
                </a:solidFill>
                <a:latin typeface="Arial" charset="0"/>
                <a:ea typeface="+mn-ea"/>
                <a:cs typeface="+mn-cs"/>
              </a:defRPr>
            </a:lvl2pPr>
            <a:lvl3pPr marL="914400" algn="l" rtl="0" fontAlgn="base">
              <a:spcBef>
                <a:spcPct val="0"/>
              </a:spcBef>
              <a:spcAft>
                <a:spcPct val="0"/>
              </a:spcAft>
              <a:defRPr sz="1600" kern="1200">
                <a:solidFill>
                  <a:schemeClr val="tx1"/>
                </a:solidFill>
                <a:latin typeface="Arial" charset="0"/>
                <a:ea typeface="+mn-ea"/>
                <a:cs typeface="+mn-cs"/>
              </a:defRPr>
            </a:lvl3pPr>
            <a:lvl4pPr marL="1371600" algn="l" rtl="0" fontAlgn="base">
              <a:spcBef>
                <a:spcPct val="0"/>
              </a:spcBef>
              <a:spcAft>
                <a:spcPct val="0"/>
              </a:spcAft>
              <a:defRPr sz="1600" kern="1200">
                <a:solidFill>
                  <a:schemeClr val="tx1"/>
                </a:solidFill>
                <a:latin typeface="Arial" charset="0"/>
                <a:ea typeface="+mn-ea"/>
                <a:cs typeface="+mn-cs"/>
              </a:defRPr>
            </a:lvl4pPr>
            <a:lvl5pPr marL="1828800" algn="l" rtl="0" fontAlgn="base">
              <a:spcBef>
                <a:spcPct val="0"/>
              </a:spcBef>
              <a:spcAft>
                <a:spcPct val="0"/>
              </a:spcAft>
              <a:defRPr sz="1600" kern="1200">
                <a:solidFill>
                  <a:schemeClr val="tx1"/>
                </a:solidFill>
                <a:latin typeface="Arial" charset="0"/>
                <a:ea typeface="+mn-ea"/>
                <a:cs typeface="+mn-cs"/>
              </a:defRPr>
            </a:lvl5pPr>
            <a:lvl6pPr marL="2286000" algn="l" defTabSz="914400" rtl="0" eaLnBrk="1" latinLnBrk="0" hangingPunct="1">
              <a:defRPr sz="1600" kern="1200">
                <a:solidFill>
                  <a:schemeClr val="tx1"/>
                </a:solidFill>
                <a:latin typeface="Arial" charset="0"/>
                <a:ea typeface="+mn-ea"/>
                <a:cs typeface="+mn-cs"/>
              </a:defRPr>
            </a:lvl6pPr>
            <a:lvl7pPr marL="2743200" algn="l" defTabSz="914400" rtl="0" eaLnBrk="1" latinLnBrk="0" hangingPunct="1">
              <a:defRPr sz="1600" kern="1200">
                <a:solidFill>
                  <a:schemeClr val="tx1"/>
                </a:solidFill>
                <a:latin typeface="Arial" charset="0"/>
                <a:ea typeface="+mn-ea"/>
                <a:cs typeface="+mn-cs"/>
              </a:defRPr>
            </a:lvl7pPr>
            <a:lvl8pPr marL="3200400" algn="l" defTabSz="914400" rtl="0" eaLnBrk="1" latinLnBrk="0" hangingPunct="1">
              <a:defRPr sz="1600" kern="1200">
                <a:solidFill>
                  <a:schemeClr val="tx1"/>
                </a:solidFill>
                <a:latin typeface="Arial" charset="0"/>
                <a:ea typeface="+mn-ea"/>
                <a:cs typeface="+mn-cs"/>
              </a:defRPr>
            </a:lvl8pPr>
            <a:lvl9pPr marL="3657600" algn="l" defTabSz="914400" rtl="0" eaLnBrk="1" latinLnBrk="0" hangingPunct="1">
              <a:defRPr sz="1600" kern="1200">
                <a:solidFill>
                  <a:schemeClr val="tx1"/>
                </a:solidFill>
                <a:latin typeface="Arial" charset="0"/>
                <a:ea typeface="+mn-ea"/>
                <a:cs typeface="+mn-cs"/>
              </a:defRPr>
            </a:lvl9pPr>
          </a:lstStyle>
          <a:p>
            <a:endParaRPr lang="en-US" baseline="0" dirty="0">
              <a:solidFill>
                <a:srgbClr val="000000"/>
              </a:solidFill>
              <a:latin typeface="+mn-lt"/>
            </a:endParaRPr>
          </a:p>
        </p:txBody>
      </p:sp>
      <p:sp>
        <p:nvSpPr>
          <p:cNvPr id="27" name="Disclaimer-English (United States)" hidden="1"/>
          <p:cNvSpPr>
            <a:spLocks noChangeArrowheads="1"/>
          </p:cNvSpPr>
          <p:nvPr/>
        </p:nvSpPr>
        <p:spPr bwMode="black">
          <a:xfrm>
            <a:off x="2268266" y="6287785"/>
            <a:ext cx="3544453" cy="36908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t" anchorCtr="0">
            <a:noAutofit/>
          </a:bodyPr>
          <a:lstStyle/>
          <a:p>
            <a:pPr defTabSz="804863" eaLnBrk="0" hangingPunct="0"/>
            <a:r>
              <a:rPr lang="en-US" sz="800" baseline="0" dirty="0">
                <a:solidFill>
                  <a:srgbClr val="FFFFFF"/>
                </a:solidFill>
                <a:latin typeface="+mn-lt"/>
              </a:rPr>
              <a:t>CONFIDENTIAL AND PROPRIETARY</a:t>
            </a:r>
          </a:p>
          <a:p>
            <a:pPr defTabSz="804863" eaLnBrk="0" hangingPunct="0"/>
            <a:r>
              <a:rPr lang="en-US" sz="800" baseline="0" dirty="0">
                <a:solidFill>
                  <a:srgbClr val="FFFFFF"/>
                </a:solidFill>
                <a:latin typeface="+mn-lt"/>
              </a:rPr>
              <a:t>Any use of this material without specific permission of McKinsey &amp; Company is strictly prohibited</a:t>
            </a:r>
          </a:p>
        </p:txBody>
      </p:sp>
    </p:spTree>
    <p:extLst>
      <p:ext uri="{BB962C8B-B14F-4D97-AF65-F5344CB8AC3E}">
        <p14:creationId xmlns:p14="http://schemas.microsoft.com/office/powerpoint/2010/main" val="2296837282"/>
      </p:ext>
    </p:extLst>
  </p:cSld>
  <p:clrMapOvr>
    <a:masterClrMapping/>
  </p:clrMapOvr>
  <p:extLst mod="1">
    <p:ext uri="{DCECCB84-F9BA-43D5-87BE-67443E8EF086}">
      <p15:sldGuideLst xmlns:p15="http://schemas.microsoft.com/office/powerpoint/2012/main">
        <p15:guide id="1" orient="horz" pos="2117">
          <p15:clr>
            <a:srgbClr val="FBAE40"/>
          </p15:clr>
        </p15:guide>
        <p15:guide id="2" pos="1416">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6E228F5-5CF1-42E1-9748-97D7582A107A}"/>
              </a:ext>
            </a:extLst>
          </p:cNvPr>
          <p:cNvGraphicFramePr>
            <a:graphicFrameLocks noChangeAspect="1"/>
          </p:cNvGraphicFramePr>
          <p:nvPr>
            <p:custDataLst>
              <p:tags r:id="rId2"/>
            </p:custDataLst>
            <p:extLst>
              <p:ext uri="{D42A27DB-BD31-4B8C-83A1-F6EECF244321}">
                <p14:modId xmlns:p14="http://schemas.microsoft.com/office/powerpoint/2010/main" val="267251433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3812" name="think-cell Slide" r:id="rId5" imgW="353" imgH="353" progId="TCLayout.ActiveDocument.1">
                  <p:embed/>
                </p:oleObj>
              </mc:Choice>
              <mc:Fallback>
                <p:oleObj name="think-cell Slide" r:id="rId5" imgW="353" imgH="353" progId="TCLayout.ActiveDocument.1">
                  <p:embed/>
                  <p:pic>
                    <p:nvPicPr>
                      <p:cNvPr id="3" name="Object 2" hidden="1">
                        <a:extLst>
                          <a:ext uri="{FF2B5EF4-FFF2-40B4-BE49-F238E27FC236}">
                            <a16:creationId xmlns:a16="http://schemas.microsoft.com/office/drawing/2014/main" id="{C6E228F5-5CF1-42E1-9748-97D7582A107A}"/>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2. Slide Title"/>
          <p:cNvSpPr>
            <a:spLocks noGrp="1"/>
          </p:cNvSpPr>
          <p:nvPr>
            <p:ph type="title"/>
          </p:nvPr>
        </p:nvSpPr>
        <p:spPr bwMode="auto"/>
        <p:txBody>
          <a:bodyPr/>
          <a:lstStyle/>
          <a:p>
            <a:r>
              <a:rPr lang="en-US"/>
              <a:t>Click to edit Master title style</a:t>
            </a:r>
            <a:endParaRPr lang="en-US" dirty="0"/>
          </a:p>
        </p:txBody>
      </p:sp>
      <p:sp>
        <p:nvSpPr>
          <p:cNvPr id="8" name="Slide Number"/>
          <p:cNvSpPr txBox="1">
            <a:spLocks/>
          </p:cNvSpPr>
          <p:nvPr/>
        </p:nvSpPr>
        <p:spPr bwMode="auto">
          <a:xfrm>
            <a:off x="8564563" y="6508272"/>
            <a:ext cx="125034" cy="123111"/>
          </a:xfrm>
          <a:prstGeom prst="rect">
            <a:avLst/>
          </a:prstGeom>
        </p:spPr>
        <p:txBody>
          <a:bodyPr vert="horz" wrap="none" lIns="0" tIns="0" rIns="0" bIns="0" rtlCol="0" anchor="ctr">
            <a:spAutoFit/>
          </a:bodyPr>
          <a:lstStyle>
            <a:defPPr>
              <a:defRPr lang="en-US"/>
            </a:defPPr>
            <a:lvl1pPr>
              <a:defRPr sz="1000" baseline="0">
                <a:latin typeface="+mn-lt"/>
              </a:defRPr>
            </a:lvl1pPr>
          </a:lstStyle>
          <a:p>
            <a:fld id="{42C328C1-A84F-4A39-A664-DBA00541A8C6}" type="slidenum">
              <a:rPr lang="en-US" sz="800" baseline="0" smtClean="0">
                <a:solidFill>
                  <a:srgbClr val="808080"/>
                </a:solidFill>
                <a:latin typeface="+mn-lt"/>
              </a:rPr>
              <a:pPr/>
              <a:t>‹#›</a:t>
            </a:fld>
            <a:endParaRPr lang="en-US" sz="800" baseline="0" dirty="0">
              <a:solidFill>
                <a:srgbClr val="808080"/>
              </a:solidFill>
              <a:latin typeface="+mn-lt"/>
            </a:endParaRPr>
          </a:p>
        </p:txBody>
      </p:sp>
      <p:sp>
        <p:nvSpPr>
          <p:cNvPr id="9" name="SlideLogoText"/>
          <p:cNvSpPr>
            <a:spLocks noChangeArrowheads="1"/>
          </p:cNvSpPr>
          <p:nvPr>
            <p:custDataLst>
              <p:tags r:id="rId3"/>
            </p:custDataLst>
          </p:nvPr>
        </p:nvSpPr>
        <p:spPr bwMode="auto">
          <a:xfrm>
            <a:off x="7450817" y="6508272"/>
            <a:ext cx="1013098"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algn="r" defTabSz="895350"/>
            <a:r>
              <a:rPr lang="en-US" sz="800" baseline="0" dirty="0">
                <a:solidFill>
                  <a:srgbClr val="808080"/>
                </a:solidFill>
                <a:latin typeface="+mn-lt"/>
              </a:rPr>
              <a:t>McKinsey &amp; Company</a:t>
            </a:r>
          </a:p>
        </p:txBody>
      </p:sp>
      <p:sp>
        <p:nvSpPr>
          <p:cNvPr id="5" name="doc id" hidden="1"/>
          <p:cNvSpPr txBox="1">
            <a:spLocks noChangeArrowheads="1"/>
          </p:cNvSpPr>
          <p:nvPr/>
        </p:nvSpPr>
        <p:spPr bwMode="white">
          <a:xfrm>
            <a:off x="8104473" y="36513"/>
            <a:ext cx="634716" cy="115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hangingPunct="1">
              <a:defRPr/>
            </a:pPr>
            <a:endParaRPr lang="en-US" sz="800" baseline="0" dirty="0">
              <a:solidFill>
                <a:schemeClr val="accent1"/>
              </a:solidFill>
              <a:latin typeface="+mn-lt"/>
              <a:ea typeface="+mn-ea"/>
            </a:endParaRPr>
          </a:p>
        </p:txBody>
      </p:sp>
    </p:spTree>
    <p:extLst>
      <p:ext uri="{BB962C8B-B14F-4D97-AF65-F5344CB8AC3E}">
        <p14:creationId xmlns:p14="http://schemas.microsoft.com/office/powerpoint/2010/main" val="3613373540"/>
      </p:ext>
    </p:extLst>
  </p:cSld>
  <p:clrMapOvr>
    <a:masterClrMapping/>
  </p:clrMapOvr>
  <p:extLst mod="1">
    <p:ext uri="{DCECCB84-F9BA-43D5-87BE-67443E8EF086}">
      <p15:sldGuideLst xmlns:p15="http://schemas.microsoft.com/office/powerpoint/2012/main">
        <p15:guide id="1" pos="5505">
          <p15:clr>
            <a:srgbClr val="F26B43"/>
          </p15:clr>
        </p15:guide>
        <p15:guide id="2" pos="74">
          <p15:clr>
            <a:srgbClr val="F26B43"/>
          </p15:clr>
        </p15:guide>
        <p15:guide id="3" orient="horz" pos="571">
          <p15:clr>
            <a:srgbClr val="F26B43"/>
          </p15:clr>
        </p15:guide>
        <p15:guide id="4" orient="horz" pos="3911">
          <p15:clr>
            <a:srgbClr val="F26B43"/>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1_Title Only">
    <p:bg>
      <p:bgPr>
        <a:solidFill>
          <a:schemeClr val="accent2"/>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F4AD34F-3B47-47E2-A09C-FFEB949F6A10}"/>
              </a:ext>
            </a:extLst>
          </p:cNvPr>
          <p:cNvGraphicFramePr>
            <a:graphicFrameLocks noChangeAspect="1"/>
          </p:cNvGraphicFramePr>
          <p:nvPr>
            <p:custDataLst>
              <p:tags r:id="rId2"/>
            </p:custDataLst>
            <p:extLst>
              <p:ext uri="{D42A27DB-BD31-4B8C-83A1-F6EECF244321}">
                <p14:modId xmlns:p14="http://schemas.microsoft.com/office/powerpoint/2010/main" val="83790877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4836" name="think-cell Slide" r:id="rId5" imgW="395" imgH="394" progId="TCLayout.ActiveDocument.1">
                  <p:embed/>
                </p:oleObj>
              </mc:Choice>
              <mc:Fallback>
                <p:oleObj name="think-cell Slide" r:id="rId5" imgW="395" imgH="394" progId="TCLayout.ActiveDocument.1">
                  <p:embed/>
                  <p:pic>
                    <p:nvPicPr>
                      <p:cNvPr id="3" name="Object 2" hidden="1">
                        <a:extLst>
                          <a:ext uri="{FF2B5EF4-FFF2-40B4-BE49-F238E27FC236}">
                            <a16:creationId xmlns:a16="http://schemas.microsoft.com/office/drawing/2014/main" id="{EF4AD34F-3B47-47E2-A09C-FFEB949F6A10}"/>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endParaRPr lang="en-US" dirty="0"/>
          </a:p>
        </p:txBody>
      </p:sp>
      <p:sp>
        <p:nvSpPr>
          <p:cNvPr id="15" name="Slide Number"/>
          <p:cNvSpPr txBox="1">
            <a:spLocks/>
          </p:cNvSpPr>
          <p:nvPr/>
        </p:nvSpPr>
        <p:spPr>
          <a:xfrm>
            <a:off x="8564563" y="6508272"/>
            <a:ext cx="125034" cy="123111"/>
          </a:xfrm>
          <a:prstGeom prst="rect">
            <a:avLst/>
          </a:prstGeom>
        </p:spPr>
        <p:txBody>
          <a:bodyPr vert="horz" wrap="none" lIns="0" tIns="0" rIns="0" bIns="0" rtlCol="0" anchor="ctr">
            <a:spAutoFit/>
          </a:bodyPr>
          <a:lstStyle>
            <a:defPPr>
              <a:defRPr lang="en-US"/>
            </a:defPPr>
            <a:lvl1pPr>
              <a:defRPr sz="1000" baseline="0">
                <a:latin typeface="+mn-lt"/>
              </a:defRPr>
            </a:lvl1pPr>
          </a:lstStyle>
          <a:p>
            <a:fld id="{42C328C1-A84F-4A39-A664-DBA00541A8C6}" type="slidenum">
              <a:rPr lang="en-US" sz="800" baseline="0" smtClean="0">
                <a:solidFill>
                  <a:srgbClr val="FFFFFF"/>
                </a:solidFill>
                <a:latin typeface="+mn-lt"/>
              </a:rPr>
              <a:pPr/>
              <a:t>‹#›</a:t>
            </a:fld>
            <a:endParaRPr lang="en-US" sz="800" baseline="0" dirty="0">
              <a:solidFill>
                <a:srgbClr val="FFFFFF"/>
              </a:solidFill>
              <a:latin typeface="+mn-lt"/>
            </a:endParaRPr>
          </a:p>
        </p:txBody>
      </p:sp>
      <p:sp>
        <p:nvSpPr>
          <p:cNvPr id="16" name="SlideLogoText"/>
          <p:cNvSpPr>
            <a:spLocks noChangeArrowheads="1"/>
          </p:cNvSpPr>
          <p:nvPr>
            <p:custDataLst>
              <p:tags r:id="rId3"/>
            </p:custDataLst>
          </p:nvPr>
        </p:nvSpPr>
        <p:spPr bwMode="auto">
          <a:xfrm>
            <a:off x="7450817" y="6508272"/>
            <a:ext cx="1013098"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algn="r" defTabSz="895350"/>
            <a:r>
              <a:rPr lang="en-US" sz="800" baseline="0" dirty="0">
                <a:solidFill>
                  <a:srgbClr val="FFFFFF"/>
                </a:solidFill>
                <a:latin typeface="+mn-lt"/>
              </a:rPr>
              <a:t>McKinsey &amp; Company</a:t>
            </a:r>
          </a:p>
        </p:txBody>
      </p:sp>
      <p:sp>
        <p:nvSpPr>
          <p:cNvPr id="5" name="doc id" hidden="1"/>
          <p:cNvSpPr txBox="1">
            <a:spLocks noChangeArrowheads="1"/>
          </p:cNvSpPr>
          <p:nvPr/>
        </p:nvSpPr>
        <p:spPr bwMode="white">
          <a:xfrm>
            <a:off x="8104473" y="36513"/>
            <a:ext cx="634716" cy="115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hangingPunct="1">
              <a:defRPr/>
            </a:pPr>
            <a:endParaRPr lang="en-US" sz="800" baseline="0" dirty="0">
              <a:solidFill>
                <a:schemeClr val="accent1"/>
              </a:solidFill>
              <a:latin typeface="+mn-lt"/>
              <a:ea typeface="+mn-ea"/>
            </a:endParaRPr>
          </a:p>
        </p:txBody>
      </p:sp>
    </p:spTree>
    <p:extLst>
      <p:ext uri="{BB962C8B-B14F-4D97-AF65-F5344CB8AC3E}">
        <p14:creationId xmlns:p14="http://schemas.microsoft.com/office/powerpoint/2010/main" val="2989391457"/>
      </p:ext>
    </p:extLst>
  </p:cSld>
  <p:clrMapOvr>
    <a:masterClrMapping/>
  </p:clrMapOvr>
  <p:extLst mod="1">
    <p:ext uri="{DCECCB84-F9BA-43D5-87BE-67443E8EF086}">
      <p15:sldGuideLst xmlns:p15="http://schemas.microsoft.com/office/powerpoint/2012/main">
        <p15:guide id="1" pos="3978">
          <p15:clr>
            <a:srgbClr val="000000"/>
          </p15:clr>
        </p15:guide>
        <p15:guide id="2" orient="horz" pos="570">
          <p15:clr>
            <a:srgbClr val="000000"/>
          </p15:clr>
        </p15:guide>
        <p15:guide id="3" orient="horz" pos="3912">
          <p15:clr>
            <a:srgbClr val="000000"/>
          </p15:clr>
        </p15:guide>
        <p15:guide id="4" pos="72">
          <p15:clr>
            <a:srgbClr val="00000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type="titleOnly">
  <p:cSld name="2_Title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ECD524A-1569-4253-8CD8-48D288AD883C}"/>
              </a:ext>
            </a:extLst>
          </p:cNvPr>
          <p:cNvGraphicFramePr>
            <a:graphicFrameLocks noChangeAspect="1"/>
          </p:cNvGraphicFramePr>
          <p:nvPr>
            <p:custDataLst>
              <p:tags r:id="rId2"/>
            </p:custDataLst>
            <p:extLst>
              <p:ext uri="{D42A27DB-BD31-4B8C-83A1-F6EECF244321}">
                <p14:modId xmlns:p14="http://schemas.microsoft.com/office/powerpoint/2010/main" val="241164161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5860" name="think-cell Slide" r:id="rId4" imgW="395" imgH="394" progId="TCLayout.ActiveDocument.1">
                  <p:embed/>
                </p:oleObj>
              </mc:Choice>
              <mc:Fallback>
                <p:oleObj name="think-cell Slide" r:id="rId4" imgW="395" imgH="394" progId="TCLayout.ActiveDocument.1">
                  <p:embed/>
                  <p:pic>
                    <p:nvPicPr>
                      <p:cNvPr id="3" name="Object 2" hidden="1">
                        <a:extLst>
                          <a:ext uri="{FF2B5EF4-FFF2-40B4-BE49-F238E27FC236}">
                            <a16:creationId xmlns:a16="http://schemas.microsoft.com/office/drawing/2014/main" id="{5ECD524A-1569-4253-8CD8-48D288AD883C}"/>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054473928"/>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pic>
        <p:nvPicPr>
          <p:cNvPr id="2" name="background"/>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0" y="198"/>
            <a:ext cx="8961438" cy="6721079"/>
          </a:xfrm>
          <a:prstGeom prst="rect">
            <a:avLst/>
          </a:prstGeom>
        </p:spPr>
      </p:pic>
      <p:sp>
        <p:nvSpPr>
          <p:cNvPr id="28" name="TitleRectangle"/>
          <p:cNvSpPr txBox="1">
            <a:spLocks/>
          </p:cNvSpPr>
          <p:nvPr/>
        </p:nvSpPr>
        <p:spPr>
          <a:xfrm>
            <a:off x="2084388" y="0"/>
            <a:ext cx="6875462" cy="3575976"/>
          </a:xfrm>
          <a:prstGeom prst="rect">
            <a:avLst/>
          </a:prstGeom>
          <a:solidFill>
            <a:srgbClr val="002960">
              <a:alpha val="92000"/>
            </a:srgbClr>
          </a:solidFill>
        </p:spPr>
        <p:txBody>
          <a:bodyPr vert="horz" wrap="square" lIns="216000" tIns="1440000" rIns="216000" bIns="108000" rtlCol="0">
            <a:noAutofit/>
          </a:bodyPr>
          <a:lstStyle>
            <a:lvl1pPr marL="0" indent="0" algn="l" defTabSz="914400" rtl="0" eaLnBrk="1" latinLnBrk="0" hangingPunct="1">
              <a:spcBef>
                <a:spcPct val="20000"/>
              </a:spcBef>
              <a:spcAft>
                <a:spcPts val="6000"/>
              </a:spcAft>
              <a:buFont typeface="Arial" pitchFamily="34" charset="0"/>
              <a:buNone/>
              <a:defRPr sz="3200" kern="1200">
                <a:solidFill>
                  <a:schemeClr val="accent1"/>
                </a:solidFill>
                <a:latin typeface="+mn-lt"/>
                <a:ea typeface="+mn-ea"/>
                <a:cs typeface="+mn-cs"/>
              </a:defRPr>
            </a:lvl1pPr>
            <a:lvl2pPr marL="0" indent="0" algn="l" defTabSz="914400" rtl="0" eaLnBrk="1" latinLnBrk="0" hangingPunct="1">
              <a:spcBef>
                <a:spcPct val="20000"/>
              </a:spcBef>
              <a:buFont typeface="Wingdings" charset="2"/>
              <a:buNone/>
              <a:defRPr sz="1400" kern="1200">
                <a:solidFill>
                  <a:schemeClr val="tx1">
                    <a:lumMod val="50000"/>
                    <a:lumOff val="50000"/>
                  </a:schemeClr>
                </a:solidFill>
                <a:latin typeface="+mn-lt"/>
                <a:ea typeface="+mn-ea"/>
                <a:cs typeface="+mn-cs"/>
              </a:defRPr>
            </a:lvl2pPr>
            <a:lvl3pPr marL="1143000" indent="-228600" algn="l" defTabSz="914400" rtl="0" eaLnBrk="1" latinLnBrk="0" hangingPunct="1">
              <a:spcBef>
                <a:spcPct val="20000"/>
              </a:spcBef>
              <a:buFont typeface="Lucida Grande"/>
              <a:buChar char="–"/>
              <a:defRPr sz="16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fontAlgn="auto">
              <a:defRPr/>
            </a:pPr>
            <a:r>
              <a:rPr lang="en-US" baseline="0" dirty="0">
                <a:solidFill>
                  <a:srgbClr val="00ADEF"/>
                </a:solidFill>
                <a:latin typeface="+mn-lt"/>
              </a:rPr>
              <a:t>
              </a:t>
            </a:r>
            <a:br>
              <a:rPr lang="en-US" baseline="0" dirty="0">
                <a:solidFill>
                  <a:srgbClr val="00ADEF"/>
                </a:solidFill>
                <a:latin typeface="+mn-lt"/>
              </a:rPr>
            </a:br>
            <a:endParaRPr lang="en-US" baseline="0" dirty="0">
              <a:solidFill>
                <a:srgbClr val="00ADEF"/>
              </a:solidFill>
              <a:latin typeface="+mn-lt"/>
            </a:endParaRPr>
          </a:p>
        </p:txBody>
      </p:sp>
      <p:graphicFrame>
        <p:nvGraphicFramePr>
          <p:cNvPr id="3" name="Object 2"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7908"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Working Draft Text" hidden="1"/>
          <p:cNvSpPr txBox="1">
            <a:spLocks noChangeArrowheads="1"/>
          </p:cNvSpPr>
          <p:nvPr/>
        </p:nvSpPr>
        <p:spPr bwMode="black">
          <a:xfrm>
            <a:off x="5992719" y="6287538"/>
            <a:ext cx="2790000"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800" b="1" baseline="0" dirty="0">
                <a:solidFill>
                  <a:srgbClr val="FFFFFF"/>
                </a:solidFill>
                <a:latin typeface="+mn-lt"/>
              </a:rPr>
              <a:t>WORKING DRAFT</a:t>
            </a:r>
          </a:p>
        </p:txBody>
      </p:sp>
      <p:sp>
        <p:nvSpPr>
          <p:cNvPr id="6" name="Working Draft" hidden="1"/>
          <p:cNvSpPr txBox="1">
            <a:spLocks noChangeArrowheads="1"/>
          </p:cNvSpPr>
          <p:nvPr/>
        </p:nvSpPr>
        <p:spPr bwMode="black">
          <a:xfrm>
            <a:off x="5992718" y="6410648"/>
            <a:ext cx="2968719"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800" baseline="0">
                <a:solidFill>
                  <a:srgbClr val="FFFFFF"/>
                </a:solidFill>
                <a:latin typeface="+mn-lt"/>
              </a:rPr>
              <a:t>Last Modified 21/05/2018 17:44 India Standard Time</a:t>
            </a:r>
            <a:endParaRPr lang="en-US" sz="800" baseline="0" dirty="0">
              <a:solidFill>
                <a:srgbClr val="FFFFFF"/>
              </a:solidFill>
              <a:latin typeface="+mn-lt"/>
            </a:endParaRPr>
          </a:p>
        </p:txBody>
      </p:sp>
      <p:sp>
        <p:nvSpPr>
          <p:cNvPr id="7" name="Printed" hidden="1"/>
          <p:cNvSpPr txBox="1">
            <a:spLocks noChangeArrowheads="1"/>
          </p:cNvSpPr>
          <p:nvPr/>
        </p:nvSpPr>
        <p:spPr bwMode="black">
          <a:xfrm>
            <a:off x="5992719" y="6533759"/>
            <a:ext cx="2790000"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800" baseline="0" dirty="0">
                <a:solidFill>
                  <a:srgbClr val="FFFFFF"/>
                </a:solidFill>
                <a:latin typeface="+mn-lt"/>
              </a:rPr>
              <a:t>Printed</a:t>
            </a:r>
          </a:p>
        </p:txBody>
      </p:sp>
      <p:sp>
        <p:nvSpPr>
          <p:cNvPr id="13314" name="Title"/>
          <p:cNvSpPr>
            <a:spLocks noGrp="1" noChangeArrowheads="1"/>
          </p:cNvSpPr>
          <p:nvPr>
            <p:ph type="ctrTitle"/>
          </p:nvPr>
        </p:nvSpPr>
        <p:spPr>
          <a:xfrm>
            <a:off x="2268266" y="1434419"/>
            <a:ext cx="6231663" cy="492443"/>
          </a:xfrm>
          <a:prstGeom prst="rect">
            <a:avLst/>
          </a:prstGeom>
        </p:spPr>
        <p:txBody>
          <a:bodyPr>
            <a:spAutoFit/>
          </a:bodyPr>
          <a:lstStyle>
            <a:lvl1pPr>
              <a:defRPr sz="3200" b="0" baseline="0">
                <a:solidFill>
                  <a:schemeClr val="accent2"/>
                </a:solidFill>
                <a:latin typeface="+mj-lt"/>
                <a:ea typeface="+mj-ea"/>
              </a:defRPr>
            </a:lvl1pPr>
          </a:lstStyle>
          <a:p>
            <a:pPr lvl="0" latinLnBrk="0"/>
            <a:r>
              <a:rPr lang="en-US" noProof="0"/>
              <a:t>Click to edit Master title style</a:t>
            </a:r>
            <a:endParaRPr lang="en-US" noProof="0" dirty="0"/>
          </a:p>
        </p:txBody>
      </p:sp>
      <p:sp>
        <p:nvSpPr>
          <p:cNvPr id="13315" name="Subtitle"/>
          <p:cNvSpPr>
            <a:spLocks noGrp="1" noChangeArrowheads="1"/>
          </p:cNvSpPr>
          <p:nvPr>
            <p:ph type="subTitle" idx="1"/>
          </p:nvPr>
        </p:nvSpPr>
        <p:spPr>
          <a:xfrm>
            <a:off x="2268266" y="2819401"/>
            <a:ext cx="6231663" cy="215444"/>
          </a:xfrm>
          <a:prstGeom prst="rect">
            <a:avLst/>
          </a:prstGeom>
        </p:spPr>
        <p:txBody>
          <a:bodyPr wrap="square">
            <a:spAutoFit/>
          </a:bodyPr>
          <a:lstStyle>
            <a:lvl1pPr>
              <a:defRPr sz="1400" cap="all" baseline="0">
                <a:solidFill>
                  <a:schemeClr val="bg1"/>
                </a:solidFill>
                <a:latin typeface="+mn-lt"/>
                <a:ea typeface="+mn-ea"/>
              </a:defRPr>
            </a:lvl1pPr>
          </a:lstStyle>
          <a:p>
            <a:pPr lvl="0" latinLnBrk="0"/>
            <a:r>
              <a:rPr lang="en-US" noProof="0"/>
              <a:t>Click to edit Master subtitle style</a:t>
            </a:r>
            <a:endParaRPr lang="en-US" noProof="0" dirty="0"/>
          </a:p>
        </p:txBody>
      </p:sp>
      <p:sp>
        <p:nvSpPr>
          <p:cNvPr id="57" name="Document type" hidden="1"/>
          <p:cNvSpPr txBox="1">
            <a:spLocks noChangeArrowheads="1"/>
          </p:cNvSpPr>
          <p:nvPr/>
        </p:nvSpPr>
        <p:spPr bwMode="gray">
          <a:xfrm>
            <a:off x="2268266" y="3227411"/>
            <a:ext cx="6231663"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00" baseline="0" dirty="0">
                <a:solidFill>
                  <a:schemeClr val="bg1"/>
                </a:solidFill>
                <a:latin typeface="+mn-lt"/>
              </a:rPr>
              <a:t>Document type | Date</a:t>
            </a:r>
          </a:p>
        </p:txBody>
      </p:sp>
      <p:sp>
        <p:nvSpPr>
          <p:cNvPr id="5" name="doc id" hidden="1"/>
          <p:cNvSpPr txBox="1">
            <a:spLocks noChangeArrowheads="1"/>
          </p:cNvSpPr>
          <p:nvPr/>
        </p:nvSpPr>
        <p:spPr bwMode="white">
          <a:xfrm>
            <a:off x="8443913" y="36513"/>
            <a:ext cx="295275" cy="1222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hangingPunct="1">
              <a:defRPr/>
            </a:pPr>
            <a:endParaRPr lang="en-US" sz="800" baseline="0" dirty="0">
              <a:solidFill>
                <a:srgbClr val="FFFFFF"/>
              </a:solidFill>
              <a:latin typeface="+mn-lt"/>
            </a:endParaRPr>
          </a:p>
        </p:txBody>
      </p:sp>
      <p:sp>
        <p:nvSpPr>
          <p:cNvPr id="43" name="LogoImage"/>
          <p:cNvSpPr>
            <a:spLocks noEditPoints="1"/>
          </p:cNvSpPr>
          <p:nvPr/>
        </p:nvSpPr>
        <p:spPr bwMode="white">
          <a:xfrm>
            <a:off x="2269098" y="182925"/>
            <a:ext cx="2176978" cy="238073"/>
          </a:xfrm>
          <a:custGeom>
            <a:avLst/>
            <a:gdLst>
              <a:gd name="T0" fmla="*/ 504 w 5516"/>
              <a:gd name="T1" fmla="*/ 26 h 606"/>
              <a:gd name="T2" fmla="*/ 18 w 5516"/>
              <a:gd name="T3" fmla="*/ 22 h 606"/>
              <a:gd name="T4" fmla="*/ 140 w 5516"/>
              <a:gd name="T5" fmla="*/ 436 h 606"/>
              <a:gd name="T6" fmla="*/ 408 w 5516"/>
              <a:gd name="T7" fmla="*/ 372 h 606"/>
              <a:gd name="T8" fmla="*/ 696 w 5516"/>
              <a:gd name="T9" fmla="*/ 422 h 606"/>
              <a:gd name="T10" fmla="*/ 768 w 5516"/>
              <a:gd name="T11" fmla="*/ 196 h 606"/>
              <a:gd name="T12" fmla="*/ 1272 w 5516"/>
              <a:gd name="T13" fmla="*/ 26 h 606"/>
              <a:gd name="T14" fmla="*/ 1302 w 5516"/>
              <a:gd name="T15" fmla="*/ 338 h 606"/>
              <a:gd name="T16" fmla="*/ 1202 w 5516"/>
              <a:gd name="T17" fmla="*/ 436 h 606"/>
              <a:gd name="T18" fmla="*/ 1030 w 5516"/>
              <a:gd name="T19" fmla="*/ 10 h 606"/>
              <a:gd name="T20" fmla="*/ 960 w 5516"/>
              <a:gd name="T21" fmla="*/ 22 h 606"/>
              <a:gd name="T22" fmla="*/ 804 w 5516"/>
              <a:gd name="T23" fmla="*/ 434 h 606"/>
              <a:gd name="T24" fmla="*/ 930 w 5516"/>
              <a:gd name="T25" fmla="*/ 246 h 606"/>
              <a:gd name="T26" fmla="*/ 1658 w 5516"/>
              <a:gd name="T27" fmla="*/ 342 h 606"/>
              <a:gd name="T28" fmla="*/ 1368 w 5516"/>
              <a:gd name="T29" fmla="*/ 188 h 606"/>
              <a:gd name="T30" fmla="*/ 1514 w 5516"/>
              <a:gd name="T31" fmla="*/ 436 h 606"/>
              <a:gd name="T32" fmla="*/ 1564 w 5516"/>
              <a:gd name="T33" fmla="*/ 434 h 606"/>
              <a:gd name="T34" fmla="*/ 1904 w 5516"/>
              <a:gd name="T35" fmla="*/ 184 h 606"/>
              <a:gd name="T36" fmla="*/ 1728 w 5516"/>
              <a:gd name="T37" fmla="*/ 366 h 606"/>
              <a:gd name="T38" fmla="*/ 2102 w 5516"/>
              <a:gd name="T39" fmla="*/ 192 h 606"/>
              <a:gd name="T40" fmla="*/ 1982 w 5516"/>
              <a:gd name="T41" fmla="*/ 320 h 606"/>
              <a:gd name="T42" fmla="*/ 2478 w 5516"/>
              <a:gd name="T43" fmla="*/ 242 h 606"/>
              <a:gd name="T44" fmla="*/ 2406 w 5516"/>
              <a:gd name="T45" fmla="*/ 390 h 606"/>
              <a:gd name="T46" fmla="*/ 2234 w 5516"/>
              <a:gd name="T47" fmla="*/ 192 h 606"/>
              <a:gd name="T48" fmla="*/ 2478 w 5516"/>
              <a:gd name="T49" fmla="*/ 242 h 606"/>
              <a:gd name="T50" fmla="*/ 2928 w 5516"/>
              <a:gd name="T51" fmla="*/ 448 h 606"/>
              <a:gd name="T52" fmla="*/ 2958 w 5516"/>
              <a:gd name="T53" fmla="*/ 230 h 606"/>
              <a:gd name="T54" fmla="*/ 2716 w 5516"/>
              <a:gd name="T55" fmla="*/ 54 h 606"/>
              <a:gd name="T56" fmla="*/ 2714 w 5516"/>
              <a:gd name="T57" fmla="*/ 36 h 606"/>
              <a:gd name="T58" fmla="*/ 2928 w 5516"/>
              <a:gd name="T59" fmla="*/ 448 h 606"/>
              <a:gd name="T60" fmla="*/ 3388 w 5516"/>
              <a:gd name="T61" fmla="*/ 4 h 606"/>
              <a:gd name="T62" fmla="*/ 3396 w 5516"/>
              <a:gd name="T63" fmla="*/ 366 h 606"/>
              <a:gd name="T64" fmla="*/ 3580 w 5516"/>
              <a:gd name="T65" fmla="*/ 190 h 606"/>
              <a:gd name="T66" fmla="*/ 3502 w 5516"/>
              <a:gd name="T67" fmla="*/ 432 h 606"/>
              <a:gd name="T68" fmla="*/ 4232 w 5516"/>
              <a:gd name="T69" fmla="*/ 348 h 606"/>
              <a:gd name="T70" fmla="*/ 3858 w 5516"/>
              <a:gd name="T71" fmla="*/ 176 h 606"/>
              <a:gd name="T72" fmla="*/ 3758 w 5516"/>
              <a:gd name="T73" fmla="*/ 446 h 606"/>
              <a:gd name="T74" fmla="*/ 3990 w 5516"/>
              <a:gd name="T75" fmla="*/ 282 h 606"/>
              <a:gd name="T76" fmla="*/ 4042 w 5516"/>
              <a:gd name="T77" fmla="*/ 342 h 606"/>
              <a:gd name="T78" fmla="*/ 4134 w 5516"/>
              <a:gd name="T79" fmla="*/ 448 h 606"/>
              <a:gd name="T80" fmla="*/ 4454 w 5516"/>
              <a:gd name="T81" fmla="*/ 202 h 606"/>
              <a:gd name="T82" fmla="*/ 4284 w 5516"/>
              <a:gd name="T83" fmla="*/ 174 h 606"/>
              <a:gd name="T84" fmla="*/ 4432 w 5516"/>
              <a:gd name="T85" fmla="*/ 588 h 606"/>
              <a:gd name="T86" fmla="*/ 4792 w 5516"/>
              <a:gd name="T87" fmla="*/ 382 h 606"/>
              <a:gd name="T88" fmla="*/ 5192 w 5516"/>
              <a:gd name="T89" fmla="*/ 340 h 606"/>
              <a:gd name="T90" fmla="*/ 4902 w 5516"/>
              <a:gd name="T91" fmla="*/ 186 h 606"/>
              <a:gd name="T92" fmla="*/ 4850 w 5516"/>
              <a:gd name="T93" fmla="*/ 274 h 606"/>
              <a:gd name="T94" fmla="*/ 4742 w 5516"/>
              <a:gd name="T95" fmla="*/ 194 h 606"/>
              <a:gd name="T96" fmla="*/ 4794 w 5516"/>
              <a:gd name="T97" fmla="*/ 418 h 606"/>
              <a:gd name="T98" fmla="*/ 5004 w 5516"/>
              <a:gd name="T99" fmla="*/ 338 h 606"/>
              <a:gd name="T100" fmla="*/ 5098 w 5516"/>
              <a:gd name="T101" fmla="*/ 446 h 606"/>
              <a:gd name="T102" fmla="*/ 5418 w 5516"/>
              <a:gd name="T103" fmla="*/ 192 h 606"/>
              <a:gd name="T104" fmla="*/ 5348 w 5516"/>
              <a:gd name="T105" fmla="*/ 180 h 606"/>
              <a:gd name="T106" fmla="*/ 5254 w 5516"/>
              <a:gd name="T107" fmla="*/ 606 h 6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516" h="606">
                <a:moveTo>
                  <a:pt x="366" y="448"/>
                </a:moveTo>
                <a:cubicBezTo>
                  <a:pt x="524" y="448"/>
                  <a:pt x="524" y="448"/>
                  <a:pt x="524" y="448"/>
                </a:cubicBezTo>
                <a:cubicBezTo>
                  <a:pt x="524" y="436"/>
                  <a:pt x="524" y="436"/>
                  <a:pt x="524" y="436"/>
                </a:cubicBezTo>
                <a:cubicBezTo>
                  <a:pt x="486" y="432"/>
                  <a:pt x="470" y="414"/>
                  <a:pt x="468" y="362"/>
                </a:cubicBezTo>
                <a:cubicBezTo>
                  <a:pt x="454" y="86"/>
                  <a:pt x="454" y="86"/>
                  <a:pt x="454" y="86"/>
                </a:cubicBezTo>
                <a:cubicBezTo>
                  <a:pt x="452" y="46"/>
                  <a:pt x="470" y="30"/>
                  <a:pt x="504" y="26"/>
                </a:cubicBezTo>
                <a:cubicBezTo>
                  <a:pt x="504" y="12"/>
                  <a:pt x="504" y="12"/>
                  <a:pt x="504" y="12"/>
                </a:cubicBezTo>
                <a:cubicBezTo>
                  <a:pt x="394" y="12"/>
                  <a:pt x="394" y="12"/>
                  <a:pt x="394" y="12"/>
                </a:cubicBezTo>
                <a:cubicBezTo>
                  <a:pt x="264" y="350"/>
                  <a:pt x="264" y="350"/>
                  <a:pt x="264" y="350"/>
                </a:cubicBezTo>
                <a:cubicBezTo>
                  <a:pt x="132" y="10"/>
                  <a:pt x="132" y="10"/>
                  <a:pt x="132" y="10"/>
                </a:cubicBezTo>
                <a:cubicBezTo>
                  <a:pt x="18" y="10"/>
                  <a:pt x="18" y="10"/>
                  <a:pt x="18" y="10"/>
                </a:cubicBezTo>
                <a:cubicBezTo>
                  <a:pt x="18" y="22"/>
                  <a:pt x="18" y="22"/>
                  <a:pt x="18" y="22"/>
                </a:cubicBezTo>
                <a:cubicBezTo>
                  <a:pt x="40" y="26"/>
                  <a:pt x="74" y="32"/>
                  <a:pt x="72" y="84"/>
                </a:cubicBezTo>
                <a:cubicBezTo>
                  <a:pt x="58" y="352"/>
                  <a:pt x="58" y="352"/>
                  <a:pt x="58" y="352"/>
                </a:cubicBezTo>
                <a:cubicBezTo>
                  <a:pt x="54" y="410"/>
                  <a:pt x="38" y="430"/>
                  <a:pt x="0" y="436"/>
                </a:cubicBezTo>
                <a:cubicBezTo>
                  <a:pt x="0" y="448"/>
                  <a:pt x="0" y="448"/>
                  <a:pt x="0" y="448"/>
                </a:cubicBezTo>
                <a:cubicBezTo>
                  <a:pt x="140" y="448"/>
                  <a:pt x="140" y="448"/>
                  <a:pt x="140" y="448"/>
                </a:cubicBezTo>
                <a:cubicBezTo>
                  <a:pt x="140" y="436"/>
                  <a:pt x="140" y="436"/>
                  <a:pt x="140" y="436"/>
                </a:cubicBezTo>
                <a:cubicBezTo>
                  <a:pt x="98" y="428"/>
                  <a:pt x="84" y="414"/>
                  <a:pt x="88" y="356"/>
                </a:cubicBezTo>
                <a:cubicBezTo>
                  <a:pt x="100" y="86"/>
                  <a:pt x="100" y="86"/>
                  <a:pt x="100" y="86"/>
                </a:cubicBezTo>
                <a:cubicBezTo>
                  <a:pt x="240" y="444"/>
                  <a:pt x="240" y="444"/>
                  <a:pt x="240" y="444"/>
                </a:cubicBezTo>
                <a:cubicBezTo>
                  <a:pt x="258" y="444"/>
                  <a:pt x="258" y="444"/>
                  <a:pt x="258" y="444"/>
                </a:cubicBezTo>
                <a:cubicBezTo>
                  <a:pt x="396" y="86"/>
                  <a:pt x="396" y="86"/>
                  <a:pt x="396" y="86"/>
                </a:cubicBezTo>
                <a:cubicBezTo>
                  <a:pt x="408" y="372"/>
                  <a:pt x="408" y="372"/>
                  <a:pt x="408" y="372"/>
                </a:cubicBezTo>
                <a:cubicBezTo>
                  <a:pt x="410" y="416"/>
                  <a:pt x="398" y="430"/>
                  <a:pt x="366" y="434"/>
                </a:cubicBezTo>
                <a:lnTo>
                  <a:pt x="366" y="448"/>
                </a:lnTo>
                <a:close/>
                <a:moveTo>
                  <a:pt x="670" y="456"/>
                </a:moveTo>
                <a:cubicBezTo>
                  <a:pt x="708" y="456"/>
                  <a:pt x="756" y="440"/>
                  <a:pt x="782" y="412"/>
                </a:cubicBezTo>
                <a:cubicBezTo>
                  <a:pt x="776" y="400"/>
                  <a:pt x="776" y="400"/>
                  <a:pt x="776" y="400"/>
                </a:cubicBezTo>
                <a:cubicBezTo>
                  <a:pt x="750" y="416"/>
                  <a:pt x="722" y="422"/>
                  <a:pt x="696" y="422"/>
                </a:cubicBezTo>
                <a:cubicBezTo>
                  <a:pt x="620" y="422"/>
                  <a:pt x="592" y="358"/>
                  <a:pt x="592" y="290"/>
                </a:cubicBezTo>
                <a:cubicBezTo>
                  <a:pt x="592" y="258"/>
                  <a:pt x="600" y="236"/>
                  <a:pt x="614" y="222"/>
                </a:cubicBezTo>
                <a:cubicBezTo>
                  <a:pt x="626" y="210"/>
                  <a:pt x="646" y="204"/>
                  <a:pt x="664" y="204"/>
                </a:cubicBezTo>
                <a:cubicBezTo>
                  <a:pt x="690" y="204"/>
                  <a:pt x="722" y="214"/>
                  <a:pt x="744" y="244"/>
                </a:cubicBezTo>
                <a:cubicBezTo>
                  <a:pt x="750" y="244"/>
                  <a:pt x="750" y="244"/>
                  <a:pt x="750" y="244"/>
                </a:cubicBezTo>
                <a:cubicBezTo>
                  <a:pt x="758" y="234"/>
                  <a:pt x="766" y="212"/>
                  <a:pt x="768" y="196"/>
                </a:cubicBezTo>
                <a:cubicBezTo>
                  <a:pt x="748" y="180"/>
                  <a:pt x="720" y="172"/>
                  <a:pt x="686" y="172"/>
                </a:cubicBezTo>
                <a:cubicBezTo>
                  <a:pt x="604" y="172"/>
                  <a:pt x="544" y="246"/>
                  <a:pt x="544" y="326"/>
                </a:cubicBezTo>
                <a:cubicBezTo>
                  <a:pt x="540" y="390"/>
                  <a:pt x="576" y="456"/>
                  <a:pt x="670" y="456"/>
                </a:cubicBezTo>
                <a:moveTo>
                  <a:pt x="1272" y="98"/>
                </a:moveTo>
                <a:cubicBezTo>
                  <a:pt x="1292" y="98"/>
                  <a:pt x="1308" y="82"/>
                  <a:pt x="1308" y="62"/>
                </a:cubicBezTo>
                <a:cubicBezTo>
                  <a:pt x="1308" y="42"/>
                  <a:pt x="1292" y="26"/>
                  <a:pt x="1272" y="26"/>
                </a:cubicBezTo>
                <a:cubicBezTo>
                  <a:pt x="1252" y="26"/>
                  <a:pt x="1238" y="42"/>
                  <a:pt x="1238" y="62"/>
                </a:cubicBezTo>
                <a:cubicBezTo>
                  <a:pt x="1238" y="82"/>
                  <a:pt x="1252" y="98"/>
                  <a:pt x="1272" y="98"/>
                </a:cubicBezTo>
                <a:moveTo>
                  <a:pt x="1202" y="448"/>
                </a:moveTo>
                <a:cubicBezTo>
                  <a:pt x="1346" y="448"/>
                  <a:pt x="1346" y="448"/>
                  <a:pt x="1346" y="448"/>
                </a:cubicBezTo>
                <a:cubicBezTo>
                  <a:pt x="1346" y="436"/>
                  <a:pt x="1346" y="436"/>
                  <a:pt x="1346" y="436"/>
                </a:cubicBezTo>
                <a:cubicBezTo>
                  <a:pt x="1304" y="432"/>
                  <a:pt x="1302" y="434"/>
                  <a:pt x="1302" y="338"/>
                </a:cubicBezTo>
                <a:cubicBezTo>
                  <a:pt x="1302" y="176"/>
                  <a:pt x="1302" y="176"/>
                  <a:pt x="1302" y="176"/>
                </a:cubicBezTo>
                <a:cubicBezTo>
                  <a:pt x="1200" y="176"/>
                  <a:pt x="1200" y="176"/>
                  <a:pt x="1200" y="176"/>
                </a:cubicBezTo>
                <a:cubicBezTo>
                  <a:pt x="1200" y="188"/>
                  <a:pt x="1200" y="188"/>
                  <a:pt x="1200" y="188"/>
                </a:cubicBezTo>
                <a:cubicBezTo>
                  <a:pt x="1244" y="190"/>
                  <a:pt x="1250" y="192"/>
                  <a:pt x="1250" y="268"/>
                </a:cubicBezTo>
                <a:cubicBezTo>
                  <a:pt x="1250" y="336"/>
                  <a:pt x="1250" y="336"/>
                  <a:pt x="1250" y="336"/>
                </a:cubicBezTo>
                <a:cubicBezTo>
                  <a:pt x="1250" y="432"/>
                  <a:pt x="1248" y="432"/>
                  <a:pt x="1202" y="436"/>
                </a:cubicBezTo>
                <a:cubicBezTo>
                  <a:pt x="1178" y="434"/>
                  <a:pt x="1154" y="426"/>
                  <a:pt x="1076" y="338"/>
                </a:cubicBezTo>
                <a:cubicBezTo>
                  <a:pt x="1046" y="302"/>
                  <a:pt x="996" y="244"/>
                  <a:pt x="968" y="206"/>
                </a:cubicBezTo>
                <a:cubicBezTo>
                  <a:pt x="1062" y="102"/>
                  <a:pt x="1062" y="102"/>
                  <a:pt x="1062" y="102"/>
                </a:cubicBezTo>
                <a:cubicBezTo>
                  <a:pt x="1108" y="52"/>
                  <a:pt x="1132" y="26"/>
                  <a:pt x="1176" y="24"/>
                </a:cubicBezTo>
                <a:cubicBezTo>
                  <a:pt x="1176" y="10"/>
                  <a:pt x="1176" y="10"/>
                  <a:pt x="1176" y="10"/>
                </a:cubicBezTo>
                <a:cubicBezTo>
                  <a:pt x="1030" y="10"/>
                  <a:pt x="1030" y="10"/>
                  <a:pt x="1030" y="10"/>
                </a:cubicBezTo>
                <a:cubicBezTo>
                  <a:pt x="1030" y="22"/>
                  <a:pt x="1030" y="22"/>
                  <a:pt x="1030" y="22"/>
                </a:cubicBezTo>
                <a:cubicBezTo>
                  <a:pt x="1050" y="26"/>
                  <a:pt x="1056" y="32"/>
                  <a:pt x="1056" y="46"/>
                </a:cubicBezTo>
                <a:cubicBezTo>
                  <a:pt x="1056" y="56"/>
                  <a:pt x="1054" y="72"/>
                  <a:pt x="1026" y="102"/>
                </a:cubicBezTo>
                <a:cubicBezTo>
                  <a:pt x="910" y="230"/>
                  <a:pt x="910" y="230"/>
                  <a:pt x="910" y="230"/>
                </a:cubicBezTo>
                <a:cubicBezTo>
                  <a:pt x="910" y="148"/>
                  <a:pt x="910" y="148"/>
                  <a:pt x="910" y="148"/>
                </a:cubicBezTo>
                <a:cubicBezTo>
                  <a:pt x="910" y="36"/>
                  <a:pt x="916" y="28"/>
                  <a:pt x="960" y="22"/>
                </a:cubicBezTo>
                <a:cubicBezTo>
                  <a:pt x="960" y="8"/>
                  <a:pt x="960" y="8"/>
                  <a:pt x="960" y="8"/>
                </a:cubicBezTo>
                <a:cubicBezTo>
                  <a:pt x="804" y="8"/>
                  <a:pt x="804" y="8"/>
                  <a:pt x="804" y="8"/>
                </a:cubicBezTo>
                <a:cubicBezTo>
                  <a:pt x="804" y="22"/>
                  <a:pt x="804" y="22"/>
                  <a:pt x="804" y="22"/>
                </a:cubicBezTo>
                <a:cubicBezTo>
                  <a:pt x="852" y="26"/>
                  <a:pt x="854" y="36"/>
                  <a:pt x="854" y="148"/>
                </a:cubicBezTo>
                <a:cubicBezTo>
                  <a:pt x="854" y="300"/>
                  <a:pt x="854" y="300"/>
                  <a:pt x="854" y="300"/>
                </a:cubicBezTo>
                <a:cubicBezTo>
                  <a:pt x="854" y="422"/>
                  <a:pt x="850" y="430"/>
                  <a:pt x="804" y="434"/>
                </a:cubicBezTo>
                <a:cubicBezTo>
                  <a:pt x="804" y="446"/>
                  <a:pt x="804" y="446"/>
                  <a:pt x="804" y="446"/>
                </a:cubicBezTo>
                <a:cubicBezTo>
                  <a:pt x="960" y="446"/>
                  <a:pt x="960" y="446"/>
                  <a:pt x="960" y="446"/>
                </a:cubicBezTo>
                <a:cubicBezTo>
                  <a:pt x="960" y="434"/>
                  <a:pt x="960" y="434"/>
                  <a:pt x="960" y="434"/>
                </a:cubicBezTo>
                <a:cubicBezTo>
                  <a:pt x="910" y="428"/>
                  <a:pt x="910" y="424"/>
                  <a:pt x="910" y="292"/>
                </a:cubicBezTo>
                <a:cubicBezTo>
                  <a:pt x="910" y="268"/>
                  <a:pt x="910" y="268"/>
                  <a:pt x="910" y="268"/>
                </a:cubicBezTo>
                <a:cubicBezTo>
                  <a:pt x="930" y="246"/>
                  <a:pt x="930" y="246"/>
                  <a:pt x="930" y="246"/>
                </a:cubicBezTo>
                <a:cubicBezTo>
                  <a:pt x="982" y="310"/>
                  <a:pt x="1038" y="380"/>
                  <a:pt x="1098" y="448"/>
                </a:cubicBezTo>
                <a:cubicBezTo>
                  <a:pt x="1202" y="448"/>
                  <a:pt x="1202" y="448"/>
                  <a:pt x="1202" y="448"/>
                </a:cubicBezTo>
                <a:close/>
                <a:moveTo>
                  <a:pt x="1564" y="448"/>
                </a:moveTo>
                <a:cubicBezTo>
                  <a:pt x="1706" y="448"/>
                  <a:pt x="1706" y="448"/>
                  <a:pt x="1706" y="448"/>
                </a:cubicBezTo>
                <a:cubicBezTo>
                  <a:pt x="1706" y="436"/>
                  <a:pt x="1706" y="436"/>
                  <a:pt x="1706" y="436"/>
                </a:cubicBezTo>
                <a:cubicBezTo>
                  <a:pt x="1658" y="434"/>
                  <a:pt x="1658" y="432"/>
                  <a:pt x="1658" y="342"/>
                </a:cubicBezTo>
                <a:cubicBezTo>
                  <a:pt x="1658" y="280"/>
                  <a:pt x="1658" y="280"/>
                  <a:pt x="1658" y="280"/>
                </a:cubicBezTo>
                <a:cubicBezTo>
                  <a:pt x="1658" y="198"/>
                  <a:pt x="1612" y="172"/>
                  <a:pt x="1570" y="172"/>
                </a:cubicBezTo>
                <a:cubicBezTo>
                  <a:pt x="1534" y="172"/>
                  <a:pt x="1498" y="188"/>
                  <a:pt x="1470" y="224"/>
                </a:cubicBezTo>
                <a:cubicBezTo>
                  <a:pt x="1470" y="176"/>
                  <a:pt x="1470" y="176"/>
                  <a:pt x="1470" y="176"/>
                </a:cubicBezTo>
                <a:cubicBezTo>
                  <a:pt x="1368" y="176"/>
                  <a:pt x="1368" y="176"/>
                  <a:pt x="1368" y="176"/>
                </a:cubicBezTo>
                <a:cubicBezTo>
                  <a:pt x="1368" y="188"/>
                  <a:pt x="1368" y="188"/>
                  <a:pt x="1368" y="188"/>
                </a:cubicBezTo>
                <a:cubicBezTo>
                  <a:pt x="1412" y="190"/>
                  <a:pt x="1418" y="192"/>
                  <a:pt x="1418" y="268"/>
                </a:cubicBezTo>
                <a:cubicBezTo>
                  <a:pt x="1418" y="336"/>
                  <a:pt x="1418" y="336"/>
                  <a:pt x="1418" y="336"/>
                </a:cubicBezTo>
                <a:cubicBezTo>
                  <a:pt x="1418" y="434"/>
                  <a:pt x="1418" y="434"/>
                  <a:pt x="1370" y="436"/>
                </a:cubicBezTo>
                <a:cubicBezTo>
                  <a:pt x="1370" y="448"/>
                  <a:pt x="1370" y="448"/>
                  <a:pt x="1370" y="448"/>
                </a:cubicBezTo>
                <a:cubicBezTo>
                  <a:pt x="1514" y="448"/>
                  <a:pt x="1514" y="448"/>
                  <a:pt x="1514" y="448"/>
                </a:cubicBezTo>
                <a:cubicBezTo>
                  <a:pt x="1514" y="436"/>
                  <a:pt x="1514" y="436"/>
                  <a:pt x="1514" y="436"/>
                </a:cubicBezTo>
                <a:cubicBezTo>
                  <a:pt x="1472" y="432"/>
                  <a:pt x="1470" y="434"/>
                  <a:pt x="1470" y="338"/>
                </a:cubicBezTo>
                <a:cubicBezTo>
                  <a:pt x="1470" y="262"/>
                  <a:pt x="1470" y="262"/>
                  <a:pt x="1470" y="262"/>
                </a:cubicBezTo>
                <a:cubicBezTo>
                  <a:pt x="1470" y="236"/>
                  <a:pt x="1504" y="206"/>
                  <a:pt x="1546" y="206"/>
                </a:cubicBezTo>
                <a:cubicBezTo>
                  <a:pt x="1580" y="206"/>
                  <a:pt x="1606" y="220"/>
                  <a:pt x="1606" y="286"/>
                </a:cubicBezTo>
                <a:cubicBezTo>
                  <a:pt x="1606" y="340"/>
                  <a:pt x="1606" y="340"/>
                  <a:pt x="1606" y="340"/>
                </a:cubicBezTo>
                <a:cubicBezTo>
                  <a:pt x="1606" y="432"/>
                  <a:pt x="1602" y="432"/>
                  <a:pt x="1564" y="434"/>
                </a:cubicBezTo>
                <a:lnTo>
                  <a:pt x="1564" y="448"/>
                </a:lnTo>
                <a:close/>
                <a:moveTo>
                  <a:pt x="1776" y="222"/>
                </a:moveTo>
                <a:cubicBezTo>
                  <a:pt x="1776" y="200"/>
                  <a:pt x="1796" y="188"/>
                  <a:pt x="1822" y="188"/>
                </a:cubicBezTo>
                <a:cubicBezTo>
                  <a:pt x="1874" y="188"/>
                  <a:pt x="1896" y="236"/>
                  <a:pt x="1900" y="252"/>
                </a:cubicBezTo>
                <a:cubicBezTo>
                  <a:pt x="1912" y="252"/>
                  <a:pt x="1912" y="252"/>
                  <a:pt x="1912" y="252"/>
                </a:cubicBezTo>
                <a:cubicBezTo>
                  <a:pt x="1912" y="212"/>
                  <a:pt x="1908" y="188"/>
                  <a:pt x="1904" y="184"/>
                </a:cubicBezTo>
                <a:cubicBezTo>
                  <a:pt x="1900" y="180"/>
                  <a:pt x="1862" y="170"/>
                  <a:pt x="1824" y="170"/>
                </a:cubicBezTo>
                <a:cubicBezTo>
                  <a:pt x="1768" y="170"/>
                  <a:pt x="1734" y="206"/>
                  <a:pt x="1734" y="248"/>
                </a:cubicBezTo>
                <a:cubicBezTo>
                  <a:pt x="1734" y="340"/>
                  <a:pt x="1890" y="322"/>
                  <a:pt x="1890" y="396"/>
                </a:cubicBezTo>
                <a:cubicBezTo>
                  <a:pt x="1890" y="422"/>
                  <a:pt x="1866" y="436"/>
                  <a:pt x="1826" y="436"/>
                </a:cubicBezTo>
                <a:cubicBezTo>
                  <a:pt x="1788" y="436"/>
                  <a:pt x="1754" y="416"/>
                  <a:pt x="1744" y="366"/>
                </a:cubicBezTo>
                <a:cubicBezTo>
                  <a:pt x="1728" y="366"/>
                  <a:pt x="1728" y="366"/>
                  <a:pt x="1728" y="366"/>
                </a:cubicBezTo>
                <a:cubicBezTo>
                  <a:pt x="1728" y="386"/>
                  <a:pt x="1732" y="422"/>
                  <a:pt x="1734" y="428"/>
                </a:cubicBezTo>
                <a:cubicBezTo>
                  <a:pt x="1744" y="446"/>
                  <a:pt x="1788" y="454"/>
                  <a:pt x="1824" y="454"/>
                </a:cubicBezTo>
                <a:cubicBezTo>
                  <a:pt x="1888" y="454"/>
                  <a:pt x="1928" y="416"/>
                  <a:pt x="1928" y="372"/>
                </a:cubicBezTo>
                <a:cubicBezTo>
                  <a:pt x="1932" y="270"/>
                  <a:pt x="1776" y="286"/>
                  <a:pt x="1776" y="222"/>
                </a:cubicBezTo>
                <a:moveTo>
                  <a:pt x="2030" y="270"/>
                </a:moveTo>
                <a:cubicBezTo>
                  <a:pt x="2034" y="220"/>
                  <a:pt x="2058" y="192"/>
                  <a:pt x="2102" y="192"/>
                </a:cubicBezTo>
                <a:cubicBezTo>
                  <a:pt x="2144" y="192"/>
                  <a:pt x="2170" y="220"/>
                  <a:pt x="2172" y="270"/>
                </a:cubicBezTo>
                <a:lnTo>
                  <a:pt x="2030" y="270"/>
                </a:lnTo>
                <a:close/>
                <a:moveTo>
                  <a:pt x="2030" y="290"/>
                </a:moveTo>
                <a:cubicBezTo>
                  <a:pt x="2222" y="290"/>
                  <a:pt x="2222" y="290"/>
                  <a:pt x="2222" y="290"/>
                </a:cubicBezTo>
                <a:cubicBezTo>
                  <a:pt x="2226" y="228"/>
                  <a:pt x="2192" y="168"/>
                  <a:pt x="2114" y="168"/>
                </a:cubicBezTo>
                <a:cubicBezTo>
                  <a:pt x="2034" y="168"/>
                  <a:pt x="1982" y="232"/>
                  <a:pt x="1982" y="320"/>
                </a:cubicBezTo>
                <a:cubicBezTo>
                  <a:pt x="1982" y="388"/>
                  <a:pt x="2018" y="456"/>
                  <a:pt x="2112" y="456"/>
                </a:cubicBezTo>
                <a:cubicBezTo>
                  <a:pt x="2150" y="456"/>
                  <a:pt x="2198" y="440"/>
                  <a:pt x="2224" y="412"/>
                </a:cubicBezTo>
                <a:cubicBezTo>
                  <a:pt x="2218" y="400"/>
                  <a:pt x="2218" y="400"/>
                  <a:pt x="2218" y="400"/>
                </a:cubicBezTo>
                <a:cubicBezTo>
                  <a:pt x="2192" y="416"/>
                  <a:pt x="2164" y="422"/>
                  <a:pt x="2138" y="422"/>
                </a:cubicBezTo>
                <a:cubicBezTo>
                  <a:pt x="2058" y="420"/>
                  <a:pt x="2028" y="352"/>
                  <a:pt x="2030" y="290"/>
                </a:cubicBezTo>
                <a:moveTo>
                  <a:pt x="2478" y="242"/>
                </a:moveTo>
                <a:cubicBezTo>
                  <a:pt x="2490" y="206"/>
                  <a:pt x="2510" y="192"/>
                  <a:pt x="2528" y="192"/>
                </a:cubicBezTo>
                <a:cubicBezTo>
                  <a:pt x="2528" y="180"/>
                  <a:pt x="2528" y="180"/>
                  <a:pt x="2528" y="180"/>
                </a:cubicBezTo>
                <a:cubicBezTo>
                  <a:pt x="2430" y="180"/>
                  <a:pt x="2430" y="180"/>
                  <a:pt x="2430" y="180"/>
                </a:cubicBezTo>
                <a:cubicBezTo>
                  <a:pt x="2430" y="192"/>
                  <a:pt x="2430" y="192"/>
                  <a:pt x="2430" y="192"/>
                </a:cubicBezTo>
                <a:cubicBezTo>
                  <a:pt x="2454" y="194"/>
                  <a:pt x="2466" y="206"/>
                  <a:pt x="2458" y="234"/>
                </a:cubicBezTo>
                <a:cubicBezTo>
                  <a:pt x="2406" y="390"/>
                  <a:pt x="2406" y="390"/>
                  <a:pt x="2406" y="390"/>
                </a:cubicBezTo>
                <a:cubicBezTo>
                  <a:pt x="2354" y="270"/>
                  <a:pt x="2354" y="270"/>
                  <a:pt x="2354" y="270"/>
                </a:cubicBezTo>
                <a:cubicBezTo>
                  <a:pt x="2340" y="238"/>
                  <a:pt x="2334" y="224"/>
                  <a:pt x="2334" y="212"/>
                </a:cubicBezTo>
                <a:cubicBezTo>
                  <a:pt x="2334" y="202"/>
                  <a:pt x="2340" y="196"/>
                  <a:pt x="2360" y="192"/>
                </a:cubicBezTo>
                <a:cubicBezTo>
                  <a:pt x="2360" y="180"/>
                  <a:pt x="2360" y="180"/>
                  <a:pt x="2360" y="180"/>
                </a:cubicBezTo>
                <a:cubicBezTo>
                  <a:pt x="2234" y="180"/>
                  <a:pt x="2234" y="180"/>
                  <a:pt x="2234" y="180"/>
                </a:cubicBezTo>
                <a:cubicBezTo>
                  <a:pt x="2234" y="192"/>
                  <a:pt x="2234" y="192"/>
                  <a:pt x="2234" y="192"/>
                </a:cubicBezTo>
                <a:cubicBezTo>
                  <a:pt x="2266" y="194"/>
                  <a:pt x="2268" y="198"/>
                  <a:pt x="2310" y="292"/>
                </a:cubicBezTo>
                <a:cubicBezTo>
                  <a:pt x="2382" y="450"/>
                  <a:pt x="2382" y="450"/>
                  <a:pt x="2382" y="450"/>
                </a:cubicBezTo>
                <a:cubicBezTo>
                  <a:pt x="2358" y="512"/>
                  <a:pt x="2320" y="546"/>
                  <a:pt x="2242" y="564"/>
                </a:cubicBezTo>
                <a:cubicBezTo>
                  <a:pt x="2246" y="576"/>
                  <a:pt x="2260" y="600"/>
                  <a:pt x="2268" y="606"/>
                </a:cubicBezTo>
                <a:cubicBezTo>
                  <a:pt x="2370" y="564"/>
                  <a:pt x="2390" y="498"/>
                  <a:pt x="2426" y="396"/>
                </a:cubicBezTo>
                <a:lnTo>
                  <a:pt x="2478" y="242"/>
                </a:lnTo>
                <a:close/>
                <a:moveTo>
                  <a:pt x="2844" y="394"/>
                </a:moveTo>
                <a:cubicBezTo>
                  <a:pt x="2822" y="412"/>
                  <a:pt x="2782" y="416"/>
                  <a:pt x="2750" y="416"/>
                </a:cubicBezTo>
                <a:cubicBezTo>
                  <a:pt x="2670" y="416"/>
                  <a:pt x="2606" y="360"/>
                  <a:pt x="2606" y="284"/>
                </a:cubicBezTo>
                <a:cubicBezTo>
                  <a:pt x="2606" y="236"/>
                  <a:pt x="2626" y="206"/>
                  <a:pt x="2658" y="198"/>
                </a:cubicBezTo>
                <a:cubicBezTo>
                  <a:pt x="2698" y="266"/>
                  <a:pt x="2770" y="338"/>
                  <a:pt x="2844" y="394"/>
                </a:cubicBezTo>
                <a:moveTo>
                  <a:pt x="2928" y="448"/>
                </a:moveTo>
                <a:cubicBezTo>
                  <a:pt x="3022" y="448"/>
                  <a:pt x="3022" y="448"/>
                  <a:pt x="3022" y="448"/>
                </a:cubicBezTo>
                <a:cubicBezTo>
                  <a:pt x="3022" y="436"/>
                  <a:pt x="3022" y="436"/>
                  <a:pt x="3022" y="436"/>
                </a:cubicBezTo>
                <a:cubicBezTo>
                  <a:pt x="2992" y="432"/>
                  <a:pt x="2946" y="408"/>
                  <a:pt x="2896" y="372"/>
                </a:cubicBezTo>
                <a:cubicBezTo>
                  <a:pt x="2914" y="342"/>
                  <a:pt x="2918" y="300"/>
                  <a:pt x="2922" y="270"/>
                </a:cubicBezTo>
                <a:cubicBezTo>
                  <a:pt x="2926" y="244"/>
                  <a:pt x="2946" y="244"/>
                  <a:pt x="2958" y="242"/>
                </a:cubicBezTo>
                <a:cubicBezTo>
                  <a:pt x="2958" y="230"/>
                  <a:pt x="2958" y="230"/>
                  <a:pt x="2958" y="230"/>
                </a:cubicBezTo>
                <a:cubicBezTo>
                  <a:pt x="2834" y="230"/>
                  <a:pt x="2834" y="230"/>
                  <a:pt x="2834" y="230"/>
                </a:cubicBezTo>
                <a:cubicBezTo>
                  <a:pt x="2834" y="242"/>
                  <a:pt x="2834" y="242"/>
                  <a:pt x="2834" y="242"/>
                </a:cubicBezTo>
                <a:cubicBezTo>
                  <a:pt x="2864" y="246"/>
                  <a:pt x="2892" y="250"/>
                  <a:pt x="2892" y="294"/>
                </a:cubicBezTo>
                <a:cubicBezTo>
                  <a:pt x="2892" y="318"/>
                  <a:pt x="2888" y="342"/>
                  <a:pt x="2878" y="358"/>
                </a:cubicBezTo>
                <a:cubicBezTo>
                  <a:pt x="2770" y="274"/>
                  <a:pt x="2670" y="156"/>
                  <a:pt x="2670" y="96"/>
                </a:cubicBezTo>
                <a:cubicBezTo>
                  <a:pt x="2670" y="66"/>
                  <a:pt x="2688" y="54"/>
                  <a:pt x="2716" y="54"/>
                </a:cubicBezTo>
                <a:cubicBezTo>
                  <a:pt x="2752" y="54"/>
                  <a:pt x="2784" y="78"/>
                  <a:pt x="2800" y="124"/>
                </a:cubicBezTo>
                <a:cubicBezTo>
                  <a:pt x="2812" y="124"/>
                  <a:pt x="2812" y="124"/>
                  <a:pt x="2812" y="124"/>
                </a:cubicBezTo>
                <a:cubicBezTo>
                  <a:pt x="2810" y="42"/>
                  <a:pt x="2810" y="42"/>
                  <a:pt x="2810" y="42"/>
                </a:cubicBezTo>
                <a:cubicBezTo>
                  <a:pt x="2798" y="42"/>
                  <a:pt x="2798" y="42"/>
                  <a:pt x="2798" y="42"/>
                </a:cubicBezTo>
                <a:cubicBezTo>
                  <a:pt x="2798" y="48"/>
                  <a:pt x="2792" y="52"/>
                  <a:pt x="2788" y="52"/>
                </a:cubicBezTo>
                <a:cubicBezTo>
                  <a:pt x="2772" y="52"/>
                  <a:pt x="2752" y="36"/>
                  <a:pt x="2714" y="36"/>
                </a:cubicBezTo>
                <a:cubicBezTo>
                  <a:pt x="2672" y="36"/>
                  <a:pt x="2630" y="62"/>
                  <a:pt x="2630" y="118"/>
                </a:cubicBezTo>
                <a:cubicBezTo>
                  <a:pt x="2630" y="140"/>
                  <a:pt x="2636" y="160"/>
                  <a:pt x="2648" y="182"/>
                </a:cubicBezTo>
                <a:cubicBezTo>
                  <a:pt x="2592" y="200"/>
                  <a:pt x="2562" y="248"/>
                  <a:pt x="2562" y="304"/>
                </a:cubicBezTo>
                <a:cubicBezTo>
                  <a:pt x="2562" y="406"/>
                  <a:pt x="2640" y="460"/>
                  <a:pt x="2726" y="460"/>
                </a:cubicBezTo>
                <a:cubicBezTo>
                  <a:pt x="2780" y="460"/>
                  <a:pt x="2824" y="444"/>
                  <a:pt x="2862" y="410"/>
                </a:cubicBezTo>
                <a:cubicBezTo>
                  <a:pt x="2888" y="424"/>
                  <a:pt x="2912" y="442"/>
                  <a:pt x="2928" y="448"/>
                </a:cubicBezTo>
                <a:moveTo>
                  <a:pt x="3094" y="212"/>
                </a:moveTo>
                <a:cubicBezTo>
                  <a:pt x="3094" y="88"/>
                  <a:pt x="3154" y="20"/>
                  <a:pt x="3252" y="20"/>
                </a:cubicBezTo>
                <a:cubicBezTo>
                  <a:pt x="3328" y="20"/>
                  <a:pt x="3372" y="58"/>
                  <a:pt x="3392" y="134"/>
                </a:cubicBezTo>
                <a:cubicBezTo>
                  <a:pt x="3404" y="134"/>
                  <a:pt x="3404" y="134"/>
                  <a:pt x="3404" y="134"/>
                </a:cubicBezTo>
                <a:cubicBezTo>
                  <a:pt x="3400" y="4"/>
                  <a:pt x="3400" y="4"/>
                  <a:pt x="3400" y="4"/>
                </a:cubicBezTo>
                <a:cubicBezTo>
                  <a:pt x="3388" y="4"/>
                  <a:pt x="3388" y="4"/>
                  <a:pt x="3388" y="4"/>
                </a:cubicBezTo>
                <a:cubicBezTo>
                  <a:pt x="3384" y="14"/>
                  <a:pt x="3376" y="18"/>
                  <a:pt x="3364" y="18"/>
                </a:cubicBezTo>
                <a:cubicBezTo>
                  <a:pt x="3338" y="18"/>
                  <a:pt x="3314" y="0"/>
                  <a:pt x="3248" y="0"/>
                </a:cubicBezTo>
                <a:cubicBezTo>
                  <a:pt x="3118" y="0"/>
                  <a:pt x="3030" y="102"/>
                  <a:pt x="3030" y="242"/>
                </a:cubicBezTo>
                <a:cubicBezTo>
                  <a:pt x="3030" y="376"/>
                  <a:pt x="3110" y="460"/>
                  <a:pt x="3238" y="460"/>
                </a:cubicBezTo>
                <a:cubicBezTo>
                  <a:pt x="3320" y="460"/>
                  <a:pt x="3384" y="420"/>
                  <a:pt x="3408" y="380"/>
                </a:cubicBezTo>
                <a:cubicBezTo>
                  <a:pt x="3396" y="366"/>
                  <a:pt x="3396" y="366"/>
                  <a:pt x="3396" y="366"/>
                </a:cubicBezTo>
                <a:cubicBezTo>
                  <a:pt x="3370" y="402"/>
                  <a:pt x="3314" y="426"/>
                  <a:pt x="3256" y="426"/>
                </a:cubicBezTo>
                <a:cubicBezTo>
                  <a:pt x="3156" y="426"/>
                  <a:pt x="3094" y="340"/>
                  <a:pt x="3094" y="212"/>
                </a:cubicBezTo>
                <a:moveTo>
                  <a:pt x="3678" y="328"/>
                </a:moveTo>
                <a:cubicBezTo>
                  <a:pt x="3678" y="392"/>
                  <a:pt x="3650" y="430"/>
                  <a:pt x="3592" y="430"/>
                </a:cubicBezTo>
                <a:cubicBezTo>
                  <a:pt x="3542" y="430"/>
                  <a:pt x="3496" y="384"/>
                  <a:pt x="3496" y="292"/>
                </a:cubicBezTo>
                <a:cubicBezTo>
                  <a:pt x="3496" y="226"/>
                  <a:pt x="3528" y="190"/>
                  <a:pt x="3580" y="190"/>
                </a:cubicBezTo>
                <a:cubicBezTo>
                  <a:pt x="3628" y="192"/>
                  <a:pt x="3678" y="238"/>
                  <a:pt x="3678" y="328"/>
                </a:cubicBezTo>
                <a:moveTo>
                  <a:pt x="3732" y="312"/>
                </a:moveTo>
                <a:cubicBezTo>
                  <a:pt x="3732" y="260"/>
                  <a:pt x="3710" y="214"/>
                  <a:pt x="3672" y="190"/>
                </a:cubicBezTo>
                <a:cubicBezTo>
                  <a:pt x="3650" y="176"/>
                  <a:pt x="3620" y="168"/>
                  <a:pt x="3588" y="168"/>
                </a:cubicBezTo>
                <a:cubicBezTo>
                  <a:pt x="3502" y="168"/>
                  <a:pt x="3442" y="230"/>
                  <a:pt x="3442" y="310"/>
                </a:cubicBezTo>
                <a:cubicBezTo>
                  <a:pt x="3442" y="364"/>
                  <a:pt x="3464" y="408"/>
                  <a:pt x="3502" y="432"/>
                </a:cubicBezTo>
                <a:cubicBezTo>
                  <a:pt x="3524" y="446"/>
                  <a:pt x="3554" y="452"/>
                  <a:pt x="3586" y="452"/>
                </a:cubicBezTo>
                <a:cubicBezTo>
                  <a:pt x="3672" y="454"/>
                  <a:pt x="3732" y="394"/>
                  <a:pt x="3732" y="312"/>
                </a:cubicBezTo>
                <a:moveTo>
                  <a:pt x="4136" y="448"/>
                </a:moveTo>
                <a:cubicBezTo>
                  <a:pt x="4280" y="448"/>
                  <a:pt x="4280" y="448"/>
                  <a:pt x="4280" y="448"/>
                </a:cubicBezTo>
                <a:cubicBezTo>
                  <a:pt x="4280" y="436"/>
                  <a:pt x="4280" y="436"/>
                  <a:pt x="4280" y="436"/>
                </a:cubicBezTo>
                <a:cubicBezTo>
                  <a:pt x="4230" y="434"/>
                  <a:pt x="4232" y="426"/>
                  <a:pt x="4232" y="348"/>
                </a:cubicBezTo>
                <a:cubicBezTo>
                  <a:pt x="4232" y="276"/>
                  <a:pt x="4232" y="276"/>
                  <a:pt x="4232" y="276"/>
                </a:cubicBezTo>
                <a:cubicBezTo>
                  <a:pt x="4232" y="200"/>
                  <a:pt x="4190" y="172"/>
                  <a:pt x="4142" y="172"/>
                </a:cubicBezTo>
                <a:cubicBezTo>
                  <a:pt x="4098" y="172"/>
                  <a:pt x="4064" y="196"/>
                  <a:pt x="4038" y="232"/>
                </a:cubicBezTo>
                <a:cubicBezTo>
                  <a:pt x="4028" y="194"/>
                  <a:pt x="4000" y="172"/>
                  <a:pt x="3954" y="172"/>
                </a:cubicBezTo>
                <a:cubicBezTo>
                  <a:pt x="3916" y="172"/>
                  <a:pt x="3880" y="196"/>
                  <a:pt x="3858" y="224"/>
                </a:cubicBezTo>
                <a:cubicBezTo>
                  <a:pt x="3858" y="176"/>
                  <a:pt x="3858" y="176"/>
                  <a:pt x="3858" y="176"/>
                </a:cubicBezTo>
                <a:cubicBezTo>
                  <a:pt x="3756" y="176"/>
                  <a:pt x="3756" y="176"/>
                  <a:pt x="3756" y="176"/>
                </a:cubicBezTo>
                <a:cubicBezTo>
                  <a:pt x="3756" y="188"/>
                  <a:pt x="3756" y="188"/>
                  <a:pt x="3756" y="188"/>
                </a:cubicBezTo>
                <a:cubicBezTo>
                  <a:pt x="3800" y="190"/>
                  <a:pt x="3806" y="192"/>
                  <a:pt x="3806" y="268"/>
                </a:cubicBezTo>
                <a:cubicBezTo>
                  <a:pt x="3806" y="346"/>
                  <a:pt x="3806" y="346"/>
                  <a:pt x="3806" y="346"/>
                </a:cubicBezTo>
                <a:cubicBezTo>
                  <a:pt x="3806" y="434"/>
                  <a:pt x="3804" y="434"/>
                  <a:pt x="3758" y="434"/>
                </a:cubicBezTo>
                <a:cubicBezTo>
                  <a:pt x="3758" y="446"/>
                  <a:pt x="3758" y="446"/>
                  <a:pt x="3758" y="446"/>
                </a:cubicBezTo>
                <a:cubicBezTo>
                  <a:pt x="3902" y="446"/>
                  <a:pt x="3902" y="446"/>
                  <a:pt x="3902" y="446"/>
                </a:cubicBezTo>
                <a:cubicBezTo>
                  <a:pt x="3902" y="434"/>
                  <a:pt x="3902" y="434"/>
                  <a:pt x="3902" y="434"/>
                </a:cubicBezTo>
                <a:cubicBezTo>
                  <a:pt x="3862" y="430"/>
                  <a:pt x="3858" y="430"/>
                  <a:pt x="3858" y="342"/>
                </a:cubicBezTo>
                <a:cubicBezTo>
                  <a:pt x="3858" y="262"/>
                  <a:pt x="3858" y="262"/>
                  <a:pt x="3858" y="262"/>
                </a:cubicBezTo>
                <a:cubicBezTo>
                  <a:pt x="3858" y="234"/>
                  <a:pt x="3894" y="204"/>
                  <a:pt x="3932" y="204"/>
                </a:cubicBezTo>
                <a:cubicBezTo>
                  <a:pt x="3974" y="204"/>
                  <a:pt x="3990" y="226"/>
                  <a:pt x="3990" y="282"/>
                </a:cubicBezTo>
                <a:cubicBezTo>
                  <a:pt x="3990" y="338"/>
                  <a:pt x="3990" y="338"/>
                  <a:pt x="3990" y="338"/>
                </a:cubicBezTo>
                <a:cubicBezTo>
                  <a:pt x="3990" y="428"/>
                  <a:pt x="3988" y="432"/>
                  <a:pt x="3950" y="436"/>
                </a:cubicBezTo>
                <a:cubicBezTo>
                  <a:pt x="3950" y="448"/>
                  <a:pt x="3950" y="448"/>
                  <a:pt x="3950" y="448"/>
                </a:cubicBezTo>
                <a:cubicBezTo>
                  <a:pt x="4086" y="448"/>
                  <a:pt x="4086" y="448"/>
                  <a:pt x="4086" y="448"/>
                </a:cubicBezTo>
                <a:cubicBezTo>
                  <a:pt x="4086" y="436"/>
                  <a:pt x="4086" y="436"/>
                  <a:pt x="4086" y="436"/>
                </a:cubicBezTo>
                <a:cubicBezTo>
                  <a:pt x="4040" y="432"/>
                  <a:pt x="4042" y="428"/>
                  <a:pt x="4042" y="342"/>
                </a:cubicBezTo>
                <a:cubicBezTo>
                  <a:pt x="4042" y="264"/>
                  <a:pt x="4042" y="264"/>
                  <a:pt x="4042" y="264"/>
                </a:cubicBezTo>
                <a:cubicBezTo>
                  <a:pt x="4042" y="236"/>
                  <a:pt x="4078" y="206"/>
                  <a:pt x="4118" y="206"/>
                </a:cubicBezTo>
                <a:cubicBezTo>
                  <a:pt x="4152" y="206"/>
                  <a:pt x="4174" y="226"/>
                  <a:pt x="4174" y="284"/>
                </a:cubicBezTo>
                <a:cubicBezTo>
                  <a:pt x="4174" y="346"/>
                  <a:pt x="4174" y="346"/>
                  <a:pt x="4174" y="346"/>
                </a:cubicBezTo>
                <a:cubicBezTo>
                  <a:pt x="4174" y="428"/>
                  <a:pt x="4174" y="432"/>
                  <a:pt x="4134" y="436"/>
                </a:cubicBezTo>
                <a:cubicBezTo>
                  <a:pt x="4134" y="448"/>
                  <a:pt x="4134" y="448"/>
                  <a:pt x="4134" y="448"/>
                </a:cubicBezTo>
                <a:lnTo>
                  <a:pt x="4136" y="448"/>
                </a:lnTo>
                <a:close/>
                <a:moveTo>
                  <a:pt x="4546" y="316"/>
                </a:moveTo>
                <a:cubicBezTo>
                  <a:pt x="4546" y="388"/>
                  <a:pt x="4516" y="432"/>
                  <a:pt x="4460" y="432"/>
                </a:cubicBezTo>
                <a:cubicBezTo>
                  <a:pt x="4424" y="432"/>
                  <a:pt x="4384" y="412"/>
                  <a:pt x="4384" y="384"/>
                </a:cubicBezTo>
                <a:cubicBezTo>
                  <a:pt x="4384" y="248"/>
                  <a:pt x="4384" y="248"/>
                  <a:pt x="4384" y="248"/>
                </a:cubicBezTo>
                <a:cubicBezTo>
                  <a:pt x="4384" y="226"/>
                  <a:pt x="4416" y="202"/>
                  <a:pt x="4454" y="202"/>
                </a:cubicBezTo>
                <a:cubicBezTo>
                  <a:pt x="4510" y="206"/>
                  <a:pt x="4546" y="248"/>
                  <a:pt x="4546" y="316"/>
                </a:cubicBezTo>
                <a:moveTo>
                  <a:pt x="4600" y="310"/>
                </a:moveTo>
                <a:cubicBezTo>
                  <a:pt x="4600" y="230"/>
                  <a:pt x="4548" y="170"/>
                  <a:pt x="4478" y="170"/>
                </a:cubicBezTo>
                <a:cubicBezTo>
                  <a:pt x="4438" y="170"/>
                  <a:pt x="4406" y="188"/>
                  <a:pt x="4384" y="214"/>
                </a:cubicBezTo>
                <a:cubicBezTo>
                  <a:pt x="4384" y="174"/>
                  <a:pt x="4384" y="174"/>
                  <a:pt x="4384" y="174"/>
                </a:cubicBezTo>
                <a:cubicBezTo>
                  <a:pt x="4284" y="174"/>
                  <a:pt x="4284" y="174"/>
                  <a:pt x="4284" y="174"/>
                </a:cubicBezTo>
                <a:cubicBezTo>
                  <a:pt x="4284" y="186"/>
                  <a:pt x="4284" y="186"/>
                  <a:pt x="4284" y="186"/>
                </a:cubicBezTo>
                <a:cubicBezTo>
                  <a:pt x="4326" y="188"/>
                  <a:pt x="4332" y="190"/>
                  <a:pt x="4332" y="280"/>
                </a:cubicBezTo>
                <a:cubicBezTo>
                  <a:pt x="4332" y="466"/>
                  <a:pt x="4332" y="466"/>
                  <a:pt x="4332" y="466"/>
                </a:cubicBezTo>
                <a:cubicBezTo>
                  <a:pt x="4332" y="564"/>
                  <a:pt x="4334" y="570"/>
                  <a:pt x="4286" y="574"/>
                </a:cubicBezTo>
                <a:cubicBezTo>
                  <a:pt x="4286" y="588"/>
                  <a:pt x="4286" y="588"/>
                  <a:pt x="4286" y="588"/>
                </a:cubicBezTo>
                <a:cubicBezTo>
                  <a:pt x="4432" y="588"/>
                  <a:pt x="4432" y="588"/>
                  <a:pt x="4432" y="588"/>
                </a:cubicBezTo>
                <a:cubicBezTo>
                  <a:pt x="4432" y="574"/>
                  <a:pt x="4432" y="574"/>
                  <a:pt x="4432" y="574"/>
                </a:cubicBezTo>
                <a:cubicBezTo>
                  <a:pt x="4380" y="572"/>
                  <a:pt x="4384" y="564"/>
                  <a:pt x="4384" y="462"/>
                </a:cubicBezTo>
                <a:cubicBezTo>
                  <a:pt x="4384" y="424"/>
                  <a:pt x="4384" y="424"/>
                  <a:pt x="4384" y="424"/>
                </a:cubicBezTo>
                <a:cubicBezTo>
                  <a:pt x="4404" y="444"/>
                  <a:pt x="4436" y="454"/>
                  <a:pt x="4466" y="454"/>
                </a:cubicBezTo>
                <a:cubicBezTo>
                  <a:pt x="4548" y="454"/>
                  <a:pt x="4600" y="392"/>
                  <a:pt x="4600" y="310"/>
                </a:cubicBezTo>
                <a:moveTo>
                  <a:pt x="4792" y="382"/>
                </a:moveTo>
                <a:cubicBezTo>
                  <a:pt x="4792" y="404"/>
                  <a:pt x="4762" y="424"/>
                  <a:pt x="4736" y="424"/>
                </a:cubicBezTo>
                <a:cubicBezTo>
                  <a:pt x="4712" y="424"/>
                  <a:pt x="4694" y="410"/>
                  <a:pt x="4694" y="378"/>
                </a:cubicBezTo>
                <a:cubicBezTo>
                  <a:pt x="4694" y="322"/>
                  <a:pt x="4752" y="328"/>
                  <a:pt x="4792" y="306"/>
                </a:cubicBezTo>
                <a:cubicBezTo>
                  <a:pt x="4792" y="382"/>
                  <a:pt x="4792" y="382"/>
                  <a:pt x="4792" y="382"/>
                </a:cubicBezTo>
                <a:close/>
                <a:moveTo>
                  <a:pt x="5240" y="434"/>
                </a:moveTo>
                <a:cubicBezTo>
                  <a:pt x="5192" y="432"/>
                  <a:pt x="5192" y="430"/>
                  <a:pt x="5192" y="340"/>
                </a:cubicBezTo>
                <a:cubicBezTo>
                  <a:pt x="5192" y="278"/>
                  <a:pt x="5192" y="278"/>
                  <a:pt x="5192" y="278"/>
                </a:cubicBezTo>
                <a:cubicBezTo>
                  <a:pt x="5192" y="196"/>
                  <a:pt x="5146" y="170"/>
                  <a:pt x="5104" y="170"/>
                </a:cubicBezTo>
                <a:cubicBezTo>
                  <a:pt x="5068" y="170"/>
                  <a:pt x="5032" y="186"/>
                  <a:pt x="5004" y="222"/>
                </a:cubicBezTo>
                <a:cubicBezTo>
                  <a:pt x="5004" y="174"/>
                  <a:pt x="5004" y="174"/>
                  <a:pt x="5004" y="174"/>
                </a:cubicBezTo>
                <a:cubicBezTo>
                  <a:pt x="4902" y="174"/>
                  <a:pt x="4902" y="174"/>
                  <a:pt x="4902" y="174"/>
                </a:cubicBezTo>
                <a:cubicBezTo>
                  <a:pt x="4902" y="186"/>
                  <a:pt x="4902" y="186"/>
                  <a:pt x="4902" y="186"/>
                </a:cubicBezTo>
                <a:cubicBezTo>
                  <a:pt x="4946" y="188"/>
                  <a:pt x="4952" y="190"/>
                  <a:pt x="4952" y="266"/>
                </a:cubicBezTo>
                <a:cubicBezTo>
                  <a:pt x="4952" y="334"/>
                  <a:pt x="4952" y="334"/>
                  <a:pt x="4952" y="334"/>
                </a:cubicBezTo>
                <a:cubicBezTo>
                  <a:pt x="4952" y="430"/>
                  <a:pt x="4952" y="432"/>
                  <a:pt x="4904" y="434"/>
                </a:cubicBezTo>
                <a:cubicBezTo>
                  <a:pt x="4892" y="434"/>
                  <a:pt x="4892" y="434"/>
                  <a:pt x="4892" y="434"/>
                </a:cubicBezTo>
                <a:cubicBezTo>
                  <a:pt x="4854" y="434"/>
                  <a:pt x="4850" y="422"/>
                  <a:pt x="4850" y="366"/>
                </a:cubicBezTo>
                <a:cubicBezTo>
                  <a:pt x="4850" y="274"/>
                  <a:pt x="4850" y="274"/>
                  <a:pt x="4850" y="274"/>
                </a:cubicBezTo>
                <a:cubicBezTo>
                  <a:pt x="4850" y="256"/>
                  <a:pt x="4848" y="240"/>
                  <a:pt x="4844" y="228"/>
                </a:cubicBezTo>
                <a:cubicBezTo>
                  <a:pt x="4830" y="186"/>
                  <a:pt x="4796" y="170"/>
                  <a:pt x="4748" y="170"/>
                </a:cubicBezTo>
                <a:cubicBezTo>
                  <a:pt x="4718" y="170"/>
                  <a:pt x="4674" y="180"/>
                  <a:pt x="4650" y="202"/>
                </a:cubicBezTo>
                <a:cubicBezTo>
                  <a:pt x="4652" y="214"/>
                  <a:pt x="4664" y="240"/>
                  <a:pt x="4670" y="248"/>
                </a:cubicBezTo>
                <a:cubicBezTo>
                  <a:pt x="4676" y="246"/>
                  <a:pt x="4676" y="246"/>
                  <a:pt x="4676" y="246"/>
                </a:cubicBezTo>
                <a:cubicBezTo>
                  <a:pt x="4688" y="216"/>
                  <a:pt x="4708" y="194"/>
                  <a:pt x="4742" y="194"/>
                </a:cubicBezTo>
                <a:cubicBezTo>
                  <a:pt x="4778" y="194"/>
                  <a:pt x="4794" y="220"/>
                  <a:pt x="4794" y="250"/>
                </a:cubicBezTo>
                <a:cubicBezTo>
                  <a:pt x="4794" y="282"/>
                  <a:pt x="4794" y="282"/>
                  <a:pt x="4794" y="282"/>
                </a:cubicBezTo>
                <a:cubicBezTo>
                  <a:pt x="4794" y="302"/>
                  <a:pt x="4702" y="306"/>
                  <a:pt x="4664" y="338"/>
                </a:cubicBezTo>
                <a:cubicBezTo>
                  <a:pt x="4652" y="350"/>
                  <a:pt x="4642" y="364"/>
                  <a:pt x="4642" y="384"/>
                </a:cubicBezTo>
                <a:cubicBezTo>
                  <a:pt x="4642" y="426"/>
                  <a:pt x="4672" y="456"/>
                  <a:pt x="4716" y="456"/>
                </a:cubicBezTo>
                <a:cubicBezTo>
                  <a:pt x="4744" y="456"/>
                  <a:pt x="4768" y="446"/>
                  <a:pt x="4794" y="418"/>
                </a:cubicBezTo>
                <a:cubicBezTo>
                  <a:pt x="4798" y="438"/>
                  <a:pt x="4814" y="448"/>
                  <a:pt x="4842" y="448"/>
                </a:cubicBezTo>
                <a:cubicBezTo>
                  <a:pt x="4906" y="448"/>
                  <a:pt x="4906" y="448"/>
                  <a:pt x="4906" y="448"/>
                </a:cubicBezTo>
                <a:cubicBezTo>
                  <a:pt x="4906" y="448"/>
                  <a:pt x="4906" y="448"/>
                  <a:pt x="4906" y="448"/>
                </a:cubicBezTo>
                <a:cubicBezTo>
                  <a:pt x="5048" y="448"/>
                  <a:pt x="5048" y="448"/>
                  <a:pt x="5048" y="448"/>
                </a:cubicBezTo>
                <a:cubicBezTo>
                  <a:pt x="5048" y="436"/>
                  <a:pt x="5048" y="436"/>
                  <a:pt x="5048" y="436"/>
                </a:cubicBezTo>
                <a:cubicBezTo>
                  <a:pt x="5006" y="432"/>
                  <a:pt x="5004" y="434"/>
                  <a:pt x="5004" y="338"/>
                </a:cubicBezTo>
                <a:cubicBezTo>
                  <a:pt x="5004" y="262"/>
                  <a:pt x="5004" y="262"/>
                  <a:pt x="5004" y="262"/>
                </a:cubicBezTo>
                <a:cubicBezTo>
                  <a:pt x="5004" y="236"/>
                  <a:pt x="5038" y="206"/>
                  <a:pt x="5080" y="206"/>
                </a:cubicBezTo>
                <a:cubicBezTo>
                  <a:pt x="5114" y="206"/>
                  <a:pt x="5140" y="220"/>
                  <a:pt x="5140" y="286"/>
                </a:cubicBezTo>
                <a:cubicBezTo>
                  <a:pt x="5140" y="340"/>
                  <a:pt x="5140" y="340"/>
                  <a:pt x="5140" y="340"/>
                </a:cubicBezTo>
                <a:cubicBezTo>
                  <a:pt x="5140" y="432"/>
                  <a:pt x="5136" y="432"/>
                  <a:pt x="5098" y="434"/>
                </a:cubicBezTo>
                <a:cubicBezTo>
                  <a:pt x="5098" y="446"/>
                  <a:pt x="5098" y="446"/>
                  <a:pt x="5098" y="446"/>
                </a:cubicBezTo>
                <a:cubicBezTo>
                  <a:pt x="5240" y="446"/>
                  <a:pt x="5240" y="446"/>
                  <a:pt x="5240" y="446"/>
                </a:cubicBezTo>
                <a:lnTo>
                  <a:pt x="5240" y="434"/>
                </a:lnTo>
                <a:close/>
                <a:moveTo>
                  <a:pt x="5516" y="192"/>
                </a:moveTo>
                <a:cubicBezTo>
                  <a:pt x="5516" y="180"/>
                  <a:pt x="5516" y="180"/>
                  <a:pt x="5516" y="180"/>
                </a:cubicBezTo>
                <a:cubicBezTo>
                  <a:pt x="5418" y="180"/>
                  <a:pt x="5418" y="180"/>
                  <a:pt x="5418" y="180"/>
                </a:cubicBezTo>
                <a:cubicBezTo>
                  <a:pt x="5418" y="192"/>
                  <a:pt x="5418" y="192"/>
                  <a:pt x="5418" y="192"/>
                </a:cubicBezTo>
                <a:cubicBezTo>
                  <a:pt x="5442" y="194"/>
                  <a:pt x="5454" y="206"/>
                  <a:pt x="5446" y="234"/>
                </a:cubicBezTo>
                <a:cubicBezTo>
                  <a:pt x="5394" y="390"/>
                  <a:pt x="5394" y="390"/>
                  <a:pt x="5394" y="390"/>
                </a:cubicBezTo>
                <a:cubicBezTo>
                  <a:pt x="5342" y="270"/>
                  <a:pt x="5342" y="270"/>
                  <a:pt x="5342" y="270"/>
                </a:cubicBezTo>
                <a:cubicBezTo>
                  <a:pt x="5328" y="238"/>
                  <a:pt x="5322" y="224"/>
                  <a:pt x="5322" y="212"/>
                </a:cubicBezTo>
                <a:cubicBezTo>
                  <a:pt x="5322" y="202"/>
                  <a:pt x="5328" y="196"/>
                  <a:pt x="5348" y="192"/>
                </a:cubicBezTo>
                <a:cubicBezTo>
                  <a:pt x="5348" y="180"/>
                  <a:pt x="5348" y="180"/>
                  <a:pt x="5348" y="180"/>
                </a:cubicBezTo>
                <a:cubicBezTo>
                  <a:pt x="5220" y="180"/>
                  <a:pt x="5220" y="180"/>
                  <a:pt x="5220" y="180"/>
                </a:cubicBezTo>
                <a:cubicBezTo>
                  <a:pt x="5220" y="192"/>
                  <a:pt x="5220" y="192"/>
                  <a:pt x="5220" y="192"/>
                </a:cubicBezTo>
                <a:cubicBezTo>
                  <a:pt x="5252" y="194"/>
                  <a:pt x="5254" y="198"/>
                  <a:pt x="5296" y="292"/>
                </a:cubicBezTo>
                <a:cubicBezTo>
                  <a:pt x="5368" y="450"/>
                  <a:pt x="5368" y="450"/>
                  <a:pt x="5368" y="450"/>
                </a:cubicBezTo>
                <a:cubicBezTo>
                  <a:pt x="5344" y="512"/>
                  <a:pt x="5306" y="546"/>
                  <a:pt x="5228" y="564"/>
                </a:cubicBezTo>
                <a:cubicBezTo>
                  <a:pt x="5232" y="576"/>
                  <a:pt x="5246" y="600"/>
                  <a:pt x="5254" y="606"/>
                </a:cubicBezTo>
                <a:cubicBezTo>
                  <a:pt x="5356" y="564"/>
                  <a:pt x="5376" y="498"/>
                  <a:pt x="5412" y="396"/>
                </a:cubicBezTo>
                <a:cubicBezTo>
                  <a:pt x="5466" y="242"/>
                  <a:pt x="5466" y="242"/>
                  <a:pt x="5466" y="242"/>
                </a:cubicBezTo>
                <a:cubicBezTo>
                  <a:pt x="5478" y="206"/>
                  <a:pt x="5498" y="192"/>
                  <a:pt x="5516" y="192"/>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600" kern="1200">
                <a:solidFill>
                  <a:schemeClr val="tx1"/>
                </a:solidFill>
                <a:latin typeface="Arial" charset="0"/>
                <a:ea typeface="+mn-ea"/>
                <a:cs typeface="+mn-cs"/>
              </a:defRPr>
            </a:lvl1pPr>
            <a:lvl2pPr marL="457200" algn="l" rtl="0" fontAlgn="base">
              <a:spcBef>
                <a:spcPct val="0"/>
              </a:spcBef>
              <a:spcAft>
                <a:spcPct val="0"/>
              </a:spcAft>
              <a:defRPr sz="1600" kern="1200">
                <a:solidFill>
                  <a:schemeClr val="tx1"/>
                </a:solidFill>
                <a:latin typeface="Arial" charset="0"/>
                <a:ea typeface="+mn-ea"/>
                <a:cs typeface="+mn-cs"/>
              </a:defRPr>
            </a:lvl2pPr>
            <a:lvl3pPr marL="914400" algn="l" rtl="0" fontAlgn="base">
              <a:spcBef>
                <a:spcPct val="0"/>
              </a:spcBef>
              <a:spcAft>
                <a:spcPct val="0"/>
              </a:spcAft>
              <a:defRPr sz="1600" kern="1200">
                <a:solidFill>
                  <a:schemeClr val="tx1"/>
                </a:solidFill>
                <a:latin typeface="Arial" charset="0"/>
                <a:ea typeface="+mn-ea"/>
                <a:cs typeface="+mn-cs"/>
              </a:defRPr>
            </a:lvl3pPr>
            <a:lvl4pPr marL="1371600" algn="l" rtl="0" fontAlgn="base">
              <a:spcBef>
                <a:spcPct val="0"/>
              </a:spcBef>
              <a:spcAft>
                <a:spcPct val="0"/>
              </a:spcAft>
              <a:defRPr sz="1600" kern="1200">
                <a:solidFill>
                  <a:schemeClr val="tx1"/>
                </a:solidFill>
                <a:latin typeface="Arial" charset="0"/>
                <a:ea typeface="+mn-ea"/>
                <a:cs typeface="+mn-cs"/>
              </a:defRPr>
            </a:lvl4pPr>
            <a:lvl5pPr marL="1828800" algn="l" rtl="0" fontAlgn="base">
              <a:spcBef>
                <a:spcPct val="0"/>
              </a:spcBef>
              <a:spcAft>
                <a:spcPct val="0"/>
              </a:spcAft>
              <a:defRPr sz="1600" kern="1200">
                <a:solidFill>
                  <a:schemeClr val="tx1"/>
                </a:solidFill>
                <a:latin typeface="Arial" charset="0"/>
                <a:ea typeface="+mn-ea"/>
                <a:cs typeface="+mn-cs"/>
              </a:defRPr>
            </a:lvl5pPr>
            <a:lvl6pPr marL="2286000" algn="l" defTabSz="914400" rtl="0" eaLnBrk="1" latinLnBrk="0" hangingPunct="1">
              <a:defRPr sz="1600" kern="1200">
                <a:solidFill>
                  <a:schemeClr val="tx1"/>
                </a:solidFill>
                <a:latin typeface="Arial" charset="0"/>
                <a:ea typeface="+mn-ea"/>
                <a:cs typeface="+mn-cs"/>
              </a:defRPr>
            </a:lvl6pPr>
            <a:lvl7pPr marL="2743200" algn="l" defTabSz="914400" rtl="0" eaLnBrk="1" latinLnBrk="0" hangingPunct="1">
              <a:defRPr sz="1600" kern="1200">
                <a:solidFill>
                  <a:schemeClr val="tx1"/>
                </a:solidFill>
                <a:latin typeface="Arial" charset="0"/>
                <a:ea typeface="+mn-ea"/>
                <a:cs typeface="+mn-cs"/>
              </a:defRPr>
            </a:lvl7pPr>
            <a:lvl8pPr marL="3200400" algn="l" defTabSz="914400" rtl="0" eaLnBrk="1" latinLnBrk="0" hangingPunct="1">
              <a:defRPr sz="1600" kern="1200">
                <a:solidFill>
                  <a:schemeClr val="tx1"/>
                </a:solidFill>
                <a:latin typeface="Arial" charset="0"/>
                <a:ea typeface="+mn-ea"/>
                <a:cs typeface="+mn-cs"/>
              </a:defRPr>
            </a:lvl8pPr>
            <a:lvl9pPr marL="3657600" algn="l" defTabSz="914400" rtl="0" eaLnBrk="1" latinLnBrk="0" hangingPunct="1">
              <a:defRPr sz="1600" kern="1200">
                <a:solidFill>
                  <a:schemeClr val="tx1"/>
                </a:solidFill>
                <a:latin typeface="Arial" charset="0"/>
                <a:ea typeface="+mn-ea"/>
                <a:cs typeface="+mn-cs"/>
              </a:defRPr>
            </a:lvl9pPr>
          </a:lstStyle>
          <a:p>
            <a:endParaRPr lang="en-US" baseline="0" dirty="0">
              <a:solidFill>
                <a:srgbClr val="000000"/>
              </a:solidFill>
              <a:latin typeface="+mn-lt"/>
            </a:endParaRPr>
          </a:p>
        </p:txBody>
      </p:sp>
      <p:sp>
        <p:nvSpPr>
          <p:cNvPr id="27" name="Disclaimer-English (United States)" hidden="1"/>
          <p:cNvSpPr>
            <a:spLocks noChangeArrowheads="1"/>
          </p:cNvSpPr>
          <p:nvPr/>
        </p:nvSpPr>
        <p:spPr bwMode="black">
          <a:xfrm>
            <a:off x="2268266" y="6287785"/>
            <a:ext cx="3544453" cy="36908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t" anchorCtr="0">
            <a:noAutofit/>
          </a:bodyPr>
          <a:lstStyle/>
          <a:p>
            <a:pPr defTabSz="804863" eaLnBrk="0" hangingPunct="0"/>
            <a:r>
              <a:rPr lang="en-US" sz="800" baseline="0" dirty="0">
                <a:solidFill>
                  <a:srgbClr val="FFFFFF"/>
                </a:solidFill>
                <a:latin typeface="+mn-lt"/>
              </a:rPr>
              <a:t>CONFIDENTIAL AND PROPRIETARY</a:t>
            </a:r>
          </a:p>
          <a:p>
            <a:pPr defTabSz="804863" eaLnBrk="0" hangingPunct="0"/>
            <a:r>
              <a:rPr lang="en-US" sz="800" baseline="0" dirty="0">
                <a:solidFill>
                  <a:srgbClr val="FFFFFF"/>
                </a:solidFill>
                <a:latin typeface="+mn-lt"/>
              </a:rPr>
              <a:t>Any use of this material without specific permission of McKinsey &amp; Company is strictly prohibited</a:t>
            </a:r>
          </a:p>
        </p:txBody>
      </p:sp>
    </p:spTree>
    <p:extLst>
      <p:ext uri="{BB962C8B-B14F-4D97-AF65-F5344CB8AC3E}">
        <p14:creationId xmlns:p14="http://schemas.microsoft.com/office/powerpoint/2010/main" val="2019281795"/>
      </p:ext>
    </p:extLst>
  </p:cSld>
  <p:clrMapOvr>
    <a:masterClrMapping/>
  </p:clrMapOvr>
  <p:extLst mod="1">
    <p:ext uri="{DCECCB84-F9BA-43D5-87BE-67443E8EF086}">
      <p15:sldGuideLst xmlns:p15="http://schemas.microsoft.com/office/powerpoint/2012/main">
        <p15:guide id="1" orient="horz" pos="2117">
          <p15:clr>
            <a:srgbClr val="FBAE40"/>
          </p15:clr>
        </p15:guide>
        <p15:guide id="2" pos="1416">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1_Title Only">
    <p:bg>
      <p:bgPr>
        <a:solidFill>
          <a:schemeClr val="accent2"/>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F4AD34F-3B47-47E2-A09C-FFEB949F6A10}"/>
              </a:ext>
            </a:extLst>
          </p:cNvPr>
          <p:cNvGraphicFramePr>
            <a:graphicFrameLocks noChangeAspect="1"/>
          </p:cNvGraphicFramePr>
          <p:nvPr>
            <p:custDataLst>
              <p:tags r:id="rId2"/>
            </p:custDataLst>
            <p:extLst>
              <p:ext uri="{D42A27DB-BD31-4B8C-83A1-F6EECF244321}">
                <p14:modId xmlns:p14="http://schemas.microsoft.com/office/powerpoint/2010/main" val="331120459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116" name="think-cell Slide" r:id="rId5" imgW="395" imgH="394" progId="TCLayout.ActiveDocument.1">
                  <p:embed/>
                </p:oleObj>
              </mc:Choice>
              <mc:Fallback>
                <p:oleObj name="think-cell Slide" r:id="rId5" imgW="395" imgH="394" progId="TCLayout.ActiveDocument.1">
                  <p:embed/>
                  <p:pic>
                    <p:nvPicPr>
                      <p:cNvPr id="3" name="Object 2" hidden="1">
                        <a:extLst>
                          <a:ext uri="{FF2B5EF4-FFF2-40B4-BE49-F238E27FC236}">
                            <a16:creationId xmlns:a16="http://schemas.microsoft.com/office/drawing/2014/main" id="{EF4AD34F-3B47-47E2-A09C-FFEB949F6A10}"/>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endParaRPr lang="en-US" dirty="0"/>
          </a:p>
        </p:txBody>
      </p:sp>
      <p:sp>
        <p:nvSpPr>
          <p:cNvPr id="15" name="Slide Number"/>
          <p:cNvSpPr txBox="1">
            <a:spLocks/>
          </p:cNvSpPr>
          <p:nvPr/>
        </p:nvSpPr>
        <p:spPr>
          <a:xfrm>
            <a:off x="8564563" y="6508272"/>
            <a:ext cx="125034" cy="123111"/>
          </a:xfrm>
          <a:prstGeom prst="rect">
            <a:avLst/>
          </a:prstGeom>
        </p:spPr>
        <p:txBody>
          <a:bodyPr vert="horz" wrap="none" lIns="0" tIns="0" rIns="0" bIns="0" rtlCol="0" anchor="ctr">
            <a:spAutoFit/>
          </a:bodyPr>
          <a:lstStyle>
            <a:defPPr>
              <a:defRPr lang="en-US"/>
            </a:defPPr>
            <a:lvl1pPr>
              <a:defRPr sz="1000" baseline="0">
                <a:latin typeface="+mn-lt"/>
              </a:defRPr>
            </a:lvl1pPr>
          </a:lstStyle>
          <a:p>
            <a:fld id="{42C328C1-A84F-4A39-A664-DBA00541A8C6}" type="slidenum">
              <a:rPr lang="en-US" sz="800" baseline="0" smtClean="0">
                <a:solidFill>
                  <a:srgbClr val="FFFFFF"/>
                </a:solidFill>
                <a:latin typeface="+mn-lt"/>
              </a:rPr>
              <a:pPr/>
              <a:t>‹#›</a:t>
            </a:fld>
            <a:endParaRPr lang="en-US" sz="800" baseline="0" dirty="0">
              <a:solidFill>
                <a:srgbClr val="FFFFFF"/>
              </a:solidFill>
              <a:latin typeface="+mn-lt"/>
            </a:endParaRPr>
          </a:p>
        </p:txBody>
      </p:sp>
      <p:sp>
        <p:nvSpPr>
          <p:cNvPr id="16" name="SlideLogoText"/>
          <p:cNvSpPr>
            <a:spLocks noChangeArrowheads="1"/>
          </p:cNvSpPr>
          <p:nvPr>
            <p:custDataLst>
              <p:tags r:id="rId3"/>
            </p:custDataLst>
          </p:nvPr>
        </p:nvSpPr>
        <p:spPr bwMode="auto">
          <a:xfrm>
            <a:off x="7450817" y="6508272"/>
            <a:ext cx="1013098"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algn="r" defTabSz="895350"/>
            <a:r>
              <a:rPr lang="en-US" sz="800" baseline="0" dirty="0">
                <a:solidFill>
                  <a:srgbClr val="FFFFFF"/>
                </a:solidFill>
                <a:latin typeface="+mn-lt"/>
              </a:rPr>
              <a:t>McKinsey &amp; Company</a:t>
            </a:r>
          </a:p>
        </p:txBody>
      </p:sp>
      <p:sp>
        <p:nvSpPr>
          <p:cNvPr id="5" name="doc id" hidden="1"/>
          <p:cNvSpPr txBox="1">
            <a:spLocks noChangeArrowheads="1"/>
          </p:cNvSpPr>
          <p:nvPr/>
        </p:nvSpPr>
        <p:spPr bwMode="white">
          <a:xfrm>
            <a:off x="8104473" y="36513"/>
            <a:ext cx="634716" cy="115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hangingPunct="1">
              <a:defRPr/>
            </a:pPr>
            <a:endParaRPr lang="en-US" sz="800" baseline="0" dirty="0">
              <a:solidFill>
                <a:schemeClr val="accent1"/>
              </a:solidFill>
              <a:latin typeface="+mn-lt"/>
              <a:ea typeface="+mn-ea"/>
            </a:endParaRPr>
          </a:p>
        </p:txBody>
      </p:sp>
    </p:spTree>
    <p:extLst>
      <p:ext uri="{BB962C8B-B14F-4D97-AF65-F5344CB8AC3E}">
        <p14:creationId xmlns:p14="http://schemas.microsoft.com/office/powerpoint/2010/main" val="3607639892"/>
      </p:ext>
    </p:extLst>
  </p:cSld>
  <p:clrMapOvr>
    <a:masterClrMapping/>
  </p:clrMapOvr>
  <p:extLst mod="1">
    <p:ext uri="{DCECCB84-F9BA-43D5-87BE-67443E8EF086}">
      <p15:sldGuideLst xmlns:p15="http://schemas.microsoft.com/office/powerpoint/2012/main">
        <p15:guide id="1" pos="3978">
          <p15:clr>
            <a:srgbClr val="000000"/>
          </p15:clr>
        </p15:guide>
        <p15:guide id="2" orient="horz" pos="570">
          <p15:clr>
            <a:srgbClr val="000000"/>
          </p15:clr>
        </p15:guide>
        <p15:guide id="3" orient="horz" pos="3912">
          <p15:clr>
            <a:srgbClr val="000000"/>
          </p15:clr>
        </p15:guide>
        <p15:guide id="4" pos="72">
          <p15:clr>
            <a:srgbClr val="00000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6E228F5-5CF1-42E1-9748-97D7582A107A}"/>
              </a:ext>
            </a:extLst>
          </p:cNvPr>
          <p:cNvGraphicFramePr>
            <a:graphicFrameLocks noChangeAspect="1"/>
          </p:cNvGraphicFramePr>
          <p:nvPr>
            <p:custDataLst>
              <p:tags r:id="rId2"/>
            </p:custDataLst>
            <p:extLst>
              <p:ext uri="{D42A27DB-BD31-4B8C-83A1-F6EECF244321}">
                <p14:modId xmlns:p14="http://schemas.microsoft.com/office/powerpoint/2010/main" val="316012481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8932" name="think-cell Slide" r:id="rId5" imgW="353" imgH="353" progId="TCLayout.ActiveDocument.1">
                  <p:embed/>
                </p:oleObj>
              </mc:Choice>
              <mc:Fallback>
                <p:oleObj name="think-cell Slide" r:id="rId5" imgW="353" imgH="353" progId="TCLayout.ActiveDocument.1">
                  <p:embed/>
                  <p:pic>
                    <p:nvPicPr>
                      <p:cNvPr id="3" name="Object 2" hidden="1">
                        <a:extLst>
                          <a:ext uri="{FF2B5EF4-FFF2-40B4-BE49-F238E27FC236}">
                            <a16:creationId xmlns:a16="http://schemas.microsoft.com/office/drawing/2014/main" id="{C6E228F5-5CF1-42E1-9748-97D7582A107A}"/>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2. Slide Title"/>
          <p:cNvSpPr>
            <a:spLocks noGrp="1"/>
          </p:cNvSpPr>
          <p:nvPr>
            <p:ph type="title"/>
          </p:nvPr>
        </p:nvSpPr>
        <p:spPr bwMode="auto"/>
        <p:txBody>
          <a:bodyPr/>
          <a:lstStyle/>
          <a:p>
            <a:r>
              <a:rPr lang="en-US"/>
              <a:t>Click to edit Master title style</a:t>
            </a:r>
            <a:endParaRPr lang="en-US" dirty="0"/>
          </a:p>
        </p:txBody>
      </p:sp>
      <p:sp>
        <p:nvSpPr>
          <p:cNvPr id="8" name="Slide Number"/>
          <p:cNvSpPr txBox="1">
            <a:spLocks/>
          </p:cNvSpPr>
          <p:nvPr/>
        </p:nvSpPr>
        <p:spPr bwMode="auto">
          <a:xfrm>
            <a:off x="8564563" y="6508272"/>
            <a:ext cx="125034" cy="123111"/>
          </a:xfrm>
          <a:prstGeom prst="rect">
            <a:avLst/>
          </a:prstGeom>
        </p:spPr>
        <p:txBody>
          <a:bodyPr vert="horz" wrap="none" lIns="0" tIns="0" rIns="0" bIns="0" rtlCol="0" anchor="ctr">
            <a:spAutoFit/>
          </a:bodyPr>
          <a:lstStyle>
            <a:defPPr>
              <a:defRPr lang="en-US"/>
            </a:defPPr>
            <a:lvl1pPr>
              <a:defRPr sz="1000" baseline="0">
                <a:latin typeface="+mn-lt"/>
              </a:defRPr>
            </a:lvl1pPr>
          </a:lstStyle>
          <a:p>
            <a:fld id="{42C328C1-A84F-4A39-A664-DBA00541A8C6}" type="slidenum">
              <a:rPr lang="en-US" sz="800" baseline="0" smtClean="0">
                <a:solidFill>
                  <a:srgbClr val="808080"/>
                </a:solidFill>
                <a:latin typeface="+mn-lt"/>
              </a:rPr>
              <a:pPr/>
              <a:t>‹#›</a:t>
            </a:fld>
            <a:endParaRPr lang="en-US" sz="800" baseline="0" dirty="0">
              <a:solidFill>
                <a:srgbClr val="808080"/>
              </a:solidFill>
              <a:latin typeface="+mn-lt"/>
            </a:endParaRPr>
          </a:p>
        </p:txBody>
      </p:sp>
      <p:sp>
        <p:nvSpPr>
          <p:cNvPr id="9" name="SlideLogoText"/>
          <p:cNvSpPr>
            <a:spLocks noChangeArrowheads="1"/>
          </p:cNvSpPr>
          <p:nvPr>
            <p:custDataLst>
              <p:tags r:id="rId3"/>
            </p:custDataLst>
          </p:nvPr>
        </p:nvSpPr>
        <p:spPr bwMode="auto">
          <a:xfrm>
            <a:off x="7450817" y="6508272"/>
            <a:ext cx="1013098"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algn="r" defTabSz="895350"/>
            <a:r>
              <a:rPr lang="en-US" sz="800" baseline="0" dirty="0">
                <a:solidFill>
                  <a:srgbClr val="808080"/>
                </a:solidFill>
                <a:latin typeface="+mn-lt"/>
              </a:rPr>
              <a:t>McKinsey &amp; Company</a:t>
            </a:r>
          </a:p>
        </p:txBody>
      </p:sp>
      <p:sp>
        <p:nvSpPr>
          <p:cNvPr id="5" name="doc id" hidden="1"/>
          <p:cNvSpPr txBox="1">
            <a:spLocks noChangeArrowheads="1"/>
          </p:cNvSpPr>
          <p:nvPr/>
        </p:nvSpPr>
        <p:spPr bwMode="white">
          <a:xfrm>
            <a:off x="8104473" y="36513"/>
            <a:ext cx="634716" cy="115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hangingPunct="1">
              <a:defRPr/>
            </a:pPr>
            <a:endParaRPr lang="en-US" sz="800" baseline="0" dirty="0">
              <a:solidFill>
                <a:schemeClr val="accent1"/>
              </a:solidFill>
              <a:latin typeface="+mn-lt"/>
              <a:ea typeface="+mn-ea"/>
            </a:endParaRPr>
          </a:p>
        </p:txBody>
      </p:sp>
    </p:spTree>
    <p:extLst>
      <p:ext uri="{BB962C8B-B14F-4D97-AF65-F5344CB8AC3E}">
        <p14:creationId xmlns:p14="http://schemas.microsoft.com/office/powerpoint/2010/main" val="3600896563"/>
      </p:ext>
    </p:extLst>
  </p:cSld>
  <p:clrMapOvr>
    <a:masterClrMapping/>
  </p:clrMapOvr>
  <p:extLst mod="1">
    <p:ext uri="{DCECCB84-F9BA-43D5-87BE-67443E8EF086}">
      <p15:sldGuideLst xmlns:p15="http://schemas.microsoft.com/office/powerpoint/2012/main">
        <p15:guide id="1" pos="5505">
          <p15:clr>
            <a:srgbClr val="F26B43"/>
          </p15:clr>
        </p15:guide>
        <p15:guide id="2" pos="74">
          <p15:clr>
            <a:srgbClr val="F26B43"/>
          </p15:clr>
        </p15:guide>
        <p15:guide id="3" orient="horz" pos="571">
          <p15:clr>
            <a:srgbClr val="F26B43"/>
          </p15:clr>
        </p15:guide>
        <p15:guide id="4" orient="horz" pos="3911">
          <p15:clr>
            <a:srgbClr val="F26B43"/>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1_Title Only">
    <p:bg>
      <p:bgPr>
        <a:solidFill>
          <a:schemeClr val="accent2"/>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F4AD34F-3B47-47E2-A09C-FFEB949F6A10}"/>
              </a:ext>
            </a:extLst>
          </p:cNvPr>
          <p:cNvGraphicFramePr>
            <a:graphicFrameLocks noChangeAspect="1"/>
          </p:cNvGraphicFramePr>
          <p:nvPr>
            <p:custDataLst>
              <p:tags r:id="rId2"/>
            </p:custDataLst>
            <p:extLst>
              <p:ext uri="{D42A27DB-BD31-4B8C-83A1-F6EECF244321}">
                <p14:modId xmlns:p14="http://schemas.microsoft.com/office/powerpoint/2010/main" val="41923426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9956" name="think-cell Slide" r:id="rId5" imgW="395" imgH="394" progId="TCLayout.ActiveDocument.1">
                  <p:embed/>
                </p:oleObj>
              </mc:Choice>
              <mc:Fallback>
                <p:oleObj name="think-cell Slide" r:id="rId5" imgW="395" imgH="394" progId="TCLayout.ActiveDocument.1">
                  <p:embed/>
                  <p:pic>
                    <p:nvPicPr>
                      <p:cNvPr id="3" name="Object 2" hidden="1">
                        <a:extLst>
                          <a:ext uri="{FF2B5EF4-FFF2-40B4-BE49-F238E27FC236}">
                            <a16:creationId xmlns:a16="http://schemas.microsoft.com/office/drawing/2014/main" id="{EF4AD34F-3B47-47E2-A09C-FFEB949F6A10}"/>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endParaRPr lang="en-US" dirty="0"/>
          </a:p>
        </p:txBody>
      </p:sp>
      <p:sp>
        <p:nvSpPr>
          <p:cNvPr id="15" name="Slide Number"/>
          <p:cNvSpPr txBox="1">
            <a:spLocks/>
          </p:cNvSpPr>
          <p:nvPr/>
        </p:nvSpPr>
        <p:spPr>
          <a:xfrm>
            <a:off x="8564563" y="6508272"/>
            <a:ext cx="125034" cy="123111"/>
          </a:xfrm>
          <a:prstGeom prst="rect">
            <a:avLst/>
          </a:prstGeom>
        </p:spPr>
        <p:txBody>
          <a:bodyPr vert="horz" wrap="none" lIns="0" tIns="0" rIns="0" bIns="0" rtlCol="0" anchor="ctr">
            <a:spAutoFit/>
          </a:bodyPr>
          <a:lstStyle>
            <a:defPPr>
              <a:defRPr lang="en-US"/>
            </a:defPPr>
            <a:lvl1pPr>
              <a:defRPr sz="1000" baseline="0">
                <a:latin typeface="+mn-lt"/>
              </a:defRPr>
            </a:lvl1pPr>
          </a:lstStyle>
          <a:p>
            <a:fld id="{42C328C1-A84F-4A39-A664-DBA00541A8C6}" type="slidenum">
              <a:rPr lang="en-US" sz="800" baseline="0" smtClean="0">
                <a:solidFill>
                  <a:srgbClr val="FFFFFF"/>
                </a:solidFill>
                <a:latin typeface="+mn-lt"/>
              </a:rPr>
              <a:pPr/>
              <a:t>‹#›</a:t>
            </a:fld>
            <a:endParaRPr lang="en-US" sz="800" baseline="0" dirty="0">
              <a:solidFill>
                <a:srgbClr val="FFFFFF"/>
              </a:solidFill>
              <a:latin typeface="+mn-lt"/>
            </a:endParaRPr>
          </a:p>
        </p:txBody>
      </p:sp>
      <p:sp>
        <p:nvSpPr>
          <p:cNvPr id="16" name="SlideLogoText"/>
          <p:cNvSpPr>
            <a:spLocks noChangeArrowheads="1"/>
          </p:cNvSpPr>
          <p:nvPr>
            <p:custDataLst>
              <p:tags r:id="rId3"/>
            </p:custDataLst>
          </p:nvPr>
        </p:nvSpPr>
        <p:spPr bwMode="auto">
          <a:xfrm>
            <a:off x="7450817" y="6508272"/>
            <a:ext cx="1013098"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algn="r" defTabSz="895350"/>
            <a:r>
              <a:rPr lang="en-US" sz="800" baseline="0" dirty="0">
                <a:solidFill>
                  <a:srgbClr val="FFFFFF"/>
                </a:solidFill>
                <a:latin typeface="+mn-lt"/>
              </a:rPr>
              <a:t>McKinsey &amp; Company</a:t>
            </a:r>
          </a:p>
        </p:txBody>
      </p:sp>
      <p:sp>
        <p:nvSpPr>
          <p:cNvPr id="5" name="doc id" hidden="1"/>
          <p:cNvSpPr txBox="1">
            <a:spLocks noChangeArrowheads="1"/>
          </p:cNvSpPr>
          <p:nvPr/>
        </p:nvSpPr>
        <p:spPr bwMode="white">
          <a:xfrm>
            <a:off x="8104473" y="36513"/>
            <a:ext cx="634716" cy="115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hangingPunct="1">
              <a:defRPr/>
            </a:pPr>
            <a:endParaRPr lang="en-US" sz="800" baseline="0" dirty="0">
              <a:solidFill>
                <a:schemeClr val="accent1"/>
              </a:solidFill>
              <a:latin typeface="+mn-lt"/>
              <a:ea typeface="+mn-ea"/>
            </a:endParaRPr>
          </a:p>
        </p:txBody>
      </p:sp>
    </p:spTree>
    <p:extLst>
      <p:ext uri="{BB962C8B-B14F-4D97-AF65-F5344CB8AC3E}">
        <p14:creationId xmlns:p14="http://schemas.microsoft.com/office/powerpoint/2010/main" val="2664707945"/>
      </p:ext>
    </p:extLst>
  </p:cSld>
  <p:clrMapOvr>
    <a:masterClrMapping/>
  </p:clrMapOvr>
  <p:extLst mod="1">
    <p:ext uri="{DCECCB84-F9BA-43D5-87BE-67443E8EF086}">
      <p15:sldGuideLst xmlns:p15="http://schemas.microsoft.com/office/powerpoint/2012/main">
        <p15:guide id="1" pos="3978">
          <p15:clr>
            <a:srgbClr val="000000"/>
          </p15:clr>
        </p15:guide>
        <p15:guide id="2" orient="horz" pos="570">
          <p15:clr>
            <a:srgbClr val="000000"/>
          </p15:clr>
        </p15:guide>
        <p15:guide id="3" orient="horz" pos="3912">
          <p15:clr>
            <a:srgbClr val="000000"/>
          </p15:clr>
        </p15:guide>
        <p15:guide id="4" pos="72">
          <p15:clr>
            <a:srgbClr val="00000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type="titleOnly">
  <p:cSld name="2_Title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ECD524A-1569-4253-8CD8-48D288AD883C}"/>
              </a:ext>
            </a:extLst>
          </p:cNvPr>
          <p:cNvGraphicFramePr>
            <a:graphicFrameLocks noChangeAspect="1"/>
          </p:cNvGraphicFramePr>
          <p:nvPr>
            <p:custDataLst>
              <p:tags r:id="rId2"/>
            </p:custDataLst>
            <p:extLst>
              <p:ext uri="{D42A27DB-BD31-4B8C-83A1-F6EECF244321}">
                <p14:modId xmlns:p14="http://schemas.microsoft.com/office/powerpoint/2010/main" val="58040696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0980" name="think-cell Slide" r:id="rId4" imgW="395" imgH="394" progId="TCLayout.ActiveDocument.1">
                  <p:embed/>
                </p:oleObj>
              </mc:Choice>
              <mc:Fallback>
                <p:oleObj name="think-cell Slide" r:id="rId4" imgW="395" imgH="394" progId="TCLayout.ActiveDocument.1">
                  <p:embed/>
                  <p:pic>
                    <p:nvPicPr>
                      <p:cNvPr id="3" name="Object 2" hidden="1">
                        <a:extLst>
                          <a:ext uri="{FF2B5EF4-FFF2-40B4-BE49-F238E27FC236}">
                            <a16:creationId xmlns:a16="http://schemas.microsoft.com/office/drawing/2014/main" id="{5ECD524A-1569-4253-8CD8-48D288AD883C}"/>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656452647"/>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pic>
        <p:nvPicPr>
          <p:cNvPr id="2" name="background"/>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0" y="198"/>
            <a:ext cx="8961438" cy="6721079"/>
          </a:xfrm>
          <a:prstGeom prst="rect">
            <a:avLst/>
          </a:prstGeom>
        </p:spPr>
      </p:pic>
      <p:sp>
        <p:nvSpPr>
          <p:cNvPr id="28" name="TitleRectangle"/>
          <p:cNvSpPr txBox="1">
            <a:spLocks/>
          </p:cNvSpPr>
          <p:nvPr/>
        </p:nvSpPr>
        <p:spPr>
          <a:xfrm>
            <a:off x="2084388" y="0"/>
            <a:ext cx="6875462" cy="3575976"/>
          </a:xfrm>
          <a:prstGeom prst="rect">
            <a:avLst/>
          </a:prstGeom>
          <a:solidFill>
            <a:srgbClr val="002960">
              <a:alpha val="92000"/>
            </a:srgbClr>
          </a:solidFill>
        </p:spPr>
        <p:txBody>
          <a:bodyPr vert="horz" wrap="square" lIns="216000" tIns="1440000" rIns="216000" bIns="108000" rtlCol="0">
            <a:noAutofit/>
          </a:bodyPr>
          <a:lstStyle>
            <a:lvl1pPr marL="0" indent="0" algn="l" defTabSz="914400" rtl="0" eaLnBrk="1" latinLnBrk="0" hangingPunct="1">
              <a:spcBef>
                <a:spcPct val="20000"/>
              </a:spcBef>
              <a:spcAft>
                <a:spcPts val="6000"/>
              </a:spcAft>
              <a:buFont typeface="Arial" pitchFamily="34" charset="0"/>
              <a:buNone/>
              <a:defRPr sz="3200" kern="1200">
                <a:solidFill>
                  <a:schemeClr val="accent1"/>
                </a:solidFill>
                <a:latin typeface="+mn-lt"/>
                <a:ea typeface="+mn-ea"/>
                <a:cs typeface="+mn-cs"/>
              </a:defRPr>
            </a:lvl1pPr>
            <a:lvl2pPr marL="0" indent="0" algn="l" defTabSz="914400" rtl="0" eaLnBrk="1" latinLnBrk="0" hangingPunct="1">
              <a:spcBef>
                <a:spcPct val="20000"/>
              </a:spcBef>
              <a:buFont typeface="Wingdings" charset="2"/>
              <a:buNone/>
              <a:defRPr sz="1400" kern="1200">
                <a:solidFill>
                  <a:schemeClr val="tx1">
                    <a:lumMod val="50000"/>
                    <a:lumOff val="50000"/>
                  </a:schemeClr>
                </a:solidFill>
                <a:latin typeface="+mn-lt"/>
                <a:ea typeface="+mn-ea"/>
                <a:cs typeface="+mn-cs"/>
              </a:defRPr>
            </a:lvl2pPr>
            <a:lvl3pPr marL="1143000" indent="-228600" algn="l" defTabSz="914400" rtl="0" eaLnBrk="1" latinLnBrk="0" hangingPunct="1">
              <a:spcBef>
                <a:spcPct val="20000"/>
              </a:spcBef>
              <a:buFont typeface="Lucida Grande"/>
              <a:buChar char="–"/>
              <a:defRPr sz="16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fontAlgn="auto">
              <a:defRPr/>
            </a:pPr>
            <a:r>
              <a:rPr lang="en-US" baseline="0" dirty="0">
                <a:solidFill>
                  <a:srgbClr val="00ADEF"/>
                </a:solidFill>
                <a:latin typeface="+mn-lt"/>
              </a:rPr>
              <a:t>
              </a:t>
            </a:r>
            <a:br>
              <a:rPr lang="en-US" baseline="0" dirty="0">
                <a:solidFill>
                  <a:srgbClr val="00ADEF"/>
                </a:solidFill>
                <a:latin typeface="+mn-lt"/>
              </a:rPr>
            </a:br>
            <a:endParaRPr lang="en-US" baseline="0" dirty="0">
              <a:solidFill>
                <a:srgbClr val="00ADEF"/>
              </a:solidFill>
              <a:latin typeface="+mn-lt"/>
            </a:endParaRPr>
          </a:p>
        </p:txBody>
      </p:sp>
      <p:graphicFrame>
        <p:nvGraphicFramePr>
          <p:cNvPr id="3" name="Object 2"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3028"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Working Draft Text" hidden="1"/>
          <p:cNvSpPr txBox="1">
            <a:spLocks noChangeArrowheads="1"/>
          </p:cNvSpPr>
          <p:nvPr/>
        </p:nvSpPr>
        <p:spPr bwMode="black">
          <a:xfrm>
            <a:off x="5992719" y="6287538"/>
            <a:ext cx="2790000"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800" b="1" baseline="0" dirty="0">
                <a:solidFill>
                  <a:srgbClr val="FFFFFF"/>
                </a:solidFill>
                <a:latin typeface="+mn-lt"/>
              </a:rPr>
              <a:t>WORKING DRAFT</a:t>
            </a:r>
          </a:p>
        </p:txBody>
      </p:sp>
      <p:sp>
        <p:nvSpPr>
          <p:cNvPr id="6" name="Working Draft" hidden="1"/>
          <p:cNvSpPr txBox="1">
            <a:spLocks noChangeArrowheads="1"/>
          </p:cNvSpPr>
          <p:nvPr/>
        </p:nvSpPr>
        <p:spPr bwMode="black">
          <a:xfrm>
            <a:off x="5992718" y="6410648"/>
            <a:ext cx="2968719"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800" baseline="0">
                <a:solidFill>
                  <a:srgbClr val="FFFFFF"/>
                </a:solidFill>
                <a:latin typeface="+mn-lt"/>
              </a:rPr>
              <a:t>Last Modified 21/05/2018 17:44 India Standard Time</a:t>
            </a:r>
            <a:endParaRPr lang="en-US" sz="800" baseline="0" dirty="0">
              <a:solidFill>
                <a:srgbClr val="FFFFFF"/>
              </a:solidFill>
              <a:latin typeface="+mn-lt"/>
            </a:endParaRPr>
          </a:p>
        </p:txBody>
      </p:sp>
      <p:sp>
        <p:nvSpPr>
          <p:cNvPr id="7" name="Printed" hidden="1"/>
          <p:cNvSpPr txBox="1">
            <a:spLocks noChangeArrowheads="1"/>
          </p:cNvSpPr>
          <p:nvPr/>
        </p:nvSpPr>
        <p:spPr bwMode="black">
          <a:xfrm>
            <a:off x="5992719" y="6533759"/>
            <a:ext cx="2790000"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800" baseline="0" dirty="0">
                <a:solidFill>
                  <a:srgbClr val="FFFFFF"/>
                </a:solidFill>
                <a:latin typeface="+mn-lt"/>
              </a:rPr>
              <a:t>Printed</a:t>
            </a:r>
          </a:p>
        </p:txBody>
      </p:sp>
      <p:sp>
        <p:nvSpPr>
          <p:cNvPr id="13314" name="Title"/>
          <p:cNvSpPr>
            <a:spLocks noGrp="1" noChangeArrowheads="1"/>
          </p:cNvSpPr>
          <p:nvPr>
            <p:ph type="ctrTitle"/>
          </p:nvPr>
        </p:nvSpPr>
        <p:spPr>
          <a:xfrm>
            <a:off x="2268266" y="1434419"/>
            <a:ext cx="6231663" cy="492443"/>
          </a:xfrm>
          <a:prstGeom prst="rect">
            <a:avLst/>
          </a:prstGeom>
        </p:spPr>
        <p:txBody>
          <a:bodyPr>
            <a:spAutoFit/>
          </a:bodyPr>
          <a:lstStyle>
            <a:lvl1pPr>
              <a:defRPr sz="3200" b="0" baseline="0">
                <a:solidFill>
                  <a:schemeClr val="accent2"/>
                </a:solidFill>
                <a:latin typeface="+mj-lt"/>
                <a:ea typeface="+mj-ea"/>
              </a:defRPr>
            </a:lvl1pPr>
          </a:lstStyle>
          <a:p>
            <a:pPr lvl="0" latinLnBrk="0"/>
            <a:r>
              <a:rPr lang="en-US" noProof="0"/>
              <a:t>Click to edit Master title style</a:t>
            </a:r>
            <a:endParaRPr lang="en-US" noProof="0" dirty="0"/>
          </a:p>
        </p:txBody>
      </p:sp>
      <p:sp>
        <p:nvSpPr>
          <p:cNvPr id="13315" name="Subtitle"/>
          <p:cNvSpPr>
            <a:spLocks noGrp="1" noChangeArrowheads="1"/>
          </p:cNvSpPr>
          <p:nvPr>
            <p:ph type="subTitle" idx="1"/>
          </p:nvPr>
        </p:nvSpPr>
        <p:spPr>
          <a:xfrm>
            <a:off x="2268266" y="2819401"/>
            <a:ext cx="6231663" cy="215444"/>
          </a:xfrm>
          <a:prstGeom prst="rect">
            <a:avLst/>
          </a:prstGeom>
        </p:spPr>
        <p:txBody>
          <a:bodyPr wrap="square">
            <a:spAutoFit/>
          </a:bodyPr>
          <a:lstStyle>
            <a:lvl1pPr>
              <a:defRPr sz="1400" cap="all" baseline="0">
                <a:solidFill>
                  <a:schemeClr val="bg1"/>
                </a:solidFill>
                <a:latin typeface="+mn-lt"/>
                <a:ea typeface="+mn-ea"/>
              </a:defRPr>
            </a:lvl1pPr>
          </a:lstStyle>
          <a:p>
            <a:pPr lvl="0" latinLnBrk="0"/>
            <a:r>
              <a:rPr lang="en-US" noProof="0"/>
              <a:t>Click to edit Master subtitle style</a:t>
            </a:r>
            <a:endParaRPr lang="en-US" noProof="0" dirty="0"/>
          </a:p>
        </p:txBody>
      </p:sp>
      <p:sp>
        <p:nvSpPr>
          <p:cNvPr id="57" name="Document type" hidden="1"/>
          <p:cNvSpPr txBox="1">
            <a:spLocks noChangeArrowheads="1"/>
          </p:cNvSpPr>
          <p:nvPr/>
        </p:nvSpPr>
        <p:spPr bwMode="gray">
          <a:xfrm>
            <a:off x="2268266" y="3227411"/>
            <a:ext cx="6231663"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00" baseline="0" dirty="0">
                <a:solidFill>
                  <a:schemeClr val="bg1"/>
                </a:solidFill>
                <a:latin typeface="+mn-lt"/>
              </a:rPr>
              <a:t>Document type | Date</a:t>
            </a:r>
          </a:p>
        </p:txBody>
      </p:sp>
      <p:sp>
        <p:nvSpPr>
          <p:cNvPr id="5" name="doc id" hidden="1"/>
          <p:cNvSpPr txBox="1">
            <a:spLocks noChangeArrowheads="1"/>
          </p:cNvSpPr>
          <p:nvPr/>
        </p:nvSpPr>
        <p:spPr bwMode="white">
          <a:xfrm>
            <a:off x="8443913" y="36513"/>
            <a:ext cx="295275" cy="1222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hangingPunct="1">
              <a:defRPr/>
            </a:pPr>
            <a:endParaRPr lang="en-US" sz="800" baseline="0" dirty="0">
              <a:solidFill>
                <a:srgbClr val="FFFFFF"/>
              </a:solidFill>
              <a:latin typeface="+mn-lt"/>
            </a:endParaRPr>
          </a:p>
        </p:txBody>
      </p:sp>
      <p:sp>
        <p:nvSpPr>
          <p:cNvPr id="43" name="LogoImage"/>
          <p:cNvSpPr>
            <a:spLocks noEditPoints="1"/>
          </p:cNvSpPr>
          <p:nvPr/>
        </p:nvSpPr>
        <p:spPr bwMode="white">
          <a:xfrm>
            <a:off x="2269098" y="182925"/>
            <a:ext cx="2176978" cy="238073"/>
          </a:xfrm>
          <a:custGeom>
            <a:avLst/>
            <a:gdLst>
              <a:gd name="T0" fmla="*/ 504 w 5516"/>
              <a:gd name="T1" fmla="*/ 26 h 606"/>
              <a:gd name="T2" fmla="*/ 18 w 5516"/>
              <a:gd name="T3" fmla="*/ 22 h 606"/>
              <a:gd name="T4" fmla="*/ 140 w 5516"/>
              <a:gd name="T5" fmla="*/ 436 h 606"/>
              <a:gd name="T6" fmla="*/ 408 w 5516"/>
              <a:gd name="T7" fmla="*/ 372 h 606"/>
              <a:gd name="T8" fmla="*/ 696 w 5516"/>
              <a:gd name="T9" fmla="*/ 422 h 606"/>
              <a:gd name="T10" fmla="*/ 768 w 5516"/>
              <a:gd name="T11" fmla="*/ 196 h 606"/>
              <a:gd name="T12" fmla="*/ 1272 w 5516"/>
              <a:gd name="T13" fmla="*/ 26 h 606"/>
              <a:gd name="T14" fmla="*/ 1302 w 5516"/>
              <a:gd name="T15" fmla="*/ 338 h 606"/>
              <a:gd name="T16" fmla="*/ 1202 w 5516"/>
              <a:gd name="T17" fmla="*/ 436 h 606"/>
              <a:gd name="T18" fmla="*/ 1030 w 5516"/>
              <a:gd name="T19" fmla="*/ 10 h 606"/>
              <a:gd name="T20" fmla="*/ 960 w 5516"/>
              <a:gd name="T21" fmla="*/ 22 h 606"/>
              <a:gd name="T22" fmla="*/ 804 w 5516"/>
              <a:gd name="T23" fmla="*/ 434 h 606"/>
              <a:gd name="T24" fmla="*/ 930 w 5516"/>
              <a:gd name="T25" fmla="*/ 246 h 606"/>
              <a:gd name="T26" fmla="*/ 1658 w 5516"/>
              <a:gd name="T27" fmla="*/ 342 h 606"/>
              <a:gd name="T28" fmla="*/ 1368 w 5516"/>
              <a:gd name="T29" fmla="*/ 188 h 606"/>
              <a:gd name="T30" fmla="*/ 1514 w 5516"/>
              <a:gd name="T31" fmla="*/ 436 h 606"/>
              <a:gd name="T32" fmla="*/ 1564 w 5516"/>
              <a:gd name="T33" fmla="*/ 434 h 606"/>
              <a:gd name="T34" fmla="*/ 1904 w 5516"/>
              <a:gd name="T35" fmla="*/ 184 h 606"/>
              <a:gd name="T36" fmla="*/ 1728 w 5516"/>
              <a:gd name="T37" fmla="*/ 366 h 606"/>
              <a:gd name="T38" fmla="*/ 2102 w 5516"/>
              <a:gd name="T39" fmla="*/ 192 h 606"/>
              <a:gd name="T40" fmla="*/ 1982 w 5516"/>
              <a:gd name="T41" fmla="*/ 320 h 606"/>
              <a:gd name="T42" fmla="*/ 2478 w 5516"/>
              <a:gd name="T43" fmla="*/ 242 h 606"/>
              <a:gd name="T44" fmla="*/ 2406 w 5516"/>
              <a:gd name="T45" fmla="*/ 390 h 606"/>
              <a:gd name="T46" fmla="*/ 2234 w 5516"/>
              <a:gd name="T47" fmla="*/ 192 h 606"/>
              <a:gd name="T48" fmla="*/ 2478 w 5516"/>
              <a:gd name="T49" fmla="*/ 242 h 606"/>
              <a:gd name="T50" fmla="*/ 2928 w 5516"/>
              <a:gd name="T51" fmla="*/ 448 h 606"/>
              <a:gd name="T52" fmla="*/ 2958 w 5516"/>
              <a:gd name="T53" fmla="*/ 230 h 606"/>
              <a:gd name="T54" fmla="*/ 2716 w 5516"/>
              <a:gd name="T55" fmla="*/ 54 h 606"/>
              <a:gd name="T56" fmla="*/ 2714 w 5516"/>
              <a:gd name="T57" fmla="*/ 36 h 606"/>
              <a:gd name="T58" fmla="*/ 2928 w 5516"/>
              <a:gd name="T59" fmla="*/ 448 h 606"/>
              <a:gd name="T60" fmla="*/ 3388 w 5516"/>
              <a:gd name="T61" fmla="*/ 4 h 606"/>
              <a:gd name="T62" fmla="*/ 3396 w 5516"/>
              <a:gd name="T63" fmla="*/ 366 h 606"/>
              <a:gd name="T64" fmla="*/ 3580 w 5516"/>
              <a:gd name="T65" fmla="*/ 190 h 606"/>
              <a:gd name="T66" fmla="*/ 3502 w 5516"/>
              <a:gd name="T67" fmla="*/ 432 h 606"/>
              <a:gd name="T68" fmla="*/ 4232 w 5516"/>
              <a:gd name="T69" fmla="*/ 348 h 606"/>
              <a:gd name="T70" fmla="*/ 3858 w 5516"/>
              <a:gd name="T71" fmla="*/ 176 h 606"/>
              <a:gd name="T72" fmla="*/ 3758 w 5516"/>
              <a:gd name="T73" fmla="*/ 446 h 606"/>
              <a:gd name="T74" fmla="*/ 3990 w 5516"/>
              <a:gd name="T75" fmla="*/ 282 h 606"/>
              <a:gd name="T76" fmla="*/ 4042 w 5516"/>
              <a:gd name="T77" fmla="*/ 342 h 606"/>
              <a:gd name="T78" fmla="*/ 4134 w 5516"/>
              <a:gd name="T79" fmla="*/ 448 h 606"/>
              <a:gd name="T80" fmla="*/ 4454 w 5516"/>
              <a:gd name="T81" fmla="*/ 202 h 606"/>
              <a:gd name="T82" fmla="*/ 4284 w 5516"/>
              <a:gd name="T83" fmla="*/ 174 h 606"/>
              <a:gd name="T84" fmla="*/ 4432 w 5516"/>
              <a:gd name="T85" fmla="*/ 588 h 606"/>
              <a:gd name="T86" fmla="*/ 4792 w 5516"/>
              <a:gd name="T87" fmla="*/ 382 h 606"/>
              <a:gd name="T88" fmla="*/ 5192 w 5516"/>
              <a:gd name="T89" fmla="*/ 340 h 606"/>
              <a:gd name="T90" fmla="*/ 4902 w 5516"/>
              <a:gd name="T91" fmla="*/ 186 h 606"/>
              <a:gd name="T92" fmla="*/ 4850 w 5516"/>
              <a:gd name="T93" fmla="*/ 274 h 606"/>
              <a:gd name="T94" fmla="*/ 4742 w 5516"/>
              <a:gd name="T95" fmla="*/ 194 h 606"/>
              <a:gd name="T96" fmla="*/ 4794 w 5516"/>
              <a:gd name="T97" fmla="*/ 418 h 606"/>
              <a:gd name="T98" fmla="*/ 5004 w 5516"/>
              <a:gd name="T99" fmla="*/ 338 h 606"/>
              <a:gd name="T100" fmla="*/ 5098 w 5516"/>
              <a:gd name="T101" fmla="*/ 446 h 606"/>
              <a:gd name="T102" fmla="*/ 5418 w 5516"/>
              <a:gd name="T103" fmla="*/ 192 h 606"/>
              <a:gd name="T104" fmla="*/ 5348 w 5516"/>
              <a:gd name="T105" fmla="*/ 180 h 606"/>
              <a:gd name="T106" fmla="*/ 5254 w 5516"/>
              <a:gd name="T107" fmla="*/ 606 h 6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516" h="606">
                <a:moveTo>
                  <a:pt x="366" y="448"/>
                </a:moveTo>
                <a:cubicBezTo>
                  <a:pt x="524" y="448"/>
                  <a:pt x="524" y="448"/>
                  <a:pt x="524" y="448"/>
                </a:cubicBezTo>
                <a:cubicBezTo>
                  <a:pt x="524" y="436"/>
                  <a:pt x="524" y="436"/>
                  <a:pt x="524" y="436"/>
                </a:cubicBezTo>
                <a:cubicBezTo>
                  <a:pt x="486" y="432"/>
                  <a:pt x="470" y="414"/>
                  <a:pt x="468" y="362"/>
                </a:cubicBezTo>
                <a:cubicBezTo>
                  <a:pt x="454" y="86"/>
                  <a:pt x="454" y="86"/>
                  <a:pt x="454" y="86"/>
                </a:cubicBezTo>
                <a:cubicBezTo>
                  <a:pt x="452" y="46"/>
                  <a:pt x="470" y="30"/>
                  <a:pt x="504" y="26"/>
                </a:cubicBezTo>
                <a:cubicBezTo>
                  <a:pt x="504" y="12"/>
                  <a:pt x="504" y="12"/>
                  <a:pt x="504" y="12"/>
                </a:cubicBezTo>
                <a:cubicBezTo>
                  <a:pt x="394" y="12"/>
                  <a:pt x="394" y="12"/>
                  <a:pt x="394" y="12"/>
                </a:cubicBezTo>
                <a:cubicBezTo>
                  <a:pt x="264" y="350"/>
                  <a:pt x="264" y="350"/>
                  <a:pt x="264" y="350"/>
                </a:cubicBezTo>
                <a:cubicBezTo>
                  <a:pt x="132" y="10"/>
                  <a:pt x="132" y="10"/>
                  <a:pt x="132" y="10"/>
                </a:cubicBezTo>
                <a:cubicBezTo>
                  <a:pt x="18" y="10"/>
                  <a:pt x="18" y="10"/>
                  <a:pt x="18" y="10"/>
                </a:cubicBezTo>
                <a:cubicBezTo>
                  <a:pt x="18" y="22"/>
                  <a:pt x="18" y="22"/>
                  <a:pt x="18" y="22"/>
                </a:cubicBezTo>
                <a:cubicBezTo>
                  <a:pt x="40" y="26"/>
                  <a:pt x="74" y="32"/>
                  <a:pt x="72" y="84"/>
                </a:cubicBezTo>
                <a:cubicBezTo>
                  <a:pt x="58" y="352"/>
                  <a:pt x="58" y="352"/>
                  <a:pt x="58" y="352"/>
                </a:cubicBezTo>
                <a:cubicBezTo>
                  <a:pt x="54" y="410"/>
                  <a:pt x="38" y="430"/>
                  <a:pt x="0" y="436"/>
                </a:cubicBezTo>
                <a:cubicBezTo>
                  <a:pt x="0" y="448"/>
                  <a:pt x="0" y="448"/>
                  <a:pt x="0" y="448"/>
                </a:cubicBezTo>
                <a:cubicBezTo>
                  <a:pt x="140" y="448"/>
                  <a:pt x="140" y="448"/>
                  <a:pt x="140" y="448"/>
                </a:cubicBezTo>
                <a:cubicBezTo>
                  <a:pt x="140" y="436"/>
                  <a:pt x="140" y="436"/>
                  <a:pt x="140" y="436"/>
                </a:cubicBezTo>
                <a:cubicBezTo>
                  <a:pt x="98" y="428"/>
                  <a:pt x="84" y="414"/>
                  <a:pt x="88" y="356"/>
                </a:cubicBezTo>
                <a:cubicBezTo>
                  <a:pt x="100" y="86"/>
                  <a:pt x="100" y="86"/>
                  <a:pt x="100" y="86"/>
                </a:cubicBezTo>
                <a:cubicBezTo>
                  <a:pt x="240" y="444"/>
                  <a:pt x="240" y="444"/>
                  <a:pt x="240" y="444"/>
                </a:cubicBezTo>
                <a:cubicBezTo>
                  <a:pt x="258" y="444"/>
                  <a:pt x="258" y="444"/>
                  <a:pt x="258" y="444"/>
                </a:cubicBezTo>
                <a:cubicBezTo>
                  <a:pt x="396" y="86"/>
                  <a:pt x="396" y="86"/>
                  <a:pt x="396" y="86"/>
                </a:cubicBezTo>
                <a:cubicBezTo>
                  <a:pt x="408" y="372"/>
                  <a:pt x="408" y="372"/>
                  <a:pt x="408" y="372"/>
                </a:cubicBezTo>
                <a:cubicBezTo>
                  <a:pt x="410" y="416"/>
                  <a:pt x="398" y="430"/>
                  <a:pt x="366" y="434"/>
                </a:cubicBezTo>
                <a:lnTo>
                  <a:pt x="366" y="448"/>
                </a:lnTo>
                <a:close/>
                <a:moveTo>
                  <a:pt x="670" y="456"/>
                </a:moveTo>
                <a:cubicBezTo>
                  <a:pt x="708" y="456"/>
                  <a:pt x="756" y="440"/>
                  <a:pt x="782" y="412"/>
                </a:cubicBezTo>
                <a:cubicBezTo>
                  <a:pt x="776" y="400"/>
                  <a:pt x="776" y="400"/>
                  <a:pt x="776" y="400"/>
                </a:cubicBezTo>
                <a:cubicBezTo>
                  <a:pt x="750" y="416"/>
                  <a:pt x="722" y="422"/>
                  <a:pt x="696" y="422"/>
                </a:cubicBezTo>
                <a:cubicBezTo>
                  <a:pt x="620" y="422"/>
                  <a:pt x="592" y="358"/>
                  <a:pt x="592" y="290"/>
                </a:cubicBezTo>
                <a:cubicBezTo>
                  <a:pt x="592" y="258"/>
                  <a:pt x="600" y="236"/>
                  <a:pt x="614" y="222"/>
                </a:cubicBezTo>
                <a:cubicBezTo>
                  <a:pt x="626" y="210"/>
                  <a:pt x="646" y="204"/>
                  <a:pt x="664" y="204"/>
                </a:cubicBezTo>
                <a:cubicBezTo>
                  <a:pt x="690" y="204"/>
                  <a:pt x="722" y="214"/>
                  <a:pt x="744" y="244"/>
                </a:cubicBezTo>
                <a:cubicBezTo>
                  <a:pt x="750" y="244"/>
                  <a:pt x="750" y="244"/>
                  <a:pt x="750" y="244"/>
                </a:cubicBezTo>
                <a:cubicBezTo>
                  <a:pt x="758" y="234"/>
                  <a:pt x="766" y="212"/>
                  <a:pt x="768" y="196"/>
                </a:cubicBezTo>
                <a:cubicBezTo>
                  <a:pt x="748" y="180"/>
                  <a:pt x="720" y="172"/>
                  <a:pt x="686" y="172"/>
                </a:cubicBezTo>
                <a:cubicBezTo>
                  <a:pt x="604" y="172"/>
                  <a:pt x="544" y="246"/>
                  <a:pt x="544" y="326"/>
                </a:cubicBezTo>
                <a:cubicBezTo>
                  <a:pt x="540" y="390"/>
                  <a:pt x="576" y="456"/>
                  <a:pt x="670" y="456"/>
                </a:cubicBezTo>
                <a:moveTo>
                  <a:pt x="1272" y="98"/>
                </a:moveTo>
                <a:cubicBezTo>
                  <a:pt x="1292" y="98"/>
                  <a:pt x="1308" y="82"/>
                  <a:pt x="1308" y="62"/>
                </a:cubicBezTo>
                <a:cubicBezTo>
                  <a:pt x="1308" y="42"/>
                  <a:pt x="1292" y="26"/>
                  <a:pt x="1272" y="26"/>
                </a:cubicBezTo>
                <a:cubicBezTo>
                  <a:pt x="1252" y="26"/>
                  <a:pt x="1238" y="42"/>
                  <a:pt x="1238" y="62"/>
                </a:cubicBezTo>
                <a:cubicBezTo>
                  <a:pt x="1238" y="82"/>
                  <a:pt x="1252" y="98"/>
                  <a:pt x="1272" y="98"/>
                </a:cubicBezTo>
                <a:moveTo>
                  <a:pt x="1202" y="448"/>
                </a:moveTo>
                <a:cubicBezTo>
                  <a:pt x="1346" y="448"/>
                  <a:pt x="1346" y="448"/>
                  <a:pt x="1346" y="448"/>
                </a:cubicBezTo>
                <a:cubicBezTo>
                  <a:pt x="1346" y="436"/>
                  <a:pt x="1346" y="436"/>
                  <a:pt x="1346" y="436"/>
                </a:cubicBezTo>
                <a:cubicBezTo>
                  <a:pt x="1304" y="432"/>
                  <a:pt x="1302" y="434"/>
                  <a:pt x="1302" y="338"/>
                </a:cubicBezTo>
                <a:cubicBezTo>
                  <a:pt x="1302" y="176"/>
                  <a:pt x="1302" y="176"/>
                  <a:pt x="1302" y="176"/>
                </a:cubicBezTo>
                <a:cubicBezTo>
                  <a:pt x="1200" y="176"/>
                  <a:pt x="1200" y="176"/>
                  <a:pt x="1200" y="176"/>
                </a:cubicBezTo>
                <a:cubicBezTo>
                  <a:pt x="1200" y="188"/>
                  <a:pt x="1200" y="188"/>
                  <a:pt x="1200" y="188"/>
                </a:cubicBezTo>
                <a:cubicBezTo>
                  <a:pt x="1244" y="190"/>
                  <a:pt x="1250" y="192"/>
                  <a:pt x="1250" y="268"/>
                </a:cubicBezTo>
                <a:cubicBezTo>
                  <a:pt x="1250" y="336"/>
                  <a:pt x="1250" y="336"/>
                  <a:pt x="1250" y="336"/>
                </a:cubicBezTo>
                <a:cubicBezTo>
                  <a:pt x="1250" y="432"/>
                  <a:pt x="1248" y="432"/>
                  <a:pt x="1202" y="436"/>
                </a:cubicBezTo>
                <a:cubicBezTo>
                  <a:pt x="1178" y="434"/>
                  <a:pt x="1154" y="426"/>
                  <a:pt x="1076" y="338"/>
                </a:cubicBezTo>
                <a:cubicBezTo>
                  <a:pt x="1046" y="302"/>
                  <a:pt x="996" y="244"/>
                  <a:pt x="968" y="206"/>
                </a:cubicBezTo>
                <a:cubicBezTo>
                  <a:pt x="1062" y="102"/>
                  <a:pt x="1062" y="102"/>
                  <a:pt x="1062" y="102"/>
                </a:cubicBezTo>
                <a:cubicBezTo>
                  <a:pt x="1108" y="52"/>
                  <a:pt x="1132" y="26"/>
                  <a:pt x="1176" y="24"/>
                </a:cubicBezTo>
                <a:cubicBezTo>
                  <a:pt x="1176" y="10"/>
                  <a:pt x="1176" y="10"/>
                  <a:pt x="1176" y="10"/>
                </a:cubicBezTo>
                <a:cubicBezTo>
                  <a:pt x="1030" y="10"/>
                  <a:pt x="1030" y="10"/>
                  <a:pt x="1030" y="10"/>
                </a:cubicBezTo>
                <a:cubicBezTo>
                  <a:pt x="1030" y="22"/>
                  <a:pt x="1030" y="22"/>
                  <a:pt x="1030" y="22"/>
                </a:cubicBezTo>
                <a:cubicBezTo>
                  <a:pt x="1050" y="26"/>
                  <a:pt x="1056" y="32"/>
                  <a:pt x="1056" y="46"/>
                </a:cubicBezTo>
                <a:cubicBezTo>
                  <a:pt x="1056" y="56"/>
                  <a:pt x="1054" y="72"/>
                  <a:pt x="1026" y="102"/>
                </a:cubicBezTo>
                <a:cubicBezTo>
                  <a:pt x="910" y="230"/>
                  <a:pt x="910" y="230"/>
                  <a:pt x="910" y="230"/>
                </a:cubicBezTo>
                <a:cubicBezTo>
                  <a:pt x="910" y="148"/>
                  <a:pt x="910" y="148"/>
                  <a:pt x="910" y="148"/>
                </a:cubicBezTo>
                <a:cubicBezTo>
                  <a:pt x="910" y="36"/>
                  <a:pt x="916" y="28"/>
                  <a:pt x="960" y="22"/>
                </a:cubicBezTo>
                <a:cubicBezTo>
                  <a:pt x="960" y="8"/>
                  <a:pt x="960" y="8"/>
                  <a:pt x="960" y="8"/>
                </a:cubicBezTo>
                <a:cubicBezTo>
                  <a:pt x="804" y="8"/>
                  <a:pt x="804" y="8"/>
                  <a:pt x="804" y="8"/>
                </a:cubicBezTo>
                <a:cubicBezTo>
                  <a:pt x="804" y="22"/>
                  <a:pt x="804" y="22"/>
                  <a:pt x="804" y="22"/>
                </a:cubicBezTo>
                <a:cubicBezTo>
                  <a:pt x="852" y="26"/>
                  <a:pt x="854" y="36"/>
                  <a:pt x="854" y="148"/>
                </a:cubicBezTo>
                <a:cubicBezTo>
                  <a:pt x="854" y="300"/>
                  <a:pt x="854" y="300"/>
                  <a:pt x="854" y="300"/>
                </a:cubicBezTo>
                <a:cubicBezTo>
                  <a:pt x="854" y="422"/>
                  <a:pt x="850" y="430"/>
                  <a:pt x="804" y="434"/>
                </a:cubicBezTo>
                <a:cubicBezTo>
                  <a:pt x="804" y="446"/>
                  <a:pt x="804" y="446"/>
                  <a:pt x="804" y="446"/>
                </a:cubicBezTo>
                <a:cubicBezTo>
                  <a:pt x="960" y="446"/>
                  <a:pt x="960" y="446"/>
                  <a:pt x="960" y="446"/>
                </a:cubicBezTo>
                <a:cubicBezTo>
                  <a:pt x="960" y="434"/>
                  <a:pt x="960" y="434"/>
                  <a:pt x="960" y="434"/>
                </a:cubicBezTo>
                <a:cubicBezTo>
                  <a:pt x="910" y="428"/>
                  <a:pt x="910" y="424"/>
                  <a:pt x="910" y="292"/>
                </a:cubicBezTo>
                <a:cubicBezTo>
                  <a:pt x="910" y="268"/>
                  <a:pt x="910" y="268"/>
                  <a:pt x="910" y="268"/>
                </a:cubicBezTo>
                <a:cubicBezTo>
                  <a:pt x="930" y="246"/>
                  <a:pt x="930" y="246"/>
                  <a:pt x="930" y="246"/>
                </a:cubicBezTo>
                <a:cubicBezTo>
                  <a:pt x="982" y="310"/>
                  <a:pt x="1038" y="380"/>
                  <a:pt x="1098" y="448"/>
                </a:cubicBezTo>
                <a:cubicBezTo>
                  <a:pt x="1202" y="448"/>
                  <a:pt x="1202" y="448"/>
                  <a:pt x="1202" y="448"/>
                </a:cubicBezTo>
                <a:close/>
                <a:moveTo>
                  <a:pt x="1564" y="448"/>
                </a:moveTo>
                <a:cubicBezTo>
                  <a:pt x="1706" y="448"/>
                  <a:pt x="1706" y="448"/>
                  <a:pt x="1706" y="448"/>
                </a:cubicBezTo>
                <a:cubicBezTo>
                  <a:pt x="1706" y="436"/>
                  <a:pt x="1706" y="436"/>
                  <a:pt x="1706" y="436"/>
                </a:cubicBezTo>
                <a:cubicBezTo>
                  <a:pt x="1658" y="434"/>
                  <a:pt x="1658" y="432"/>
                  <a:pt x="1658" y="342"/>
                </a:cubicBezTo>
                <a:cubicBezTo>
                  <a:pt x="1658" y="280"/>
                  <a:pt x="1658" y="280"/>
                  <a:pt x="1658" y="280"/>
                </a:cubicBezTo>
                <a:cubicBezTo>
                  <a:pt x="1658" y="198"/>
                  <a:pt x="1612" y="172"/>
                  <a:pt x="1570" y="172"/>
                </a:cubicBezTo>
                <a:cubicBezTo>
                  <a:pt x="1534" y="172"/>
                  <a:pt x="1498" y="188"/>
                  <a:pt x="1470" y="224"/>
                </a:cubicBezTo>
                <a:cubicBezTo>
                  <a:pt x="1470" y="176"/>
                  <a:pt x="1470" y="176"/>
                  <a:pt x="1470" y="176"/>
                </a:cubicBezTo>
                <a:cubicBezTo>
                  <a:pt x="1368" y="176"/>
                  <a:pt x="1368" y="176"/>
                  <a:pt x="1368" y="176"/>
                </a:cubicBezTo>
                <a:cubicBezTo>
                  <a:pt x="1368" y="188"/>
                  <a:pt x="1368" y="188"/>
                  <a:pt x="1368" y="188"/>
                </a:cubicBezTo>
                <a:cubicBezTo>
                  <a:pt x="1412" y="190"/>
                  <a:pt x="1418" y="192"/>
                  <a:pt x="1418" y="268"/>
                </a:cubicBezTo>
                <a:cubicBezTo>
                  <a:pt x="1418" y="336"/>
                  <a:pt x="1418" y="336"/>
                  <a:pt x="1418" y="336"/>
                </a:cubicBezTo>
                <a:cubicBezTo>
                  <a:pt x="1418" y="434"/>
                  <a:pt x="1418" y="434"/>
                  <a:pt x="1370" y="436"/>
                </a:cubicBezTo>
                <a:cubicBezTo>
                  <a:pt x="1370" y="448"/>
                  <a:pt x="1370" y="448"/>
                  <a:pt x="1370" y="448"/>
                </a:cubicBezTo>
                <a:cubicBezTo>
                  <a:pt x="1514" y="448"/>
                  <a:pt x="1514" y="448"/>
                  <a:pt x="1514" y="448"/>
                </a:cubicBezTo>
                <a:cubicBezTo>
                  <a:pt x="1514" y="436"/>
                  <a:pt x="1514" y="436"/>
                  <a:pt x="1514" y="436"/>
                </a:cubicBezTo>
                <a:cubicBezTo>
                  <a:pt x="1472" y="432"/>
                  <a:pt x="1470" y="434"/>
                  <a:pt x="1470" y="338"/>
                </a:cubicBezTo>
                <a:cubicBezTo>
                  <a:pt x="1470" y="262"/>
                  <a:pt x="1470" y="262"/>
                  <a:pt x="1470" y="262"/>
                </a:cubicBezTo>
                <a:cubicBezTo>
                  <a:pt x="1470" y="236"/>
                  <a:pt x="1504" y="206"/>
                  <a:pt x="1546" y="206"/>
                </a:cubicBezTo>
                <a:cubicBezTo>
                  <a:pt x="1580" y="206"/>
                  <a:pt x="1606" y="220"/>
                  <a:pt x="1606" y="286"/>
                </a:cubicBezTo>
                <a:cubicBezTo>
                  <a:pt x="1606" y="340"/>
                  <a:pt x="1606" y="340"/>
                  <a:pt x="1606" y="340"/>
                </a:cubicBezTo>
                <a:cubicBezTo>
                  <a:pt x="1606" y="432"/>
                  <a:pt x="1602" y="432"/>
                  <a:pt x="1564" y="434"/>
                </a:cubicBezTo>
                <a:lnTo>
                  <a:pt x="1564" y="448"/>
                </a:lnTo>
                <a:close/>
                <a:moveTo>
                  <a:pt x="1776" y="222"/>
                </a:moveTo>
                <a:cubicBezTo>
                  <a:pt x="1776" y="200"/>
                  <a:pt x="1796" y="188"/>
                  <a:pt x="1822" y="188"/>
                </a:cubicBezTo>
                <a:cubicBezTo>
                  <a:pt x="1874" y="188"/>
                  <a:pt x="1896" y="236"/>
                  <a:pt x="1900" y="252"/>
                </a:cubicBezTo>
                <a:cubicBezTo>
                  <a:pt x="1912" y="252"/>
                  <a:pt x="1912" y="252"/>
                  <a:pt x="1912" y="252"/>
                </a:cubicBezTo>
                <a:cubicBezTo>
                  <a:pt x="1912" y="212"/>
                  <a:pt x="1908" y="188"/>
                  <a:pt x="1904" y="184"/>
                </a:cubicBezTo>
                <a:cubicBezTo>
                  <a:pt x="1900" y="180"/>
                  <a:pt x="1862" y="170"/>
                  <a:pt x="1824" y="170"/>
                </a:cubicBezTo>
                <a:cubicBezTo>
                  <a:pt x="1768" y="170"/>
                  <a:pt x="1734" y="206"/>
                  <a:pt x="1734" y="248"/>
                </a:cubicBezTo>
                <a:cubicBezTo>
                  <a:pt x="1734" y="340"/>
                  <a:pt x="1890" y="322"/>
                  <a:pt x="1890" y="396"/>
                </a:cubicBezTo>
                <a:cubicBezTo>
                  <a:pt x="1890" y="422"/>
                  <a:pt x="1866" y="436"/>
                  <a:pt x="1826" y="436"/>
                </a:cubicBezTo>
                <a:cubicBezTo>
                  <a:pt x="1788" y="436"/>
                  <a:pt x="1754" y="416"/>
                  <a:pt x="1744" y="366"/>
                </a:cubicBezTo>
                <a:cubicBezTo>
                  <a:pt x="1728" y="366"/>
                  <a:pt x="1728" y="366"/>
                  <a:pt x="1728" y="366"/>
                </a:cubicBezTo>
                <a:cubicBezTo>
                  <a:pt x="1728" y="386"/>
                  <a:pt x="1732" y="422"/>
                  <a:pt x="1734" y="428"/>
                </a:cubicBezTo>
                <a:cubicBezTo>
                  <a:pt x="1744" y="446"/>
                  <a:pt x="1788" y="454"/>
                  <a:pt x="1824" y="454"/>
                </a:cubicBezTo>
                <a:cubicBezTo>
                  <a:pt x="1888" y="454"/>
                  <a:pt x="1928" y="416"/>
                  <a:pt x="1928" y="372"/>
                </a:cubicBezTo>
                <a:cubicBezTo>
                  <a:pt x="1932" y="270"/>
                  <a:pt x="1776" y="286"/>
                  <a:pt x="1776" y="222"/>
                </a:cubicBezTo>
                <a:moveTo>
                  <a:pt x="2030" y="270"/>
                </a:moveTo>
                <a:cubicBezTo>
                  <a:pt x="2034" y="220"/>
                  <a:pt x="2058" y="192"/>
                  <a:pt x="2102" y="192"/>
                </a:cubicBezTo>
                <a:cubicBezTo>
                  <a:pt x="2144" y="192"/>
                  <a:pt x="2170" y="220"/>
                  <a:pt x="2172" y="270"/>
                </a:cubicBezTo>
                <a:lnTo>
                  <a:pt x="2030" y="270"/>
                </a:lnTo>
                <a:close/>
                <a:moveTo>
                  <a:pt x="2030" y="290"/>
                </a:moveTo>
                <a:cubicBezTo>
                  <a:pt x="2222" y="290"/>
                  <a:pt x="2222" y="290"/>
                  <a:pt x="2222" y="290"/>
                </a:cubicBezTo>
                <a:cubicBezTo>
                  <a:pt x="2226" y="228"/>
                  <a:pt x="2192" y="168"/>
                  <a:pt x="2114" y="168"/>
                </a:cubicBezTo>
                <a:cubicBezTo>
                  <a:pt x="2034" y="168"/>
                  <a:pt x="1982" y="232"/>
                  <a:pt x="1982" y="320"/>
                </a:cubicBezTo>
                <a:cubicBezTo>
                  <a:pt x="1982" y="388"/>
                  <a:pt x="2018" y="456"/>
                  <a:pt x="2112" y="456"/>
                </a:cubicBezTo>
                <a:cubicBezTo>
                  <a:pt x="2150" y="456"/>
                  <a:pt x="2198" y="440"/>
                  <a:pt x="2224" y="412"/>
                </a:cubicBezTo>
                <a:cubicBezTo>
                  <a:pt x="2218" y="400"/>
                  <a:pt x="2218" y="400"/>
                  <a:pt x="2218" y="400"/>
                </a:cubicBezTo>
                <a:cubicBezTo>
                  <a:pt x="2192" y="416"/>
                  <a:pt x="2164" y="422"/>
                  <a:pt x="2138" y="422"/>
                </a:cubicBezTo>
                <a:cubicBezTo>
                  <a:pt x="2058" y="420"/>
                  <a:pt x="2028" y="352"/>
                  <a:pt x="2030" y="290"/>
                </a:cubicBezTo>
                <a:moveTo>
                  <a:pt x="2478" y="242"/>
                </a:moveTo>
                <a:cubicBezTo>
                  <a:pt x="2490" y="206"/>
                  <a:pt x="2510" y="192"/>
                  <a:pt x="2528" y="192"/>
                </a:cubicBezTo>
                <a:cubicBezTo>
                  <a:pt x="2528" y="180"/>
                  <a:pt x="2528" y="180"/>
                  <a:pt x="2528" y="180"/>
                </a:cubicBezTo>
                <a:cubicBezTo>
                  <a:pt x="2430" y="180"/>
                  <a:pt x="2430" y="180"/>
                  <a:pt x="2430" y="180"/>
                </a:cubicBezTo>
                <a:cubicBezTo>
                  <a:pt x="2430" y="192"/>
                  <a:pt x="2430" y="192"/>
                  <a:pt x="2430" y="192"/>
                </a:cubicBezTo>
                <a:cubicBezTo>
                  <a:pt x="2454" y="194"/>
                  <a:pt x="2466" y="206"/>
                  <a:pt x="2458" y="234"/>
                </a:cubicBezTo>
                <a:cubicBezTo>
                  <a:pt x="2406" y="390"/>
                  <a:pt x="2406" y="390"/>
                  <a:pt x="2406" y="390"/>
                </a:cubicBezTo>
                <a:cubicBezTo>
                  <a:pt x="2354" y="270"/>
                  <a:pt x="2354" y="270"/>
                  <a:pt x="2354" y="270"/>
                </a:cubicBezTo>
                <a:cubicBezTo>
                  <a:pt x="2340" y="238"/>
                  <a:pt x="2334" y="224"/>
                  <a:pt x="2334" y="212"/>
                </a:cubicBezTo>
                <a:cubicBezTo>
                  <a:pt x="2334" y="202"/>
                  <a:pt x="2340" y="196"/>
                  <a:pt x="2360" y="192"/>
                </a:cubicBezTo>
                <a:cubicBezTo>
                  <a:pt x="2360" y="180"/>
                  <a:pt x="2360" y="180"/>
                  <a:pt x="2360" y="180"/>
                </a:cubicBezTo>
                <a:cubicBezTo>
                  <a:pt x="2234" y="180"/>
                  <a:pt x="2234" y="180"/>
                  <a:pt x="2234" y="180"/>
                </a:cubicBezTo>
                <a:cubicBezTo>
                  <a:pt x="2234" y="192"/>
                  <a:pt x="2234" y="192"/>
                  <a:pt x="2234" y="192"/>
                </a:cubicBezTo>
                <a:cubicBezTo>
                  <a:pt x="2266" y="194"/>
                  <a:pt x="2268" y="198"/>
                  <a:pt x="2310" y="292"/>
                </a:cubicBezTo>
                <a:cubicBezTo>
                  <a:pt x="2382" y="450"/>
                  <a:pt x="2382" y="450"/>
                  <a:pt x="2382" y="450"/>
                </a:cubicBezTo>
                <a:cubicBezTo>
                  <a:pt x="2358" y="512"/>
                  <a:pt x="2320" y="546"/>
                  <a:pt x="2242" y="564"/>
                </a:cubicBezTo>
                <a:cubicBezTo>
                  <a:pt x="2246" y="576"/>
                  <a:pt x="2260" y="600"/>
                  <a:pt x="2268" y="606"/>
                </a:cubicBezTo>
                <a:cubicBezTo>
                  <a:pt x="2370" y="564"/>
                  <a:pt x="2390" y="498"/>
                  <a:pt x="2426" y="396"/>
                </a:cubicBezTo>
                <a:lnTo>
                  <a:pt x="2478" y="242"/>
                </a:lnTo>
                <a:close/>
                <a:moveTo>
                  <a:pt x="2844" y="394"/>
                </a:moveTo>
                <a:cubicBezTo>
                  <a:pt x="2822" y="412"/>
                  <a:pt x="2782" y="416"/>
                  <a:pt x="2750" y="416"/>
                </a:cubicBezTo>
                <a:cubicBezTo>
                  <a:pt x="2670" y="416"/>
                  <a:pt x="2606" y="360"/>
                  <a:pt x="2606" y="284"/>
                </a:cubicBezTo>
                <a:cubicBezTo>
                  <a:pt x="2606" y="236"/>
                  <a:pt x="2626" y="206"/>
                  <a:pt x="2658" y="198"/>
                </a:cubicBezTo>
                <a:cubicBezTo>
                  <a:pt x="2698" y="266"/>
                  <a:pt x="2770" y="338"/>
                  <a:pt x="2844" y="394"/>
                </a:cubicBezTo>
                <a:moveTo>
                  <a:pt x="2928" y="448"/>
                </a:moveTo>
                <a:cubicBezTo>
                  <a:pt x="3022" y="448"/>
                  <a:pt x="3022" y="448"/>
                  <a:pt x="3022" y="448"/>
                </a:cubicBezTo>
                <a:cubicBezTo>
                  <a:pt x="3022" y="436"/>
                  <a:pt x="3022" y="436"/>
                  <a:pt x="3022" y="436"/>
                </a:cubicBezTo>
                <a:cubicBezTo>
                  <a:pt x="2992" y="432"/>
                  <a:pt x="2946" y="408"/>
                  <a:pt x="2896" y="372"/>
                </a:cubicBezTo>
                <a:cubicBezTo>
                  <a:pt x="2914" y="342"/>
                  <a:pt x="2918" y="300"/>
                  <a:pt x="2922" y="270"/>
                </a:cubicBezTo>
                <a:cubicBezTo>
                  <a:pt x="2926" y="244"/>
                  <a:pt x="2946" y="244"/>
                  <a:pt x="2958" y="242"/>
                </a:cubicBezTo>
                <a:cubicBezTo>
                  <a:pt x="2958" y="230"/>
                  <a:pt x="2958" y="230"/>
                  <a:pt x="2958" y="230"/>
                </a:cubicBezTo>
                <a:cubicBezTo>
                  <a:pt x="2834" y="230"/>
                  <a:pt x="2834" y="230"/>
                  <a:pt x="2834" y="230"/>
                </a:cubicBezTo>
                <a:cubicBezTo>
                  <a:pt x="2834" y="242"/>
                  <a:pt x="2834" y="242"/>
                  <a:pt x="2834" y="242"/>
                </a:cubicBezTo>
                <a:cubicBezTo>
                  <a:pt x="2864" y="246"/>
                  <a:pt x="2892" y="250"/>
                  <a:pt x="2892" y="294"/>
                </a:cubicBezTo>
                <a:cubicBezTo>
                  <a:pt x="2892" y="318"/>
                  <a:pt x="2888" y="342"/>
                  <a:pt x="2878" y="358"/>
                </a:cubicBezTo>
                <a:cubicBezTo>
                  <a:pt x="2770" y="274"/>
                  <a:pt x="2670" y="156"/>
                  <a:pt x="2670" y="96"/>
                </a:cubicBezTo>
                <a:cubicBezTo>
                  <a:pt x="2670" y="66"/>
                  <a:pt x="2688" y="54"/>
                  <a:pt x="2716" y="54"/>
                </a:cubicBezTo>
                <a:cubicBezTo>
                  <a:pt x="2752" y="54"/>
                  <a:pt x="2784" y="78"/>
                  <a:pt x="2800" y="124"/>
                </a:cubicBezTo>
                <a:cubicBezTo>
                  <a:pt x="2812" y="124"/>
                  <a:pt x="2812" y="124"/>
                  <a:pt x="2812" y="124"/>
                </a:cubicBezTo>
                <a:cubicBezTo>
                  <a:pt x="2810" y="42"/>
                  <a:pt x="2810" y="42"/>
                  <a:pt x="2810" y="42"/>
                </a:cubicBezTo>
                <a:cubicBezTo>
                  <a:pt x="2798" y="42"/>
                  <a:pt x="2798" y="42"/>
                  <a:pt x="2798" y="42"/>
                </a:cubicBezTo>
                <a:cubicBezTo>
                  <a:pt x="2798" y="48"/>
                  <a:pt x="2792" y="52"/>
                  <a:pt x="2788" y="52"/>
                </a:cubicBezTo>
                <a:cubicBezTo>
                  <a:pt x="2772" y="52"/>
                  <a:pt x="2752" y="36"/>
                  <a:pt x="2714" y="36"/>
                </a:cubicBezTo>
                <a:cubicBezTo>
                  <a:pt x="2672" y="36"/>
                  <a:pt x="2630" y="62"/>
                  <a:pt x="2630" y="118"/>
                </a:cubicBezTo>
                <a:cubicBezTo>
                  <a:pt x="2630" y="140"/>
                  <a:pt x="2636" y="160"/>
                  <a:pt x="2648" y="182"/>
                </a:cubicBezTo>
                <a:cubicBezTo>
                  <a:pt x="2592" y="200"/>
                  <a:pt x="2562" y="248"/>
                  <a:pt x="2562" y="304"/>
                </a:cubicBezTo>
                <a:cubicBezTo>
                  <a:pt x="2562" y="406"/>
                  <a:pt x="2640" y="460"/>
                  <a:pt x="2726" y="460"/>
                </a:cubicBezTo>
                <a:cubicBezTo>
                  <a:pt x="2780" y="460"/>
                  <a:pt x="2824" y="444"/>
                  <a:pt x="2862" y="410"/>
                </a:cubicBezTo>
                <a:cubicBezTo>
                  <a:pt x="2888" y="424"/>
                  <a:pt x="2912" y="442"/>
                  <a:pt x="2928" y="448"/>
                </a:cubicBezTo>
                <a:moveTo>
                  <a:pt x="3094" y="212"/>
                </a:moveTo>
                <a:cubicBezTo>
                  <a:pt x="3094" y="88"/>
                  <a:pt x="3154" y="20"/>
                  <a:pt x="3252" y="20"/>
                </a:cubicBezTo>
                <a:cubicBezTo>
                  <a:pt x="3328" y="20"/>
                  <a:pt x="3372" y="58"/>
                  <a:pt x="3392" y="134"/>
                </a:cubicBezTo>
                <a:cubicBezTo>
                  <a:pt x="3404" y="134"/>
                  <a:pt x="3404" y="134"/>
                  <a:pt x="3404" y="134"/>
                </a:cubicBezTo>
                <a:cubicBezTo>
                  <a:pt x="3400" y="4"/>
                  <a:pt x="3400" y="4"/>
                  <a:pt x="3400" y="4"/>
                </a:cubicBezTo>
                <a:cubicBezTo>
                  <a:pt x="3388" y="4"/>
                  <a:pt x="3388" y="4"/>
                  <a:pt x="3388" y="4"/>
                </a:cubicBezTo>
                <a:cubicBezTo>
                  <a:pt x="3384" y="14"/>
                  <a:pt x="3376" y="18"/>
                  <a:pt x="3364" y="18"/>
                </a:cubicBezTo>
                <a:cubicBezTo>
                  <a:pt x="3338" y="18"/>
                  <a:pt x="3314" y="0"/>
                  <a:pt x="3248" y="0"/>
                </a:cubicBezTo>
                <a:cubicBezTo>
                  <a:pt x="3118" y="0"/>
                  <a:pt x="3030" y="102"/>
                  <a:pt x="3030" y="242"/>
                </a:cubicBezTo>
                <a:cubicBezTo>
                  <a:pt x="3030" y="376"/>
                  <a:pt x="3110" y="460"/>
                  <a:pt x="3238" y="460"/>
                </a:cubicBezTo>
                <a:cubicBezTo>
                  <a:pt x="3320" y="460"/>
                  <a:pt x="3384" y="420"/>
                  <a:pt x="3408" y="380"/>
                </a:cubicBezTo>
                <a:cubicBezTo>
                  <a:pt x="3396" y="366"/>
                  <a:pt x="3396" y="366"/>
                  <a:pt x="3396" y="366"/>
                </a:cubicBezTo>
                <a:cubicBezTo>
                  <a:pt x="3370" y="402"/>
                  <a:pt x="3314" y="426"/>
                  <a:pt x="3256" y="426"/>
                </a:cubicBezTo>
                <a:cubicBezTo>
                  <a:pt x="3156" y="426"/>
                  <a:pt x="3094" y="340"/>
                  <a:pt x="3094" y="212"/>
                </a:cubicBezTo>
                <a:moveTo>
                  <a:pt x="3678" y="328"/>
                </a:moveTo>
                <a:cubicBezTo>
                  <a:pt x="3678" y="392"/>
                  <a:pt x="3650" y="430"/>
                  <a:pt x="3592" y="430"/>
                </a:cubicBezTo>
                <a:cubicBezTo>
                  <a:pt x="3542" y="430"/>
                  <a:pt x="3496" y="384"/>
                  <a:pt x="3496" y="292"/>
                </a:cubicBezTo>
                <a:cubicBezTo>
                  <a:pt x="3496" y="226"/>
                  <a:pt x="3528" y="190"/>
                  <a:pt x="3580" y="190"/>
                </a:cubicBezTo>
                <a:cubicBezTo>
                  <a:pt x="3628" y="192"/>
                  <a:pt x="3678" y="238"/>
                  <a:pt x="3678" y="328"/>
                </a:cubicBezTo>
                <a:moveTo>
                  <a:pt x="3732" y="312"/>
                </a:moveTo>
                <a:cubicBezTo>
                  <a:pt x="3732" y="260"/>
                  <a:pt x="3710" y="214"/>
                  <a:pt x="3672" y="190"/>
                </a:cubicBezTo>
                <a:cubicBezTo>
                  <a:pt x="3650" y="176"/>
                  <a:pt x="3620" y="168"/>
                  <a:pt x="3588" y="168"/>
                </a:cubicBezTo>
                <a:cubicBezTo>
                  <a:pt x="3502" y="168"/>
                  <a:pt x="3442" y="230"/>
                  <a:pt x="3442" y="310"/>
                </a:cubicBezTo>
                <a:cubicBezTo>
                  <a:pt x="3442" y="364"/>
                  <a:pt x="3464" y="408"/>
                  <a:pt x="3502" y="432"/>
                </a:cubicBezTo>
                <a:cubicBezTo>
                  <a:pt x="3524" y="446"/>
                  <a:pt x="3554" y="452"/>
                  <a:pt x="3586" y="452"/>
                </a:cubicBezTo>
                <a:cubicBezTo>
                  <a:pt x="3672" y="454"/>
                  <a:pt x="3732" y="394"/>
                  <a:pt x="3732" y="312"/>
                </a:cubicBezTo>
                <a:moveTo>
                  <a:pt x="4136" y="448"/>
                </a:moveTo>
                <a:cubicBezTo>
                  <a:pt x="4280" y="448"/>
                  <a:pt x="4280" y="448"/>
                  <a:pt x="4280" y="448"/>
                </a:cubicBezTo>
                <a:cubicBezTo>
                  <a:pt x="4280" y="436"/>
                  <a:pt x="4280" y="436"/>
                  <a:pt x="4280" y="436"/>
                </a:cubicBezTo>
                <a:cubicBezTo>
                  <a:pt x="4230" y="434"/>
                  <a:pt x="4232" y="426"/>
                  <a:pt x="4232" y="348"/>
                </a:cubicBezTo>
                <a:cubicBezTo>
                  <a:pt x="4232" y="276"/>
                  <a:pt x="4232" y="276"/>
                  <a:pt x="4232" y="276"/>
                </a:cubicBezTo>
                <a:cubicBezTo>
                  <a:pt x="4232" y="200"/>
                  <a:pt x="4190" y="172"/>
                  <a:pt x="4142" y="172"/>
                </a:cubicBezTo>
                <a:cubicBezTo>
                  <a:pt x="4098" y="172"/>
                  <a:pt x="4064" y="196"/>
                  <a:pt x="4038" y="232"/>
                </a:cubicBezTo>
                <a:cubicBezTo>
                  <a:pt x="4028" y="194"/>
                  <a:pt x="4000" y="172"/>
                  <a:pt x="3954" y="172"/>
                </a:cubicBezTo>
                <a:cubicBezTo>
                  <a:pt x="3916" y="172"/>
                  <a:pt x="3880" y="196"/>
                  <a:pt x="3858" y="224"/>
                </a:cubicBezTo>
                <a:cubicBezTo>
                  <a:pt x="3858" y="176"/>
                  <a:pt x="3858" y="176"/>
                  <a:pt x="3858" y="176"/>
                </a:cubicBezTo>
                <a:cubicBezTo>
                  <a:pt x="3756" y="176"/>
                  <a:pt x="3756" y="176"/>
                  <a:pt x="3756" y="176"/>
                </a:cubicBezTo>
                <a:cubicBezTo>
                  <a:pt x="3756" y="188"/>
                  <a:pt x="3756" y="188"/>
                  <a:pt x="3756" y="188"/>
                </a:cubicBezTo>
                <a:cubicBezTo>
                  <a:pt x="3800" y="190"/>
                  <a:pt x="3806" y="192"/>
                  <a:pt x="3806" y="268"/>
                </a:cubicBezTo>
                <a:cubicBezTo>
                  <a:pt x="3806" y="346"/>
                  <a:pt x="3806" y="346"/>
                  <a:pt x="3806" y="346"/>
                </a:cubicBezTo>
                <a:cubicBezTo>
                  <a:pt x="3806" y="434"/>
                  <a:pt x="3804" y="434"/>
                  <a:pt x="3758" y="434"/>
                </a:cubicBezTo>
                <a:cubicBezTo>
                  <a:pt x="3758" y="446"/>
                  <a:pt x="3758" y="446"/>
                  <a:pt x="3758" y="446"/>
                </a:cubicBezTo>
                <a:cubicBezTo>
                  <a:pt x="3902" y="446"/>
                  <a:pt x="3902" y="446"/>
                  <a:pt x="3902" y="446"/>
                </a:cubicBezTo>
                <a:cubicBezTo>
                  <a:pt x="3902" y="434"/>
                  <a:pt x="3902" y="434"/>
                  <a:pt x="3902" y="434"/>
                </a:cubicBezTo>
                <a:cubicBezTo>
                  <a:pt x="3862" y="430"/>
                  <a:pt x="3858" y="430"/>
                  <a:pt x="3858" y="342"/>
                </a:cubicBezTo>
                <a:cubicBezTo>
                  <a:pt x="3858" y="262"/>
                  <a:pt x="3858" y="262"/>
                  <a:pt x="3858" y="262"/>
                </a:cubicBezTo>
                <a:cubicBezTo>
                  <a:pt x="3858" y="234"/>
                  <a:pt x="3894" y="204"/>
                  <a:pt x="3932" y="204"/>
                </a:cubicBezTo>
                <a:cubicBezTo>
                  <a:pt x="3974" y="204"/>
                  <a:pt x="3990" y="226"/>
                  <a:pt x="3990" y="282"/>
                </a:cubicBezTo>
                <a:cubicBezTo>
                  <a:pt x="3990" y="338"/>
                  <a:pt x="3990" y="338"/>
                  <a:pt x="3990" y="338"/>
                </a:cubicBezTo>
                <a:cubicBezTo>
                  <a:pt x="3990" y="428"/>
                  <a:pt x="3988" y="432"/>
                  <a:pt x="3950" y="436"/>
                </a:cubicBezTo>
                <a:cubicBezTo>
                  <a:pt x="3950" y="448"/>
                  <a:pt x="3950" y="448"/>
                  <a:pt x="3950" y="448"/>
                </a:cubicBezTo>
                <a:cubicBezTo>
                  <a:pt x="4086" y="448"/>
                  <a:pt x="4086" y="448"/>
                  <a:pt x="4086" y="448"/>
                </a:cubicBezTo>
                <a:cubicBezTo>
                  <a:pt x="4086" y="436"/>
                  <a:pt x="4086" y="436"/>
                  <a:pt x="4086" y="436"/>
                </a:cubicBezTo>
                <a:cubicBezTo>
                  <a:pt x="4040" y="432"/>
                  <a:pt x="4042" y="428"/>
                  <a:pt x="4042" y="342"/>
                </a:cubicBezTo>
                <a:cubicBezTo>
                  <a:pt x="4042" y="264"/>
                  <a:pt x="4042" y="264"/>
                  <a:pt x="4042" y="264"/>
                </a:cubicBezTo>
                <a:cubicBezTo>
                  <a:pt x="4042" y="236"/>
                  <a:pt x="4078" y="206"/>
                  <a:pt x="4118" y="206"/>
                </a:cubicBezTo>
                <a:cubicBezTo>
                  <a:pt x="4152" y="206"/>
                  <a:pt x="4174" y="226"/>
                  <a:pt x="4174" y="284"/>
                </a:cubicBezTo>
                <a:cubicBezTo>
                  <a:pt x="4174" y="346"/>
                  <a:pt x="4174" y="346"/>
                  <a:pt x="4174" y="346"/>
                </a:cubicBezTo>
                <a:cubicBezTo>
                  <a:pt x="4174" y="428"/>
                  <a:pt x="4174" y="432"/>
                  <a:pt x="4134" y="436"/>
                </a:cubicBezTo>
                <a:cubicBezTo>
                  <a:pt x="4134" y="448"/>
                  <a:pt x="4134" y="448"/>
                  <a:pt x="4134" y="448"/>
                </a:cubicBezTo>
                <a:lnTo>
                  <a:pt x="4136" y="448"/>
                </a:lnTo>
                <a:close/>
                <a:moveTo>
                  <a:pt x="4546" y="316"/>
                </a:moveTo>
                <a:cubicBezTo>
                  <a:pt x="4546" y="388"/>
                  <a:pt x="4516" y="432"/>
                  <a:pt x="4460" y="432"/>
                </a:cubicBezTo>
                <a:cubicBezTo>
                  <a:pt x="4424" y="432"/>
                  <a:pt x="4384" y="412"/>
                  <a:pt x="4384" y="384"/>
                </a:cubicBezTo>
                <a:cubicBezTo>
                  <a:pt x="4384" y="248"/>
                  <a:pt x="4384" y="248"/>
                  <a:pt x="4384" y="248"/>
                </a:cubicBezTo>
                <a:cubicBezTo>
                  <a:pt x="4384" y="226"/>
                  <a:pt x="4416" y="202"/>
                  <a:pt x="4454" y="202"/>
                </a:cubicBezTo>
                <a:cubicBezTo>
                  <a:pt x="4510" y="206"/>
                  <a:pt x="4546" y="248"/>
                  <a:pt x="4546" y="316"/>
                </a:cubicBezTo>
                <a:moveTo>
                  <a:pt x="4600" y="310"/>
                </a:moveTo>
                <a:cubicBezTo>
                  <a:pt x="4600" y="230"/>
                  <a:pt x="4548" y="170"/>
                  <a:pt x="4478" y="170"/>
                </a:cubicBezTo>
                <a:cubicBezTo>
                  <a:pt x="4438" y="170"/>
                  <a:pt x="4406" y="188"/>
                  <a:pt x="4384" y="214"/>
                </a:cubicBezTo>
                <a:cubicBezTo>
                  <a:pt x="4384" y="174"/>
                  <a:pt x="4384" y="174"/>
                  <a:pt x="4384" y="174"/>
                </a:cubicBezTo>
                <a:cubicBezTo>
                  <a:pt x="4284" y="174"/>
                  <a:pt x="4284" y="174"/>
                  <a:pt x="4284" y="174"/>
                </a:cubicBezTo>
                <a:cubicBezTo>
                  <a:pt x="4284" y="186"/>
                  <a:pt x="4284" y="186"/>
                  <a:pt x="4284" y="186"/>
                </a:cubicBezTo>
                <a:cubicBezTo>
                  <a:pt x="4326" y="188"/>
                  <a:pt x="4332" y="190"/>
                  <a:pt x="4332" y="280"/>
                </a:cubicBezTo>
                <a:cubicBezTo>
                  <a:pt x="4332" y="466"/>
                  <a:pt x="4332" y="466"/>
                  <a:pt x="4332" y="466"/>
                </a:cubicBezTo>
                <a:cubicBezTo>
                  <a:pt x="4332" y="564"/>
                  <a:pt x="4334" y="570"/>
                  <a:pt x="4286" y="574"/>
                </a:cubicBezTo>
                <a:cubicBezTo>
                  <a:pt x="4286" y="588"/>
                  <a:pt x="4286" y="588"/>
                  <a:pt x="4286" y="588"/>
                </a:cubicBezTo>
                <a:cubicBezTo>
                  <a:pt x="4432" y="588"/>
                  <a:pt x="4432" y="588"/>
                  <a:pt x="4432" y="588"/>
                </a:cubicBezTo>
                <a:cubicBezTo>
                  <a:pt x="4432" y="574"/>
                  <a:pt x="4432" y="574"/>
                  <a:pt x="4432" y="574"/>
                </a:cubicBezTo>
                <a:cubicBezTo>
                  <a:pt x="4380" y="572"/>
                  <a:pt x="4384" y="564"/>
                  <a:pt x="4384" y="462"/>
                </a:cubicBezTo>
                <a:cubicBezTo>
                  <a:pt x="4384" y="424"/>
                  <a:pt x="4384" y="424"/>
                  <a:pt x="4384" y="424"/>
                </a:cubicBezTo>
                <a:cubicBezTo>
                  <a:pt x="4404" y="444"/>
                  <a:pt x="4436" y="454"/>
                  <a:pt x="4466" y="454"/>
                </a:cubicBezTo>
                <a:cubicBezTo>
                  <a:pt x="4548" y="454"/>
                  <a:pt x="4600" y="392"/>
                  <a:pt x="4600" y="310"/>
                </a:cubicBezTo>
                <a:moveTo>
                  <a:pt x="4792" y="382"/>
                </a:moveTo>
                <a:cubicBezTo>
                  <a:pt x="4792" y="404"/>
                  <a:pt x="4762" y="424"/>
                  <a:pt x="4736" y="424"/>
                </a:cubicBezTo>
                <a:cubicBezTo>
                  <a:pt x="4712" y="424"/>
                  <a:pt x="4694" y="410"/>
                  <a:pt x="4694" y="378"/>
                </a:cubicBezTo>
                <a:cubicBezTo>
                  <a:pt x="4694" y="322"/>
                  <a:pt x="4752" y="328"/>
                  <a:pt x="4792" y="306"/>
                </a:cubicBezTo>
                <a:cubicBezTo>
                  <a:pt x="4792" y="382"/>
                  <a:pt x="4792" y="382"/>
                  <a:pt x="4792" y="382"/>
                </a:cubicBezTo>
                <a:close/>
                <a:moveTo>
                  <a:pt x="5240" y="434"/>
                </a:moveTo>
                <a:cubicBezTo>
                  <a:pt x="5192" y="432"/>
                  <a:pt x="5192" y="430"/>
                  <a:pt x="5192" y="340"/>
                </a:cubicBezTo>
                <a:cubicBezTo>
                  <a:pt x="5192" y="278"/>
                  <a:pt x="5192" y="278"/>
                  <a:pt x="5192" y="278"/>
                </a:cubicBezTo>
                <a:cubicBezTo>
                  <a:pt x="5192" y="196"/>
                  <a:pt x="5146" y="170"/>
                  <a:pt x="5104" y="170"/>
                </a:cubicBezTo>
                <a:cubicBezTo>
                  <a:pt x="5068" y="170"/>
                  <a:pt x="5032" y="186"/>
                  <a:pt x="5004" y="222"/>
                </a:cubicBezTo>
                <a:cubicBezTo>
                  <a:pt x="5004" y="174"/>
                  <a:pt x="5004" y="174"/>
                  <a:pt x="5004" y="174"/>
                </a:cubicBezTo>
                <a:cubicBezTo>
                  <a:pt x="4902" y="174"/>
                  <a:pt x="4902" y="174"/>
                  <a:pt x="4902" y="174"/>
                </a:cubicBezTo>
                <a:cubicBezTo>
                  <a:pt x="4902" y="186"/>
                  <a:pt x="4902" y="186"/>
                  <a:pt x="4902" y="186"/>
                </a:cubicBezTo>
                <a:cubicBezTo>
                  <a:pt x="4946" y="188"/>
                  <a:pt x="4952" y="190"/>
                  <a:pt x="4952" y="266"/>
                </a:cubicBezTo>
                <a:cubicBezTo>
                  <a:pt x="4952" y="334"/>
                  <a:pt x="4952" y="334"/>
                  <a:pt x="4952" y="334"/>
                </a:cubicBezTo>
                <a:cubicBezTo>
                  <a:pt x="4952" y="430"/>
                  <a:pt x="4952" y="432"/>
                  <a:pt x="4904" y="434"/>
                </a:cubicBezTo>
                <a:cubicBezTo>
                  <a:pt x="4892" y="434"/>
                  <a:pt x="4892" y="434"/>
                  <a:pt x="4892" y="434"/>
                </a:cubicBezTo>
                <a:cubicBezTo>
                  <a:pt x="4854" y="434"/>
                  <a:pt x="4850" y="422"/>
                  <a:pt x="4850" y="366"/>
                </a:cubicBezTo>
                <a:cubicBezTo>
                  <a:pt x="4850" y="274"/>
                  <a:pt x="4850" y="274"/>
                  <a:pt x="4850" y="274"/>
                </a:cubicBezTo>
                <a:cubicBezTo>
                  <a:pt x="4850" y="256"/>
                  <a:pt x="4848" y="240"/>
                  <a:pt x="4844" y="228"/>
                </a:cubicBezTo>
                <a:cubicBezTo>
                  <a:pt x="4830" y="186"/>
                  <a:pt x="4796" y="170"/>
                  <a:pt x="4748" y="170"/>
                </a:cubicBezTo>
                <a:cubicBezTo>
                  <a:pt x="4718" y="170"/>
                  <a:pt x="4674" y="180"/>
                  <a:pt x="4650" y="202"/>
                </a:cubicBezTo>
                <a:cubicBezTo>
                  <a:pt x="4652" y="214"/>
                  <a:pt x="4664" y="240"/>
                  <a:pt x="4670" y="248"/>
                </a:cubicBezTo>
                <a:cubicBezTo>
                  <a:pt x="4676" y="246"/>
                  <a:pt x="4676" y="246"/>
                  <a:pt x="4676" y="246"/>
                </a:cubicBezTo>
                <a:cubicBezTo>
                  <a:pt x="4688" y="216"/>
                  <a:pt x="4708" y="194"/>
                  <a:pt x="4742" y="194"/>
                </a:cubicBezTo>
                <a:cubicBezTo>
                  <a:pt x="4778" y="194"/>
                  <a:pt x="4794" y="220"/>
                  <a:pt x="4794" y="250"/>
                </a:cubicBezTo>
                <a:cubicBezTo>
                  <a:pt x="4794" y="282"/>
                  <a:pt x="4794" y="282"/>
                  <a:pt x="4794" y="282"/>
                </a:cubicBezTo>
                <a:cubicBezTo>
                  <a:pt x="4794" y="302"/>
                  <a:pt x="4702" y="306"/>
                  <a:pt x="4664" y="338"/>
                </a:cubicBezTo>
                <a:cubicBezTo>
                  <a:pt x="4652" y="350"/>
                  <a:pt x="4642" y="364"/>
                  <a:pt x="4642" y="384"/>
                </a:cubicBezTo>
                <a:cubicBezTo>
                  <a:pt x="4642" y="426"/>
                  <a:pt x="4672" y="456"/>
                  <a:pt x="4716" y="456"/>
                </a:cubicBezTo>
                <a:cubicBezTo>
                  <a:pt x="4744" y="456"/>
                  <a:pt x="4768" y="446"/>
                  <a:pt x="4794" y="418"/>
                </a:cubicBezTo>
                <a:cubicBezTo>
                  <a:pt x="4798" y="438"/>
                  <a:pt x="4814" y="448"/>
                  <a:pt x="4842" y="448"/>
                </a:cubicBezTo>
                <a:cubicBezTo>
                  <a:pt x="4906" y="448"/>
                  <a:pt x="4906" y="448"/>
                  <a:pt x="4906" y="448"/>
                </a:cubicBezTo>
                <a:cubicBezTo>
                  <a:pt x="4906" y="448"/>
                  <a:pt x="4906" y="448"/>
                  <a:pt x="4906" y="448"/>
                </a:cubicBezTo>
                <a:cubicBezTo>
                  <a:pt x="5048" y="448"/>
                  <a:pt x="5048" y="448"/>
                  <a:pt x="5048" y="448"/>
                </a:cubicBezTo>
                <a:cubicBezTo>
                  <a:pt x="5048" y="436"/>
                  <a:pt x="5048" y="436"/>
                  <a:pt x="5048" y="436"/>
                </a:cubicBezTo>
                <a:cubicBezTo>
                  <a:pt x="5006" y="432"/>
                  <a:pt x="5004" y="434"/>
                  <a:pt x="5004" y="338"/>
                </a:cubicBezTo>
                <a:cubicBezTo>
                  <a:pt x="5004" y="262"/>
                  <a:pt x="5004" y="262"/>
                  <a:pt x="5004" y="262"/>
                </a:cubicBezTo>
                <a:cubicBezTo>
                  <a:pt x="5004" y="236"/>
                  <a:pt x="5038" y="206"/>
                  <a:pt x="5080" y="206"/>
                </a:cubicBezTo>
                <a:cubicBezTo>
                  <a:pt x="5114" y="206"/>
                  <a:pt x="5140" y="220"/>
                  <a:pt x="5140" y="286"/>
                </a:cubicBezTo>
                <a:cubicBezTo>
                  <a:pt x="5140" y="340"/>
                  <a:pt x="5140" y="340"/>
                  <a:pt x="5140" y="340"/>
                </a:cubicBezTo>
                <a:cubicBezTo>
                  <a:pt x="5140" y="432"/>
                  <a:pt x="5136" y="432"/>
                  <a:pt x="5098" y="434"/>
                </a:cubicBezTo>
                <a:cubicBezTo>
                  <a:pt x="5098" y="446"/>
                  <a:pt x="5098" y="446"/>
                  <a:pt x="5098" y="446"/>
                </a:cubicBezTo>
                <a:cubicBezTo>
                  <a:pt x="5240" y="446"/>
                  <a:pt x="5240" y="446"/>
                  <a:pt x="5240" y="446"/>
                </a:cubicBezTo>
                <a:lnTo>
                  <a:pt x="5240" y="434"/>
                </a:lnTo>
                <a:close/>
                <a:moveTo>
                  <a:pt x="5516" y="192"/>
                </a:moveTo>
                <a:cubicBezTo>
                  <a:pt x="5516" y="180"/>
                  <a:pt x="5516" y="180"/>
                  <a:pt x="5516" y="180"/>
                </a:cubicBezTo>
                <a:cubicBezTo>
                  <a:pt x="5418" y="180"/>
                  <a:pt x="5418" y="180"/>
                  <a:pt x="5418" y="180"/>
                </a:cubicBezTo>
                <a:cubicBezTo>
                  <a:pt x="5418" y="192"/>
                  <a:pt x="5418" y="192"/>
                  <a:pt x="5418" y="192"/>
                </a:cubicBezTo>
                <a:cubicBezTo>
                  <a:pt x="5442" y="194"/>
                  <a:pt x="5454" y="206"/>
                  <a:pt x="5446" y="234"/>
                </a:cubicBezTo>
                <a:cubicBezTo>
                  <a:pt x="5394" y="390"/>
                  <a:pt x="5394" y="390"/>
                  <a:pt x="5394" y="390"/>
                </a:cubicBezTo>
                <a:cubicBezTo>
                  <a:pt x="5342" y="270"/>
                  <a:pt x="5342" y="270"/>
                  <a:pt x="5342" y="270"/>
                </a:cubicBezTo>
                <a:cubicBezTo>
                  <a:pt x="5328" y="238"/>
                  <a:pt x="5322" y="224"/>
                  <a:pt x="5322" y="212"/>
                </a:cubicBezTo>
                <a:cubicBezTo>
                  <a:pt x="5322" y="202"/>
                  <a:pt x="5328" y="196"/>
                  <a:pt x="5348" y="192"/>
                </a:cubicBezTo>
                <a:cubicBezTo>
                  <a:pt x="5348" y="180"/>
                  <a:pt x="5348" y="180"/>
                  <a:pt x="5348" y="180"/>
                </a:cubicBezTo>
                <a:cubicBezTo>
                  <a:pt x="5220" y="180"/>
                  <a:pt x="5220" y="180"/>
                  <a:pt x="5220" y="180"/>
                </a:cubicBezTo>
                <a:cubicBezTo>
                  <a:pt x="5220" y="192"/>
                  <a:pt x="5220" y="192"/>
                  <a:pt x="5220" y="192"/>
                </a:cubicBezTo>
                <a:cubicBezTo>
                  <a:pt x="5252" y="194"/>
                  <a:pt x="5254" y="198"/>
                  <a:pt x="5296" y="292"/>
                </a:cubicBezTo>
                <a:cubicBezTo>
                  <a:pt x="5368" y="450"/>
                  <a:pt x="5368" y="450"/>
                  <a:pt x="5368" y="450"/>
                </a:cubicBezTo>
                <a:cubicBezTo>
                  <a:pt x="5344" y="512"/>
                  <a:pt x="5306" y="546"/>
                  <a:pt x="5228" y="564"/>
                </a:cubicBezTo>
                <a:cubicBezTo>
                  <a:pt x="5232" y="576"/>
                  <a:pt x="5246" y="600"/>
                  <a:pt x="5254" y="606"/>
                </a:cubicBezTo>
                <a:cubicBezTo>
                  <a:pt x="5356" y="564"/>
                  <a:pt x="5376" y="498"/>
                  <a:pt x="5412" y="396"/>
                </a:cubicBezTo>
                <a:cubicBezTo>
                  <a:pt x="5466" y="242"/>
                  <a:pt x="5466" y="242"/>
                  <a:pt x="5466" y="242"/>
                </a:cubicBezTo>
                <a:cubicBezTo>
                  <a:pt x="5478" y="206"/>
                  <a:pt x="5498" y="192"/>
                  <a:pt x="5516" y="192"/>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600" kern="1200">
                <a:solidFill>
                  <a:schemeClr val="tx1"/>
                </a:solidFill>
                <a:latin typeface="Arial" charset="0"/>
                <a:ea typeface="+mn-ea"/>
                <a:cs typeface="+mn-cs"/>
              </a:defRPr>
            </a:lvl1pPr>
            <a:lvl2pPr marL="457200" algn="l" rtl="0" fontAlgn="base">
              <a:spcBef>
                <a:spcPct val="0"/>
              </a:spcBef>
              <a:spcAft>
                <a:spcPct val="0"/>
              </a:spcAft>
              <a:defRPr sz="1600" kern="1200">
                <a:solidFill>
                  <a:schemeClr val="tx1"/>
                </a:solidFill>
                <a:latin typeface="Arial" charset="0"/>
                <a:ea typeface="+mn-ea"/>
                <a:cs typeface="+mn-cs"/>
              </a:defRPr>
            </a:lvl2pPr>
            <a:lvl3pPr marL="914400" algn="l" rtl="0" fontAlgn="base">
              <a:spcBef>
                <a:spcPct val="0"/>
              </a:spcBef>
              <a:spcAft>
                <a:spcPct val="0"/>
              </a:spcAft>
              <a:defRPr sz="1600" kern="1200">
                <a:solidFill>
                  <a:schemeClr val="tx1"/>
                </a:solidFill>
                <a:latin typeface="Arial" charset="0"/>
                <a:ea typeface="+mn-ea"/>
                <a:cs typeface="+mn-cs"/>
              </a:defRPr>
            </a:lvl3pPr>
            <a:lvl4pPr marL="1371600" algn="l" rtl="0" fontAlgn="base">
              <a:spcBef>
                <a:spcPct val="0"/>
              </a:spcBef>
              <a:spcAft>
                <a:spcPct val="0"/>
              </a:spcAft>
              <a:defRPr sz="1600" kern="1200">
                <a:solidFill>
                  <a:schemeClr val="tx1"/>
                </a:solidFill>
                <a:latin typeface="Arial" charset="0"/>
                <a:ea typeface="+mn-ea"/>
                <a:cs typeface="+mn-cs"/>
              </a:defRPr>
            </a:lvl4pPr>
            <a:lvl5pPr marL="1828800" algn="l" rtl="0" fontAlgn="base">
              <a:spcBef>
                <a:spcPct val="0"/>
              </a:spcBef>
              <a:spcAft>
                <a:spcPct val="0"/>
              </a:spcAft>
              <a:defRPr sz="1600" kern="1200">
                <a:solidFill>
                  <a:schemeClr val="tx1"/>
                </a:solidFill>
                <a:latin typeface="Arial" charset="0"/>
                <a:ea typeface="+mn-ea"/>
                <a:cs typeface="+mn-cs"/>
              </a:defRPr>
            </a:lvl5pPr>
            <a:lvl6pPr marL="2286000" algn="l" defTabSz="914400" rtl="0" eaLnBrk="1" latinLnBrk="0" hangingPunct="1">
              <a:defRPr sz="1600" kern="1200">
                <a:solidFill>
                  <a:schemeClr val="tx1"/>
                </a:solidFill>
                <a:latin typeface="Arial" charset="0"/>
                <a:ea typeface="+mn-ea"/>
                <a:cs typeface="+mn-cs"/>
              </a:defRPr>
            </a:lvl6pPr>
            <a:lvl7pPr marL="2743200" algn="l" defTabSz="914400" rtl="0" eaLnBrk="1" latinLnBrk="0" hangingPunct="1">
              <a:defRPr sz="1600" kern="1200">
                <a:solidFill>
                  <a:schemeClr val="tx1"/>
                </a:solidFill>
                <a:latin typeface="Arial" charset="0"/>
                <a:ea typeface="+mn-ea"/>
                <a:cs typeface="+mn-cs"/>
              </a:defRPr>
            </a:lvl7pPr>
            <a:lvl8pPr marL="3200400" algn="l" defTabSz="914400" rtl="0" eaLnBrk="1" latinLnBrk="0" hangingPunct="1">
              <a:defRPr sz="1600" kern="1200">
                <a:solidFill>
                  <a:schemeClr val="tx1"/>
                </a:solidFill>
                <a:latin typeface="Arial" charset="0"/>
                <a:ea typeface="+mn-ea"/>
                <a:cs typeface="+mn-cs"/>
              </a:defRPr>
            </a:lvl8pPr>
            <a:lvl9pPr marL="3657600" algn="l" defTabSz="914400" rtl="0" eaLnBrk="1" latinLnBrk="0" hangingPunct="1">
              <a:defRPr sz="1600" kern="1200">
                <a:solidFill>
                  <a:schemeClr val="tx1"/>
                </a:solidFill>
                <a:latin typeface="Arial" charset="0"/>
                <a:ea typeface="+mn-ea"/>
                <a:cs typeface="+mn-cs"/>
              </a:defRPr>
            </a:lvl9pPr>
          </a:lstStyle>
          <a:p>
            <a:endParaRPr lang="en-US" baseline="0" dirty="0">
              <a:solidFill>
                <a:srgbClr val="000000"/>
              </a:solidFill>
              <a:latin typeface="+mn-lt"/>
            </a:endParaRPr>
          </a:p>
        </p:txBody>
      </p:sp>
      <p:sp>
        <p:nvSpPr>
          <p:cNvPr id="27" name="Disclaimer-English (United States)" hidden="1"/>
          <p:cNvSpPr>
            <a:spLocks noChangeArrowheads="1"/>
          </p:cNvSpPr>
          <p:nvPr/>
        </p:nvSpPr>
        <p:spPr bwMode="black">
          <a:xfrm>
            <a:off x="2268266" y="6287785"/>
            <a:ext cx="3544453" cy="36908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t" anchorCtr="0">
            <a:noAutofit/>
          </a:bodyPr>
          <a:lstStyle/>
          <a:p>
            <a:pPr defTabSz="804863" eaLnBrk="0" hangingPunct="0"/>
            <a:r>
              <a:rPr lang="en-US" sz="800" baseline="0" dirty="0">
                <a:solidFill>
                  <a:srgbClr val="FFFFFF"/>
                </a:solidFill>
                <a:latin typeface="+mn-lt"/>
              </a:rPr>
              <a:t>CONFIDENTIAL AND PROPRIETARY</a:t>
            </a:r>
          </a:p>
          <a:p>
            <a:pPr defTabSz="804863" eaLnBrk="0" hangingPunct="0"/>
            <a:r>
              <a:rPr lang="en-US" sz="800" baseline="0" dirty="0">
                <a:solidFill>
                  <a:srgbClr val="FFFFFF"/>
                </a:solidFill>
                <a:latin typeface="+mn-lt"/>
              </a:rPr>
              <a:t>Any use of this material without specific permission of McKinsey &amp; Company is strictly prohibited</a:t>
            </a:r>
          </a:p>
        </p:txBody>
      </p:sp>
    </p:spTree>
    <p:extLst>
      <p:ext uri="{BB962C8B-B14F-4D97-AF65-F5344CB8AC3E}">
        <p14:creationId xmlns:p14="http://schemas.microsoft.com/office/powerpoint/2010/main" val="875020843"/>
      </p:ext>
    </p:extLst>
  </p:cSld>
  <p:clrMapOvr>
    <a:masterClrMapping/>
  </p:clrMapOvr>
  <p:extLst mod="1">
    <p:ext uri="{DCECCB84-F9BA-43D5-87BE-67443E8EF086}">
      <p15:sldGuideLst xmlns:p15="http://schemas.microsoft.com/office/powerpoint/2012/main">
        <p15:guide id="1" orient="horz" pos="2117">
          <p15:clr>
            <a:srgbClr val="FBAE40"/>
          </p15:clr>
        </p15:guide>
        <p15:guide id="2" pos="1416">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6E228F5-5CF1-42E1-9748-97D7582A107A}"/>
              </a:ext>
            </a:extLst>
          </p:cNvPr>
          <p:cNvGraphicFramePr>
            <a:graphicFrameLocks noChangeAspect="1"/>
          </p:cNvGraphicFramePr>
          <p:nvPr>
            <p:custDataLst>
              <p:tags r:id="rId2"/>
            </p:custDataLst>
            <p:extLst>
              <p:ext uri="{D42A27DB-BD31-4B8C-83A1-F6EECF244321}">
                <p14:modId xmlns:p14="http://schemas.microsoft.com/office/powerpoint/2010/main" val="340079882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4052" name="think-cell Slide" r:id="rId5" imgW="353" imgH="353" progId="TCLayout.ActiveDocument.1">
                  <p:embed/>
                </p:oleObj>
              </mc:Choice>
              <mc:Fallback>
                <p:oleObj name="think-cell Slide" r:id="rId5" imgW="353" imgH="353" progId="TCLayout.ActiveDocument.1">
                  <p:embed/>
                  <p:pic>
                    <p:nvPicPr>
                      <p:cNvPr id="3" name="Object 2" hidden="1">
                        <a:extLst>
                          <a:ext uri="{FF2B5EF4-FFF2-40B4-BE49-F238E27FC236}">
                            <a16:creationId xmlns:a16="http://schemas.microsoft.com/office/drawing/2014/main" id="{C6E228F5-5CF1-42E1-9748-97D7582A107A}"/>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2. Slide Title"/>
          <p:cNvSpPr>
            <a:spLocks noGrp="1"/>
          </p:cNvSpPr>
          <p:nvPr>
            <p:ph type="title"/>
          </p:nvPr>
        </p:nvSpPr>
        <p:spPr bwMode="auto"/>
        <p:txBody>
          <a:bodyPr/>
          <a:lstStyle/>
          <a:p>
            <a:r>
              <a:rPr lang="en-US"/>
              <a:t>Click to edit Master title style</a:t>
            </a:r>
            <a:endParaRPr lang="en-US" dirty="0"/>
          </a:p>
        </p:txBody>
      </p:sp>
      <p:sp>
        <p:nvSpPr>
          <p:cNvPr id="8" name="Slide Number"/>
          <p:cNvSpPr txBox="1">
            <a:spLocks/>
          </p:cNvSpPr>
          <p:nvPr/>
        </p:nvSpPr>
        <p:spPr bwMode="auto">
          <a:xfrm>
            <a:off x="8564563" y="6508272"/>
            <a:ext cx="125034" cy="123111"/>
          </a:xfrm>
          <a:prstGeom prst="rect">
            <a:avLst/>
          </a:prstGeom>
        </p:spPr>
        <p:txBody>
          <a:bodyPr vert="horz" wrap="none" lIns="0" tIns="0" rIns="0" bIns="0" rtlCol="0" anchor="ctr">
            <a:spAutoFit/>
          </a:bodyPr>
          <a:lstStyle>
            <a:defPPr>
              <a:defRPr lang="en-US"/>
            </a:defPPr>
            <a:lvl1pPr>
              <a:defRPr sz="1000" baseline="0">
                <a:latin typeface="+mn-lt"/>
              </a:defRPr>
            </a:lvl1pPr>
          </a:lstStyle>
          <a:p>
            <a:fld id="{42C328C1-A84F-4A39-A664-DBA00541A8C6}" type="slidenum">
              <a:rPr lang="en-US" sz="800" baseline="0" smtClean="0">
                <a:solidFill>
                  <a:srgbClr val="808080"/>
                </a:solidFill>
                <a:latin typeface="+mn-lt"/>
              </a:rPr>
              <a:pPr/>
              <a:t>‹#›</a:t>
            </a:fld>
            <a:endParaRPr lang="en-US" sz="800" baseline="0" dirty="0">
              <a:solidFill>
                <a:srgbClr val="808080"/>
              </a:solidFill>
              <a:latin typeface="+mn-lt"/>
            </a:endParaRPr>
          </a:p>
        </p:txBody>
      </p:sp>
      <p:sp>
        <p:nvSpPr>
          <p:cNvPr id="9" name="SlideLogoText"/>
          <p:cNvSpPr>
            <a:spLocks noChangeArrowheads="1"/>
          </p:cNvSpPr>
          <p:nvPr>
            <p:custDataLst>
              <p:tags r:id="rId3"/>
            </p:custDataLst>
          </p:nvPr>
        </p:nvSpPr>
        <p:spPr bwMode="auto">
          <a:xfrm>
            <a:off x="7450817" y="6508272"/>
            <a:ext cx="1013098"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algn="r" defTabSz="895350"/>
            <a:r>
              <a:rPr lang="en-US" sz="800" baseline="0" dirty="0">
                <a:solidFill>
                  <a:srgbClr val="808080"/>
                </a:solidFill>
                <a:latin typeface="+mn-lt"/>
              </a:rPr>
              <a:t>McKinsey &amp; Company</a:t>
            </a:r>
          </a:p>
        </p:txBody>
      </p:sp>
      <p:sp>
        <p:nvSpPr>
          <p:cNvPr id="5" name="doc id" hidden="1"/>
          <p:cNvSpPr txBox="1">
            <a:spLocks noChangeArrowheads="1"/>
          </p:cNvSpPr>
          <p:nvPr/>
        </p:nvSpPr>
        <p:spPr bwMode="white">
          <a:xfrm>
            <a:off x="8104473" y="36513"/>
            <a:ext cx="634716" cy="115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hangingPunct="1">
              <a:defRPr/>
            </a:pPr>
            <a:endParaRPr lang="en-US" sz="800" baseline="0" dirty="0">
              <a:solidFill>
                <a:schemeClr val="accent1"/>
              </a:solidFill>
              <a:latin typeface="+mn-lt"/>
              <a:ea typeface="+mn-ea"/>
            </a:endParaRPr>
          </a:p>
        </p:txBody>
      </p:sp>
    </p:spTree>
    <p:extLst>
      <p:ext uri="{BB962C8B-B14F-4D97-AF65-F5344CB8AC3E}">
        <p14:creationId xmlns:p14="http://schemas.microsoft.com/office/powerpoint/2010/main" val="1773953117"/>
      </p:ext>
    </p:extLst>
  </p:cSld>
  <p:clrMapOvr>
    <a:masterClrMapping/>
  </p:clrMapOvr>
  <p:extLst mod="1">
    <p:ext uri="{DCECCB84-F9BA-43D5-87BE-67443E8EF086}">
      <p15:sldGuideLst xmlns:p15="http://schemas.microsoft.com/office/powerpoint/2012/main">
        <p15:guide id="1" pos="5505">
          <p15:clr>
            <a:srgbClr val="F26B43"/>
          </p15:clr>
        </p15:guide>
        <p15:guide id="2" pos="74">
          <p15:clr>
            <a:srgbClr val="F26B43"/>
          </p15:clr>
        </p15:guide>
        <p15:guide id="3" orient="horz" pos="571">
          <p15:clr>
            <a:srgbClr val="F26B43"/>
          </p15:clr>
        </p15:guide>
        <p15:guide id="4" orient="horz" pos="3911">
          <p15:clr>
            <a:srgbClr val="F26B43"/>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1_Title Only">
    <p:bg>
      <p:bgPr>
        <a:solidFill>
          <a:schemeClr val="accent2"/>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F4AD34F-3B47-47E2-A09C-FFEB949F6A10}"/>
              </a:ext>
            </a:extLst>
          </p:cNvPr>
          <p:cNvGraphicFramePr>
            <a:graphicFrameLocks noChangeAspect="1"/>
          </p:cNvGraphicFramePr>
          <p:nvPr>
            <p:custDataLst>
              <p:tags r:id="rId2"/>
            </p:custDataLst>
            <p:extLst>
              <p:ext uri="{D42A27DB-BD31-4B8C-83A1-F6EECF244321}">
                <p14:modId xmlns:p14="http://schemas.microsoft.com/office/powerpoint/2010/main" val="113173633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5076" name="think-cell Slide" r:id="rId5" imgW="395" imgH="394" progId="TCLayout.ActiveDocument.1">
                  <p:embed/>
                </p:oleObj>
              </mc:Choice>
              <mc:Fallback>
                <p:oleObj name="think-cell Slide" r:id="rId5" imgW="395" imgH="394" progId="TCLayout.ActiveDocument.1">
                  <p:embed/>
                  <p:pic>
                    <p:nvPicPr>
                      <p:cNvPr id="3" name="Object 2" hidden="1">
                        <a:extLst>
                          <a:ext uri="{FF2B5EF4-FFF2-40B4-BE49-F238E27FC236}">
                            <a16:creationId xmlns:a16="http://schemas.microsoft.com/office/drawing/2014/main" id="{EF4AD34F-3B47-47E2-A09C-FFEB949F6A10}"/>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endParaRPr lang="en-US" dirty="0"/>
          </a:p>
        </p:txBody>
      </p:sp>
      <p:sp>
        <p:nvSpPr>
          <p:cNvPr id="15" name="Slide Number"/>
          <p:cNvSpPr txBox="1">
            <a:spLocks/>
          </p:cNvSpPr>
          <p:nvPr/>
        </p:nvSpPr>
        <p:spPr>
          <a:xfrm>
            <a:off x="8564563" y="6508272"/>
            <a:ext cx="125034" cy="123111"/>
          </a:xfrm>
          <a:prstGeom prst="rect">
            <a:avLst/>
          </a:prstGeom>
        </p:spPr>
        <p:txBody>
          <a:bodyPr vert="horz" wrap="none" lIns="0" tIns="0" rIns="0" bIns="0" rtlCol="0" anchor="ctr">
            <a:spAutoFit/>
          </a:bodyPr>
          <a:lstStyle>
            <a:defPPr>
              <a:defRPr lang="en-US"/>
            </a:defPPr>
            <a:lvl1pPr>
              <a:defRPr sz="1000" baseline="0">
                <a:latin typeface="+mn-lt"/>
              </a:defRPr>
            </a:lvl1pPr>
          </a:lstStyle>
          <a:p>
            <a:fld id="{42C328C1-A84F-4A39-A664-DBA00541A8C6}" type="slidenum">
              <a:rPr lang="en-US" sz="800" baseline="0" smtClean="0">
                <a:solidFill>
                  <a:srgbClr val="FFFFFF"/>
                </a:solidFill>
                <a:latin typeface="+mn-lt"/>
              </a:rPr>
              <a:pPr/>
              <a:t>‹#›</a:t>
            </a:fld>
            <a:endParaRPr lang="en-US" sz="800" baseline="0" dirty="0">
              <a:solidFill>
                <a:srgbClr val="FFFFFF"/>
              </a:solidFill>
              <a:latin typeface="+mn-lt"/>
            </a:endParaRPr>
          </a:p>
        </p:txBody>
      </p:sp>
      <p:sp>
        <p:nvSpPr>
          <p:cNvPr id="16" name="SlideLogoText"/>
          <p:cNvSpPr>
            <a:spLocks noChangeArrowheads="1"/>
          </p:cNvSpPr>
          <p:nvPr>
            <p:custDataLst>
              <p:tags r:id="rId3"/>
            </p:custDataLst>
          </p:nvPr>
        </p:nvSpPr>
        <p:spPr bwMode="auto">
          <a:xfrm>
            <a:off x="7450817" y="6508272"/>
            <a:ext cx="1013098"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algn="r" defTabSz="895350"/>
            <a:r>
              <a:rPr lang="en-US" sz="800" baseline="0" dirty="0">
                <a:solidFill>
                  <a:srgbClr val="FFFFFF"/>
                </a:solidFill>
                <a:latin typeface="+mn-lt"/>
              </a:rPr>
              <a:t>McKinsey &amp; Company</a:t>
            </a:r>
          </a:p>
        </p:txBody>
      </p:sp>
      <p:sp>
        <p:nvSpPr>
          <p:cNvPr id="5" name="doc id" hidden="1"/>
          <p:cNvSpPr txBox="1">
            <a:spLocks noChangeArrowheads="1"/>
          </p:cNvSpPr>
          <p:nvPr/>
        </p:nvSpPr>
        <p:spPr bwMode="white">
          <a:xfrm>
            <a:off x="8104473" y="36513"/>
            <a:ext cx="634716" cy="115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hangingPunct="1">
              <a:defRPr/>
            </a:pPr>
            <a:endParaRPr lang="en-US" sz="800" baseline="0" dirty="0">
              <a:solidFill>
                <a:schemeClr val="accent1"/>
              </a:solidFill>
              <a:latin typeface="+mn-lt"/>
              <a:ea typeface="+mn-ea"/>
            </a:endParaRPr>
          </a:p>
        </p:txBody>
      </p:sp>
    </p:spTree>
    <p:extLst>
      <p:ext uri="{BB962C8B-B14F-4D97-AF65-F5344CB8AC3E}">
        <p14:creationId xmlns:p14="http://schemas.microsoft.com/office/powerpoint/2010/main" val="1138573168"/>
      </p:ext>
    </p:extLst>
  </p:cSld>
  <p:clrMapOvr>
    <a:masterClrMapping/>
  </p:clrMapOvr>
  <p:extLst mod="1">
    <p:ext uri="{DCECCB84-F9BA-43D5-87BE-67443E8EF086}">
      <p15:sldGuideLst xmlns:p15="http://schemas.microsoft.com/office/powerpoint/2012/main">
        <p15:guide id="1" pos="3978">
          <p15:clr>
            <a:srgbClr val="000000"/>
          </p15:clr>
        </p15:guide>
        <p15:guide id="2" orient="horz" pos="570">
          <p15:clr>
            <a:srgbClr val="000000"/>
          </p15:clr>
        </p15:guide>
        <p15:guide id="3" orient="horz" pos="3912">
          <p15:clr>
            <a:srgbClr val="000000"/>
          </p15:clr>
        </p15:guide>
        <p15:guide id="4" pos="72">
          <p15:clr>
            <a:srgbClr val="00000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type="titleOnly">
  <p:cSld name="2_Title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ECD524A-1569-4253-8CD8-48D288AD883C}"/>
              </a:ext>
            </a:extLst>
          </p:cNvPr>
          <p:cNvGraphicFramePr>
            <a:graphicFrameLocks noChangeAspect="1"/>
          </p:cNvGraphicFramePr>
          <p:nvPr>
            <p:custDataLst>
              <p:tags r:id="rId2"/>
            </p:custDataLst>
            <p:extLst>
              <p:ext uri="{D42A27DB-BD31-4B8C-83A1-F6EECF244321}">
                <p14:modId xmlns:p14="http://schemas.microsoft.com/office/powerpoint/2010/main" val="105624724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6100" name="think-cell Slide" r:id="rId4" imgW="395" imgH="394" progId="TCLayout.ActiveDocument.1">
                  <p:embed/>
                </p:oleObj>
              </mc:Choice>
              <mc:Fallback>
                <p:oleObj name="think-cell Slide" r:id="rId4" imgW="395" imgH="394" progId="TCLayout.ActiveDocument.1">
                  <p:embed/>
                  <p:pic>
                    <p:nvPicPr>
                      <p:cNvPr id="3" name="Object 2" hidden="1">
                        <a:extLst>
                          <a:ext uri="{FF2B5EF4-FFF2-40B4-BE49-F238E27FC236}">
                            <a16:creationId xmlns:a16="http://schemas.microsoft.com/office/drawing/2014/main" id="{5ECD524A-1569-4253-8CD8-48D288AD883C}"/>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872932157"/>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pic>
        <p:nvPicPr>
          <p:cNvPr id="2" name="background"/>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0" y="198"/>
            <a:ext cx="8961438" cy="6721079"/>
          </a:xfrm>
          <a:prstGeom prst="rect">
            <a:avLst/>
          </a:prstGeom>
        </p:spPr>
      </p:pic>
      <p:sp>
        <p:nvSpPr>
          <p:cNvPr id="28" name="TitleRectangle"/>
          <p:cNvSpPr txBox="1">
            <a:spLocks/>
          </p:cNvSpPr>
          <p:nvPr/>
        </p:nvSpPr>
        <p:spPr>
          <a:xfrm>
            <a:off x="2084388" y="0"/>
            <a:ext cx="6875462" cy="3575976"/>
          </a:xfrm>
          <a:prstGeom prst="rect">
            <a:avLst/>
          </a:prstGeom>
          <a:solidFill>
            <a:srgbClr val="002960">
              <a:alpha val="92000"/>
            </a:srgbClr>
          </a:solidFill>
        </p:spPr>
        <p:txBody>
          <a:bodyPr vert="horz" wrap="square" lIns="216000" tIns="1440000" rIns="216000" bIns="108000" rtlCol="0">
            <a:noAutofit/>
          </a:bodyPr>
          <a:lstStyle>
            <a:lvl1pPr marL="0" indent="0" algn="l" defTabSz="914400" rtl="0" eaLnBrk="1" latinLnBrk="0" hangingPunct="1">
              <a:spcBef>
                <a:spcPct val="20000"/>
              </a:spcBef>
              <a:spcAft>
                <a:spcPts val="6000"/>
              </a:spcAft>
              <a:buFont typeface="Arial" pitchFamily="34" charset="0"/>
              <a:buNone/>
              <a:defRPr sz="3200" kern="1200">
                <a:solidFill>
                  <a:schemeClr val="accent1"/>
                </a:solidFill>
                <a:latin typeface="+mn-lt"/>
                <a:ea typeface="+mn-ea"/>
                <a:cs typeface="+mn-cs"/>
              </a:defRPr>
            </a:lvl1pPr>
            <a:lvl2pPr marL="0" indent="0" algn="l" defTabSz="914400" rtl="0" eaLnBrk="1" latinLnBrk="0" hangingPunct="1">
              <a:spcBef>
                <a:spcPct val="20000"/>
              </a:spcBef>
              <a:buFont typeface="Wingdings" charset="2"/>
              <a:buNone/>
              <a:defRPr sz="1400" kern="1200">
                <a:solidFill>
                  <a:schemeClr val="tx1">
                    <a:lumMod val="50000"/>
                    <a:lumOff val="50000"/>
                  </a:schemeClr>
                </a:solidFill>
                <a:latin typeface="+mn-lt"/>
                <a:ea typeface="+mn-ea"/>
                <a:cs typeface="+mn-cs"/>
              </a:defRPr>
            </a:lvl2pPr>
            <a:lvl3pPr marL="1143000" indent="-228600" algn="l" defTabSz="914400" rtl="0" eaLnBrk="1" latinLnBrk="0" hangingPunct="1">
              <a:spcBef>
                <a:spcPct val="20000"/>
              </a:spcBef>
              <a:buFont typeface="Lucida Grande"/>
              <a:buChar char="–"/>
              <a:defRPr sz="16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fontAlgn="auto">
              <a:defRPr/>
            </a:pPr>
            <a:r>
              <a:rPr lang="en-US" baseline="0" dirty="0">
                <a:solidFill>
                  <a:srgbClr val="00ADEF"/>
                </a:solidFill>
                <a:latin typeface="+mn-lt"/>
              </a:rPr>
              <a:t>
              </a:t>
            </a:r>
            <a:br>
              <a:rPr lang="en-US" baseline="0" dirty="0">
                <a:solidFill>
                  <a:srgbClr val="00ADEF"/>
                </a:solidFill>
                <a:latin typeface="+mn-lt"/>
              </a:rPr>
            </a:br>
            <a:endParaRPr lang="en-US" baseline="0" dirty="0">
              <a:solidFill>
                <a:srgbClr val="00ADEF"/>
              </a:solidFill>
              <a:latin typeface="+mn-lt"/>
            </a:endParaRPr>
          </a:p>
        </p:txBody>
      </p:sp>
      <p:graphicFrame>
        <p:nvGraphicFramePr>
          <p:cNvPr id="3" name="Object 2"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8148"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Working Draft Text" hidden="1"/>
          <p:cNvSpPr txBox="1">
            <a:spLocks noChangeArrowheads="1"/>
          </p:cNvSpPr>
          <p:nvPr/>
        </p:nvSpPr>
        <p:spPr bwMode="black">
          <a:xfrm>
            <a:off x="5992719" y="6287538"/>
            <a:ext cx="2790000"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800" b="1" baseline="0" dirty="0">
                <a:solidFill>
                  <a:srgbClr val="FFFFFF"/>
                </a:solidFill>
                <a:latin typeface="+mn-lt"/>
              </a:rPr>
              <a:t>WORKING DRAFT</a:t>
            </a:r>
          </a:p>
        </p:txBody>
      </p:sp>
      <p:sp>
        <p:nvSpPr>
          <p:cNvPr id="6" name="Working Draft" hidden="1"/>
          <p:cNvSpPr txBox="1">
            <a:spLocks noChangeArrowheads="1"/>
          </p:cNvSpPr>
          <p:nvPr/>
        </p:nvSpPr>
        <p:spPr bwMode="black">
          <a:xfrm>
            <a:off x="5992718" y="6410648"/>
            <a:ext cx="2968719"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800" baseline="0">
                <a:solidFill>
                  <a:srgbClr val="FFFFFF"/>
                </a:solidFill>
                <a:latin typeface="+mn-lt"/>
              </a:rPr>
              <a:t>Last Modified 21/05/2018 17:44 India Standard Time</a:t>
            </a:r>
            <a:endParaRPr lang="en-US" sz="800" baseline="0" dirty="0">
              <a:solidFill>
                <a:srgbClr val="FFFFFF"/>
              </a:solidFill>
              <a:latin typeface="+mn-lt"/>
            </a:endParaRPr>
          </a:p>
        </p:txBody>
      </p:sp>
      <p:sp>
        <p:nvSpPr>
          <p:cNvPr id="7" name="Printed" hidden="1"/>
          <p:cNvSpPr txBox="1">
            <a:spLocks noChangeArrowheads="1"/>
          </p:cNvSpPr>
          <p:nvPr/>
        </p:nvSpPr>
        <p:spPr bwMode="black">
          <a:xfrm>
            <a:off x="5992719" y="6533759"/>
            <a:ext cx="2790000"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800" baseline="0" dirty="0">
                <a:solidFill>
                  <a:srgbClr val="FFFFFF"/>
                </a:solidFill>
                <a:latin typeface="+mn-lt"/>
              </a:rPr>
              <a:t>Printed</a:t>
            </a:r>
          </a:p>
        </p:txBody>
      </p:sp>
      <p:sp>
        <p:nvSpPr>
          <p:cNvPr id="13314" name="Title"/>
          <p:cNvSpPr>
            <a:spLocks noGrp="1" noChangeArrowheads="1"/>
          </p:cNvSpPr>
          <p:nvPr>
            <p:ph type="ctrTitle"/>
          </p:nvPr>
        </p:nvSpPr>
        <p:spPr>
          <a:xfrm>
            <a:off x="2268266" y="1434419"/>
            <a:ext cx="6231663" cy="492443"/>
          </a:xfrm>
          <a:prstGeom prst="rect">
            <a:avLst/>
          </a:prstGeom>
        </p:spPr>
        <p:txBody>
          <a:bodyPr>
            <a:spAutoFit/>
          </a:bodyPr>
          <a:lstStyle>
            <a:lvl1pPr>
              <a:defRPr sz="3200" b="0" baseline="0">
                <a:solidFill>
                  <a:schemeClr val="accent2"/>
                </a:solidFill>
                <a:latin typeface="+mj-lt"/>
                <a:ea typeface="+mj-ea"/>
              </a:defRPr>
            </a:lvl1pPr>
          </a:lstStyle>
          <a:p>
            <a:pPr lvl="0" latinLnBrk="0"/>
            <a:r>
              <a:rPr lang="en-US" noProof="0"/>
              <a:t>Click to edit Master title style</a:t>
            </a:r>
            <a:endParaRPr lang="en-US" noProof="0" dirty="0"/>
          </a:p>
        </p:txBody>
      </p:sp>
      <p:sp>
        <p:nvSpPr>
          <p:cNvPr id="13315" name="Subtitle"/>
          <p:cNvSpPr>
            <a:spLocks noGrp="1" noChangeArrowheads="1"/>
          </p:cNvSpPr>
          <p:nvPr>
            <p:ph type="subTitle" idx="1"/>
          </p:nvPr>
        </p:nvSpPr>
        <p:spPr>
          <a:xfrm>
            <a:off x="2268266" y="2819401"/>
            <a:ext cx="6231663" cy="215444"/>
          </a:xfrm>
          <a:prstGeom prst="rect">
            <a:avLst/>
          </a:prstGeom>
        </p:spPr>
        <p:txBody>
          <a:bodyPr wrap="square">
            <a:spAutoFit/>
          </a:bodyPr>
          <a:lstStyle>
            <a:lvl1pPr>
              <a:defRPr sz="1400" cap="all" baseline="0">
                <a:solidFill>
                  <a:schemeClr val="bg1"/>
                </a:solidFill>
                <a:latin typeface="+mn-lt"/>
                <a:ea typeface="+mn-ea"/>
              </a:defRPr>
            </a:lvl1pPr>
          </a:lstStyle>
          <a:p>
            <a:pPr lvl="0" latinLnBrk="0"/>
            <a:r>
              <a:rPr lang="en-US" noProof="0"/>
              <a:t>Click to edit Master subtitle style</a:t>
            </a:r>
            <a:endParaRPr lang="en-US" noProof="0" dirty="0"/>
          </a:p>
        </p:txBody>
      </p:sp>
      <p:sp>
        <p:nvSpPr>
          <p:cNvPr id="57" name="Document type" hidden="1"/>
          <p:cNvSpPr txBox="1">
            <a:spLocks noChangeArrowheads="1"/>
          </p:cNvSpPr>
          <p:nvPr/>
        </p:nvSpPr>
        <p:spPr bwMode="gray">
          <a:xfrm>
            <a:off x="2268266" y="3227411"/>
            <a:ext cx="6231663"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00" baseline="0" dirty="0">
                <a:solidFill>
                  <a:schemeClr val="bg1"/>
                </a:solidFill>
                <a:latin typeface="+mn-lt"/>
              </a:rPr>
              <a:t>Document type | Date</a:t>
            </a:r>
          </a:p>
        </p:txBody>
      </p:sp>
      <p:sp>
        <p:nvSpPr>
          <p:cNvPr id="5" name="doc id" hidden="1"/>
          <p:cNvSpPr txBox="1">
            <a:spLocks noChangeArrowheads="1"/>
          </p:cNvSpPr>
          <p:nvPr/>
        </p:nvSpPr>
        <p:spPr bwMode="white">
          <a:xfrm>
            <a:off x="8443913" y="36513"/>
            <a:ext cx="295275" cy="1222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hangingPunct="1">
              <a:defRPr/>
            </a:pPr>
            <a:endParaRPr lang="en-US" sz="800" baseline="0" dirty="0">
              <a:solidFill>
                <a:srgbClr val="FFFFFF"/>
              </a:solidFill>
              <a:latin typeface="+mn-lt"/>
            </a:endParaRPr>
          </a:p>
        </p:txBody>
      </p:sp>
      <p:sp>
        <p:nvSpPr>
          <p:cNvPr id="43" name="LogoImage"/>
          <p:cNvSpPr>
            <a:spLocks noEditPoints="1"/>
          </p:cNvSpPr>
          <p:nvPr/>
        </p:nvSpPr>
        <p:spPr bwMode="white">
          <a:xfrm>
            <a:off x="2269098" y="182925"/>
            <a:ext cx="2176978" cy="238073"/>
          </a:xfrm>
          <a:custGeom>
            <a:avLst/>
            <a:gdLst>
              <a:gd name="T0" fmla="*/ 504 w 5516"/>
              <a:gd name="T1" fmla="*/ 26 h 606"/>
              <a:gd name="T2" fmla="*/ 18 w 5516"/>
              <a:gd name="T3" fmla="*/ 22 h 606"/>
              <a:gd name="T4" fmla="*/ 140 w 5516"/>
              <a:gd name="T5" fmla="*/ 436 h 606"/>
              <a:gd name="T6" fmla="*/ 408 w 5516"/>
              <a:gd name="T7" fmla="*/ 372 h 606"/>
              <a:gd name="T8" fmla="*/ 696 w 5516"/>
              <a:gd name="T9" fmla="*/ 422 h 606"/>
              <a:gd name="T10" fmla="*/ 768 w 5516"/>
              <a:gd name="T11" fmla="*/ 196 h 606"/>
              <a:gd name="T12" fmla="*/ 1272 w 5516"/>
              <a:gd name="T13" fmla="*/ 26 h 606"/>
              <a:gd name="T14" fmla="*/ 1302 w 5516"/>
              <a:gd name="T15" fmla="*/ 338 h 606"/>
              <a:gd name="T16" fmla="*/ 1202 w 5516"/>
              <a:gd name="T17" fmla="*/ 436 h 606"/>
              <a:gd name="T18" fmla="*/ 1030 w 5516"/>
              <a:gd name="T19" fmla="*/ 10 h 606"/>
              <a:gd name="T20" fmla="*/ 960 w 5516"/>
              <a:gd name="T21" fmla="*/ 22 h 606"/>
              <a:gd name="T22" fmla="*/ 804 w 5516"/>
              <a:gd name="T23" fmla="*/ 434 h 606"/>
              <a:gd name="T24" fmla="*/ 930 w 5516"/>
              <a:gd name="T25" fmla="*/ 246 h 606"/>
              <a:gd name="T26" fmla="*/ 1658 w 5516"/>
              <a:gd name="T27" fmla="*/ 342 h 606"/>
              <a:gd name="T28" fmla="*/ 1368 w 5516"/>
              <a:gd name="T29" fmla="*/ 188 h 606"/>
              <a:gd name="T30" fmla="*/ 1514 w 5516"/>
              <a:gd name="T31" fmla="*/ 436 h 606"/>
              <a:gd name="T32" fmla="*/ 1564 w 5516"/>
              <a:gd name="T33" fmla="*/ 434 h 606"/>
              <a:gd name="T34" fmla="*/ 1904 w 5516"/>
              <a:gd name="T35" fmla="*/ 184 h 606"/>
              <a:gd name="T36" fmla="*/ 1728 w 5516"/>
              <a:gd name="T37" fmla="*/ 366 h 606"/>
              <a:gd name="T38" fmla="*/ 2102 w 5516"/>
              <a:gd name="T39" fmla="*/ 192 h 606"/>
              <a:gd name="T40" fmla="*/ 1982 w 5516"/>
              <a:gd name="T41" fmla="*/ 320 h 606"/>
              <a:gd name="T42" fmla="*/ 2478 w 5516"/>
              <a:gd name="T43" fmla="*/ 242 h 606"/>
              <a:gd name="T44" fmla="*/ 2406 w 5516"/>
              <a:gd name="T45" fmla="*/ 390 h 606"/>
              <a:gd name="T46" fmla="*/ 2234 w 5516"/>
              <a:gd name="T47" fmla="*/ 192 h 606"/>
              <a:gd name="T48" fmla="*/ 2478 w 5516"/>
              <a:gd name="T49" fmla="*/ 242 h 606"/>
              <a:gd name="T50" fmla="*/ 2928 w 5516"/>
              <a:gd name="T51" fmla="*/ 448 h 606"/>
              <a:gd name="T52" fmla="*/ 2958 w 5516"/>
              <a:gd name="T53" fmla="*/ 230 h 606"/>
              <a:gd name="T54" fmla="*/ 2716 w 5516"/>
              <a:gd name="T55" fmla="*/ 54 h 606"/>
              <a:gd name="T56" fmla="*/ 2714 w 5516"/>
              <a:gd name="T57" fmla="*/ 36 h 606"/>
              <a:gd name="T58" fmla="*/ 2928 w 5516"/>
              <a:gd name="T59" fmla="*/ 448 h 606"/>
              <a:gd name="T60" fmla="*/ 3388 w 5516"/>
              <a:gd name="T61" fmla="*/ 4 h 606"/>
              <a:gd name="T62" fmla="*/ 3396 w 5516"/>
              <a:gd name="T63" fmla="*/ 366 h 606"/>
              <a:gd name="T64" fmla="*/ 3580 w 5516"/>
              <a:gd name="T65" fmla="*/ 190 h 606"/>
              <a:gd name="T66" fmla="*/ 3502 w 5516"/>
              <a:gd name="T67" fmla="*/ 432 h 606"/>
              <a:gd name="T68" fmla="*/ 4232 w 5516"/>
              <a:gd name="T69" fmla="*/ 348 h 606"/>
              <a:gd name="T70" fmla="*/ 3858 w 5516"/>
              <a:gd name="T71" fmla="*/ 176 h 606"/>
              <a:gd name="T72" fmla="*/ 3758 w 5516"/>
              <a:gd name="T73" fmla="*/ 446 h 606"/>
              <a:gd name="T74" fmla="*/ 3990 w 5516"/>
              <a:gd name="T75" fmla="*/ 282 h 606"/>
              <a:gd name="T76" fmla="*/ 4042 w 5516"/>
              <a:gd name="T77" fmla="*/ 342 h 606"/>
              <a:gd name="T78" fmla="*/ 4134 w 5516"/>
              <a:gd name="T79" fmla="*/ 448 h 606"/>
              <a:gd name="T80" fmla="*/ 4454 w 5516"/>
              <a:gd name="T81" fmla="*/ 202 h 606"/>
              <a:gd name="T82" fmla="*/ 4284 w 5516"/>
              <a:gd name="T83" fmla="*/ 174 h 606"/>
              <a:gd name="T84" fmla="*/ 4432 w 5516"/>
              <a:gd name="T85" fmla="*/ 588 h 606"/>
              <a:gd name="T86" fmla="*/ 4792 w 5516"/>
              <a:gd name="T87" fmla="*/ 382 h 606"/>
              <a:gd name="T88" fmla="*/ 5192 w 5516"/>
              <a:gd name="T89" fmla="*/ 340 h 606"/>
              <a:gd name="T90" fmla="*/ 4902 w 5516"/>
              <a:gd name="T91" fmla="*/ 186 h 606"/>
              <a:gd name="T92" fmla="*/ 4850 w 5516"/>
              <a:gd name="T93" fmla="*/ 274 h 606"/>
              <a:gd name="T94" fmla="*/ 4742 w 5516"/>
              <a:gd name="T95" fmla="*/ 194 h 606"/>
              <a:gd name="T96" fmla="*/ 4794 w 5516"/>
              <a:gd name="T97" fmla="*/ 418 h 606"/>
              <a:gd name="T98" fmla="*/ 5004 w 5516"/>
              <a:gd name="T99" fmla="*/ 338 h 606"/>
              <a:gd name="T100" fmla="*/ 5098 w 5516"/>
              <a:gd name="T101" fmla="*/ 446 h 606"/>
              <a:gd name="T102" fmla="*/ 5418 w 5516"/>
              <a:gd name="T103" fmla="*/ 192 h 606"/>
              <a:gd name="T104" fmla="*/ 5348 w 5516"/>
              <a:gd name="T105" fmla="*/ 180 h 606"/>
              <a:gd name="T106" fmla="*/ 5254 w 5516"/>
              <a:gd name="T107" fmla="*/ 606 h 6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516" h="606">
                <a:moveTo>
                  <a:pt x="366" y="448"/>
                </a:moveTo>
                <a:cubicBezTo>
                  <a:pt x="524" y="448"/>
                  <a:pt x="524" y="448"/>
                  <a:pt x="524" y="448"/>
                </a:cubicBezTo>
                <a:cubicBezTo>
                  <a:pt x="524" y="436"/>
                  <a:pt x="524" y="436"/>
                  <a:pt x="524" y="436"/>
                </a:cubicBezTo>
                <a:cubicBezTo>
                  <a:pt x="486" y="432"/>
                  <a:pt x="470" y="414"/>
                  <a:pt x="468" y="362"/>
                </a:cubicBezTo>
                <a:cubicBezTo>
                  <a:pt x="454" y="86"/>
                  <a:pt x="454" y="86"/>
                  <a:pt x="454" y="86"/>
                </a:cubicBezTo>
                <a:cubicBezTo>
                  <a:pt x="452" y="46"/>
                  <a:pt x="470" y="30"/>
                  <a:pt x="504" y="26"/>
                </a:cubicBezTo>
                <a:cubicBezTo>
                  <a:pt x="504" y="12"/>
                  <a:pt x="504" y="12"/>
                  <a:pt x="504" y="12"/>
                </a:cubicBezTo>
                <a:cubicBezTo>
                  <a:pt x="394" y="12"/>
                  <a:pt x="394" y="12"/>
                  <a:pt x="394" y="12"/>
                </a:cubicBezTo>
                <a:cubicBezTo>
                  <a:pt x="264" y="350"/>
                  <a:pt x="264" y="350"/>
                  <a:pt x="264" y="350"/>
                </a:cubicBezTo>
                <a:cubicBezTo>
                  <a:pt x="132" y="10"/>
                  <a:pt x="132" y="10"/>
                  <a:pt x="132" y="10"/>
                </a:cubicBezTo>
                <a:cubicBezTo>
                  <a:pt x="18" y="10"/>
                  <a:pt x="18" y="10"/>
                  <a:pt x="18" y="10"/>
                </a:cubicBezTo>
                <a:cubicBezTo>
                  <a:pt x="18" y="22"/>
                  <a:pt x="18" y="22"/>
                  <a:pt x="18" y="22"/>
                </a:cubicBezTo>
                <a:cubicBezTo>
                  <a:pt x="40" y="26"/>
                  <a:pt x="74" y="32"/>
                  <a:pt x="72" y="84"/>
                </a:cubicBezTo>
                <a:cubicBezTo>
                  <a:pt x="58" y="352"/>
                  <a:pt x="58" y="352"/>
                  <a:pt x="58" y="352"/>
                </a:cubicBezTo>
                <a:cubicBezTo>
                  <a:pt x="54" y="410"/>
                  <a:pt x="38" y="430"/>
                  <a:pt x="0" y="436"/>
                </a:cubicBezTo>
                <a:cubicBezTo>
                  <a:pt x="0" y="448"/>
                  <a:pt x="0" y="448"/>
                  <a:pt x="0" y="448"/>
                </a:cubicBezTo>
                <a:cubicBezTo>
                  <a:pt x="140" y="448"/>
                  <a:pt x="140" y="448"/>
                  <a:pt x="140" y="448"/>
                </a:cubicBezTo>
                <a:cubicBezTo>
                  <a:pt x="140" y="436"/>
                  <a:pt x="140" y="436"/>
                  <a:pt x="140" y="436"/>
                </a:cubicBezTo>
                <a:cubicBezTo>
                  <a:pt x="98" y="428"/>
                  <a:pt x="84" y="414"/>
                  <a:pt x="88" y="356"/>
                </a:cubicBezTo>
                <a:cubicBezTo>
                  <a:pt x="100" y="86"/>
                  <a:pt x="100" y="86"/>
                  <a:pt x="100" y="86"/>
                </a:cubicBezTo>
                <a:cubicBezTo>
                  <a:pt x="240" y="444"/>
                  <a:pt x="240" y="444"/>
                  <a:pt x="240" y="444"/>
                </a:cubicBezTo>
                <a:cubicBezTo>
                  <a:pt x="258" y="444"/>
                  <a:pt x="258" y="444"/>
                  <a:pt x="258" y="444"/>
                </a:cubicBezTo>
                <a:cubicBezTo>
                  <a:pt x="396" y="86"/>
                  <a:pt x="396" y="86"/>
                  <a:pt x="396" y="86"/>
                </a:cubicBezTo>
                <a:cubicBezTo>
                  <a:pt x="408" y="372"/>
                  <a:pt x="408" y="372"/>
                  <a:pt x="408" y="372"/>
                </a:cubicBezTo>
                <a:cubicBezTo>
                  <a:pt x="410" y="416"/>
                  <a:pt x="398" y="430"/>
                  <a:pt x="366" y="434"/>
                </a:cubicBezTo>
                <a:lnTo>
                  <a:pt x="366" y="448"/>
                </a:lnTo>
                <a:close/>
                <a:moveTo>
                  <a:pt x="670" y="456"/>
                </a:moveTo>
                <a:cubicBezTo>
                  <a:pt x="708" y="456"/>
                  <a:pt x="756" y="440"/>
                  <a:pt x="782" y="412"/>
                </a:cubicBezTo>
                <a:cubicBezTo>
                  <a:pt x="776" y="400"/>
                  <a:pt x="776" y="400"/>
                  <a:pt x="776" y="400"/>
                </a:cubicBezTo>
                <a:cubicBezTo>
                  <a:pt x="750" y="416"/>
                  <a:pt x="722" y="422"/>
                  <a:pt x="696" y="422"/>
                </a:cubicBezTo>
                <a:cubicBezTo>
                  <a:pt x="620" y="422"/>
                  <a:pt x="592" y="358"/>
                  <a:pt x="592" y="290"/>
                </a:cubicBezTo>
                <a:cubicBezTo>
                  <a:pt x="592" y="258"/>
                  <a:pt x="600" y="236"/>
                  <a:pt x="614" y="222"/>
                </a:cubicBezTo>
                <a:cubicBezTo>
                  <a:pt x="626" y="210"/>
                  <a:pt x="646" y="204"/>
                  <a:pt x="664" y="204"/>
                </a:cubicBezTo>
                <a:cubicBezTo>
                  <a:pt x="690" y="204"/>
                  <a:pt x="722" y="214"/>
                  <a:pt x="744" y="244"/>
                </a:cubicBezTo>
                <a:cubicBezTo>
                  <a:pt x="750" y="244"/>
                  <a:pt x="750" y="244"/>
                  <a:pt x="750" y="244"/>
                </a:cubicBezTo>
                <a:cubicBezTo>
                  <a:pt x="758" y="234"/>
                  <a:pt x="766" y="212"/>
                  <a:pt x="768" y="196"/>
                </a:cubicBezTo>
                <a:cubicBezTo>
                  <a:pt x="748" y="180"/>
                  <a:pt x="720" y="172"/>
                  <a:pt x="686" y="172"/>
                </a:cubicBezTo>
                <a:cubicBezTo>
                  <a:pt x="604" y="172"/>
                  <a:pt x="544" y="246"/>
                  <a:pt x="544" y="326"/>
                </a:cubicBezTo>
                <a:cubicBezTo>
                  <a:pt x="540" y="390"/>
                  <a:pt x="576" y="456"/>
                  <a:pt x="670" y="456"/>
                </a:cubicBezTo>
                <a:moveTo>
                  <a:pt x="1272" y="98"/>
                </a:moveTo>
                <a:cubicBezTo>
                  <a:pt x="1292" y="98"/>
                  <a:pt x="1308" y="82"/>
                  <a:pt x="1308" y="62"/>
                </a:cubicBezTo>
                <a:cubicBezTo>
                  <a:pt x="1308" y="42"/>
                  <a:pt x="1292" y="26"/>
                  <a:pt x="1272" y="26"/>
                </a:cubicBezTo>
                <a:cubicBezTo>
                  <a:pt x="1252" y="26"/>
                  <a:pt x="1238" y="42"/>
                  <a:pt x="1238" y="62"/>
                </a:cubicBezTo>
                <a:cubicBezTo>
                  <a:pt x="1238" y="82"/>
                  <a:pt x="1252" y="98"/>
                  <a:pt x="1272" y="98"/>
                </a:cubicBezTo>
                <a:moveTo>
                  <a:pt x="1202" y="448"/>
                </a:moveTo>
                <a:cubicBezTo>
                  <a:pt x="1346" y="448"/>
                  <a:pt x="1346" y="448"/>
                  <a:pt x="1346" y="448"/>
                </a:cubicBezTo>
                <a:cubicBezTo>
                  <a:pt x="1346" y="436"/>
                  <a:pt x="1346" y="436"/>
                  <a:pt x="1346" y="436"/>
                </a:cubicBezTo>
                <a:cubicBezTo>
                  <a:pt x="1304" y="432"/>
                  <a:pt x="1302" y="434"/>
                  <a:pt x="1302" y="338"/>
                </a:cubicBezTo>
                <a:cubicBezTo>
                  <a:pt x="1302" y="176"/>
                  <a:pt x="1302" y="176"/>
                  <a:pt x="1302" y="176"/>
                </a:cubicBezTo>
                <a:cubicBezTo>
                  <a:pt x="1200" y="176"/>
                  <a:pt x="1200" y="176"/>
                  <a:pt x="1200" y="176"/>
                </a:cubicBezTo>
                <a:cubicBezTo>
                  <a:pt x="1200" y="188"/>
                  <a:pt x="1200" y="188"/>
                  <a:pt x="1200" y="188"/>
                </a:cubicBezTo>
                <a:cubicBezTo>
                  <a:pt x="1244" y="190"/>
                  <a:pt x="1250" y="192"/>
                  <a:pt x="1250" y="268"/>
                </a:cubicBezTo>
                <a:cubicBezTo>
                  <a:pt x="1250" y="336"/>
                  <a:pt x="1250" y="336"/>
                  <a:pt x="1250" y="336"/>
                </a:cubicBezTo>
                <a:cubicBezTo>
                  <a:pt x="1250" y="432"/>
                  <a:pt x="1248" y="432"/>
                  <a:pt x="1202" y="436"/>
                </a:cubicBezTo>
                <a:cubicBezTo>
                  <a:pt x="1178" y="434"/>
                  <a:pt x="1154" y="426"/>
                  <a:pt x="1076" y="338"/>
                </a:cubicBezTo>
                <a:cubicBezTo>
                  <a:pt x="1046" y="302"/>
                  <a:pt x="996" y="244"/>
                  <a:pt x="968" y="206"/>
                </a:cubicBezTo>
                <a:cubicBezTo>
                  <a:pt x="1062" y="102"/>
                  <a:pt x="1062" y="102"/>
                  <a:pt x="1062" y="102"/>
                </a:cubicBezTo>
                <a:cubicBezTo>
                  <a:pt x="1108" y="52"/>
                  <a:pt x="1132" y="26"/>
                  <a:pt x="1176" y="24"/>
                </a:cubicBezTo>
                <a:cubicBezTo>
                  <a:pt x="1176" y="10"/>
                  <a:pt x="1176" y="10"/>
                  <a:pt x="1176" y="10"/>
                </a:cubicBezTo>
                <a:cubicBezTo>
                  <a:pt x="1030" y="10"/>
                  <a:pt x="1030" y="10"/>
                  <a:pt x="1030" y="10"/>
                </a:cubicBezTo>
                <a:cubicBezTo>
                  <a:pt x="1030" y="22"/>
                  <a:pt x="1030" y="22"/>
                  <a:pt x="1030" y="22"/>
                </a:cubicBezTo>
                <a:cubicBezTo>
                  <a:pt x="1050" y="26"/>
                  <a:pt x="1056" y="32"/>
                  <a:pt x="1056" y="46"/>
                </a:cubicBezTo>
                <a:cubicBezTo>
                  <a:pt x="1056" y="56"/>
                  <a:pt x="1054" y="72"/>
                  <a:pt x="1026" y="102"/>
                </a:cubicBezTo>
                <a:cubicBezTo>
                  <a:pt x="910" y="230"/>
                  <a:pt x="910" y="230"/>
                  <a:pt x="910" y="230"/>
                </a:cubicBezTo>
                <a:cubicBezTo>
                  <a:pt x="910" y="148"/>
                  <a:pt x="910" y="148"/>
                  <a:pt x="910" y="148"/>
                </a:cubicBezTo>
                <a:cubicBezTo>
                  <a:pt x="910" y="36"/>
                  <a:pt x="916" y="28"/>
                  <a:pt x="960" y="22"/>
                </a:cubicBezTo>
                <a:cubicBezTo>
                  <a:pt x="960" y="8"/>
                  <a:pt x="960" y="8"/>
                  <a:pt x="960" y="8"/>
                </a:cubicBezTo>
                <a:cubicBezTo>
                  <a:pt x="804" y="8"/>
                  <a:pt x="804" y="8"/>
                  <a:pt x="804" y="8"/>
                </a:cubicBezTo>
                <a:cubicBezTo>
                  <a:pt x="804" y="22"/>
                  <a:pt x="804" y="22"/>
                  <a:pt x="804" y="22"/>
                </a:cubicBezTo>
                <a:cubicBezTo>
                  <a:pt x="852" y="26"/>
                  <a:pt x="854" y="36"/>
                  <a:pt x="854" y="148"/>
                </a:cubicBezTo>
                <a:cubicBezTo>
                  <a:pt x="854" y="300"/>
                  <a:pt x="854" y="300"/>
                  <a:pt x="854" y="300"/>
                </a:cubicBezTo>
                <a:cubicBezTo>
                  <a:pt x="854" y="422"/>
                  <a:pt x="850" y="430"/>
                  <a:pt x="804" y="434"/>
                </a:cubicBezTo>
                <a:cubicBezTo>
                  <a:pt x="804" y="446"/>
                  <a:pt x="804" y="446"/>
                  <a:pt x="804" y="446"/>
                </a:cubicBezTo>
                <a:cubicBezTo>
                  <a:pt x="960" y="446"/>
                  <a:pt x="960" y="446"/>
                  <a:pt x="960" y="446"/>
                </a:cubicBezTo>
                <a:cubicBezTo>
                  <a:pt x="960" y="434"/>
                  <a:pt x="960" y="434"/>
                  <a:pt x="960" y="434"/>
                </a:cubicBezTo>
                <a:cubicBezTo>
                  <a:pt x="910" y="428"/>
                  <a:pt x="910" y="424"/>
                  <a:pt x="910" y="292"/>
                </a:cubicBezTo>
                <a:cubicBezTo>
                  <a:pt x="910" y="268"/>
                  <a:pt x="910" y="268"/>
                  <a:pt x="910" y="268"/>
                </a:cubicBezTo>
                <a:cubicBezTo>
                  <a:pt x="930" y="246"/>
                  <a:pt x="930" y="246"/>
                  <a:pt x="930" y="246"/>
                </a:cubicBezTo>
                <a:cubicBezTo>
                  <a:pt x="982" y="310"/>
                  <a:pt x="1038" y="380"/>
                  <a:pt x="1098" y="448"/>
                </a:cubicBezTo>
                <a:cubicBezTo>
                  <a:pt x="1202" y="448"/>
                  <a:pt x="1202" y="448"/>
                  <a:pt x="1202" y="448"/>
                </a:cubicBezTo>
                <a:close/>
                <a:moveTo>
                  <a:pt x="1564" y="448"/>
                </a:moveTo>
                <a:cubicBezTo>
                  <a:pt x="1706" y="448"/>
                  <a:pt x="1706" y="448"/>
                  <a:pt x="1706" y="448"/>
                </a:cubicBezTo>
                <a:cubicBezTo>
                  <a:pt x="1706" y="436"/>
                  <a:pt x="1706" y="436"/>
                  <a:pt x="1706" y="436"/>
                </a:cubicBezTo>
                <a:cubicBezTo>
                  <a:pt x="1658" y="434"/>
                  <a:pt x="1658" y="432"/>
                  <a:pt x="1658" y="342"/>
                </a:cubicBezTo>
                <a:cubicBezTo>
                  <a:pt x="1658" y="280"/>
                  <a:pt x="1658" y="280"/>
                  <a:pt x="1658" y="280"/>
                </a:cubicBezTo>
                <a:cubicBezTo>
                  <a:pt x="1658" y="198"/>
                  <a:pt x="1612" y="172"/>
                  <a:pt x="1570" y="172"/>
                </a:cubicBezTo>
                <a:cubicBezTo>
                  <a:pt x="1534" y="172"/>
                  <a:pt x="1498" y="188"/>
                  <a:pt x="1470" y="224"/>
                </a:cubicBezTo>
                <a:cubicBezTo>
                  <a:pt x="1470" y="176"/>
                  <a:pt x="1470" y="176"/>
                  <a:pt x="1470" y="176"/>
                </a:cubicBezTo>
                <a:cubicBezTo>
                  <a:pt x="1368" y="176"/>
                  <a:pt x="1368" y="176"/>
                  <a:pt x="1368" y="176"/>
                </a:cubicBezTo>
                <a:cubicBezTo>
                  <a:pt x="1368" y="188"/>
                  <a:pt x="1368" y="188"/>
                  <a:pt x="1368" y="188"/>
                </a:cubicBezTo>
                <a:cubicBezTo>
                  <a:pt x="1412" y="190"/>
                  <a:pt x="1418" y="192"/>
                  <a:pt x="1418" y="268"/>
                </a:cubicBezTo>
                <a:cubicBezTo>
                  <a:pt x="1418" y="336"/>
                  <a:pt x="1418" y="336"/>
                  <a:pt x="1418" y="336"/>
                </a:cubicBezTo>
                <a:cubicBezTo>
                  <a:pt x="1418" y="434"/>
                  <a:pt x="1418" y="434"/>
                  <a:pt x="1370" y="436"/>
                </a:cubicBezTo>
                <a:cubicBezTo>
                  <a:pt x="1370" y="448"/>
                  <a:pt x="1370" y="448"/>
                  <a:pt x="1370" y="448"/>
                </a:cubicBezTo>
                <a:cubicBezTo>
                  <a:pt x="1514" y="448"/>
                  <a:pt x="1514" y="448"/>
                  <a:pt x="1514" y="448"/>
                </a:cubicBezTo>
                <a:cubicBezTo>
                  <a:pt x="1514" y="436"/>
                  <a:pt x="1514" y="436"/>
                  <a:pt x="1514" y="436"/>
                </a:cubicBezTo>
                <a:cubicBezTo>
                  <a:pt x="1472" y="432"/>
                  <a:pt x="1470" y="434"/>
                  <a:pt x="1470" y="338"/>
                </a:cubicBezTo>
                <a:cubicBezTo>
                  <a:pt x="1470" y="262"/>
                  <a:pt x="1470" y="262"/>
                  <a:pt x="1470" y="262"/>
                </a:cubicBezTo>
                <a:cubicBezTo>
                  <a:pt x="1470" y="236"/>
                  <a:pt x="1504" y="206"/>
                  <a:pt x="1546" y="206"/>
                </a:cubicBezTo>
                <a:cubicBezTo>
                  <a:pt x="1580" y="206"/>
                  <a:pt x="1606" y="220"/>
                  <a:pt x="1606" y="286"/>
                </a:cubicBezTo>
                <a:cubicBezTo>
                  <a:pt x="1606" y="340"/>
                  <a:pt x="1606" y="340"/>
                  <a:pt x="1606" y="340"/>
                </a:cubicBezTo>
                <a:cubicBezTo>
                  <a:pt x="1606" y="432"/>
                  <a:pt x="1602" y="432"/>
                  <a:pt x="1564" y="434"/>
                </a:cubicBezTo>
                <a:lnTo>
                  <a:pt x="1564" y="448"/>
                </a:lnTo>
                <a:close/>
                <a:moveTo>
                  <a:pt x="1776" y="222"/>
                </a:moveTo>
                <a:cubicBezTo>
                  <a:pt x="1776" y="200"/>
                  <a:pt x="1796" y="188"/>
                  <a:pt x="1822" y="188"/>
                </a:cubicBezTo>
                <a:cubicBezTo>
                  <a:pt x="1874" y="188"/>
                  <a:pt x="1896" y="236"/>
                  <a:pt x="1900" y="252"/>
                </a:cubicBezTo>
                <a:cubicBezTo>
                  <a:pt x="1912" y="252"/>
                  <a:pt x="1912" y="252"/>
                  <a:pt x="1912" y="252"/>
                </a:cubicBezTo>
                <a:cubicBezTo>
                  <a:pt x="1912" y="212"/>
                  <a:pt x="1908" y="188"/>
                  <a:pt x="1904" y="184"/>
                </a:cubicBezTo>
                <a:cubicBezTo>
                  <a:pt x="1900" y="180"/>
                  <a:pt x="1862" y="170"/>
                  <a:pt x="1824" y="170"/>
                </a:cubicBezTo>
                <a:cubicBezTo>
                  <a:pt x="1768" y="170"/>
                  <a:pt x="1734" y="206"/>
                  <a:pt x="1734" y="248"/>
                </a:cubicBezTo>
                <a:cubicBezTo>
                  <a:pt x="1734" y="340"/>
                  <a:pt x="1890" y="322"/>
                  <a:pt x="1890" y="396"/>
                </a:cubicBezTo>
                <a:cubicBezTo>
                  <a:pt x="1890" y="422"/>
                  <a:pt x="1866" y="436"/>
                  <a:pt x="1826" y="436"/>
                </a:cubicBezTo>
                <a:cubicBezTo>
                  <a:pt x="1788" y="436"/>
                  <a:pt x="1754" y="416"/>
                  <a:pt x="1744" y="366"/>
                </a:cubicBezTo>
                <a:cubicBezTo>
                  <a:pt x="1728" y="366"/>
                  <a:pt x="1728" y="366"/>
                  <a:pt x="1728" y="366"/>
                </a:cubicBezTo>
                <a:cubicBezTo>
                  <a:pt x="1728" y="386"/>
                  <a:pt x="1732" y="422"/>
                  <a:pt x="1734" y="428"/>
                </a:cubicBezTo>
                <a:cubicBezTo>
                  <a:pt x="1744" y="446"/>
                  <a:pt x="1788" y="454"/>
                  <a:pt x="1824" y="454"/>
                </a:cubicBezTo>
                <a:cubicBezTo>
                  <a:pt x="1888" y="454"/>
                  <a:pt x="1928" y="416"/>
                  <a:pt x="1928" y="372"/>
                </a:cubicBezTo>
                <a:cubicBezTo>
                  <a:pt x="1932" y="270"/>
                  <a:pt x="1776" y="286"/>
                  <a:pt x="1776" y="222"/>
                </a:cubicBezTo>
                <a:moveTo>
                  <a:pt x="2030" y="270"/>
                </a:moveTo>
                <a:cubicBezTo>
                  <a:pt x="2034" y="220"/>
                  <a:pt x="2058" y="192"/>
                  <a:pt x="2102" y="192"/>
                </a:cubicBezTo>
                <a:cubicBezTo>
                  <a:pt x="2144" y="192"/>
                  <a:pt x="2170" y="220"/>
                  <a:pt x="2172" y="270"/>
                </a:cubicBezTo>
                <a:lnTo>
                  <a:pt x="2030" y="270"/>
                </a:lnTo>
                <a:close/>
                <a:moveTo>
                  <a:pt x="2030" y="290"/>
                </a:moveTo>
                <a:cubicBezTo>
                  <a:pt x="2222" y="290"/>
                  <a:pt x="2222" y="290"/>
                  <a:pt x="2222" y="290"/>
                </a:cubicBezTo>
                <a:cubicBezTo>
                  <a:pt x="2226" y="228"/>
                  <a:pt x="2192" y="168"/>
                  <a:pt x="2114" y="168"/>
                </a:cubicBezTo>
                <a:cubicBezTo>
                  <a:pt x="2034" y="168"/>
                  <a:pt x="1982" y="232"/>
                  <a:pt x="1982" y="320"/>
                </a:cubicBezTo>
                <a:cubicBezTo>
                  <a:pt x="1982" y="388"/>
                  <a:pt x="2018" y="456"/>
                  <a:pt x="2112" y="456"/>
                </a:cubicBezTo>
                <a:cubicBezTo>
                  <a:pt x="2150" y="456"/>
                  <a:pt x="2198" y="440"/>
                  <a:pt x="2224" y="412"/>
                </a:cubicBezTo>
                <a:cubicBezTo>
                  <a:pt x="2218" y="400"/>
                  <a:pt x="2218" y="400"/>
                  <a:pt x="2218" y="400"/>
                </a:cubicBezTo>
                <a:cubicBezTo>
                  <a:pt x="2192" y="416"/>
                  <a:pt x="2164" y="422"/>
                  <a:pt x="2138" y="422"/>
                </a:cubicBezTo>
                <a:cubicBezTo>
                  <a:pt x="2058" y="420"/>
                  <a:pt x="2028" y="352"/>
                  <a:pt x="2030" y="290"/>
                </a:cubicBezTo>
                <a:moveTo>
                  <a:pt x="2478" y="242"/>
                </a:moveTo>
                <a:cubicBezTo>
                  <a:pt x="2490" y="206"/>
                  <a:pt x="2510" y="192"/>
                  <a:pt x="2528" y="192"/>
                </a:cubicBezTo>
                <a:cubicBezTo>
                  <a:pt x="2528" y="180"/>
                  <a:pt x="2528" y="180"/>
                  <a:pt x="2528" y="180"/>
                </a:cubicBezTo>
                <a:cubicBezTo>
                  <a:pt x="2430" y="180"/>
                  <a:pt x="2430" y="180"/>
                  <a:pt x="2430" y="180"/>
                </a:cubicBezTo>
                <a:cubicBezTo>
                  <a:pt x="2430" y="192"/>
                  <a:pt x="2430" y="192"/>
                  <a:pt x="2430" y="192"/>
                </a:cubicBezTo>
                <a:cubicBezTo>
                  <a:pt x="2454" y="194"/>
                  <a:pt x="2466" y="206"/>
                  <a:pt x="2458" y="234"/>
                </a:cubicBezTo>
                <a:cubicBezTo>
                  <a:pt x="2406" y="390"/>
                  <a:pt x="2406" y="390"/>
                  <a:pt x="2406" y="390"/>
                </a:cubicBezTo>
                <a:cubicBezTo>
                  <a:pt x="2354" y="270"/>
                  <a:pt x="2354" y="270"/>
                  <a:pt x="2354" y="270"/>
                </a:cubicBezTo>
                <a:cubicBezTo>
                  <a:pt x="2340" y="238"/>
                  <a:pt x="2334" y="224"/>
                  <a:pt x="2334" y="212"/>
                </a:cubicBezTo>
                <a:cubicBezTo>
                  <a:pt x="2334" y="202"/>
                  <a:pt x="2340" y="196"/>
                  <a:pt x="2360" y="192"/>
                </a:cubicBezTo>
                <a:cubicBezTo>
                  <a:pt x="2360" y="180"/>
                  <a:pt x="2360" y="180"/>
                  <a:pt x="2360" y="180"/>
                </a:cubicBezTo>
                <a:cubicBezTo>
                  <a:pt x="2234" y="180"/>
                  <a:pt x="2234" y="180"/>
                  <a:pt x="2234" y="180"/>
                </a:cubicBezTo>
                <a:cubicBezTo>
                  <a:pt x="2234" y="192"/>
                  <a:pt x="2234" y="192"/>
                  <a:pt x="2234" y="192"/>
                </a:cubicBezTo>
                <a:cubicBezTo>
                  <a:pt x="2266" y="194"/>
                  <a:pt x="2268" y="198"/>
                  <a:pt x="2310" y="292"/>
                </a:cubicBezTo>
                <a:cubicBezTo>
                  <a:pt x="2382" y="450"/>
                  <a:pt x="2382" y="450"/>
                  <a:pt x="2382" y="450"/>
                </a:cubicBezTo>
                <a:cubicBezTo>
                  <a:pt x="2358" y="512"/>
                  <a:pt x="2320" y="546"/>
                  <a:pt x="2242" y="564"/>
                </a:cubicBezTo>
                <a:cubicBezTo>
                  <a:pt x="2246" y="576"/>
                  <a:pt x="2260" y="600"/>
                  <a:pt x="2268" y="606"/>
                </a:cubicBezTo>
                <a:cubicBezTo>
                  <a:pt x="2370" y="564"/>
                  <a:pt x="2390" y="498"/>
                  <a:pt x="2426" y="396"/>
                </a:cubicBezTo>
                <a:lnTo>
                  <a:pt x="2478" y="242"/>
                </a:lnTo>
                <a:close/>
                <a:moveTo>
                  <a:pt x="2844" y="394"/>
                </a:moveTo>
                <a:cubicBezTo>
                  <a:pt x="2822" y="412"/>
                  <a:pt x="2782" y="416"/>
                  <a:pt x="2750" y="416"/>
                </a:cubicBezTo>
                <a:cubicBezTo>
                  <a:pt x="2670" y="416"/>
                  <a:pt x="2606" y="360"/>
                  <a:pt x="2606" y="284"/>
                </a:cubicBezTo>
                <a:cubicBezTo>
                  <a:pt x="2606" y="236"/>
                  <a:pt x="2626" y="206"/>
                  <a:pt x="2658" y="198"/>
                </a:cubicBezTo>
                <a:cubicBezTo>
                  <a:pt x="2698" y="266"/>
                  <a:pt x="2770" y="338"/>
                  <a:pt x="2844" y="394"/>
                </a:cubicBezTo>
                <a:moveTo>
                  <a:pt x="2928" y="448"/>
                </a:moveTo>
                <a:cubicBezTo>
                  <a:pt x="3022" y="448"/>
                  <a:pt x="3022" y="448"/>
                  <a:pt x="3022" y="448"/>
                </a:cubicBezTo>
                <a:cubicBezTo>
                  <a:pt x="3022" y="436"/>
                  <a:pt x="3022" y="436"/>
                  <a:pt x="3022" y="436"/>
                </a:cubicBezTo>
                <a:cubicBezTo>
                  <a:pt x="2992" y="432"/>
                  <a:pt x="2946" y="408"/>
                  <a:pt x="2896" y="372"/>
                </a:cubicBezTo>
                <a:cubicBezTo>
                  <a:pt x="2914" y="342"/>
                  <a:pt x="2918" y="300"/>
                  <a:pt x="2922" y="270"/>
                </a:cubicBezTo>
                <a:cubicBezTo>
                  <a:pt x="2926" y="244"/>
                  <a:pt x="2946" y="244"/>
                  <a:pt x="2958" y="242"/>
                </a:cubicBezTo>
                <a:cubicBezTo>
                  <a:pt x="2958" y="230"/>
                  <a:pt x="2958" y="230"/>
                  <a:pt x="2958" y="230"/>
                </a:cubicBezTo>
                <a:cubicBezTo>
                  <a:pt x="2834" y="230"/>
                  <a:pt x="2834" y="230"/>
                  <a:pt x="2834" y="230"/>
                </a:cubicBezTo>
                <a:cubicBezTo>
                  <a:pt x="2834" y="242"/>
                  <a:pt x="2834" y="242"/>
                  <a:pt x="2834" y="242"/>
                </a:cubicBezTo>
                <a:cubicBezTo>
                  <a:pt x="2864" y="246"/>
                  <a:pt x="2892" y="250"/>
                  <a:pt x="2892" y="294"/>
                </a:cubicBezTo>
                <a:cubicBezTo>
                  <a:pt x="2892" y="318"/>
                  <a:pt x="2888" y="342"/>
                  <a:pt x="2878" y="358"/>
                </a:cubicBezTo>
                <a:cubicBezTo>
                  <a:pt x="2770" y="274"/>
                  <a:pt x="2670" y="156"/>
                  <a:pt x="2670" y="96"/>
                </a:cubicBezTo>
                <a:cubicBezTo>
                  <a:pt x="2670" y="66"/>
                  <a:pt x="2688" y="54"/>
                  <a:pt x="2716" y="54"/>
                </a:cubicBezTo>
                <a:cubicBezTo>
                  <a:pt x="2752" y="54"/>
                  <a:pt x="2784" y="78"/>
                  <a:pt x="2800" y="124"/>
                </a:cubicBezTo>
                <a:cubicBezTo>
                  <a:pt x="2812" y="124"/>
                  <a:pt x="2812" y="124"/>
                  <a:pt x="2812" y="124"/>
                </a:cubicBezTo>
                <a:cubicBezTo>
                  <a:pt x="2810" y="42"/>
                  <a:pt x="2810" y="42"/>
                  <a:pt x="2810" y="42"/>
                </a:cubicBezTo>
                <a:cubicBezTo>
                  <a:pt x="2798" y="42"/>
                  <a:pt x="2798" y="42"/>
                  <a:pt x="2798" y="42"/>
                </a:cubicBezTo>
                <a:cubicBezTo>
                  <a:pt x="2798" y="48"/>
                  <a:pt x="2792" y="52"/>
                  <a:pt x="2788" y="52"/>
                </a:cubicBezTo>
                <a:cubicBezTo>
                  <a:pt x="2772" y="52"/>
                  <a:pt x="2752" y="36"/>
                  <a:pt x="2714" y="36"/>
                </a:cubicBezTo>
                <a:cubicBezTo>
                  <a:pt x="2672" y="36"/>
                  <a:pt x="2630" y="62"/>
                  <a:pt x="2630" y="118"/>
                </a:cubicBezTo>
                <a:cubicBezTo>
                  <a:pt x="2630" y="140"/>
                  <a:pt x="2636" y="160"/>
                  <a:pt x="2648" y="182"/>
                </a:cubicBezTo>
                <a:cubicBezTo>
                  <a:pt x="2592" y="200"/>
                  <a:pt x="2562" y="248"/>
                  <a:pt x="2562" y="304"/>
                </a:cubicBezTo>
                <a:cubicBezTo>
                  <a:pt x="2562" y="406"/>
                  <a:pt x="2640" y="460"/>
                  <a:pt x="2726" y="460"/>
                </a:cubicBezTo>
                <a:cubicBezTo>
                  <a:pt x="2780" y="460"/>
                  <a:pt x="2824" y="444"/>
                  <a:pt x="2862" y="410"/>
                </a:cubicBezTo>
                <a:cubicBezTo>
                  <a:pt x="2888" y="424"/>
                  <a:pt x="2912" y="442"/>
                  <a:pt x="2928" y="448"/>
                </a:cubicBezTo>
                <a:moveTo>
                  <a:pt x="3094" y="212"/>
                </a:moveTo>
                <a:cubicBezTo>
                  <a:pt x="3094" y="88"/>
                  <a:pt x="3154" y="20"/>
                  <a:pt x="3252" y="20"/>
                </a:cubicBezTo>
                <a:cubicBezTo>
                  <a:pt x="3328" y="20"/>
                  <a:pt x="3372" y="58"/>
                  <a:pt x="3392" y="134"/>
                </a:cubicBezTo>
                <a:cubicBezTo>
                  <a:pt x="3404" y="134"/>
                  <a:pt x="3404" y="134"/>
                  <a:pt x="3404" y="134"/>
                </a:cubicBezTo>
                <a:cubicBezTo>
                  <a:pt x="3400" y="4"/>
                  <a:pt x="3400" y="4"/>
                  <a:pt x="3400" y="4"/>
                </a:cubicBezTo>
                <a:cubicBezTo>
                  <a:pt x="3388" y="4"/>
                  <a:pt x="3388" y="4"/>
                  <a:pt x="3388" y="4"/>
                </a:cubicBezTo>
                <a:cubicBezTo>
                  <a:pt x="3384" y="14"/>
                  <a:pt x="3376" y="18"/>
                  <a:pt x="3364" y="18"/>
                </a:cubicBezTo>
                <a:cubicBezTo>
                  <a:pt x="3338" y="18"/>
                  <a:pt x="3314" y="0"/>
                  <a:pt x="3248" y="0"/>
                </a:cubicBezTo>
                <a:cubicBezTo>
                  <a:pt x="3118" y="0"/>
                  <a:pt x="3030" y="102"/>
                  <a:pt x="3030" y="242"/>
                </a:cubicBezTo>
                <a:cubicBezTo>
                  <a:pt x="3030" y="376"/>
                  <a:pt x="3110" y="460"/>
                  <a:pt x="3238" y="460"/>
                </a:cubicBezTo>
                <a:cubicBezTo>
                  <a:pt x="3320" y="460"/>
                  <a:pt x="3384" y="420"/>
                  <a:pt x="3408" y="380"/>
                </a:cubicBezTo>
                <a:cubicBezTo>
                  <a:pt x="3396" y="366"/>
                  <a:pt x="3396" y="366"/>
                  <a:pt x="3396" y="366"/>
                </a:cubicBezTo>
                <a:cubicBezTo>
                  <a:pt x="3370" y="402"/>
                  <a:pt x="3314" y="426"/>
                  <a:pt x="3256" y="426"/>
                </a:cubicBezTo>
                <a:cubicBezTo>
                  <a:pt x="3156" y="426"/>
                  <a:pt x="3094" y="340"/>
                  <a:pt x="3094" y="212"/>
                </a:cubicBezTo>
                <a:moveTo>
                  <a:pt x="3678" y="328"/>
                </a:moveTo>
                <a:cubicBezTo>
                  <a:pt x="3678" y="392"/>
                  <a:pt x="3650" y="430"/>
                  <a:pt x="3592" y="430"/>
                </a:cubicBezTo>
                <a:cubicBezTo>
                  <a:pt x="3542" y="430"/>
                  <a:pt x="3496" y="384"/>
                  <a:pt x="3496" y="292"/>
                </a:cubicBezTo>
                <a:cubicBezTo>
                  <a:pt x="3496" y="226"/>
                  <a:pt x="3528" y="190"/>
                  <a:pt x="3580" y="190"/>
                </a:cubicBezTo>
                <a:cubicBezTo>
                  <a:pt x="3628" y="192"/>
                  <a:pt x="3678" y="238"/>
                  <a:pt x="3678" y="328"/>
                </a:cubicBezTo>
                <a:moveTo>
                  <a:pt x="3732" y="312"/>
                </a:moveTo>
                <a:cubicBezTo>
                  <a:pt x="3732" y="260"/>
                  <a:pt x="3710" y="214"/>
                  <a:pt x="3672" y="190"/>
                </a:cubicBezTo>
                <a:cubicBezTo>
                  <a:pt x="3650" y="176"/>
                  <a:pt x="3620" y="168"/>
                  <a:pt x="3588" y="168"/>
                </a:cubicBezTo>
                <a:cubicBezTo>
                  <a:pt x="3502" y="168"/>
                  <a:pt x="3442" y="230"/>
                  <a:pt x="3442" y="310"/>
                </a:cubicBezTo>
                <a:cubicBezTo>
                  <a:pt x="3442" y="364"/>
                  <a:pt x="3464" y="408"/>
                  <a:pt x="3502" y="432"/>
                </a:cubicBezTo>
                <a:cubicBezTo>
                  <a:pt x="3524" y="446"/>
                  <a:pt x="3554" y="452"/>
                  <a:pt x="3586" y="452"/>
                </a:cubicBezTo>
                <a:cubicBezTo>
                  <a:pt x="3672" y="454"/>
                  <a:pt x="3732" y="394"/>
                  <a:pt x="3732" y="312"/>
                </a:cubicBezTo>
                <a:moveTo>
                  <a:pt x="4136" y="448"/>
                </a:moveTo>
                <a:cubicBezTo>
                  <a:pt x="4280" y="448"/>
                  <a:pt x="4280" y="448"/>
                  <a:pt x="4280" y="448"/>
                </a:cubicBezTo>
                <a:cubicBezTo>
                  <a:pt x="4280" y="436"/>
                  <a:pt x="4280" y="436"/>
                  <a:pt x="4280" y="436"/>
                </a:cubicBezTo>
                <a:cubicBezTo>
                  <a:pt x="4230" y="434"/>
                  <a:pt x="4232" y="426"/>
                  <a:pt x="4232" y="348"/>
                </a:cubicBezTo>
                <a:cubicBezTo>
                  <a:pt x="4232" y="276"/>
                  <a:pt x="4232" y="276"/>
                  <a:pt x="4232" y="276"/>
                </a:cubicBezTo>
                <a:cubicBezTo>
                  <a:pt x="4232" y="200"/>
                  <a:pt x="4190" y="172"/>
                  <a:pt x="4142" y="172"/>
                </a:cubicBezTo>
                <a:cubicBezTo>
                  <a:pt x="4098" y="172"/>
                  <a:pt x="4064" y="196"/>
                  <a:pt x="4038" y="232"/>
                </a:cubicBezTo>
                <a:cubicBezTo>
                  <a:pt x="4028" y="194"/>
                  <a:pt x="4000" y="172"/>
                  <a:pt x="3954" y="172"/>
                </a:cubicBezTo>
                <a:cubicBezTo>
                  <a:pt x="3916" y="172"/>
                  <a:pt x="3880" y="196"/>
                  <a:pt x="3858" y="224"/>
                </a:cubicBezTo>
                <a:cubicBezTo>
                  <a:pt x="3858" y="176"/>
                  <a:pt x="3858" y="176"/>
                  <a:pt x="3858" y="176"/>
                </a:cubicBezTo>
                <a:cubicBezTo>
                  <a:pt x="3756" y="176"/>
                  <a:pt x="3756" y="176"/>
                  <a:pt x="3756" y="176"/>
                </a:cubicBezTo>
                <a:cubicBezTo>
                  <a:pt x="3756" y="188"/>
                  <a:pt x="3756" y="188"/>
                  <a:pt x="3756" y="188"/>
                </a:cubicBezTo>
                <a:cubicBezTo>
                  <a:pt x="3800" y="190"/>
                  <a:pt x="3806" y="192"/>
                  <a:pt x="3806" y="268"/>
                </a:cubicBezTo>
                <a:cubicBezTo>
                  <a:pt x="3806" y="346"/>
                  <a:pt x="3806" y="346"/>
                  <a:pt x="3806" y="346"/>
                </a:cubicBezTo>
                <a:cubicBezTo>
                  <a:pt x="3806" y="434"/>
                  <a:pt x="3804" y="434"/>
                  <a:pt x="3758" y="434"/>
                </a:cubicBezTo>
                <a:cubicBezTo>
                  <a:pt x="3758" y="446"/>
                  <a:pt x="3758" y="446"/>
                  <a:pt x="3758" y="446"/>
                </a:cubicBezTo>
                <a:cubicBezTo>
                  <a:pt x="3902" y="446"/>
                  <a:pt x="3902" y="446"/>
                  <a:pt x="3902" y="446"/>
                </a:cubicBezTo>
                <a:cubicBezTo>
                  <a:pt x="3902" y="434"/>
                  <a:pt x="3902" y="434"/>
                  <a:pt x="3902" y="434"/>
                </a:cubicBezTo>
                <a:cubicBezTo>
                  <a:pt x="3862" y="430"/>
                  <a:pt x="3858" y="430"/>
                  <a:pt x="3858" y="342"/>
                </a:cubicBezTo>
                <a:cubicBezTo>
                  <a:pt x="3858" y="262"/>
                  <a:pt x="3858" y="262"/>
                  <a:pt x="3858" y="262"/>
                </a:cubicBezTo>
                <a:cubicBezTo>
                  <a:pt x="3858" y="234"/>
                  <a:pt x="3894" y="204"/>
                  <a:pt x="3932" y="204"/>
                </a:cubicBezTo>
                <a:cubicBezTo>
                  <a:pt x="3974" y="204"/>
                  <a:pt x="3990" y="226"/>
                  <a:pt x="3990" y="282"/>
                </a:cubicBezTo>
                <a:cubicBezTo>
                  <a:pt x="3990" y="338"/>
                  <a:pt x="3990" y="338"/>
                  <a:pt x="3990" y="338"/>
                </a:cubicBezTo>
                <a:cubicBezTo>
                  <a:pt x="3990" y="428"/>
                  <a:pt x="3988" y="432"/>
                  <a:pt x="3950" y="436"/>
                </a:cubicBezTo>
                <a:cubicBezTo>
                  <a:pt x="3950" y="448"/>
                  <a:pt x="3950" y="448"/>
                  <a:pt x="3950" y="448"/>
                </a:cubicBezTo>
                <a:cubicBezTo>
                  <a:pt x="4086" y="448"/>
                  <a:pt x="4086" y="448"/>
                  <a:pt x="4086" y="448"/>
                </a:cubicBezTo>
                <a:cubicBezTo>
                  <a:pt x="4086" y="436"/>
                  <a:pt x="4086" y="436"/>
                  <a:pt x="4086" y="436"/>
                </a:cubicBezTo>
                <a:cubicBezTo>
                  <a:pt x="4040" y="432"/>
                  <a:pt x="4042" y="428"/>
                  <a:pt x="4042" y="342"/>
                </a:cubicBezTo>
                <a:cubicBezTo>
                  <a:pt x="4042" y="264"/>
                  <a:pt x="4042" y="264"/>
                  <a:pt x="4042" y="264"/>
                </a:cubicBezTo>
                <a:cubicBezTo>
                  <a:pt x="4042" y="236"/>
                  <a:pt x="4078" y="206"/>
                  <a:pt x="4118" y="206"/>
                </a:cubicBezTo>
                <a:cubicBezTo>
                  <a:pt x="4152" y="206"/>
                  <a:pt x="4174" y="226"/>
                  <a:pt x="4174" y="284"/>
                </a:cubicBezTo>
                <a:cubicBezTo>
                  <a:pt x="4174" y="346"/>
                  <a:pt x="4174" y="346"/>
                  <a:pt x="4174" y="346"/>
                </a:cubicBezTo>
                <a:cubicBezTo>
                  <a:pt x="4174" y="428"/>
                  <a:pt x="4174" y="432"/>
                  <a:pt x="4134" y="436"/>
                </a:cubicBezTo>
                <a:cubicBezTo>
                  <a:pt x="4134" y="448"/>
                  <a:pt x="4134" y="448"/>
                  <a:pt x="4134" y="448"/>
                </a:cubicBezTo>
                <a:lnTo>
                  <a:pt x="4136" y="448"/>
                </a:lnTo>
                <a:close/>
                <a:moveTo>
                  <a:pt x="4546" y="316"/>
                </a:moveTo>
                <a:cubicBezTo>
                  <a:pt x="4546" y="388"/>
                  <a:pt x="4516" y="432"/>
                  <a:pt x="4460" y="432"/>
                </a:cubicBezTo>
                <a:cubicBezTo>
                  <a:pt x="4424" y="432"/>
                  <a:pt x="4384" y="412"/>
                  <a:pt x="4384" y="384"/>
                </a:cubicBezTo>
                <a:cubicBezTo>
                  <a:pt x="4384" y="248"/>
                  <a:pt x="4384" y="248"/>
                  <a:pt x="4384" y="248"/>
                </a:cubicBezTo>
                <a:cubicBezTo>
                  <a:pt x="4384" y="226"/>
                  <a:pt x="4416" y="202"/>
                  <a:pt x="4454" y="202"/>
                </a:cubicBezTo>
                <a:cubicBezTo>
                  <a:pt x="4510" y="206"/>
                  <a:pt x="4546" y="248"/>
                  <a:pt x="4546" y="316"/>
                </a:cubicBezTo>
                <a:moveTo>
                  <a:pt x="4600" y="310"/>
                </a:moveTo>
                <a:cubicBezTo>
                  <a:pt x="4600" y="230"/>
                  <a:pt x="4548" y="170"/>
                  <a:pt x="4478" y="170"/>
                </a:cubicBezTo>
                <a:cubicBezTo>
                  <a:pt x="4438" y="170"/>
                  <a:pt x="4406" y="188"/>
                  <a:pt x="4384" y="214"/>
                </a:cubicBezTo>
                <a:cubicBezTo>
                  <a:pt x="4384" y="174"/>
                  <a:pt x="4384" y="174"/>
                  <a:pt x="4384" y="174"/>
                </a:cubicBezTo>
                <a:cubicBezTo>
                  <a:pt x="4284" y="174"/>
                  <a:pt x="4284" y="174"/>
                  <a:pt x="4284" y="174"/>
                </a:cubicBezTo>
                <a:cubicBezTo>
                  <a:pt x="4284" y="186"/>
                  <a:pt x="4284" y="186"/>
                  <a:pt x="4284" y="186"/>
                </a:cubicBezTo>
                <a:cubicBezTo>
                  <a:pt x="4326" y="188"/>
                  <a:pt x="4332" y="190"/>
                  <a:pt x="4332" y="280"/>
                </a:cubicBezTo>
                <a:cubicBezTo>
                  <a:pt x="4332" y="466"/>
                  <a:pt x="4332" y="466"/>
                  <a:pt x="4332" y="466"/>
                </a:cubicBezTo>
                <a:cubicBezTo>
                  <a:pt x="4332" y="564"/>
                  <a:pt x="4334" y="570"/>
                  <a:pt x="4286" y="574"/>
                </a:cubicBezTo>
                <a:cubicBezTo>
                  <a:pt x="4286" y="588"/>
                  <a:pt x="4286" y="588"/>
                  <a:pt x="4286" y="588"/>
                </a:cubicBezTo>
                <a:cubicBezTo>
                  <a:pt x="4432" y="588"/>
                  <a:pt x="4432" y="588"/>
                  <a:pt x="4432" y="588"/>
                </a:cubicBezTo>
                <a:cubicBezTo>
                  <a:pt x="4432" y="574"/>
                  <a:pt x="4432" y="574"/>
                  <a:pt x="4432" y="574"/>
                </a:cubicBezTo>
                <a:cubicBezTo>
                  <a:pt x="4380" y="572"/>
                  <a:pt x="4384" y="564"/>
                  <a:pt x="4384" y="462"/>
                </a:cubicBezTo>
                <a:cubicBezTo>
                  <a:pt x="4384" y="424"/>
                  <a:pt x="4384" y="424"/>
                  <a:pt x="4384" y="424"/>
                </a:cubicBezTo>
                <a:cubicBezTo>
                  <a:pt x="4404" y="444"/>
                  <a:pt x="4436" y="454"/>
                  <a:pt x="4466" y="454"/>
                </a:cubicBezTo>
                <a:cubicBezTo>
                  <a:pt x="4548" y="454"/>
                  <a:pt x="4600" y="392"/>
                  <a:pt x="4600" y="310"/>
                </a:cubicBezTo>
                <a:moveTo>
                  <a:pt x="4792" y="382"/>
                </a:moveTo>
                <a:cubicBezTo>
                  <a:pt x="4792" y="404"/>
                  <a:pt x="4762" y="424"/>
                  <a:pt x="4736" y="424"/>
                </a:cubicBezTo>
                <a:cubicBezTo>
                  <a:pt x="4712" y="424"/>
                  <a:pt x="4694" y="410"/>
                  <a:pt x="4694" y="378"/>
                </a:cubicBezTo>
                <a:cubicBezTo>
                  <a:pt x="4694" y="322"/>
                  <a:pt x="4752" y="328"/>
                  <a:pt x="4792" y="306"/>
                </a:cubicBezTo>
                <a:cubicBezTo>
                  <a:pt x="4792" y="382"/>
                  <a:pt x="4792" y="382"/>
                  <a:pt x="4792" y="382"/>
                </a:cubicBezTo>
                <a:close/>
                <a:moveTo>
                  <a:pt x="5240" y="434"/>
                </a:moveTo>
                <a:cubicBezTo>
                  <a:pt x="5192" y="432"/>
                  <a:pt x="5192" y="430"/>
                  <a:pt x="5192" y="340"/>
                </a:cubicBezTo>
                <a:cubicBezTo>
                  <a:pt x="5192" y="278"/>
                  <a:pt x="5192" y="278"/>
                  <a:pt x="5192" y="278"/>
                </a:cubicBezTo>
                <a:cubicBezTo>
                  <a:pt x="5192" y="196"/>
                  <a:pt x="5146" y="170"/>
                  <a:pt x="5104" y="170"/>
                </a:cubicBezTo>
                <a:cubicBezTo>
                  <a:pt x="5068" y="170"/>
                  <a:pt x="5032" y="186"/>
                  <a:pt x="5004" y="222"/>
                </a:cubicBezTo>
                <a:cubicBezTo>
                  <a:pt x="5004" y="174"/>
                  <a:pt x="5004" y="174"/>
                  <a:pt x="5004" y="174"/>
                </a:cubicBezTo>
                <a:cubicBezTo>
                  <a:pt x="4902" y="174"/>
                  <a:pt x="4902" y="174"/>
                  <a:pt x="4902" y="174"/>
                </a:cubicBezTo>
                <a:cubicBezTo>
                  <a:pt x="4902" y="186"/>
                  <a:pt x="4902" y="186"/>
                  <a:pt x="4902" y="186"/>
                </a:cubicBezTo>
                <a:cubicBezTo>
                  <a:pt x="4946" y="188"/>
                  <a:pt x="4952" y="190"/>
                  <a:pt x="4952" y="266"/>
                </a:cubicBezTo>
                <a:cubicBezTo>
                  <a:pt x="4952" y="334"/>
                  <a:pt x="4952" y="334"/>
                  <a:pt x="4952" y="334"/>
                </a:cubicBezTo>
                <a:cubicBezTo>
                  <a:pt x="4952" y="430"/>
                  <a:pt x="4952" y="432"/>
                  <a:pt x="4904" y="434"/>
                </a:cubicBezTo>
                <a:cubicBezTo>
                  <a:pt x="4892" y="434"/>
                  <a:pt x="4892" y="434"/>
                  <a:pt x="4892" y="434"/>
                </a:cubicBezTo>
                <a:cubicBezTo>
                  <a:pt x="4854" y="434"/>
                  <a:pt x="4850" y="422"/>
                  <a:pt x="4850" y="366"/>
                </a:cubicBezTo>
                <a:cubicBezTo>
                  <a:pt x="4850" y="274"/>
                  <a:pt x="4850" y="274"/>
                  <a:pt x="4850" y="274"/>
                </a:cubicBezTo>
                <a:cubicBezTo>
                  <a:pt x="4850" y="256"/>
                  <a:pt x="4848" y="240"/>
                  <a:pt x="4844" y="228"/>
                </a:cubicBezTo>
                <a:cubicBezTo>
                  <a:pt x="4830" y="186"/>
                  <a:pt x="4796" y="170"/>
                  <a:pt x="4748" y="170"/>
                </a:cubicBezTo>
                <a:cubicBezTo>
                  <a:pt x="4718" y="170"/>
                  <a:pt x="4674" y="180"/>
                  <a:pt x="4650" y="202"/>
                </a:cubicBezTo>
                <a:cubicBezTo>
                  <a:pt x="4652" y="214"/>
                  <a:pt x="4664" y="240"/>
                  <a:pt x="4670" y="248"/>
                </a:cubicBezTo>
                <a:cubicBezTo>
                  <a:pt x="4676" y="246"/>
                  <a:pt x="4676" y="246"/>
                  <a:pt x="4676" y="246"/>
                </a:cubicBezTo>
                <a:cubicBezTo>
                  <a:pt x="4688" y="216"/>
                  <a:pt x="4708" y="194"/>
                  <a:pt x="4742" y="194"/>
                </a:cubicBezTo>
                <a:cubicBezTo>
                  <a:pt x="4778" y="194"/>
                  <a:pt x="4794" y="220"/>
                  <a:pt x="4794" y="250"/>
                </a:cubicBezTo>
                <a:cubicBezTo>
                  <a:pt x="4794" y="282"/>
                  <a:pt x="4794" y="282"/>
                  <a:pt x="4794" y="282"/>
                </a:cubicBezTo>
                <a:cubicBezTo>
                  <a:pt x="4794" y="302"/>
                  <a:pt x="4702" y="306"/>
                  <a:pt x="4664" y="338"/>
                </a:cubicBezTo>
                <a:cubicBezTo>
                  <a:pt x="4652" y="350"/>
                  <a:pt x="4642" y="364"/>
                  <a:pt x="4642" y="384"/>
                </a:cubicBezTo>
                <a:cubicBezTo>
                  <a:pt x="4642" y="426"/>
                  <a:pt x="4672" y="456"/>
                  <a:pt x="4716" y="456"/>
                </a:cubicBezTo>
                <a:cubicBezTo>
                  <a:pt x="4744" y="456"/>
                  <a:pt x="4768" y="446"/>
                  <a:pt x="4794" y="418"/>
                </a:cubicBezTo>
                <a:cubicBezTo>
                  <a:pt x="4798" y="438"/>
                  <a:pt x="4814" y="448"/>
                  <a:pt x="4842" y="448"/>
                </a:cubicBezTo>
                <a:cubicBezTo>
                  <a:pt x="4906" y="448"/>
                  <a:pt x="4906" y="448"/>
                  <a:pt x="4906" y="448"/>
                </a:cubicBezTo>
                <a:cubicBezTo>
                  <a:pt x="4906" y="448"/>
                  <a:pt x="4906" y="448"/>
                  <a:pt x="4906" y="448"/>
                </a:cubicBezTo>
                <a:cubicBezTo>
                  <a:pt x="5048" y="448"/>
                  <a:pt x="5048" y="448"/>
                  <a:pt x="5048" y="448"/>
                </a:cubicBezTo>
                <a:cubicBezTo>
                  <a:pt x="5048" y="436"/>
                  <a:pt x="5048" y="436"/>
                  <a:pt x="5048" y="436"/>
                </a:cubicBezTo>
                <a:cubicBezTo>
                  <a:pt x="5006" y="432"/>
                  <a:pt x="5004" y="434"/>
                  <a:pt x="5004" y="338"/>
                </a:cubicBezTo>
                <a:cubicBezTo>
                  <a:pt x="5004" y="262"/>
                  <a:pt x="5004" y="262"/>
                  <a:pt x="5004" y="262"/>
                </a:cubicBezTo>
                <a:cubicBezTo>
                  <a:pt x="5004" y="236"/>
                  <a:pt x="5038" y="206"/>
                  <a:pt x="5080" y="206"/>
                </a:cubicBezTo>
                <a:cubicBezTo>
                  <a:pt x="5114" y="206"/>
                  <a:pt x="5140" y="220"/>
                  <a:pt x="5140" y="286"/>
                </a:cubicBezTo>
                <a:cubicBezTo>
                  <a:pt x="5140" y="340"/>
                  <a:pt x="5140" y="340"/>
                  <a:pt x="5140" y="340"/>
                </a:cubicBezTo>
                <a:cubicBezTo>
                  <a:pt x="5140" y="432"/>
                  <a:pt x="5136" y="432"/>
                  <a:pt x="5098" y="434"/>
                </a:cubicBezTo>
                <a:cubicBezTo>
                  <a:pt x="5098" y="446"/>
                  <a:pt x="5098" y="446"/>
                  <a:pt x="5098" y="446"/>
                </a:cubicBezTo>
                <a:cubicBezTo>
                  <a:pt x="5240" y="446"/>
                  <a:pt x="5240" y="446"/>
                  <a:pt x="5240" y="446"/>
                </a:cubicBezTo>
                <a:lnTo>
                  <a:pt x="5240" y="434"/>
                </a:lnTo>
                <a:close/>
                <a:moveTo>
                  <a:pt x="5516" y="192"/>
                </a:moveTo>
                <a:cubicBezTo>
                  <a:pt x="5516" y="180"/>
                  <a:pt x="5516" y="180"/>
                  <a:pt x="5516" y="180"/>
                </a:cubicBezTo>
                <a:cubicBezTo>
                  <a:pt x="5418" y="180"/>
                  <a:pt x="5418" y="180"/>
                  <a:pt x="5418" y="180"/>
                </a:cubicBezTo>
                <a:cubicBezTo>
                  <a:pt x="5418" y="192"/>
                  <a:pt x="5418" y="192"/>
                  <a:pt x="5418" y="192"/>
                </a:cubicBezTo>
                <a:cubicBezTo>
                  <a:pt x="5442" y="194"/>
                  <a:pt x="5454" y="206"/>
                  <a:pt x="5446" y="234"/>
                </a:cubicBezTo>
                <a:cubicBezTo>
                  <a:pt x="5394" y="390"/>
                  <a:pt x="5394" y="390"/>
                  <a:pt x="5394" y="390"/>
                </a:cubicBezTo>
                <a:cubicBezTo>
                  <a:pt x="5342" y="270"/>
                  <a:pt x="5342" y="270"/>
                  <a:pt x="5342" y="270"/>
                </a:cubicBezTo>
                <a:cubicBezTo>
                  <a:pt x="5328" y="238"/>
                  <a:pt x="5322" y="224"/>
                  <a:pt x="5322" y="212"/>
                </a:cubicBezTo>
                <a:cubicBezTo>
                  <a:pt x="5322" y="202"/>
                  <a:pt x="5328" y="196"/>
                  <a:pt x="5348" y="192"/>
                </a:cubicBezTo>
                <a:cubicBezTo>
                  <a:pt x="5348" y="180"/>
                  <a:pt x="5348" y="180"/>
                  <a:pt x="5348" y="180"/>
                </a:cubicBezTo>
                <a:cubicBezTo>
                  <a:pt x="5220" y="180"/>
                  <a:pt x="5220" y="180"/>
                  <a:pt x="5220" y="180"/>
                </a:cubicBezTo>
                <a:cubicBezTo>
                  <a:pt x="5220" y="192"/>
                  <a:pt x="5220" y="192"/>
                  <a:pt x="5220" y="192"/>
                </a:cubicBezTo>
                <a:cubicBezTo>
                  <a:pt x="5252" y="194"/>
                  <a:pt x="5254" y="198"/>
                  <a:pt x="5296" y="292"/>
                </a:cubicBezTo>
                <a:cubicBezTo>
                  <a:pt x="5368" y="450"/>
                  <a:pt x="5368" y="450"/>
                  <a:pt x="5368" y="450"/>
                </a:cubicBezTo>
                <a:cubicBezTo>
                  <a:pt x="5344" y="512"/>
                  <a:pt x="5306" y="546"/>
                  <a:pt x="5228" y="564"/>
                </a:cubicBezTo>
                <a:cubicBezTo>
                  <a:pt x="5232" y="576"/>
                  <a:pt x="5246" y="600"/>
                  <a:pt x="5254" y="606"/>
                </a:cubicBezTo>
                <a:cubicBezTo>
                  <a:pt x="5356" y="564"/>
                  <a:pt x="5376" y="498"/>
                  <a:pt x="5412" y="396"/>
                </a:cubicBezTo>
                <a:cubicBezTo>
                  <a:pt x="5466" y="242"/>
                  <a:pt x="5466" y="242"/>
                  <a:pt x="5466" y="242"/>
                </a:cubicBezTo>
                <a:cubicBezTo>
                  <a:pt x="5478" y="206"/>
                  <a:pt x="5498" y="192"/>
                  <a:pt x="5516" y="192"/>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600" kern="1200">
                <a:solidFill>
                  <a:schemeClr val="tx1"/>
                </a:solidFill>
                <a:latin typeface="Arial" charset="0"/>
                <a:ea typeface="+mn-ea"/>
                <a:cs typeface="+mn-cs"/>
              </a:defRPr>
            </a:lvl1pPr>
            <a:lvl2pPr marL="457200" algn="l" rtl="0" fontAlgn="base">
              <a:spcBef>
                <a:spcPct val="0"/>
              </a:spcBef>
              <a:spcAft>
                <a:spcPct val="0"/>
              </a:spcAft>
              <a:defRPr sz="1600" kern="1200">
                <a:solidFill>
                  <a:schemeClr val="tx1"/>
                </a:solidFill>
                <a:latin typeface="Arial" charset="0"/>
                <a:ea typeface="+mn-ea"/>
                <a:cs typeface="+mn-cs"/>
              </a:defRPr>
            </a:lvl2pPr>
            <a:lvl3pPr marL="914400" algn="l" rtl="0" fontAlgn="base">
              <a:spcBef>
                <a:spcPct val="0"/>
              </a:spcBef>
              <a:spcAft>
                <a:spcPct val="0"/>
              </a:spcAft>
              <a:defRPr sz="1600" kern="1200">
                <a:solidFill>
                  <a:schemeClr val="tx1"/>
                </a:solidFill>
                <a:latin typeface="Arial" charset="0"/>
                <a:ea typeface="+mn-ea"/>
                <a:cs typeface="+mn-cs"/>
              </a:defRPr>
            </a:lvl3pPr>
            <a:lvl4pPr marL="1371600" algn="l" rtl="0" fontAlgn="base">
              <a:spcBef>
                <a:spcPct val="0"/>
              </a:spcBef>
              <a:spcAft>
                <a:spcPct val="0"/>
              </a:spcAft>
              <a:defRPr sz="1600" kern="1200">
                <a:solidFill>
                  <a:schemeClr val="tx1"/>
                </a:solidFill>
                <a:latin typeface="Arial" charset="0"/>
                <a:ea typeface="+mn-ea"/>
                <a:cs typeface="+mn-cs"/>
              </a:defRPr>
            </a:lvl4pPr>
            <a:lvl5pPr marL="1828800" algn="l" rtl="0" fontAlgn="base">
              <a:spcBef>
                <a:spcPct val="0"/>
              </a:spcBef>
              <a:spcAft>
                <a:spcPct val="0"/>
              </a:spcAft>
              <a:defRPr sz="1600" kern="1200">
                <a:solidFill>
                  <a:schemeClr val="tx1"/>
                </a:solidFill>
                <a:latin typeface="Arial" charset="0"/>
                <a:ea typeface="+mn-ea"/>
                <a:cs typeface="+mn-cs"/>
              </a:defRPr>
            </a:lvl5pPr>
            <a:lvl6pPr marL="2286000" algn="l" defTabSz="914400" rtl="0" eaLnBrk="1" latinLnBrk="0" hangingPunct="1">
              <a:defRPr sz="1600" kern="1200">
                <a:solidFill>
                  <a:schemeClr val="tx1"/>
                </a:solidFill>
                <a:latin typeface="Arial" charset="0"/>
                <a:ea typeface="+mn-ea"/>
                <a:cs typeface="+mn-cs"/>
              </a:defRPr>
            </a:lvl6pPr>
            <a:lvl7pPr marL="2743200" algn="l" defTabSz="914400" rtl="0" eaLnBrk="1" latinLnBrk="0" hangingPunct="1">
              <a:defRPr sz="1600" kern="1200">
                <a:solidFill>
                  <a:schemeClr val="tx1"/>
                </a:solidFill>
                <a:latin typeface="Arial" charset="0"/>
                <a:ea typeface="+mn-ea"/>
                <a:cs typeface="+mn-cs"/>
              </a:defRPr>
            </a:lvl7pPr>
            <a:lvl8pPr marL="3200400" algn="l" defTabSz="914400" rtl="0" eaLnBrk="1" latinLnBrk="0" hangingPunct="1">
              <a:defRPr sz="1600" kern="1200">
                <a:solidFill>
                  <a:schemeClr val="tx1"/>
                </a:solidFill>
                <a:latin typeface="Arial" charset="0"/>
                <a:ea typeface="+mn-ea"/>
                <a:cs typeface="+mn-cs"/>
              </a:defRPr>
            </a:lvl8pPr>
            <a:lvl9pPr marL="3657600" algn="l" defTabSz="914400" rtl="0" eaLnBrk="1" latinLnBrk="0" hangingPunct="1">
              <a:defRPr sz="1600" kern="1200">
                <a:solidFill>
                  <a:schemeClr val="tx1"/>
                </a:solidFill>
                <a:latin typeface="Arial" charset="0"/>
                <a:ea typeface="+mn-ea"/>
                <a:cs typeface="+mn-cs"/>
              </a:defRPr>
            </a:lvl9pPr>
          </a:lstStyle>
          <a:p>
            <a:endParaRPr lang="en-US" baseline="0" dirty="0">
              <a:solidFill>
                <a:srgbClr val="000000"/>
              </a:solidFill>
              <a:latin typeface="+mn-lt"/>
            </a:endParaRPr>
          </a:p>
        </p:txBody>
      </p:sp>
      <p:sp>
        <p:nvSpPr>
          <p:cNvPr id="27" name="Disclaimer-English (United States)" hidden="1"/>
          <p:cNvSpPr>
            <a:spLocks noChangeArrowheads="1"/>
          </p:cNvSpPr>
          <p:nvPr/>
        </p:nvSpPr>
        <p:spPr bwMode="black">
          <a:xfrm>
            <a:off x="2268266" y="6287785"/>
            <a:ext cx="3544453" cy="36908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t" anchorCtr="0">
            <a:noAutofit/>
          </a:bodyPr>
          <a:lstStyle/>
          <a:p>
            <a:pPr defTabSz="804863" eaLnBrk="0" hangingPunct="0"/>
            <a:r>
              <a:rPr lang="en-US" sz="800" baseline="0" dirty="0">
                <a:solidFill>
                  <a:srgbClr val="FFFFFF"/>
                </a:solidFill>
                <a:latin typeface="+mn-lt"/>
              </a:rPr>
              <a:t>CONFIDENTIAL AND PROPRIETARY</a:t>
            </a:r>
          </a:p>
          <a:p>
            <a:pPr defTabSz="804863" eaLnBrk="0" hangingPunct="0"/>
            <a:r>
              <a:rPr lang="en-US" sz="800" baseline="0" dirty="0">
                <a:solidFill>
                  <a:srgbClr val="FFFFFF"/>
                </a:solidFill>
                <a:latin typeface="+mn-lt"/>
              </a:rPr>
              <a:t>Any use of this material without specific permission of McKinsey &amp; Company is strictly prohibited</a:t>
            </a:r>
          </a:p>
        </p:txBody>
      </p:sp>
    </p:spTree>
    <p:extLst>
      <p:ext uri="{BB962C8B-B14F-4D97-AF65-F5344CB8AC3E}">
        <p14:creationId xmlns:p14="http://schemas.microsoft.com/office/powerpoint/2010/main" val="68598336"/>
      </p:ext>
    </p:extLst>
  </p:cSld>
  <p:clrMapOvr>
    <a:masterClrMapping/>
  </p:clrMapOvr>
  <p:extLst mod="1">
    <p:ext uri="{DCECCB84-F9BA-43D5-87BE-67443E8EF086}">
      <p15:sldGuideLst xmlns:p15="http://schemas.microsoft.com/office/powerpoint/2012/main">
        <p15:guide id="1" orient="horz" pos="2117">
          <p15:clr>
            <a:srgbClr val="FBAE40"/>
          </p15:clr>
        </p15:guide>
        <p15:guide id="2" pos="1416">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6E228F5-5CF1-42E1-9748-97D7582A107A}"/>
              </a:ext>
            </a:extLst>
          </p:cNvPr>
          <p:cNvGraphicFramePr>
            <a:graphicFrameLocks noChangeAspect="1"/>
          </p:cNvGraphicFramePr>
          <p:nvPr>
            <p:custDataLst>
              <p:tags r:id="rId2"/>
            </p:custDataLst>
            <p:extLst>
              <p:ext uri="{D42A27DB-BD31-4B8C-83A1-F6EECF244321}">
                <p14:modId xmlns:p14="http://schemas.microsoft.com/office/powerpoint/2010/main" val="257584214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9172" name="think-cell Slide" r:id="rId5" imgW="353" imgH="353" progId="TCLayout.ActiveDocument.1">
                  <p:embed/>
                </p:oleObj>
              </mc:Choice>
              <mc:Fallback>
                <p:oleObj name="think-cell Slide" r:id="rId5" imgW="353" imgH="353" progId="TCLayout.ActiveDocument.1">
                  <p:embed/>
                  <p:pic>
                    <p:nvPicPr>
                      <p:cNvPr id="3" name="Object 2" hidden="1">
                        <a:extLst>
                          <a:ext uri="{FF2B5EF4-FFF2-40B4-BE49-F238E27FC236}">
                            <a16:creationId xmlns:a16="http://schemas.microsoft.com/office/drawing/2014/main" id="{C6E228F5-5CF1-42E1-9748-97D7582A107A}"/>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2. Slide Title"/>
          <p:cNvSpPr>
            <a:spLocks noGrp="1"/>
          </p:cNvSpPr>
          <p:nvPr>
            <p:ph type="title"/>
          </p:nvPr>
        </p:nvSpPr>
        <p:spPr bwMode="auto"/>
        <p:txBody>
          <a:bodyPr/>
          <a:lstStyle/>
          <a:p>
            <a:r>
              <a:rPr lang="en-US"/>
              <a:t>Click to edit Master title style</a:t>
            </a:r>
            <a:endParaRPr lang="en-US" dirty="0"/>
          </a:p>
        </p:txBody>
      </p:sp>
      <p:sp>
        <p:nvSpPr>
          <p:cNvPr id="8" name="Slide Number"/>
          <p:cNvSpPr txBox="1">
            <a:spLocks/>
          </p:cNvSpPr>
          <p:nvPr/>
        </p:nvSpPr>
        <p:spPr bwMode="auto">
          <a:xfrm>
            <a:off x="8564563" y="6508272"/>
            <a:ext cx="125034" cy="123111"/>
          </a:xfrm>
          <a:prstGeom prst="rect">
            <a:avLst/>
          </a:prstGeom>
        </p:spPr>
        <p:txBody>
          <a:bodyPr vert="horz" wrap="none" lIns="0" tIns="0" rIns="0" bIns="0" rtlCol="0" anchor="ctr">
            <a:spAutoFit/>
          </a:bodyPr>
          <a:lstStyle>
            <a:defPPr>
              <a:defRPr lang="en-US"/>
            </a:defPPr>
            <a:lvl1pPr>
              <a:defRPr sz="1000" baseline="0">
                <a:latin typeface="+mn-lt"/>
              </a:defRPr>
            </a:lvl1pPr>
          </a:lstStyle>
          <a:p>
            <a:fld id="{42C328C1-A84F-4A39-A664-DBA00541A8C6}" type="slidenum">
              <a:rPr lang="en-US" sz="800" baseline="0" smtClean="0">
                <a:solidFill>
                  <a:srgbClr val="808080"/>
                </a:solidFill>
                <a:latin typeface="+mn-lt"/>
              </a:rPr>
              <a:pPr/>
              <a:t>‹#›</a:t>
            </a:fld>
            <a:endParaRPr lang="en-US" sz="800" baseline="0" dirty="0">
              <a:solidFill>
                <a:srgbClr val="808080"/>
              </a:solidFill>
              <a:latin typeface="+mn-lt"/>
            </a:endParaRPr>
          </a:p>
        </p:txBody>
      </p:sp>
      <p:sp>
        <p:nvSpPr>
          <p:cNvPr id="9" name="SlideLogoText"/>
          <p:cNvSpPr>
            <a:spLocks noChangeArrowheads="1"/>
          </p:cNvSpPr>
          <p:nvPr>
            <p:custDataLst>
              <p:tags r:id="rId3"/>
            </p:custDataLst>
          </p:nvPr>
        </p:nvSpPr>
        <p:spPr bwMode="auto">
          <a:xfrm>
            <a:off x="7450817" y="6508272"/>
            <a:ext cx="1013098"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algn="r" defTabSz="895350"/>
            <a:r>
              <a:rPr lang="en-US" sz="800" baseline="0" dirty="0">
                <a:solidFill>
                  <a:srgbClr val="808080"/>
                </a:solidFill>
                <a:latin typeface="+mn-lt"/>
              </a:rPr>
              <a:t>McKinsey &amp; Company</a:t>
            </a:r>
          </a:p>
        </p:txBody>
      </p:sp>
      <p:sp>
        <p:nvSpPr>
          <p:cNvPr id="5" name="doc id" hidden="1"/>
          <p:cNvSpPr txBox="1">
            <a:spLocks noChangeArrowheads="1"/>
          </p:cNvSpPr>
          <p:nvPr/>
        </p:nvSpPr>
        <p:spPr bwMode="white">
          <a:xfrm>
            <a:off x="8104473" y="36513"/>
            <a:ext cx="634716" cy="115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hangingPunct="1">
              <a:defRPr/>
            </a:pPr>
            <a:endParaRPr lang="en-US" sz="800" baseline="0" dirty="0">
              <a:solidFill>
                <a:schemeClr val="accent1"/>
              </a:solidFill>
              <a:latin typeface="+mn-lt"/>
              <a:ea typeface="+mn-ea"/>
            </a:endParaRPr>
          </a:p>
        </p:txBody>
      </p:sp>
    </p:spTree>
    <p:extLst>
      <p:ext uri="{BB962C8B-B14F-4D97-AF65-F5344CB8AC3E}">
        <p14:creationId xmlns:p14="http://schemas.microsoft.com/office/powerpoint/2010/main" val="1622968788"/>
      </p:ext>
    </p:extLst>
  </p:cSld>
  <p:clrMapOvr>
    <a:masterClrMapping/>
  </p:clrMapOvr>
  <p:extLst mod="1">
    <p:ext uri="{DCECCB84-F9BA-43D5-87BE-67443E8EF086}">
      <p15:sldGuideLst xmlns:p15="http://schemas.microsoft.com/office/powerpoint/2012/main">
        <p15:guide id="1" pos="5505">
          <p15:clr>
            <a:srgbClr val="F26B43"/>
          </p15:clr>
        </p15:guide>
        <p15:guide id="2" pos="74">
          <p15:clr>
            <a:srgbClr val="F26B43"/>
          </p15:clr>
        </p15:guide>
        <p15:guide id="3" orient="horz" pos="571">
          <p15:clr>
            <a:srgbClr val="F26B43"/>
          </p15:clr>
        </p15:guide>
        <p15:guide id="4" orient="horz" pos="3911">
          <p15:clr>
            <a:srgbClr val="F26B43"/>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1_Title Only">
    <p:bg>
      <p:bgPr>
        <a:solidFill>
          <a:schemeClr val="accent2"/>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F4AD34F-3B47-47E2-A09C-FFEB949F6A10}"/>
              </a:ext>
            </a:extLst>
          </p:cNvPr>
          <p:cNvGraphicFramePr>
            <a:graphicFrameLocks noChangeAspect="1"/>
          </p:cNvGraphicFramePr>
          <p:nvPr>
            <p:custDataLst>
              <p:tags r:id="rId2"/>
            </p:custDataLst>
            <p:extLst>
              <p:ext uri="{D42A27DB-BD31-4B8C-83A1-F6EECF244321}">
                <p14:modId xmlns:p14="http://schemas.microsoft.com/office/powerpoint/2010/main" val="188154633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0196" name="think-cell Slide" r:id="rId5" imgW="395" imgH="394" progId="TCLayout.ActiveDocument.1">
                  <p:embed/>
                </p:oleObj>
              </mc:Choice>
              <mc:Fallback>
                <p:oleObj name="think-cell Slide" r:id="rId5" imgW="395" imgH="394" progId="TCLayout.ActiveDocument.1">
                  <p:embed/>
                  <p:pic>
                    <p:nvPicPr>
                      <p:cNvPr id="3" name="Object 2" hidden="1">
                        <a:extLst>
                          <a:ext uri="{FF2B5EF4-FFF2-40B4-BE49-F238E27FC236}">
                            <a16:creationId xmlns:a16="http://schemas.microsoft.com/office/drawing/2014/main" id="{EF4AD34F-3B47-47E2-A09C-FFEB949F6A10}"/>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endParaRPr lang="en-US" dirty="0"/>
          </a:p>
        </p:txBody>
      </p:sp>
      <p:sp>
        <p:nvSpPr>
          <p:cNvPr id="15" name="Slide Number"/>
          <p:cNvSpPr txBox="1">
            <a:spLocks/>
          </p:cNvSpPr>
          <p:nvPr/>
        </p:nvSpPr>
        <p:spPr>
          <a:xfrm>
            <a:off x="8564563" y="6508272"/>
            <a:ext cx="125034" cy="123111"/>
          </a:xfrm>
          <a:prstGeom prst="rect">
            <a:avLst/>
          </a:prstGeom>
        </p:spPr>
        <p:txBody>
          <a:bodyPr vert="horz" wrap="none" lIns="0" tIns="0" rIns="0" bIns="0" rtlCol="0" anchor="ctr">
            <a:spAutoFit/>
          </a:bodyPr>
          <a:lstStyle>
            <a:defPPr>
              <a:defRPr lang="en-US"/>
            </a:defPPr>
            <a:lvl1pPr>
              <a:defRPr sz="1000" baseline="0">
                <a:latin typeface="+mn-lt"/>
              </a:defRPr>
            </a:lvl1pPr>
          </a:lstStyle>
          <a:p>
            <a:fld id="{42C328C1-A84F-4A39-A664-DBA00541A8C6}" type="slidenum">
              <a:rPr lang="en-US" sz="800" baseline="0" smtClean="0">
                <a:solidFill>
                  <a:srgbClr val="FFFFFF"/>
                </a:solidFill>
                <a:latin typeface="+mn-lt"/>
              </a:rPr>
              <a:pPr/>
              <a:t>‹#›</a:t>
            </a:fld>
            <a:endParaRPr lang="en-US" sz="800" baseline="0" dirty="0">
              <a:solidFill>
                <a:srgbClr val="FFFFFF"/>
              </a:solidFill>
              <a:latin typeface="+mn-lt"/>
            </a:endParaRPr>
          </a:p>
        </p:txBody>
      </p:sp>
      <p:sp>
        <p:nvSpPr>
          <p:cNvPr id="16" name="SlideLogoText"/>
          <p:cNvSpPr>
            <a:spLocks noChangeArrowheads="1"/>
          </p:cNvSpPr>
          <p:nvPr>
            <p:custDataLst>
              <p:tags r:id="rId3"/>
            </p:custDataLst>
          </p:nvPr>
        </p:nvSpPr>
        <p:spPr bwMode="auto">
          <a:xfrm>
            <a:off x="7450817" y="6508272"/>
            <a:ext cx="1013098"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algn="r" defTabSz="895350"/>
            <a:r>
              <a:rPr lang="en-US" sz="800" baseline="0" dirty="0">
                <a:solidFill>
                  <a:srgbClr val="FFFFFF"/>
                </a:solidFill>
                <a:latin typeface="+mn-lt"/>
              </a:rPr>
              <a:t>McKinsey &amp; Company</a:t>
            </a:r>
          </a:p>
        </p:txBody>
      </p:sp>
      <p:sp>
        <p:nvSpPr>
          <p:cNvPr id="5" name="doc id" hidden="1"/>
          <p:cNvSpPr txBox="1">
            <a:spLocks noChangeArrowheads="1"/>
          </p:cNvSpPr>
          <p:nvPr/>
        </p:nvSpPr>
        <p:spPr bwMode="white">
          <a:xfrm>
            <a:off x="8104473" y="36513"/>
            <a:ext cx="634716" cy="115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hangingPunct="1">
              <a:defRPr/>
            </a:pPr>
            <a:endParaRPr lang="en-US" sz="800" baseline="0" dirty="0">
              <a:solidFill>
                <a:schemeClr val="accent1"/>
              </a:solidFill>
              <a:latin typeface="+mn-lt"/>
              <a:ea typeface="+mn-ea"/>
            </a:endParaRPr>
          </a:p>
        </p:txBody>
      </p:sp>
    </p:spTree>
    <p:extLst>
      <p:ext uri="{BB962C8B-B14F-4D97-AF65-F5344CB8AC3E}">
        <p14:creationId xmlns:p14="http://schemas.microsoft.com/office/powerpoint/2010/main" val="55097977"/>
      </p:ext>
    </p:extLst>
  </p:cSld>
  <p:clrMapOvr>
    <a:masterClrMapping/>
  </p:clrMapOvr>
  <p:extLst mod="1">
    <p:ext uri="{DCECCB84-F9BA-43D5-87BE-67443E8EF086}">
      <p15:sldGuideLst xmlns:p15="http://schemas.microsoft.com/office/powerpoint/2012/main">
        <p15:guide id="1" pos="3978">
          <p15:clr>
            <a:srgbClr val="000000"/>
          </p15:clr>
        </p15:guide>
        <p15:guide id="2" orient="horz" pos="570">
          <p15:clr>
            <a:srgbClr val="000000"/>
          </p15:clr>
        </p15:guide>
        <p15:guide id="3" orient="horz" pos="3912">
          <p15:clr>
            <a:srgbClr val="000000"/>
          </p15:clr>
        </p15:guide>
        <p15:guide id="4" pos="72">
          <p15:clr>
            <a:srgbClr val="00000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type="titleOnly">
  <p:cSld name="2_Title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ECD524A-1569-4253-8CD8-48D288AD883C}"/>
              </a:ext>
            </a:extLst>
          </p:cNvPr>
          <p:cNvGraphicFramePr>
            <a:graphicFrameLocks noChangeAspect="1"/>
          </p:cNvGraphicFramePr>
          <p:nvPr>
            <p:custDataLst>
              <p:tags r:id="rId2"/>
            </p:custDataLst>
            <p:extLst>
              <p:ext uri="{D42A27DB-BD31-4B8C-83A1-F6EECF244321}">
                <p14:modId xmlns:p14="http://schemas.microsoft.com/office/powerpoint/2010/main" val="52028114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40" name="think-cell Slide" r:id="rId4" imgW="395" imgH="394" progId="TCLayout.ActiveDocument.1">
                  <p:embed/>
                </p:oleObj>
              </mc:Choice>
              <mc:Fallback>
                <p:oleObj name="think-cell Slide" r:id="rId4" imgW="395" imgH="394" progId="TCLayout.ActiveDocument.1">
                  <p:embed/>
                  <p:pic>
                    <p:nvPicPr>
                      <p:cNvPr id="3" name="Object 2" hidden="1">
                        <a:extLst>
                          <a:ext uri="{FF2B5EF4-FFF2-40B4-BE49-F238E27FC236}">
                            <a16:creationId xmlns:a16="http://schemas.microsoft.com/office/drawing/2014/main" id="{5ECD524A-1569-4253-8CD8-48D288AD883C}"/>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672373729"/>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titleOnly">
  <p:cSld name="2_Title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ECD524A-1569-4253-8CD8-48D288AD883C}"/>
              </a:ext>
            </a:extLst>
          </p:cNvPr>
          <p:cNvGraphicFramePr>
            <a:graphicFrameLocks noChangeAspect="1"/>
          </p:cNvGraphicFramePr>
          <p:nvPr>
            <p:custDataLst>
              <p:tags r:id="rId2"/>
            </p:custDataLst>
            <p:extLst>
              <p:ext uri="{D42A27DB-BD31-4B8C-83A1-F6EECF244321}">
                <p14:modId xmlns:p14="http://schemas.microsoft.com/office/powerpoint/2010/main" val="238838543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220" name="think-cell Slide" r:id="rId4" imgW="395" imgH="394" progId="TCLayout.ActiveDocument.1">
                  <p:embed/>
                </p:oleObj>
              </mc:Choice>
              <mc:Fallback>
                <p:oleObj name="think-cell Slide" r:id="rId4" imgW="395" imgH="394" progId="TCLayout.ActiveDocument.1">
                  <p:embed/>
                  <p:pic>
                    <p:nvPicPr>
                      <p:cNvPr id="3" name="Object 2" hidden="1">
                        <a:extLst>
                          <a:ext uri="{FF2B5EF4-FFF2-40B4-BE49-F238E27FC236}">
                            <a16:creationId xmlns:a16="http://schemas.microsoft.com/office/drawing/2014/main" id="{5ECD524A-1569-4253-8CD8-48D288AD883C}"/>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861936235"/>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pic>
        <p:nvPicPr>
          <p:cNvPr id="2" name="background"/>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0" y="198"/>
            <a:ext cx="8961438" cy="6721079"/>
          </a:xfrm>
          <a:prstGeom prst="rect">
            <a:avLst/>
          </a:prstGeom>
        </p:spPr>
      </p:pic>
      <p:sp>
        <p:nvSpPr>
          <p:cNvPr id="28" name="TitleRectangle"/>
          <p:cNvSpPr txBox="1">
            <a:spLocks/>
          </p:cNvSpPr>
          <p:nvPr/>
        </p:nvSpPr>
        <p:spPr>
          <a:xfrm>
            <a:off x="2084388" y="0"/>
            <a:ext cx="6875462" cy="3575976"/>
          </a:xfrm>
          <a:prstGeom prst="rect">
            <a:avLst/>
          </a:prstGeom>
          <a:solidFill>
            <a:srgbClr val="002960">
              <a:alpha val="92000"/>
            </a:srgbClr>
          </a:solidFill>
        </p:spPr>
        <p:txBody>
          <a:bodyPr vert="horz" wrap="square" lIns="216000" tIns="1440000" rIns="216000" bIns="108000" rtlCol="0">
            <a:noAutofit/>
          </a:bodyPr>
          <a:lstStyle>
            <a:lvl1pPr marL="0" indent="0" algn="l" defTabSz="914400" rtl="0" eaLnBrk="1" latinLnBrk="0" hangingPunct="1">
              <a:spcBef>
                <a:spcPct val="20000"/>
              </a:spcBef>
              <a:spcAft>
                <a:spcPts val="6000"/>
              </a:spcAft>
              <a:buFont typeface="Arial" pitchFamily="34" charset="0"/>
              <a:buNone/>
              <a:defRPr sz="3200" kern="1200">
                <a:solidFill>
                  <a:schemeClr val="accent1"/>
                </a:solidFill>
                <a:latin typeface="+mn-lt"/>
                <a:ea typeface="+mn-ea"/>
                <a:cs typeface="+mn-cs"/>
              </a:defRPr>
            </a:lvl1pPr>
            <a:lvl2pPr marL="0" indent="0" algn="l" defTabSz="914400" rtl="0" eaLnBrk="1" latinLnBrk="0" hangingPunct="1">
              <a:spcBef>
                <a:spcPct val="20000"/>
              </a:spcBef>
              <a:buFont typeface="Wingdings" charset="2"/>
              <a:buNone/>
              <a:defRPr sz="1400" kern="1200">
                <a:solidFill>
                  <a:schemeClr val="tx1">
                    <a:lumMod val="50000"/>
                    <a:lumOff val="50000"/>
                  </a:schemeClr>
                </a:solidFill>
                <a:latin typeface="+mn-lt"/>
                <a:ea typeface="+mn-ea"/>
                <a:cs typeface="+mn-cs"/>
              </a:defRPr>
            </a:lvl2pPr>
            <a:lvl3pPr marL="1143000" indent="-228600" algn="l" defTabSz="914400" rtl="0" eaLnBrk="1" latinLnBrk="0" hangingPunct="1">
              <a:spcBef>
                <a:spcPct val="20000"/>
              </a:spcBef>
              <a:buFont typeface="Lucida Grande"/>
              <a:buChar char="–"/>
              <a:defRPr sz="16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fontAlgn="auto">
              <a:defRPr/>
            </a:pPr>
            <a:r>
              <a:rPr lang="en-US" baseline="0" dirty="0">
                <a:solidFill>
                  <a:srgbClr val="00ADEF"/>
                </a:solidFill>
                <a:latin typeface="+mn-lt"/>
              </a:rPr>
              <a:t>
              </a:t>
            </a:r>
            <a:br>
              <a:rPr lang="en-US" baseline="0" dirty="0">
                <a:solidFill>
                  <a:srgbClr val="00ADEF"/>
                </a:solidFill>
                <a:latin typeface="+mn-lt"/>
              </a:rPr>
            </a:br>
            <a:endParaRPr lang="en-US" baseline="0" dirty="0">
              <a:solidFill>
                <a:srgbClr val="00ADEF"/>
              </a:solidFill>
              <a:latin typeface="+mn-lt"/>
            </a:endParaRPr>
          </a:p>
        </p:txBody>
      </p:sp>
      <p:graphicFrame>
        <p:nvGraphicFramePr>
          <p:cNvPr id="3" name="Object 2"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3268"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Working Draft Text" hidden="1"/>
          <p:cNvSpPr txBox="1">
            <a:spLocks noChangeArrowheads="1"/>
          </p:cNvSpPr>
          <p:nvPr/>
        </p:nvSpPr>
        <p:spPr bwMode="black">
          <a:xfrm>
            <a:off x="5992719" y="6287538"/>
            <a:ext cx="2790000"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800" b="1" baseline="0" dirty="0">
                <a:solidFill>
                  <a:srgbClr val="FFFFFF"/>
                </a:solidFill>
                <a:latin typeface="+mn-lt"/>
              </a:rPr>
              <a:t>WORKING DRAFT</a:t>
            </a:r>
          </a:p>
        </p:txBody>
      </p:sp>
      <p:sp>
        <p:nvSpPr>
          <p:cNvPr id="6" name="Working Draft" hidden="1"/>
          <p:cNvSpPr txBox="1">
            <a:spLocks noChangeArrowheads="1"/>
          </p:cNvSpPr>
          <p:nvPr/>
        </p:nvSpPr>
        <p:spPr bwMode="black">
          <a:xfrm>
            <a:off x="5992718" y="6410648"/>
            <a:ext cx="2968719"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800" baseline="0">
                <a:solidFill>
                  <a:srgbClr val="FFFFFF"/>
                </a:solidFill>
                <a:latin typeface="+mn-lt"/>
              </a:rPr>
              <a:t>Last Modified 21/05/2018 17:44 India Standard Time</a:t>
            </a:r>
            <a:endParaRPr lang="en-US" sz="800" baseline="0" dirty="0">
              <a:solidFill>
                <a:srgbClr val="FFFFFF"/>
              </a:solidFill>
              <a:latin typeface="+mn-lt"/>
            </a:endParaRPr>
          </a:p>
        </p:txBody>
      </p:sp>
      <p:sp>
        <p:nvSpPr>
          <p:cNvPr id="7" name="Printed" hidden="1"/>
          <p:cNvSpPr txBox="1">
            <a:spLocks noChangeArrowheads="1"/>
          </p:cNvSpPr>
          <p:nvPr/>
        </p:nvSpPr>
        <p:spPr bwMode="black">
          <a:xfrm>
            <a:off x="5992719" y="6533759"/>
            <a:ext cx="2790000"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800" baseline="0" dirty="0">
                <a:solidFill>
                  <a:srgbClr val="FFFFFF"/>
                </a:solidFill>
                <a:latin typeface="+mn-lt"/>
              </a:rPr>
              <a:t>Printed</a:t>
            </a:r>
          </a:p>
        </p:txBody>
      </p:sp>
      <p:sp>
        <p:nvSpPr>
          <p:cNvPr id="13314" name="Title"/>
          <p:cNvSpPr>
            <a:spLocks noGrp="1" noChangeArrowheads="1"/>
          </p:cNvSpPr>
          <p:nvPr>
            <p:ph type="ctrTitle"/>
          </p:nvPr>
        </p:nvSpPr>
        <p:spPr>
          <a:xfrm>
            <a:off x="2268266" y="1434419"/>
            <a:ext cx="6231663" cy="492443"/>
          </a:xfrm>
          <a:prstGeom prst="rect">
            <a:avLst/>
          </a:prstGeom>
        </p:spPr>
        <p:txBody>
          <a:bodyPr>
            <a:spAutoFit/>
          </a:bodyPr>
          <a:lstStyle>
            <a:lvl1pPr>
              <a:defRPr sz="3200" b="0" baseline="0">
                <a:solidFill>
                  <a:schemeClr val="accent2"/>
                </a:solidFill>
                <a:latin typeface="+mj-lt"/>
                <a:ea typeface="+mj-ea"/>
              </a:defRPr>
            </a:lvl1pPr>
          </a:lstStyle>
          <a:p>
            <a:pPr lvl="0" latinLnBrk="0"/>
            <a:r>
              <a:rPr lang="en-US" noProof="0"/>
              <a:t>Click to edit Master title style</a:t>
            </a:r>
            <a:endParaRPr lang="en-US" noProof="0" dirty="0"/>
          </a:p>
        </p:txBody>
      </p:sp>
      <p:sp>
        <p:nvSpPr>
          <p:cNvPr id="13315" name="Subtitle"/>
          <p:cNvSpPr>
            <a:spLocks noGrp="1" noChangeArrowheads="1"/>
          </p:cNvSpPr>
          <p:nvPr>
            <p:ph type="subTitle" idx="1"/>
          </p:nvPr>
        </p:nvSpPr>
        <p:spPr>
          <a:xfrm>
            <a:off x="2268266" y="2819401"/>
            <a:ext cx="6231663" cy="215444"/>
          </a:xfrm>
          <a:prstGeom prst="rect">
            <a:avLst/>
          </a:prstGeom>
        </p:spPr>
        <p:txBody>
          <a:bodyPr wrap="square">
            <a:spAutoFit/>
          </a:bodyPr>
          <a:lstStyle>
            <a:lvl1pPr>
              <a:defRPr sz="1400" cap="all" baseline="0">
                <a:solidFill>
                  <a:schemeClr val="bg1"/>
                </a:solidFill>
                <a:latin typeface="+mn-lt"/>
                <a:ea typeface="+mn-ea"/>
              </a:defRPr>
            </a:lvl1pPr>
          </a:lstStyle>
          <a:p>
            <a:pPr lvl="0" latinLnBrk="0"/>
            <a:r>
              <a:rPr lang="en-US" noProof="0"/>
              <a:t>Click to edit Master subtitle style</a:t>
            </a:r>
            <a:endParaRPr lang="en-US" noProof="0" dirty="0"/>
          </a:p>
        </p:txBody>
      </p:sp>
      <p:sp>
        <p:nvSpPr>
          <p:cNvPr id="57" name="Document type" hidden="1"/>
          <p:cNvSpPr txBox="1">
            <a:spLocks noChangeArrowheads="1"/>
          </p:cNvSpPr>
          <p:nvPr/>
        </p:nvSpPr>
        <p:spPr bwMode="gray">
          <a:xfrm>
            <a:off x="2268266" y="3227411"/>
            <a:ext cx="6231663"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00" baseline="0" dirty="0">
                <a:solidFill>
                  <a:schemeClr val="bg1"/>
                </a:solidFill>
                <a:latin typeface="+mn-lt"/>
              </a:rPr>
              <a:t>Document type | Date</a:t>
            </a:r>
          </a:p>
        </p:txBody>
      </p:sp>
      <p:sp>
        <p:nvSpPr>
          <p:cNvPr id="5" name="doc id" hidden="1"/>
          <p:cNvSpPr txBox="1">
            <a:spLocks noChangeArrowheads="1"/>
          </p:cNvSpPr>
          <p:nvPr/>
        </p:nvSpPr>
        <p:spPr bwMode="white">
          <a:xfrm>
            <a:off x="8443913" y="36513"/>
            <a:ext cx="295275" cy="1222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hangingPunct="1">
              <a:defRPr/>
            </a:pPr>
            <a:endParaRPr lang="en-US" sz="800" baseline="0" dirty="0">
              <a:solidFill>
                <a:srgbClr val="FFFFFF"/>
              </a:solidFill>
              <a:latin typeface="+mn-lt"/>
            </a:endParaRPr>
          </a:p>
        </p:txBody>
      </p:sp>
      <p:sp>
        <p:nvSpPr>
          <p:cNvPr id="43" name="LogoImage"/>
          <p:cNvSpPr>
            <a:spLocks noEditPoints="1"/>
          </p:cNvSpPr>
          <p:nvPr/>
        </p:nvSpPr>
        <p:spPr bwMode="white">
          <a:xfrm>
            <a:off x="2269098" y="182925"/>
            <a:ext cx="2176978" cy="238073"/>
          </a:xfrm>
          <a:custGeom>
            <a:avLst/>
            <a:gdLst>
              <a:gd name="T0" fmla="*/ 504 w 5516"/>
              <a:gd name="T1" fmla="*/ 26 h 606"/>
              <a:gd name="T2" fmla="*/ 18 w 5516"/>
              <a:gd name="T3" fmla="*/ 22 h 606"/>
              <a:gd name="T4" fmla="*/ 140 w 5516"/>
              <a:gd name="T5" fmla="*/ 436 h 606"/>
              <a:gd name="T6" fmla="*/ 408 w 5516"/>
              <a:gd name="T7" fmla="*/ 372 h 606"/>
              <a:gd name="T8" fmla="*/ 696 w 5516"/>
              <a:gd name="T9" fmla="*/ 422 h 606"/>
              <a:gd name="T10" fmla="*/ 768 w 5516"/>
              <a:gd name="T11" fmla="*/ 196 h 606"/>
              <a:gd name="T12" fmla="*/ 1272 w 5516"/>
              <a:gd name="T13" fmla="*/ 26 h 606"/>
              <a:gd name="T14" fmla="*/ 1302 w 5516"/>
              <a:gd name="T15" fmla="*/ 338 h 606"/>
              <a:gd name="T16" fmla="*/ 1202 w 5516"/>
              <a:gd name="T17" fmla="*/ 436 h 606"/>
              <a:gd name="T18" fmla="*/ 1030 w 5516"/>
              <a:gd name="T19" fmla="*/ 10 h 606"/>
              <a:gd name="T20" fmla="*/ 960 w 5516"/>
              <a:gd name="T21" fmla="*/ 22 h 606"/>
              <a:gd name="T22" fmla="*/ 804 w 5516"/>
              <a:gd name="T23" fmla="*/ 434 h 606"/>
              <a:gd name="T24" fmla="*/ 930 w 5516"/>
              <a:gd name="T25" fmla="*/ 246 h 606"/>
              <a:gd name="T26" fmla="*/ 1658 w 5516"/>
              <a:gd name="T27" fmla="*/ 342 h 606"/>
              <a:gd name="T28" fmla="*/ 1368 w 5516"/>
              <a:gd name="T29" fmla="*/ 188 h 606"/>
              <a:gd name="T30" fmla="*/ 1514 w 5516"/>
              <a:gd name="T31" fmla="*/ 436 h 606"/>
              <a:gd name="T32" fmla="*/ 1564 w 5516"/>
              <a:gd name="T33" fmla="*/ 434 h 606"/>
              <a:gd name="T34" fmla="*/ 1904 w 5516"/>
              <a:gd name="T35" fmla="*/ 184 h 606"/>
              <a:gd name="T36" fmla="*/ 1728 w 5516"/>
              <a:gd name="T37" fmla="*/ 366 h 606"/>
              <a:gd name="T38" fmla="*/ 2102 w 5516"/>
              <a:gd name="T39" fmla="*/ 192 h 606"/>
              <a:gd name="T40" fmla="*/ 1982 w 5516"/>
              <a:gd name="T41" fmla="*/ 320 h 606"/>
              <a:gd name="T42" fmla="*/ 2478 w 5516"/>
              <a:gd name="T43" fmla="*/ 242 h 606"/>
              <a:gd name="T44" fmla="*/ 2406 w 5516"/>
              <a:gd name="T45" fmla="*/ 390 h 606"/>
              <a:gd name="T46" fmla="*/ 2234 w 5516"/>
              <a:gd name="T47" fmla="*/ 192 h 606"/>
              <a:gd name="T48" fmla="*/ 2478 w 5516"/>
              <a:gd name="T49" fmla="*/ 242 h 606"/>
              <a:gd name="T50" fmla="*/ 2928 w 5516"/>
              <a:gd name="T51" fmla="*/ 448 h 606"/>
              <a:gd name="T52" fmla="*/ 2958 w 5516"/>
              <a:gd name="T53" fmla="*/ 230 h 606"/>
              <a:gd name="T54" fmla="*/ 2716 w 5516"/>
              <a:gd name="T55" fmla="*/ 54 h 606"/>
              <a:gd name="T56" fmla="*/ 2714 w 5516"/>
              <a:gd name="T57" fmla="*/ 36 h 606"/>
              <a:gd name="T58" fmla="*/ 2928 w 5516"/>
              <a:gd name="T59" fmla="*/ 448 h 606"/>
              <a:gd name="T60" fmla="*/ 3388 w 5516"/>
              <a:gd name="T61" fmla="*/ 4 h 606"/>
              <a:gd name="T62" fmla="*/ 3396 w 5516"/>
              <a:gd name="T63" fmla="*/ 366 h 606"/>
              <a:gd name="T64" fmla="*/ 3580 w 5516"/>
              <a:gd name="T65" fmla="*/ 190 h 606"/>
              <a:gd name="T66" fmla="*/ 3502 w 5516"/>
              <a:gd name="T67" fmla="*/ 432 h 606"/>
              <a:gd name="T68" fmla="*/ 4232 w 5516"/>
              <a:gd name="T69" fmla="*/ 348 h 606"/>
              <a:gd name="T70" fmla="*/ 3858 w 5516"/>
              <a:gd name="T71" fmla="*/ 176 h 606"/>
              <a:gd name="T72" fmla="*/ 3758 w 5516"/>
              <a:gd name="T73" fmla="*/ 446 h 606"/>
              <a:gd name="T74" fmla="*/ 3990 w 5516"/>
              <a:gd name="T75" fmla="*/ 282 h 606"/>
              <a:gd name="T76" fmla="*/ 4042 w 5516"/>
              <a:gd name="T77" fmla="*/ 342 h 606"/>
              <a:gd name="T78" fmla="*/ 4134 w 5516"/>
              <a:gd name="T79" fmla="*/ 448 h 606"/>
              <a:gd name="T80" fmla="*/ 4454 w 5516"/>
              <a:gd name="T81" fmla="*/ 202 h 606"/>
              <a:gd name="T82" fmla="*/ 4284 w 5516"/>
              <a:gd name="T83" fmla="*/ 174 h 606"/>
              <a:gd name="T84" fmla="*/ 4432 w 5516"/>
              <a:gd name="T85" fmla="*/ 588 h 606"/>
              <a:gd name="T86" fmla="*/ 4792 w 5516"/>
              <a:gd name="T87" fmla="*/ 382 h 606"/>
              <a:gd name="T88" fmla="*/ 5192 w 5516"/>
              <a:gd name="T89" fmla="*/ 340 h 606"/>
              <a:gd name="T90" fmla="*/ 4902 w 5516"/>
              <a:gd name="T91" fmla="*/ 186 h 606"/>
              <a:gd name="T92" fmla="*/ 4850 w 5516"/>
              <a:gd name="T93" fmla="*/ 274 h 606"/>
              <a:gd name="T94" fmla="*/ 4742 w 5516"/>
              <a:gd name="T95" fmla="*/ 194 h 606"/>
              <a:gd name="T96" fmla="*/ 4794 w 5516"/>
              <a:gd name="T97" fmla="*/ 418 h 606"/>
              <a:gd name="T98" fmla="*/ 5004 w 5516"/>
              <a:gd name="T99" fmla="*/ 338 h 606"/>
              <a:gd name="T100" fmla="*/ 5098 w 5516"/>
              <a:gd name="T101" fmla="*/ 446 h 606"/>
              <a:gd name="T102" fmla="*/ 5418 w 5516"/>
              <a:gd name="T103" fmla="*/ 192 h 606"/>
              <a:gd name="T104" fmla="*/ 5348 w 5516"/>
              <a:gd name="T105" fmla="*/ 180 h 606"/>
              <a:gd name="T106" fmla="*/ 5254 w 5516"/>
              <a:gd name="T107" fmla="*/ 606 h 6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516" h="606">
                <a:moveTo>
                  <a:pt x="366" y="448"/>
                </a:moveTo>
                <a:cubicBezTo>
                  <a:pt x="524" y="448"/>
                  <a:pt x="524" y="448"/>
                  <a:pt x="524" y="448"/>
                </a:cubicBezTo>
                <a:cubicBezTo>
                  <a:pt x="524" y="436"/>
                  <a:pt x="524" y="436"/>
                  <a:pt x="524" y="436"/>
                </a:cubicBezTo>
                <a:cubicBezTo>
                  <a:pt x="486" y="432"/>
                  <a:pt x="470" y="414"/>
                  <a:pt x="468" y="362"/>
                </a:cubicBezTo>
                <a:cubicBezTo>
                  <a:pt x="454" y="86"/>
                  <a:pt x="454" y="86"/>
                  <a:pt x="454" y="86"/>
                </a:cubicBezTo>
                <a:cubicBezTo>
                  <a:pt x="452" y="46"/>
                  <a:pt x="470" y="30"/>
                  <a:pt x="504" y="26"/>
                </a:cubicBezTo>
                <a:cubicBezTo>
                  <a:pt x="504" y="12"/>
                  <a:pt x="504" y="12"/>
                  <a:pt x="504" y="12"/>
                </a:cubicBezTo>
                <a:cubicBezTo>
                  <a:pt x="394" y="12"/>
                  <a:pt x="394" y="12"/>
                  <a:pt x="394" y="12"/>
                </a:cubicBezTo>
                <a:cubicBezTo>
                  <a:pt x="264" y="350"/>
                  <a:pt x="264" y="350"/>
                  <a:pt x="264" y="350"/>
                </a:cubicBezTo>
                <a:cubicBezTo>
                  <a:pt x="132" y="10"/>
                  <a:pt x="132" y="10"/>
                  <a:pt x="132" y="10"/>
                </a:cubicBezTo>
                <a:cubicBezTo>
                  <a:pt x="18" y="10"/>
                  <a:pt x="18" y="10"/>
                  <a:pt x="18" y="10"/>
                </a:cubicBezTo>
                <a:cubicBezTo>
                  <a:pt x="18" y="22"/>
                  <a:pt x="18" y="22"/>
                  <a:pt x="18" y="22"/>
                </a:cubicBezTo>
                <a:cubicBezTo>
                  <a:pt x="40" y="26"/>
                  <a:pt x="74" y="32"/>
                  <a:pt x="72" y="84"/>
                </a:cubicBezTo>
                <a:cubicBezTo>
                  <a:pt x="58" y="352"/>
                  <a:pt x="58" y="352"/>
                  <a:pt x="58" y="352"/>
                </a:cubicBezTo>
                <a:cubicBezTo>
                  <a:pt x="54" y="410"/>
                  <a:pt x="38" y="430"/>
                  <a:pt x="0" y="436"/>
                </a:cubicBezTo>
                <a:cubicBezTo>
                  <a:pt x="0" y="448"/>
                  <a:pt x="0" y="448"/>
                  <a:pt x="0" y="448"/>
                </a:cubicBezTo>
                <a:cubicBezTo>
                  <a:pt x="140" y="448"/>
                  <a:pt x="140" y="448"/>
                  <a:pt x="140" y="448"/>
                </a:cubicBezTo>
                <a:cubicBezTo>
                  <a:pt x="140" y="436"/>
                  <a:pt x="140" y="436"/>
                  <a:pt x="140" y="436"/>
                </a:cubicBezTo>
                <a:cubicBezTo>
                  <a:pt x="98" y="428"/>
                  <a:pt x="84" y="414"/>
                  <a:pt x="88" y="356"/>
                </a:cubicBezTo>
                <a:cubicBezTo>
                  <a:pt x="100" y="86"/>
                  <a:pt x="100" y="86"/>
                  <a:pt x="100" y="86"/>
                </a:cubicBezTo>
                <a:cubicBezTo>
                  <a:pt x="240" y="444"/>
                  <a:pt x="240" y="444"/>
                  <a:pt x="240" y="444"/>
                </a:cubicBezTo>
                <a:cubicBezTo>
                  <a:pt x="258" y="444"/>
                  <a:pt x="258" y="444"/>
                  <a:pt x="258" y="444"/>
                </a:cubicBezTo>
                <a:cubicBezTo>
                  <a:pt x="396" y="86"/>
                  <a:pt x="396" y="86"/>
                  <a:pt x="396" y="86"/>
                </a:cubicBezTo>
                <a:cubicBezTo>
                  <a:pt x="408" y="372"/>
                  <a:pt x="408" y="372"/>
                  <a:pt x="408" y="372"/>
                </a:cubicBezTo>
                <a:cubicBezTo>
                  <a:pt x="410" y="416"/>
                  <a:pt x="398" y="430"/>
                  <a:pt x="366" y="434"/>
                </a:cubicBezTo>
                <a:lnTo>
                  <a:pt x="366" y="448"/>
                </a:lnTo>
                <a:close/>
                <a:moveTo>
                  <a:pt x="670" y="456"/>
                </a:moveTo>
                <a:cubicBezTo>
                  <a:pt x="708" y="456"/>
                  <a:pt x="756" y="440"/>
                  <a:pt x="782" y="412"/>
                </a:cubicBezTo>
                <a:cubicBezTo>
                  <a:pt x="776" y="400"/>
                  <a:pt x="776" y="400"/>
                  <a:pt x="776" y="400"/>
                </a:cubicBezTo>
                <a:cubicBezTo>
                  <a:pt x="750" y="416"/>
                  <a:pt x="722" y="422"/>
                  <a:pt x="696" y="422"/>
                </a:cubicBezTo>
                <a:cubicBezTo>
                  <a:pt x="620" y="422"/>
                  <a:pt x="592" y="358"/>
                  <a:pt x="592" y="290"/>
                </a:cubicBezTo>
                <a:cubicBezTo>
                  <a:pt x="592" y="258"/>
                  <a:pt x="600" y="236"/>
                  <a:pt x="614" y="222"/>
                </a:cubicBezTo>
                <a:cubicBezTo>
                  <a:pt x="626" y="210"/>
                  <a:pt x="646" y="204"/>
                  <a:pt x="664" y="204"/>
                </a:cubicBezTo>
                <a:cubicBezTo>
                  <a:pt x="690" y="204"/>
                  <a:pt x="722" y="214"/>
                  <a:pt x="744" y="244"/>
                </a:cubicBezTo>
                <a:cubicBezTo>
                  <a:pt x="750" y="244"/>
                  <a:pt x="750" y="244"/>
                  <a:pt x="750" y="244"/>
                </a:cubicBezTo>
                <a:cubicBezTo>
                  <a:pt x="758" y="234"/>
                  <a:pt x="766" y="212"/>
                  <a:pt x="768" y="196"/>
                </a:cubicBezTo>
                <a:cubicBezTo>
                  <a:pt x="748" y="180"/>
                  <a:pt x="720" y="172"/>
                  <a:pt x="686" y="172"/>
                </a:cubicBezTo>
                <a:cubicBezTo>
                  <a:pt x="604" y="172"/>
                  <a:pt x="544" y="246"/>
                  <a:pt x="544" y="326"/>
                </a:cubicBezTo>
                <a:cubicBezTo>
                  <a:pt x="540" y="390"/>
                  <a:pt x="576" y="456"/>
                  <a:pt x="670" y="456"/>
                </a:cubicBezTo>
                <a:moveTo>
                  <a:pt x="1272" y="98"/>
                </a:moveTo>
                <a:cubicBezTo>
                  <a:pt x="1292" y="98"/>
                  <a:pt x="1308" y="82"/>
                  <a:pt x="1308" y="62"/>
                </a:cubicBezTo>
                <a:cubicBezTo>
                  <a:pt x="1308" y="42"/>
                  <a:pt x="1292" y="26"/>
                  <a:pt x="1272" y="26"/>
                </a:cubicBezTo>
                <a:cubicBezTo>
                  <a:pt x="1252" y="26"/>
                  <a:pt x="1238" y="42"/>
                  <a:pt x="1238" y="62"/>
                </a:cubicBezTo>
                <a:cubicBezTo>
                  <a:pt x="1238" y="82"/>
                  <a:pt x="1252" y="98"/>
                  <a:pt x="1272" y="98"/>
                </a:cubicBezTo>
                <a:moveTo>
                  <a:pt x="1202" y="448"/>
                </a:moveTo>
                <a:cubicBezTo>
                  <a:pt x="1346" y="448"/>
                  <a:pt x="1346" y="448"/>
                  <a:pt x="1346" y="448"/>
                </a:cubicBezTo>
                <a:cubicBezTo>
                  <a:pt x="1346" y="436"/>
                  <a:pt x="1346" y="436"/>
                  <a:pt x="1346" y="436"/>
                </a:cubicBezTo>
                <a:cubicBezTo>
                  <a:pt x="1304" y="432"/>
                  <a:pt x="1302" y="434"/>
                  <a:pt x="1302" y="338"/>
                </a:cubicBezTo>
                <a:cubicBezTo>
                  <a:pt x="1302" y="176"/>
                  <a:pt x="1302" y="176"/>
                  <a:pt x="1302" y="176"/>
                </a:cubicBezTo>
                <a:cubicBezTo>
                  <a:pt x="1200" y="176"/>
                  <a:pt x="1200" y="176"/>
                  <a:pt x="1200" y="176"/>
                </a:cubicBezTo>
                <a:cubicBezTo>
                  <a:pt x="1200" y="188"/>
                  <a:pt x="1200" y="188"/>
                  <a:pt x="1200" y="188"/>
                </a:cubicBezTo>
                <a:cubicBezTo>
                  <a:pt x="1244" y="190"/>
                  <a:pt x="1250" y="192"/>
                  <a:pt x="1250" y="268"/>
                </a:cubicBezTo>
                <a:cubicBezTo>
                  <a:pt x="1250" y="336"/>
                  <a:pt x="1250" y="336"/>
                  <a:pt x="1250" y="336"/>
                </a:cubicBezTo>
                <a:cubicBezTo>
                  <a:pt x="1250" y="432"/>
                  <a:pt x="1248" y="432"/>
                  <a:pt x="1202" y="436"/>
                </a:cubicBezTo>
                <a:cubicBezTo>
                  <a:pt x="1178" y="434"/>
                  <a:pt x="1154" y="426"/>
                  <a:pt x="1076" y="338"/>
                </a:cubicBezTo>
                <a:cubicBezTo>
                  <a:pt x="1046" y="302"/>
                  <a:pt x="996" y="244"/>
                  <a:pt x="968" y="206"/>
                </a:cubicBezTo>
                <a:cubicBezTo>
                  <a:pt x="1062" y="102"/>
                  <a:pt x="1062" y="102"/>
                  <a:pt x="1062" y="102"/>
                </a:cubicBezTo>
                <a:cubicBezTo>
                  <a:pt x="1108" y="52"/>
                  <a:pt x="1132" y="26"/>
                  <a:pt x="1176" y="24"/>
                </a:cubicBezTo>
                <a:cubicBezTo>
                  <a:pt x="1176" y="10"/>
                  <a:pt x="1176" y="10"/>
                  <a:pt x="1176" y="10"/>
                </a:cubicBezTo>
                <a:cubicBezTo>
                  <a:pt x="1030" y="10"/>
                  <a:pt x="1030" y="10"/>
                  <a:pt x="1030" y="10"/>
                </a:cubicBezTo>
                <a:cubicBezTo>
                  <a:pt x="1030" y="22"/>
                  <a:pt x="1030" y="22"/>
                  <a:pt x="1030" y="22"/>
                </a:cubicBezTo>
                <a:cubicBezTo>
                  <a:pt x="1050" y="26"/>
                  <a:pt x="1056" y="32"/>
                  <a:pt x="1056" y="46"/>
                </a:cubicBezTo>
                <a:cubicBezTo>
                  <a:pt x="1056" y="56"/>
                  <a:pt x="1054" y="72"/>
                  <a:pt x="1026" y="102"/>
                </a:cubicBezTo>
                <a:cubicBezTo>
                  <a:pt x="910" y="230"/>
                  <a:pt x="910" y="230"/>
                  <a:pt x="910" y="230"/>
                </a:cubicBezTo>
                <a:cubicBezTo>
                  <a:pt x="910" y="148"/>
                  <a:pt x="910" y="148"/>
                  <a:pt x="910" y="148"/>
                </a:cubicBezTo>
                <a:cubicBezTo>
                  <a:pt x="910" y="36"/>
                  <a:pt x="916" y="28"/>
                  <a:pt x="960" y="22"/>
                </a:cubicBezTo>
                <a:cubicBezTo>
                  <a:pt x="960" y="8"/>
                  <a:pt x="960" y="8"/>
                  <a:pt x="960" y="8"/>
                </a:cubicBezTo>
                <a:cubicBezTo>
                  <a:pt x="804" y="8"/>
                  <a:pt x="804" y="8"/>
                  <a:pt x="804" y="8"/>
                </a:cubicBezTo>
                <a:cubicBezTo>
                  <a:pt x="804" y="22"/>
                  <a:pt x="804" y="22"/>
                  <a:pt x="804" y="22"/>
                </a:cubicBezTo>
                <a:cubicBezTo>
                  <a:pt x="852" y="26"/>
                  <a:pt x="854" y="36"/>
                  <a:pt x="854" y="148"/>
                </a:cubicBezTo>
                <a:cubicBezTo>
                  <a:pt x="854" y="300"/>
                  <a:pt x="854" y="300"/>
                  <a:pt x="854" y="300"/>
                </a:cubicBezTo>
                <a:cubicBezTo>
                  <a:pt x="854" y="422"/>
                  <a:pt x="850" y="430"/>
                  <a:pt x="804" y="434"/>
                </a:cubicBezTo>
                <a:cubicBezTo>
                  <a:pt x="804" y="446"/>
                  <a:pt x="804" y="446"/>
                  <a:pt x="804" y="446"/>
                </a:cubicBezTo>
                <a:cubicBezTo>
                  <a:pt x="960" y="446"/>
                  <a:pt x="960" y="446"/>
                  <a:pt x="960" y="446"/>
                </a:cubicBezTo>
                <a:cubicBezTo>
                  <a:pt x="960" y="434"/>
                  <a:pt x="960" y="434"/>
                  <a:pt x="960" y="434"/>
                </a:cubicBezTo>
                <a:cubicBezTo>
                  <a:pt x="910" y="428"/>
                  <a:pt x="910" y="424"/>
                  <a:pt x="910" y="292"/>
                </a:cubicBezTo>
                <a:cubicBezTo>
                  <a:pt x="910" y="268"/>
                  <a:pt x="910" y="268"/>
                  <a:pt x="910" y="268"/>
                </a:cubicBezTo>
                <a:cubicBezTo>
                  <a:pt x="930" y="246"/>
                  <a:pt x="930" y="246"/>
                  <a:pt x="930" y="246"/>
                </a:cubicBezTo>
                <a:cubicBezTo>
                  <a:pt x="982" y="310"/>
                  <a:pt x="1038" y="380"/>
                  <a:pt x="1098" y="448"/>
                </a:cubicBezTo>
                <a:cubicBezTo>
                  <a:pt x="1202" y="448"/>
                  <a:pt x="1202" y="448"/>
                  <a:pt x="1202" y="448"/>
                </a:cubicBezTo>
                <a:close/>
                <a:moveTo>
                  <a:pt x="1564" y="448"/>
                </a:moveTo>
                <a:cubicBezTo>
                  <a:pt x="1706" y="448"/>
                  <a:pt x="1706" y="448"/>
                  <a:pt x="1706" y="448"/>
                </a:cubicBezTo>
                <a:cubicBezTo>
                  <a:pt x="1706" y="436"/>
                  <a:pt x="1706" y="436"/>
                  <a:pt x="1706" y="436"/>
                </a:cubicBezTo>
                <a:cubicBezTo>
                  <a:pt x="1658" y="434"/>
                  <a:pt x="1658" y="432"/>
                  <a:pt x="1658" y="342"/>
                </a:cubicBezTo>
                <a:cubicBezTo>
                  <a:pt x="1658" y="280"/>
                  <a:pt x="1658" y="280"/>
                  <a:pt x="1658" y="280"/>
                </a:cubicBezTo>
                <a:cubicBezTo>
                  <a:pt x="1658" y="198"/>
                  <a:pt x="1612" y="172"/>
                  <a:pt x="1570" y="172"/>
                </a:cubicBezTo>
                <a:cubicBezTo>
                  <a:pt x="1534" y="172"/>
                  <a:pt x="1498" y="188"/>
                  <a:pt x="1470" y="224"/>
                </a:cubicBezTo>
                <a:cubicBezTo>
                  <a:pt x="1470" y="176"/>
                  <a:pt x="1470" y="176"/>
                  <a:pt x="1470" y="176"/>
                </a:cubicBezTo>
                <a:cubicBezTo>
                  <a:pt x="1368" y="176"/>
                  <a:pt x="1368" y="176"/>
                  <a:pt x="1368" y="176"/>
                </a:cubicBezTo>
                <a:cubicBezTo>
                  <a:pt x="1368" y="188"/>
                  <a:pt x="1368" y="188"/>
                  <a:pt x="1368" y="188"/>
                </a:cubicBezTo>
                <a:cubicBezTo>
                  <a:pt x="1412" y="190"/>
                  <a:pt x="1418" y="192"/>
                  <a:pt x="1418" y="268"/>
                </a:cubicBezTo>
                <a:cubicBezTo>
                  <a:pt x="1418" y="336"/>
                  <a:pt x="1418" y="336"/>
                  <a:pt x="1418" y="336"/>
                </a:cubicBezTo>
                <a:cubicBezTo>
                  <a:pt x="1418" y="434"/>
                  <a:pt x="1418" y="434"/>
                  <a:pt x="1370" y="436"/>
                </a:cubicBezTo>
                <a:cubicBezTo>
                  <a:pt x="1370" y="448"/>
                  <a:pt x="1370" y="448"/>
                  <a:pt x="1370" y="448"/>
                </a:cubicBezTo>
                <a:cubicBezTo>
                  <a:pt x="1514" y="448"/>
                  <a:pt x="1514" y="448"/>
                  <a:pt x="1514" y="448"/>
                </a:cubicBezTo>
                <a:cubicBezTo>
                  <a:pt x="1514" y="436"/>
                  <a:pt x="1514" y="436"/>
                  <a:pt x="1514" y="436"/>
                </a:cubicBezTo>
                <a:cubicBezTo>
                  <a:pt x="1472" y="432"/>
                  <a:pt x="1470" y="434"/>
                  <a:pt x="1470" y="338"/>
                </a:cubicBezTo>
                <a:cubicBezTo>
                  <a:pt x="1470" y="262"/>
                  <a:pt x="1470" y="262"/>
                  <a:pt x="1470" y="262"/>
                </a:cubicBezTo>
                <a:cubicBezTo>
                  <a:pt x="1470" y="236"/>
                  <a:pt x="1504" y="206"/>
                  <a:pt x="1546" y="206"/>
                </a:cubicBezTo>
                <a:cubicBezTo>
                  <a:pt x="1580" y="206"/>
                  <a:pt x="1606" y="220"/>
                  <a:pt x="1606" y="286"/>
                </a:cubicBezTo>
                <a:cubicBezTo>
                  <a:pt x="1606" y="340"/>
                  <a:pt x="1606" y="340"/>
                  <a:pt x="1606" y="340"/>
                </a:cubicBezTo>
                <a:cubicBezTo>
                  <a:pt x="1606" y="432"/>
                  <a:pt x="1602" y="432"/>
                  <a:pt x="1564" y="434"/>
                </a:cubicBezTo>
                <a:lnTo>
                  <a:pt x="1564" y="448"/>
                </a:lnTo>
                <a:close/>
                <a:moveTo>
                  <a:pt x="1776" y="222"/>
                </a:moveTo>
                <a:cubicBezTo>
                  <a:pt x="1776" y="200"/>
                  <a:pt x="1796" y="188"/>
                  <a:pt x="1822" y="188"/>
                </a:cubicBezTo>
                <a:cubicBezTo>
                  <a:pt x="1874" y="188"/>
                  <a:pt x="1896" y="236"/>
                  <a:pt x="1900" y="252"/>
                </a:cubicBezTo>
                <a:cubicBezTo>
                  <a:pt x="1912" y="252"/>
                  <a:pt x="1912" y="252"/>
                  <a:pt x="1912" y="252"/>
                </a:cubicBezTo>
                <a:cubicBezTo>
                  <a:pt x="1912" y="212"/>
                  <a:pt x="1908" y="188"/>
                  <a:pt x="1904" y="184"/>
                </a:cubicBezTo>
                <a:cubicBezTo>
                  <a:pt x="1900" y="180"/>
                  <a:pt x="1862" y="170"/>
                  <a:pt x="1824" y="170"/>
                </a:cubicBezTo>
                <a:cubicBezTo>
                  <a:pt x="1768" y="170"/>
                  <a:pt x="1734" y="206"/>
                  <a:pt x="1734" y="248"/>
                </a:cubicBezTo>
                <a:cubicBezTo>
                  <a:pt x="1734" y="340"/>
                  <a:pt x="1890" y="322"/>
                  <a:pt x="1890" y="396"/>
                </a:cubicBezTo>
                <a:cubicBezTo>
                  <a:pt x="1890" y="422"/>
                  <a:pt x="1866" y="436"/>
                  <a:pt x="1826" y="436"/>
                </a:cubicBezTo>
                <a:cubicBezTo>
                  <a:pt x="1788" y="436"/>
                  <a:pt x="1754" y="416"/>
                  <a:pt x="1744" y="366"/>
                </a:cubicBezTo>
                <a:cubicBezTo>
                  <a:pt x="1728" y="366"/>
                  <a:pt x="1728" y="366"/>
                  <a:pt x="1728" y="366"/>
                </a:cubicBezTo>
                <a:cubicBezTo>
                  <a:pt x="1728" y="386"/>
                  <a:pt x="1732" y="422"/>
                  <a:pt x="1734" y="428"/>
                </a:cubicBezTo>
                <a:cubicBezTo>
                  <a:pt x="1744" y="446"/>
                  <a:pt x="1788" y="454"/>
                  <a:pt x="1824" y="454"/>
                </a:cubicBezTo>
                <a:cubicBezTo>
                  <a:pt x="1888" y="454"/>
                  <a:pt x="1928" y="416"/>
                  <a:pt x="1928" y="372"/>
                </a:cubicBezTo>
                <a:cubicBezTo>
                  <a:pt x="1932" y="270"/>
                  <a:pt x="1776" y="286"/>
                  <a:pt x="1776" y="222"/>
                </a:cubicBezTo>
                <a:moveTo>
                  <a:pt x="2030" y="270"/>
                </a:moveTo>
                <a:cubicBezTo>
                  <a:pt x="2034" y="220"/>
                  <a:pt x="2058" y="192"/>
                  <a:pt x="2102" y="192"/>
                </a:cubicBezTo>
                <a:cubicBezTo>
                  <a:pt x="2144" y="192"/>
                  <a:pt x="2170" y="220"/>
                  <a:pt x="2172" y="270"/>
                </a:cubicBezTo>
                <a:lnTo>
                  <a:pt x="2030" y="270"/>
                </a:lnTo>
                <a:close/>
                <a:moveTo>
                  <a:pt x="2030" y="290"/>
                </a:moveTo>
                <a:cubicBezTo>
                  <a:pt x="2222" y="290"/>
                  <a:pt x="2222" y="290"/>
                  <a:pt x="2222" y="290"/>
                </a:cubicBezTo>
                <a:cubicBezTo>
                  <a:pt x="2226" y="228"/>
                  <a:pt x="2192" y="168"/>
                  <a:pt x="2114" y="168"/>
                </a:cubicBezTo>
                <a:cubicBezTo>
                  <a:pt x="2034" y="168"/>
                  <a:pt x="1982" y="232"/>
                  <a:pt x="1982" y="320"/>
                </a:cubicBezTo>
                <a:cubicBezTo>
                  <a:pt x="1982" y="388"/>
                  <a:pt x="2018" y="456"/>
                  <a:pt x="2112" y="456"/>
                </a:cubicBezTo>
                <a:cubicBezTo>
                  <a:pt x="2150" y="456"/>
                  <a:pt x="2198" y="440"/>
                  <a:pt x="2224" y="412"/>
                </a:cubicBezTo>
                <a:cubicBezTo>
                  <a:pt x="2218" y="400"/>
                  <a:pt x="2218" y="400"/>
                  <a:pt x="2218" y="400"/>
                </a:cubicBezTo>
                <a:cubicBezTo>
                  <a:pt x="2192" y="416"/>
                  <a:pt x="2164" y="422"/>
                  <a:pt x="2138" y="422"/>
                </a:cubicBezTo>
                <a:cubicBezTo>
                  <a:pt x="2058" y="420"/>
                  <a:pt x="2028" y="352"/>
                  <a:pt x="2030" y="290"/>
                </a:cubicBezTo>
                <a:moveTo>
                  <a:pt x="2478" y="242"/>
                </a:moveTo>
                <a:cubicBezTo>
                  <a:pt x="2490" y="206"/>
                  <a:pt x="2510" y="192"/>
                  <a:pt x="2528" y="192"/>
                </a:cubicBezTo>
                <a:cubicBezTo>
                  <a:pt x="2528" y="180"/>
                  <a:pt x="2528" y="180"/>
                  <a:pt x="2528" y="180"/>
                </a:cubicBezTo>
                <a:cubicBezTo>
                  <a:pt x="2430" y="180"/>
                  <a:pt x="2430" y="180"/>
                  <a:pt x="2430" y="180"/>
                </a:cubicBezTo>
                <a:cubicBezTo>
                  <a:pt x="2430" y="192"/>
                  <a:pt x="2430" y="192"/>
                  <a:pt x="2430" y="192"/>
                </a:cubicBezTo>
                <a:cubicBezTo>
                  <a:pt x="2454" y="194"/>
                  <a:pt x="2466" y="206"/>
                  <a:pt x="2458" y="234"/>
                </a:cubicBezTo>
                <a:cubicBezTo>
                  <a:pt x="2406" y="390"/>
                  <a:pt x="2406" y="390"/>
                  <a:pt x="2406" y="390"/>
                </a:cubicBezTo>
                <a:cubicBezTo>
                  <a:pt x="2354" y="270"/>
                  <a:pt x="2354" y="270"/>
                  <a:pt x="2354" y="270"/>
                </a:cubicBezTo>
                <a:cubicBezTo>
                  <a:pt x="2340" y="238"/>
                  <a:pt x="2334" y="224"/>
                  <a:pt x="2334" y="212"/>
                </a:cubicBezTo>
                <a:cubicBezTo>
                  <a:pt x="2334" y="202"/>
                  <a:pt x="2340" y="196"/>
                  <a:pt x="2360" y="192"/>
                </a:cubicBezTo>
                <a:cubicBezTo>
                  <a:pt x="2360" y="180"/>
                  <a:pt x="2360" y="180"/>
                  <a:pt x="2360" y="180"/>
                </a:cubicBezTo>
                <a:cubicBezTo>
                  <a:pt x="2234" y="180"/>
                  <a:pt x="2234" y="180"/>
                  <a:pt x="2234" y="180"/>
                </a:cubicBezTo>
                <a:cubicBezTo>
                  <a:pt x="2234" y="192"/>
                  <a:pt x="2234" y="192"/>
                  <a:pt x="2234" y="192"/>
                </a:cubicBezTo>
                <a:cubicBezTo>
                  <a:pt x="2266" y="194"/>
                  <a:pt x="2268" y="198"/>
                  <a:pt x="2310" y="292"/>
                </a:cubicBezTo>
                <a:cubicBezTo>
                  <a:pt x="2382" y="450"/>
                  <a:pt x="2382" y="450"/>
                  <a:pt x="2382" y="450"/>
                </a:cubicBezTo>
                <a:cubicBezTo>
                  <a:pt x="2358" y="512"/>
                  <a:pt x="2320" y="546"/>
                  <a:pt x="2242" y="564"/>
                </a:cubicBezTo>
                <a:cubicBezTo>
                  <a:pt x="2246" y="576"/>
                  <a:pt x="2260" y="600"/>
                  <a:pt x="2268" y="606"/>
                </a:cubicBezTo>
                <a:cubicBezTo>
                  <a:pt x="2370" y="564"/>
                  <a:pt x="2390" y="498"/>
                  <a:pt x="2426" y="396"/>
                </a:cubicBezTo>
                <a:lnTo>
                  <a:pt x="2478" y="242"/>
                </a:lnTo>
                <a:close/>
                <a:moveTo>
                  <a:pt x="2844" y="394"/>
                </a:moveTo>
                <a:cubicBezTo>
                  <a:pt x="2822" y="412"/>
                  <a:pt x="2782" y="416"/>
                  <a:pt x="2750" y="416"/>
                </a:cubicBezTo>
                <a:cubicBezTo>
                  <a:pt x="2670" y="416"/>
                  <a:pt x="2606" y="360"/>
                  <a:pt x="2606" y="284"/>
                </a:cubicBezTo>
                <a:cubicBezTo>
                  <a:pt x="2606" y="236"/>
                  <a:pt x="2626" y="206"/>
                  <a:pt x="2658" y="198"/>
                </a:cubicBezTo>
                <a:cubicBezTo>
                  <a:pt x="2698" y="266"/>
                  <a:pt x="2770" y="338"/>
                  <a:pt x="2844" y="394"/>
                </a:cubicBezTo>
                <a:moveTo>
                  <a:pt x="2928" y="448"/>
                </a:moveTo>
                <a:cubicBezTo>
                  <a:pt x="3022" y="448"/>
                  <a:pt x="3022" y="448"/>
                  <a:pt x="3022" y="448"/>
                </a:cubicBezTo>
                <a:cubicBezTo>
                  <a:pt x="3022" y="436"/>
                  <a:pt x="3022" y="436"/>
                  <a:pt x="3022" y="436"/>
                </a:cubicBezTo>
                <a:cubicBezTo>
                  <a:pt x="2992" y="432"/>
                  <a:pt x="2946" y="408"/>
                  <a:pt x="2896" y="372"/>
                </a:cubicBezTo>
                <a:cubicBezTo>
                  <a:pt x="2914" y="342"/>
                  <a:pt x="2918" y="300"/>
                  <a:pt x="2922" y="270"/>
                </a:cubicBezTo>
                <a:cubicBezTo>
                  <a:pt x="2926" y="244"/>
                  <a:pt x="2946" y="244"/>
                  <a:pt x="2958" y="242"/>
                </a:cubicBezTo>
                <a:cubicBezTo>
                  <a:pt x="2958" y="230"/>
                  <a:pt x="2958" y="230"/>
                  <a:pt x="2958" y="230"/>
                </a:cubicBezTo>
                <a:cubicBezTo>
                  <a:pt x="2834" y="230"/>
                  <a:pt x="2834" y="230"/>
                  <a:pt x="2834" y="230"/>
                </a:cubicBezTo>
                <a:cubicBezTo>
                  <a:pt x="2834" y="242"/>
                  <a:pt x="2834" y="242"/>
                  <a:pt x="2834" y="242"/>
                </a:cubicBezTo>
                <a:cubicBezTo>
                  <a:pt x="2864" y="246"/>
                  <a:pt x="2892" y="250"/>
                  <a:pt x="2892" y="294"/>
                </a:cubicBezTo>
                <a:cubicBezTo>
                  <a:pt x="2892" y="318"/>
                  <a:pt x="2888" y="342"/>
                  <a:pt x="2878" y="358"/>
                </a:cubicBezTo>
                <a:cubicBezTo>
                  <a:pt x="2770" y="274"/>
                  <a:pt x="2670" y="156"/>
                  <a:pt x="2670" y="96"/>
                </a:cubicBezTo>
                <a:cubicBezTo>
                  <a:pt x="2670" y="66"/>
                  <a:pt x="2688" y="54"/>
                  <a:pt x="2716" y="54"/>
                </a:cubicBezTo>
                <a:cubicBezTo>
                  <a:pt x="2752" y="54"/>
                  <a:pt x="2784" y="78"/>
                  <a:pt x="2800" y="124"/>
                </a:cubicBezTo>
                <a:cubicBezTo>
                  <a:pt x="2812" y="124"/>
                  <a:pt x="2812" y="124"/>
                  <a:pt x="2812" y="124"/>
                </a:cubicBezTo>
                <a:cubicBezTo>
                  <a:pt x="2810" y="42"/>
                  <a:pt x="2810" y="42"/>
                  <a:pt x="2810" y="42"/>
                </a:cubicBezTo>
                <a:cubicBezTo>
                  <a:pt x="2798" y="42"/>
                  <a:pt x="2798" y="42"/>
                  <a:pt x="2798" y="42"/>
                </a:cubicBezTo>
                <a:cubicBezTo>
                  <a:pt x="2798" y="48"/>
                  <a:pt x="2792" y="52"/>
                  <a:pt x="2788" y="52"/>
                </a:cubicBezTo>
                <a:cubicBezTo>
                  <a:pt x="2772" y="52"/>
                  <a:pt x="2752" y="36"/>
                  <a:pt x="2714" y="36"/>
                </a:cubicBezTo>
                <a:cubicBezTo>
                  <a:pt x="2672" y="36"/>
                  <a:pt x="2630" y="62"/>
                  <a:pt x="2630" y="118"/>
                </a:cubicBezTo>
                <a:cubicBezTo>
                  <a:pt x="2630" y="140"/>
                  <a:pt x="2636" y="160"/>
                  <a:pt x="2648" y="182"/>
                </a:cubicBezTo>
                <a:cubicBezTo>
                  <a:pt x="2592" y="200"/>
                  <a:pt x="2562" y="248"/>
                  <a:pt x="2562" y="304"/>
                </a:cubicBezTo>
                <a:cubicBezTo>
                  <a:pt x="2562" y="406"/>
                  <a:pt x="2640" y="460"/>
                  <a:pt x="2726" y="460"/>
                </a:cubicBezTo>
                <a:cubicBezTo>
                  <a:pt x="2780" y="460"/>
                  <a:pt x="2824" y="444"/>
                  <a:pt x="2862" y="410"/>
                </a:cubicBezTo>
                <a:cubicBezTo>
                  <a:pt x="2888" y="424"/>
                  <a:pt x="2912" y="442"/>
                  <a:pt x="2928" y="448"/>
                </a:cubicBezTo>
                <a:moveTo>
                  <a:pt x="3094" y="212"/>
                </a:moveTo>
                <a:cubicBezTo>
                  <a:pt x="3094" y="88"/>
                  <a:pt x="3154" y="20"/>
                  <a:pt x="3252" y="20"/>
                </a:cubicBezTo>
                <a:cubicBezTo>
                  <a:pt x="3328" y="20"/>
                  <a:pt x="3372" y="58"/>
                  <a:pt x="3392" y="134"/>
                </a:cubicBezTo>
                <a:cubicBezTo>
                  <a:pt x="3404" y="134"/>
                  <a:pt x="3404" y="134"/>
                  <a:pt x="3404" y="134"/>
                </a:cubicBezTo>
                <a:cubicBezTo>
                  <a:pt x="3400" y="4"/>
                  <a:pt x="3400" y="4"/>
                  <a:pt x="3400" y="4"/>
                </a:cubicBezTo>
                <a:cubicBezTo>
                  <a:pt x="3388" y="4"/>
                  <a:pt x="3388" y="4"/>
                  <a:pt x="3388" y="4"/>
                </a:cubicBezTo>
                <a:cubicBezTo>
                  <a:pt x="3384" y="14"/>
                  <a:pt x="3376" y="18"/>
                  <a:pt x="3364" y="18"/>
                </a:cubicBezTo>
                <a:cubicBezTo>
                  <a:pt x="3338" y="18"/>
                  <a:pt x="3314" y="0"/>
                  <a:pt x="3248" y="0"/>
                </a:cubicBezTo>
                <a:cubicBezTo>
                  <a:pt x="3118" y="0"/>
                  <a:pt x="3030" y="102"/>
                  <a:pt x="3030" y="242"/>
                </a:cubicBezTo>
                <a:cubicBezTo>
                  <a:pt x="3030" y="376"/>
                  <a:pt x="3110" y="460"/>
                  <a:pt x="3238" y="460"/>
                </a:cubicBezTo>
                <a:cubicBezTo>
                  <a:pt x="3320" y="460"/>
                  <a:pt x="3384" y="420"/>
                  <a:pt x="3408" y="380"/>
                </a:cubicBezTo>
                <a:cubicBezTo>
                  <a:pt x="3396" y="366"/>
                  <a:pt x="3396" y="366"/>
                  <a:pt x="3396" y="366"/>
                </a:cubicBezTo>
                <a:cubicBezTo>
                  <a:pt x="3370" y="402"/>
                  <a:pt x="3314" y="426"/>
                  <a:pt x="3256" y="426"/>
                </a:cubicBezTo>
                <a:cubicBezTo>
                  <a:pt x="3156" y="426"/>
                  <a:pt x="3094" y="340"/>
                  <a:pt x="3094" y="212"/>
                </a:cubicBezTo>
                <a:moveTo>
                  <a:pt x="3678" y="328"/>
                </a:moveTo>
                <a:cubicBezTo>
                  <a:pt x="3678" y="392"/>
                  <a:pt x="3650" y="430"/>
                  <a:pt x="3592" y="430"/>
                </a:cubicBezTo>
                <a:cubicBezTo>
                  <a:pt x="3542" y="430"/>
                  <a:pt x="3496" y="384"/>
                  <a:pt x="3496" y="292"/>
                </a:cubicBezTo>
                <a:cubicBezTo>
                  <a:pt x="3496" y="226"/>
                  <a:pt x="3528" y="190"/>
                  <a:pt x="3580" y="190"/>
                </a:cubicBezTo>
                <a:cubicBezTo>
                  <a:pt x="3628" y="192"/>
                  <a:pt x="3678" y="238"/>
                  <a:pt x="3678" y="328"/>
                </a:cubicBezTo>
                <a:moveTo>
                  <a:pt x="3732" y="312"/>
                </a:moveTo>
                <a:cubicBezTo>
                  <a:pt x="3732" y="260"/>
                  <a:pt x="3710" y="214"/>
                  <a:pt x="3672" y="190"/>
                </a:cubicBezTo>
                <a:cubicBezTo>
                  <a:pt x="3650" y="176"/>
                  <a:pt x="3620" y="168"/>
                  <a:pt x="3588" y="168"/>
                </a:cubicBezTo>
                <a:cubicBezTo>
                  <a:pt x="3502" y="168"/>
                  <a:pt x="3442" y="230"/>
                  <a:pt x="3442" y="310"/>
                </a:cubicBezTo>
                <a:cubicBezTo>
                  <a:pt x="3442" y="364"/>
                  <a:pt x="3464" y="408"/>
                  <a:pt x="3502" y="432"/>
                </a:cubicBezTo>
                <a:cubicBezTo>
                  <a:pt x="3524" y="446"/>
                  <a:pt x="3554" y="452"/>
                  <a:pt x="3586" y="452"/>
                </a:cubicBezTo>
                <a:cubicBezTo>
                  <a:pt x="3672" y="454"/>
                  <a:pt x="3732" y="394"/>
                  <a:pt x="3732" y="312"/>
                </a:cubicBezTo>
                <a:moveTo>
                  <a:pt x="4136" y="448"/>
                </a:moveTo>
                <a:cubicBezTo>
                  <a:pt x="4280" y="448"/>
                  <a:pt x="4280" y="448"/>
                  <a:pt x="4280" y="448"/>
                </a:cubicBezTo>
                <a:cubicBezTo>
                  <a:pt x="4280" y="436"/>
                  <a:pt x="4280" y="436"/>
                  <a:pt x="4280" y="436"/>
                </a:cubicBezTo>
                <a:cubicBezTo>
                  <a:pt x="4230" y="434"/>
                  <a:pt x="4232" y="426"/>
                  <a:pt x="4232" y="348"/>
                </a:cubicBezTo>
                <a:cubicBezTo>
                  <a:pt x="4232" y="276"/>
                  <a:pt x="4232" y="276"/>
                  <a:pt x="4232" y="276"/>
                </a:cubicBezTo>
                <a:cubicBezTo>
                  <a:pt x="4232" y="200"/>
                  <a:pt x="4190" y="172"/>
                  <a:pt x="4142" y="172"/>
                </a:cubicBezTo>
                <a:cubicBezTo>
                  <a:pt x="4098" y="172"/>
                  <a:pt x="4064" y="196"/>
                  <a:pt x="4038" y="232"/>
                </a:cubicBezTo>
                <a:cubicBezTo>
                  <a:pt x="4028" y="194"/>
                  <a:pt x="4000" y="172"/>
                  <a:pt x="3954" y="172"/>
                </a:cubicBezTo>
                <a:cubicBezTo>
                  <a:pt x="3916" y="172"/>
                  <a:pt x="3880" y="196"/>
                  <a:pt x="3858" y="224"/>
                </a:cubicBezTo>
                <a:cubicBezTo>
                  <a:pt x="3858" y="176"/>
                  <a:pt x="3858" y="176"/>
                  <a:pt x="3858" y="176"/>
                </a:cubicBezTo>
                <a:cubicBezTo>
                  <a:pt x="3756" y="176"/>
                  <a:pt x="3756" y="176"/>
                  <a:pt x="3756" y="176"/>
                </a:cubicBezTo>
                <a:cubicBezTo>
                  <a:pt x="3756" y="188"/>
                  <a:pt x="3756" y="188"/>
                  <a:pt x="3756" y="188"/>
                </a:cubicBezTo>
                <a:cubicBezTo>
                  <a:pt x="3800" y="190"/>
                  <a:pt x="3806" y="192"/>
                  <a:pt x="3806" y="268"/>
                </a:cubicBezTo>
                <a:cubicBezTo>
                  <a:pt x="3806" y="346"/>
                  <a:pt x="3806" y="346"/>
                  <a:pt x="3806" y="346"/>
                </a:cubicBezTo>
                <a:cubicBezTo>
                  <a:pt x="3806" y="434"/>
                  <a:pt x="3804" y="434"/>
                  <a:pt x="3758" y="434"/>
                </a:cubicBezTo>
                <a:cubicBezTo>
                  <a:pt x="3758" y="446"/>
                  <a:pt x="3758" y="446"/>
                  <a:pt x="3758" y="446"/>
                </a:cubicBezTo>
                <a:cubicBezTo>
                  <a:pt x="3902" y="446"/>
                  <a:pt x="3902" y="446"/>
                  <a:pt x="3902" y="446"/>
                </a:cubicBezTo>
                <a:cubicBezTo>
                  <a:pt x="3902" y="434"/>
                  <a:pt x="3902" y="434"/>
                  <a:pt x="3902" y="434"/>
                </a:cubicBezTo>
                <a:cubicBezTo>
                  <a:pt x="3862" y="430"/>
                  <a:pt x="3858" y="430"/>
                  <a:pt x="3858" y="342"/>
                </a:cubicBezTo>
                <a:cubicBezTo>
                  <a:pt x="3858" y="262"/>
                  <a:pt x="3858" y="262"/>
                  <a:pt x="3858" y="262"/>
                </a:cubicBezTo>
                <a:cubicBezTo>
                  <a:pt x="3858" y="234"/>
                  <a:pt x="3894" y="204"/>
                  <a:pt x="3932" y="204"/>
                </a:cubicBezTo>
                <a:cubicBezTo>
                  <a:pt x="3974" y="204"/>
                  <a:pt x="3990" y="226"/>
                  <a:pt x="3990" y="282"/>
                </a:cubicBezTo>
                <a:cubicBezTo>
                  <a:pt x="3990" y="338"/>
                  <a:pt x="3990" y="338"/>
                  <a:pt x="3990" y="338"/>
                </a:cubicBezTo>
                <a:cubicBezTo>
                  <a:pt x="3990" y="428"/>
                  <a:pt x="3988" y="432"/>
                  <a:pt x="3950" y="436"/>
                </a:cubicBezTo>
                <a:cubicBezTo>
                  <a:pt x="3950" y="448"/>
                  <a:pt x="3950" y="448"/>
                  <a:pt x="3950" y="448"/>
                </a:cubicBezTo>
                <a:cubicBezTo>
                  <a:pt x="4086" y="448"/>
                  <a:pt x="4086" y="448"/>
                  <a:pt x="4086" y="448"/>
                </a:cubicBezTo>
                <a:cubicBezTo>
                  <a:pt x="4086" y="436"/>
                  <a:pt x="4086" y="436"/>
                  <a:pt x="4086" y="436"/>
                </a:cubicBezTo>
                <a:cubicBezTo>
                  <a:pt x="4040" y="432"/>
                  <a:pt x="4042" y="428"/>
                  <a:pt x="4042" y="342"/>
                </a:cubicBezTo>
                <a:cubicBezTo>
                  <a:pt x="4042" y="264"/>
                  <a:pt x="4042" y="264"/>
                  <a:pt x="4042" y="264"/>
                </a:cubicBezTo>
                <a:cubicBezTo>
                  <a:pt x="4042" y="236"/>
                  <a:pt x="4078" y="206"/>
                  <a:pt x="4118" y="206"/>
                </a:cubicBezTo>
                <a:cubicBezTo>
                  <a:pt x="4152" y="206"/>
                  <a:pt x="4174" y="226"/>
                  <a:pt x="4174" y="284"/>
                </a:cubicBezTo>
                <a:cubicBezTo>
                  <a:pt x="4174" y="346"/>
                  <a:pt x="4174" y="346"/>
                  <a:pt x="4174" y="346"/>
                </a:cubicBezTo>
                <a:cubicBezTo>
                  <a:pt x="4174" y="428"/>
                  <a:pt x="4174" y="432"/>
                  <a:pt x="4134" y="436"/>
                </a:cubicBezTo>
                <a:cubicBezTo>
                  <a:pt x="4134" y="448"/>
                  <a:pt x="4134" y="448"/>
                  <a:pt x="4134" y="448"/>
                </a:cubicBezTo>
                <a:lnTo>
                  <a:pt x="4136" y="448"/>
                </a:lnTo>
                <a:close/>
                <a:moveTo>
                  <a:pt x="4546" y="316"/>
                </a:moveTo>
                <a:cubicBezTo>
                  <a:pt x="4546" y="388"/>
                  <a:pt x="4516" y="432"/>
                  <a:pt x="4460" y="432"/>
                </a:cubicBezTo>
                <a:cubicBezTo>
                  <a:pt x="4424" y="432"/>
                  <a:pt x="4384" y="412"/>
                  <a:pt x="4384" y="384"/>
                </a:cubicBezTo>
                <a:cubicBezTo>
                  <a:pt x="4384" y="248"/>
                  <a:pt x="4384" y="248"/>
                  <a:pt x="4384" y="248"/>
                </a:cubicBezTo>
                <a:cubicBezTo>
                  <a:pt x="4384" y="226"/>
                  <a:pt x="4416" y="202"/>
                  <a:pt x="4454" y="202"/>
                </a:cubicBezTo>
                <a:cubicBezTo>
                  <a:pt x="4510" y="206"/>
                  <a:pt x="4546" y="248"/>
                  <a:pt x="4546" y="316"/>
                </a:cubicBezTo>
                <a:moveTo>
                  <a:pt x="4600" y="310"/>
                </a:moveTo>
                <a:cubicBezTo>
                  <a:pt x="4600" y="230"/>
                  <a:pt x="4548" y="170"/>
                  <a:pt x="4478" y="170"/>
                </a:cubicBezTo>
                <a:cubicBezTo>
                  <a:pt x="4438" y="170"/>
                  <a:pt x="4406" y="188"/>
                  <a:pt x="4384" y="214"/>
                </a:cubicBezTo>
                <a:cubicBezTo>
                  <a:pt x="4384" y="174"/>
                  <a:pt x="4384" y="174"/>
                  <a:pt x="4384" y="174"/>
                </a:cubicBezTo>
                <a:cubicBezTo>
                  <a:pt x="4284" y="174"/>
                  <a:pt x="4284" y="174"/>
                  <a:pt x="4284" y="174"/>
                </a:cubicBezTo>
                <a:cubicBezTo>
                  <a:pt x="4284" y="186"/>
                  <a:pt x="4284" y="186"/>
                  <a:pt x="4284" y="186"/>
                </a:cubicBezTo>
                <a:cubicBezTo>
                  <a:pt x="4326" y="188"/>
                  <a:pt x="4332" y="190"/>
                  <a:pt x="4332" y="280"/>
                </a:cubicBezTo>
                <a:cubicBezTo>
                  <a:pt x="4332" y="466"/>
                  <a:pt x="4332" y="466"/>
                  <a:pt x="4332" y="466"/>
                </a:cubicBezTo>
                <a:cubicBezTo>
                  <a:pt x="4332" y="564"/>
                  <a:pt x="4334" y="570"/>
                  <a:pt x="4286" y="574"/>
                </a:cubicBezTo>
                <a:cubicBezTo>
                  <a:pt x="4286" y="588"/>
                  <a:pt x="4286" y="588"/>
                  <a:pt x="4286" y="588"/>
                </a:cubicBezTo>
                <a:cubicBezTo>
                  <a:pt x="4432" y="588"/>
                  <a:pt x="4432" y="588"/>
                  <a:pt x="4432" y="588"/>
                </a:cubicBezTo>
                <a:cubicBezTo>
                  <a:pt x="4432" y="574"/>
                  <a:pt x="4432" y="574"/>
                  <a:pt x="4432" y="574"/>
                </a:cubicBezTo>
                <a:cubicBezTo>
                  <a:pt x="4380" y="572"/>
                  <a:pt x="4384" y="564"/>
                  <a:pt x="4384" y="462"/>
                </a:cubicBezTo>
                <a:cubicBezTo>
                  <a:pt x="4384" y="424"/>
                  <a:pt x="4384" y="424"/>
                  <a:pt x="4384" y="424"/>
                </a:cubicBezTo>
                <a:cubicBezTo>
                  <a:pt x="4404" y="444"/>
                  <a:pt x="4436" y="454"/>
                  <a:pt x="4466" y="454"/>
                </a:cubicBezTo>
                <a:cubicBezTo>
                  <a:pt x="4548" y="454"/>
                  <a:pt x="4600" y="392"/>
                  <a:pt x="4600" y="310"/>
                </a:cubicBezTo>
                <a:moveTo>
                  <a:pt x="4792" y="382"/>
                </a:moveTo>
                <a:cubicBezTo>
                  <a:pt x="4792" y="404"/>
                  <a:pt x="4762" y="424"/>
                  <a:pt x="4736" y="424"/>
                </a:cubicBezTo>
                <a:cubicBezTo>
                  <a:pt x="4712" y="424"/>
                  <a:pt x="4694" y="410"/>
                  <a:pt x="4694" y="378"/>
                </a:cubicBezTo>
                <a:cubicBezTo>
                  <a:pt x="4694" y="322"/>
                  <a:pt x="4752" y="328"/>
                  <a:pt x="4792" y="306"/>
                </a:cubicBezTo>
                <a:cubicBezTo>
                  <a:pt x="4792" y="382"/>
                  <a:pt x="4792" y="382"/>
                  <a:pt x="4792" y="382"/>
                </a:cubicBezTo>
                <a:close/>
                <a:moveTo>
                  <a:pt x="5240" y="434"/>
                </a:moveTo>
                <a:cubicBezTo>
                  <a:pt x="5192" y="432"/>
                  <a:pt x="5192" y="430"/>
                  <a:pt x="5192" y="340"/>
                </a:cubicBezTo>
                <a:cubicBezTo>
                  <a:pt x="5192" y="278"/>
                  <a:pt x="5192" y="278"/>
                  <a:pt x="5192" y="278"/>
                </a:cubicBezTo>
                <a:cubicBezTo>
                  <a:pt x="5192" y="196"/>
                  <a:pt x="5146" y="170"/>
                  <a:pt x="5104" y="170"/>
                </a:cubicBezTo>
                <a:cubicBezTo>
                  <a:pt x="5068" y="170"/>
                  <a:pt x="5032" y="186"/>
                  <a:pt x="5004" y="222"/>
                </a:cubicBezTo>
                <a:cubicBezTo>
                  <a:pt x="5004" y="174"/>
                  <a:pt x="5004" y="174"/>
                  <a:pt x="5004" y="174"/>
                </a:cubicBezTo>
                <a:cubicBezTo>
                  <a:pt x="4902" y="174"/>
                  <a:pt x="4902" y="174"/>
                  <a:pt x="4902" y="174"/>
                </a:cubicBezTo>
                <a:cubicBezTo>
                  <a:pt x="4902" y="186"/>
                  <a:pt x="4902" y="186"/>
                  <a:pt x="4902" y="186"/>
                </a:cubicBezTo>
                <a:cubicBezTo>
                  <a:pt x="4946" y="188"/>
                  <a:pt x="4952" y="190"/>
                  <a:pt x="4952" y="266"/>
                </a:cubicBezTo>
                <a:cubicBezTo>
                  <a:pt x="4952" y="334"/>
                  <a:pt x="4952" y="334"/>
                  <a:pt x="4952" y="334"/>
                </a:cubicBezTo>
                <a:cubicBezTo>
                  <a:pt x="4952" y="430"/>
                  <a:pt x="4952" y="432"/>
                  <a:pt x="4904" y="434"/>
                </a:cubicBezTo>
                <a:cubicBezTo>
                  <a:pt x="4892" y="434"/>
                  <a:pt x="4892" y="434"/>
                  <a:pt x="4892" y="434"/>
                </a:cubicBezTo>
                <a:cubicBezTo>
                  <a:pt x="4854" y="434"/>
                  <a:pt x="4850" y="422"/>
                  <a:pt x="4850" y="366"/>
                </a:cubicBezTo>
                <a:cubicBezTo>
                  <a:pt x="4850" y="274"/>
                  <a:pt x="4850" y="274"/>
                  <a:pt x="4850" y="274"/>
                </a:cubicBezTo>
                <a:cubicBezTo>
                  <a:pt x="4850" y="256"/>
                  <a:pt x="4848" y="240"/>
                  <a:pt x="4844" y="228"/>
                </a:cubicBezTo>
                <a:cubicBezTo>
                  <a:pt x="4830" y="186"/>
                  <a:pt x="4796" y="170"/>
                  <a:pt x="4748" y="170"/>
                </a:cubicBezTo>
                <a:cubicBezTo>
                  <a:pt x="4718" y="170"/>
                  <a:pt x="4674" y="180"/>
                  <a:pt x="4650" y="202"/>
                </a:cubicBezTo>
                <a:cubicBezTo>
                  <a:pt x="4652" y="214"/>
                  <a:pt x="4664" y="240"/>
                  <a:pt x="4670" y="248"/>
                </a:cubicBezTo>
                <a:cubicBezTo>
                  <a:pt x="4676" y="246"/>
                  <a:pt x="4676" y="246"/>
                  <a:pt x="4676" y="246"/>
                </a:cubicBezTo>
                <a:cubicBezTo>
                  <a:pt x="4688" y="216"/>
                  <a:pt x="4708" y="194"/>
                  <a:pt x="4742" y="194"/>
                </a:cubicBezTo>
                <a:cubicBezTo>
                  <a:pt x="4778" y="194"/>
                  <a:pt x="4794" y="220"/>
                  <a:pt x="4794" y="250"/>
                </a:cubicBezTo>
                <a:cubicBezTo>
                  <a:pt x="4794" y="282"/>
                  <a:pt x="4794" y="282"/>
                  <a:pt x="4794" y="282"/>
                </a:cubicBezTo>
                <a:cubicBezTo>
                  <a:pt x="4794" y="302"/>
                  <a:pt x="4702" y="306"/>
                  <a:pt x="4664" y="338"/>
                </a:cubicBezTo>
                <a:cubicBezTo>
                  <a:pt x="4652" y="350"/>
                  <a:pt x="4642" y="364"/>
                  <a:pt x="4642" y="384"/>
                </a:cubicBezTo>
                <a:cubicBezTo>
                  <a:pt x="4642" y="426"/>
                  <a:pt x="4672" y="456"/>
                  <a:pt x="4716" y="456"/>
                </a:cubicBezTo>
                <a:cubicBezTo>
                  <a:pt x="4744" y="456"/>
                  <a:pt x="4768" y="446"/>
                  <a:pt x="4794" y="418"/>
                </a:cubicBezTo>
                <a:cubicBezTo>
                  <a:pt x="4798" y="438"/>
                  <a:pt x="4814" y="448"/>
                  <a:pt x="4842" y="448"/>
                </a:cubicBezTo>
                <a:cubicBezTo>
                  <a:pt x="4906" y="448"/>
                  <a:pt x="4906" y="448"/>
                  <a:pt x="4906" y="448"/>
                </a:cubicBezTo>
                <a:cubicBezTo>
                  <a:pt x="4906" y="448"/>
                  <a:pt x="4906" y="448"/>
                  <a:pt x="4906" y="448"/>
                </a:cubicBezTo>
                <a:cubicBezTo>
                  <a:pt x="5048" y="448"/>
                  <a:pt x="5048" y="448"/>
                  <a:pt x="5048" y="448"/>
                </a:cubicBezTo>
                <a:cubicBezTo>
                  <a:pt x="5048" y="436"/>
                  <a:pt x="5048" y="436"/>
                  <a:pt x="5048" y="436"/>
                </a:cubicBezTo>
                <a:cubicBezTo>
                  <a:pt x="5006" y="432"/>
                  <a:pt x="5004" y="434"/>
                  <a:pt x="5004" y="338"/>
                </a:cubicBezTo>
                <a:cubicBezTo>
                  <a:pt x="5004" y="262"/>
                  <a:pt x="5004" y="262"/>
                  <a:pt x="5004" y="262"/>
                </a:cubicBezTo>
                <a:cubicBezTo>
                  <a:pt x="5004" y="236"/>
                  <a:pt x="5038" y="206"/>
                  <a:pt x="5080" y="206"/>
                </a:cubicBezTo>
                <a:cubicBezTo>
                  <a:pt x="5114" y="206"/>
                  <a:pt x="5140" y="220"/>
                  <a:pt x="5140" y="286"/>
                </a:cubicBezTo>
                <a:cubicBezTo>
                  <a:pt x="5140" y="340"/>
                  <a:pt x="5140" y="340"/>
                  <a:pt x="5140" y="340"/>
                </a:cubicBezTo>
                <a:cubicBezTo>
                  <a:pt x="5140" y="432"/>
                  <a:pt x="5136" y="432"/>
                  <a:pt x="5098" y="434"/>
                </a:cubicBezTo>
                <a:cubicBezTo>
                  <a:pt x="5098" y="446"/>
                  <a:pt x="5098" y="446"/>
                  <a:pt x="5098" y="446"/>
                </a:cubicBezTo>
                <a:cubicBezTo>
                  <a:pt x="5240" y="446"/>
                  <a:pt x="5240" y="446"/>
                  <a:pt x="5240" y="446"/>
                </a:cubicBezTo>
                <a:lnTo>
                  <a:pt x="5240" y="434"/>
                </a:lnTo>
                <a:close/>
                <a:moveTo>
                  <a:pt x="5516" y="192"/>
                </a:moveTo>
                <a:cubicBezTo>
                  <a:pt x="5516" y="180"/>
                  <a:pt x="5516" y="180"/>
                  <a:pt x="5516" y="180"/>
                </a:cubicBezTo>
                <a:cubicBezTo>
                  <a:pt x="5418" y="180"/>
                  <a:pt x="5418" y="180"/>
                  <a:pt x="5418" y="180"/>
                </a:cubicBezTo>
                <a:cubicBezTo>
                  <a:pt x="5418" y="192"/>
                  <a:pt x="5418" y="192"/>
                  <a:pt x="5418" y="192"/>
                </a:cubicBezTo>
                <a:cubicBezTo>
                  <a:pt x="5442" y="194"/>
                  <a:pt x="5454" y="206"/>
                  <a:pt x="5446" y="234"/>
                </a:cubicBezTo>
                <a:cubicBezTo>
                  <a:pt x="5394" y="390"/>
                  <a:pt x="5394" y="390"/>
                  <a:pt x="5394" y="390"/>
                </a:cubicBezTo>
                <a:cubicBezTo>
                  <a:pt x="5342" y="270"/>
                  <a:pt x="5342" y="270"/>
                  <a:pt x="5342" y="270"/>
                </a:cubicBezTo>
                <a:cubicBezTo>
                  <a:pt x="5328" y="238"/>
                  <a:pt x="5322" y="224"/>
                  <a:pt x="5322" y="212"/>
                </a:cubicBezTo>
                <a:cubicBezTo>
                  <a:pt x="5322" y="202"/>
                  <a:pt x="5328" y="196"/>
                  <a:pt x="5348" y="192"/>
                </a:cubicBezTo>
                <a:cubicBezTo>
                  <a:pt x="5348" y="180"/>
                  <a:pt x="5348" y="180"/>
                  <a:pt x="5348" y="180"/>
                </a:cubicBezTo>
                <a:cubicBezTo>
                  <a:pt x="5220" y="180"/>
                  <a:pt x="5220" y="180"/>
                  <a:pt x="5220" y="180"/>
                </a:cubicBezTo>
                <a:cubicBezTo>
                  <a:pt x="5220" y="192"/>
                  <a:pt x="5220" y="192"/>
                  <a:pt x="5220" y="192"/>
                </a:cubicBezTo>
                <a:cubicBezTo>
                  <a:pt x="5252" y="194"/>
                  <a:pt x="5254" y="198"/>
                  <a:pt x="5296" y="292"/>
                </a:cubicBezTo>
                <a:cubicBezTo>
                  <a:pt x="5368" y="450"/>
                  <a:pt x="5368" y="450"/>
                  <a:pt x="5368" y="450"/>
                </a:cubicBezTo>
                <a:cubicBezTo>
                  <a:pt x="5344" y="512"/>
                  <a:pt x="5306" y="546"/>
                  <a:pt x="5228" y="564"/>
                </a:cubicBezTo>
                <a:cubicBezTo>
                  <a:pt x="5232" y="576"/>
                  <a:pt x="5246" y="600"/>
                  <a:pt x="5254" y="606"/>
                </a:cubicBezTo>
                <a:cubicBezTo>
                  <a:pt x="5356" y="564"/>
                  <a:pt x="5376" y="498"/>
                  <a:pt x="5412" y="396"/>
                </a:cubicBezTo>
                <a:cubicBezTo>
                  <a:pt x="5466" y="242"/>
                  <a:pt x="5466" y="242"/>
                  <a:pt x="5466" y="242"/>
                </a:cubicBezTo>
                <a:cubicBezTo>
                  <a:pt x="5478" y="206"/>
                  <a:pt x="5498" y="192"/>
                  <a:pt x="5516" y="192"/>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600" kern="1200">
                <a:solidFill>
                  <a:schemeClr val="tx1"/>
                </a:solidFill>
                <a:latin typeface="Arial" charset="0"/>
                <a:ea typeface="+mn-ea"/>
                <a:cs typeface="+mn-cs"/>
              </a:defRPr>
            </a:lvl1pPr>
            <a:lvl2pPr marL="457200" algn="l" rtl="0" fontAlgn="base">
              <a:spcBef>
                <a:spcPct val="0"/>
              </a:spcBef>
              <a:spcAft>
                <a:spcPct val="0"/>
              </a:spcAft>
              <a:defRPr sz="1600" kern="1200">
                <a:solidFill>
                  <a:schemeClr val="tx1"/>
                </a:solidFill>
                <a:latin typeface="Arial" charset="0"/>
                <a:ea typeface="+mn-ea"/>
                <a:cs typeface="+mn-cs"/>
              </a:defRPr>
            </a:lvl2pPr>
            <a:lvl3pPr marL="914400" algn="l" rtl="0" fontAlgn="base">
              <a:spcBef>
                <a:spcPct val="0"/>
              </a:spcBef>
              <a:spcAft>
                <a:spcPct val="0"/>
              </a:spcAft>
              <a:defRPr sz="1600" kern="1200">
                <a:solidFill>
                  <a:schemeClr val="tx1"/>
                </a:solidFill>
                <a:latin typeface="Arial" charset="0"/>
                <a:ea typeface="+mn-ea"/>
                <a:cs typeface="+mn-cs"/>
              </a:defRPr>
            </a:lvl3pPr>
            <a:lvl4pPr marL="1371600" algn="l" rtl="0" fontAlgn="base">
              <a:spcBef>
                <a:spcPct val="0"/>
              </a:spcBef>
              <a:spcAft>
                <a:spcPct val="0"/>
              </a:spcAft>
              <a:defRPr sz="1600" kern="1200">
                <a:solidFill>
                  <a:schemeClr val="tx1"/>
                </a:solidFill>
                <a:latin typeface="Arial" charset="0"/>
                <a:ea typeface="+mn-ea"/>
                <a:cs typeface="+mn-cs"/>
              </a:defRPr>
            </a:lvl4pPr>
            <a:lvl5pPr marL="1828800" algn="l" rtl="0" fontAlgn="base">
              <a:spcBef>
                <a:spcPct val="0"/>
              </a:spcBef>
              <a:spcAft>
                <a:spcPct val="0"/>
              </a:spcAft>
              <a:defRPr sz="1600" kern="1200">
                <a:solidFill>
                  <a:schemeClr val="tx1"/>
                </a:solidFill>
                <a:latin typeface="Arial" charset="0"/>
                <a:ea typeface="+mn-ea"/>
                <a:cs typeface="+mn-cs"/>
              </a:defRPr>
            </a:lvl5pPr>
            <a:lvl6pPr marL="2286000" algn="l" defTabSz="914400" rtl="0" eaLnBrk="1" latinLnBrk="0" hangingPunct="1">
              <a:defRPr sz="1600" kern="1200">
                <a:solidFill>
                  <a:schemeClr val="tx1"/>
                </a:solidFill>
                <a:latin typeface="Arial" charset="0"/>
                <a:ea typeface="+mn-ea"/>
                <a:cs typeface="+mn-cs"/>
              </a:defRPr>
            </a:lvl6pPr>
            <a:lvl7pPr marL="2743200" algn="l" defTabSz="914400" rtl="0" eaLnBrk="1" latinLnBrk="0" hangingPunct="1">
              <a:defRPr sz="1600" kern="1200">
                <a:solidFill>
                  <a:schemeClr val="tx1"/>
                </a:solidFill>
                <a:latin typeface="Arial" charset="0"/>
                <a:ea typeface="+mn-ea"/>
                <a:cs typeface="+mn-cs"/>
              </a:defRPr>
            </a:lvl7pPr>
            <a:lvl8pPr marL="3200400" algn="l" defTabSz="914400" rtl="0" eaLnBrk="1" latinLnBrk="0" hangingPunct="1">
              <a:defRPr sz="1600" kern="1200">
                <a:solidFill>
                  <a:schemeClr val="tx1"/>
                </a:solidFill>
                <a:latin typeface="Arial" charset="0"/>
                <a:ea typeface="+mn-ea"/>
                <a:cs typeface="+mn-cs"/>
              </a:defRPr>
            </a:lvl8pPr>
            <a:lvl9pPr marL="3657600" algn="l" defTabSz="914400" rtl="0" eaLnBrk="1" latinLnBrk="0" hangingPunct="1">
              <a:defRPr sz="1600" kern="1200">
                <a:solidFill>
                  <a:schemeClr val="tx1"/>
                </a:solidFill>
                <a:latin typeface="Arial" charset="0"/>
                <a:ea typeface="+mn-ea"/>
                <a:cs typeface="+mn-cs"/>
              </a:defRPr>
            </a:lvl9pPr>
          </a:lstStyle>
          <a:p>
            <a:endParaRPr lang="en-US" baseline="0" dirty="0">
              <a:solidFill>
                <a:srgbClr val="000000"/>
              </a:solidFill>
              <a:latin typeface="+mn-lt"/>
            </a:endParaRPr>
          </a:p>
        </p:txBody>
      </p:sp>
      <p:sp>
        <p:nvSpPr>
          <p:cNvPr id="27" name="Disclaimer-English (United States)" hidden="1"/>
          <p:cNvSpPr>
            <a:spLocks noChangeArrowheads="1"/>
          </p:cNvSpPr>
          <p:nvPr/>
        </p:nvSpPr>
        <p:spPr bwMode="black">
          <a:xfrm>
            <a:off x="2268266" y="6287785"/>
            <a:ext cx="3544453" cy="36908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t" anchorCtr="0">
            <a:noAutofit/>
          </a:bodyPr>
          <a:lstStyle/>
          <a:p>
            <a:pPr defTabSz="804863" eaLnBrk="0" hangingPunct="0"/>
            <a:r>
              <a:rPr lang="en-US" sz="800" baseline="0" dirty="0">
                <a:solidFill>
                  <a:srgbClr val="FFFFFF"/>
                </a:solidFill>
                <a:latin typeface="+mn-lt"/>
              </a:rPr>
              <a:t>CONFIDENTIAL AND PROPRIETARY</a:t>
            </a:r>
          </a:p>
          <a:p>
            <a:pPr defTabSz="804863" eaLnBrk="0" hangingPunct="0"/>
            <a:r>
              <a:rPr lang="en-US" sz="800" baseline="0" dirty="0">
                <a:solidFill>
                  <a:srgbClr val="FFFFFF"/>
                </a:solidFill>
                <a:latin typeface="+mn-lt"/>
              </a:rPr>
              <a:t>Any use of this material without specific permission of McKinsey &amp; Company is strictly prohibited</a:t>
            </a:r>
          </a:p>
        </p:txBody>
      </p:sp>
    </p:spTree>
    <p:extLst>
      <p:ext uri="{BB962C8B-B14F-4D97-AF65-F5344CB8AC3E}">
        <p14:creationId xmlns:p14="http://schemas.microsoft.com/office/powerpoint/2010/main" val="3930263605"/>
      </p:ext>
    </p:extLst>
  </p:cSld>
  <p:clrMapOvr>
    <a:masterClrMapping/>
  </p:clrMapOvr>
  <p:extLst mod="1">
    <p:ext uri="{DCECCB84-F9BA-43D5-87BE-67443E8EF086}">
      <p15:sldGuideLst xmlns:p15="http://schemas.microsoft.com/office/powerpoint/2012/main">
        <p15:guide id="1" orient="horz" pos="2117">
          <p15:clr>
            <a:srgbClr val="FBAE40"/>
          </p15:clr>
        </p15:guide>
        <p15:guide id="2" pos="1416">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6E228F5-5CF1-42E1-9748-97D7582A107A}"/>
              </a:ext>
            </a:extLst>
          </p:cNvPr>
          <p:cNvGraphicFramePr>
            <a:graphicFrameLocks noChangeAspect="1"/>
          </p:cNvGraphicFramePr>
          <p:nvPr>
            <p:custDataLst>
              <p:tags r:id="rId2"/>
            </p:custDataLst>
            <p:extLst>
              <p:ext uri="{D42A27DB-BD31-4B8C-83A1-F6EECF244321}">
                <p14:modId xmlns:p14="http://schemas.microsoft.com/office/powerpoint/2010/main" val="319813668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4292" name="think-cell Slide" r:id="rId5" imgW="353" imgH="353" progId="TCLayout.ActiveDocument.1">
                  <p:embed/>
                </p:oleObj>
              </mc:Choice>
              <mc:Fallback>
                <p:oleObj name="think-cell Slide" r:id="rId5" imgW="353" imgH="353" progId="TCLayout.ActiveDocument.1">
                  <p:embed/>
                  <p:pic>
                    <p:nvPicPr>
                      <p:cNvPr id="3" name="Object 2" hidden="1">
                        <a:extLst>
                          <a:ext uri="{FF2B5EF4-FFF2-40B4-BE49-F238E27FC236}">
                            <a16:creationId xmlns:a16="http://schemas.microsoft.com/office/drawing/2014/main" id="{C6E228F5-5CF1-42E1-9748-97D7582A107A}"/>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2. Slide Title"/>
          <p:cNvSpPr>
            <a:spLocks noGrp="1"/>
          </p:cNvSpPr>
          <p:nvPr>
            <p:ph type="title"/>
          </p:nvPr>
        </p:nvSpPr>
        <p:spPr bwMode="auto"/>
        <p:txBody>
          <a:bodyPr/>
          <a:lstStyle/>
          <a:p>
            <a:r>
              <a:rPr lang="en-US"/>
              <a:t>Click to edit Master title style</a:t>
            </a:r>
            <a:endParaRPr lang="en-US" dirty="0"/>
          </a:p>
        </p:txBody>
      </p:sp>
      <p:sp>
        <p:nvSpPr>
          <p:cNvPr id="8" name="Slide Number"/>
          <p:cNvSpPr txBox="1">
            <a:spLocks/>
          </p:cNvSpPr>
          <p:nvPr/>
        </p:nvSpPr>
        <p:spPr bwMode="auto">
          <a:xfrm>
            <a:off x="8564563" y="6508272"/>
            <a:ext cx="125034" cy="123111"/>
          </a:xfrm>
          <a:prstGeom prst="rect">
            <a:avLst/>
          </a:prstGeom>
        </p:spPr>
        <p:txBody>
          <a:bodyPr vert="horz" wrap="none" lIns="0" tIns="0" rIns="0" bIns="0" rtlCol="0" anchor="ctr">
            <a:spAutoFit/>
          </a:bodyPr>
          <a:lstStyle>
            <a:defPPr>
              <a:defRPr lang="en-US"/>
            </a:defPPr>
            <a:lvl1pPr>
              <a:defRPr sz="1000" baseline="0">
                <a:latin typeface="+mn-lt"/>
              </a:defRPr>
            </a:lvl1pPr>
          </a:lstStyle>
          <a:p>
            <a:fld id="{42C328C1-A84F-4A39-A664-DBA00541A8C6}" type="slidenum">
              <a:rPr lang="en-US" sz="800" baseline="0" smtClean="0">
                <a:solidFill>
                  <a:srgbClr val="808080"/>
                </a:solidFill>
                <a:latin typeface="+mn-lt"/>
              </a:rPr>
              <a:pPr/>
              <a:t>‹#›</a:t>
            </a:fld>
            <a:endParaRPr lang="en-US" sz="800" baseline="0" dirty="0">
              <a:solidFill>
                <a:srgbClr val="808080"/>
              </a:solidFill>
              <a:latin typeface="+mn-lt"/>
            </a:endParaRPr>
          </a:p>
        </p:txBody>
      </p:sp>
      <p:sp>
        <p:nvSpPr>
          <p:cNvPr id="9" name="SlideLogoText"/>
          <p:cNvSpPr>
            <a:spLocks noChangeArrowheads="1"/>
          </p:cNvSpPr>
          <p:nvPr>
            <p:custDataLst>
              <p:tags r:id="rId3"/>
            </p:custDataLst>
          </p:nvPr>
        </p:nvSpPr>
        <p:spPr bwMode="auto">
          <a:xfrm>
            <a:off x="7450817" y="6508272"/>
            <a:ext cx="1013098"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algn="r" defTabSz="895350"/>
            <a:r>
              <a:rPr lang="en-US" sz="800" baseline="0" dirty="0">
                <a:solidFill>
                  <a:srgbClr val="808080"/>
                </a:solidFill>
                <a:latin typeface="+mn-lt"/>
              </a:rPr>
              <a:t>McKinsey &amp; Company</a:t>
            </a:r>
          </a:p>
        </p:txBody>
      </p:sp>
      <p:sp>
        <p:nvSpPr>
          <p:cNvPr id="5" name="doc id" hidden="1"/>
          <p:cNvSpPr txBox="1">
            <a:spLocks noChangeArrowheads="1"/>
          </p:cNvSpPr>
          <p:nvPr/>
        </p:nvSpPr>
        <p:spPr bwMode="white">
          <a:xfrm>
            <a:off x="8104473" y="36513"/>
            <a:ext cx="634716" cy="115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hangingPunct="1">
              <a:defRPr/>
            </a:pPr>
            <a:endParaRPr lang="en-US" sz="800" baseline="0" dirty="0">
              <a:solidFill>
                <a:schemeClr val="accent1"/>
              </a:solidFill>
              <a:latin typeface="+mn-lt"/>
              <a:ea typeface="+mn-ea"/>
            </a:endParaRPr>
          </a:p>
        </p:txBody>
      </p:sp>
    </p:spTree>
    <p:extLst>
      <p:ext uri="{BB962C8B-B14F-4D97-AF65-F5344CB8AC3E}">
        <p14:creationId xmlns:p14="http://schemas.microsoft.com/office/powerpoint/2010/main" val="2649986084"/>
      </p:ext>
    </p:extLst>
  </p:cSld>
  <p:clrMapOvr>
    <a:masterClrMapping/>
  </p:clrMapOvr>
  <p:extLst mod="1">
    <p:ext uri="{DCECCB84-F9BA-43D5-87BE-67443E8EF086}">
      <p15:sldGuideLst xmlns:p15="http://schemas.microsoft.com/office/powerpoint/2012/main">
        <p15:guide id="1" pos="5505">
          <p15:clr>
            <a:srgbClr val="F26B43"/>
          </p15:clr>
        </p15:guide>
        <p15:guide id="2" pos="74">
          <p15:clr>
            <a:srgbClr val="F26B43"/>
          </p15:clr>
        </p15:guide>
        <p15:guide id="3" orient="horz" pos="571">
          <p15:clr>
            <a:srgbClr val="F26B43"/>
          </p15:clr>
        </p15:guide>
        <p15:guide id="4" orient="horz" pos="3911">
          <p15:clr>
            <a:srgbClr val="F26B43"/>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1_Title Only">
    <p:bg>
      <p:bgPr>
        <a:solidFill>
          <a:schemeClr val="accent2"/>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F4AD34F-3B47-47E2-A09C-FFEB949F6A10}"/>
              </a:ext>
            </a:extLst>
          </p:cNvPr>
          <p:cNvGraphicFramePr>
            <a:graphicFrameLocks noChangeAspect="1"/>
          </p:cNvGraphicFramePr>
          <p:nvPr>
            <p:custDataLst>
              <p:tags r:id="rId2"/>
            </p:custDataLst>
            <p:extLst>
              <p:ext uri="{D42A27DB-BD31-4B8C-83A1-F6EECF244321}">
                <p14:modId xmlns:p14="http://schemas.microsoft.com/office/powerpoint/2010/main" val="392313527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5316" name="think-cell Slide" r:id="rId5" imgW="395" imgH="394" progId="TCLayout.ActiveDocument.1">
                  <p:embed/>
                </p:oleObj>
              </mc:Choice>
              <mc:Fallback>
                <p:oleObj name="think-cell Slide" r:id="rId5" imgW="395" imgH="394" progId="TCLayout.ActiveDocument.1">
                  <p:embed/>
                  <p:pic>
                    <p:nvPicPr>
                      <p:cNvPr id="3" name="Object 2" hidden="1">
                        <a:extLst>
                          <a:ext uri="{FF2B5EF4-FFF2-40B4-BE49-F238E27FC236}">
                            <a16:creationId xmlns:a16="http://schemas.microsoft.com/office/drawing/2014/main" id="{EF4AD34F-3B47-47E2-A09C-FFEB949F6A10}"/>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endParaRPr lang="en-US" dirty="0"/>
          </a:p>
        </p:txBody>
      </p:sp>
      <p:sp>
        <p:nvSpPr>
          <p:cNvPr id="15" name="Slide Number"/>
          <p:cNvSpPr txBox="1">
            <a:spLocks/>
          </p:cNvSpPr>
          <p:nvPr/>
        </p:nvSpPr>
        <p:spPr>
          <a:xfrm>
            <a:off x="8564563" y="6508272"/>
            <a:ext cx="125034" cy="123111"/>
          </a:xfrm>
          <a:prstGeom prst="rect">
            <a:avLst/>
          </a:prstGeom>
        </p:spPr>
        <p:txBody>
          <a:bodyPr vert="horz" wrap="none" lIns="0" tIns="0" rIns="0" bIns="0" rtlCol="0" anchor="ctr">
            <a:spAutoFit/>
          </a:bodyPr>
          <a:lstStyle>
            <a:defPPr>
              <a:defRPr lang="en-US"/>
            </a:defPPr>
            <a:lvl1pPr>
              <a:defRPr sz="1000" baseline="0">
                <a:latin typeface="+mn-lt"/>
              </a:defRPr>
            </a:lvl1pPr>
          </a:lstStyle>
          <a:p>
            <a:fld id="{42C328C1-A84F-4A39-A664-DBA00541A8C6}" type="slidenum">
              <a:rPr lang="en-US" sz="800" baseline="0" smtClean="0">
                <a:solidFill>
                  <a:srgbClr val="FFFFFF"/>
                </a:solidFill>
                <a:latin typeface="+mn-lt"/>
              </a:rPr>
              <a:pPr/>
              <a:t>‹#›</a:t>
            </a:fld>
            <a:endParaRPr lang="en-US" sz="800" baseline="0" dirty="0">
              <a:solidFill>
                <a:srgbClr val="FFFFFF"/>
              </a:solidFill>
              <a:latin typeface="+mn-lt"/>
            </a:endParaRPr>
          </a:p>
        </p:txBody>
      </p:sp>
      <p:sp>
        <p:nvSpPr>
          <p:cNvPr id="16" name="SlideLogoText"/>
          <p:cNvSpPr>
            <a:spLocks noChangeArrowheads="1"/>
          </p:cNvSpPr>
          <p:nvPr>
            <p:custDataLst>
              <p:tags r:id="rId3"/>
            </p:custDataLst>
          </p:nvPr>
        </p:nvSpPr>
        <p:spPr bwMode="auto">
          <a:xfrm>
            <a:off x="7450817" y="6508272"/>
            <a:ext cx="1013098"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algn="r" defTabSz="895350"/>
            <a:r>
              <a:rPr lang="en-US" sz="800" baseline="0" dirty="0">
                <a:solidFill>
                  <a:srgbClr val="FFFFFF"/>
                </a:solidFill>
                <a:latin typeface="+mn-lt"/>
              </a:rPr>
              <a:t>McKinsey &amp; Company</a:t>
            </a:r>
          </a:p>
        </p:txBody>
      </p:sp>
      <p:sp>
        <p:nvSpPr>
          <p:cNvPr id="5" name="doc id" hidden="1"/>
          <p:cNvSpPr txBox="1">
            <a:spLocks noChangeArrowheads="1"/>
          </p:cNvSpPr>
          <p:nvPr/>
        </p:nvSpPr>
        <p:spPr bwMode="white">
          <a:xfrm>
            <a:off x="8104473" y="36513"/>
            <a:ext cx="634716" cy="115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hangingPunct="1">
              <a:defRPr/>
            </a:pPr>
            <a:endParaRPr lang="en-US" sz="800" baseline="0" dirty="0">
              <a:solidFill>
                <a:schemeClr val="accent1"/>
              </a:solidFill>
              <a:latin typeface="+mn-lt"/>
              <a:ea typeface="+mn-ea"/>
            </a:endParaRPr>
          </a:p>
        </p:txBody>
      </p:sp>
    </p:spTree>
    <p:extLst>
      <p:ext uri="{BB962C8B-B14F-4D97-AF65-F5344CB8AC3E}">
        <p14:creationId xmlns:p14="http://schemas.microsoft.com/office/powerpoint/2010/main" val="116454215"/>
      </p:ext>
    </p:extLst>
  </p:cSld>
  <p:clrMapOvr>
    <a:masterClrMapping/>
  </p:clrMapOvr>
  <p:extLst mod="1">
    <p:ext uri="{DCECCB84-F9BA-43D5-87BE-67443E8EF086}">
      <p15:sldGuideLst xmlns:p15="http://schemas.microsoft.com/office/powerpoint/2012/main">
        <p15:guide id="1" pos="3978">
          <p15:clr>
            <a:srgbClr val="000000"/>
          </p15:clr>
        </p15:guide>
        <p15:guide id="2" orient="horz" pos="570">
          <p15:clr>
            <a:srgbClr val="000000"/>
          </p15:clr>
        </p15:guide>
        <p15:guide id="3" orient="horz" pos="3912">
          <p15:clr>
            <a:srgbClr val="000000"/>
          </p15:clr>
        </p15:guide>
        <p15:guide id="4" pos="72">
          <p15:clr>
            <a:srgbClr val="00000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type="titleOnly">
  <p:cSld name="2_Title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ECD524A-1569-4253-8CD8-48D288AD883C}"/>
              </a:ext>
            </a:extLst>
          </p:cNvPr>
          <p:cNvGraphicFramePr>
            <a:graphicFrameLocks noChangeAspect="1"/>
          </p:cNvGraphicFramePr>
          <p:nvPr>
            <p:custDataLst>
              <p:tags r:id="rId2"/>
            </p:custDataLst>
            <p:extLst>
              <p:ext uri="{D42A27DB-BD31-4B8C-83A1-F6EECF244321}">
                <p14:modId xmlns:p14="http://schemas.microsoft.com/office/powerpoint/2010/main" val="145303862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6340" name="think-cell Slide" r:id="rId4" imgW="395" imgH="394" progId="TCLayout.ActiveDocument.1">
                  <p:embed/>
                </p:oleObj>
              </mc:Choice>
              <mc:Fallback>
                <p:oleObj name="think-cell Slide" r:id="rId4" imgW="395" imgH="394" progId="TCLayout.ActiveDocument.1">
                  <p:embed/>
                  <p:pic>
                    <p:nvPicPr>
                      <p:cNvPr id="3" name="Object 2" hidden="1">
                        <a:extLst>
                          <a:ext uri="{FF2B5EF4-FFF2-40B4-BE49-F238E27FC236}">
                            <a16:creationId xmlns:a16="http://schemas.microsoft.com/office/drawing/2014/main" id="{5ECD524A-1569-4253-8CD8-48D288AD883C}"/>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616735952"/>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pic>
        <p:nvPicPr>
          <p:cNvPr id="2" name="background"/>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0" y="198"/>
            <a:ext cx="8961438" cy="6721079"/>
          </a:xfrm>
          <a:prstGeom prst="rect">
            <a:avLst/>
          </a:prstGeom>
        </p:spPr>
      </p:pic>
      <p:sp>
        <p:nvSpPr>
          <p:cNvPr id="28" name="TitleRectangle"/>
          <p:cNvSpPr txBox="1">
            <a:spLocks/>
          </p:cNvSpPr>
          <p:nvPr/>
        </p:nvSpPr>
        <p:spPr>
          <a:xfrm>
            <a:off x="2084388" y="0"/>
            <a:ext cx="6875462" cy="3575976"/>
          </a:xfrm>
          <a:prstGeom prst="rect">
            <a:avLst/>
          </a:prstGeom>
          <a:solidFill>
            <a:srgbClr val="002960">
              <a:alpha val="92000"/>
            </a:srgbClr>
          </a:solidFill>
        </p:spPr>
        <p:txBody>
          <a:bodyPr vert="horz" wrap="square" lIns="216000" tIns="1440000" rIns="216000" bIns="108000" rtlCol="0">
            <a:noAutofit/>
          </a:bodyPr>
          <a:lstStyle>
            <a:lvl1pPr marL="0" indent="0" algn="l" defTabSz="914400" rtl="0" eaLnBrk="1" latinLnBrk="0" hangingPunct="1">
              <a:spcBef>
                <a:spcPct val="20000"/>
              </a:spcBef>
              <a:spcAft>
                <a:spcPts val="6000"/>
              </a:spcAft>
              <a:buFont typeface="Arial" pitchFamily="34" charset="0"/>
              <a:buNone/>
              <a:defRPr sz="3200" kern="1200">
                <a:solidFill>
                  <a:schemeClr val="accent1"/>
                </a:solidFill>
                <a:latin typeface="+mn-lt"/>
                <a:ea typeface="+mn-ea"/>
                <a:cs typeface="+mn-cs"/>
              </a:defRPr>
            </a:lvl1pPr>
            <a:lvl2pPr marL="0" indent="0" algn="l" defTabSz="914400" rtl="0" eaLnBrk="1" latinLnBrk="0" hangingPunct="1">
              <a:spcBef>
                <a:spcPct val="20000"/>
              </a:spcBef>
              <a:buFont typeface="Wingdings" charset="2"/>
              <a:buNone/>
              <a:defRPr sz="1400" kern="1200">
                <a:solidFill>
                  <a:schemeClr val="tx1">
                    <a:lumMod val="50000"/>
                    <a:lumOff val="50000"/>
                  </a:schemeClr>
                </a:solidFill>
                <a:latin typeface="+mn-lt"/>
                <a:ea typeface="+mn-ea"/>
                <a:cs typeface="+mn-cs"/>
              </a:defRPr>
            </a:lvl2pPr>
            <a:lvl3pPr marL="1143000" indent="-228600" algn="l" defTabSz="914400" rtl="0" eaLnBrk="1" latinLnBrk="0" hangingPunct="1">
              <a:spcBef>
                <a:spcPct val="20000"/>
              </a:spcBef>
              <a:buFont typeface="Lucida Grande"/>
              <a:buChar char="–"/>
              <a:defRPr sz="16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fontAlgn="auto">
              <a:defRPr/>
            </a:pPr>
            <a:r>
              <a:rPr lang="en-US" baseline="0" dirty="0">
                <a:solidFill>
                  <a:srgbClr val="00ADEF"/>
                </a:solidFill>
                <a:latin typeface="+mn-lt"/>
              </a:rPr>
              <a:t>
              </a:t>
            </a:r>
            <a:br>
              <a:rPr lang="en-US" baseline="0" dirty="0">
                <a:solidFill>
                  <a:srgbClr val="00ADEF"/>
                </a:solidFill>
                <a:latin typeface="+mn-lt"/>
              </a:rPr>
            </a:br>
            <a:endParaRPr lang="en-US" baseline="0" dirty="0">
              <a:solidFill>
                <a:srgbClr val="00ADEF"/>
              </a:solidFill>
              <a:latin typeface="+mn-lt"/>
            </a:endParaRPr>
          </a:p>
        </p:txBody>
      </p:sp>
      <p:graphicFrame>
        <p:nvGraphicFramePr>
          <p:cNvPr id="3" name="Object 2"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8388"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Working Draft Text" hidden="1"/>
          <p:cNvSpPr txBox="1">
            <a:spLocks noChangeArrowheads="1"/>
          </p:cNvSpPr>
          <p:nvPr/>
        </p:nvSpPr>
        <p:spPr bwMode="black">
          <a:xfrm>
            <a:off x="5992719" y="6287538"/>
            <a:ext cx="2790000"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800" b="1" baseline="0" dirty="0">
                <a:solidFill>
                  <a:srgbClr val="FFFFFF"/>
                </a:solidFill>
                <a:latin typeface="+mn-lt"/>
              </a:rPr>
              <a:t>WORKING DRAFT</a:t>
            </a:r>
          </a:p>
        </p:txBody>
      </p:sp>
      <p:sp>
        <p:nvSpPr>
          <p:cNvPr id="6" name="Working Draft" hidden="1"/>
          <p:cNvSpPr txBox="1">
            <a:spLocks noChangeArrowheads="1"/>
          </p:cNvSpPr>
          <p:nvPr/>
        </p:nvSpPr>
        <p:spPr bwMode="black">
          <a:xfrm>
            <a:off x="5992718" y="6410648"/>
            <a:ext cx="2968719"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800" baseline="0">
                <a:solidFill>
                  <a:srgbClr val="FFFFFF"/>
                </a:solidFill>
                <a:latin typeface="+mn-lt"/>
              </a:rPr>
              <a:t>Last Modified 21/05/2018 17:44 India Standard Time</a:t>
            </a:r>
            <a:endParaRPr lang="en-US" sz="800" baseline="0" dirty="0">
              <a:solidFill>
                <a:srgbClr val="FFFFFF"/>
              </a:solidFill>
              <a:latin typeface="+mn-lt"/>
            </a:endParaRPr>
          </a:p>
        </p:txBody>
      </p:sp>
      <p:sp>
        <p:nvSpPr>
          <p:cNvPr id="7" name="Printed" hidden="1"/>
          <p:cNvSpPr txBox="1">
            <a:spLocks noChangeArrowheads="1"/>
          </p:cNvSpPr>
          <p:nvPr/>
        </p:nvSpPr>
        <p:spPr bwMode="black">
          <a:xfrm>
            <a:off x="5992719" y="6533759"/>
            <a:ext cx="2790000"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800" baseline="0" dirty="0">
                <a:solidFill>
                  <a:srgbClr val="FFFFFF"/>
                </a:solidFill>
                <a:latin typeface="+mn-lt"/>
              </a:rPr>
              <a:t>Printed</a:t>
            </a:r>
          </a:p>
        </p:txBody>
      </p:sp>
      <p:sp>
        <p:nvSpPr>
          <p:cNvPr id="13314" name="Title"/>
          <p:cNvSpPr>
            <a:spLocks noGrp="1" noChangeArrowheads="1"/>
          </p:cNvSpPr>
          <p:nvPr>
            <p:ph type="ctrTitle"/>
          </p:nvPr>
        </p:nvSpPr>
        <p:spPr>
          <a:xfrm>
            <a:off x="2268266" y="1434419"/>
            <a:ext cx="6231663" cy="492443"/>
          </a:xfrm>
          <a:prstGeom prst="rect">
            <a:avLst/>
          </a:prstGeom>
        </p:spPr>
        <p:txBody>
          <a:bodyPr>
            <a:spAutoFit/>
          </a:bodyPr>
          <a:lstStyle>
            <a:lvl1pPr>
              <a:defRPr sz="3200" b="0" baseline="0">
                <a:solidFill>
                  <a:schemeClr val="accent2"/>
                </a:solidFill>
                <a:latin typeface="+mj-lt"/>
                <a:ea typeface="+mj-ea"/>
              </a:defRPr>
            </a:lvl1pPr>
          </a:lstStyle>
          <a:p>
            <a:pPr lvl="0" latinLnBrk="0"/>
            <a:r>
              <a:rPr lang="en-US" noProof="0"/>
              <a:t>Click to edit Master title style</a:t>
            </a:r>
            <a:endParaRPr lang="en-US" noProof="0" dirty="0"/>
          </a:p>
        </p:txBody>
      </p:sp>
      <p:sp>
        <p:nvSpPr>
          <p:cNvPr id="13315" name="Subtitle"/>
          <p:cNvSpPr>
            <a:spLocks noGrp="1" noChangeArrowheads="1"/>
          </p:cNvSpPr>
          <p:nvPr>
            <p:ph type="subTitle" idx="1"/>
          </p:nvPr>
        </p:nvSpPr>
        <p:spPr>
          <a:xfrm>
            <a:off x="2268266" y="2819401"/>
            <a:ext cx="6231663" cy="215444"/>
          </a:xfrm>
          <a:prstGeom prst="rect">
            <a:avLst/>
          </a:prstGeom>
        </p:spPr>
        <p:txBody>
          <a:bodyPr wrap="square">
            <a:spAutoFit/>
          </a:bodyPr>
          <a:lstStyle>
            <a:lvl1pPr>
              <a:defRPr sz="1400" cap="all" baseline="0">
                <a:solidFill>
                  <a:schemeClr val="bg1"/>
                </a:solidFill>
                <a:latin typeface="+mn-lt"/>
                <a:ea typeface="+mn-ea"/>
              </a:defRPr>
            </a:lvl1pPr>
          </a:lstStyle>
          <a:p>
            <a:pPr lvl="0" latinLnBrk="0"/>
            <a:r>
              <a:rPr lang="en-US" noProof="0"/>
              <a:t>Click to edit Master subtitle style</a:t>
            </a:r>
            <a:endParaRPr lang="en-US" noProof="0" dirty="0"/>
          </a:p>
        </p:txBody>
      </p:sp>
      <p:sp>
        <p:nvSpPr>
          <p:cNvPr id="57" name="Document type" hidden="1"/>
          <p:cNvSpPr txBox="1">
            <a:spLocks noChangeArrowheads="1"/>
          </p:cNvSpPr>
          <p:nvPr/>
        </p:nvSpPr>
        <p:spPr bwMode="gray">
          <a:xfrm>
            <a:off x="2268266" y="3227411"/>
            <a:ext cx="6231663"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00" baseline="0" dirty="0">
                <a:solidFill>
                  <a:schemeClr val="bg1"/>
                </a:solidFill>
                <a:latin typeface="+mn-lt"/>
              </a:rPr>
              <a:t>Document type | Date</a:t>
            </a:r>
          </a:p>
        </p:txBody>
      </p:sp>
      <p:sp>
        <p:nvSpPr>
          <p:cNvPr id="5" name="doc id" hidden="1"/>
          <p:cNvSpPr txBox="1">
            <a:spLocks noChangeArrowheads="1"/>
          </p:cNvSpPr>
          <p:nvPr/>
        </p:nvSpPr>
        <p:spPr bwMode="white">
          <a:xfrm>
            <a:off x="8443913" y="36513"/>
            <a:ext cx="295275" cy="1222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hangingPunct="1">
              <a:defRPr/>
            </a:pPr>
            <a:endParaRPr lang="en-US" sz="800" baseline="0" dirty="0">
              <a:solidFill>
                <a:srgbClr val="FFFFFF"/>
              </a:solidFill>
              <a:latin typeface="+mn-lt"/>
            </a:endParaRPr>
          </a:p>
        </p:txBody>
      </p:sp>
      <p:sp>
        <p:nvSpPr>
          <p:cNvPr id="43" name="LogoImage"/>
          <p:cNvSpPr>
            <a:spLocks noEditPoints="1"/>
          </p:cNvSpPr>
          <p:nvPr/>
        </p:nvSpPr>
        <p:spPr bwMode="white">
          <a:xfrm>
            <a:off x="2269098" y="182925"/>
            <a:ext cx="2176978" cy="238073"/>
          </a:xfrm>
          <a:custGeom>
            <a:avLst/>
            <a:gdLst>
              <a:gd name="T0" fmla="*/ 504 w 5516"/>
              <a:gd name="T1" fmla="*/ 26 h 606"/>
              <a:gd name="T2" fmla="*/ 18 w 5516"/>
              <a:gd name="T3" fmla="*/ 22 h 606"/>
              <a:gd name="T4" fmla="*/ 140 w 5516"/>
              <a:gd name="T5" fmla="*/ 436 h 606"/>
              <a:gd name="T6" fmla="*/ 408 w 5516"/>
              <a:gd name="T7" fmla="*/ 372 h 606"/>
              <a:gd name="T8" fmla="*/ 696 w 5516"/>
              <a:gd name="T9" fmla="*/ 422 h 606"/>
              <a:gd name="T10" fmla="*/ 768 w 5516"/>
              <a:gd name="T11" fmla="*/ 196 h 606"/>
              <a:gd name="T12" fmla="*/ 1272 w 5516"/>
              <a:gd name="T13" fmla="*/ 26 h 606"/>
              <a:gd name="T14" fmla="*/ 1302 w 5516"/>
              <a:gd name="T15" fmla="*/ 338 h 606"/>
              <a:gd name="T16" fmla="*/ 1202 w 5516"/>
              <a:gd name="T17" fmla="*/ 436 h 606"/>
              <a:gd name="T18" fmla="*/ 1030 w 5516"/>
              <a:gd name="T19" fmla="*/ 10 h 606"/>
              <a:gd name="T20" fmla="*/ 960 w 5516"/>
              <a:gd name="T21" fmla="*/ 22 h 606"/>
              <a:gd name="T22" fmla="*/ 804 w 5516"/>
              <a:gd name="T23" fmla="*/ 434 h 606"/>
              <a:gd name="T24" fmla="*/ 930 w 5516"/>
              <a:gd name="T25" fmla="*/ 246 h 606"/>
              <a:gd name="T26" fmla="*/ 1658 w 5516"/>
              <a:gd name="T27" fmla="*/ 342 h 606"/>
              <a:gd name="T28" fmla="*/ 1368 w 5516"/>
              <a:gd name="T29" fmla="*/ 188 h 606"/>
              <a:gd name="T30" fmla="*/ 1514 w 5516"/>
              <a:gd name="T31" fmla="*/ 436 h 606"/>
              <a:gd name="T32" fmla="*/ 1564 w 5516"/>
              <a:gd name="T33" fmla="*/ 434 h 606"/>
              <a:gd name="T34" fmla="*/ 1904 w 5516"/>
              <a:gd name="T35" fmla="*/ 184 h 606"/>
              <a:gd name="T36" fmla="*/ 1728 w 5516"/>
              <a:gd name="T37" fmla="*/ 366 h 606"/>
              <a:gd name="T38" fmla="*/ 2102 w 5516"/>
              <a:gd name="T39" fmla="*/ 192 h 606"/>
              <a:gd name="T40" fmla="*/ 1982 w 5516"/>
              <a:gd name="T41" fmla="*/ 320 h 606"/>
              <a:gd name="T42" fmla="*/ 2478 w 5516"/>
              <a:gd name="T43" fmla="*/ 242 h 606"/>
              <a:gd name="T44" fmla="*/ 2406 w 5516"/>
              <a:gd name="T45" fmla="*/ 390 h 606"/>
              <a:gd name="T46" fmla="*/ 2234 w 5516"/>
              <a:gd name="T47" fmla="*/ 192 h 606"/>
              <a:gd name="T48" fmla="*/ 2478 w 5516"/>
              <a:gd name="T49" fmla="*/ 242 h 606"/>
              <a:gd name="T50" fmla="*/ 2928 w 5516"/>
              <a:gd name="T51" fmla="*/ 448 h 606"/>
              <a:gd name="T52" fmla="*/ 2958 w 5516"/>
              <a:gd name="T53" fmla="*/ 230 h 606"/>
              <a:gd name="T54" fmla="*/ 2716 w 5516"/>
              <a:gd name="T55" fmla="*/ 54 h 606"/>
              <a:gd name="T56" fmla="*/ 2714 w 5516"/>
              <a:gd name="T57" fmla="*/ 36 h 606"/>
              <a:gd name="T58" fmla="*/ 2928 w 5516"/>
              <a:gd name="T59" fmla="*/ 448 h 606"/>
              <a:gd name="T60" fmla="*/ 3388 w 5516"/>
              <a:gd name="T61" fmla="*/ 4 h 606"/>
              <a:gd name="T62" fmla="*/ 3396 w 5516"/>
              <a:gd name="T63" fmla="*/ 366 h 606"/>
              <a:gd name="T64" fmla="*/ 3580 w 5516"/>
              <a:gd name="T65" fmla="*/ 190 h 606"/>
              <a:gd name="T66" fmla="*/ 3502 w 5516"/>
              <a:gd name="T67" fmla="*/ 432 h 606"/>
              <a:gd name="T68" fmla="*/ 4232 w 5516"/>
              <a:gd name="T69" fmla="*/ 348 h 606"/>
              <a:gd name="T70" fmla="*/ 3858 w 5516"/>
              <a:gd name="T71" fmla="*/ 176 h 606"/>
              <a:gd name="T72" fmla="*/ 3758 w 5516"/>
              <a:gd name="T73" fmla="*/ 446 h 606"/>
              <a:gd name="T74" fmla="*/ 3990 w 5516"/>
              <a:gd name="T75" fmla="*/ 282 h 606"/>
              <a:gd name="T76" fmla="*/ 4042 w 5516"/>
              <a:gd name="T77" fmla="*/ 342 h 606"/>
              <a:gd name="T78" fmla="*/ 4134 w 5516"/>
              <a:gd name="T79" fmla="*/ 448 h 606"/>
              <a:gd name="T80" fmla="*/ 4454 w 5516"/>
              <a:gd name="T81" fmla="*/ 202 h 606"/>
              <a:gd name="T82" fmla="*/ 4284 w 5516"/>
              <a:gd name="T83" fmla="*/ 174 h 606"/>
              <a:gd name="T84" fmla="*/ 4432 w 5516"/>
              <a:gd name="T85" fmla="*/ 588 h 606"/>
              <a:gd name="T86" fmla="*/ 4792 w 5516"/>
              <a:gd name="T87" fmla="*/ 382 h 606"/>
              <a:gd name="T88" fmla="*/ 5192 w 5516"/>
              <a:gd name="T89" fmla="*/ 340 h 606"/>
              <a:gd name="T90" fmla="*/ 4902 w 5516"/>
              <a:gd name="T91" fmla="*/ 186 h 606"/>
              <a:gd name="T92" fmla="*/ 4850 w 5516"/>
              <a:gd name="T93" fmla="*/ 274 h 606"/>
              <a:gd name="T94" fmla="*/ 4742 w 5516"/>
              <a:gd name="T95" fmla="*/ 194 h 606"/>
              <a:gd name="T96" fmla="*/ 4794 w 5516"/>
              <a:gd name="T97" fmla="*/ 418 h 606"/>
              <a:gd name="T98" fmla="*/ 5004 w 5516"/>
              <a:gd name="T99" fmla="*/ 338 h 606"/>
              <a:gd name="T100" fmla="*/ 5098 w 5516"/>
              <a:gd name="T101" fmla="*/ 446 h 606"/>
              <a:gd name="T102" fmla="*/ 5418 w 5516"/>
              <a:gd name="T103" fmla="*/ 192 h 606"/>
              <a:gd name="T104" fmla="*/ 5348 w 5516"/>
              <a:gd name="T105" fmla="*/ 180 h 606"/>
              <a:gd name="T106" fmla="*/ 5254 w 5516"/>
              <a:gd name="T107" fmla="*/ 606 h 6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516" h="606">
                <a:moveTo>
                  <a:pt x="366" y="448"/>
                </a:moveTo>
                <a:cubicBezTo>
                  <a:pt x="524" y="448"/>
                  <a:pt x="524" y="448"/>
                  <a:pt x="524" y="448"/>
                </a:cubicBezTo>
                <a:cubicBezTo>
                  <a:pt x="524" y="436"/>
                  <a:pt x="524" y="436"/>
                  <a:pt x="524" y="436"/>
                </a:cubicBezTo>
                <a:cubicBezTo>
                  <a:pt x="486" y="432"/>
                  <a:pt x="470" y="414"/>
                  <a:pt x="468" y="362"/>
                </a:cubicBezTo>
                <a:cubicBezTo>
                  <a:pt x="454" y="86"/>
                  <a:pt x="454" y="86"/>
                  <a:pt x="454" y="86"/>
                </a:cubicBezTo>
                <a:cubicBezTo>
                  <a:pt x="452" y="46"/>
                  <a:pt x="470" y="30"/>
                  <a:pt x="504" y="26"/>
                </a:cubicBezTo>
                <a:cubicBezTo>
                  <a:pt x="504" y="12"/>
                  <a:pt x="504" y="12"/>
                  <a:pt x="504" y="12"/>
                </a:cubicBezTo>
                <a:cubicBezTo>
                  <a:pt x="394" y="12"/>
                  <a:pt x="394" y="12"/>
                  <a:pt x="394" y="12"/>
                </a:cubicBezTo>
                <a:cubicBezTo>
                  <a:pt x="264" y="350"/>
                  <a:pt x="264" y="350"/>
                  <a:pt x="264" y="350"/>
                </a:cubicBezTo>
                <a:cubicBezTo>
                  <a:pt x="132" y="10"/>
                  <a:pt x="132" y="10"/>
                  <a:pt x="132" y="10"/>
                </a:cubicBezTo>
                <a:cubicBezTo>
                  <a:pt x="18" y="10"/>
                  <a:pt x="18" y="10"/>
                  <a:pt x="18" y="10"/>
                </a:cubicBezTo>
                <a:cubicBezTo>
                  <a:pt x="18" y="22"/>
                  <a:pt x="18" y="22"/>
                  <a:pt x="18" y="22"/>
                </a:cubicBezTo>
                <a:cubicBezTo>
                  <a:pt x="40" y="26"/>
                  <a:pt x="74" y="32"/>
                  <a:pt x="72" y="84"/>
                </a:cubicBezTo>
                <a:cubicBezTo>
                  <a:pt x="58" y="352"/>
                  <a:pt x="58" y="352"/>
                  <a:pt x="58" y="352"/>
                </a:cubicBezTo>
                <a:cubicBezTo>
                  <a:pt x="54" y="410"/>
                  <a:pt x="38" y="430"/>
                  <a:pt x="0" y="436"/>
                </a:cubicBezTo>
                <a:cubicBezTo>
                  <a:pt x="0" y="448"/>
                  <a:pt x="0" y="448"/>
                  <a:pt x="0" y="448"/>
                </a:cubicBezTo>
                <a:cubicBezTo>
                  <a:pt x="140" y="448"/>
                  <a:pt x="140" y="448"/>
                  <a:pt x="140" y="448"/>
                </a:cubicBezTo>
                <a:cubicBezTo>
                  <a:pt x="140" y="436"/>
                  <a:pt x="140" y="436"/>
                  <a:pt x="140" y="436"/>
                </a:cubicBezTo>
                <a:cubicBezTo>
                  <a:pt x="98" y="428"/>
                  <a:pt x="84" y="414"/>
                  <a:pt x="88" y="356"/>
                </a:cubicBezTo>
                <a:cubicBezTo>
                  <a:pt x="100" y="86"/>
                  <a:pt x="100" y="86"/>
                  <a:pt x="100" y="86"/>
                </a:cubicBezTo>
                <a:cubicBezTo>
                  <a:pt x="240" y="444"/>
                  <a:pt x="240" y="444"/>
                  <a:pt x="240" y="444"/>
                </a:cubicBezTo>
                <a:cubicBezTo>
                  <a:pt x="258" y="444"/>
                  <a:pt x="258" y="444"/>
                  <a:pt x="258" y="444"/>
                </a:cubicBezTo>
                <a:cubicBezTo>
                  <a:pt x="396" y="86"/>
                  <a:pt x="396" y="86"/>
                  <a:pt x="396" y="86"/>
                </a:cubicBezTo>
                <a:cubicBezTo>
                  <a:pt x="408" y="372"/>
                  <a:pt x="408" y="372"/>
                  <a:pt x="408" y="372"/>
                </a:cubicBezTo>
                <a:cubicBezTo>
                  <a:pt x="410" y="416"/>
                  <a:pt x="398" y="430"/>
                  <a:pt x="366" y="434"/>
                </a:cubicBezTo>
                <a:lnTo>
                  <a:pt x="366" y="448"/>
                </a:lnTo>
                <a:close/>
                <a:moveTo>
                  <a:pt x="670" y="456"/>
                </a:moveTo>
                <a:cubicBezTo>
                  <a:pt x="708" y="456"/>
                  <a:pt x="756" y="440"/>
                  <a:pt x="782" y="412"/>
                </a:cubicBezTo>
                <a:cubicBezTo>
                  <a:pt x="776" y="400"/>
                  <a:pt x="776" y="400"/>
                  <a:pt x="776" y="400"/>
                </a:cubicBezTo>
                <a:cubicBezTo>
                  <a:pt x="750" y="416"/>
                  <a:pt x="722" y="422"/>
                  <a:pt x="696" y="422"/>
                </a:cubicBezTo>
                <a:cubicBezTo>
                  <a:pt x="620" y="422"/>
                  <a:pt x="592" y="358"/>
                  <a:pt x="592" y="290"/>
                </a:cubicBezTo>
                <a:cubicBezTo>
                  <a:pt x="592" y="258"/>
                  <a:pt x="600" y="236"/>
                  <a:pt x="614" y="222"/>
                </a:cubicBezTo>
                <a:cubicBezTo>
                  <a:pt x="626" y="210"/>
                  <a:pt x="646" y="204"/>
                  <a:pt x="664" y="204"/>
                </a:cubicBezTo>
                <a:cubicBezTo>
                  <a:pt x="690" y="204"/>
                  <a:pt x="722" y="214"/>
                  <a:pt x="744" y="244"/>
                </a:cubicBezTo>
                <a:cubicBezTo>
                  <a:pt x="750" y="244"/>
                  <a:pt x="750" y="244"/>
                  <a:pt x="750" y="244"/>
                </a:cubicBezTo>
                <a:cubicBezTo>
                  <a:pt x="758" y="234"/>
                  <a:pt x="766" y="212"/>
                  <a:pt x="768" y="196"/>
                </a:cubicBezTo>
                <a:cubicBezTo>
                  <a:pt x="748" y="180"/>
                  <a:pt x="720" y="172"/>
                  <a:pt x="686" y="172"/>
                </a:cubicBezTo>
                <a:cubicBezTo>
                  <a:pt x="604" y="172"/>
                  <a:pt x="544" y="246"/>
                  <a:pt x="544" y="326"/>
                </a:cubicBezTo>
                <a:cubicBezTo>
                  <a:pt x="540" y="390"/>
                  <a:pt x="576" y="456"/>
                  <a:pt x="670" y="456"/>
                </a:cubicBezTo>
                <a:moveTo>
                  <a:pt x="1272" y="98"/>
                </a:moveTo>
                <a:cubicBezTo>
                  <a:pt x="1292" y="98"/>
                  <a:pt x="1308" y="82"/>
                  <a:pt x="1308" y="62"/>
                </a:cubicBezTo>
                <a:cubicBezTo>
                  <a:pt x="1308" y="42"/>
                  <a:pt x="1292" y="26"/>
                  <a:pt x="1272" y="26"/>
                </a:cubicBezTo>
                <a:cubicBezTo>
                  <a:pt x="1252" y="26"/>
                  <a:pt x="1238" y="42"/>
                  <a:pt x="1238" y="62"/>
                </a:cubicBezTo>
                <a:cubicBezTo>
                  <a:pt x="1238" y="82"/>
                  <a:pt x="1252" y="98"/>
                  <a:pt x="1272" y="98"/>
                </a:cubicBezTo>
                <a:moveTo>
                  <a:pt x="1202" y="448"/>
                </a:moveTo>
                <a:cubicBezTo>
                  <a:pt x="1346" y="448"/>
                  <a:pt x="1346" y="448"/>
                  <a:pt x="1346" y="448"/>
                </a:cubicBezTo>
                <a:cubicBezTo>
                  <a:pt x="1346" y="436"/>
                  <a:pt x="1346" y="436"/>
                  <a:pt x="1346" y="436"/>
                </a:cubicBezTo>
                <a:cubicBezTo>
                  <a:pt x="1304" y="432"/>
                  <a:pt x="1302" y="434"/>
                  <a:pt x="1302" y="338"/>
                </a:cubicBezTo>
                <a:cubicBezTo>
                  <a:pt x="1302" y="176"/>
                  <a:pt x="1302" y="176"/>
                  <a:pt x="1302" y="176"/>
                </a:cubicBezTo>
                <a:cubicBezTo>
                  <a:pt x="1200" y="176"/>
                  <a:pt x="1200" y="176"/>
                  <a:pt x="1200" y="176"/>
                </a:cubicBezTo>
                <a:cubicBezTo>
                  <a:pt x="1200" y="188"/>
                  <a:pt x="1200" y="188"/>
                  <a:pt x="1200" y="188"/>
                </a:cubicBezTo>
                <a:cubicBezTo>
                  <a:pt x="1244" y="190"/>
                  <a:pt x="1250" y="192"/>
                  <a:pt x="1250" y="268"/>
                </a:cubicBezTo>
                <a:cubicBezTo>
                  <a:pt x="1250" y="336"/>
                  <a:pt x="1250" y="336"/>
                  <a:pt x="1250" y="336"/>
                </a:cubicBezTo>
                <a:cubicBezTo>
                  <a:pt x="1250" y="432"/>
                  <a:pt x="1248" y="432"/>
                  <a:pt x="1202" y="436"/>
                </a:cubicBezTo>
                <a:cubicBezTo>
                  <a:pt x="1178" y="434"/>
                  <a:pt x="1154" y="426"/>
                  <a:pt x="1076" y="338"/>
                </a:cubicBezTo>
                <a:cubicBezTo>
                  <a:pt x="1046" y="302"/>
                  <a:pt x="996" y="244"/>
                  <a:pt x="968" y="206"/>
                </a:cubicBezTo>
                <a:cubicBezTo>
                  <a:pt x="1062" y="102"/>
                  <a:pt x="1062" y="102"/>
                  <a:pt x="1062" y="102"/>
                </a:cubicBezTo>
                <a:cubicBezTo>
                  <a:pt x="1108" y="52"/>
                  <a:pt x="1132" y="26"/>
                  <a:pt x="1176" y="24"/>
                </a:cubicBezTo>
                <a:cubicBezTo>
                  <a:pt x="1176" y="10"/>
                  <a:pt x="1176" y="10"/>
                  <a:pt x="1176" y="10"/>
                </a:cubicBezTo>
                <a:cubicBezTo>
                  <a:pt x="1030" y="10"/>
                  <a:pt x="1030" y="10"/>
                  <a:pt x="1030" y="10"/>
                </a:cubicBezTo>
                <a:cubicBezTo>
                  <a:pt x="1030" y="22"/>
                  <a:pt x="1030" y="22"/>
                  <a:pt x="1030" y="22"/>
                </a:cubicBezTo>
                <a:cubicBezTo>
                  <a:pt x="1050" y="26"/>
                  <a:pt x="1056" y="32"/>
                  <a:pt x="1056" y="46"/>
                </a:cubicBezTo>
                <a:cubicBezTo>
                  <a:pt x="1056" y="56"/>
                  <a:pt x="1054" y="72"/>
                  <a:pt x="1026" y="102"/>
                </a:cubicBezTo>
                <a:cubicBezTo>
                  <a:pt x="910" y="230"/>
                  <a:pt x="910" y="230"/>
                  <a:pt x="910" y="230"/>
                </a:cubicBezTo>
                <a:cubicBezTo>
                  <a:pt x="910" y="148"/>
                  <a:pt x="910" y="148"/>
                  <a:pt x="910" y="148"/>
                </a:cubicBezTo>
                <a:cubicBezTo>
                  <a:pt x="910" y="36"/>
                  <a:pt x="916" y="28"/>
                  <a:pt x="960" y="22"/>
                </a:cubicBezTo>
                <a:cubicBezTo>
                  <a:pt x="960" y="8"/>
                  <a:pt x="960" y="8"/>
                  <a:pt x="960" y="8"/>
                </a:cubicBezTo>
                <a:cubicBezTo>
                  <a:pt x="804" y="8"/>
                  <a:pt x="804" y="8"/>
                  <a:pt x="804" y="8"/>
                </a:cubicBezTo>
                <a:cubicBezTo>
                  <a:pt x="804" y="22"/>
                  <a:pt x="804" y="22"/>
                  <a:pt x="804" y="22"/>
                </a:cubicBezTo>
                <a:cubicBezTo>
                  <a:pt x="852" y="26"/>
                  <a:pt x="854" y="36"/>
                  <a:pt x="854" y="148"/>
                </a:cubicBezTo>
                <a:cubicBezTo>
                  <a:pt x="854" y="300"/>
                  <a:pt x="854" y="300"/>
                  <a:pt x="854" y="300"/>
                </a:cubicBezTo>
                <a:cubicBezTo>
                  <a:pt x="854" y="422"/>
                  <a:pt x="850" y="430"/>
                  <a:pt x="804" y="434"/>
                </a:cubicBezTo>
                <a:cubicBezTo>
                  <a:pt x="804" y="446"/>
                  <a:pt x="804" y="446"/>
                  <a:pt x="804" y="446"/>
                </a:cubicBezTo>
                <a:cubicBezTo>
                  <a:pt x="960" y="446"/>
                  <a:pt x="960" y="446"/>
                  <a:pt x="960" y="446"/>
                </a:cubicBezTo>
                <a:cubicBezTo>
                  <a:pt x="960" y="434"/>
                  <a:pt x="960" y="434"/>
                  <a:pt x="960" y="434"/>
                </a:cubicBezTo>
                <a:cubicBezTo>
                  <a:pt x="910" y="428"/>
                  <a:pt x="910" y="424"/>
                  <a:pt x="910" y="292"/>
                </a:cubicBezTo>
                <a:cubicBezTo>
                  <a:pt x="910" y="268"/>
                  <a:pt x="910" y="268"/>
                  <a:pt x="910" y="268"/>
                </a:cubicBezTo>
                <a:cubicBezTo>
                  <a:pt x="930" y="246"/>
                  <a:pt x="930" y="246"/>
                  <a:pt x="930" y="246"/>
                </a:cubicBezTo>
                <a:cubicBezTo>
                  <a:pt x="982" y="310"/>
                  <a:pt x="1038" y="380"/>
                  <a:pt x="1098" y="448"/>
                </a:cubicBezTo>
                <a:cubicBezTo>
                  <a:pt x="1202" y="448"/>
                  <a:pt x="1202" y="448"/>
                  <a:pt x="1202" y="448"/>
                </a:cubicBezTo>
                <a:close/>
                <a:moveTo>
                  <a:pt x="1564" y="448"/>
                </a:moveTo>
                <a:cubicBezTo>
                  <a:pt x="1706" y="448"/>
                  <a:pt x="1706" y="448"/>
                  <a:pt x="1706" y="448"/>
                </a:cubicBezTo>
                <a:cubicBezTo>
                  <a:pt x="1706" y="436"/>
                  <a:pt x="1706" y="436"/>
                  <a:pt x="1706" y="436"/>
                </a:cubicBezTo>
                <a:cubicBezTo>
                  <a:pt x="1658" y="434"/>
                  <a:pt x="1658" y="432"/>
                  <a:pt x="1658" y="342"/>
                </a:cubicBezTo>
                <a:cubicBezTo>
                  <a:pt x="1658" y="280"/>
                  <a:pt x="1658" y="280"/>
                  <a:pt x="1658" y="280"/>
                </a:cubicBezTo>
                <a:cubicBezTo>
                  <a:pt x="1658" y="198"/>
                  <a:pt x="1612" y="172"/>
                  <a:pt x="1570" y="172"/>
                </a:cubicBezTo>
                <a:cubicBezTo>
                  <a:pt x="1534" y="172"/>
                  <a:pt x="1498" y="188"/>
                  <a:pt x="1470" y="224"/>
                </a:cubicBezTo>
                <a:cubicBezTo>
                  <a:pt x="1470" y="176"/>
                  <a:pt x="1470" y="176"/>
                  <a:pt x="1470" y="176"/>
                </a:cubicBezTo>
                <a:cubicBezTo>
                  <a:pt x="1368" y="176"/>
                  <a:pt x="1368" y="176"/>
                  <a:pt x="1368" y="176"/>
                </a:cubicBezTo>
                <a:cubicBezTo>
                  <a:pt x="1368" y="188"/>
                  <a:pt x="1368" y="188"/>
                  <a:pt x="1368" y="188"/>
                </a:cubicBezTo>
                <a:cubicBezTo>
                  <a:pt x="1412" y="190"/>
                  <a:pt x="1418" y="192"/>
                  <a:pt x="1418" y="268"/>
                </a:cubicBezTo>
                <a:cubicBezTo>
                  <a:pt x="1418" y="336"/>
                  <a:pt x="1418" y="336"/>
                  <a:pt x="1418" y="336"/>
                </a:cubicBezTo>
                <a:cubicBezTo>
                  <a:pt x="1418" y="434"/>
                  <a:pt x="1418" y="434"/>
                  <a:pt x="1370" y="436"/>
                </a:cubicBezTo>
                <a:cubicBezTo>
                  <a:pt x="1370" y="448"/>
                  <a:pt x="1370" y="448"/>
                  <a:pt x="1370" y="448"/>
                </a:cubicBezTo>
                <a:cubicBezTo>
                  <a:pt x="1514" y="448"/>
                  <a:pt x="1514" y="448"/>
                  <a:pt x="1514" y="448"/>
                </a:cubicBezTo>
                <a:cubicBezTo>
                  <a:pt x="1514" y="436"/>
                  <a:pt x="1514" y="436"/>
                  <a:pt x="1514" y="436"/>
                </a:cubicBezTo>
                <a:cubicBezTo>
                  <a:pt x="1472" y="432"/>
                  <a:pt x="1470" y="434"/>
                  <a:pt x="1470" y="338"/>
                </a:cubicBezTo>
                <a:cubicBezTo>
                  <a:pt x="1470" y="262"/>
                  <a:pt x="1470" y="262"/>
                  <a:pt x="1470" y="262"/>
                </a:cubicBezTo>
                <a:cubicBezTo>
                  <a:pt x="1470" y="236"/>
                  <a:pt x="1504" y="206"/>
                  <a:pt x="1546" y="206"/>
                </a:cubicBezTo>
                <a:cubicBezTo>
                  <a:pt x="1580" y="206"/>
                  <a:pt x="1606" y="220"/>
                  <a:pt x="1606" y="286"/>
                </a:cubicBezTo>
                <a:cubicBezTo>
                  <a:pt x="1606" y="340"/>
                  <a:pt x="1606" y="340"/>
                  <a:pt x="1606" y="340"/>
                </a:cubicBezTo>
                <a:cubicBezTo>
                  <a:pt x="1606" y="432"/>
                  <a:pt x="1602" y="432"/>
                  <a:pt x="1564" y="434"/>
                </a:cubicBezTo>
                <a:lnTo>
                  <a:pt x="1564" y="448"/>
                </a:lnTo>
                <a:close/>
                <a:moveTo>
                  <a:pt x="1776" y="222"/>
                </a:moveTo>
                <a:cubicBezTo>
                  <a:pt x="1776" y="200"/>
                  <a:pt x="1796" y="188"/>
                  <a:pt x="1822" y="188"/>
                </a:cubicBezTo>
                <a:cubicBezTo>
                  <a:pt x="1874" y="188"/>
                  <a:pt x="1896" y="236"/>
                  <a:pt x="1900" y="252"/>
                </a:cubicBezTo>
                <a:cubicBezTo>
                  <a:pt x="1912" y="252"/>
                  <a:pt x="1912" y="252"/>
                  <a:pt x="1912" y="252"/>
                </a:cubicBezTo>
                <a:cubicBezTo>
                  <a:pt x="1912" y="212"/>
                  <a:pt x="1908" y="188"/>
                  <a:pt x="1904" y="184"/>
                </a:cubicBezTo>
                <a:cubicBezTo>
                  <a:pt x="1900" y="180"/>
                  <a:pt x="1862" y="170"/>
                  <a:pt x="1824" y="170"/>
                </a:cubicBezTo>
                <a:cubicBezTo>
                  <a:pt x="1768" y="170"/>
                  <a:pt x="1734" y="206"/>
                  <a:pt x="1734" y="248"/>
                </a:cubicBezTo>
                <a:cubicBezTo>
                  <a:pt x="1734" y="340"/>
                  <a:pt x="1890" y="322"/>
                  <a:pt x="1890" y="396"/>
                </a:cubicBezTo>
                <a:cubicBezTo>
                  <a:pt x="1890" y="422"/>
                  <a:pt x="1866" y="436"/>
                  <a:pt x="1826" y="436"/>
                </a:cubicBezTo>
                <a:cubicBezTo>
                  <a:pt x="1788" y="436"/>
                  <a:pt x="1754" y="416"/>
                  <a:pt x="1744" y="366"/>
                </a:cubicBezTo>
                <a:cubicBezTo>
                  <a:pt x="1728" y="366"/>
                  <a:pt x="1728" y="366"/>
                  <a:pt x="1728" y="366"/>
                </a:cubicBezTo>
                <a:cubicBezTo>
                  <a:pt x="1728" y="386"/>
                  <a:pt x="1732" y="422"/>
                  <a:pt x="1734" y="428"/>
                </a:cubicBezTo>
                <a:cubicBezTo>
                  <a:pt x="1744" y="446"/>
                  <a:pt x="1788" y="454"/>
                  <a:pt x="1824" y="454"/>
                </a:cubicBezTo>
                <a:cubicBezTo>
                  <a:pt x="1888" y="454"/>
                  <a:pt x="1928" y="416"/>
                  <a:pt x="1928" y="372"/>
                </a:cubicBezTo>
                <a:cubicBezTo>
                  <a:pt x="1932" y="270"/>
                  <a:pt x="1776" y="286"/>
                  <a:pt x="1776" y="222"/>
                </a:cubicBezTo>
                <a:moveTo>
                  <a:pt x="2030" y="270"/>
                </a:moveTo>
                <a:cubicBezTo>
                  <a:pt x="2034" y="220"/>
                  <a:pt x="2058" y="192"/>
                  <a:pt x="2102" y="192"/>
                </a:cubicBezTo>
                <a:cubicBezTo>
                  <a:pt x="2144" y="192"/>
                  <a:pt x="2170" y="220"/>
                  <a:pt x="2172" y="270"/>
                </a:cubicBezTo>
                <a:lnTo>
                  <a:pt x="2030" y="270"/>
                </a:lnTo>
                <a:close/>
                <a:moveTo>
                  <a:pt x="2030" y="290"/>
                </a:moveTo>
                <a:cubicBezTo>
                  <a:pt x="2222" y="290"/>
                  <a:pt x="2222" y="290"/>
                  <a:pt x="2222" y="290"/>
                </a:cubicBezTo>
                <a:cubicBezTo>
                  <a:pt x="2226" y="228"/>
                  <a:pt x="2192" y="168"/>
                  <a:pt x="2114" y="168"/>
                </a:cubicBezTo>
                <a:cubicBezTo>
                  <a:pt x="2034" y="168"/>
                  <a:pt x="1982" y="232"/>
                  <a:pt x="1982" y="320"/>
                </a:cubicBezTo>
                <a:cubicBezTo>
                  <a:pt x="1982" y="388"/>
                  <a:pt x="2018" y="456"/>
                  <a:pt x="2112" y="456"/>
                </a:cubicBezTo>
                <a:cubicBezTo>
                  <a:pt x="2150" y="456"/>
                  <a:pt x="2198" y="440"/>
                  <a:pt x="2224" y="412"/>
                </a:cubicBezTo>
                <a:cubicBezTo>
                  <a:pt x="2218" y="400"/>
                  <a:pt x="2218" y="400"/>
                  <a:pt x="2218" y="400"/>
                </a:cubicBezTo>
                <a:cubicBezTo>
                  <a:pt x="2192" y="416"/>
                  <a:pt x="2164" y="422"/>
                  <a:pt x="2138" y="422"/>
                </a:cubicBezTo>
                <a:cubicBezTo>
                  <a:pt x="2058" y="420"/>
                  <a:pt x="2028" y="352"/>
                  <a:pt x="2030" y="290"/>
                </a:cubicBezTo>
                <a:moveTo>
                  <a:pt x="2478" y="242"/>
                </a:moveTo>
                <a:cubicBezTo>
                  <a:pt x="2490" y="206"/>
                  <a:pt x="2510" y="192"/>
                  <a:pt x="2528" y="192"/>
                </a:cubicBezTo>
                <a:cubicBezTo>
                  <a:pt x="2528" y="180"/>
                  <a:pt x="2528" y="180"/>
                  <a:pt x="2528" y="180"/>
                </a:cubicBezTo>
                <a:cubicBezTo>
                  <a:pt x="2430" y="180"/>
                  <a:pt x="2430" y="180"/>
                  <a:pt x="2430" y="180"/>
                </a:cubicBezTo>
                <a:cubicBezTo>
                  <a:pt x="2430" y="192"/>
                  <a:pt x="2430" y="192"/>
                  <a:pt x="2430" y="192"/>
                </a:cubicBezTo>
                <a:cubicBezTo>
                  <a:pt x="2454" y="194"/>
                  <a:pt x="2466" y="206"/>
                  <a:pt x="2458" y="234"/>
                </a:cubicBezTo>
                <a:cubicBezTo>
                  <a:pt x="2406" y="390"/>
                  <a:pt x="2406" y="390"/>
                  <a:pt x="2406" y="390"/>
                </a:cubicBezTo>
                <a:cubicBezTo>
                  <a:pt x="2354" y="270"/>
                  <a:pt x="2354" y="270"/>
                  <a:pt x="2354" y="270"/>
                </a:cubicBezTo>
                <a:cubicBezTo>
                  <a:pt x="2340" y="238"/>
                  <a:pt x="2334" y="224"/>
                  <a:pt x="2334" y="212"/>
                </a:cubicBezTo>
                <a:cubicBezTo>
                  <a:pt x="2334" y="202"/>
                  <a:pt x="2340" y="196"/>
                  <a:pt x="2360" y="192"/>
                </a:cubicBezTo>
                <a:cubicBezTo>
                  <a:pt x="2360" y="180"/>
                  <a:pt x="2360" y="180"/>
                  <a:pt x="2360" y="180"/>
                </a:cubicBezTo>
                <a:cubicBezTo>
                  <a:pt x="2234" y="180"/>
                  <a:pt x="2234" y="180"/>
                  <a:pt x="2234" y="180"/>
                </a:cubicBezTo>
                <a:cubicBezTo>
                  <a:pt x="2234" y="192"/>
                  <a:pt x="2234" y="192"/>
                  <a:pt x="2234" y="192"/>
                </a:cubicBezTo>
                <a:cubicBezTo>
                  <a:pt x="2266" y="194"/>
                  <a:pt x="2268" y="198"/>
                  <a:pt x="2310" y="292"/>
                </a:cubicBezTo>
                <a:cubicBezTo>
                  <a:pt x="2382" y="450"/>
                  <a:pt x="2382" y="450"/>
                  <a:pt x="2382" y="450"/>
                </a:cubicBezTo>
                <a:cubicBezTo>
                  <a:pt x="2358" y="512"/>
                  <a:pt x="2320" y="546"/>
                  <a:pt x="2242" y="564"/>
                </a:cubicBezTo>
                <a:cubicBezTo>
                  <a:pt x="2246" y="576"/>
                  <a:pt x="2260" y="600"/>
                  <a:pt x="2268" y="606"/>
                </a:cubicBezTo>
                <a:cubicBezTo>
                  <a:pt x="2370" y="564"/>
                  <a:pt x="2390" y="498"/>
                  <a:pt x="2426" y="396"/>
                </a:cubicBezTo>
                <a:lnTo>
                  <a:pt x="2478" y="242"/>
                </a:lnTo>
                <a:close/>
                <a:moveTo>
                  <a:pt x="2844" y="394"/>
                </a:moveTo>
                <a:cubicBezTo>
                  <a:pt x="2822" y="412"/>
                  <a:pt x="2782" y="416"/>
                  <a:pt x="2750" y="416"/>
                </a:cubicBezTo>
                <a:cubicBezTo>
                  <a:pt x="2670" y="416"/>
                  <a:pt x="2606" y="360"/>
                  <a:pt x="2606" y="284"/>
                </a:cubicBezTo>
                <a:cubicBezTo>
                  <a:pt x="2606" y="236"/>
                  <a:pt x="2626" y="206"/>
                  <a:pt x="2658" y="198"/>
                </a:cubicBezTo>
                <a:cubicBezTo>
                  <a:pt x="2698" y="266"/>
                  <a:pt x="2770" y="338"/>
                  <a:pt x="2844" y="394"/>
                </a:cubicBezTo>
                <a:moveTo>
                  <a:pt x="2928" y="448"/>
                </a:moveTo>
                <a:cubicBezTo>
                  <a:pt x="3022" y="448"/>
                  <a:pt x="3022" y="448"/>
                  <a:pt x="3022" y="448"/>
                </a:cubicBezTo>
                <a:cubicBezTo>
                  <a:pt x="3022" y="436"/>
                  <a:pt x="3022" y="436"/>
                  <a:pt x="3022" y="436"/>
                </a:cubicBezTo>
                <a:cubicBezTo>
                  <a:pt x="2992" y="432"/>
                  <a:pt x="2946" y="408"/>
                  <a:pt x="2896" y="372"/>
                </a:cubicBezTo>
                <a:cubicBezTo>
                  <a:pt x="2914" y="342"/>
                  <a:pt x="2918" y="300"/>
                  <a:pt x="2922" y="270"/>
                </a:cubicBezTo>
                <a:cubicBezTo>
                  <a:pt x="2926" y="244"/>
                  <a:pt x="2946" y="244"/>
                  <a:pt x="2958" y="242"/>
                </a:cubicBezTo>
                <a:cubicBezTo>
                  <a:pt x="2958" y="230"/>
                  <a:pt x="2958" y="230"/>
                  <a:pt x="2958" y="230"/>
                </a:cubicBezTo>
                <a:cubicBezTo>
                  <a:pt x="2834" y="230"/>
                  <a:pt x="2834" y="230"/>
                  <a:pt x="2834" y="230"/>
                </a:cubicBezTo>
                <a:cubicBezTo>
                  <a:pt x="2834" y="242"/>
                  <a:pt x="2834" y="242"/>
                  <a:pt x="2834" y="242"/>
                </a:cubicBezTo>
                <a:cubicBezTo>
                  <a:pt x="2864" y="246"/>
                  <a:pt x="2892" y="250"/>
                  <a:pt x="2892" y="294"/>
                </a:cubicBezTo>
                <a:cubicBezTo>
                  <a:pt x="2892" y="318"/>
                  <a:pt x="2888" y="342"/>
                  <a:pt x="2878" y="358"/>
                </a:cubicBezTo>
                <a:cubicBezTo>
                  <a:pt x="2770" y="274"/>
                  <a:pt x="2670" y="156"/>
                  <a:pt x="2670" y="96"/>
                </a:cubicBezTo>
                <a:cubicBezTo>
                  <a:pt x="2670" y="66"/>
                  <a:pt x="2688" y="54"/>
                  <a:pt x="2716" y="54"/>
                </a:cubicBezTo>
                <a:cubicBezTo>
                  <a:pt x="2752" y="54"/>
                  <a:pt x="2784" y="78"/>
                  <a:pt x="2800" y="124"/>
                </a:cubicBezTo>
                <a:cubicBezTo>
                  <a:pt x="2812" y="124"/>
                  <a:pt x="2812" y="124"/>
                  <a:pt x="2812" y="124"/>
                </a:cubicBezTo>
                <a:cubicBezTo>
                  <a:pt x="2810" y="42"/>
                  <a:pt x="2810" y="42"/>
                  <a:pt x="2810" y="42"/>
                </a:cubicBezTo>
                <a:cubicBezTo>
                  <a:pt x="2798" y="42"/>
                  <a:pt x="2798" y="42"/>
                  <a:pt x="2798" y="42"/>
                </a:cubicBezTo>
                <a:cubicBezTo>
                  <a:pt x="2798" y="48"/>
                  <a:pt x="2792" y="52"/>
                  <a:pt x="2788" y="52"/>
                </a:cubicBezTo>
                <a:cubicBezTo>
                  <a:pt x="2772" y="52"/>
                  <a:pt x="2752" y="36"/>
                  <a:pt x="2714" y="36"/>
                </a:cubicBezTo>
                <a:cubicBezTo>
                  <a:pt x="2672" y="36"/>
                  <a:pt x="2630" y="62"/>
                  <a:pt x="2630" y="118"/>
                </a:cubicBezTo>
                <a:cubicBezTo>
                  <a:pt x="2630" y="140"/>
                  <a:pt x="2636" y="160"/>
                  <a:pt x="2648" y="182"/>
                </a:cubicBezTo>
                <a:cubicBezTo>
                  <a:pt x="2592" y="200"/>
                  <a:pt x="2562" y="248"/>
                  <a:pt x="2562" y="304"/>
                </a:cubicBezTo>
                <a:cubicBezTo>
                  <a:pt x="2562" y="406"/>
                  <a:pt x="2640" y="460"/>
                  <a:pt x="2726" y="460"/>
                </a:cubicBezTo>
                <a:cubicBezTo>
                  <a:pt x="2780" y="460"/>
                  <a:pt x="2824" y="444"/>
                  <a:pt x="2862" y="410"/>
                </a:cubicBezTo>
                <a:cubicBezTo>
                  <a:pt x="2888" y="424"/>
                  <a:pt x="2912" y="442"/>
                  <a:pt x="2928" y="448"/>
                </a:cubicBezTo>
                <a:moveTo>
                  <a:pt x="3094" y="212"/>
                </a:moveTo>
                <a:cubicBezTo>
                  <a:pt x="3094" y="88"/>
                  <a:pt x="3154" y="20"/>
                  <a:pt x="3252" y="20"/>
                </a:cubicBezTo>
                <a:cubicBezTo>
                  <a:pt x="3328" y="20"/>
                  <a:pt x="3372" y="58"/>
                  <a:pt x="3392" y="134"/>
                </a:cubicBezTo>
                <a:cubicBezTo>
                  <a:pt x="3404" y="134"/>
                  <a:pt x="3404" y="134"/>
                  <a:pt x="3404" y="134"/>
                </a:cubicBezTo>
                <a:cubicBezTo>
                  <a:pt x="3400" y="4"/>
                  <a:pt x="3400" y="4"/>
                  <a:pt x="3400" y="4"/>
                </a:cubicBezTo>
                <a:cubicBezTo>
                  <a:pt x="3388" y="4"/>
                  <a:pt x="3388" y="4"/>
                  <a:pt x="3388" y="4"/>
                </a:cubicBezTo>
                <a:cubicBezTo>
                  <a:pt x="3384" y="14"/>
                  <a:pt x="3376" y="18"/>
                  <a:pt x="3364" y="18"/>
                </a:cubicBezTo>
                <a:cubicBezTo>
                  <a:pt x="3338" y="18"/>
                  <a:pt x="3314" y="0"/>
                  <a:pt x="3248" y="0"/>
                </a:cubicBezTo>
                <a:cubicBezTo>
                  <a:pt x="3118" y="0"/>
                  <a:pt x="3030" y="102"/>
                  <a:pt x="3030" y="242"/>
                </a:cubicBezTo>
                <a:cubicBezTo>
                  <a:pt x="3030" y="376"/>
                  <a:pt x="3110" y="460"/>
                  <a:pt x="3238" y="460"/>
                </a:cubicBezTo>
                <a:cubicBezTo>
                  <a:pt x="3320" y="460"/>
                  <a:pt x="3384" y="420"/>
                  <a:pt x="3408" y="380"/>
                </a:cubicBezTo>
                <a:cubicBezTo>
                  <a:pt x="3396" y="366"/>
                  <a:pt x="3396" y="366"/>
                  <a:pt x="3396" y="366"/>
                </a:cubicBezTo>
                <a:cubicBezTo>
                  <a:pt x="3370" y="402"/>
                  <a:pt x="3314" y="426"/>
                  <a:pt x="3256" y="426"/>
                </a:cubicBezTo>
                <a:cubicBezTo>
                  <a:pt x="3156" y="426"/>
                  <a:pt x="3094" y="340"/>
                  <a:pt x="3094" y="212"/>
                </a:cubicBezTo>
                <a:moveTo>
                  <a:pt x="3678" y="328"/>
                </a:moveTo>
                <a:cubicBezTo>
                  <a:pt x="3678" y="392"/>
                  <a:pt x="3650" y="430"/>
                  <a:pt x="3592" y="430"/>
                </a:cubicBezTo>
                <a:cubicBezTo>
                  <a:pt x="3542" y="430"/>
                  <a:pt x="3496" y="384"/>
                  <a:pt x="3496" y="292"/>
                </a:cubicBezTo>
                <a:cubicBezTo>
                  <a:pt x="3496" y="226"/>
                  <a:pt x="3528" y="190"/>
                  <a:pt x="3580" y="190"/>
                </a:cubicBezTo>
                <a:cubicBezTo>
                  <a:pt x="3628" y="192"/>
                  <a:pt x="3678" y="238"/>
                  <a:pt x="3678" y="328"/>
                </a:cubicBezTo>
                <a:moveTo>
                  <a:pt x="3732" y="312"/>
                </a:moveTo>
                <a:cubicBezTo>
                  <a:pt x="3732" y="260"/>
                  <a:pt x="3710" y="214"/>
                  <a:pt x="3672" y="190"/>
                </a:cubicBezTo>
                <a:cubicBezTo>
                  <a:pt x="3650" y="176"/>
                  <a:pt x="3620" y="168"/>
                  <a:pt x="3588" y="168"/>
                </a:cubicBezTo>
                <a:cubicBezTo>
                  <a:pt x="3502" y="168"/>
                  <a:pt x="3442" y="230"/>
                  <a:pt x="3442" y="310"/>
                </a:cubicBezTo>
                <a:cubicBezTo>
                  <a:pt x="3442" y="364"/>
                  <a:pt x="3464" y="408"/>
                  <a:pt x="3502" y="432"/>
                </a:cubicBezTo>
                <a:cubicBezTo>
                  <a:pt x="3524" y="446"/>
                  <a:pt x="3554" y="452"/>
                  <a:pt x="3586" y="452"/>
                </a:cubicBezTo>
                <a:cubicBezTo>
                  <a:pt x="3672" y="454"/>
                  <a:pt x="3732" y="394"/>
                  <a:pt x="3732" y="312"/>
                </a:cubicBezTo>
                <a:moveTo>
                  <a:pt x="4136" y="448"/>
                </a:moveTo>
                <a:cubicBezTo>
                  <a:pt x="4280" y="448"/>
                  <a:pt x="4280" y="448"/>
                  <a:pt x="4280" y="448"/>
                </a:cubicBezTo>
                <a:cubicBezTo>
                  <a:pt x="4280" y="436"/>
                  <a:pt x="4280" y="436"/>
                  <a:pt x="4280" y="436"/>
                </a:cubicBezTo>
                <a:cubicBezTo>
                  <a:pt x="4230" y="434"/>
                  <a:pt x="4232" y="426"/>
                  <a:pt x="4232" y="348"/>
                </a:cubicBezTo>
                <a:cubicBezTo>
                  <a:pt x="4232" y="276"/>
                  <a:pt x="4232" y="276"/>
                  <a:pt x="4232" y="276"/>
                </a:cubicBezTo>
                <a:cubicBezTo>
                  <a:pt x="4232" y="200"/>
                  <a:pt x="4190" y="172"/>
                  <a:pt x="4142" y="172"/>
                </a:cubicBezTo>
                <a:cubicBezTo>
                  <a:pt x="4098" y="172"/>
                  <a:pt x="4064" y="196"/>
                  <a:pt x="4038" y="232"/>
                </a:cubicBezTo>
                <a:cubicBezTo>
                  <a:pt x="4028" y="194"/>
                  <a:pt x="4000" y="172"/>
                  <a:pt x="3954" y="172"/>
                </a:cubicBezTo>
                <a:cubicBezTo>
                  <a:pt x="3916" y="172"/>
                  <a:pt x="3880" y="196"/>
                  <a:pt x="3858" y="224"/>
                </a:cubicBezTo>
                <a:cubicBezTo>
                  <a:pt x="3858" y="176"/>
                  <a:pt x="3858" y="176"/>
                  <a:pt x="3858" y="176"/>
                </a:cubicBezTo>
                <a:cubicBezTo>
                  <a:pt x="3756" y="176"/>
                  <a:pt x="3756" y="176"/>
                  <a:pt x="3756" y="176"/>
                </a:cubicBezTo>
                <a:cubicBezTo>
                  <a:pt x="3756" y="188"/>
                  <a:pt x="3756" y="188"/>
                  <a:pt x="3756" y="188"/>
                </a:cubicBezTo>
                <a:cubicBezTo>
                  <a:pt x="3800" y="190"/>
                  <a:pt x="3806" y="192"/>
                  <a:pt x="3806" y="268"/>
                </a:cubicBezTo>
                <a:cubicBezTo>
                  <a:pt x="3806" y="346"/>
                  <a:pt x="3806" y="346"/>
                  <a:pt x="3806" y="346"/>
                </a:cubicBezTo>
                <a:cubicBezTo>
                  <a:pt x="3806" y="434"/>
                  <a:pt x="3804" y="434"/>
                  <a:pt x="3758" y="434"/>
                </a:cubicBezTo>
                <a:cubicBezTo>
                  <a:pt x="3758" y="446"/>
                  <a:pt x="3758" y="446"/>
                  <a:pt x="3758" y="446"/>
                </a:cubicBezTo>
                <a:cubicBezTo>
                  <a:pt x="3902" y="446"/>
                  <a:pt x="3902" y="446"/>
                  <a:pt x="3902" y="446"/>
                </a:cubicBezTo>
                <a:cubicBezTo>
                  <a:pt x="3902" y="434"/>
                  <a:pt x="3902" y="434"/>
                  <a:pt x="3902" y="434"/>
                </a:cubicBezTo>
                <a:cubicBezTo>
                  <a:pt x="3862" y="430"/>
                  <a:pt x="3858" y="430"/>
                  <a:pt x="3858" y="342"/>
                </a:cubicBezTo>
                <a:cubicBezTo>
                  <a:pt x="3858" y="262"/>
                  <a:pt x="3858" y="262"/>
                  <a:pt x="3858" y="262"/>
                </a:cubicBezTo>
                <a:cubicBezTo>
                  <a:pt x="3858" y="234"/>
                  <a:pt x="3894" y="204"/>
                  <a:pt x="3932" y="204"/>
                </a:cubicBezTo>
                <a:cubicBezTo>
                  <a:pt x="3974" y="204"/>
                  <a:pt x="3990" y="226"/>
                  <a:pt x="3990" y="282"/>
                </a:cubicBezTo>
                <a:cubicBezTo>
                  <a:pt x="3990" y="338"/>
                  <a:pt x="3990" y="338"/>
                  <a:pt x="3990" y="338"/>
                </a:cubicBezTo>
                <a:cubicBezTo>
                  <a:pt x="3990" y="428"/>
                  <a:pt x="3988" y="432"/>
                  <a:pt x="3950" y="436"/>
                </a:cubicBezTo>
                <a:cubicBezTo>
                  <a:pt x="3950" y="448"/>
                  <a:pt x="3950" y="448"/>
                  <a:pt x="3950" y="448"/>
                </a:cubicBezTo>
                <a:cubicBezTo>
                  <a:pt x="4086" y="448"/>
                  <a:pt x="4086" y="448"/>
                  <a:pt x="4086" y="448"/>
                </a:cubicBezTo>
                <a:cubicBezTo>
                  <a:pt x="4086" y="436"/>
                  <a:pt x="4086" y="436"/>
                  <a:pt x="4086" y="436"/>
                </a:cubicBezTo>
                <a:cubicBezTo>
                  <a:pt x="4040" y="432"/>
                  <a:pt x="4042" y="428"/>
                  <a:pt x="4042" y="342"/>
                </a:cubicBezTo>
                <a:cubicBezTo>
                  <a:pt x="4042" y="264"/>
                  <a:pt x="4042" y="264"/>
                  <a:pt x="4042" y="264"/>
                </a:cubicBezTo>
                <a:cubicBezTo>
                  <a:pt x="4042" y="236"/>
                  <a:pt x="4078" y="206"/>
                  <a:pt x="4118" y="206"/>
                </a:cubicBezTo>
                <a:cubicBezTo>
                  <a:pt x="4152" y="206"/>
                  <a:pt x="4174" y="226"/>
                  <a:pt x="4174" y="284"/>
                </a:cubicBezTo>
                <a:cubicBezTo>
                  <a:pt x="4174" y="346"/>
                  <a:pt x="4174" y="346"/>
                  <a:pt x="4174" y="346"/>
                </a:cubicBezTo>
                <a:cubicBezTo>
                  <a:pt x="4174" y="428"/>
                  <a:pt x="4174" y="432"/>
                  <a:pt x="4134" y="436"/>
                </a:cubicBezTo>
                <a:cubicBezTo>
                  <a:pt x="4134" y="448"/>
                  <a:pt x="4134" y="448"/>
                  <a:pt x="4134" y="448"/>
                </a:cubicBezTo>
                <a:lnTo>
                  <a:pt x="4136" y="448"/>
                </a:lnTo>
                <a:close/>
                <a:moveTo>
                  <a:pt x="4546" y="316"/>
                </a:moveTo>
                <a:cubicBezTo>
                  <a:pt x="4546" y="388"/>
                  <a:pt x="4516" y="432"/>
                  <a:pt x="4460" y="432"/>
                </a:cubicBezTo>
                <a:cubicBezTo>
                  <a:pt x="4424" y="432"/>
                  <a:pt x="4384" y="412"/>
                  <a:pt x="4384" y="384"/>
                </a:cubicBezTo>
                <a:cubicBezTo>
                  <a:pt x="4384" y="248"/>
                  <a:pt x="4384" y="248"/>
                  <a:pt x="4384" y="248"/>
                </a:cubicBezTo>
                <a:cubicBezTo>
                  <a:pt x="4384" y="226"/>
                  <a:pt x="4416" y="202"/>
                  <a:pt x="4454" y="202"/>
                </a:cubicBezTo>
                <a:cubicBezTo>
                  <a:pt x="4510" y="206"/>
                  <a:pt x="4546" y="248"/>
                  <a:pt x="4546" y="316"/>
                </a:cubicBezTo>
                <a:moveTo>
                  <a:pt x="4600" y="310"/>
                </a:moveTo>
                <a:cubicBezTo>
                  <a:pt x="4600" y="230"/>
                  <a:pt x="4548" y="170"/>
                  <a:pt x="4478" y="170"/>
                </a:cubicBezTo>
                <a:cubicBezTo>
                  <a:pt x="4438" y="170"/>
                  <a:pt x="4406" y="188"/>
                  <a:pt x="4384" y="214"/>
                </a:cubicBezTo>
                <a:cubicBezTo>
                  <a:pt x="4384" y="174"/>
                  <a:pt x="4384" y="174"/>
                  <a:pt x="4384" y="174"/>
                </a:cubicBezTo>
                <a:cubicBezTo>
                  <a:pt x="4284" y="174"/>
                  <a:pt x="4284" y="174"/>
                  <a:pt x="4284" y="174"/>
                </a:cubicBezTo>
                <a:cubicBezTo>
                  <a:pt x="4284" y="186"/>
                  <a:pt x="4284" y="186"/>
                  <a:pt x="4284" y="186"/>
                </a:cubicBezTo>
                <a:cubicBezTo>
                  <a:pt x="4326" y="188"/>
                  <a:pt x="4332" y="190"/>
                  <a:pt x="4332" y="280"/>
                </a:cubicBezTo>
                <a:cubicBezTo>
                  <a:pt x="4332" y="466"/>
                  <a:pt x="4332" y="466"/>
                  <a:pt x="4332" y="466"/>
                </a:cubicBezTo>
                <a:cubicBezTo>
                  <a:pt x="4332" y="564"/>
                  <a:pt x="4334" y="570"/>
                  <a:pt x="4286" y="574"/>
                </a:cubicBezTo>
                <a:cubicBezTo>
                  <a:pt x="4286" y="588"/>
                  <a:pt x="4286" y="588"/>
                  <a:pt x="4286" y="588"/>
                </a:cubicBezTo>
                <a:cubicBezTo>
                  <a:pt x="4432" y="588"/>
                  <a:pt x="4432" y="588"/>
                  <a:pt x="4432" y="588"/>
                </a:cubicBezTo>
                <a:cubicBezTo>
                  <a:pt x="4432" y="574"/>
                  <a:pt x="4432" y="574"/>
                  <a:pt x="4432" y="574"/>
                </a:cubicBezTo>
                <a:cubicBezTo>
                  <a:pt x="4380" y="572"/>
                  <a:pt x="4384" y="564"/>
                  <a:pt x="4384" y="462"/>
                </a:cubicBezTo>
                <a:cubicBezTo>
                  <a:pt x="4384" y="424"/>
                  <a:pt x="4384" y="424"/>
                  <a:pt x="4384" y="424"/>
                </a:cubicBezTo>
                <a:cubicBezTo>
                  <a:pt x="4404" y="444"/>
                  <a:pt x="4436" y="454"/>
                  <a:pt x="4466" y="454"/>
                </a:cubicBezTo>
                <a:cubicBezTo>
                  <a:pt x="4548" y="454"/>
                  <a:pt x="4600" y="392"/>
                  <a:pt x="4600" y="310"/>
                </a:cubicBezTo>
                <a:moveTo>
                  <a:pt x="4792" y="382"/>
                </a:moveTo>
                <a:cubicBezTo>
                  <a:pt x="4792" y="404"/>
                  <a:pt x="4762" y="424"/>
                  <a:pt x="4736" y="424"/>
                </a:cubicBezTo>
                <a:cubicBezTo>
                  <a:pt x="4712" y="424"/>
                  <a:pt x="4694" y="410"/>
                  <a:pt x="4694" y="378"/>
                </a:cubicBezTo>
                <a:cubicBezTo>
                  <a:pt x="4694" y="322"/>
                  <a:pt x="4752" y="328"/>
                  <a:pt x="4792" y="306"/>
                </a:cubicBezTo>
                <a:cubicBezTo>
                  <a:pt x="4792" y="382"/>
                  <a:pt x="4792" y="382"/>
                  <a:pt x="4792" y="382"/>
                </a:cubicBezTo>
                <a:close/>
                <a:moveTo>
                  <a:pt x="5240" y="434"/>
                </a:moveTo>
                <a:cubicBezTo>
                  <a:pt x="5192" y="432"/>
                  <a:pt x="5192" y="430"/>
                  <a:pt x="5192" y="340"/>
                </a:cubicBezTo>
                <a:cubicBezTo>
                  <a:pt x="5192" y="278"/>
                  <a:pt x="5192" y="278"/>
                  <a:pt x="5192" y="278"/>
                </a:cubicBezTo>
                <a:cubicBezTo>
                  <a:pt x="5192" y="196"/>
                  <a:pt x="5146" y="170"/>
                  <a:pt x="5104" y="170"/>
                </a:cubicBezTo>
                <a:cubicBezTo>
                  <a:pt x="5068" y="170"/>
                  <a:pt x="5032" y="186"/>
                  <a:pt x="5004" y="222"/>
                </a:cubicBezTo>
                <a:cubicBezTo>
                  <a:pt x="5004" y="174"/>
                  <a:pt x="5004" y="174"/>
                  <a:pt x="5004" y="174"/>
                </a:cubicBezTo>
                <a:cubicBezTo>
                  <a:pt x="4902" y="174"/>
                  <a:pt x="4902" y="174"/>
                  <a:pt x="4902" y="174"/>
                </a:cubicBezTo>
                <a:cubicBezTo>
                  <a:pt x="4902" y="186"/>
                  <a:pt x="4902" y="186"/>
                  <a:pt x="4902" y="186"/>
                </a:cubicBezTo>
                <a:cubicBezTo>
                  <a:pt x="4946" y="188"/>
                  <a:pt x="4952" y="190"/>
                  <a:pt x="4952" y="266"/>
                </a:cubicBezTo>
                <a:cubicBezTo>
                  <a:pt x="4952" y="334"/>
                  <a:pt x="4952" y="334"/>
                  <a:pt x="4952" y="334"/>
                </a:cubicBezTo>
                <a:cubicBezTo>
                  <a:pt x="4952" y="430"/>
                  <a:pt x="4952" y="432"/>
                  <a:pt x="4904" y="434"/>
                </a:cubicBezTo>
                <a:cubicBezTo>
                  <a:pt x="4892" y="434"/>
                  <a:pt x="4892" y="434"/>
                  <a:pt x="4892" y="434"/>
                </a:cubicBezTo>
                <a:cubicBezTo>
                  <a:pt x="4854" y="434"/>
                  <a:pt x="4850" y="422"/>
                  <a:pt x="4850" y="366"/>
                </a:cubicBezTo>
                <a:cubicBezTo>
                  <a:pt x="4850" y="274"/>
                  <a:pt x="4850" y="274"/>
                  <a:pt x="4850" y="274"/>
                </a:cubicBezTo>
                <a:cubicBezTo>
                  <a:pt x="4850" y="256"/>
                  <a:pt x="4848" y="240"/>
                  <a:pt x="4844" y="228"/>
                </a:cubicBezTo>
                <a:cubicBezTo>
                  <a:pt x="4830" y="186"/>
                  <a:pt x="4796" y="170"/>
                  <a:pt x="4748" y="170"/>
                </a:cubicBezTo>
                <a:cubicBezTo>
                  <a:pt x="4718" y="170"/>
                  <a:pt x="4674" y="180"/>
                  <a:pt x="4650" y="202"/>
                </a:cubicBezTo>
                <a:cubicBezTo>
                  <a:pt x="4652" y="214"/>
                  <a:pt x="4664" y="240"/>
                  <a:pt x="4670" y="248"/>
                </a:cubicBezTo>
                <a:cubicBezTo>
                  <a:pt x="4676" y="246"/>
                  <a:pt x="4676" y="246"/>
                  <a:pt x="4676" y="246"/>
                </a:cubicBezTo>
                <a:cubicBezTo>
                  <a:pt x="4688" y="216"/>
                  <a:pt x="4708" y="194"/>
                  <a:pt x="4742" y="194"/>
                </a:cubicBezTo>
                <a:cubicBezTo>
                  <a:pt x="4778" y="194"/>
                  <a:pt x="4794" y="220"/>
                  <a:pt x="4794" y="250"/>
                </a:cubicBezTo>
                <a:cubicBezTo>
                  <a:pt x="4794" y="282"/>
                  <a:pt x="4794" y="282"/>
                  <a:pt x="4794" y="282"/>
                </a:cubicBezTo>
                <a:cubicBezTo>
                  <a:pt x="4794" y="302"/>
                  <a:pt x="4702" y="306"/>
                  <a:pt x="4664" y="338"/>
                </a:cubicBezTo>
                <a:cubicBezTo>
                  <a:pt x="4652" y="350"/>
                  <a:pt x="4642" y="364"/>
                  <a:pt x="4642" y="384"/>
                </a:cubicBezTo>
                <a:cubicBezTo>
                  <a:pt x="4642" y="426"/>
                  <a:pt x="4672" y="456"/>
                  <a:pt x="4716" y="456"/>
                </a:cubicBezTo>
                <a:cubicBezTo>
                  <a:pt x="4744" y="456"/>
                  <a:pt x="4768" y="446"/>
                  <a:pt x="4794" y="418"/>
                </a:cubicBezTo>
                <a:cubicBezTo>
                  <a:pt x="4798" y="438"/>
                  <a:pt x="4814" y="448"/>
                  <a:pt x="4842" y="448"/>
                </a:cubicBezTo>
                <a:cubicBezTo>
                  <a:pt x="4906" y="448"/>
                  <a:pt x="4906" y="448"/>
                  <a:pt x="4906" y="448"/>
                </a:cubicBezTo>
                <a:cubicBezTo>
                  <a:pt x="4906" y="448"/>
                  <a:pt x="4906" y="448"/>
                  <a:pt x="4906" y="448"/>
                </a:cubicBezTo>
                <a:cubicBezTo>
                  <a:pt x="5048" y="448"/>
                  <a:pt x="5048" y="448"/>
                  <a:pt x="5048" y="448"/>
                </a:cubicBezTo>
                <a:cubicBezTo>
                  <a:pt x="5048" y="436"/>
                  <a:pt x="5048" y="436"/>
                  <a:pt x="5048" y="436"/>
                </a:cubicBezTo>
                <a:cubicBezTo>
                  <a:pt x="5006" y="432"/>
                  <a:pt x="5004" y="434"/>
                  <a:pt x="5004" y="338"/>
                </a:cubicBezTo>
                <a:cubicBezTo>
                  <a:pt x="5004" y="262"/>
                  <a:pt x="5004" y="262"/>
                  <a:pt x="5004" y="262"/>
                </a:cubicBezTo>
                <a:cubicBezTo>
                  <a:pt x="5004" y="236"/>
                  <a:pt x="5038" y="206"/>
                  <a:pt x="5080" y="206"/>
                </a:cubicBezTo>
                <a:cubicBezTo>
                  <a:pt x="5114" y="206"/>
                  <a:pt x="5140" y="220"/>
                  <a:pt x="5140" y="286"/>
                </a:cubicBezTo>
                <a:cubicBezTo>
                  <a:pt x="5140" y="340"/>
                  <a:pt x="5140" y="340"/>
                  <a:pt x="5140" y="340"/>
                </a:cubicBezTo>
                <a:cubicBezTo>
                  <a:pt x="5140" y="432"/>
                  <a:pt x="5136" y="432"/>
                  <a:pt x="5098" y="434"/>
                </a:cubicBezTo>
                <a:cubicBezTo>
                  <a:pt x="5098" y="446"/>
                  <a:pt x="5098" y="446"/>
                  <a:pt x="5098" y="446"/>
                </a:cubicBezTo>
                <a:cubicBezTo>
                  <a:pt x="5240" y="446"/>
                  <a:pt x="5240" y="446"/>
                  <a:pt x="5240" y="446"/>
                </a:cubicBezTo>
                <a:lnTo>
                  <a:pt x="5240" y="434"/>
                </a:lnTo>
                <a:close/>
                <a:moveTo>
                  <a:pt x="5516" y="192"/>
                </a:moveTo>
                <a:cubicBezTo>
                  <a:pt x="5516" y="180"/>
                  <a:pt x="5516" y="180"/>
                  <a:pt x="5516" y="180"/>
                </a:cubicBezTo>
                <a:cubicBezTo>
                  <a:pt x="5418" y="180"/>
                  <a:pt x="5418" y="180"/>
                  <a:pt x="5418" y="180"/>
                </a:cubicBezTo>
                <a:cubicBezTo>
                  <a:pt x="5418" y="192"/>
                  <a:pt x="5418" y="192"/>
                  <a:pt x="5418" y="192"/>
                </a:cubicBezTo>
                <a:cubicBezTo>
                  <a:pt x="5442" y="194"/>
                  <a:pt x="5454" y="206"/>
                  <a:pt x="5446" y="234"/>
                </a:cubicBezTo>
                <a:cubicBezTo>
                  <a:pt x="5394" y="390"/>
                  <a:pt x="5394" y="390"/>
                  <a:pt x="5394" y="390"/>
                </a:cubicBezTo>
                <a:cubicBezTo>
                  <a:pt x="5342" y="270"/>
                  <a:pt x="5342" y="270"/>
                  <a:pt x="5342" y="270"/>
                </a:cubicBezTo>
                <a:cubicBezTo>
                  <a:pt x="5328" y="238"/>
                  <a:pt x="5322" y="224"/>
                  <a:pt x="5322" y="212"/>
                </a:cubicBezTo>
                <a:cubicBezTo>
                  <a:pt x="5322" y="202"/>
                  <a:pt x="5328" y="196"/>
                  <a:pt x="5348" y="192"/>
                </a:cubicBezTo>
                <a:cubicBezTo>
                  <a:pt x="5348" y="180"/>
                  <a:pt x="5348" y="180"/>
                  <a:pt x="5348" y="180"/>
                </a:cubicBezTo>
                <a:cubicBezTo>
                  <a:pt x="5220" y="180"/>
                  <a:pt x="5220" y="180"/>
                  <a:pt x="5220" y="180"/>
                </a:cubicBezTo>
                <a:cubicBezTo>
                  <a:pt x="5220" y="192"/>
                  <a:pt x="5220" y="192"/>
                  <a:pt x="5220" y="192"/>
                </a:cubicBezTo>
                <a:cubicBezTo>
                  <a:pt x="5252" y="194"/>
                  <a:pt x="5254" y="198"/>
                  <a:pt x="5296" y="292"/>
                </a:cubicBezTo>
                <a:cubicBezTo>
                  <a:pt x="5368" y="450"/>
                  <a:pt x="5368" y="450"/>
                  <a:pt x="5368" y="450"/>
                </a:cubicBezTo>
                <a:cubicBezTo>
                  <a:pt x="5344" y="512"/>
                  <a:pt x="5306" y="546"/>
                  <a:pt x="5228" y="564"/>
                </a:cubicBezTo>
                <a:cubicBezTo>
                  <a:pt x="5232" y="576"/>
                  <a:pt x="5246" y="600"/>
                  <a:pt x="5254" y="606"/>
                </a:cubicBezTo>
                <a:cubicBezTo>
                  <a:pt x="5356" y="564"/>
                  <a:pt x="5376" y="498"/>
                  <a:pt x="5412" y="396"/>
                </a:cubicBezTo>
                <a:cubicBezTo>
                  <a:pt x="5466" y="242"/>
                  <a:pt x="5466" y="242"/>
                  <a:pt x="5466" y="242"/>
                </a:cubicBezTo>
                <a:cubicBezTo>
                  <a:pt x="5478" y="206"/>
                  <a:pt x="5498" y="192"/>
                  <a:pt x="5516" y="192"/>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600" kern="1200">
                <a:solidFill>
                  <a:schemeClr val="tx1"/>
                </a:solidFill>
                <a:latin typeface="Arial" charset="0"/>
                <a:ea typeface="+mn-ea"/>
                <a:cs typeface="+mn-cs"/>
              </a:defRPr>
            </a:lvl1pPr>
            <a:lvl2pPr marL="457200" algn="l" rtl="0" fontAlgn="base">
              <a:spcBef>
                <a:spcPct val="0"/>
              </a:spcBef>
              <a:spcAft>
                <a:spcPct val="0"/>
              </a:spcAft>
              <a:defRPr sz="1600" kern="1200">
                <a:solidFill>
                  <a:schemeClr val="tx1"/>
                </a:solidFill>
                <a:latin typeface="Arial" charset="0"/>
                <a:ea typeface="+mn-ea"/>
                <a:cs typeface="+mn-cs"/>
              </a:defRPr>
            </a:lvl2pPr>
            <a:lvl3pPr marL="914400" algn="l" rtl="0" fontAlgn="base">
              <a:spcBef>
                <a:spcPct val="0"/>
              </a:spcBef>
              <a:spcAft>
                <a:spcPct val="0"/>
              </a:spcAft>
              <a:defRPr sz="1600" kern="1200">
                <a:solidFill>
                  <a:schemeClr val="tx1"/>
                </a:solidFill>
                <a:latin typeface="Arial" charset="0"/>
                <a:ea typeface="+mn-ea"/>
                <a:cs typeface="+mn-cs"/>
              </a:defRPr>
            </a:lvl3pPr>
            <a:lvl4pPr marL="1371600" algn="l" rtl="0" fontAlgn="base">
              <a:spcBef>
                <a:spcPct val="0"/>
              </a:spcBef>
              <a:spcAft>
                <a:spcPct val="0"/>
              </a:spcAft>
              <a:defRPr sz="1600" kern="1200">
                <a:solidFill>
                  <a:schemeClr val="tx1"/>
                </a:solidFill>
                <a:latin typeface="Arial" charset="0"/>
                <a:ea typeface="+mn-ea"/>
                <a:cs typeface="+mn-cs"/>
              </a:defRPr>
            </a:lvl4pPr>
            <a:lvl5pPr marL="1828800" algn="l" rtl="0" fontAlgn="base">
              <a:spcBef>
                <a:spcPct val="0"/>
              </a:spcBef>
              <a:spcAft>
                <a:spcPct val="0"/>
              </a:spcAft>
              <a:defRPr sz="1600" kern="1200">
                <a:solidFill>
                  <a:schemeClr val="tx1"/>
                </a:solidFill>
                <a:latin typeface="Arial" charset="0"/>
                <a:ea typeface="+mn-ea"/>
                <a:cs typeface="+mn-cs"/>
              </a:defRPr>
            </a:lvl5pPr>
            <a:lvl6pPr marL="2286000" algn="l" defTabSz="914400" rtl="0" eaLnBrk="1" latinLnBrk="0" hangingPunct="1">
              <a:defRPr sz="1600" kern="1200">
                <a:solidFill>
                  <a:schemeClr val="tx1"/>
                </a:solidFill>
                <a:latin typeface="Arial" charset="0"/>
                <a:ea typeface="+mn-ea"/>
                <a:cs typeface="+mn-cs"/>
              </a:defRPr>
            </a:lvl6pPr>
            <a:lvl7pPr marL="2743200" algn="l" defTabSz="914400" rtl="0" eaLnBrk="1" latinLnBrk="0" hangingPunct="1">
              <a:defRPr sz="1600" kern="1200">
                <a:solidFill>
                  <a:schemeClr val="tx1"/>
                </a:solidFill>
                <a:latin typeface="Arial" charset="0"/>
                <a:ea typeface="+mn-ea"/>
                <a:cs typeface="+mn-cs"/>
              </a:defRPr>
            </a:lvl7pPr>
            <a:lvl8pPr marL="3200400" algn="l" defTabSz="914400" rtl="0" eaLnBrk="1" latinLnBrk="0" hangingPunct="1">
              <a:defRPr sz="1600" kern="1200">
                <a:solidFill>
                  <a:schemeClr val="tx1"/>
                </a:solidFill>
                <a:latin typeface="Arial" charset="0"/>
                <a:ea typeface="+mn-ea"/>
                <a:cs typeface="+mn-cs"/>
              </a:defRPr>
            </a:lvl8pPr>
            <a:lvl9pPr marL="3657600" algn="l" defTabSz="914400" rtl="0" eaLnBrk="1" latinLnBrk="0" hangingPunct="1">
              <a:defRPr sz="1600" kern="1200">
                <a:solidFill>
                  <a:schemeClr val="tx1"/>
                </a:solidFill>
                <a:latin typeface="Arial" charset="0"/>
                <a:ea typeface="+mn-ea"/>
                <a:cs typeface="+mn-cs"/>
              </a:defRPr>
            </a:lvl9pPr>
          </a:lstStyle>
          <a:p>
            <a:endParaRPr lang="en-US" baseline="0" dirty="0">
              <a:solidFill>
                <a:srgbClr val="000000"/>
              </a:solidFill>
              <a:latin typeface="+mn-lt"/>
            </a:endParaRPr>
          </a:p>
        </p:txBody>
      </p:sp>
      <p:sp>
        <p:nvSpPr>
          <p:cNvPr id="27" name="Disclaimer-English (United States)" hidden="1"/>
          <p:cNvSpPr>
            <a:spLocks noChangeArrowheads="1"/>
          </p:cNvSpPr>
          <p:nvPr/>
        </p:nvSpPr>
        <p:spPr bwMode="black">
          <a:xfrm>
            <a:off x="2268266" y="6287785"/>
            <a:ext cx="3544453" cy="36908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t" anchorCtr="0">
            <a:noAutofit/>
          </a:bodyPr>
          <a:lstStyle/>
          <a:p>
            <a:pPr defTabSz="804863" eaLnBrk="0" hangingPunct="0"/>
            <a:r>
              <a:rPr lang="en-US" sz="800" baseline="0" dirty="0">
                <a:solidFill>
                  <a:srgbClr val="FFFFFF"/>
                </a:solidFill>
                <a:latin typeface="+mn-lt"/>
              </a:rPr>
              <a:t>CONFIDENTIAL AND PROPRIETARY</a:t>
            </a:r>
          </a:p>
          <a:p>
            <a:pPr defTabSz="804863" eaLnBrk="0" hangingPunct="0"/>
            <a:r>
              <a:rPr lang="en-US" sz="800" baseline="0" dirty="0">
                <a:solidFill>
                  <a:srgbClr val="FFFFFF"/>
                </a:solidFill>
                <a:latin typeface="+mn-lt"/>
              </a:rPr>
              <a:t>Any use of this material without specific permission of McKinsey &amp; Company is strictly prohibited</a:t>
            </a:r>
          </a:p>
        </p:txBody>
      </p:sp>
    </p:spTree>
    <p:extLst>
      <p:ext uri="{BB962C8B-B14F-4D97-AF65-F5344CB8AC3E}">
        <p14:creationId xmlns:p14="http://schemas.microsoft.com/office/powerpoint/2010/main" val="4261236343"/>
      </p:ext>
    </p:extLst>
  </p:cSld>
  <p:clrMapOvr>
    <a:masterClrMapping/>
  </p:clrMapOvr>
  <p:extLst mod="1">
    <p:ext uri="{DCECCB84-F9BA-43D5-87BE-67443E8EF086}">
      <p15:sldGuideLst xmlns:p15="http://schemas.microsoft.com/office/powerpoint/2012/main">
        <p15:guide id="1" orient="horz" pos="2117">
          <p15:clr>
            <a:srgbClr val="FBAE40"/>
          </p15:clr>
        </p15:guide>
        <p15:guide id="2" pos="1416">
          <p15:clr>
            <a:srgbClr val="FBAE4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6E228F5-5CF1-42E1-9748-97D7582A107A}"/>
              </a:ext>
            </a:extLst>
          </p:cNvPr>
          <p:cNvGraphicFramePr>
            <a:graphicFrameLocks noChangeAspect="1"/>
          </p:cNvGraphicFramePr>
          <p:nvPr>
            <p:custDataLst>
              <p:tags r:id="rId2"/>
            </p:custDataLst>
            <p:extLst>
              <p:ext uri="{D42A27DB-BD31-4B8C-83A1-F6EECF244321}">
                <p14:modId xmlns:p14="http://schemas.microsoft.com/office/powerpoint/2010/main" val="126172780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9412" name="think-cell Slide" r:id="rId5" imgW="353" imgH="353" progId="TCLayout.ActiveDocument.1">
                  <p:embed/>
                </p:oleObj>
              </mc:Choice>
              <mc:Fallback>
                <p:oleObj name="think-cell Slide" r:id="rId5" imgW="353" imgH="353" progId="TCLayout.ActiveDocument.1">
                  <p:embed/>
                  <p:pic>
                    <p:nvPicPr>
                      <p:cNvPr id="3" name="Object 2" hidden="1">
                        <a:extLst>
                          <a:ext uri="{FF2B5EF4-FFF2-40B4-BE49-F238E27FC236}">
                            <a16:creationId xmlns:a16="http://schemas.microsoft.com/office/drawing/2014/main" id="{C6E228F5-5CF1-42E1-9748-97D7582A107A}"/>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2. Slide Title"/>
          <p:cNvSpPr>
            <a:spLocks noGrp="1"/>
          </p:cNvSpPr>
          <p:nvPr>
            <p:ph type="title"/>
          </p:nvPr>
        </p:nvSpPr>
        <p:spPr bwMode="auto"/>
        <p:txBody>
          <a:bodyPr/>
          <a:lstStyle/>
          <a:p>
            <a:r>
              <a:rPr lang="en-US"/>
              <a:t>Click to edit Master title style</a:t>
            </a:r>
            <a:endParaRPr lang="en-US" dirty="0"/>
          </a:p>
        </p:txBody>
      </p:sp>
      <p:sp>
        <p:nvSpPr>
          <p:cNvPr id="8" name="Slide Number"/>
          <p:cNvSpPr txBox="1">
            <a:spLocks/>
          </p:cNvSpPr>
          <p:nvPr/>
        </p:nvSpPr>
        <p:spPr bwMode="auto">
          <a:xfrm>
            <a:off x="8564563" y="6508272"/>
            <a:ext cx="125034" cy="123111"/>
          </a:xfrm>
          <a:prstGeom prst="rect">
            <a:avLst/>
          </a:prstGeom>
        </p:spPr>
        <p:txBody>
          <a:bodyPr vert="horz" wrap="none" lIns="0" tIns="0" rIns="0" bIns="0" rtlCol="0" anchor="ctr">
            <a:spAutoFit/>
          </a:bodyPr>
          <a:lstStyle>
            <a:defPPr>
              <a:defRPr lang="en-US"/>
            </a:defPPr>
            <a:lvl1pPr>
              <a:defRPr sz="1000" baseline="0">
                <a:latin typeface="+mn-lt"/>
              </a:defRPr>
            </a:lvl1pPr>
          </a:lstStyle>
          <a:p>
            <a:fld id="{42C328C1-A84F-4A39-A664-DBA00541A8C6}" type="slidenum">
              <a:rPr lang="en-US" sz="800" baseline="0" smtClean="0">
                <a:solidFill>
                  <a:srgbClr val="808080"/>
                </a:solidFill>
                <a:latin typeface="+mn-lt"/>
              </a:rPr>
              <a:pPr/>
              <a:t>‹#›</a:t>
            </a:fld>
            <a:endParaRPr lang="en-US" sz="800" baseline="0" dirty="0">
              <a:solidFill>
                <a:srgbClr val="808080"/>
              </a:solidFill>
              <a:latin typeface="+mn-lt"/>
            </a:endParaRPr>
          </a:p>
        </p:txBody>
      </p:sp>
      <p:sp>
        <p:nvSpPr>
          <p:cNvPr id="9" name="SlideLogoText"/>
          <p:cNvSpPr>
            <a:spLocks noChangeArrowheads="1"/>
          </p:cNvSpPr>
          <p:nvPr>
            <p:custDataLst>
              <p:tags r:id="rId3"/>
            </p:custDataLst>
          </p:nvPr>
        </p:nvSpPr>
        <p:spPr bwMode="auto">
          <a:xfrm>
            <a:off x="7450817" y="6508272"/>
            <a:ext cx="1013098"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algn="r" defTabSz="895350"/>
            <a:r>
              <a:rPr lang="en-US" sz="800" baseline="0" dirty="0">
                <a:solidFill>
                  <a:srgbClr val="808080"/>
                </a:solidFill>
                <a:latin typeface="+mn-lt"/>
              </a:rPr>
              <a:t>McKinsey &amp; Company</a:t>
            </a:r>
          </a:p>
        </p:txBody>
      </p:sp>
      <p:sp>
        <p:nvSpPr>
          <p:cNvPr id="5" name="doc id" hidden="1"/>
          <p:cNvSpPr txBox="1">
            <a:spLocks noChangeArrowheads="1"/>
          </p:cNvSpPr>
          <p:nvPr/>
        </p:nvSpPr>
        <p:spPr bwMode="white">
          <a:xfrm>
            <a:off x="8104473" y="36513"/>
            <a:ext cx="634716" cy="115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hangingPunct="1">
              <a:defRPr/>
            </a:pPr>
            <a:endParaRPr lang="en-US" sz="800" baseline="0" dirty="0">
              <a:solidFill>
                <a:schemeClr val="accent1"/>
              </a:solidFill>
              <a:latin typeface="+mn-lt"/>
              <a:ea typeface="+mn-ea"/>
            </a:endParaRPr>
          </a:p>
        </p:txBody>
      </p:sp>
    </p:spTree>
    <p:extLst>
      <p:ext uri="{BB962C8B-B14F-4D97-AF65-F5344CB8AC3E}">
        <p14:creationId xmlns:p14="http://schemas.microsoft.com/office/powerpoint/2010/main" val="3146747495"/>
      </p:ext>
    </p:extLst>
  </p:cSld>
  <p:clrMapOvr>
    <a:masterClrMapping/>
  </p:clrMapOvr>
  <p:extLst mod="1">
    <p:ext uri="{DCECCB84-F9BA-43D5-87BE-67443E8EF086}">
      <p15:sldGuideLst xmlns:p15="http://schemas.microsoft.com/office/powerpoint/2012/main">
        <p15:guide id="1" pos="5505">
          <p15:clr>
            <a:srgbClr val="F26B43"/>
          </p15:clr>
        </p15:guide>
        <p15:guide id="2" pos="74">
          <p15:clr>
            <a:srgbClr val="F26B43"/>
          </p15:clr>
        </p15:guide>
        <p15:guide id="3" orient="horz" pos="571">
          <p15:clr>
            <a:srgbClr val="F26B43"/>
          </p15:clr>
        </p15:guide>
        <p15:guide id="4" orient="horz" pos="3911">
          <p15:clr>
            <a:srgbClr val="F26B43"/>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1_Title Only">
    <p:bg>
      <p:bgPr>
        <a:solidFill>
          <a:schemeClr val="accent2"/>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F4AD34F-3B47-47E2-A09C-FFEB949F6A10}"/>
              </a:ext>
            </a:extLst>
          </p:cNvPr>
          <p:cNvGraphicFramePr>
            <a:graphicFrameLocks noChangeAspect="1"/>
          </p:cNvGraphicFramePr>
          <p:nvPr>
            <p:custDataLst>
              <p:tags r:id="rId2"/>
            </p:custDataLst>
            <p:extLst>
              <p:ext uri="{D42A27DB-BD31-4B8C-83A1-F6EECF244321}">
                <p14:modId xmlns:p14="http://schemas.microsoft.com/office/powerpoint/2010/main" val="33629734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0436" name="think-cell Slide" r:id="rId5" imgW="395" imgH="394" progId="TCLayout.ActiveDocument.1">
                  <p:embed/>
                </p:oleObj>
              </mc:Choice>
              <mc:Fallback>
                <p:oleObj name="think-cell Slide" r:id="rId5" imgW="395" imgH="394" progId="TCLayout.ActiveDocument.1">
                  <p:embed/>
                  <p:pic>
                    <p:nvPicPr>
                      <p:cNvPr id="3" name="Object 2" hidden="1">
                        <a:extLst>
                          <a:ext uri="{FF2B5EF4-FFF2-40B4-BE49-F238E27FC236}">
                            <a16:creationId xmlns:a16="http://schemas.microsoft.com/office/drawing/2014/main" id="{EF4AD34F-3B47-47E2-A09C-FFEB949F6A10}"/>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endParaRPr lang="en-US" dirty="0"/>
          </a:p>
        </p:txBody>
      </p:sp>
      <p:sp>
        <p:nvSpPr>
          <p:cNvPr id="15" name="Slide Number"/>
          <p:cNvSpPr txBox="1">
            <a:spLocks/>
          </p:cNvSpPr>
          <p:nvPr/>
        </p:nvSpPr>
        <p:spPr>
          <a:xfrm>
            <a:off x="8564563" y="6508272"/>
            <a:ext cx="125034" cy="123111"/>
          </a:xfrm>
          <a:prstGeom prst="rect">
            <a:avLst/>
          </a:prstGeom>
        </p:spPr>
        <p:txBody>
          <a:bodyPr vert="horz" wrap="none" lIns="0" tIns="0" rIns="0" bIns="0" rtlCol="0" anchor="ctr">
            <a:spAutoFit/>
          </a:bodyPr>
          <a:lstStyle>
            <a:defPPr>
              <a:defRPr lang="en-US"/>
            </a:defPPr>
            <a:lvl1pPr>
              <a:defRPr sz="1000" baseline="0">
                <a:latin typeface="+mn-lt"/>
              </a:defRPr>
            </a:lvl1pPr>
          </a:lstStyle>
          <a:p>
            <a:fld id="{42C328C1-A84F-4A39-A664-DBA00541A8C6}" type="slidenum">
              <a:rPr lang="en-US" sz="800" baseline="0" smtClean="0">
                <a:solidFill>
                  <a:srgbClr val="FFFFFF"/>
                </a:solidFill>
                <a:latin typeface="+mn-lt"/>
              </a:rPr>
              <a:pPr/>
              <a:t>‹#›</a:t>
            </a:fld>
            <a:endParaRPr lang="en-US" sz="800" baseline="0" dirty="0">
              <a:solidFill>
                <a:srgbClr val="FFFFFF"/>
              </a:solidFill>
              <a:latin typeface="+mn-lt"/>
            </a:endParaRPr>
          </a:p>
        </p:txBody>
      </p:sp>
      <p:sp>
        <p:nvSpPr>
          <p:cNvPr id="16" name="SlideLogoText"/>
          <p:cNvSpPr>
            <a:spLocks noChangeArrowheads="1"/>
          </p:cNvSpPr>
          <p:nvPr>
            <p:custDataLst>
              <p:tags r:id="rId3"/>
            </p:custDataLst>
          </p:nvPr>
        </p:nvSpPr>
        <p:spPr bwMode="auto">
          <a:xfrm>
            <a:off x="7450817" y="6508272"/>
            <a:ext cx="1013098"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algn="r" defTabSz="895350"/>
            <a:r>
              <a:rPr lang="en-US" sz="800" baseline="0" dirty="0">
                <a:solidFill>
                  <a:srgbClr val="FFFFFF"/>
                </a:solidFill>
                <a:latin typeface="+mn-lt"/>
              </a:rPr>
              <a:t>McKinsey &amp; Company</a:t>
            </a:r>
          </a:p>
        </p:txBody>
      </p:sp>
      <p:sp>
        <p:nvSpPr>
          <p:cNvPr id="5" name="doc id" hidden="1"/>
          <p:cNvSpPr txBox="1">
            <a:spLocks noChangeArrowheads="1"/>
          </p:cNvSpPr>
          <p:nvPr/>
        </p:nvSpPr>
        <p:spPr bwMode="white">
          <a:xfrm>
            <a:off x="8104473" y="36513"/>
            <a:ext cx="634716" cy="115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hangingPunct="1">
              <a:defRPr/>
            </a:pPr>
            <a:endParaRPr lang="en-US" sz="800" baseline="0" dirty="0">
              <a:solidFill>
                <a:schemeClr val="accent1"/>
              </a:solidFill>
              <a:latin typeface="+mn-lt"/>
              <a:ea typeface="+mn-ea"/>
            </a:endParaRPr>
          </a:p>
        </p:txBody>
      </p:sp>
    </p:spTree>
    <p:extLst>
      <p:ext uri="{BB962C8B-B14F-4D97-AF65-F5344CB8AC3E}">
        <p14:creationId xmlns:p14="http://schemas.microsoft.com/office/powerpoint/2010/main" val="66582924"/>
      </p:ext>
    </p:extLst>
  </p:cSld>
  <p:clrMapOvr>
    <a:masterClrMapping/>
  </p:clrMapOvr>
  <p:extLst mod="1">
    <p:ext uri="{DCECCB84-F9BA-43D5-87BE-67443E8EF086}">
      <p15:sldGuideLst xmlns:p15="http://schemas.microsoft.com/office/powerpoint/2012/main">
        <p15:guide id="1" pos="3978">
          <p15:clr>
            <a:srgbClr val="000000"/>
          </p15:clr>
        </p15:guide>
        <p15:guide id="2" orient="horz" pos="570">
          <p15:clr>
            <a:srgbClr val="000000"/>
          </p15:clr>
        </p15:guide>
        <p15:guide id="3" orient="horz" pos="3912">
          <p15:clr>
            <a:srgbClr val="000000"/>
          </p15:clr>
        </p15:guide>
        <p15:guide id="4" pos="72">
          <p15:clr>
            <a:srgbClr val="00000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type="titleOnly">
  <p:cSld name="2_Title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ECD524A-1569-4253-8CD8-48D288AD883C}"/>
              </a:ext>
            </a:extLst>
          </p:cNvPr>
          <p:cNvGraphicFramePr>
            <a:graphicFrameLocks noChangeAspect="1"/>
          </p:cNvGraphicFramePr>
          <p:nvPr>
            <p:custDataLst>
              <p:tags r:id="rId2"/>
            </p:custDataLst>
            <p:extLst>
              <p:ext uri="{D42A27DB-BD31-4B8C-83A1-F6EECF244321}">
                <p14:modId xmlns:p14="http://schemas.microsoft.com/office/powerpoint/2010/main" val="149453579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1460" name="think-cell Slide" r:id="rId4" imgW="395" imgH="394" progId="TCLayout.ActiveDocument.1">
                  <p:embed/>
                </p:oleObj>
              </mc:Choice>
              <mc:Fallback>
                <p:oleObj name="think-cell Slide" r:id="rId4" imgW="395" imgH="394" progId="TCLayout.ActiveDocument.1">
                  <p:embed/>
                  <p:pic>
                    <p:nvPicPr>
                      <p:cNvPr id="3" name="Object 2" hidden="1">
                        <a:extLst>
                          <a:ext uri="{FF2B5EF4-FFF2-40B4-BE49-F238E27FC236}">
                            <a16:creationId xmlns:a16="http://schemas.microsoft.com/office/drawing/2014/main" id="{5ECD524A-1569-4253-8CD8-48D288AD883C}"/>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80083256"/>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pic>
        <p:nvPicPr>
          <p:cNvPr id="2" name="background"/>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0" y="198"/>
            <a:ext cx="8961438" cy="6721079"/>
          </a:xfrm>
          <a:prstGeom prst="rect">
            <a:avLst/>
          </a:prstGeom>
        </p:spPr>
      </p:pic>
      <p:sp>
        <p:nvSpPr>
          <p:cNvPr id="28" name="TitleRectangle"/>
          <p:cNvSpPr txBox="1">
            <a:spLocks/>
          </p:cNvSpPr>
          <p:nvPr/>
        </p:nvSpPr>
        <p:spPr>
          <a:xfrm>
            <a:off x="2084388" y="0"/>
            <a:ext cx="6875462" cy="3575976"/>
          </a:xfrm>
          <a:prstGeom prst="rect">
            <a:avLst/>
          </a:prstGeom>
          <a:solidFill>
            <a:srgbClr val="002960">
              <a:alpha val="92000"/>
            </a:srgbClr>
          </a:solidFill>
        </p:spPr>
        <p:txBody>
          <a:bodyPr vert="horz" wrap="square" lIns="216000" tIns="1440000" rIns="216000" bIns="108000" rtlCol="0">
            <a:noAutofit/>
          </a:bodyPr>
          <a:lstStyle>
            <a:lvl1pPr marL="0" indent="0" algn="l" defTabSz="914400" rtl="0" eaLnBrk="1" latinLnBrk="0" hangingPunct="1">
              <a:spcBef>
                <a:spcPct val="20000"/>
              </a:spcBef>
              <a:spcAft>
                <a:spcPts val="6000"/>
              </a:spcAft>
              <a:buFont typeface="Arial" pitchFamily="34" charset="0"/>
              <a:buNone/>
              <a:defRPr sz="3200" kern="1200">
                <a:solidFill>
                  <a:schemeClr val="accent1"/>
                </a:solidFill>
                <a:latin typeface="+mn-lt"/>
                <a:ea typeface="+mn-ea"/>
                <a:cs typeface="+mn-cs"/>
              </a:defRPr>
            </a:lvl1pPr>
            <a:lvl2pPr marL="0" indent="0" algn="l" defTabSz="914400" rtl="0" eaLnBrk="1" latinLnBrk="0" hangingPunct="1">
              <a:spcBef>
                <a:spcPct val="20000"/>
              </a:spcBef>
              <a:buFont typeface="Wingdings" charset="2"/>
              <a:buNone/>
              <a:defRPr sz="1400" kern="1200">
                <a:solidFill>
                  <a:schemeClr val="tx1">
                    <a:lumMod val="50000"/>
                    <a:lumOff val="50000"/>
                  </a:schemeClr>
                </a:solidFill>
                <a:latin typeface="+mn-lt"/>
                <a:ea typeface="+mn-ea"/>
                <a:cs typeface="+mn-cs"/>
              </a:defRPr>
            </a:lvl2pPr>
            <a:lvl3pPr marL="1143000" indent="-228600" algn="l" defTabSz="914400" rtl="0" eaLnBrk="1" latinLnBrk="0" hangingPunct="1">
              <a:spcBef>
                <a:spcPct val="20000"/>
              </a:spcBef>
              <a:buFont typeface="Lucida Grande"/>
              <a:buChar char="–"/>
              <a:defRPr sz="16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fontAlgn="auto">
              <a:defRPr/>
            </a:pPr>
            <a:r>
              <a:rPr lang="en-US" baseline="0" dirty="0">
                <a:solidFill>
                  <a:srgbClr val="00ADEF"/>
                </a:solidFill>
                <a:latin typeface="+mn-lt"/>
              </a:rPr>
              <a:t>
              </a:t>
            </a:r>
            <a:br>
              <a:rPr lang="en-US" baseline="0" dirty="0">
                <a:solidFill>
                  <a:srgbClr val="00ADEF"/>
                </a:solidFill>
                <a:latin typeface="+mn-lt"/>
              </a:rPr>
            </a:br>
            <a:endParaRPr lang="en-US" baseline="0" dirty="0">
              <a:solidFill>
                <a:srgbClr val="00ADEF"/>
              </a:solidFill>
              <a:latin typeface="+mn-lt"/>
            </a:endParaRPr>
          </a:p>
        </p:txBody>
      </p:sp>
      <p:graphicFrame>
        <p:nvGraphicFramePr>
          <p:cNvPr id="3" name="Object 2"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3508"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Working Draft Text" hidden="1"/>
          <p:cNvSpPr txBox="1">
            <a:spLocks noChangeArrowheads="1"/>
          </p:cNvSpPr>
          <p:nvPr/>
        </p:nvSpPr>
        <p:spPr bwMode="black">
          <a:xfrm>
            <a:off x="5992719" y="6287538"/>
            <a:ext cx="2790000"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800" b="1" baseline="0" dirty="0">
                <a:solidFill>
                  <a:srgbClr val="FFFFFF"/>
                </a:solidFill>
                <a:latin typeface="+mn-lt"/>
              </a:rPr>
              <a:t>WORKING DRAFT</a:t>
            </a:r>
          </a:p>
        </p:txBody>
      </p:sp>
      <p:sp>
        <p:nvSpPr>
          <p:cNvPr id="6" name="Working Draft" hidden="1"/>
          <p:cNvSpPr txBox="1">
            <a:spLocks noChangeArrowheads="1"/>
          </p:cNvSpPr>
          <p:nvPr/>
        </p:nvSpPr>
        <p:spPr bwMode="black">
          <a:xfrm>
            <a:off x="5992718" y="6410648"/>
            <a:ext cx="2968719"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800" baseline="0">
                <a:solidFill>
                  <a:srgbClr val="FFFFFF"/>
                </a:solidFill>
                <a:latin typeface="+mn-lt"/>
              </a:rPr>
              <a:t>Last Modified 21/05/2018 17:44 India Standard Time</a:t>
            </a:r>
            <a:endParaRPr lang="en-US" sz="800" baseline="0" dirty="0">
              <a:solidFill>
                <a:srgbClr val="FFFFFF"/>
              </a:solidFill>
              <a:latin typeface="+mn-lt"/>
            </a:endParaRPr>
          </a:p>
        </p:txBody>
      </p:sp>
      <p:sp>
        <p:nvSpPr>
          <p:cNvPr id="7" name="Printed" hidden="1"/>
          <p:cNvSpPr txBox="1">
            <a:spLocks noChangeArrowheads="1"/>
          </p:cNvSpPr>
          <p:nvPr/>
        </p:nvSpPr>
        <p:spPr bwMode="black">
          <a:xfrm>
            <a:off x="5992719" y="6533759"/>
            <a:ext cx="2790000"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800" baseline="0" dirty="0">
                <a:solidFill>
                  <a:srgbClr val="FFFFFF"/>
                </a:solidFill>
                <a:latin typeface="+mn-lt"/>
              </a:rPr>
              <a:t>Printed</a:t>
            </a:r>
          </a:p>
        </p:txBody>
      </p:sp>
      <p:sp>
        <p:nvSpPr>
          <p:cNvPr id="13314" name="Title"/>
          <p:cNvSpPr>
            <a:spLocks noGrp="1" noChangeArrowheads="1"/>
          </p:cNvSpPr>
          <p:nvPr>
            <p:ph type="ctrTitle"/>
          </p:nvPr>
        </p:nvSpPr>
        <p:spPr>
          <a:xfrm>
            <a:off x="2268266" y="1434419"/>
            <a:ext cx="6231663" cy="492443"/>
          </a:xfrm>
          <a:prstGeom prst="rect">
            <a:avLst/>
          </a:prstGeom>
        </p:spPr>
        <p:txBody>
          <a:bodyPr>
            <a:spAutoFit/>
          </a:bodyPr>
          <a:lstStyle>
            <a:lvl1pPr>
              <a:defRPr sz="3200" b="0" baseline="0">
                <a:solidFill>
                  <a:schemeClr val="accent2"/>
                </a:solidFill>
                <a:latin typeface="+mj-lt"/>
                <a:ea typeface="+mj-ea"/>
              </a:defRPr>
            </a:lvl1pPr>
          </a:lstStyle>
          <a:p>
            <a:pPr lvl="0" latinLnBrk="0"/>
            <a:r>
              <a:rPr lang="en-US" noProof="0"/>
              <a:t>Click to edit Master title style</a:t>
            </a:r>
            <a:endParaRPr lang="en-US" noProof="0" dirty="0"/>
          </a:p>
        </p:txBody>
      </p:sp>
      <p:sp>
        <p:nvSpPr>
          <p:cNvPr id="13315" name="Subtitle"/>
          <p:cNvSpPr>
            <a:spLocks noGrp="1" noChangeArrowheads="1"/>
          </p:cNvSpPr>
          <p:nvPr>
            <p:ph type="subTitle" idx="1"/>
          </p:nvPr>
        </p:nvSpPr>
        <p:spPr>
          <a:xfrm>
            <a:off x="2268266" y="2819401"/>
            <a:ext cx="6231663" cy="215444"/>
          </a:xfrm>
          <a:prstGeom prst="rect">
            <a:avLst/>
          </a:prstGeom>
        </p:spPr>
        <p:txBody>
          <a:bodyPr wrap="square">
            <a:spAutoFit/>
          </a:bodyPr>
          <a:lstStyle>
            <a:lvl1pPr>
              <a:defRPr sz="1400" cap="all" baseline="0">
                <a:solidFill>
                  <a:schemeClr val="bg1"/>
                </a:solidFill>
                <a:latin typeface="+mn-lt"/>
                <a:ea typeface="+mn-ea"/>
              </a:defRPr>
            </a:lvl1pPr>
          </a:lstStyle>
          <a:p>
            <a:pPr lvl="0" latinLnBrk="0"/>
            <a:r>
              <a:rPr lang="en-US" noProof="0"/>
              <a:t>Click to edit Master subtitle style</a:t>
            </a:r>
            <a:endParaRPr lang="en-US" noProof="0" dirty="0"/>
          </a:p>
        </p:txBody>
      </p:sp>
      <p:sp>
        <p:nvSpPr>
          <p:cNvPr id="57" name="Document type" hidden="1"/>
          <p:cNvSpPr txBox="1">
            <a:spLocks noChangeArrowheads="1"/>
          </p:cNvSpPr>
          <p:nvPr/>
        </p:nvSpPr>
        <p:spPr bwMode="gray">
          <a:xfrm>
            <a:off x="2268266" y="3227411"/>
            <a:ext cx="6231663"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00" baseline="0" dirty="0">
                <a:solidFill>
                  <a:schemeClr val="bg1"/>
                </a:solidFill>
                <a:latin typeface="+mn-lt"/>
              </a:rPr>
              <a:t>Document type | Date</a:t>
            </a:r>
          </a:p>
        </p:txBody>
      </p:sp>
      <p:sp>
        <p:nvSpPr>
          <p:cNvPr id="5" name="doc id" hidden="1"/>
          <p:cNvSpPr txBox="1">
            <a:spLocks noChangeArrowheads="1"/>
          </p:cNvSpPr>
          <p:nvPr/>
        </p:nvSpPr>
        <p:spPr bwMode="white">
          <a:xfrm>
            <a:off x="8443913" y="36513"/>
            <a:ext cx="295275" cy="1222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hangingPunct="1">
              <a:defRPr/>
            </a:pPr>
            <a:endParaRPr lang="en-US" sz="800" baseline="0" dirty="0">
              <a:solidFill>
                <a:srgbClr val="FFFFFF"/>
              </a:solidFill>
              <a:latin typeface="+mn-lt"/>
            </a:endParaRPr>
          </a:p>
        </p:txBody>
      </p:sp>
      <p:sp>
        <p:nvSpPr>
          <p:cNvPr id="43" name="LogoImage"/>
          <p:cNvSpPr>
            <a:spLocks noEditPoints="1"/>
          </p:cNvSpPr>
          <p:nvPr/>
        </p:nvSpPr>
        <p:spPr bwMode="white">
          <a:xfrm>
            <a:off x="2269098" y="182925"/>
            <a:ext cx="2176978" cy="238073"/>
          </a:xfrm>
          <a:custGeom>
            <a:avLst/>
            <a:gdLst>
              <a:gd name="T0" fmla="*/ 504 w 5516"/>
              <a:gd name="T1" fmla="*/ 26 h 606"/>
              <a:gd name="T2" fmla="*/ 18 w 5516"/>
              <a:gd name="T3" fmla="*/ 22 h 606"/>
              <a:gd name="T4" fmla="*/ 140 w 5516"/>
              <a:gd name="T5" fmla="*/ 436 h 606"/>
              <a:gd name="T6" fmla="*/ 408 w 5516"/>
              <a:gd name="T7" fmla="*/ 372 h 606"/>
              <a:gd name="T8" fmla="*/ 696 w 5516"/>
              <a:gd name="T9" fmla="*/ 422 h 606"/>
              <a:gd name="T10" fmla="*/ 768 w 5516"/>
              <a:gd name="T11" fmla="*/ 196 h 606"/>
              <a:gd name="T12" fmla="*/ 1272 w 5516"/>
              <a:gd name="T13" fmla="*/ 26 h 606"/>
              <a:gd name="T14" fmla="*/ 1302 w 5516"/>
              <a:gd name="T15" fmla="*/ 338 h 606"/>
              <a:gd name="T16" fmla="*/ 1202 w 5516"/>
              <a:gd name="T17" fmla="*/ 436 h 606"/>
              <a:gd name="T18" fmla="*/ 1030 w 5516"/>
              <a:gd name="T19" fmla="*/ 10 h 606"/>
              <a:gd name="T20" fmla="*/ 960 w 5516"/>
              <a:gd name="T21" fmla="*/ 22 h 606"/>
              <a:gd name="T22" fmla="*/ 804 w 5516"/>
              <a:gd name="T23" fmla="*/ 434 h 606"/>
              <a:gd name="T24" fmla="*/ 930 w 5516"/>
              <a:gd name="T25" fmla="*/ 246 h 606"/>
              <a:gd name="T26" fmla="*/ 1658 w 5516"/>
              <a:gd name="T27" fmla="*/ 342 h 606"/>
              <a:gd name="T28" fmla="*/ 1368 w 5516"/>
              <a:gd name="T29" fmla="*/ 188 h 606"/>
              <a:gd name="T30" fmla="*/ 1514 w 5516"/>
              <a:gd name="T31" fmla="*/ 436 h 606"/>
              <a:gd name="T32" fmla="*/ 1564 w 5516"/>
              <a:gd name="T33" fmla="*/ 434 h 606"/>
              <a:gd name="T34" fmla="*/ 1904 w 5516"/>
              <a:gd name="T35" fmla="*/ 184 h 606"/>
              <a:gd name="T36" fmla="*/ 1728 w 5516"/>
              <a:gd name="T37" fmla="*/ 366 h 606"/>
              <a:gd name="T38" fmla="*/ 2102 w 5516"/>
              <a:gd name="T39" fmla="*/ 192 h 606"/>
              <a:gd name="T40" fmla="*/ 1982 w 5516"/>
              <a:gd name="T41" fmla="*/ 320 h 606"/>
              <a:gd name="T42" fmla="*/ 2478 w 5516"/>
              <a:gd name="T43" fmla="*/ 242 h 606"/>
              <a:gd name="T44" fmla="*/ 2406 w 5516"/>
              <a:gd name="T45" fmla="*/ 390 h 606"/>
              <a:gd name="T46" fmla="*/ 2234 w 5516"/>
              <a:gd name="T47" fmla="*/ 192 h 606"/>
              <a:gd name="T48" fmla="*/ 2478 w 5516"/>
              <a:gd name="T49" fmla="*/ 242 h 606"/>
              <a:gd name="T50" fmla="*/ 2928 w 5516"/>
              <a:gd name="T51" fmla="*/ 448 h 606"/>
              <a:gd name="T52" fmla="*/ 2958 w 5516"/>
              <a:gd name="T53" fmla="*/ 230 h 606"/>
              <a:gd name="T54" fmla="*/ 2716 w 5516"/>
              <a:gd name="T55" fmla="*/ 54 h 606"/>
              <a:gd name="T56" fmla="*/ 2714 w 5516"/>
              <a:gd name="T57" fmla="*/ 36 h 606"/>
              <a:gd name="T58" fmla="*/ 2928 w 5516"/>
              <a:gd name="T59" fmla="*/ 448 h 606"/>
              <a:gd name="T60" fmla="*/ 3388 w 5516"/>
              <a:gd name="T61" fmla="*/ 4 h 606"/>
              <a:gd name="T62" fmla="*/ 3396 w 5516"/>
              <a:gd name="T63" fmla="*/ 366 h 606"/>
              <a:gd name="T64" fmla="*/ 3580 w 5516"/>
              <a:gd name="T65" fmla="*/ 190 h 606"/>
              <a:gd name="T66" fmla="*/ 3502 w 5516"/>
              <a:gd name="T67" fmla="*/ 432 h 606"/>
              <a:gd name="T68" fmla="*/ 4232 w 5516"/>
              <a:gd name="T69" fmla="*/ 348 h 606"/>
              <a:gd name="T70" fmla="*/ 3858 w 5516"/>
              <a:gd name="T71" fmla="*/ 176 h 606"/>
              <a:gd name="T72" fmla="*/ 3758 w 5516"/>
              <a:gd name="T73" fmla="*/ 446 h 606"/>
              <a:gd name="T74" fmla="*/ 3990 w 5516"/>
              <a:gd name="T75" fmla="*/ 282 h 606"/>
              <a:gd name="T76" fmla="*/ 4042 w 5516"/>
              <a:gd name="T77" fmla="*/ 342 h 606"/>
              <a:gd name="T78" fmla="*/ 4134 w 5516"/>
              <a:gd name="T79" fmla="*/ 448 h 606"/>
              <a:gd name="T80" fmla="*/ 4454 w 5516"/>
              <a:gd name="T81" fmla="*/ 202 h 606"/>
              <a:gd name="T82" fmla="*/ 4284 w 5516"/>
              <a:gd name="T83" fmla="*/ 174 h 606"/>
              <a:gd name="T84" fmla="*/ 4432 w 5516"/>
              <a:gd name="T85" fmla="*/ 588 h 606"/>
              <a:gd name="T86" fmla="*/ 4792 w 5516"/>
              <a:gd name="T87" fmla="*/ 382 h 606"/>
              <a:gd name="T88" fmla="*/ 5192 w 5516"/>
              <a:gd name="T89" fmla="*/ 340 h 606"/>
              <a:gd name="T90" fmla="*/ 4902 w 5516"/>
              <a:gd name="T91" fmla="*/ 186 h 606"/>
              <a:gd name="T92" fmla="*/ 4850 w 5516"/>
              <a:gd name="T93" fmla="*/ 274 h 606"/>
              <a:gd name="T94" fmla="*/ 4742 w 5516"/>
              <a:gd name="T95" fmla="*/ 194 h 606"/>
              <a:gd name="T96" fmla="*/ 4794 w 5516"/>
              <a:gd name="T97" fmla="*/ 418 h 606"/>
              <a:gd name="T98" fmla="*/ 5004 w 5516"/>
              <a:gd name="T99" fmla="*/ 338 h 606"/>
              <a:gd name="T100" fmla="*/ 5098 w 5516"/>
              <a:gd name="T101" fmla="*/ 446 h 606"/>
              <a:gd name="T102" fmla="*/ 5418 w 5516"/>
              <a:gd name="T103" fmla="*/ 192 h 606"/>
              <a:gd name="T104" fmla="*/ 5348 w 5516"/>
              <a:gd name="T105" fmla="*/ 180 h 606"/>
              <a:gd name="T106" fmla="*/ 5254 w 5516"/>
              <a:gd name="T107" fmla="*/ 606 h 6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516" h="606">
                <a:moveTo>
                  <a:pt x="366" y="448"/>
                </a:moveTo>
                <a:cubicBezTo>
                  <a:pt x="524" y="448"/>
                  <a:pt x="524" y="448"/>
                  <a:pt x="524" y="448"/>
                </a:cubicBezTo>
                <a:cubicBezTo>
                  <a:pt x="524" y="436"/>
                  <a:pt x="524" y="436"/>
                  <a:pt x="524" y="436"/>
                </a:cubicBezTo>
                <a:cubicBezTo>
                  <a:pt x="486" y="432"/>
                  <a:pt x="470" y="414"/>
                  <a:pt x="468" y="362"/>
                </a:cubicBezTo>
                <a:cubicBezTo>
                  <a:pt x="454" y="86"/>
                  <a:pt x="454" y="86"/>
                  <a:pt x="454" y="86"/>
                </a:cubicBezTo>
                <a:cubicBezTo>
                  <a:pt x="452" y="46"/>
                  <a:pt x="470" y="30"/>
                  <a:pt x="504" y="26"/>
                </a:cubicBezTo>
                <a:cubicBezTo>
                  <a:pt x="504" y="12"/>
                  <a:pt x="504" y="12"/>
                  <a:pt x="504" y="12"/>
                </a:cubicBezTo>
                <a:cubicBezTo>
                  <a:pt x="394" y="12"/>
                  <a:pt x="394" y="12"/>
                  <a:pt x="394" y="12"/>
                </a:cubicBezTo>
                <a:cubicBezTo>
                  <a:pt x="264" y="350"/>
                  <a:pt x="264" y="350"/>
                  <a:pt x="264" y="350"/>
                </a:cubicBezTo>
                <a:cubicBezTo>
                  <a:pt x="132" y="10"/>
                  <a:pt x="132" y="10"/>
                  <a:pt x="132" y="10"/>
                </a:cubicBezTo>
                <a:cubicBezTo>
                  <a:pt x="18" y="10"/>
                  <a:pt x="18" y="10"/>
                  <a:pt x="18" y="10"/>
                </a:cubicBezTo>
                <a:cubicBezTo>
                  <a:pt x="18" y="22"/>
                  <a:pt x="18" y="22"/>
                  <a:pt x="18" y="22"/>
                </a:cubicBezTo>
                <a:cubicBezTo>
                  <a:pt x="40" y="26"/>
                  <a:pt x="74" y="32"/>
                  <a:pt x="72" y="84"/>
                </a:cubicBezTo>
                <a:cubicBezTo>
                  <a:pt x="58" y="352"/>
                  <a:pt x="58" y="352"/>
                  <a:pt x="58" y="352"/>
                </a:cubicBezTo>
                <a:cubicBezTo>
                  <a:pt x="54" y="410"/>
                  <a:pt x="38" y="430"/>
                  <a:pt x="0" y="436"/>
                </a:cubicBezTo>
                <a:cubicBezTo>
                  <a:pt x="0" y="448"/>
                  <a:pt x="0" y="448"/>
                  <a:pt x="0" y="448"/>
                </a:cubicBezTo>
                <a:cubicBezTo>
                  <a:pt x="140" y="448"/>
                  <a:pt x="140" y="448"/>
                  <a:pt x="140" y="448"/>
                </a:cubicBezTo>
                <a:cubicBezTo>
                  <a:pt x="140" y="436"/>
                  <a:pt x="140" y="436"/>
                  <a:pt x="140" y="436"/>
                </a:cubicBezTo>
                <a:cubicBezTo>
                  <a:pt x="98" y="428"/>
                  <a:pt x="84" y="414"/>
                  <a:pt x="88" y="356"/>
                </a:cubicBezTo>
                <a:cubicBezTo>
                  <a:pt x="100" y="86"/>
                  <a:pt x="100" y="86"/>
                  <a:pt x="100" y="86"/>
                </a:cubicBezTo>
                <a:cubicBezTo>
                  <a:pt x="240" y="444"/>
                  <a:pt x="240" y="444"/>
                  <a:pt x="240" y="444"/>
                </a:cubicBezTo>
                <a:cubicBezTo>
                  <a:pt x="258" y="444"/>
                  <a:pt x="258" y="444"/>
                  <a:pt x="258" y="444"/>
                </a:cubicBezTo>
                <a:cubicBezTo>
                  <a:pt x="396" y="86"/>
                  <a:pt x="396" y="86"/>
                  <a:pt x="396" y="86"/>
                </a:cubicBezTo>
                <a:cubicBezTo>
                  <a:pt x="408" y="372"/>
                  <a:pt x="408" y="372"/>
                  <a:pt x="408" y="372"/>
                </a:cubicBezTo>
                <a:cubicBezTo>
                  <a:pt x="410" y="416"/>
                  <a:pt x="398" y="430"/>
                  <a:pt x="366" y="434"/>
                </a:cubicBezTo>
                <a:lnTo>
                  <a:pt x="366" y="448"/>
                </a:lnTo>
                <a:close/>
                <a:moveTo>
                  <a:pt x="670" y="456"/>
                </a:moveTo>
                <a:cubicBezTo>
                  <a:pt x="708" y="456"/>
                  <a:pt x="756" y="440"/>
                  <a:pt x="782" y="412"/>
                </a:cubicBezTo>
                <a:cubicBezTo>
                  <a:pt x="776" y="400"/>
                  <a:pt x="776" y="400"/>
                  <a:pt x="776" y="400"/>
                </a:cubicBezTo>
                <a:cubicBezTo>
                  <a:pt x="750" y="416"/>
                  <a:pt x="722" y="422"/>
                  <a:pt x="696" y="422"/>
                </a:cubicBezTo>
                <a:cubicBezTo>
                  <a:pt x="620" y="422"/>
                  <a:pt x="592" y="358"/>
                  <a:pt x="592" y="290"/>
                </a:cubicBezTo>
                <a:cubicBezTo>
                  <a:pt x="592" y="258"/>
                  <a:pt x="600" y="236"/>
                  <a:pt x="614" y="222"/>
                </a:cubicBezTo>
                <a:cubicBezTo>
                  <a:pt x="626" y="210"/>
                  <a:pt x="646" y="204"/>
                  <a:pt x="664" y="204"/>
                </a:cubicBezTo>
                <a:cubicBezTo>
                  <a:pt x="690" y="204"/>
                  <a:pt x="722" y="214"/>
                  <a:pt x="744" y="244"/>
                </a:cubicBezTo>
                <a:cubicBezTo>
                  <a:pt x="750" y="244"/>
                  <a:pt x="750" y="244"/>
                  <a:pt x="750" y="244"/>
                </a:cubicBezTo>
                <a:cubicBezTo>
                  <a:pt x="758" y="234"/>
                  <a:pt x="766" y="212"/>
                  <a:pt x="768" y="196"/>
                </a:cubicBezTo>
                <a:cubicBezTo>
                  <a:pt x="748" y="180"/>
                  <a:pt x="720" y="172"/>
                  <a:pt x="686" y="172"/>
                </a:cubicBezTo>
                <a:cubicBezTo>
                  <a:pt x="604" y="172"/>
                  <a:pt x="544" y="246"/>
                  <a:pt x="544" y="326"/>
                </a:cubicBezTo>
                <a:cubicBezTo>
                  <a:pt x="540" y="390"/>
                  <a:pt x="576" y="456"/>
                  <a:pt x="670" y="456"/>
                </a:cubicBezTo>
                <a:moveTo>
                  <a:pt x="1272" y="98"/>
                </a:moveTo>
                <a:cubicBezTo>
                  <a:pt x="1292" y="98"/>
                  <a:pt x="1308" y="82"/>
                  <a:pt x="1308" y="62"/>
                </a:cubicBezTo>
                <a:cubicBezTo>
                  <a:pt x="1308" y="42"/>
                  <a:pt x="1292" y="26"/>
                  <a:pt x="1272" y="26"/>
                </a:cubicBezTo>
                <a:cubicBezTo>
                  <a:pt x="1252" y="26"/>
                  <a:pt x="1238" y="42"/>
                  <a:pt x="1238" y="62"/>
                </a:cubicBezTo>
                <a:cubicBezTo>
                  <a:pt x="1238" y="82"/>
                  <a:pt x="1252" y="98"/>
                  <a:pt x="1272" y="98"/>
                </a:cubicBezTo>
                <a:moveTo>
                  <a:pt x="1202" y="448"/>
                </a:moveTo>
                <a:cubicBezTo>
                  <a:pt x="1346" y="448"/>
                  <a:pt x="1346" y="448"/>
                  <a:pt x="1346" y="448"/>
                </a:cubicBezTo>
                <a:cubicBezTo>
                  <a:pt x="1346" y="436"/>
                  <a:pt x="1346" y="436"/>
                  <a:pt x="1346" y="436"/>
                </a:cubicBezTo>
                <a:cubicBezTo>
                  <a:pt x="1304" y="432"/>
                  <a:pt x="1302" y="434"/>
                  <a:pt x="1302" y="338"/>
                </a:cubicBezTo>
                <a:cubicBezTo>
                  <a:pt x="1302" y="176"/>
                  <a:pt x="1302" y="176"/>
                  <a:pt x="1302" y="176"/>
                </a:cubicBezTo>
                <a:cubicBezTo>
                  <a:pt x="1200" y="176"/>
                  <a:pt x="1200" y="176"/>
                  <a:pt x="1200" y="176"/>
                </a:cubicBezTo>
                <a:cubicBezTo>
                  <a:pt x="1200" y="188"/>
                  <a:pt x="1200" y="188"/>
                  <a:pt x="1200" y="188"/>
                </a:cubicBezTo>
                <a:cubicBezTo>
                  <a:pt x="1244" y="190"/>
                  <a:pt x="1250" y="192"/>
                  <a:pt x="1250" y="268"/>
                </a:cubicBezTo>
                <a:cubicBezTo>
                  <a:pt x="1250" y="336"/>
                  <a:pt x="1250" y="336"/>
                  <a:pt x="1250" y="336"/>
                </a:cubicBezTo>
                <a:cubicBezTo>
                  <a:pt x="1250" y="432"/>
                  <a:pt x="1248" y="432"/>
                  <a:pt x="1202" y="436"/>
                </a:cubicBezTo>
                <a:cubicBezTo>
                  <a:pt x="1178" y="434"/>
                  <a:pt x="1154" y="426"/>
                  <a:pt x="1076" y="338"/>
                </a:cubicBezTo>
                <a:cubicBezTo>
                  <a:pt x="1046" y="302"/>
                  <a:pt x="996" y="244"/>
                  <a:pt x="968" y="206"/>
                </a:cubicBezTo>
                <a:cubicBezTo>
                  <a:pt x="1062" y="102"/>
                  <a:pt x="1062" y="102"/>
                  <a:pt x="1062" y="102"/>
                </a:cubicBezTo>
                <a:cubicBezTo>
                  <a:pt x="1108" y="52"/>
                  <a:pt x="1132" y="26"/>
                  <a:pt x="1176" y="24"/>
                </a:cubicBezTo>
                <a:cubicBezTo>
                  <a:pt x="1176" y="10"/>
                  <a:pt x="1176" y="10"/>
                  <a:pt x="1176" y="10"/>
                </a:cubicBezTo>
                <a:cubicBezTo>
                  <a:pt x="1030" y="10"/>
                  <a:pt x="1030" y="10"/>
                  <a:pt x="1030" y="10"/>
                </a:cubicBezTo>
                <a:cubicBezTo>
                  <a:pt x="1030" y="22"/>
                  <a:pt x="1030" y="22"/>
                  <a:pt x="1030" y="22"/>
                </a:cubicBezTo>
                <a:cubicBezTo>
                  <a:pt x="1050" y="26"/>
                  <a:pt x="1056" y="32"/>
                  <a:pt x="1056" y="46"/>
                </a:cubicBezTo>
                <a:cubicBezTo>
                  <a:pt x="1056" y="56"/>
                  <a:pt x="1054" y="72"/>
                  <a:pt x="1026" y="102"/>
                </a:cubicBezTo>
                <a:cubicBezTo>
                  <a:pt x="910" y="230"/>
                  <a:pt x="910" y="230"/>
                  <a:pt x="910" y="230"/>
                </a:cubicBezTo>
                <a:cubicBezTo>
                  <a:pt x="910" y="148"/>
                  <a:pt x="910" y="148"/>
                  <a:pt x="910" y="148"/>
                </a:cubicBezTo>
                <a:cubicBezTo>
                  <a:pt x="910" y="36"/>
                  <a:pt x="916" y="28"/>
                  <a:pt x="960" y="22"/>
                </a:cubicBezTo>
                <a:cubicBezTo>
                  <a:pt x="960" y="8"/>
                  <a:pt x="960" y="8"/>
                  <a:pt x="960" y="8"/>
                </a:cubicBezTo>
                <a:cubicBezTo>
                  <a:pt x="804" y="8"/>
                  <a:pt x="804" y="8"/>
                  <a:pt x="804" y="8"/>
                </a:cubicBezTo>
                <a:cubicBezTo>
                  <a:pt x="804" y="22"/>
                  <a:pt x="804" y="22"/>
                  <a:pt x="804" y="22"/>
                </a:cubicBezTo>
                <a:cubicBezTo>
                  <a:pt x="852" y="26"/>
                  <a:pt x="854" y="36"/>
                  <a:pt x="854" y="148"/>
                </a:cubicBezTo>
                <a:cubicBezTo>
                  <a:pt x="854" y="300"/>
                  <a:pt x="854" y="300"/>
                  <a:pt x="854" y="300"/>
                </a:cubicBezTo>
                <a:cubicBezTo>
                  <a:pt x="854" y="422"/>
                  <a:pt x="850" y="430"/>
                  <a:pt x="804" y="434"/>
                </a:cubicBezTo>
                <a:cubicBezTo>
                  <a:pt x="804" y="446"/>
                  <a:pt x="804" y="446"/>
                  <a:pt x="804" y="446"/>
                </a:cubicBezTo>
                <a:cubicBezTo>
                  <a:pt x="960" y="446"/>
                  <a:pt x="960" y="446"/>
                  <a:pt x="960" y="446"/>
                </a:cubicBezTo>
                <a:cubicBezTo>
                  <a:pt x="960" y="434"/>
                  <a:pt x="960" y="434"/>
                  <a:pt x="960" y="434"/>
                </a:cubicBezTo>
                <a:cubicBezTo>
                  <a:pt x="910" y="428"/>
                  <a:pt x="910" y="424"/>
                  <a:pt x="910" y="292"/>
                </a:cubicBezTo>
                <a:cubicBezTo>
                  <a:pt x="910" y="268"/>
                  <a:pt x="910" y="268"/>
                  <a:pt x="910" y="268"/>
                </a:cubicBezTo>
                <a:cubicBezTo>
                  <a:pt x="930" y="246"/>
                  <a:pt x="930" y="246"/>
                  <a:pt x="930" y="246"/>
                </a:cubicBezTo>
                <a:cubicBezTo>
                  <a:pt x="982" y="310"/>
                  <a:pt x="1038" y="380"/>
                  <a:pt x="1098" y="448"/>
                </a:cubicBezTo>
                <a:cubicBezTo>
                  <a:pt x="1202" y="448"/>
                  <a:pt x="1202" y="448"/>
                  <a:pt x="1202" y="448"/>
                </a:cubicBezTo>
                <a:close/>
                <a:moveTo>
                  <a:pt x="1564" y="448"/>
                </a:moveTo>
                <a:cubicBezTo>
                  <a:pt x="1706" y="448"/>
                  <a:pt x="1706" y="448"/>
                  <a:pt x="1706" y="448"/>
                </a:cubicBezTo>
                <a:cubicBezTo>
                  <a:pt x="1706" y="436"/>
                  <a:pt x="1706" y="436"/>
                  <a:pt x="1706" y="436"/>
                </a:cubicBezTo>
                <a:cubicBezTo>
                  <a:pt x="1658" y="434"/>
                  <a:pt x="1658" y="432"/>
                  <a:pt x="1658" y="342"/>
                </a:cubicBezTo>
                <a:cubicBezTo>
                  <a:pt x="1658" y="280"/>
                  <a:pt x="1658" y="280"/>
                  <a:pt x="1658" y="280"/>
                </a:cubicBezTo>
                <a:cubicBezTo>
                  <a:pt x="1658" y="198"/>
                  <a:pt x="1612" y="172"/>
                  <a:pt x="1570" y="172"/>
                </a:cubicBezTo>
                <a:cubicBezTo>
                  <a:pt x="1534" y="172"/>
                  <a:pt x="1498" y="188"/>
                  <a:pt x="1470" y="224"/>
                </a:cubicBezTo>
                <a:cubicBezTo>
                  <a:pt x="1470" y="176"/>
                  <a:pt x="1470" y="176"/>
                  <a:pt x="1470" y="176"/>
                </a:cubicBezTo>
                <a:cubicBezTo>
                  <a:pt x="1368" y="176"/>
                  <a:pt x="1368" y="176"/>
                  <a:pt x="1368" y="176"/>
                </a:cubicBezTo>
                <a:cubicBezTo>
                  <a:pt x="1368" y="188"/>
                  <a:pt x="1368" y="188"/>
                  <a:pt x="1368" y="188"/>
                </a:cubicBezTo>
                <a:cubicBezTo>
                  <a:pt x="1412" y="190"/>
                  <a:pt x="1418" y="192"/>
                  <a:pt x="1418" y="268"/>
                </a:cubicBezTo>
                <a:cubicBezTo>
                  <a:pt x="1418" y="336"/>
                  <a:pt x="1418" y="336"/>
                  <a:pt x="1418" y="336"/>
                </a:cubicBezTo>
                <a:cubicBezTo>
                  <a:pt x="1418" y="434"/>
                  <a:pt x="1418" y="434"/>
                  <a:pt x="1370" y="436"/>
                </a:cubicBezTo>
                <a:cubicBezTo>
                  <a:pt x="1370" y="448"/>
                  <a:pt x="1370" y="448"/>
                  <a:pt x="1370" y="448"/>
                </a:cubicBezTo>
                <a:cubicBezTo>
                  <a:pt x="1514" y="448"/>
                  <a:pt x="1514" y="448"/>
                  <a:pt x="1514" y="448"/>
                </a:cubicBezTo>
                <a:cubicBezTo>
                  <a:pt x="1514" y="436"/>
                  <a:pt x="1514" y="436"/>
                  <a:pt x="1514" y="436"/>
                </a:cubicBezTo>
                <a:cubicBezTo>
                  <a:pt x="1472" y="432"/>
                  <a:pt x="1470" y="434"/>
                  <a:pt x="1470" y="338"/>
                </a:cubicBezTo>
                <a:cubicBezTo>
                  <a:pt x="1470" y="262"/>
                  <a:pt x="1470" y="262"/>
                  <a:pt x="1470" y="262"/>
                </a:cubicBezTo>
                <a:cubicBezTo>
                  <a:pt x="1470" y="236"/>
                  <a:pt x="1504" y="206"/>
                  <a:pt x="1546" y="206"/>
                </a:cubicBezTo>
                <a:cubicBezTo>
                  <a:pt x="1580" y="206"/>
                  <a:pt x="1606" y="220"/>
                  <a:pt x="1606" y="286"/>
                </a:cubicBezTo>
                <a:cubicBezTo>
                  <a:pt x="1606" y="340"/>
                  <a:pt x="1606" y="340"/>
                  <a:pt x="1606" y="340"/>
                </a:cubicBezTo>
                <a:cubicBezTo>
                  <a:pt x="1606" y="432"/>
                  <a:pt x="1602" y="432"/>
                  <a:pt x="1564" y="434"/>
                </a:cubicBezTo>
                <a:lnTo>
                  <a:pt x="1564" y="448"/>
                </a:lnTo>
                <a:close/>
                <a:moveTo>
                  <a:pt x="1776" y="222"/>
                </a:moveTo>
                <a:cubicBezTo>
                  <a:pt x="1776" y="200"/>
                  <a:pt x="1796" y="188"/>
                  <a:pt x="1822" y="188"/>
                </a:cubicBezTo>
                <a:cubicBezTo>
                  <a:pt x="1874" y="188"/>
                  <a:pt x="1896" y="236"/>
                  <a:pt x="1900" y="252"/>
                </a:cubicBezTo>
                <a:cubicBezTo>
                  <a:pt x="1912" y="252"/>
                  <a:pt x="1912" y="252"/>
                  <a:pt x="1912" y="252"/>
                </a:cubicBezTo>
                <a:cubicBezTo>
                  <a:pt x="1912" y="212"/>
                  <a:pt x="1908" y="188"/>
                  <a:pt x="1904" y="184"/>
                </a:cubicBezTo>
                <a:cubicBezTo>
                  <a:pt x="1900" y="180"/>
                  <a:pt x="1862" y="170"/>
                  <a:pt x="1824" y="170"/>
                </a:cubicBezTo>
                <a:cubicBezTo>
                  <a:pt x="1768" y="170"/>
                  <a:pt x="1734" y="206"/>
                  <a:pt x="1734" y="248"/>
                </a:cubicBezTo>
                <a:cubicBezTo>
                  <a:pt x="1734" y="340"/>
                  <a:pt x="1890" y="322"/>
                  <a:pt x="1890" y="396"/>
                </a:cubicBezTo>
                <a:cubicBezTo>
                  <a:pt x="1890" y="422"/>
                  <a:pt x="1866" y="436"/>
                  <a:pt x="1826" y="436"/>
                </a:cubicBezTo>
                <a:cubicBezTo>
                  <a:pt x="1788" y="436"/>
                  <a:pt x="1754" y="416"/>
                  <a:pt x="1744" y="366"/>
                </a:cubicBezTo>
                <a:cubicBezTo>
                  <a:pt x="1728" y="366"/>
                  <a:pt x="1728" y="366"/>
                  <a:pt x="1728" y="366"/>
                </a:cubicBezTo>
                <a:cubicBezTo>
                  <a:pt x="1728" y="386"/>
                  <a:pt x="1732" y="422"/>
                  <a:pt x="1734" y="428"/>
                </a:cubicBezTo>
                <a:cubicBezTo>
                  <a:pt x="1744" y="446"/>
                  <a:pt x="1788" y="454"/>
                  <a:pt x="1824" y="454"/>
                </a:cubicBezTo>
                <a:cubicBezTo>
                  <a:pt x="1888" y="454"/>
                  <a:pt x="1928" y="416"/>
                  <a:pt x="1928" y="372"/>
                </a:cubicBezTo>
                <a:cubicBezTo>
                  <a:pt x="1932" y="270"/>
                  <a:pt x="1776" y="286"/>
                  <a:pt x="1776" y="222"/>
                </a:cubicBezTo>
                <a:moveTo>
                  <a:pt x="2030" y="270"/>
                </a:moveTo>
                <a:cubicBezTo>
                  <a:pt x="2034" y="220"/>
                  <a:pt x="2058" y="192"/>
                  <a:pt x="2102" y="192"/>
                </a:cubicBezTo>
                <a:cubicBezTo>
                  <a:pt x="2144" y="192"/>
                  <a:pt x="2170" y="220"/>
                  <a:pt x="2172" y="270"/>
                </a:cubicBezTo>
                <a:lnTo>
                  <a:pt x="2030" y="270"/>
                </a:lnTo>
                <a:close/>
                <a:moveTo>
                  <a:pt x="2030" y="290"/>
                </a:moveTo>
                <a:cubicBezTo>
                  <a:pt x="2222" y="290"/>
                  <a:pt x="2222" y="290"/>
                  <a:pt x="2222" y="290"/>
                </a:cubicBezTo>
                <a:cubicBezTo>
                  <a:pt x="2226" y="228"/>
                  <a:pt x="2192" y="168"/>
                  <a:pt x="2114" y="168"/>
                </a:cubicBezTo>
                <a:cubicBezTo>
                  <a:pt x="2034" y="168"/>
                  <a:pt x="1982" y="232"/>
                  <a:pt x="1982" y="320"/>
                </a:cubicBezTo>
                <a:cubicBezTo>
                  <a:pt x="1982" y="388"/>
                  <a:pt x="2018" y="456"/>
                  <a:pt x="2112" y="456"/>
                </a:cubicBezTo>
                <a:cubicBezTo>
                  <a:pt x="2150" y="456"/>
                  <a:pt x="2198" y="440"/>
                  <a:pt x="2224" y="412"/>
                </a:cubicBezTo>
                <a:cubicBezTo>
                  <a:pt x="2218" y="400"/>
                  <a:pt x="2218" y="400"/>
                  <a:pt x="2218" y="400"/>
                </a:cubicBezTo>
                <a:cubicBezTo>
                  <a:pt x="2192" y="416"/>
                  <a:pt x="2164" y="422"/>
                  <a:pt x="2138" y="422"/>
                </a:cubicBezTo>
                <a:cubicBezTo>
                  <a:pt x="2058" y="420"/>
                  <a:pt x="2028" y="352"/>
                  <a:pt x="2030" y="290"/>
                </a:cubicBezTo>
                <a:moveTo>
                  <a:pt x="2478" y="242"/>
                </a:moveTo>
                <a:cubicBezTo>
                  <a:pt x="2490" y="206"/>
                  <a:pt x="2510" y="192"/>
                  <a:pt x="2528" y="192"/>
                </a:cubicBezTo>
                <a:cubicBezTo>
                  <a:pt x="2528" y="180"/>
                  <a:pt x="2528" y="180"/>
                  <a:pt x="2528" y="180"/>
                </a:cubicBezTo>
                <a:cubicBezTo>
                  <a:pt x="2430" y="180"/>
                  <a:pt x="2430" y="180"/>
                  <a:pt x="2430" y="180"/>
                </a:cubicBezTo>
                <a:cubicBezTo>
                  <a:pt x="2430" y="192"/>
                  <a:pt x="2430" y="192"/>
                  <a:pt x="2430" y="192"/>
                </a:cubicBezTo>
                <a:cubicBezTo>
                  <a:pt x="2454" y="194"/>
                  <a:pt x="2466" y="206"/>
                  <a:pt x="2458" y="234"/>
                </a:cubicBezTo>
                <a:cubicBezTo>
                  <a:pt x="2406" y="390"/>
                  <a:pt x="2406" y="390"/>
                  <a:pt x="2406" y="390"/>
                </a:cubicBezTo>
                <a:cubicBezTo>
                  <a:pt x="2354" y="270"/>
                  <a:pt x="2354" y="270"/>
                  <a:pt x="2354" y="270"/>
                </a:cubicBezTo>
                <a:cubicBezTo>
                  <a:pt x="2340" y="238"/>
                  <a:pt x="2334" y="224"/>
                  <a:pt x="2334" y="212"/>
                </a:cubicBezTo>
                <a:cubicBezTo>
                  <a:pt x="2334" y="202"/>
                  <a:pt x="2340" y="196"/>
                  <a:pt x="2360" y="192"/>
                </a:cubicBezTo>
                <a:cubicBezTo>
                  <a:pt x="2360" y="180"/>
                  <a:pt x="2360" y="180"/>
                  <a:pt x="2360" y="180"/>
                </a:cubicBezTo>
                <a:cubicBezTo>
                  <a:pt x="2234" y="180"/>
                  <a:pt x="2234" y="180"/>
                  <a:pt x="2234" y="180"/>
                </a:cubicBezTo>
                <a:cubicBezTo>
                  <a:pt x="2234" y="192"/>
                  <a:pt x="2234" y="192"/>
                  <a:pt x="2234" y="192"/>
                </a:cubicBezTo>
                <a:cubicBezTo>
                  <a:pt x="2266" y="194"/>
                  <a:pt x="2268" y="198"/>
                  <a:pt x="2310" y="292"/>
                </a:cubicBezTo>
                <a:cubicBezTo>
                  <a:pt x="2382" y="450"/>
                  <a:pt x="2382" y="450"/>
                  <a:pt x="2382" y="450"/>
                </a:cubicBezTo>
                <a:cubicBezTo>
                  <a:pt x="2358" y="512"/>
                  <a:pt x="2320" y="546"/>
                  <a:pt x="2242" y="564"/>
                </a:cubicBezTo>
                <a:cubicBezTo>
                  <a:pt x="2246" y="576"/>
                  <a:pt x="2260" y="600"/>
                  <a:pt x="2268" y="606"/>
                </a:cubicBezTo>
                <a:cubicBezTo>
                  <a:pt x="2370" y="564"/>
                  <a:pt x="2390" y="498"/>
                  <a:pt x="2426" y="396"/>
                </a:cubicBezTo>
                <a:lnTo>
                  <a:pt x="2478" y="242"/>
                </a:lnTo>
                <a:close/>
                <a:moveTo>
                  <a:pt x="2844" y="394"/>
                </a:moveTo>
                <a:cubicBezTo>
                  <a:pt x="2822" y="412"/>
                  <a:pt x="2782" y="416"/>
                  <a:pt x="2750" y="416"/>
                </a:cubicBezTo>
                <a:cubicBezTo>
                  <a:pt x="2670" y="416"/>
                  <a:pt x="2606" y="360"/>
                  <a:pt x="2606" y="284"/>
                </a:cubicBezTo>
                <a:cubicBezTo>
                  <a:pt x="2606" y="236"/>
                  <a:pt x="2626" y="206"/>
                  <a:pt x="2658" y="198"/>
                </a:cubicBezTo>
                <a:cubicBezTo>
                  <a:pt x="2698" y="266"/>
                  <a:pt x="2770" y="338"/>
                  <a:pt x="2844" y="394"/>
                </a:cubicBezTo>
                <a:moveTo>
                  <a:pt x="2928" y="448"/>
                </a:moveTo>
                <a:cubicBezTo>
                  <a:pt x="3022" y="448"/>
                  <a:pt x="3022" y="448"/>
                  <a:pt x="3022" y="448"/>
                </a:cubicBezTo>
                <a:cubicBezTo>
                  <a:pt x="3022" y="436"/>
                  <a:pt x="3022" y="436"/>
                  <a:pt x="3022" y="436"/>
                </a:cubicBezTo>
                <a:cubicBezTo>
                  <a:pt x="2992" y="432"/>
                  <a:pt x="2946" y="408"/>
                  <a:pt x="2896" y="372"/>
                </a:cubicBezTo>
                <a:cubicBezTo>
                  <a:pt x="2914" y="342"/>
                  <a:pt x="2918" y="300"/>
                  <a:pt x="2922" y="270"/>
                </a:cubicBezTo>
                <a:cubicBezTo>
                  <a:pt x="2926" y="244"/>
                  <a:pt x="2946" y="244"/>
                  <a:pt x="2958" y="242"/>
                </a:cubicBezTo>
                <a:cubicBezTo>
                  <a:pt x="2958" y="230"/>
                  <a:pt x="2958" y="230"/>
                  <a:pt x="2958" y="230"/>
                </a:cubicBezTo>
                <a:cubicBezTo>
                  <a:pt x="2834" y="230"/>
                  <a:pt x="2834" y="230"/>
                  <a:pt x="2834" y="230"/>
                </a:cubicBezTo>
                <a:cubicBezTo>
                  <a:pt x="2834" y="242"/>
                  <a:pt x="2834" y="242"/>
                  <a:pt x="2834" y="242"/>
                </a:cubicBezTo>
                <a:cubicBezTo>
                  <a:pt x="2864" y="246"/>
                  <a:pt x="2892" y="250"/>
                  <a:pt x="2892" y="294"/>
                </a:cubicBezTo>
                <a:cubicBezTo>
                  <a:pt x="2892" y="318"/>
                  <a:pt x="2888" y="342"/>
                  <a:pt x="2878" y="358"/>
                </a:cubicBezTo>
                <a:cubicBezTo>
                  <a:pt x="2770" y="274"/>
                  <a:pt x="2670" y="156"/>
                  <a:pt x="2670" y="96"/>
                </a:cubicBezTo>
                <a:cubicBezTo>
                  <a:pt x="2670" y="66"/>
                  <a:pt x="2688" y="54"/>
                  <a:pt x="2716" y="54"/>
                </a:cubicBezTo>
                <a:cubicBezTo>
                  <a:pt x="2752" y="54"/>
                  <a:pt x="2784" y="78"/>
                  <a:pt x="2800" y="124"/>
                </a:cubicBezTo>
                <a:cubicBezTo>
                  <a:pt x="2812" y="124"/>
                  <a:pt x="2812" y="124"/>
                  <a:pt x="2812" y="124"/>
                </a:cubicBezTo>
                <a:cubicBezTo>
                  <a:pt x="2810" y="42"/>
                  <a:pt x="2810" y="42"/>
                  <a:pt x="2810" y="42"/>
                </a:cubicBezTo>
                <a:cubicBezTo>
                  <a:pt x="2798" y="42"/>
                  <a:pt x="2798" y="42"/>
                  <a:pt x="2798" y="42"/>
                </a:cubicBezTo>
                <a:cubicBezTo>
                  <a:pt x="2798" y="48"/>
                  <a:pt x="2792" y="52"/>
                  <a:pt x="2788" y="52"/>
                </a:cubicBezTo>
                <a:cubicBezTo>
                  <a:pt x="2772" y="52"/>
                  <a:pt x="2752" y="36"/>
                  <a:pt x="2714" y="36"/>
                </a:cubicBezTo>
                <a:cubicBezTo>
                  <a:pt x="2672" y="36"/>
                  <a:pt x="2630" y="62"/>
                  <a:pt x="2630" y="118"/>
                </a:cubicBezTo>
                <a:cubicBezTo>
                  <a:pt x="2630" y="140"/>
                  <a:pt x="2636" y="160"/>
                  <a:pt x="2648" y="182"/>
                </a:cubicBezTo>
                <a:cubicBezTo>
                  <a:pt x="2592" y="200"/>
                  <a:pt x="2562" y="248"/>
                  <a:pt x="2562" y="304"/>
                </a:cubicBezTo>
                <a:cubicBezTo>
                  <a:pt x="2562" y="406"/>
                  <a:pt x="2640" y="460"/>
                  <a:pt x="2726" y="460"/>
                </a:cubicBezTo>
                <a:cubicBezTo>
                  <a:pt x="2780" y="460"/>
                  <a:pt x="2824" y="444"/>
                  <a:pt x="2862" y="410"/>
                </a:cubicBezTo>
                <a:cubicBezTo>
                  <a:pt x="2888" y="424"/>
                  <a:pt x="2912" y="442"/>
                  <a:pt x="2928" y="448"/>
                </a:cubicBezTo>
                <a:moveTo>
                  <a:pt x="3094" y="212"/>
                </a:moveTo>
                <a:cubicBezTo>
                  <a:pt x="3094" y="88"/>
                  <a:pt x="3154" y="20"/>
                  <a:pt x="3252" y="20"/>
                </a:cubicBezTo>
                <a:cubicBezTo>
                  <a:pt x="3328" y="20"/>
                  <a:pt x="3372" y="58"/>
                  <a:pt x="3392" y="134"/>
                </a:cubicBezTo>
                <a:cubicBezTo>
                  <a:pt x="3404" y="134"/>
                  <a:pt x="3404" y="134"/>
                  <a:pt x="3404" y="134"/>
                </a:cubicBezTo>
                <a:cubicBezTo>
                  <a:pt x="3400" y="4"/>
                  <a:pt x="3400" y="4"/>
                  <a:pt x="3400" y="4"/>
                </a:cubicBezTo>
                <a:cubicBezTo>
                  <a:pt x="3388" y="4"/>
                  <a:pt x="3388" y="4"/>
                  <a:pt x="3388" y="4"/>
                </a:cubicBezTo>
                <a:cubicBezTo>
                  <a:pt x="3384" y="14"/>
                  <a:pt x="3376" y="18"/>
                  <a:pt x="3364" y="18"/>
                </a:cubicBezTo>
                <a:cubicBezTo>
                  <a:pt x="3338" y="18"/>
                  <a:pt x="3314" y="0"/>
                  <a:pt x="3248" y="0"/>
                </a:cubicBezTo>
                <a:cubicBezTo>
                  <a:pt x="3118" y="0"/>
                  <a:pt x="3030" y="102"/>
                  <a:pt x="3030" y="242"/>
                </a:cubicBezTo>
                <a:cubicBezTo>
                  <a:pt x="3030" y="376"/>
                  <a:pt x="3110" y="460"/>
                  <a:pt x="3238" y="460"/>
                </a:cubicBezTo>
                <a:cubicBezTo>
                  <a:pt x="3320" y="460"/>
                  <a:pt x="3384" y="420"/>
                  <a:pt x="3408" y="380"/>
                </a:cubicBezTo>
                <a:cubicBezTo>
                  <a:pt x="3396" y="366"/>
                  <a:pt x="3396" y="366"/>
                  <a:pt x="3396" y="366"/>
                </a:cubicBezTo>
                <a:cubicBezTo>
                  <a:pt x="3370" y="402"/>
                  <a:pt x="3314" y="426"/>
                  <a:pt x="3256" y="426"/>
                </a:cubicBezTo>
                <a:cubicBezTo>
                  <a:pt x="3156" y="426"/>
                  <a:pt x="3094" y="340"/>
                  <a:pt x="3094" y="212"/>
                </a:cubicBezTo>
                <a:moveTo>
                  <a:pt x="3678" y="328"/>
                </a:moveTo>
                <a:cubicBezTo>
                  <a:pt x="3678" y="392"/>
                  <a:pt x="3650" y="430"/>
                  <a:pt x="3592" y="430"/>
                </a:cubicBezTo>
                <a:cubicBezTo>
                  <a:pt x="3542" y="430"/>
                  <a:pt x="3496" y="384"/>
                  <a:pt x="3496" y="292"/>
                </a:cubicBezTo>
                <a:cubicBezTo>
                  <a:pt x="3496" y="226"/>
                  <a:pt x="3528" y="190"/>
                  <a:pt x="3580" y="190"/>
                </a:cubicBezTo>
                <a:cubicBezTo>
                  <a:pt x="3628" y="192"/>
                  <a:pt x="3678" y="238"/>
                  <a:pt x="3678" y="328"/>
                </a:cubicBezTo>
                <a:moveTo>
                  <a:pt x="3732" y="312"/>
                </a:moveTo>
                <a:cubicBezTo>
                  <a:pt x="3732" y="260"/>
                  <a:pt x="3710" y="214"/>
                  <a:pt x="3672" y="190"/>
                </a:cubicBezTo>
                <a:cubicBezTo>
                  <a:pt x="3650" y="176"/>
                  <a:pt x="3620" y="168"/>
                  <a:pt x="3588" y="168"/>
                </a:cubicBezTo>
                <a:cubicBezTo>
                  <a:pt x="3502" y="168"/>
                  <a:pt x="3442" y="230"/>
                  <a:pt x="3442" y="310"/>
                </a:cubicBezTo>
                <a:cubicBezTo>
                  <a:pt x="3442" y="364"/>
                  <a:pt x="3464" y="408"/>
                  <a:pt x="3502" y="432"/>
                </a:cubicBezTo>
                <a:cubicBezTo>
                  <a:pt x="3524" y="446"/>
                  <a:pt x="3554" y="452"/>
                  <a:pt x="3586" y="452"/>
                </a:cubicBezTo>
                <a:cubicBezTo>
                  <a:pt x="3672" y="454"/>
                  <a:pt x="3732" y="394"/>
                  <a:pt x="3732" y="312"/>
                </a:cubicBezTo>
                <a:moveTo>
                  <a:pt x="4136" y="448"/>
                </a:moveTo>
                <a:cubicBezTo>
                  <a:pt x="4280" y="448"/>
                  <a:pt x="4280" y="448"/>
                  <a:pt x="4280" y="448"/>
                </a:cubicBezTo>
                <a:cubicBezTo>
                  <a:pt x="4280" y="436"/>
                  <a:pt x="4280" y="436"/>
                  <a:pt x="4280" y="436"/>
                </a:cubicBezTo>
                <a:cubicBezTo>
                  <a:pt x="4230" y="434"/>
                  <a:pt x="4232" y="426"/>
                  <a:pt x="4232" y="348"/>
                </a:cubicBezTo>
                <a:cubicBezTo>
                  <a:pt x="4232" y="276"/>
                  <a:pt x="4232" y="276"/>
                  <a:pt x="4232" y="276"/>
                </a:cubicBezTo>
                <a:cubicBezTo>
                  <a:pt x="4232" y="200"/>
                  <a:pt x="4190" y="172"/>
                  <a:pt x="4142" y="172"/>
                </a:cubicBezTo>
                <a:cubicBezTo>
                  <a:pt x="4098" y="172"/>
                  <a:pt x="4064" y="196"/>
                  <a:pt x="4038" y="232"/>
                </a:cubicBezTo>
                <a:cubicBezTo>
                  <a:pt x="4028" y="194"/>
                  <a:pt x="4000" y="172"/>
                  <a:pt x="3954" y="172"/>
                </a:cubicBezTo>
                <a:cubicBezTo>
                  <a:pt x="3916" y="172"/>
                  <a:pt x="3880" y="196"/>
                  <a:pt x="3858" y="224"/>
                </a:cubicBezTo>
                <a:cubicBezTo>
                  <a:pt x="3858" y="176"/>
                  <a:pt x="3858" y="176"/>
                  <a:pt x="3858" y="176"/>
                </a:cubicBezTo>
                <a:cubicBezTo>
                  <a:pt x="3756" y="176"/>
                  <a:pt x="3756" y="176"/>
                  <a:pt x="3756" y="176"/>
                </a:cubicBezTo>
                <a:cubicBezTo>
                  <a:pt x="3756" y="188"/>
                  <a:pt x="3756" y="188"/>
                  <a:pt x="3756" y="188"/>
                </a:cubicBezTo>
                <a:cubicBezTo>
                  <a:pt x="3800" y="190"/>
                  <a:pt x="3806" y="192"/>
                  <a:pt x="3806" y="268"/>
                </a:cubicBezTo>
                <a:cubicBezTo>
                  <a:pt x="3806" y="346"/>
                  <a:pt x="3806" y="346"/>
                  <a:pt x="3806" y="346"/>
                </a:cubicBezTo>
                <a:cubicBezTo>
                  <a:pt x="3806" y="434"/>
                  <a:pt x="3804" y="434"/>
                  <a:pt x="3758" y="434"/>
                </a:cubicBezTo>
                <a:cubicBezTo>
                  <a:pt x="3758" y="446"/>
                  <a:pt x="3758" y="446"/>
                  <a:pt x="3758" y="446"/>
                </a:cubicBezTo>
                <a:cubicBezTo>
                  <a:pt x="3902" y="446"/>
                  <a:pt x="3902" y="446"/>
                  <a:pt x="3902" y="446"/>
                </a:cubicBezTo>
                <a:cubicBezTo>
                  <a:pt x="3902" y="434"/>
                  <a:pt x="3902" y="434"/>
                  <a:pt x="3902" y="434"/>
                </a:cubicBezTo>
                <a:cubicBezTo>
                  <a:pt x="3862" y="430"/>
                  <a:pt x="3858" y="430"/>
                  <a:pt x="3858" y="342"/>
                </a:cubicBezTo>
                <a:cubicBezTo>
                  <a:pt x="3858" y="262"/>
                  <a:pt x="3858" y="262"/>
                  <a:pt x="3858" y="262"/>
                </a:cubicBezTo>
                <a:cubicBezTo>
                  <a:pt x="3858" y="234"/>
                  <a:pt x="3894" y="204"/>
                  <a:pt x="3932" y="204"/>
                </a:cubicBezTo>
                <a:cubicBezTo>
                  <a:pt x="3974" y="204"/>
                  <a:pt x="3990" y="226"/>
                  <a:pt x="3990" y="282"/>
                </a:cubicBezTo>
                <a:cubicBezTo>
                  <a:pt x="3990" y="338"/>
                  <a:pt x="3990" y="338"/>
                  <a:pt x="3990" y="338"/>
                </a:cubicBezTo>
                <a:cubicBezTo>
                  <a:pt x="3990" y="428"/>
                  <a:pt x="3988" y="432"/>
                  <a:pt x="3950" y="436"/>
                </a:cubicBezTo>
                <a:cubicBezTo>
                  <a:pt x="3950" y="448"/>
                  <a:pt x="3950" y="448"/>
                  <a:pt x="3950" y="448"/>
                </a:cubicBezTo>
                <a:cubicBezTo>
                  <a:pt x="4086" y="448"/>
                  <a:pt x="4086" y="448"/>
                  <a:pt x="4086" y="448"/>
                </a:cubicBezTo>
                <a:cubicBezTo>
                  <a:pt x="4086" y="436"/>
                  <a:pt x="4086" y="436"/>
                  <a:pt x="4086" y="436"/>
                </a:cubicBezTo>
                <a:cubicBezTo>
                  <a:pt x="4040" y="432"/>
                  <a:pt x="4042" y="428"/>
                  <a:pt x="4042" y="342"/>
                </a:cubicBezTo>
                <a:cubicBezTo>
                  <a:pt x="4042" y="264"/>
                  <a:pt x="4042" y="264"/>
                  <a:pt x="4042" y="264"/>
                </a:cubicBezTo>
                <a:cubicBezTo>
                  <a:pt x="4042" y="236"/>
                  <a:pt x="4078" y="206"/>
                  <a:pt x="4118" y="206"/>
                </a:cubicBezTo>
                <a:cubicBezTo>
                  <a:pt x="4152" y="206"/>
                  <a:pt x="4174" y="226"/>
                  <a:pt x="4174" y="284"/>
                </a:cubicBezTo>
                <a:cubicBezTo>
                  <a:pt x="4174" y="346"/>
                  <a:pt x="4174" y="346"/>
                  <a:pt x="4174" y="346"/>
                </a:cubicBezTo>
                <a:cubicBezTo>
                  <a:pt x="4174" y="428"/>
                  <a:pt x="4174" y="432"/>
                  <a:pt x="4134" y="436"/>
                </a:cubicBezTo>
                <a:cubicBezTo>
                  <a:pt x="4134" y="448"/>
                  <a:pt x="4134" y="448"/>
                  <a:pt x="4134" y="448"/>
                </a:cubicBezTo>
                <a:lnTo>
                  <a:pt x="4136" y="448"/>
                </a:lnTo>
                <a:close/>
                <a:moveTo>
                  <a:pt x="4546" y="316"/>
                </a:moveTo>
                <a:cubicBezTo>
                  <a:pt x="4546" y="388"/>
                  <a:pt x="4516" y="432"/>
                  <a:pt x="4460" y="432"/>
                </a:cubicBezTo>
                <a:cubicBezTo>
                  <a:pt x="4424" y="432"/>
                  <a:pt x="4384" y="412"/>
                  <a:pt x="4384" y="384"/>
                </a:cubicBezTo>
                <a:cubicBezTo>
                  <a:pt x="4384" y="248"/>
                  <a:pt x="4384" y="248"/>
                  <a:pt x="4384" y="248"/>
                </a:cubicBezTo>
                <a:cubicBezTo>
                  <a:pt x="4384" y="226"/>
                  <a:pt x="4416" y="202"/>
                  <a:pt x="4454" y="202"/>
                </a:cubicBezTo>
                <a:cubicBezTo>
                  <a:pt x="4510" y="206"/>
                  <a:pt x="4546" y="248"/>
                  <a:pt x="4546" y="316"/>
                </a:cubicBezTo>
                <a:moveTo>
                  <a:pt x="4600" y="310"/>
                </a:moveTo>
                <a:cubicBezTo>
                  <a:pt x="4600" y="230"/>
                  <a:pt x="4548" y="170"/>
                  <a:pt x="4478" y="170"/>
                </a:cubicBezTo>
                <a:cubicBezTo>
                  <a:pt x="4438" y="170"/>
                  <a:pt x="4406" y="188"/>
                  <a:pt x="4384" y="214"/>
                </a:cubicBezTo>
                <a:cubicBezTo>
                  <a:pt x="4384" y="174"/>
                  <a:pt x="4384" y="174"/>
                  <a:pt x="4384" y="174"/>
                </a:cubicBezTo>
                <a:cubicBezTo>
                  <a:pt x="4284" y="174"/>
                  <a:pt x="4284" y="174"/>
                  <a:pt x="4284" y="174"/>
                </a:cubicBezTo>
                <a:cubicBezTo>
                  <a:pt x="4284" y="186"/>
                  <a:pt x="4284" y="186"/>
                  <a:pt x="4284" y="186"/>
                </a:cubicBezTo>
                <a:cubicBezTo>
                  <a:pt x="4326" y="188"/>
                  <a:pt x="4332" y="190"/>
                  <a:pt x="4332" y="280"/>
                </a:cubicBezTo>
                <a:cubicBezTo>
                  <a:pt x="4332" y="466"/>
                  <a:pt x="4332" y="466"/>
                  <a:pt x="4332" y="466"/>
                </a:cubicBezTo>
                <a:cubicBezTo>
                  <a:pt x="4332" y="564"/>
                  <a:pt x="4334" y="570"/>
                  <a:pt x="4286" y="574"/>
                </a:cubicBezTo>
                <a:cubicBezTo>
                  <a:pt x="4286" y="588"/>
                  <a:pt x="4286" y="588"/>
                  <a:pt x="4286" y="588"/>
                </a:cubicBezTo>
                <a:cubicBezTo>
                  <a:pt x="4432" y="588"/>
                  <a:pt x="4432" y="588"/>
                  <a:pt x="4432" y="588"/>
                </a:cubicBezTo>
                <a:cubicBezTo>
                  <a:pt x="4432" y="574"/>
                  <a:pt x="4432" y="574"/>
                  <a:pt x="4432" y="574"/>
                </a:cubicBezTo>
                <a:cubicBezTo>
                  <a:pt x="4380" y="572"/>
                  <a:pt x="4384" y="564"/>
                  <a:pt x="4384" y="462"/>
                </a:cubicBezTo>
                <a:cubicBezTo>
                  <a:pt x="4384" y="424"/>
                  <a:pt x="4384" y="424"/>
                  <a:pt x="4384" y="424"/>
                </a:cubicBezTo>
                <a:cubicBezTo>
                  <a:pt x="4404" y="444"/>
                  <a:pt x="4436" y="454"/>
                  <a:pt x="4466" y="454"/>
                </a:cubicBezTo>
                <a:cubicBezTo>
                  <a:pt x="4548" y="454"/>
                  <a:pt x="4600" y="392"/>
                  <a:pt x="4600" y="310"/>
                </a:cubicBezTo>
                <a:moveTo>
                  <a:pt x="4792" y="382"/>
                </a:moveTo>
                <a:cubicBezTo>
                  <a:pt x="4792" y="404"/>
                  <a:pt x="4762" y="424"/>
                  <a:pt x="4736" y="424"/>
                </a:cubicBezTo>
                <a:cubicBezTo>
                  <a:pt x="4712" y="424"/>
                  <a:pt x="4694" y="410"/>
                  <a:pt x="4694" y="378"/>
                </a:cubicBezTo>
                <a:cubicBezTo>
                  <a:pt x="4694" y="322"/>
                  <a:pt x="4752" y="328"/>
                  <a:pt x="4792" y="306"/>
                </a:cubicBezTo>
                <a:cubicBezTo>
                  <a:pt x="4792" y="382"/>
                  <a:pt x="4792" y="382"/>
                  <a:pt x="4792" y="382"/>
                </a:cubicBezTo>
                <a:close/>
                <a:moveTo>
                  <a:pt x="5240" y="434"/>
                </a:moveTo>
                <a:cubicBezTo>
                  <a:pt x="5192" y="432"/>
                  <a:pt x="5192" y="430"/>
                  <a:pt x="5192" y="340"/>
                </a:cubicBezTo>
                <a:cubicBezTo>
                  <a:pt x="5192" y="278"/>
                  <a:pt x="5192" y="278"/>
                  <a:pt x="5192" y="278"/>
                </a:cubicBezTo>
                <a:cubicBezTo>
                  <a:pt x="5192" y="196"/>
                  <a:pt x="5146" y="170"/>
                  <a:pt x="5104" y="170"/>
                </a:cubicBezTo>
                <a:cubicBezTo>
                  <a:pt x="5068" y="170"/>
                  <a:pt x="5032" y="186"/>
                  <a:pt x="5004" y="222"/>
                </a:cubicBezTo>
                <a:cubicBezTo>
                  <a:pt x="5004" y="174"/>
                  <a:pt x="5004" y="174"/>
                  <a:pt x="5004" y="174"/>
                </a:cubicBezTo>
                <a:cubicBezTo>
                  <a:pt x="4902" y="174"/>
                  <a:pt x="4902" y="174"/>
                  <a:pt x="4902" y="174"/>
                </a:cubicBezTo>
                <a:cubicBezTo>
                  <a:pt x="4902" y="186"/>
                  <a:pt x="4902" y="186"/>
                  <a:pt x="4902" y="186"/>
                </a:cubicBezTo>
                <a:cubicBezTo>
                  <a:pt x="4946" y="188"/>
                  <a:pt x="4952" y="190"/>
                  <a:pt x="4952" y="266"/>
                </a:cubicBezTo>
                <a:cubicBezTo>
                  <a:pt x="4952" y="334"/>
                  <a:pt x="4952" y="334"/>
                  <a:pt x="4952" y="334"/>
                </a:cubicBezTo>
                <a:cubicBezTo>
                  <a:pt x="4952" y="430"/>
                  <a:pt x="4952" y="432"/>
                  <a:pt x="4904" y="434"/>
                </a:cubicBezTo>
                <a:cubicBezTo>
                  <a:pt x="4892" y="434"/>
                  <a:pt x="4892" y="434"/>
                  <a:pt x="4892" y="434"/>
                </a:cubicBezTo>
                <a:cubicBezTo>
                  <a:pt x="4854" y="434"/>
                  <a:pt x="4850" y="422"/>
                  <a:pt x="4850" y="366"/>
                </a:cubicBezTo>
                <a:cubicBezTo>
                  <a:pt x="4850" y="274"/>
                  <a:pt x="4850" y="274"/>
                  <a:pt x="4850" y="274"/>
                </a:cubicBezTo>
                <a:cubicBezTo>
                  <a:pt x="4850" y="256"/>
                  <a:pt x="4848" y="240"/>
                  <a:pt x="4844" y="228"/>
                </a:cubicBezTo>
                <a:cubicBezTo>
                  <a:pt x="4830" y="186"/>
                  <a:pt x="4796" y="170"/>
                  <a:pt x="4748" y="170"/>
                </a:cubicBezTo>
                <a:cubicBezTo>
                  <a:pt x="4718" y="170"/>
                  <a:pt x="4674" y="180"/>
                  <a:pt x="4650" y="202"/>
                </a:cubicBezTo>
                <a:cubicBezTo>
                  <a:pt x="4652" y="214"/>
                  <a:pt x="4664" y="240"/>
                  <a:pt x="4670" y="248"/>
                </a:cubicBezTo>
                <a:cubicBezTo>
                  <a:pt x="4676" y="246"/>
                  <a:pt x="4676" y="246"/>
                  <a:pt x="4676" y="246"/>
                </a:cubicBezTo>
                <a:cubicBezTo>
                  <a:pt x="4688" y="216"/>
                  <a:pt x="4708" y="194"/>
                  <a:pt x="4742" y="194"/>
                </a:cubicBezTo>
                <a:cubicBezTo>
                  <a:pt x="4778" y="194"/>
                  <a:pt x="4794" y="220"/>
                  <a:pt x="4794" y="250"/>
                </a:cubicBezTo>
                <a:cubicBezTo>
                  <a:pt x="4794" y="282"/>
                  <a:pt x="4794" y="282"/>
                  <a:pt x="4794" y="282"/>
                </a:cubicBezTo>
                <a:cubicBezTo>
                  <a:pt x="4794" y="302"/>
                  <a:pt x="4702" y="306"/>
                  <a:pt x="4664" y="338"/>
                </a:cubicBezTo>
                <a:cubicBezTo>
                  <a:pt x="4652" y="350"/>
                  <a:pt x="4642" y="364"/>
                  <a:pt x="4642" y="384"/>
                </a:cubicBezTo>
                <a:cubicBezTo>
                  <a:pt x="4642" y="426"/>
                  <a:pt x="4672" y="456"/>
                  <a:pt x="4716" y="456"/>
                </a:cubicBezTo>
                <a:cubicBezTo>
                  <a:pt x="4744" y="456"/>
                  <a:pt x="4768" y="446"/>
                  <a:pt x="4794" y="418"/>
                </a:cubicBezTo>
                <a:cubicBezTo>
                  <a:pt x="4798" y="438"/>
                  <a:pt x="4814" y="448"/>
                  <a:pt x="4842" y="448"/>
                </a:cubicBezTo>
                <a:cubicBezTo>
                  <a:pt x="4906" y="448"/>
                  <a:pt x="4906" y="448"/>
                  <a:pt x="4906" y="448"/>
                </a:cubicBezTo>
                <a:cubicBezTo>
                  <a:pt x="4906" y="448"/>
                  <a:pt x="4906" y="448"/>
                  <a:pt x="4906" y="448"/>
                </a:cubicBezTo>
                <a:cubicBezTo>
                  <a:pt x="5048" y="448"/>
                  <a:pt x="5048" y="448"/>
                  <a:pt x="5048" y="448"/>
                </a:cubicBezTo>
                <a:cubicBezTo>
                  <a:pt x="5048" y="436"/>
                  <a:pt x="5048" y="436"/>
                  <a:pt x="5048" y="436"/>
                </a:cubicBezTo>
                <a:cubicBezTo>
                  <a:pt x="5006" y="432"/>
                  <a:pt x="5004" y="434"/>
                  <a:pt x="5004" y="338"/>
                </a:cubicBezTo>
                <a:cubicBezTo>
                  <a:pt x="5004" y="262"/>
                  <a:pt x="5004" y="262"/>
                  <a:pt x="5004" y="262"/>
                </a:cubicBezTo>
                <a:cubicBezTo>
                  <a:pt x="5004" y="236"/>
                  <a:pt x="5038" y="206"/>
                  <a:pt x="5080" y="206"/>
                </a:cubicBezTo>
                <a:cubicBezTo>
                  <a:pt x="5114" y="206"/>
                  <a:pt x="5140" y="220"/>
                  <a:pt x="5140" y="286"/>
                </a:cubicBezTo>
                <a:cubicBezTo>
                  <a:pt x="5140" y="340"/>
                  <a:pt x="5140" y="340"/>
                  <a:pt x="5140" y="340"/>
                </a:cubicBezTo>
                <a:cubicBezTo>
                  <a:pt x="5140" y="432"/>
                  <a:pt x="5136" y="432"/>
                  <a:pt x="5098" y="434"/>
                </a:cubicBezTo>
                <a:cubicBezTo>
                  <a:pt x="5098" y="446"/>
                  <a:pt x="5098" y="446"/>
                  <a:pt x="5098" y="446"/>
                </a:cubicBezTo>
                <a:cubicBezTo>
                  <a:pt x="5240" y="446"/>
                  <a:pt x="5240" y="446"/>
                  <a:pt x="5240" y="446"/>
                </a:cubicBezTo>
                <a:lnTo>
                  <a:pt x="5240" y="434"/>
                </a:lnTo>
                <a:close/>
                <a:moveTo>
                  <a:pt x="5516" y="192"/>
                </a:moveTo>
                <a:cubicBezTo>
                  <a:pt x="5516" y="180"/>
                  <a:pt x="5516" y="180"/>
                  <a:pt x="5516" y="180"/>
                </a:cubicBezTo>
                <a:cubicBezTo>
                  <a:pt x="5418" y="180"/>
                  <a:pt x="5418" y="180"/>
                  <a:pt x="5418" y="180"/>
                </a:cubicBezTo>
                <a:cubicBezTo>
                  <a:pt x="5418" y="192"/>
                  <a:pt x="5418" y="192"/>
                  <a:pt x="5418" y="192"/>
                </a:cubicBezTo>
                <a:cubicBezTo>
                  <a:pt x="5442" y="194"/>
                  <a:pt x="5454" y="206"/>
                  <a:pt x="5446" y="234"/>
                </a:cubicBezTo>
                <a:cubicBezTo>
                  <a:pt x="5394" y="390"/>
                  <a:pt x="5394" y="390"/>
                  <a:pt x="5394" y="390"/>
                </a:cubicBezTo>
                <a:cubicBezTo>
                  <a:pt x="5342" y="270"/>
                  <a:pt x="5342" y="270"/>
                  <a:pt x="5342" y="270"/>
                </a:cubicBezTo>
                <a:cubicBezTo>
                  <a:pt x="5328" y="238"/>
                  <a:pt x="5322" y="224"/>
                  <a:pt x="5322" y="212"/>
                </a:cubicBezTo>
                <a:cubicBezTo>
                  <a:pt x="5322" y="202"/>
                  <a:pt x="5328" y="196"/>
                  <a:pt x="5348" y="192"/>
                </a:cubicBezTo>
                <a:cubicBezTo>
                  <a:pt x="5348" y="180"/>
                  <a:pt x="5348" y="180"/>
                  <a:pt x="5348" y="180"/>
                </a:cubicBezTo>
                <a:cubicBezTo>
                  <a:pt x="5220" y="180"/>
                  <a:pt x="5220" y="180"/>
                  <a:pt x="5220" y="180"/>
                </a:cubicBezTo>
                <a:cubicBezTo>
                  <a:pt x="5220" y="192"/>
                  <a:pt x="5220" y="192"/>
                  <a:pt x="5220" y="192"/>
                </a:cubicBezTo>
                <a:cubicBezTo>
                  <a:pt x="5252" y="194"/>
                  <a:pt x="5254" y="198"/>
                  <a:pt x="5296" y="292"/>
                </a:cubicBezTo>
                <a:cubicBezTo>
                  <a:pt x="5368" y="450"/>
                  <a:pt x="5368" y="450"/>
                  <a:pt x="5368" y="450"/>
                </a:cubicBezTo>
                <a:cubicBezTo>
                  <a:pt x="5344" y="512"/>
                  <a:pt x="5306" y="546"/>
                  <a:pt x="5228" y="564"/>
                </a:cubicBezTo>
                <a:cubicBezTo>
                  <a:pt x="5232" y="576"/>
                  <a:pt x="5246" y="600"/>
                  <a:pt x="5254" y="606"/>
                </a:cubicBezTo>
                <a:cubicBezTo>
                  <a:pt x="5356" y="564"/>
                  <a:pt x="5376" y="498"/>
                  <a:pt x="5412" y="396"/>
                </a:cubicBezTo>
                <a:cubicBezTo>
                  <a:pt x="5466" y="242"/>
                  <a:pt x="5466" y="242"/>
                  <a:pt x="5466" y="242"/>
                </a:cubicBezTo>
                <a:cubicBezTo>
                  <a:pt x="5478" y="206"/>
                  <a:pt x="5498" y="192"/>
                  <a:pt x="5516" y="192"/>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600" kern="1200">
                <a:solidFill>
                  <a:schemeClr val="tx1"/>
                </a:solidFill>
                <a:latin typeface="Arial" charset="0"/>
                <a:ea typeface="+mn-ea"/>
                <a:cs typeface="+mn-cs"/>
              </a:defRPr>
            </a:lvl1pPr>
            <a:lvl2pPr marL="457200" algn="l" rtl="0" fontAlgn="base">
              <a:spcBef>
                <a:spcPct val="0"/>
              </a:spcBef>
              <a:spcAft>
                <a:spcPct val="0"/>
              </a:spcAft>
              <a:defRPr sz="1600" kern="1200">
                <a:solidFill>
                  <a:schemeClr val="tx1"/>
                </a:solidFill>
                <a:latin typeface="Arial" charset="0"/>
                <a:ea typeface="+mn-ea"/>
                <a:cs typeface="+mn-cs"/>
              </a:defRPr>
            </a:lvl2pPr>
            <a:lvl3pPr marL="914400" algn="l" rtl="0" fontAlgn="base">
              <a:spcBef>
                <a:spcPct val="0"/>
              </a:spcBef>
              <a:spcAft>
                <a:spcPct val="0"/>
              </a:spcAft>
              <a:defRPr sz="1600" kern="1200">
                <a:solidFill>
                  <a:schemeClr val="tx1"/>
                </a:solidFill>
                <a:latin typeface="Arial" charset="0"/>
                <a:ea typeface="+mn-ea"/>
                <a:cs typeface="+mn-cs"/>
              </a:defRPr>
            </a:lvl3pPr>
            <a:lvl4pPr marL="1371600" algn="l" rtl="0" fontAlgn="base">
              <a:spcBef>
                <a:spcPct val="0"/>
              </a:spcBef>
              <a:spcAft>
                <a:spcPct val="0"/>
              </a:spcAft>
              <a:defRPr sz="1600" kern="1200">
                <a:solidFill>
                  <a:schemeClr val="tx1"/>
                </a:solidFill>
                <a:latin typeface="Arial" charset="0"/>
                <a:ea typeface="+mn-ea"/>
                <a:cs typeface="+mn-cs"/>
              </a:defRPr>
            </a:lvl4pPr>
            <a:lvl5pPr marL="1828800" algn="l" rtl="0" fontAlgn="base">
              <a:spcBef>
                <a:spcPct val="0"/>
              </a:spcBef>
              <a:spcAft>
                <a:spcPct val="0"/>
              </a:spcAft>
              <a:defRPr sz="1600" kern="1200">
                <a:solidFill>
                  <a:schemeClr val="tx1"/>
                </a:solidFill>
                <a:latin typeface="Arial" charset="0"/>
                <a:ea typeface="+mn-ea"/>
                <a:cs typeface="+mn-cs"/>
              </a:defRPr>
            </a:lvl5pPr>
            <a:lvl6pPr marL="2286000" algn="l" defTabSz="914400" rtl="0" eaLnBrk="1" latinLnBrk="0" hangingPunct="1">
              <a:defRPr sz="1600" kern="1200">
                <a:solidFill>
                  <a:schemeClr val="tx1"/>
                </a:solidFill>
                <a:latin typeface="Arial" charset="0"/>
                <a:ea typeface="+mn-ea"/>
                <a:cs typeface="+mn-cs"/>
              </a:defRPr>
            </a:lvl6pPr>
            <a:lvl7pPr marL="2743200" algn="l" defTabSz="914400" rtl="0" eaLnBrk="1" latinLnBrk="0" hangingPunct="1">
              <a:defRPr sz="1600" kern="1200">
                <a:solidFill>
                  <a:schemeClr val="tx1"/>
                </a:solidFill>
                <a:latin typeface="Arial" charset="0"/>
                <a:ea typeface="+mn-ea"/>
                <a:cs typeface="+mn-cs"/>
              </a:defRPr>
            </a:lvl7pPr>
            <a:lvl8pPr marL="3200400" algn="l" defTabSz="914400" rtl="0" eaLnBrk="1" latinLnBrk="0" hangingPunct="1">
              <a:defRPr sz="1600" kern="1200">
                <a:solidFill>
                  <a:schemeClr val="tx1"/>
                </a:solidFill>
                <a:latin typeface="Arial" charset="0"/>
                <a:ea typeface="+mn-ea"/>
                <a:cs typeface="+mn-cs"/>
              </a:defRPr>
            </a:lvl8pPr>
            <a:lvl9pPr marL="3657600" algn="l" defTabSz="914400" rtl="0" eaLnBrk="1" latinLnBrk="0" hangingPunct="1">
              <a:defRPr sz="1600" kern="1200">
                <a:solidFill>
                  <a:schemeClr val="tx1"/>
                </a:solidFill>
                <a:latin typeface="Arial" charset="0"/>
                <a:ea typeface="+mn-ea"/>
                <a:cs typeface="+mn-cs"/>
              </a:defRPr>
            </a:lvl9pPr>
          </a:lstStyle>
          <a:p>
            <a:endParaRPr lang="en-US" baseline="0" dirty="0">
              <a:solidFill>
                <a:srgbClr val="000000"/>
              </a:solidFill>
              <a:latin typeface="+mn-lt"/>
            </a:endParaRPr>
          </a:p>
        </p:txBody>
      </p:sp>
      <p:sp>
        <p:nvSpPr>
          <p:cNvPr id="27" name="Disclaimer-English (United States)" hidden="1"/>
          <p:cNvSpPr>
            <a:spLocks noChangeArrowheads="1"/>
          </p:cNvSpPr>
          <p:nvPr/>
        </p:nvSpPr>
        <p:spPr bwMode="black">
          <a:xfrm>
            <a:off x="2268266" y="6287785"/>
            <a:ext cx="3544453" cy="36908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t" anchorCtr="0">
            <a:noAutofit/>
          </a:bodyPr>
          <a:lstStyle/>
          <a:p>
            <a:pPr defTabSz="804863" eaLnBrk="0" hangingPunct="0"/>
            <a:r>
              <a:rPr lang="en-US" sz="800" baseline="0" dirty="0">
                <a:solidFill>
                  <a:srgbClr val="FFFFFF"/>
                </a:solidFill>
                <a:latin typeface="+mn-lt"/>
              </a:rPr>
              <a:t>CONFIDENTIAL AND PROPRIETARY</a:t>
            </a:r>
          </a:p>
          <a:p>
            <a:pPr defTabSz="804863" eaLnBrk="0" hangingPunct="0"/>
            <a:r>
              <a:rPr lang="en-US" sz="800" baseline="0" dirty="0">
                <a:solidFill>
                  <a:srgbClr val="FFFFFF"/>
                </a:solidFill>
                <a:latin typeface="+mn-lt"/>
              </a:rPr>
              <a:t>Any use of this material without specific permission of McKinsey &amp; Company is strictly prohibited</a:t>
            </a:r>
          </a:p>
        </p:txBody>
      </p:sp>
    </p:spTree>
    <p:extLst>
      <p:ext uri="{BB962C8B-B14F-4D97-AF65-F5344CB8AC3E}">
        <p14:creationId xmlns:p14="http://schemas.microsoft.com/office/powerpoint/2010/main" val="3223646213"/>
      </p:ext>
    </p:extLst>
  </p:cSld>
  <p:clrMapOvr>
    <a:masterClrMapping/>
  </p:clrMapOvr>
  <p:extLst mod="1">
    <p:ext uri="{DCECCB84-F9BA-43D5-87BE-67443E8EF086}">
      <p15:sldGuideLst xmlns:p15="http://schemas.microsoft.com/office/powerpoint/2012/main">
        <p15:guide id="1" orient="horz" pos="2117">
          <p15:clr>
            <a:srgbClr val="FBAE40"/>
          </p15:clr>
        </p15:guide>
        <p15:guide id="2" pos="1416">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pic>
        <p:nvPicPr>
          <p:cNvPr id="2" name="background"/>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0" y="198"/>
            <a:ext cx="8961438" cy="6721079"/>
          </a:xfrm>
          <a:prstGeom prst="rect">
            <a:avLst/>
          </a:prstGeom>
        </p:spPr>
      </p:pic>
      <p:sp>
        <p:nvSpPr>
          <p:cNvPr id="28" name="TitleRectangle"/>
          <p:cNvSpPr txBox="1">
            <a:spLocks/>
          </p:cNvSpPr>
          <p:nvPr/>
        </p:nvSpPr>
        <p:spPr>
          <a:xfrm>
            <a:off x="2084388" y="0"/>
            <a:ext cx="6875462" cy="3575976"/>
          </a:xfrm>
          <a:prstGeom prst="rect">
            <a:avLst/>
          </a:prstGeom>
          <a:solidFill>
            <a:srgbClr val="002960">
              <a:alpha val="92000"/>
            </a:srgbClr>
          </a:solidFill>
        </p:spPr>
        <p:txBody>
          <a:bodyPr vert="horz" wrap="square" lIns="216000" tIns="1440000" rIns="216000" bIns="108000" rtlCol="0">
            <a:noAutofit/>
          </a:bodyPr>
          <a:lstStyle>
            <a:lvl1pPr marL="0" indent="0" algn="l" defTabSz="914400" rtl="0" eaLnBrk="1" latinLnBrk="0" hangingPunct="1">
              <a:spcBef>
                <a:spcPct val="20000"/>
              </a:spcBef>
              <a:spcAft>
                <a:spcPts val="6000"/>
              </a:spcAft>
              <a:buFont typeface="Arial" pitchFamily="34" charset="0"/>
              <a:buNone/>
              <a:defRPr sz="3200" kern="1200">
                <a:solidFill>
                  <a:schemeClr val="accent1"/>
                </a:solidFill>
                <a:latin typeface="+mn-lt"/>
                <a:ea typeface="+mn-ea"/>
                <a:cs typeface="+mn-cs"/>
              </a:defRPr>
            </a:lvl1pPr>
            <a:lvl2pPr marL="0" indent="0" algn="l" defTabSz="914400" rtl="0" eaLnBrk="1" latinLnBrk="0" hangingPunct="1">
              <a:spcBef>
                <a:spcPct val="20000"/>
              </a:spcBef>
              <a:buFont typeface="Wingdings" charset="2"/>
              <a:buNone/>
              <a:defRPr sz="1400" kern="1200">
                <a:solidFill>
                  <a:schemeClr val="tx1">
                    <a:lumMod val="50000"/>
                    <a:lumOff val="50000"/>
                  </a:schemeClr>
                </a:solidFill>
                <a:latin typeface="+mn-lt"/>
                <a:ea typeface="+mn-ea"/>
                <a:cs typeface="+mn-cs"/>
              </a:defRPr>
            </a:lvl2pPr>
            <a:lvl3pPr marL="1143000" indent="-228600" algn="l" defTabSz="914400" rtl="0" eaLnBrk="1" latinLnBrk="0" hangingPunct="1">
              <a:spcBef>
                <a:spcPct val="20000"/>
              </a:spcBef>
              <a:buFont typeface="Lucida Grande"/>
              <a:buChar char="–"/>
              <a:defRPr sz="16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fontAlgn="auto">
              <a:defRPr/>
            </a:pPr>
            <a:r>
              <a:rPr lang="en-US" baseline="0" dirty="0">
                <a:solidFill>
                  <a:srgbClr val="00ADEF"/>
                </a:solidFill>
                <a:latin typeface="+mn-lt"/>
              </a:rPr>
              <a:t>
              </a:t>
            </a:r>
            <a:br>
              <a:rPr lang="en-US" baseline="0" dirty="0">
                <a:solidFill>
                  <a:srgbClr val="00ADEF"/>
                </a:solidFill>
                <a:latin typeface="+mn-lt"/>
              </a:rPr>
            </a:br>
            <a:endParaRPr lang="en-US" baseline="0" dirty="0">
              <a:solidFill>
                <a:srgbClr val="00ADEF"/>
              </a:solidFill>
              <a:latin typeface="+mn-lt"/>
            </a:endParaRPr>
          </a:p>
        </p:txBody>
      </p:sp>
      <p:graphicFrame>
        <p:nvGraphicFramePr>
          <p:cNvPr id="3" name="Object 2"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188"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Working Draft Text" hidden="1"/>
          <p:cNvSpPr txBox="1">
            <a:spLocks noChangeArrowheads="1"/>
          </p:cNvSpPr>
          <p:nvPr/>
        </p:nvSpPr>
        <p:spPr bwMode="black">
          <a:xfrm>
            <a:off x="5992719" y="6287538"/>
            <a:ext cx="2790000"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800" b="1" baseline="0" dirty="0">
                <a:solidFill>
                  <a:srgbClr val="FFFFFF"/>
                </a:solidFill>
                <a:latin typeface="+mn-lt"/>
              </a:rPr>
              <a:t>WORKING DRAFT</a:t>
            </a:r>
          </a:p>
        </p:txBody>
      </p:sp>
      <p:sp>
        <p:nvSpPr>
          <p:cNvPr id="6" name="Working Draft" hidden="1"/>
          <p:cNvSpPr txBox="1">
            <a:spLocks noChangeArrowheads="1"/>
          </p:cNvSpPr>
          <p:nvPr/>
        </p:nvSpPr>
        <p:spPr bwMode="black">
          <a:xfrm>
            <a:off x="5992718" y="6410648"/>
            <a:ext cx="2968719"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800" baseline="0">
                <a:solidFill>
                  <a:srgbClr val="FFFFFF"/>
                </a:solidFill>
                <a:latin typeface="+mn-lt"/>
              </a:rPr>
              <a:t>Last Modified 21/05/2018 17:44 India Standard Time</a:t>
            </a:r>
            <a:endParaRPr lang="en-US" sz="800" baseline="0" dirty="0">
              <a:solidFill>
                <a:srgbClr val="FFFFFF"/>
              </a:solidFill>
              <a:latin typeface="+mn-lt"/>
            </a:endParaRPr>
          </a:p>
        </p:txBody>
      </p:sp>
      <p:sp>
        <p:nvSpPr>
          <p:cNvPr id="7" name="Printed" hidden="1"/>
          <p:cNvSpPr txBox="1">
            <a:spLocks noChangeArrowheads="1"/>
          </p:cNvSpPr>
          <p:nvPr/>
        </p:nvSpPr>
        <p:spPr bwMode="black">
          <a:xfrm>
            <a:off x="5992719" y="6533759"/>
            <a:ext cx="2790000"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800" baseline="0" dirty="0">
                <a:solidFill>
                  <a:srgbClr val="FFFFFF"/>
                </a:solidFill>
                <a:latin typeface="+mn-lt"/>
              </a:rPr>
              <a:t>Printed</a:t>
            </a:r>
          </a:p>
        </p:txBody>
      </p:sp>
      <p:sp>
        <p:nvSpPr>
          <p:cNvPr id="13314" name="Title"/>
          <p:cNvSpPr>
            <a:spLocks noGrp="1" noChangeArrowheads="1"/>
          </p:cNvSpPr>
          <p:nvPr>
            <p:ph type="ctrTitle"/>
          </p:nvPr>
        </p:nvSpPr>
        <p:spPr>
          <a:xfrm>
            <a:off x="2268266" y="1434419"/>
            <a:ext cx="6231663" cy="492443"/>
          </a:xfrm>
          <a:prstGeom prst="rect">
            <a:avLst/>
          </a:prstGeom>
        </p:spPr>
        <p:txBody>
          <a:bodyPr>
            <a:spAutoFit/>
          </a:bodyPr>
          <a:lstStyle>
            <a:lvl1pPr>
              <a:defRPr sz="3200" b="0" baseline="0">
                <a:solidFill>
                  <a:schemeClr val="accent2"/>
                </a:solidFill>
                <a:latin typeface="+mj-lt"/>
                <a:ea typeface="+mj-ea"/>
              </a:defRPr>
            </a:lvl1pPr>
          </a:lstStyle>
          <a:p>
            <a:pPr lvl="0" latinLnBrk="0"/>
            <a:r>
              <a:rPr lang="en-US" noProof="0"/>
              <a:t>Click to edit Master title style</a:t>
            </a:r>
            <a:endParaRPr lang="en-US" noProof="0" dirty="0"/>
          </a:p>
        </p:txBody>
      </p:sp>
      <p:sp>
        <p:nvSpPr>
          <p:cNvPr id="13315" name="Subtitle"/>
          <p:cNvSpPr>
            <a:spLocks noGrp="1" noChangeArrowheads="1"/>
          </p:cNvSpPr>
          <p:nvPr>
            <p:ph type="subTitle" idx="1"/>
          </p:nvPr>
        </p:nvSpPr>
        <p:spPr>
          <a:xfrm>
            <a:off x="2268266" y="2819401"/>
            <a:ext cx="6231663" cy="215444"/>
          </a:xfrm>
          <a:prstGeom prst="rect">
            <a:avLst/>
          </a:prstGeom>
        </p:spPr>
        <p:txBody>
          <a:bodyPr wrap="square">
            <a:spAutoFit/>
          </a:bodyPr>
          <a:lstStyle>
            <a:lvl1pPr>
              <a:defRPr sz="1400" cap="all" baseline="0">
                <a:solidFill>
                  <a:schemeClr val="bg1"/>
                </a:solidFill>
                <a:latin typeface="+mn-lt"/>
                <a:ea typeface="+mn-ea"/>
              </a:defRPr>
            </a:lvl1pPr>
          </a:lstStyle>
          <a:p>
            <a:pPr lvl="0" latinLnBrk="0"/>
            <a:r>
              <a:rPr lang="en-US" noProof="0"/>
              <a:t>Click to edit Master subtitle style</a:t>
            </a:r>
            <a:endParaRPr lang="en-US" noProof="0" dirty="0"/>
          </a:p>
        </p:txBody>
      </p:sp>
      <p:sp>
        <p:nvSpPr>
          <p:cNvPr id="57" name="Document type" hidden="1"/>
          <p:cNvSpPr txBox="1">
            <a:spLocks noChangeArrowheads="1"/>
          </p:cNvSpPr>
          <p:nvPr/>
        </p:nvSpPr>
        <p:spPr bwMode="gray">
          <a:xfrm>
            <a:off x="2268266" y="3227411"/>
            <a:ext cx="6231663"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00" baseline="0" dirty="0">
                <a:solidFill>
                  <a:schemeClr val="bg1"/>
                </a:solidFill>
                <a:latin typeface="+mn-lt"/>
              </a:rPr>
              <a:t>Document type | Date</a:t>
            </a:r>
          </a:p>
        </p:txBody>
      </p:sp>
      <p:sp>
        <p:nvSpPr>
          <p:cNvPr id="5" name="doc id" hidden="1"/>
          <p:cNvSpPr txBox="1">
            <a:spLocks noChangeArrowheads="1"/>
          </p:cNvSpPr>
          <p:nvPr/>
        </p:nvSpPr>
        <p:spPr bwMode="white">
          <a:xfrm>
            <a:off x="8443913" y="36513"/>
            <a:ext cx="295275" cy="1222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hangingPunct="1">
              <a:defRPr/>
            </a:pPr>
            <a:endParaRPr lang="en-US" sz="800" baseline="0" dirty="0">
              <a:solidFill>
                <a:srgbClr val="FFFFFF"/>
              </a:solidFill>
              <a:latin typeface="+mn-lt"/>
            </a:endParaRPr>
          </a:p>
        </p:txBody>
      </p:sp>
      <p:sp>
        <p:nvSpPr>
          <p:cNvPr id="43" name="LogoImage"/>
          <p:cNvSpPr>
            <a:spLocks noEditPoints="1"/>
          </p:cNvSpPr>
          <p:nvPr/>
        </p:nvSpPr>
        <p:spPr bwMode="white">
          <a:xfrm>
            <a:off x="2269098" y="182925"/>
            <a:ext cx="2176978" cy="238073"/>
          </a:xfrm>
          <a:custGeom>
            <a:avLst/>
            <a:gdLst>
              <a:gd name="T0" fmla="*/ 504 w 5516"/>
              <a:gd name="T1" fmla="*/ 26 h 606"/>
              <a:gd name="T2" fmla="*/ 18 w 5516"/>
              <a:gd name="T3" fmla="*/ 22 h 606"/>
              <a:gd name="T4" fmla="*/ 140 w 5516"/>
              <a:gd name="T5" fmla="*/ 436 h 606"/>
              <a:gd name="T6" fmla="*/ 408 w 5516"/>
              <a:gd name="T7" fmla="*/ 372 h 606"/>
              <a:gd name="T8" fmla="*/ 696 w 5516"/>
              <a:gd name="T9" fmla="*/ 422 h 606"/>
              <a:gd name="T10" fmla="*/ 768 w 5516"/>
              <a:gd name="T11" fmla="*/ 196 h 606"/>
              <a:gd name="T12" fmla="*/ 1272 w 5516"/>
              <a:gd name="T13" fmla="*/ 26 h 606"/>
              <a:gd name="T14" fmla="*/ 1302 w 5516"/>
              <a:gd name="T15" fmla="*/ 338 h 606"/>
              <a:gd name="T16" fmla="*/ 1202 w 5516"/>
              <a:gd name="T17" fmla="*/ 436 h 606"/>
              <a:gd name="T18" fmla="*/ 1030 w 5516"/>
              <a:gd name="T19" fmla="*/ 10 h 606"/>
              <a:gd name="T20" fmla="*/ 960 w 5516"/>
              <a:gd name="T21" fmla="*/ 22 h 606"/>
              <a:gd name="T22" fmla="*/ 804 w 5516"/>
              <a:gd name="T23" fmla="*/ 434 h 606"/>
              <a:gd name="T24" fmla="*/ 930 w 5516"/>
              <a:gd name="T25" fmla="*/ 246 h 606"/>
              <a:gd name="T26" fmla="*/ 1658 w 5516"/>
              <a:gd name="T27" fmla="*/ 342 h 606"/>
              <a:gd name="T28" fmla="*/ 1368 w 5516"/>
              <a:gd name="T29" fmla="*/ 188 h 606"/>
              <a:gd name="T30" fmla="*/ 1514 w 5516"/>
              <a:gd name="T31" fmla="*/ 436 h 606"/>
              <a:gd name="T32" fmla="*/ 1564 w 5516"/>
              <a:gd name="T33" fmla="*/ 434 h 606"/>
              <a:gd name="T34" fmla="*/ 1904 w 5516"/>
              <a:gd name="T35" fmla="*/ 184 h 606"/>
              <a:gd name="T36" fmla="*/ 1728 w 5516"/>
              <a:gd name="T37" fmla="*/ 366 h 606"/>
              <a:gd name="T38" fmla="*/ 2102 w 5516"/>
              <a:gd name="T39" fmla="*/ 192 h 606"/>
              <a:gd name="T40" fmla="*/ 1982 w 5516"/>
              <a:gd name="T41" fmla="*/ 320 h 606"/>
              <a:gd name="T42" fmla="*/ 2478 w 5516"/>
              <a:gd name="T43" fmla="*/ 242 h 606"/>
              <a:gd name="T44" fmla="*/ 2406 w 5516"/>
              <a:gd name="T45" fmla="*/ 390 h 606"/>
              <a:gd name="T46" fmla="*/ 2234 w 5516"/>
              <a:gd name="T47" fmla="*/ 192 h 606"/>
              <a:gd name="T48" fmla="*/ 2478 w 5516"/>
              <a:gd name="T49" fmla="*/ 242 h 606"/>
              <a:gd name="T50" fmla="*/ 2928 w 5516"/>
              <a:gd name="T51" fmla="*/ 448 h 606"/>
              <a:gd name="T52" fmla="*/ 2958 w 5516"/>
              <a:gd name="T53" fmla="*/ 230 h 606"/>
              <a:gd name="T54" fmla="*/ 2716 w 5516"/>
              <a:gd name="T55" fmla="*/ 54 h 606"/>
              <a:gd name="T56" fmla="*/ 2714 w 5516"/>
              <a:gd name="T57" fmla="*/ 36 h 606"/>
              <a:gd name="T58" fmla="*/ 2928 w 5516"/>
              <a:gd name="T59" fmla="*/ 448 h 606"/>
              <a:gd name="T60" fmla="*/ 3388 w 5516"/>
              <a:gd name="T61" fmla="*/ 4 h 606"/>
              <a:gd name="T62" fmla="*/ 3396 w 5516"/>
              <a:gd name="T63" fmla="*/ 366 h 606"/>
              <a:gd name="T64" fmla="*/ 3580 w 5516"/>
              <a:gd name="T65" fmla="*/ 190 h 606"/>
              <a:gd name="T66" fmla="*/ 3502 w 5516"/>
              <a:gd name="T67" fmla="*/ 432 h 606"/>
              <a:gd name="T68" fmla="*/ 4232 w 5516"/>
              <a:gd name="T69" fmla="*/ 348 h 606"/>
              <a:gd name="T70" fmla="*/ 3858 w 5516"/>
              <a:gd name="T71" fmla="*/ 176 h 606"/>
              <a:gd name="T72" fmla="*/ 3758 w 5516"/>
              <a:gd name="T73" fmla="*/ 446 h 606"/>
              <a:gd name="T74" fmla="*/ 3990 w 5516"/>
              <a:gd name="T75" fmla="*/ 282 h 606"/>
              <a:gd name="T76" fmla="*/ 4042 w 5516"/>
              <a:gd name="T77" fmla="*/ 342 h 606"/>
              <a:gd name="T78" fmla="*/ 4134 w 5516"/>
              <a:gd name="T79" fmla="*/ 448 h 606"/>
              <a:gd name="T80" fmla="*/ 4454 w 5516"/>
              <a:gd name="T81" fmla="*/ 202 h 606"/>
              <a:gd name="T82" fmla="*/ 4284 w 5516"/>
              <a:gd name="T83" fmla="*/ 174 h 606"/>
              <a:gd name="T84" fmla="*/ 4432 w 5516"/>
              <a:gd name="T85" fmla="*/ 588 h 606"/>
              <a:gd name="T86" fmla="*/ 4792 w 5516"/>
              <a:gd name="T87" fmla="*/ 382 h 606"/>
              <a:gd name="T88" fmla="*/ 5192 w 5516"/>
              <a:gd name="T89" fmla="*/ 340 h 606"/>
              <a:gd name="T90" fmla="*/ 4902 w 5516"/>
              <a:gd name="T91" fmla="*/ 186 h 606"/>
              <a:gd name="T92" fmla="*/ 4850 w 5516"/>
              <a:gd name="T93" fmla="*/ 274 h 606"/>
              <a:gd name="T94" fmla="*/ 4742 w 5516"/>
              <a:gd name="T95" fmla="*/ 194 h 606"/>
              <a:gd name="T96" fmla="*/ 4794 w 5516"/>
              <a:gd name="T97" fmla="*/ 418 h 606"/>
              <a:gd name="T98" fmla="*/ 5004 w 5516"/>
              <a:gd name="T99" fmla="*/ 338 h 606"/>
              <a:gd name="T100" fmla="*/ 5098 w 5516"/>
              <a:gd name="T101" fmla="*/ 446 h 606"/>
              <a:gd name="T102" fmla="*/ 5418 w 5516"/>
              <a:gd name="T103" fmla="*/ 192 h 606"/>
              <a:gd name="T104" fmla="*/ 5348 w 5516"/>
              <a:gd name="T105" fmla="*/ 180 h 606"/>
              <a:gd name="T106" fmla="*/ 5254 w 5516"/>
              <a:gd name="T107" fmla="*/ 606 h 6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516" h="606">
                <a:moveTo>
                  <a:pt x="366" y="448"/>
                </a:moveTo>
                <a:cubicBezTo>
                  <a:pt x="524" y="448"/>
                  <a:pt x="524" y="448"/>
                  <a:pt x="524" y="448"/>
                </a:cubicBezTo>
                <a:cubicBezTo>
                  <a:pt x="524" y="436"/>
                  <a:pt x="524" y="436"/>
                  <a:pt x="524" y="436"/>
                </a:cubicBezTo>
                <a:cubicBezTo>
                  <a:pt x="486" y="432"/>
                  <a:pt x="470" y="414"/>
                  <a:pt x="468" y="362"/>
                </a:cubicBezTo>
                <a:cubicBezTo>
                  <a:pt x="454" y="86"/>
                  <a:pt x="454" y="86"/>
                  <a:pt x="454" y="86"/>
                </a:cubicBezTo>
                <a:cubicBezTo>
                  <a:pt x="452" y="46"/>
                  <a:pt x="470" y="30"/>
                  <a:pt x="504" y="26"/>
                </a:cubicBezTo>
                <a:cubicBezTo>
                  <a:pt x="504" y="12"/>
                  <a:pt x="504" y="12"/>
                  <a:pt x="504" y="12"/>
                </a:cubicBezTo>
                <a:cubicBezTo>
                  <a:pt x="394" y="12"/>
                  <a:pt x="394" y="12"/>
                  <a:pt x="394" y="12"/>
                </a:cubicBezTo>
                <a:cubicBezTo>
                  <a:pt x="264" y="350"/>
                  <a:pt x="264" y="350"/>
                  <a:pt x="264" y="350"/>
                </a:cubicBezTo>
                <a:cubicBezTo>
                  <a:pt x="132" y="10"/>
                  <a:pt x="132" y="10"/>
                  <a:pt x="132" y="10"/>
                </a:cubicBezTo>
                <a:cubicBezTo>
                  <a:pt x="18" y="10"/>
                  <a:pt x="18" y="10"/>
                  <a:pt x="18" y="10"/>
                </a:cubicBezTo>
                <a:cubicBezTo>
                  <a:pt x="18" y="22"/>
                  <a:pt x="18" y="22"/>
                  <a:pt x="18" y="22"/>
                </a:cubicBezTo>
                <a:cubicBezTo>
                  <a:pt x="40" y="26"/>
                  <a:pt x="74" y="32"/>
                  <a:pt x="72" y="84"/>
                </a:cubicBezTo>
                <a:cubicBezTo>
                  <a:pt x="58" y="352"/>
                  <a:pt x="58" y="352"/>
                  <a:pt x="58" y="352"/>
                </a:cubicBezTo>
                <a:cubicBezTo>
                  <a:pt x="54" y="410"/>
                  <a:pt x="38" y="430"/>
                  <a:pt x="0" y="436"/>
                </a:cubicBezTo>
                <a:cubicBezTo>
                  <a:pt x="0" y="448"/>
                  <a:pt x="0" y="448"/>
                  <a:pt x="0" y="448"/>
                </a:cubicBezTo>
                <a:cubicBezTo>
                  <a:pt x="140" y="448"/>
                  <a:pt x="140" y="448"/>
                  <a:pt x="140" y="448"/>
                </a:cubicBezTo>
                <a:cubicBezTo>
                  <a:pt x="140" y="436"/>
                  <a:pt x="140" y="436"/>
                  <a:pt x="140" y="436"/>
                </a:cubicBezTo>
                <a:cubicBezTo>
                  <a:pt x="98" y="428"/>
                  <a:pt x="84" y="414"/>
                  <a:pt x="88" y="356"/>
                </a:cubicBezTo>
                <a:cubicBezTo>
                  <a:pt x="100" y="86"/>
                  <a:pt x="100" y="86"/>
                  <a:pt x="100" y="86"/>
                </a:cubicBezTo>
                <a:cubicBezTo>
                  <a:pt x="240" y="444"/>
                  <a:pt x="240" y="444"/>
                  <a:pt x="240" y="444"/>
                </a:cubicBezTo>
                <a:cubicBezTo>
                  <a:pt x="258" y="444"/>
                  <a:pt x="258" y="444"/>
                  <a:pt x="258" y="444"/>
                </a:cubicBezTo>
                <a:cubicBezTo>
                  <a:pt x="396" y="86"/>
                  <a:pt x="396" y="86"/>
                  <a:pt x="396" y="86"/>
                </a:cubicBezTo>
                <a:cubicBezTo>
                  <a:pt x="408" y="372"/>
                  <a:pt x="408" y="372"/>
                  <a:pt x="408" y="372"/>
                </a:cubicBezTo>
                <a:cubicBezTo>
                  <a:pt x="410" y="416"/>
                  <a:pt x="398" y="430"/>
                  <a:pt x="366" y="434"/>
                </a:cubicBezTo>
                <a:lnTo>
                  <a:pt x="366" y="448"/>
                </a:lnTo>
                <a:close/>
                <a:moveTo>
                  <a:pt x="670" y="456"/>
                </a:moveTo>
                <a:cubicBezTo>
                  <a:pt x="708" y="456"/>
                  <a:pt x="756" y="440"/>
                  <a:pt x="782" y="412"/>
                </a:cubicBezTo>
                <a:cubicBezTo>
                  <a:pt x="776" y="400"/>
                  <a:pt x="776" y="400"/>
                  <a:pt x="776" y="400"/>
                </a:cubicBezTo>
                <a:cubicBezTo>
                  <a:pt x="750" y="416"/>
                  <a:pt x="722" y="422"/>
                  <a:pt x="696" y="422"/>
                </a:cubicBezTo>
                <a:cubicBezTo>
                  <a:pt x="620" y="422"/>
                  <a:pt x="592" y="358"/>
                  <a:pt x="592" y="290"/>
                </a:cubicBezTo>
                <a:cubicBezTo>
                  <a:pt x="592" y="258"/>
                  <a:pt x="600" y="236"/>
                  <a:pt x="614" y="222"/>
                </a:cubicBezTo>
                <a:cubicBezTo>
                  <a:pt x="626" y="210"/>
                  <a:pt x="646" y="204"/>
                  <a:pt x="664" y="204"/>
                </a:cubicBezTo>
                <a:cubicBezTo>
                  <a:pt x="690" y="204"/>
                  <a:pt x="722" y="214"/>
                  <a:pt x="744" y="244"/>
                </a:cubicBezTo>
                <a:cubicBezTo>
                  <a:pt x="750" y="244"/>
                  <a:pt x="750" y="244"/>
                  <a:pt x="750" y="244"/>
                </a:cubicBezTo>
                <a:cubicBezTo>
                  <a:pt x="758" y="234"/>
                  <a:pt x="766" y="212"/>
                  <a:pt x="768" y="196"/>
                </a:cubicBezTo>
                <a:cubicBezTo>
                  <a:pt x="748" y="180"/>
                  <a:pt x="720" y="172"/>
                  <a:pt x="686" y="172"/>
                </a:cubicBezTo>
                <a:cubicBezTo>
                  <a:pt x="604" y="172"/>
                  <a:pt x="544" y="246"/>
                  <a:pt x="544" y="326"/>
                </a:cubicBezTo>
                <a:cubicBezTo>
                  <a:pt x="540" y="390"/>
                  <a:pt x="576" y="456"/>
                  <a:pt x="670" y="456"/>
                </a:cubicBezTo>
                <a:moveTo>
                  <a:pt x="1272" y="98"/>
                </a:moveTo>
                <a:cubicBezTo>
                  <a:pt x="1292" y="98"/>
                  <a:pt x="1308" y="82"/>
                  <a:pt x="1308" y="62"/>
                </a:cubicBezTo>
                <a:cubicBezTo>
                  <a:pt x="1308" y="42"/>
                  <a:pt x="1292" y="26"/>
                  <a:pt x="1272" y="26"/>
                </a:cubicBezTo>
                <a:cubicBezTo>
                  <a:pt x="1252" y="26"/>
                  <a:pt x="1238" y="42"/>
                  <a:pt x="1238" y="62"/>
                </a:cubicBezTo>
                <a:cubicBezTo>
                  <a:pt x="1238" y="82"/>
                  <a:pt x="1252" y="98"/>
                  <a:pt x="1272" y="98"/>
                </a:cubicBezTo>
                <a:moveTo>
                  <a:pt x="1202" y="448"/>
                </a:moveTo>
                <a:cubicBezTo>
                  <a:pt x="1346" y="448"/>
                  <a:pt x="1346" y="448"/>
                  <a:pt x="1346" y="448"/>
                </a:cubicBezTo>
                <a:cubicBezTo>
                  <a:pt x="1346" y="436"/>
                  <a:pt x="1346" y="436"/>
                  <a:pt x="1346" y="436"/>
                </a:cubicBezTo>
                <a:cubicBezTo>
                  <a:pt x="1304" y="432"/>
                  <a:pt x="1302" y="434"/>
                  <a:pt x="1302" y="338"/>
                </a:cubicBezTo>
                <a:cubicBezTo>
                  <a:pt x="1302" y="176"/>
                  <a:pt x="1302" y="176"/>
                  <a:pt x="1302" y="176"/>
                </a:cubicBezTo>
                <a:cubicBezTo>
                  <a:pt x="1200" y="176"/>
                  <a:pt x="1200" y="176"/>
                  <a:pt x="1200" y="176"/>
                </a:cubicBezTo>
                <a:cubicBezTo>
                  <a:pt x="1200" y="188"/>
                  <a:pt x="1200" y="188"/>
                  <a:pt x="1200" y="188"/>
                </a:cubicBezTo>
                <a:cubicBezTo>
                  <a:pt x="1244" y="190"/>
                  <a:pt x="1250" y="192"/>
                  <a:pt x="1250" y="268"/>
                </a:cubicBezTo>
                <a:cubicBezTo>
                  <a:pt x="1250" y="336"/>
                  <a:pt x="1250" y="336"/>
                  <a:pt x="1250" y="336"/>
                </a:cubicBezTo>
                <a:cubicBezTo>
                  <a:pt x="1250" y="432"/>
                  <a:pt x="1248" y="432"/>
                  <a:pt x="1202" y="436"/>
                </a:cubicBezTo>
                <a:cubicBezTo>
                  <a:pt x="1178" y="434"/>
                  <a:pt x="1154" y="426"/>
                  <a:pt x="1076" y="338"/>
                </a:cubicBezTo>
                <a:cubicBezTo>
                  <a:pt x="1046" y="302"/>
                  <a:pt x="996" y="244"/>
                  <a:pt x="968" y="206"/>
                </a:cubicBezTo>
                <a:cubicBezTo>
                  <a:pt x="1062" y="102"/>
                  <a:pt x="1062" y="102"/>
                  <a:pt x="1062" y="102"/>
                </a:cubicBezTo>
                <a:cubicBezTo>
                  <a:pt x="1108" y="52"/>
                  <a:pt x="1132" y="26"/>
                  <a:pt x="1176" y="24"/>
                </a:cubicBezTo>
                <a:cubicBezTo>
                  <a:pt x="1176" y="10"/>
                  <a:pt x="1176" y="10"/>
                  <a:pt x="1176" y="10"/>
                </a:cubicBezTo>
                <a:cubicBezTo>
                  <a:pt x="1030" y="10"/>
                  <a:pt x="1030" y="10"/>
                  <a:pt x="1030" y="10"/>
                </a:cubicBezTo>
                <a:cubicBezTo>
                  <a:pt x="1030" y="22"/>
                  <a:pt x="1030" y="22"/>
                  <a:pt x="1030" y="22"/>
                </a:cubicBezTo>
                <a:cubicBezTo>
                  <a:pt x="1050" y="26"/>
                  <a:pt x="1056" y="32"/>
                  <a:pt x="1056" y="46"/>
                </a:cubicBezTo>
                <a:cubicBezTo>
                  <a:pt x="1056" y="56"/>
                  <a:pt x="1054" y="72"/>
                  <a:pt x="1026" y="102"/>
                </a:cubicBezTo>
                <a:cubicBezTo>
                  <a:pt x="910" y="230"/>
                  <a:pt x="910" y="230"/>
                  <a:pt x="910" y="230"/>
                </a:cubicBezTo>
                <a:cubicBezTo>
                  <a:pt x="910" y="148"/>
                  <a:pt x="910" y="148"/>
                  <a:pt x="910" y="148"/>
                </a:cubicBezTo>
                <a:cubicBezTo>
                  <a:pt x="910" y="36"/>
                  <a:pt x="916" y="28"/>
                  <a:pt x="960" y="22"/>
                </a:cubicBezTo>
                <a:cubicBezTo>
                  <a:pt x="960" y="8"/>
                  <a:pt x="960" y="8"/>
                  <a:pt x="960" y="8"/>
                </a:cubicBezTo>
                <a:cubicBezTo>
                  <a:pt x="804" y="8"/>
                  <a:pt x="804" y="8"/>
                  <a:pt x="804" y="8"/>
                </a:cubicBezTo>
                <a:cubicBezTo>
                  <a:pt x="804" y="22"/>
                  <a:pt x="804" y="22"/>
                  <a:pt x="804" y="22"/>
                </a:cubicBezTo>
                <a:cubicBezTo>
                  <a:pt x="852" y="26"/>
                  <a:pt x="854" y="36"/>
                  <a:pt x="854" y="148"/>
                </a:cubicBezTo>
                <a:cubicBezTo>
                  <a:pt x="854" y="300"/>
                  <a:pt x="854" y="300"/>
                  <a:pt x="854" y="300"/>
                </a:cubicBezTo>
                <a:cubicBezTo>
                  <a:pt x="854" y="422"/>
                  <a:pt x="850" y="430"/>
                  <a:pt x="804" y="434"/>
                </a:cubicBezTo>
                <a:cubicBezTo>
                  <a:pt x="804" y="446"/>
                  <a:pt x="804" y="446"/>
                  <a:pt x="804" y="446"/>
                </a:cubicBezTo>
                <a:cubicBezTo>
                  <a:pt x="960" y="446"/>
                  <a:pt x="960" y="446"/>
                  <a:pt x="960" y="446"/>
                </a:cubicBezTo>
                <a:cubicBezTo>
                  <a:pt x="960" y="434"/>
                  <a:pt x="960" y="434"/>
                  <a:pt x="960" y="434"/>
                </a:cubicBezTo>
                <a:cubicBezTo>
                  <a:pt x="910" y="428"/>
                  <a:pt x="910" y="424"/>
                  <a:pt x="910" y="292"/>
                </a:cubicBezTo>
                <a:cubicBezTo>
                  <a:pt x="910" y="268"/>
                  <a:pt x="910" y="268"/>
                  <a:pt x="910" y="268"/>
                </a:cubicBezTo>
                <a:cubicBezTo>
                  <a:pt x="930" y="246"/>
                  <a:pt x="930" y="246"/>
                  <a:pt x="930" y="246"/>
                </a:cubicBezTo>
                <a:cubicBezTo>
                  <a:pt x="982" y="310"/>
                  <a:pt x="1038" y="380"/>
                  <a:pt x="1098" y="448"/>
                </a:cubicBezTo>
                <a:cubicBezTo>
                  <a:pt x="1202" y="448"/>
                  <a:pt x="1202" y="448"/>
                  <a:pt x="1202" y="448"/>
                </a:cubicBezTo>
                <a:close/>
                <a:moveTo>
                  <a:pt x="1564" y="448"/>
                </a:moveTo>
                <a:cubicBezTo>
                  <a:pt x="1706" y="448"/>
                  <a:pt x="1706" y="448"/>
                  <a:pt x="1706" y="448"/>
                </a:cubicBezTo>
                <a:cubicBezTo>
                  <a:pt x="1706" y="436"/>
                  <a:pt x="1706" y="436"/>
                  <a:pt x="1706" y="436"/>
                </a:cubicBezTo>
                <a:cubicBezTo>
                  <a:pt x="1658" y="434"/>
                  <a:pt x="1658" y="432"/>
                  <a:pt x="1658" y="342"/>
                </a:cubicBezTo>
                <a:cubicBezTo>
                  <a:pt x="1658" y="280"/>
                  <a:pt x="1658" y="280"/>
                  <a:pt x="1658" y="280"/>
                </a:cubicBezTo>
                <a:cubicBezTo>
                  <a:pt x="1658" y="198"/>
                  <a:pt x="1612" y="172"/>
                  <a:pt x="1570" y="172"/>
                </a:cubicBezTo>
                <a:cubicBezTo>
                  <a:pt x="1534" y="172"/>
                  <a:pt x="1498" y="188"/>
                  <a:pt x="1470" y="224"/>
                </a:cubicBezTo>
                <a:cubicBezTo>
                  <a:pt x="1470" y="176"/>
                  <a:pt x="1470" y="176"/>
                  <a:pt x="1470" y="176"/>
                </a:cubicBezTo>
                <a:cubicBezTo>
                  <a:pt x="1368" y="176"/>
                  <a:pt x="1368" y="176"/>
                  <a:pt x="1368" y="176"/>
                </a:cubicBezTo>
                <a:cubicBezTo>
                  <a:pt x="1368" y="188"/>
                  <a:pt x="1368" y="188"/>
                  <a:pt x="1368" y="188"/>
                </a:cubicBezTo>
                <a:cubicBezTo>
                  <a:pt x="1412" y="190"/>
                  <a:pt x="1418" y="192"/>
                  <a:pt x="1418" y="268"/>
                </a:cubicBezTo>
                <a:cubicBezTo>
                  <a:pt x="1418" y="336"/>
                  <a:pt x="1418" y="336"/>
                  <a:pt x="1418" y="336"/>
                </a:cubicBezTo>
                <a:cubicBezTo>
                  <a:pt x="1418" y="434"/>
                  <a:pt x="1418" y="434"/>
                  <a:pt x="1370" y="436"/>
                </a:cubicBezTo>
                <a:cubicBezTo>
                  <a:pt x="1370" y="448"/>
                  <a:pt x="1370" y="448"/>
                  <a:pt x="1370" y="448"/>
                </a:cubicBezTo>
                <a:cubicBezTo>
                  <a:pt x="1514" y="448"/>
                  <a:pt x="1514" y="448"/>
                  <a:pt x="1514" y="448"/>
                </a:cubicBezTo>
                <a:cubicBezTo>
                  <a:pt x="1514" y="436"/>
                  <a:pt x="1514" y="436"/>
                  <a:pt x="1514" y="436"/>
                </a:cubicBezTo>
                <a:cubicBezTo>
                  <a:pt x="1472" y="432"/>
                  <a:pt x="1470" y="434"/>
                  <a:pt x="1470" y="338"/>
                </a:cubicBezTo>
                <a:cubicBezTo>
                  <a:pt x="1470" y="262"/>
                  <a:pt x="1470" y="262"/>
                  <a:pt x="1470" y="262"/>
                </a:cubicBezTo>
                <a:cubicBezTo>
                  <a:pt x="1470" y="236"/>
                  <a:pt x="1504" y="206"/>
                  <a:pt x="1546" y="206"/>
                </a:cubicBezTo>
                <a:cubicBezTo>
                  <a:pt x="1580" y="206"/>
                  <a:pt x="1606" y="220"/>
                  <a:pt x="1606" y="286"/>
                </a:cubicBezTo>
                <a:cubicBezTo>
                  <a:pt x="1606" y="340"/>
                  <a:pt x="1606" y="340"/>
                  <a:pt x="1606" y="340"/>
                </a:cubicBezTo>
                <a:cubicBezTo>
                  <a:pt x="1606" y="432"/>
                  <a:pt x="1602" y="432"/>
                  <a:pt x="1564" y="434"/>
                </a:cubicBezTo>
                <a:lnTo>
                  <a:pt x="1564" y="448"/>
                </a:lnTo>
                <a:close/>
                <a:moveTo>
                  <a:pt x="1776" y="222"/>
                </a:moveTo>
                <a:cubicBezTo>
                  <a:pt x="1776" y="200"/>
                  <a:pt x="1796" y="188"/>
                  <a:pt x="1822" y="188"/>
                </a:cubicBezTo>
                <a:cubicBezTo>
                  <a:pt x="1874" y="188"/>
                  <a:pt x="1896" y="236"/>
                  <a:pt x="1900" y="252"/>
                </a:cubicBezTo>
                <a:cubicBezTo>
                  <a:pt x="1912" y="252"/>
                  <a:pt x="1912" y="252"/>
                  <a:pt x="1912" y="252"/>
                </a:cubicBezTo>
                <a:cubicBezTo>
                  <a:pt x="1912" y="212"/>
                  <a:pt x="1908" y="188"/>
                  <a:pt x="1904" y="184"/>
                </a:cubicBezTo>
                <a:cubicBezTo>
                  <a:pt x="1900" y="180"/>
                  <a:pt x="1862" y="170"/>
                  <a:pt x="1824" y="170"/>
                </a:cubicBezTo>
                <a:cubicBezTo>
                  <a:pt x="1768" y="170"/>
                  <a:pt x="1734" y="206"/>
                  <a:pt x="1734" y="248"/>
                </a:cubicBezTo>
                <a:cubicBezTo>
                  <a:pt x="1734" y="340"/>
                  <a:pt x="1890" y="322"/>
                  <a:pt x="1890" y="396"/>
                </a:cubicBezTo>
                <a:cubicBezTo>
                  <a:pt x="1890" y="422"/>
                  <a:pt x="1866" y="436"/>
                  <a:pt x="1826" y="436"/>
                </a:cubicBezTo>
                <a:cubicBezTo>
                  <a:pt x="1788" y="436"/>
                  <a:pt x="1754" y="416"/>
                  <a:pt x="1744" y="366"/>
                </a:cubicBezTo>
                <a:cubicBezTo>
                  <a:pt x="1728" y="366"/>
                  <a:pt x="1728" y="366"/>
                  <a:pt x="1728" y="366"/>
                </a:cubicBezTo>
                <a:cubicBezTo>
                  <a:pt x="1728" y="386"/>
                  <a:pt x="1732" y="422"/>
                  <a:pt x="1734" y="428"/>
                </a:cubicBezTo>
                <a:cubicBezTo>
                  <a:pt x="1744" y="446"/>
                  <a:pt x="1788" y="454"/>
                  <a:pt x="1824" y="454"/>
                </a:cubicBezTo>
                <a:cubicBezTo>
                  <a:pt x="1888" y="454"/>
                  <a:pt x="1928" y="416"/>
                  <a:pt x="1928" y="372"/>
                </a:cubicBezTo>
                <a:cubicBezTo>
                  <a:pt x="1932" y="270"/>
                  <a:pt x="1776" y="286"/>
                  <a:pt x="1776" y="222"/>
                </a:cubicBezTo>
                <a:moveTo>
                  <a:pt x="2030" y="270"/>
                </a:moveTo>
                <a:cubicBezTo>
                  <a:pt x="2034" y="220"/>
                  <a:pt x="2058" y="192"/>
                  <a:pt x="2102" y="192"/>
                </a:cubicBezTo>
                <a:cubicBezTo>
                  <a:pt x="2144" y="192"/>
                  <a:pt x="2170" y="220"/>
                  <a:pt x="2172" y="270"/>
                </a:cubicBezTo>
                <a:lnTo>
                  <a:pt x="2030" y="270"/>
                </a:lnTo>
                <a:close/>
                <a:moveTo>
                  <a:pt x="2030" y="290"/>
                </a:moveTo>
                <a:cubicBezTo>
                  <a:pt x="2222" y="290"/>
                  <a:pt x="2222" y="290"/>
                  <a:pt x="2222" y="290"/>
                </a:cubicBezTo>
                <a:cubicBezTo>
                  <a:pt x="2226" y="228"/>
                  <a:pt x="2192" y="168"/>
                  <a:pt x="2114" y="168"/>
                </a:cubicBezTo>
                <a:cubicBezTo>
                  <a:pt x="2034" y="168"/>
                  <a:pt x="1982" y="232"/>
                  <a:pt x="1982" y="320"/>
                </a:cubicBezTo>
                <a:cubicBezTo>
                  <a:pt x="1982" y="388"/>
                  <a:pt x="2018" y="456"/>
                  <a:pt x="2112" y="456"/>
                </a:cubicBezTo>
                <a:cubicBezTo>
                  <a:pt x="2150" y="456"/>
                  <a:pt x="2198" y="440"/>
                  <a:pt x="2224" y="412"/>
                </a:cubicBezTo>
                <a:cubicBezTo>
                  <a:pt x="2218" y="400"/>
                  <a:pt x="2218" y="400"/>
                  <a:pt x="2218" y="400"/>
                </a:cubicBezTo>
                <a:cubicBezTo>
                  <a:pt x="2192" y="416"/>
                  <a:pt x="2164" y="422"/>
                  <a:pt x="2138" y="422"/>
                </a:cubicBezTo>
                <a:cubicBezTo>
                  <a:pt x="2058" y="420"/>
                  <a:pt x="2028" y="352"/>
                  <a:pt x="2030" y="290"/>
                </a:cubicBezTo>
                <a:moveTo>
                  <a:pt x="2478" y="242"/>
                </a:moveTo>
                <a:cubicBezTo>
                  <a:pt x="2490" y="206"/>
                  <a:pt x="2510" y="192"/>
                  <a:pt x="2528" y="192"/>
                </a:cubicBezTo>
                <a:cubicBezTo>
                  <a:pt x="2528" y="180"/>
                  <a:pt x="2528" y="180"/>
                  <a:pt x="2528" y="180"/>
                </a:cubicBezTo>
                <a:cubicBezTo>
                  <a:pt x="2430" y="180"/>
                  <a:pt x="2430" y="180"/>
                  <a:pt x="2430" y="180"/>
                </a:cubicBezTo>
                <a:cubicBezTo>
                  <a:pt x="2430" y="192"/>
                  <a:pt x="2430" y="192"/>
                  <a:pt x="2430" y="192"/>
                </a:cubicBezTo>
                <a:cubicBezTo>
                  <a:pt x="2454" y="194"/>
                  <a:pt x="2466" y="206"/>
                  <a:pt x="2458" y="234"/>
                </a:cubicBezTo>
                <a:cubicBezTo>
                  <a:pt x="2406" y="390"/>
                  <a:pt x="2406" y="390"/>
                  <a:pt x="2406" y="390"/>
                </a:cubicBezTo>
                <a:cubicBezTo>
                  <a:pt x="2354" y="270"/>
                  <a:pt x="2354" y="270"/>
                  <a:pt x="2354" y="270"/>
                </a:cubicBezTo>
                <a:cubicBezTo>
                  <a:pt x="2340" y="238"/>
                  <a:pt x="2334" y="224"/>
                  <a:pt x="2334" y="212"/>
                </a:cubicBezTo>
                <a:cubicBezTo>
                  <a:pt x="2334" y="202"/>
                  <a:pt x="2340" y="196"/>
                  <a:pt x="2360" y="192"/>
                </a:cubicBezTo>
                <a:cubicBezTo>
                  <a:pt x="2360" y="180"/>
                  <a:pt x="2360" y="180"/>
                  <a:pt x="2360" y="180"/>
                </a:cubicBezTo>
                <a:cubicBezTo>
                  <a:pt x="2234" y="180"/>
                  <a:pt x="2234" y="180"/>
                  <a:pt x="2234" y="180"/>
                </a:cubicBezTo>
                <a:cubicBezTo>
                  <a:pt x="2234" y="192"/>
                  <a:pt x="2234" y="192"/>
                  <a:pt x="2234" y="192"/>
                </a:cubicBezTo>
                <a:cubicBezTo>
                  <a:pt x="2266" y="194"/>
                  <a:pt x="2268" y="198"/>
                  <a:pt x="2310" y="292"/>
                </a:cubicBezTo>
                <a:cubicBezTo>
                  <a:pt x="2382" y="450"/>
                  <a:pt x="2382" y="450"/>
                  <a:pt x="2382" y="450"/>
                </a:cubicBezTo>
                <a:cubicBezTo>
                  <a:pt x="2358" y="512"/>
                  <a:pt x="2320" y="546"/>
                  <a:pt x="2242" y="564"/>
                </a:cubicBezTo>
                <a:cubicBezTo>
                  <a:pt x="2246" y="576"/>
                  <a:pt x="2260" y="600"/>
                  <a:pt x="2268" y="606"/>
                </a:cubicBezTo>
                <a:cubicBezTo>
                  <a:pt x="2370" y="564"/>
                  <a:pt x="2390" y="498"/>
                  <a:pt x="2426" y="396"/>
                </a:cubicBezTo>
                <a:lnTo>
                  <a:pt x="2478" y="242"/>
                </a:lnTo>
                <a:close/>
                <a:moveTo>
                  <a:pt x="2844" y="394"/>
                </a:moveTo>
                <a:cubicBezTo>
                  <a:pt x="2822" y="412"/>
                  <a:pt x="2782" y="416"/>
                  <a:pt x="2750" y="416"/>
                </a:cubicBezTo>
                <a:cubicBezTo>
                  <a:pt x="2670" y="416"/>
                  <a:pt x="2606" y="360"/>
                  <a:pt x="2606" y="284"/>
                </a:cubicBezTo>
                <a:cubicBezTo>
                  <a:pt x="2606" y="236"/>
                  <a:pt x="2626" y="206"/>
                  <a:pt x="2658" y="198"/>
                </a:cubicBezTo>
                <a:cubicBezTo>
                  <a:pt x="2698" y="266"/>
                  <a:pt x="2770" y="338"/>
                  <a:pt x="2844" y="394"/>
                </a:cubicBezTo>
                <a:moveTo>
                  <a:pt x="2928" y="448"/>
                </a:moveTo>
                <a:cubicBezTo>
                  <a:pt x="3022" y="448"/>
                  <a:pt x="3022" y="448"/>
                  <a:pt x="3022" y="448"/>
                </a:cubicBezTo>
                <a:cubicBezTo>
                  <a:pt x="3022" y="436"/>
                  <a:pt x="3022" y="436"/>
                  <a:pt x="3022" y="436"/>
                </a:cubicBezTo>
                <a:cubicBezTo>
                  <a:pt x="2992" y="432"/>
                  <a:pt x="2946" y="408"/>
                  <a:pt x="2896" y="372"/>
                </a:cubicBezTo>
                <a:cubicBezTo>
                  <a:pt x="2914" y="342"/>
                  <a:pt x="2918" y="300"/>
                  <a:pt x="2922" y="270"/>
                </a:cubicBezTo>
                <a:cubicBezTo>
                  <a:pt x="2926" y="244"/>
                  <a:pt x="2946" y="244"/>
                  <a:pt x="2958" y="242"/>
                </a:cubicBezTo>
                <a:cubicBezTo>
                  <a:pt x="2958" y="230"/>
                  <a:pt x="2958" y="230"/>
                  <a:pt x="2958" y="230"/>
                </a:cubicBezTo>
                <a:cubicBezTo>
                  <a:pt x="2834" y="230"/>
                  <a:pt x="2834" y="230"/>
                  <a:pt x="2834" y="230"/>
                </a:cubicBezTo>
                <a:cubicBezTo>
                  <a:pt x="2834" y="242"/>
                  <a:pt x="2834" y="242"/>
                  <a:pt x="2834" y="242"/>
                </a:cubicBezTo>
                <a:cubicBezTo>
                  <a:pt x="2864" y="246"/>
                  <a:pt x="2892" y="250"/>
                  <a:pt x="2892" y="294"/>
                </a:cubicBezTo>
                <a:cubicBezTo>
                  <a:pt x="2892" y="318"/>
                  <a:pt x="2888" y="342"/>
                  <a:pt x="2878" y="358"/>
                </a:cubicBezTo>
                <a:cubicBezTo>
                  <a:pt x="2770" y="274"/>
                  <a:pt x="2670" y="156"/>
                  <a:pt x="2670" y="96"/>
                </a:cubicBezTo>
                <a:cubicBezTo>
                  <a:pt x="2670" y="66"/>
                  <a:pt x="2688" y="54"/>
                  <a:pt x="2716" y="54"/>
                </a:cubicBezTo>
                <a:cubicBezTo>
                  <a:pt x="2752" y="54"/>
                  <a:pt x="2784" y="78"/>
                  <a:pt x="2800" y="124"/>
                </a:cubicBezTo>
                <a:cubicBezTo>
                  <a:pt x="2812" y="124"/>
                  <a:pt x="2812" y="124"/>
                  <a:pt x="2812" y="124"/>
                </a:cubicBezTo>
                <a:cubicBezTo>
                  <a:pt x="2810" y="42"/>
                  <a:pt x="2810" y="42"/>
                  <a:pt x="2810" y="42"/>
                </a:cubicBezTo>
                <a:cubicBezTo>
                  <a:pt x="2798" y="42"/>
                  <a:pt x="2798" y="42"/>
                  <a:pt x="2798" y="42"/>
                </a:cubicBezTo>
                <a:cubicBezTo>
                  <a:pt x="2798" y="48"/>
                  <a:pt x="2792" y="52"/>
                  <a:pt x="2788" y="52"/>
                </a:cubicBezTo>
                <a:cubicBezTo>
                  <a:pt x="2772" y="52"/>
                  <a:pt x="2752" y="36"/>
                  <a:pt x="2714" y="36"/>
                </a:cubicBezTo>
                <a:cubicBezTo>
                  <a:pt x="2672" y="36"/>
                  <a:pt x="2630" y="62"/>
                  <a:pt x="2630" y="118"/>
                </a:cubicBezTo>
                <a:cubicBezTo>
                  <a:pt x="2630" y="140"/>
                  <a:pt x="2636" y="160"/>
                  <a:pt x="2648" y="182"/>
                </a:cubicBezTo>
                <a:cubicBezTo>
                  <a:pt x="2592" y="200"/>
                  <a:pt x="2562" y="248"/>
                  <a:pt x="2562" y="304"/>
                </a:cubicBezTo>
                <a:cubicBezTo>
                  <a:pt x="2562" y="406"/>
                  <a:pt x="2640" y="460"/>
                  <a:pt x="2726" y="460"/>
                </a:cubicBezTo>
                <a:cubicBezTo>
                  <a:pt x="2780" y="460"/>
                  <a:pt x="2824" y="444"/>
                  <a:pt x="2862" y="410"/>
                </a:cubicBezTo>
                <a:cubicBezTo>
                  <a:pt x="2888" y="424"/>
                  <a:pt x="2912" y="442"/>
                  <a:pt x="2928" y="448"/>
                </a:cubicBezTo>
                <a:moveTo>
                  <a:pt x="3094" y="212"/>
                </a:moveTo>
                <a:cubicBezTo>
                  <a:pt x="3094" y="88"/>
                  <a:pt x="3154" y="20"/>
                  <a:pt x="3252" y="20"/>
                </a:cubicBezTo>
                <a:cubicBezTo>
                  <a:pt x="3328" y="20"/>
                  <a:pt x="3372" y="58"/>
                  <a:pt x="3392" y="134"/>
                </a:cubicBezTo>
                <a:cubicBezTo>
                  <a:pt x="3404" y="134"/>
                  <a:pt x="3404" y="134"/>
                  <a:pt x="3404" y="134"/>
                </a:cubicBezTo>
                <a:cubicBezTo>
                  <a:pt x="3400" y="4"/>
                  <a:pt x="3400" y="4"/>
                  <a:pt x="3400" y="4"/>
                </a:cubicBezTo>
                <a:cubicBezTo>
                  <a:pt x="3388" y="4"/>
                  <a:pt x="3388" y="4"/>
                  <a:pt x="3388" y="4"/>
                </a:cubicBezTo>
                <a:cubicBezTo>
                  <a:pt x="3384" y="14"/>
                  <a:pt x="3376" y="18"/>
                  <a:pt x="3364" y="18"/>
                </a:cubicBezTo>
                <a:cubicBezTo>
                  <a:pt x="3338" y="18"/>
                  <a:pt x="3314" y="0"/>
                  <a:pt x="3248" y="0"/>
                </a:cubicBezTo>
                <a:cubicBezTo>
                  <a:pt x="3118" y="0"/>
                  <a:pt x="3030" y="102"/>
                  <a:pt x="3030" y="242"/>
                </a:cubicBezTo>
                <a:cubicBezTo>
                  <a:pt x="3030" y="376"/>
                  <a:pt x="3110" y="460"/>
                  <a:pt x="3238" y="460"/>
                </a:cubicBezTo>
                <a:cubicBezTo>
                  <a:pt x="3320" y="460"/>
                  <a:pt x="3384" y="420"/>
                  <a:pt x="3408" y="380"/>
                </a:cubicBezTo>
                <a:cubicBezTo>
                  <a:pt x="3396" y="366"/>
                  <a:pt x="3396" y="366"/>
                  <a:pt x="3396" y="366"/>
                </a:cubicBezTo>
                <a:cubicBezTo>
                  <a:pt x="3370" y="402"/>
                  <a:pt x="3314" y="426"/>
                  <a:pt x="3256" y="426"/>
                </a:cubicBezTo>
                <a:cubicBezTo>
                  <a:pt x="3156" y="426"/>
                  <a:pt x="3094" y="340"/>
                  <a:pt x="3094" y="212"/>
                </a:cubicBezTo>
                <a:moveTo>
                  <a:pt x="3678" y="328"/>
                </a:moveTo>
                <a:cubicBezTo>
                  <a:pt x="3678" y="392"/>
                  <a:pt x="3650" y="430"/>
                  <a:pt x="3592" y="430"/>
                </a:cubicBezTo>
                <a:cubicBezTo>
                  <a:pt x="3542" y="430"/>
                  <a:pt x="3496" y="384"/>
                  <a:pt x="3496" y="292"/>
                </a:cubicBezTo>
                <a:cubicBezTo>
                  <a:pt x="3496" y="226"/>
                  <a:pt x="3528" y="190"/>
                  <a:pt x="3580" y="190"/>
                </a:cubicBezTo>
                <a:cubicBezTo>
                  <a:pt x="3628" y="192"/>
                  <a:pt x="3678" y="238"/>
                  <a:pt x="3678" y="328"/>
                </a:cubicBezTo>
                <a:moveTo>
                  <a:pt x="3732" y="312"/>
                </a:moveTo>
                <a:cubicBezTo>
                  <a:pt x="3732" y="260"/>
                  <a:pt x="3710" y="214"/>
                  <a:pt x="3672" y="190"/>
                </a:cubicBezTo>
                <a:cubicBezTo>
                  <a:pt x="3650" y="176"/>
                  <a:pt x="3620" y="168"/>
                  <a:pt x="3588" y="168"/>
                </a:cubicBezTo>
                <a:cubicBezTo>
                  <a:pt x="3502" y="168"/>
                  <a:pt x="3442" y="230"/>
                  <a:pt x="3442" y="310"/>
                </a:cubicBezTo>
                <a:cubicBezTo>
                  <a:pt x="3442" y="364"/>
                  <a:pt x="3464" y="408"/>
                  <a:pt x="3502" y="432"/>
                </a:cubicBezTo>
                <a:cubicBezTo>
                  <a:pt x="3524" y="446"/>
                  <a:pt x="3554" y="452"/>
                  <a:pt x="3586" y="452"/>
                </a:cubicBezTo>
                <a:cubicBezTo>
                  <a:pt x="3672" y="454"/>
                  <a:pt x="3732" y="394"/>
                  <a:pt x="3732" y="312"/>
                </a:cubicBezTo>
                <a:moveTo>
                  <a:pt x="4136" y="448"/>
                </a:moveTo>
                <a:cubicBezTo>
                  <a:pt x="4280" y="448"/>
                  <a:pt x="4280" y="448"/>
                  <a:pt x="4280" y="448"/>
                </a:cubicBezTo>
                <a:cubicBezTo>
                  <a:pt x="4280" y="436"/>
                  <a:pt x="4280" y="436"/>
                  <a:pt x="4280" y="436"/>
                </a:cubicBezTo>
                <a:cubicBezTo>
                  <a:pt x="4230" y="434"/>
                  <a:pt x="4232" y="426"/>
                  <a:pt x="4232" y="348"/>
                </a:cubicBezTo>
                <a:cubicBezTo>
                  <a:pt x="4232" y="276"/>
                  <a:pt x="4232" y="276"/>
                  <a:pt x="4232" y="276"/>
                </a:cubicBezTo>
                <a:cubicBezTo>
                  <a:pt x="4232" y="200"/>
                  <a:pt x="4190" y="172"/>
                  <a:pt x="4142" y="172"/>
                </a:cubicBezTo>
                <a:cubicBezTo>
                  <a:pt x="4098" y="172"/>
                  <a:pt x="4064" y="196"/>
                  <a:pt x="4038" y="232"/>
                </a:cubicBezTo>
                <a:cubicBezTo>
                  <a:pt x="4028" y="194"/>
                  <a:pt x="4000" y="172"/>
                  <a:pt x="3954" y="172"/>
                </a:cubicBezTo>
                <a:cubicBezTo>
                  <a:pt x="3916" y="172"/>
                  <a:pt x="3880" y="196"/>
                  <a:pt x="3858" y="224"/>
                </a:cubicBezTo>
                <a:cubicBezTo>
                  <a:pt x="3858" y="176"/>
                  <a:pt x="3858" y="176"/>
                  <a:pt x="3858" y="176"/>
                </a:cubicBezTo>
                <a:cubicBezTo>
                  <a:pt x="3756" y="176"/>
                  <a:pt x="3756" y="176"/>
                  <a:pt x="3756" y="176"/>
                </a:cubicBezTo>
                <a:cubicBezTo>
                  <a:pt x="3756" y="188"/>
                  <a:pt x="3756" y="188"/>
                  <a:pt x="3756" y="188"/>
                </a:cubicBezTo>
                <a:cubicBezTo>
                  <a:pt x="3800" y="190"/>
                  <a:pt x="3806" y="192"/>
                  <a:pt x="3806" y="268"/>
                </a:cubicBezTo>
                <a:cubicBezTo>
                  <a:pt x="3806" y="346"/>
                  <a:pt x="3806" y="346"/>
                  <a:pt x="3806" y="346"/>
                </a:cubicBezTo>
                <a:cubicBezTo>
                  <a:pt x="3806" y="434"/>
                  <a:pt x="3804" y="434"/>
                  <a:pt x="3758" y="434"/>
                </a:cubicBezTo>
                <a:cubicBezTo>
                  <a:pt x="3758" y="446"/>
                  <a:pt x="3758" y="446"/>
                  <a:pt x="3758" y="446"/>
                </a:cubicBezTo>
                <a:cubicBezTo>
                  <a:pt x="3902" y="446"/>
                  <a:pt x="3902" y="446"/>
                  <a:pt x="3902" y="446"/>
                </a:cubicBezTo>
                <a:cubicBezTo>
                  <a:pt x="3902" y="434"/>
                  <a:pt x="3902" y="434"/>
                  <a:pt x="3902" y="434"/>
                </a:cubicBezTo>
                <a:cubicBezTo>
                  <a:pt x="3862" y="430"/>
                  <a:pt x="3858" y="430"/>
                  <a:pt x="3858" y="342"/>
                </a:cubicBezTo>
                <a:cubicBezTo>
                  <a:pt x="3858" y="262"/>
                  <a:pt x="3858" y="262"/>
                  <a:pt x="3858" y="262"/>
                </a:cubicBezTo>
                <a:cubicBezTo>
                  <a:pt x="3858" y="234"/>
                  <a:pt x="3894" y="204"/>
                  <a:pt x="3932" y="204"/>
                </a:cubicBezTo>
                <a:cubicBezTo>
                  <a:pt x="3974" y="204"/>
                  <a:pt x="3990" y="226"/>
                  <a:pt x="3990" y="282"/>
                </a:cubicBezTo>
                <a:cubicBezTo>
                  <a:pt x="3990" y="338"/>
                  <a:pt x="3990" y="338"/>
                  <a:pt x="3990" y="338"/>
                </a:cubicBezTo>
                <a:cubicBezTo>
                  <a:pt x="3990" y="428"/>
                  <a:pt x="3988" y="432"/>
                  <a:pt x="3950" y="436"/>
                </a:cubicBezTo>
                <a:cubicBezTo>
                  <a:pt x="3950" y="448"/>
                  <a:pt x="3950" y="448"/>
                  <a:pt x="3950" y="448"/>
                </a:cubicBezTo>
                <a:cubicBezTo>
                  <a:pt x="4086" y="448"/>
                  <a:pt x="4086" y="448"/>
                  <a:pt x="4086" y="448"/>
                </a:cubicBezTo>
                <a:cubicBezTo>
                  <a:pt x="4086" y="436"/>
                  <a:pt x="4086" y="436"/>
                  <a:pt x="4086" y="436"/>
                </a:cubicBezTo>
                <a:cubicBezTo>
                  <a:pt x="4040" y="432"/>
                  <a:pt x="4042" y="428"/>
                  <a:pt x="4042" y="342"/>
                </a:cubicBezTo>
                <a:cubicBezTo>
                  <a:pt x="4042" y="264"/>
                  <a:pt x="4042" y="264"/>
                  <a:pt x="4042" y="264"/>
                </a:cubicBezTo>
                <a:cubicBezTo>
                  <a:pt x="4042" y="236"/>
                  <a:pt x="4078" y="206"/>
                  <a:pt x="4118" y="206"/>
                </a:cubicBezTo>
                <a:cubicBezTo>
                  <a:pt x="4152" y="206"/>
                  <a:pt x="4174" y="226"/>
                  <a:pt x="4174" y="284"/>
                </a:cubicBezTo>
                <a:cubicBezTo>
                  <a:pt x="4174" y="346"/>
                  <a:pt x="4174" y="346"/>
                  <a:pt x="4174" y="346"/>
                </a:cubicBezTo>
                <a:cubicBezTo>
                  <a:pt x="4174" y="428"/>
                  <a:pt x="4174" y="432"/>
                  <a:pt x="4134" y="436"/>
                </a:cubicBezTo>
                <a:cubicBezTo>
                  <a:pt x="4134" y="448"/>
                  <a:pt x="4134" y="448"/>
                  <a:pt x="4134" y="448"/>
                </a:cubicBezTo>
                <a:lnTo>
                  <a:pt x="4136" y="448"/>
                </a:lnTo>
                <a:close/>
                <a:moveTo>
                  <a:pt x="4546" y="316"/>
                </a:moveTo>
                <a:cubicBezTo>
                  <a:pt x="4546" y="388"/>
                  <a:pt x="4516" y="432"/>
                  <a:pt x="4460" y="432"/>
                </a:cubicBezTo>
                <a:cubicBezTo>
                  <a:pt x="4424" y="432"/>
                  <a:pt x="4384" y="412"/>
                  <a:pt x="4384" y="384"/>
                </a:cubicBezTo>
                <a:cubicBezTo>
                  <a:pt x="4384" y="248"/>
                  <a:pt x="4384" y="248"/>
                  <a:pt x="4384" y="248"/>
                </a:cubicBezTo>
                <a:cubicBezTo>
                  <a:pt x="4384" y="226"/>
                  <a:pt x="4416" y="202"/>
                  <a:pt x="4454" y="202"/>
                </a:cubicBezTo>
                <a:cubicBezTo>
                  <a:pt x="4510" y="206"/>
                  <a:pt x="4546" y="248"/>
                  <a:pt x="4546" y="316"/>
                </a:cubicBezTo>
                <a:moveTo>
                  <a:pt x="4600" y="310"/>
                </a:moveTo>
                <a:cubicBezTo>
                  <a:pt x="4600" y="230"/>
                  <a:pt x="4548" y="170"/>
                  <a:pt x="4478" y="170"/>
                </a:cubicBezTo>
                <a:cubicBezTo>
                  <a:pt x="4438" y="170"/>
                  <a:pt x="4406" y="188"/>
                  <a:pt x="4384" y="214"/>
                </a:cubicBezTo>
                <a:cubicBezTo>
                  <a:pt x="4384" y="174"/>
                  <a:pt x="4384" y="174"/>
                  <a:pt x="4384" y="174"/>
                </a:cubicBezTo>
                <a:cubicBezTo>
                  <a:pt x="4284" y="174"/>
                  <a:pt x="4284" y="174"/>
                  <a:pt x="4284" y="174"/>
                </a:cubicBezTo>
                <a:cubicBezTo>
                  <a:pt x="4284" y="186"/>
                  <a:pt x="4284" y="186"/>
                  <a:pt x="4284" y="186"/>
                </a:cubicBezTo>
                <a:cubicBezTo>
                  <a:pt x="4326" y="188"/>
                  <a:pt x="4332" y="190"/>
                  <a:pt x="4332" y="280"/>
                </a:cubicBezTo>
                <a:cubicBezTo>
                  <a:pt x="4332" y="466"/>
                  <a:pt x="4332" y="466"/>
                  <a:pt x="4332" y="466"/>
                </a:cubicBezTo>
                <a:cubicBezTo>
                  <a:pt x="4332" y="564"/>
                  <a:pt x="4334" y="570"/>
                  <a:pt x="4286" y="574"/>
                </a:cubicBezTo>
                <a:cubicBezTo>
                  <a:pt x="4286" y="588"/>
                  <a:pt x="4286" y="588"/>
                  <a:pt x="4286" y="588"/>
                </a:cubicBezTo>
                <a:cubicBezTo>
                  <a:pt x="4432" y="588"/>
                  <a:pt x="4432" y="588"/>
                  <a:pt x="4432" y="588"/>
                </a:cubicBezTo>
                <a:cubicBezTo>
                  <a:pt x="4432" y="574"/>
                  <a:pt x="4432" y="574"/>
                  <a:pt x="4432" y="574"/>
                </a:cubicBezTo>
                <a:cubicBezTo>
                  <a:pt x="4380" y="572"/>
                  <a:pt x="4384" y="564"/>
                  <a:pt x="4384" y="462"/>
                </a:cubicBezTo>
                <a:cubicBezTo>
                  <a:pt x="4384" y="424"/>
                  <a:pt x="4384" y="424"/>
                  <a:pt x="4384" y="424"/>
                </a:cubicBezTo>
                <a:cubicBezTo>
                  <a:pt x="4404" y="444"/>
                  <a:pt x="4436" y="454"/>
                  <a:pt x="4466" y="454"/>
                </a:cubicBezTo>
                <a:cubicBezTo>
                  <a:pt x="4548" y="454"/>
                  <a:pt x="4600" y="392"/>
                  <a:pt x="4600" y="310"/>
                </a:cubicBezTo>
                <a:moveTo>
                  <a:pt x="4792" y="382"/>
                </a:moveTo>
                <a:cubicBezTo>
                  <a:pt x="4792" y="404"/>
                  <a:pt x="4762" y="424"/>
                  <a:pt x="4736" y="424"/>
                </a:cubicBezTo>
                <a:cubicBezTo>
                  <a:pt x="4712" y="424"/>
                  <a:pt x="4694" y="410"/>
                  <a:pt x="4694" y="378"/>
                </a:cubicBezTo>
                <a:cubicBezTo>
                  <a:pt x="4694" y="322"/>
                  <a:pt x="4752" y="328"/>
                  <a:pt x="4792" y="306"/>
                </a:cubicBezTo>
                <a:cubicBezTo>
                  <a:pt x="4792" y="382"/>
                  <a:pt x="4792" y="382"/>
                  <a:pt x="4792" y="382"/>
                </a:cubicBezTo>
                <a:close/>
                <a:moveTo>
                  <a:pt x="5240" y="434"/>
                </a:moveTo>
                <a:cubicBezTo>
                  <a:pt x="5192" y="432"/>
                  <a:pt x="5192" y="430"/>
                  <a:pt x="5192" y="340"/>
                </a:cubicBezTo>
                <a:cubicBezTo>
                  <a:pt x="5192" y="278"/>
                  <a:pt x="5192" y="278"/>
                  <a:pt x="5192" y="278"/>
                </a:cubicBezTo>
                <a:cubicBezTo>
                  <a:pt x="5192" y="196"/>
                  <a:pt x="5146" y="170"/>
                  <a:pt x="5104" y="170"/>
                </a:cubicBezTo>
                <a:cubicBezTo>
                  <a:pt x="5068" y="170"/>
                  <a:pt x="5032" y="186"/>
                  <a:pt x="5004" y="222"/>
                </a:cubicBezTo>
                <a:cubicBezTo>
                  <a:pt x="5004" y="174"/>
                  <a:pt x="5004" y="174"/>
                  <a:pt x="5004" y="174"/>
                </a:cubicBezTo>
                <a:cubicBezTo>
                  <a:pt x="4902" y="174"/>
                  <a:pt x="4902" y="174"/>
                  <a:pt x="4902" y="174"/>
                </a:cubicBezTo>
                <a:cubicBezTo>
                  <a:pt x="4902" y="186"/>
                  <a:pt x="4902" y="186"/>
                  <a:pt x="4902" y="186"/>
                </a:cubicBezTo>
                <a:cubicBezTo>
                  <a:pt x="4946" y="188"/>
                  <a:pt x="4952" y="190"/>
                  <a:pt x="4952" y="266"/>
                </a:cubicBezTo>
                <a:cubicBezTo>
                  <a:pt x="4952" y="334"/>
                  <a:pt x="4952" y="334"/>
                  <a:pt x="4952" y="334"/>
                </a:cubicBezTo>
                <a:cubicBezTo>
                  <a:pt x="4952" y="430"/>
                  <a:pt x="4952" y="432"/>
                  <a:pt x="4904" y="434"/>
                </a:cubicBezTo>
                <a:cubicBezTo>
                  <a:pt x="4892" y="434"/>
                  <a:pt x="4892" y="434"/>
                  <a:pt x="4892" y="434"/>
                </a:cubicBezTo>
                <a:cubicBezTo>
                  <a:pt x="4854" y="434"/>
                  <a:pt x="4850" y="422"/>
                  <a:pt x="4850" y="366"/>
                </a:cubicBezTo>
                <a:cubicBezTo>
                  <a:pt x="4850" y="274"/>
                  <a:pt x="4850" y="274"/>
                  <a:pt x="4850" y="274"/>
                </a:cubicBezTo>
                <a:cubicBezTo>
                  <a:pt x="4850" y="256"/>
                  <a:pt x="4848" y="240"/>
                  <a:pt x="4844" y="228"/>
                </a:cubicBezTo>
                <a:cubicBezTo>
                  <a:pt x="4830" y="186"/>
                  <a:pt x="4796" y="170"/>
                  <a:pt x="4748" y="170"/>
                </a:cubicBezTo>
                <a:cubicBezTo>
                  <a:pt x="4718" y="170"/>
                  <a:pt x="4674" y="180"/>
                  <a:pt x="4650" y="202"/>
                </a:cubicBezTo>
                <a:cubicBezTo>
                  <a:pt x="4652" y="214"/>
                  <a:pt x="4664" y="240"/>
                  <a:pt x="4670" y="248"/>
                </a:cubicBezTo>
                <a:cubicBezTo>
                  <a:pt x="4676" y="246"/>
                  <a:pt x="4676" y="246"/>
                  <a:pt x="4676" y="246"/>
                </a:cubicBezTo>
                <a:cubicBezTo>
                  <a:pt x="4688" y="216"/>
                  <a:pt x="4708" y="194"/>
                  <a:pt x="4742" y="194"/>
                </a:cubicBezTo>
                <a:cubicBezTo>
                  <a:pt x="4778" y="194"/>
                  <a:pt x="4794" y="220"/>
                  <a:pt x="4794" y="250"/>
                </a:cubicBezTo>
                <a:cubicBezTo>
                  <a:pt x="4794" y="282"/>
                  <a:pt x="4794" y="282"/>
                  <a:pt x="4794" y="282"/>
                </a:cubicBezTo>
                <a:cubicBezTo>
                  <a:pt x="4794" y="302"/>
                  <a:pt x="4702" y="306"/>
                  <a:pt x="4664" y="338"/>
                </a:cubicBezTo>
                <a:cubicBezTo>
                  <a:pt x="4652" y="350"/>
                  <a:pt x="4642" y="364"/>
                  <a:pt x="4642" y="384"/>
                </a:cubicBezTo>
                <a:cubicBezTo>
                  <a:pt x="4642" y="426"/>
                  <a:pt x="4672" y="456"/>
                  <a:pt x="4716" y="456"/>
                </a:cubicBezTo>
                <a:cubicBezTo>
                  <a:pt x="4744" y="456"/>
                  <a:pt x="4768" y="446"/>
                  <a:pt x="4794" y="418"/>
                </a:cubicBezTo>
                <a:cubicBezTo>
                  <a:pt x="4798" y="438"/>
                  <a:pt x="4814" y="448"/>
                  <a:pt x="4842" y="448"/>
                </a:cubicBezTo>
                <a:cubicBezTo>
                  <a:pt x="4906" y="448"/>
                  <a:pt x="4906" y="448"/>
                  <a:pt x="4906" y="448"/>
                </a:cubicBezTo>
                <a:cubicBezTo>
                  <a:pt x="4906" y="448"/>
                  <a:pt x="4906" y="448"/>
                  <a:pt x="4906" y="448"/>
                </a:cubicBezTo>
                <a:cubicBezTo>
                  <a:pt x="5048" y="448"/>
                  <a:pt x="5048" y="448"/>
                  <a:pt x="5048" y="448"/>
                </a:cubicBezTo>
                <a:cubicBezTo>
                  <a:pt x="5048" y="436"/>
                  <a:pt x="5048" y="436"/>
                  <a:pt x="5048" y="436"/>
                </a:cubicBezTo>
                <a:cubicBezTo>
                  <a:pt x="5006" y="432"/>
                  <a:pt x="5004" y="434"/>
                  <a:pt x="5004" y="338"/>
                </a:cubicBezTo>
                <a:cubicBezTo>
                  <a:pt x="5004" y="262"/>
                  <a:pt x="5004" y="262"/>
                  <a:pt x="5004" y="262"/>
                </a:cubicBezTo>
                <a:cubicBezTo>
                  <a:pt x="5004" y="236"/>
                  <a:pt x="5038" y="206"/>
                  <a:pt x="5080" y="206"/>
                </a:cubicBezTo>
                <a:cubicBezTo>
                  <a:pt x="5114" y="206"/>
                  <a:pt x="5140" y="220"/>
                  <a:pt x="5140" y="286"/>
                </a:cubicBezTo>
                <a:cubicBezTo>
                  <a:pt x="5140" y="340"/>
                  <a:pt x="5140" y="340"/>
                  <a:pt x="5140" y="340"/>
                </a:cubicBezTo>
                <a:cubicBezTo>
                  <a:pt x="5140" y="432"/>
                  <a:pt x="5136" y="432"/>
                  <a:pt x="5098" y="434"/>
                </a:cubicBezTo>
                <a:cubicBezTo>
                  <a:pt x="5098" y="446"/>
                  <a:pt x="5098" y="446"/>
                  <a:pt x="5098" y="446"/>
                </a:cubicBezTo>
                <a:cubicBezTo>
                  <a:pt x="5240" y="446"/>
                  <a:pt x="5240" y="446"/>
                  <a:pt x="5240" y="446"/>
                </a:cubicBezTo>
                <a:lnTo>
                  <a:pt x="5240" y="434"/>
                </a:lnTo>
                <a:close/>
                <a:moveTo>
                  <a:pt x="5516" y="192"/>
                </a:moveTo>
                <a:cubicBezTo>
                  <a:pt x="5516" y="180"/>
                  <a:pt x="5516" y="180"/>
                  <a:pt x="5516" y="180"/>
                </a:cubicBezTo>
                <a:cubicBezTo>
                  <a:pt x="5418" y="180"/>
                  <a:pt x="5418" y="180"/>
                  <a:pt x="5418" y="180"/>
                </a:cubicBezTo>
                <a:cubicBezTo>
                  <a:pt x="5418" y="192"/>
                  <a:pt x="5418" y="192"/>
                  <a:pt x="5418" y="192"/>
                </a:cubicBezTo>
                <a:cubicBezTo>
                  <a:pt x="5442" y="194"/>
                  <a:pt x="5454" y="206"/>
                  <a:pt x="5446" y="234"/>
                </a:cubicBezTo>
                <a:cubicBezTo>
                  <a:pt x="5394" y="390"/>
                  <a:pt x="5394" y="390"/>
                  <a:pt x="5394" y="390"/>
                </a:cubicBezTo>
                <a:cubicBezTo>
                  <a:pt x="5342" y="270"/>
                  <a:pt x="5342" y="270"/>
                  <a:pt x="5342" y="270"/>
                </a:cubicBezTo>
                <a:cubicBezTo>
                  <a:pt x="5328" y="238"/>
                  <a:pt x="5322" y="224"/>
                  <a:pt x="5322" y="212"/>
                </a:cubicBezTo>
                <a:cubicBezTo>
                  <a:pt x="5322" y="202"/>
                  <a:pt x="5328" y="196"/>
                  <a:pt x="5348" y="192"/>
                </a:cubicBezTo>
                <a:cubicBezTo>
                  <a:pt x="5348" y="180"/>
                  <a:pt x="5348" y="180"/>
                  <a:pt x="5348" y="180"/>
                </a:cubicBezTo>
                <a:cubicBezTo>
                  <a:pt x="5220" y="180"/>
                  <a:pt x="5220" y="180"/>
                  <a:pt x="5220" y="180"/>
                </a:cubicBezTo>
                <a:cubicBezTo>
                  <a:pt x="5220" y="192"/>
                  <a:pt x="5220" y="192"/>
                  <a:pt x="5220" y="192"/>
                </a:cubicBezTo>
                <a:cubicBezTo>
                  <a:pt x="5252" y="194"/>
                  <a:pt x="5254" y="198"/>
                  <a:pt x="5296" y="292"/>
                </a:cubicBezTo>
                <a:cubicBezTo>
                  <a:pt x="5368" y="450"/>
                  <a:pt x="5368" y="450"/>
                  <a:pt x="5368" y="450"/>
                </a:cubicBezTo>
                <a:cubicBezTo>
                  <a:pt x="5344" y="512"/>
                  <a:pt x="5306" y="546"/>
                  <a:pt x="5228" y="564"/>
                </a:cubicBezTo>
                <a:cubicBezTo>
                  <a:pt x="5232" y="576"/>
                  <a:pt x="5246" y="600"/>
                  <a:pt x="5254" y="606"/>
                </a:cubicBezTo>
                <a:cubicBezTo>
                  <a:pt x="5356" y="564"/>
                  <a:pt x="5376" y="498"/>
                  <a:pt x="5412" y="396"/>
                </a:cubicBezTo>
                <a:cubicBezTo>
                  <a:pt x="5466" y="242"/>
                  <a:pt x="5466" y="242"/>
                  <a:pt x="5466" y="242"/>
                </a:cubicBezTo>
                <a:cubicBezTo>
                  <a:pt x="5478" y="206"/>
                  <a:pt x="5498" y="192"/>
                  <a:pt x="5516" y="192"/>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600" kern="1200">
                <a:solidFill>
                  <a:schemeClr val="tx1"/>
                </a:solidFill>
                <a:latin typeface="Arial" charset="0"/>
                <a:ea typeface="+mn-ea"/>
                <a:cs typeface="+mn-cs"/>
              </a:defRPr>
            </a:lvl1pPr>
            <a:lvl2pPr marL="457200" algn="l" rtl="0" fontAlgn="base">
              <a:spcBef>
                <a:spcPct val="0"/>
              </a:spcBef>
              <a:spcAft>
                <a:spcPct val="0"/>
              </a:spcAft>
              <a:defRPr sz="1600" kern="1200">
                <a:solidFill>
                  <a:schemeClr val="tx1"/>
                </a:solidFill>
                <a:latin typeface="Arial" charset="0"/>
                <a:ea typeface="+mn-ea"/>
                <a:cs typeface="+mn-cs"/>
              </a:defRPr>
            </a:lvl2pPr>
            <a:lvl3pPr marL="914400" algn="l" rtl="0" fontAlgn="base">
              <a:spcBef>
                <a:spcPct val="0"/>
              </a:spcBef>
              <a:spcAft>
                <a:spcPct val="0"/>
              </a:spcAft>
              <a:defRPr sz="1600" kern="1200">
                <a:solidFill>
                  <a:schemeClr val="tx1"/>
                </a:solidFill>
                <a:latin typeface="Arial" charset="0"/>
                <a:ea typeface="+mn-ea"/>
                <a:cs typeface="+mn-cs"/>
              </a:defRPr>
            </a:lvl3pPr>
            <a:lvl4pPr marL="1371600" algn="l" rtl="0" fontAlgn="base">
              <a:spcBef>
                <a:spcPct val="0"/>
              </a:spcBef>
              <a:spcAft>
                <a:spcPct val="0"/>
              </a:spcAft>
              <a:defRPr sz="1600" kern="1200">
                <a:solidFill>
                  <a:schemeClr val="tx1"/>
                </a:solidFill>
                <a:latin typeface="Arial" charset="0"/>
                <a:ea typeface="+mn-ea"/>
                <a:cs typeface="+mn-cs"/>
              </a:defRPr>
            </a:lvl4pPr>
            <a:lvl5pPr marL="1828800" algn="l" rtl="0" fontAlgn="base">
              <a:spcBef>
                <a:spcPct val="0"/>
              </a:spcBef>
              <a:spcAft>
                <a:spcPct val="0"/>
              </a:spcAft>
              <a:defRPr sz="1600" kern="1200">
                <a:solidFill>
                  <a:schemeClr val="tx1"/>
                </a:solidFill>
                <a:latin typeface="Arial" charset="0"/>
                <a:ea typeface="+mn-ea"/>
                <a:cs typeface="+mn-cs"/>
              </a:defRPr>
            </a:lvl5pPr>
            <a:lvl6pPr marL="2286000" algn="l" defTabSz="914400" rtl="0" eaLnBrk="1" latinLnBrk="0" hangingPunct="1">
              <a:defRPr sz="1600" kern="1200">
                <a:solidFill>
                  <a:schemeClr val="tx1"/>
                </a:solidFill>
                <a:latin typeface="Arial" charset="0"/>
                <a:ea typeface="+mn-ea"/>
                <a:cs typeface="+mn-cs"/>
              </a:defRPr>
            </a:lvl6pPr>
            <a:lvl7pPr marL="2743200" algn="l" defTabSz="914400" rtl="0" eaLnBrk="1" latinLnBrk="0" hangingPunct="1">
              <a:defRPr sz="1600" kern="1200">
                <a:solidFill>
                  <a:schemeClr val="tx1"/>
                </a:solidFill>
                <a:latin typeface="Arial" charset="0"/>
                <a:ea typeface="+mn-ea"/>
                <a:cs typeface="+mn-cs"/>
              </a:defRPr>
            </a:lvl7pPr>
            <a:lvl8pPr marL="3200400" algn="l" defTabSz="914400" rtl="0" eaLnBrk="1" latinLnBrk="0" hangingPunct="1">
              <a:defRPr sz="1600" kern="1200">
                <a:solidFill>
                  <a:schemeClr val="tx1"/>
                </a:solidFill>
                <a:latin typeface="Arial" charset="0"/>
                <a:ea typeface="+mn-ea"/>
                <a:cs typeface="+mn-cs"/>
              </a:defRPr>
            </a:lvl8pPr>
            <a:lvl9pPr marL="3657600" algn="l" defTabSz="914400" rtl="0" eaLnBrk="1" latinLnBrk="0" hangingPunct="1">
              <a:defRPr sz="1600" kern="1200">
                <a:solidFill>
                  <a:schemeClr val="tx1"/>
                </a:solidFill>
                <a:latin typeface="Arial" charset="0"/>
                <a:ea typeface="+mn-ea"/>
                <a:cs typeface="+mn-cs"/>
              </a:defRPr>
            </a:lvl9pPr>
          </a:lstStyle>
          <a:p>
            <a:endParaRPr lang="en-US" baseline="0" dirty="0">
              <a:solidFill>
                <a:srgbClr val="000000"/>
              </a:solidFill>
              <a:latin typeface="+mn-lt"/>
            </a:endParaRPr>
          </a:p>
        </p:txBody>
      </p:sp>
      <p:sp>
        <p:nvSpPr>
          <p:cNvPr id="27" name="Disclaimer-English (United States)" hidden="1"/>
          <p:cNvSpPr>
            <a:spLocks noChangeArrowheads="1"/>
          </p:cNvSpPr>
          <p:nvPr/>
        </p:nvSpPr>
        <p:spPr bwMode="black">
          <a:xfrm>
            <a:off x="2268266" y="6287785"/>
            <a:ext cx="3544453" cy="36908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t" anchorCtr="0">
            <a:noAutofit/>
          </a:bodyPr>
          <a:lstStyle/>
          <a:p>
            <a:pPr defTabSz="804863" eaLnBrk="0" hangingPunct="0"/>
            <a:r>
              <a:rPr lang="en-US" sz="800" baseline="0" dirty="0">
                <a:solidFill>
                  <a:srgbClr val="FFFFFF"/>
                </a:solidFill>
                <a:latin typeface="+mn-lt"/>
              </a:rPr>
              <a:t>CONFIDENTIAL AND PROPRIETARY</a:t>
            </a:r>
          </a:p>
          <a:p>
            <a:pPr defTabSz="804863" eaLnBrk="0" hangingPunct="0"/>
            <a:r>
              <a:rPr lang="en-US" sz="800" baseline="0" dirty="0">
                <a:solidFill>
                  <a:srgbClr val="FFFFFF"/>
                </a:solidFill>
                <a:latin typeface="+mn-lt"/>
              </a:rPr>
              <a:t>Any use of this material without specific permission of McKinsey &amp; Company is strictly prohibited</a:t>
            </a:r>
          </a:p>
        </p:txBody>
      </p:sp>
    </p:spTree>
    <p:extLst>
      <p:ext uri="{BB962C8B-B14F-4D97-AF65-F5344CB8AC3E}">
        <p14:creationId xmlns:p14="http://schemas.microsoft.com/office/powerpoint/2010/main" val="3326640644"/>
      </p:ext>
    </p:extLst>
  </p:cSld>
  <p:clrMapOvr>
    <a:masterClrMapping/>
  </p:clrMapOvr>
  <p:extLst mod="1">
    <p:ext uri="{DCECCB84-F9BA-43D5-87BE-67443E8EF086}">
      <p15:sldGuideLst xmlns:p15="http://schemas.microsoft.com/office/powerpoint/2012/main">
        <p15:guide id="1" orient="horz" pos="2117">
          <p15:clr>
            <a:srgbClr val="FBAE40"/>
          </p15:clr>
        </p15:guide>
        <p15:guide id="2" pos="1416">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6E228F5-5CF1-42E1-9748-97D7582A107A}"/>
              </a:ext>
            </a:extLst>
          </p:cNvPr>
          <p:cNvGraphicFramePr>
            <a:graphicFrameLocks noChangeAspect="1"/>
          </p:cNvGraphicFramePr>
          <p:nvPr>
            <p:custDataLst>
              <p:tags r:id="rId2"/>
            </p:custDataLst>
            <p:extLst>
              <p:ext uri="{D42A27DB-BD31-4B8C-83A1-F6EECF244321}">
                <p14:modId xmlns:p14="http://schemas.microsoft.com/office/powerpoint/2010/main" val="105142254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4532" name="think-cell Slide" r:id="rId5" imgW="353" imgH="353" progId="TCLayout.ActiveDocument.1">
                  <p:embed/>
                </p:oleObj>
              </mc:Choice>
              <mc:Fallback>
                <p:oleObj name="think-cell Slide" r:id="rId5" imgW="353" imgH="353" progId="TCLayout.ActiveDocument.1">
                  <p:embed/>
                  <p:pic>
                    <p:nvPicPr>
                      <p:cNvPr id="3" name="Object 2" hidden="1">
                        <a:extLst>
                          <a:ext uri="{FF2B5EF4-FFF2-40B4-BE49-F238E27FC236}">
                            <a16:creationId xmlns:a16="http://schemas.microsoft.com/office/drawing/2014/main" id="{C6E228F5-5CF1-42E1-9748-97D7582A107A}"/>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2. Slide Title"/>
          <p:cNvSpPr>
            <a:spLocks noGrp="1"/>
          </p:cNvSpPr>
          <p:nvPr>
            <p:ph type="title"/>
          </p:nvPr>
        </p:nvSpPr>
        <p:spPr bwMode="auto"/>
        <p:txBody>
          <a:bodyPr/>
          <a:lstStyle/>
          <a:p>
            <a:r>
              <a:rPr lang="en-US"/>
              <a:t>Click to edit Master title style</a:t>
            </a:r>
            <a:endParaRPr lang="en-US" dirty="0"/>
          </a:p>
        </p:txBody>
      </p:sp>
      <p:sp>
        <p:nvSpPr>
          <p:cNvPr id="8" name="Slide Number"/>
          <p:cNvSpPr txBox="1">
            <a:spLocks/>
          </p:cNvSpPr>
          <p:nvPr/>
        </p:nvSpPr>
        <p:spPr bwMode="auto">
          <a:xfrm>
            <a:off x="8564563" y="6508272"/>
            <a:ext cx="125034" cy="123111"/>
          </a:xfrm>
          <a:prstGeom prst="rect">
            <a:avLst/>
          </a:prstGeom>
        </p:spPr>
        <p:txBody>
          <a:bodyPr vert="horz" wrap="none" lIns="0" tIns="0" rIns="0" bIns="0" rtlCol="0" anchor="ctr">
            <a:spAutoFit/>
          </a:bodyPr>
          <a:lstStyle>
            <a:defPPr>
              <a:defRPr lang="en-US"/>
            </a:defPPr>
            <a:lvl1pPr>
              <a:defRPr sz="1000" baseline="0">
                <a:latin typeface="+mn-lt"/>
              </a:defRPr>
            </a:lvl1pPr>
          </a:lstStyle>
          <a:p>
            <a:fld id="{42C328C1-A84F-4A39-A664-DBA00541A8C6}" type="slidenum">
              <a:rPr lang="en-US" sz="800" baseline="0" smtClean="0">
                <a:solidFill>
                  <a:srgbClr val="808080"/>
                </a:solidFill>
                <a:latin typeface="+mn-lt"/>
              </a:rPr>
              <a:pPr/>
              <a:t>‹#›</a:t>
            </a:fld>
            <a:endParaRPr lang="en-US" sz="800" baseline="0" dirty="0">
              <a:solidFill>
                <a:srgbClr val="808080"/>
              </a:solidFill>
              <a:latin typeface="+mn-lt"/>
            </a:endParaRPr>
          </a:p>
        </p:txBody>
      </p:sp>
      <p:sp>
        <p:nvSpPr>
          <p:cNvPr id="9" name="SlideLogoText"/>
          <p:cNvSpPr>
            <a:spLocks noChangeArrowheads="1"/>
          </p:cNvSpPr>
          <p:nvPr>
            <p:custDataLst>
              <p:tags r:id="rId3"/>
            </p:custDataLst>
          </p:nvPr>
        </p:nvSpPr>
        <p:spPr bwMode="auto">
          <a:xfrm>
            <a:off x="7450817" y="6508272"/>
            <a:ext cx="1013098"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algn="r" defTabSz="895350"/>
            <a:r>
              <a:rPr lang="en-US" sz="800" baseline="0" dirty="0">
                <a:solidFill>
                  <a:srgbClr val="808080"/>
                </a:solidFill>
                <a:latin typeface="+mn-lt"/>
              </a:rPr>
              <a:t>McKinsey &amp; Company</a:t>
            </a:r>
          </a:p>
        </p:txBody>
      </p:sp>
      <p:sp>
        <p:nvSpPr>
          <p:cNvPr id="5" name="doc id" hidden="1"/>
          <p:cNvSpPr txBox="1">
            <a:spLocks noChangeArrowheads="1"/>
          </p:cNvSpPr>
          <p:nvPr/>
        </p:nvSpPr>
        <p:spPr bwMode="white">
          <a:xfrm>
            <a:off x="8104473" y="36513"/>
            <a:ext cx="634716" cy="115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hangingPunct="1">
              <a:defRPr/>
            </a:pPr>
            <a:endParaRPr lang="en-US" sz="800" baseline="0" dirty="0">
              <a:solidFill>
                <a:schemeClr val="accent1"/>
              </a:solidFill>
              <a:latin typeface="+mn-lt"/>
              <a:ea typeface="+mn-ea"/>
            </a:endParaRPr>
          </a:p>
        </p:txBody>
      </p:sp>
    </p:spTree>
    <p:extLst>
      <p:ext uri="{BB962C8B-B14F-4D97-AF65-F5344CB8AC3E}">
        <p14:creationId xmlns:p14="http://schemas.microsoft.com/office/powerpoint/2010/main" val="866693128"/>
      </p:ext>
    </p:extLst>
  </p:cSld>
  <p:clrMapOvr>
    <a:masterClrMapping/>
  </p:clrMapOvr>
  <p:extLst mod="1">
    <p:ext uri="{DCECCB84-F9BA-43D5-87BE-67443E8EF086}">
      <p15:sldGuideLst xmlns:p15="http://schemas.microsoft.com/office/powerpoint/2012/main">
        <p15:guide id="1" pos="5505">
          <p15:clr>
            <a:srgbClr val="F26B43"/>
          </p15:clr>
        </p15:guide>
        <p15:guide id="2" pos="74">
          <p15:clr>
            <a:srgbClr val="F26B43"/>
          </p15:clr>
        </p15:guide>
        <p15:guide id="3" orient="horz" pos="571">
          <p15:clr>
            <a:srgbClr val="F26B43"/>
          </p15:clr>
        </p15:guide>
        <p15:guide id="4" orient="horz" pos="3911">
          <p15:clr>
            <a:srgbClr val="F26B43"/>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1_Title Only">
    <p:bg>
      <p:bgPr>
        <a:solidFill>
          <a:schemeClr val="accent2"/>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F4AD34F-3B47-47E2-A09C-FFEB949F6A10}"/>
              </a:ext>
            </a:extLst>
          </p:cNvPr>
          <p:cNvGraphicFramePr>
            <a:graphicFrameLocks noChangeAspect="1"/>
          </p:cNvGraphicFramePr>
          <p:nvPr>
            <p:custDataLst>
              <p:tags r:id="rId2"/>
            </p:custDataLst>
            <p:extLst>
              <p:ext uri="{D42A27DB-BD31-4B8C-83A1-F6EECF244321}">
                <p14:modId xmlns:p14="http://schemas.microsoft.com/office/powerpoint/2010/main" val="274218354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5556" name="think-cell Slide" r:id="rId5" imgW="395" imgH="394" progId="TCLayout.ActiveDocument.1">
                  <p:embed/>
                </p:oleObj>
              </mc:Choice>
              <mc:Fallback>
                <p:oleObj name="think-cell Slide" r:id="rId5" imgW="395" imgH="394" progId="TCLayout.ActiveDocument.1">
                  <p:embed/>
                  <p:pic>
                    <p:nvPicPr>
                      <p:cNvPr id="3" name="Object 2" hidden="1">
                        <a:extLst>
                          <a:ext uri="{FF2B5EF4-FFF2-40B4-BE49-F238E27FC236}">
                            <a16:creationId xmlns:a16="http://schemas.microsoft.com/office/drawing/2014/main" id="{EF4AD34F-3B47-47E2-A09C-FFEB949F6A10}"/>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endParaRPr lang="en-US" dirty="0"/>
          </a:p>
        </p:txBody>
      </p:sp>
      <p:sp>
        <p:nvSpPr>
          <p:cNvPr id="15" name="Slide Number"/>
          <p:cNvSpPr txBox="1">
            <a:spLocks/>
          </p:cNvSpPr>
          <p:nvPr/>
        </p:nvSpPr>
        <p:spPr>
          <a:xfrm>
            <a:off x="8564563" y="6508272"/>
            <a:ext cx="125034" cy="123111"/>
          </a:xfrm>
          <a:prstGeom prst="rect">
            <a:avLst/>
          </a:prstGeom>
        </p:spPr>
        <p:txBody>
          <a:bodyPr vert="horz" wrap="none" lIns="0" tIns="0" rIns="0" bIns="0" rtlCol="0" anchor="ctr">
            <a:spAutoFit/>
          </a:bodyPr>
          <a:lstStyle>
            <a:defPPr>
              <a:defRPr lang="en-US"/>
            </a:defPPr>
            <a:lvl1pPr>
              <a:defRPr sz="1000" baseline="0">
                <a:latin typeface="+mn-lt"/>
              </a:defRPr>
            </a:lvl1pPr>
          </a:lstStyle>
          <a:p>
            <a:fld id="{42C328C1-A84F-4A39-A664-DBA00541A8C6}" type="slidenum">
              <a:rPr lang="en-US" sz="800" baseline="0" smtClean="0">
                <a:solidFill>
                  <a:srgbClr val="FFFFFF"/>
                </a:solidFill>
                <a:latin typeface="+mn-lt"/>
              </a:rPr>
              <a:pPr/>
              <a:t>‹#›</a:t>
            </a:fld>
            <a:endParaRPr lang="en-US" sz="800" baseline="0" dirty="0">
              <a:solidFill>
                <a:srgbClr val="FFFFFF"/>
              </a:solidFill>
              <a:latin typeface="+mn-lt"/>
            </a:endParaRPr>
          </a:p>
        </p:txBody>
      </p:sp>
      <p:sp>
        <p:nvSpPr>
          <p:cNvPr id="16" name="SlideLogoText"/>
          <p:cNvSpPr>
            <a:spLocks noChangeArrowheads="1"/>
          </p:cNvSpPr>
          <p:nvPr>
            <p:custDataLst>
              <p:tags r:id="rId3"/>
            </p:custDataLst>
          </p:nvPr>
        </p:nvSpPr>
        <p:spPr bwMode="auto">
          <a:xfrm>
            <a:off x="7450817" y="6508272"/>
            <a:ext cx="1013098"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algn="r" defTabSz="895350"/>
            <a:r>
              <a:rPr lang="en-US" sz="800" baseline="0" dirty="0">
                <a:solidFill>
                  <a:srgbClr val="FFFFFF"/>
                </a:solidFill>
                <a:latin typeface="+mn-lt"/>
              </a:rPr>
              <a:t>McKinsey &amp; Company</a:t>
            </a:r>
          </a:p>
        </p:txBody>
      </p:sp>
      <p:sp>
        <p:nvSpPr>
          <p:cNvPr id="5" name="doc id" hidden="1"/>
          <p:cNvSpPr txBox="1">
            <a:spLocks noChangeArrowheads="1"/>
          </p:cNvSpPr>
          <p:nvPr/>
        </p:nvSpPr>
        <p:spPr bwMode="white">
          <a:xfrm>
            <a:off x="8104473" y="36513"/>
            <a:ext cx="634716" cy="115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hangingPunct="1">
              <a:defRPr/>
            </a:pPr>
            <a:endParaRPr lang="en-US" sz="800" baseline="0" dirty="0">
              <a:solidFill>
                <a:schemeClr val="accent1"/>
              </a:solidFill>
              <a:latin typeface="+mn-lt"/>
              <a:ea typeface="+mn-ea"/>
            </a:endParaRPr>
          </a:p>
        </p:txBody>
      </p:sp>
    </p:spTree>
    <p:extLst>
      <p:ext uri="{BB962C8B-B14F-4D97-AF65-F5344CB8AC3E}">
        <p14:creationId xmlns:p14="http://schemas.microsoft.com/office/powerpoint/2010/main" val="3922666665"/>
      </p:ext>
    </p:extLst>
  </p:cSld>
  <p:clrMapOvr>
    <a:masterClrMapping/>
  </p:clrMapOvr>
  <p:extLst mod="1">
    <p:ext uri="{DCECCB84-F9BA-43D5-87BE-67443E8EF086}">
      <p15:sldGuideLst xmlns:p15="http://schemas.microsoft.com/office/powerpoint/2012/main">
        <p15:guide id="1" pos="3978">
          <p15:clr>
            <a:srgbClr val="000000"/>
          </p15:clr>
        </p15:guide>
        <p15:guide id="2" orient="horz" pos="570">
          <p15:clr>
            <a:srgbClr val="000000"/>
          </p15:clr>
        </p15:guide>
        <p15:guide id="3" orient="horz" pos="3912">
          <p15:clr>
            <a:srgbClr val="000000"/>
          </p15:clr>
        </p15:guide>
        <p15:guide id="4" pos="72">
          <p15:clr>
            <a:srgbClr val="00000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type="titleOnly">
  <p:cSld name="2_Title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ECD524A-1569-4253-8CD8-48D288AD883C}"/>
              </a:ext>
            </a:extLst>
          </p:cNvPr>
          <p:cNvGraphicFramePr>
            <a:graphicFrameLocks noChangeAspect="1"/>
          </p:cNvGraphicFramePr>
          <p:nvPr>
            <p:custDataLst>
              <p:tags r:id="rId2"/>
            </p:custDataLst>
            <p:extLst>
              <p:ext uri="{D42A27DB-BD31-4B8C-83A1-F6EECF244321}">
                <p14:modId xmlns:p14="http://schemas.microsoft.com/office/powerpoint/2010/main" val="64430497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6580" name="think-cell Slide" r:id="rId4" imgW="395" imgH="394" progId="TCLayout.ActiveDocument.1">
                  <p:embed/>
                </p:oleObj>
              </mc:Choice>
              <mc:Fallback>
                <p:oleObj name="think-cell Slide" r:id="rId4" imgW="395" imgH="394" progId="TCLayout.ActiveDocument.1">
                  <p:embed/>
                  <p:pic>
                    <p:nvPicPr>
                      <p:cNvPr id="3" name="Object 2" hidden="1">
                        <a:extLst>
                          <a:ext uri="{FF2B5EF4-FFF2-40B4-BE49-F238E27FC236}">
                            <a16:creationId xmlns:a16="http://schemas.microsoft.com/office/drawing/2014/main" id="{5ECD524A-1569-4253-8CD8-48D288AD883C}"/>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523756679"/>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pic>
        <p:nvPicPr>
          <p:cNvPr id="2" name="background"/>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0" y="198"/>
            <a:ext cx="8961438" cy="6721079"/>
          </a:xfrm>
          <a:prstGeom prst="rect">
            <a:avLst/>
          </a:prstGeom>
        </p:spPr>
      </p:pic>
      <p:sp>
        <p:nvSpPr>
          <p:cNvPr id="28" name="TitleRectangle"/>
          <p:cNvSpPr txBox="1">
            <a:spLocks/>
          </p:cNvSpPr>
          <p:nvPr/>
        </p:nvSpPr>
        <p:spPr>
          <a:xfrm>
            <a:off x="2084388" y="0"/>
            <a:ext cx="6875462" cy="3575976"/>
          </a:xfrm>
          <a:prstGeom prst="rect">
            <a:avLst/>
          </a:prstGeom>
          <a:solidFill>
            <a:srgbClr val="002960">
              <a:alpha val="92000"/>
            </a:srgbClr>
          </a:solidFill>
        </p:spPr>
        <p:txBody>
          <a:bodyPr vert="horz" wrap="square" lIns="216000" tIns="1440000" rIns="216000" bIns="108000" rtlCol="0">
            <a:noAutofit/>
          </a:bodyPr>
          <a:lstStyle>
            <a:lvl1pPr marL="0" indent="0" algn="l" defTabSz="914400" rtl="0" eaLnBrk="1" latinLnBrk="0" hangingPunct="1">
              <a:spcBef>
                <a:spcPct val="20000"/>
              </a:spcBef>
              <a:spcAft>
                <a:spcPts val="6000"/>
              </a:spcAft>
              <a:buFont typeface="Arial" pitchFamily="34" charset="0"/>
              <a:buNone/>
              <a:defRPr sz="3200" kern="1200">
                <a:solidFill>
                  <a:schemeClr val="accent1"/>
                </a:solidFill>
                <a:latin typeface="+mn-lt"/>
                <a:ea typeface="+mn-ea"/>
                <a:cs typeface="+mn-cs"/>
              </a:defRPr>
            </a:lvl1pPr>
            <a:lvl2pPr marL="0" indent="0" algn="l" defTabSz="914400" rtl="0" eaLnBrk="1" latinLnBrk="0" hangingPunct="1">
              <a:spcBef>
                <a:spcPct val="20000"/>
              </a:spcBef>
              <a:buFont typeface="Wingdings" charset="2"/>
              <a:buNone/>
              <a:defRPr sz="1400" kern="1200">
                <a:solidFill>
                  <a:schemeClr val="tx1">
                    <a:lumMod val="50000"/>
                    <a:lumOff val="50000"/>
                  </a:schemeClr>
                </a:solidFill>
                <a:latin typeface="+mn-lt"/>
                <a:ea typeface="+mn-ea"/>
                <a:cs typeface="+mn-cs"/>
              </a:defRPr>
            </a:lvl2pPr>
            <a:lvl3pPr marL="1143000" indent="-228600" algn="l" defTabSz="914400" rtl="0" eaLnBrk="1" latinLnBrk="0" hangingPunct="1">
              <a:spcBef>
                <a:spcPct val="20000"/>
              </a:spcBef>
              <a:buFont typeface="Lucida Grande"/>
              <a:buChar char="–"/>
              <a:defRPr sz="16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fontAlgn="auto">
              <a:defRPr/>
            </a:pPr>
            <a:r>
              <a:rPr lang="en-US" baseline="0" dirty="0">
                <a:solidFill>
                  <a:srgbClr val="00ADEF"/>
                </a:solidFill>
                <a:latin typeface="+mn-lt"/>
              </a:rPr>
              <a:t>
              </a:t>
            </a:r>
            <a:br>
              <a:rPr lang="en-US" baseline="0" dirty="0">
                <a:solidFill>
                  <a:srgbClr val="00ADEF"/>
                </a:solidFill>
                <a:latin typeface="+mn-lt"/>
              </a:rPr>
            </a:br>
            <a:endParaRPr lang="en-US" baseline="0" dirty="0">
              <a:solidFill>
                <a:srgbClr val="00ADEF"/>
              </a:solidFill>
              <a:latin typeface="+mn-lt"/>
            </a:endParaRPr>
          </a:p>
        </p:txBody>
      </p:sp>
      <p:graphicFrame>
        <p:nvGraphicFramePr>
          <p:cNvPr id="3" name="Object 2"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8628"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Working Draft Text" hidden="1"/>
          <p:cNvSpPr txBox="1">
            <a:spLocks noChangeArrowheads="1"/>
          </p:cNvSpPr>
          <p:nvPr/>
        </p:nvSpPr>
        <p:spPr bwMode="black">
          <a:xfrm>
            <a:off x="5992719" y="6287538"/>
            <a:ext cx="2790000"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800" b="1" baseline="0" dirty="0">
                <a:solidFill>
                  <a:srgbClr val="FFFFFF"/>
                </a:solidFill>
                <a:latin typeface="+mn-lt"/>
              </a:rPr>
              <a:t>WORKING DRAFT</a:t>
            </a:r>
          </a:p>
        </p:txBody>
      </p:sp>
      <p:sp>
        <p:nvSpPr>
          <p:cNvPr id="6" name="Working Draft" hidden="1"/>
          <p:cNvSpPr txBox="1">
            <a:spLocks noChangeArrowheads="1"/>
          </p:cNvSpPr>
          <p:nvPr/>
        </p:nvSpPr>
        <p:spPr bwMode="black">
          <a:xfrm>
            <a:off x="5992718" y="6410648"/>
            <a:ext cx="2968719"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800" baseline="0">
                <a:solidFill>
                  <a:srgbClr val="FFFFFF"/>
                </a:solidFill>
                <a:latin typeface="+mn-lt"/>
              </a:rPr>
              <a:t>Last Modified 21/05/2018 17:44 India Standard Time</a:t>
            </a:r>
            <a:endParaRPr lang="en-US" sz="800" baseline="0" dirty="0">
              <a:solidFill>
                <a:srgbClr val="FFFFFF"/>
              </a:solidFill>
              <a:latin typeface="+mn-lt"/>
            </a:endParaRPr>
          </a:p>
        </p:txBody>
      </p:sp>
      <p:sp>
        <p:nvSpPr>
          <p:cNvPr id="7" name="Printed" hidden="1"/>
          <p:cNvSpPr txBox="1">
            <a:spLocks noChangeArrowheads="1"/>
          </p:cNvSpPr>
          <p:nvPr/>
        </p:nvSpPr>
        <p:spPr bwMode="black">
          <a:xfrm>
            <a:off x="5992719" y="6533759"/>
            <a:ext cx="2790000"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800" baseline="0" dirty="0">
                <a:solidFill>
                  <a:srgbClr val="FFFFFF"/>
                </a:solidFill>
                <a:latin typeface="+mn-lt"/>
              </a:rPr>
              <a:t>Printed</a:t>
            </a:r>
          </a:p>
        </p:txBody>
      </p:sp>
      <p:sp>
        <p:nvSpPr>
          <p:cNvPr id="13314" name="Title"/>
          <p:cNvSpPr>
            <a:spLocks noGrp="1" noChangeArrowheads="1"/>
          </p:cNvSpPr>
          <p:nvPr>
            <p:ph type="ctrTitle"/>
          </p:nvPr>
        </p:nvSpPr>
        <p:spPr>
          <a:xfrm>
            <a:off x="2268266" y="1434419"/>
            <a:ext cx="6231663" cy="492443"/>
          </a:xfrm>
          <a:prstGeom prst="rect">
            <a:avLst/>
          </a:prstGeom>
        </p:spPr>
        <p:txBody>
          <a:bodyPr>
            <a:spAutoFit/>
          </a:bodyPr>
          <a:lstStyle>
            <a:lvl1pPr>
              <a:defRPr sz="3200" b="0" baseline="0">
                <a:solidFill>
                  <a:schemeClr val="accent2"/>
                </a:solidFill>
                <a:latin typeface="+mj-lt"/>
                <a:ea typeface="+mj-ea"/>
              </a:defRPr>
            </a:lvl1pPr>
          </a:lstStyle>
          <a:p>
            <a:pPr lvl="0" latinLnBrk="0"/>
            <a:r>
              <a:rPr lang="en-US" noProof="0"/>
              <a:t>Click to edit Master title style</a:t>
            </a:r>
            <a:endParaRPr lang="en-US" noProof="0" dirty="0"/>
          </a:p>
        </p:txBody>
      </p:sp>
      <p:sp>
        <p:nvSpPr>
          <p:cNvPr id="13315" name="Subtitle"/>
          <p:cNvSpPr>
            <a:spLocks noGrp="1" noChangeArrowheads="1"/>
          </p:cNvSpPr>
          <p:nvPr>
            <p:ph type="subTitle" idx="1"/>
          </p:nvPr>
        </p:nvSpPr>
        <p:spPr>
          <a:xfrm>
            <a:off x="2268266" y="2819401"/>
            <a:ext cx="6231663" cy="215444"/>
          </a:xfrm>
          <a:prstGeom prst="rect">
            <a:avLst/>
          </a:prstGeom>
        </p:spPr>
        <p:txBody>
          <a:bodyPr wrap="square">
            <a:spAutoFit/>
          </a:bodyPr>
          <a:lstStyle>
            <a:lvl1pPr>
              <a:defRPr sz="1400" cap="all" baseline="0">
                <a:solidFill>
                  <a:schemeClr val="bg1"/>
                </a:solidFill>
                <a:latin typeface="+mn-lt"/>
                <a:ea typeface="+mn-ea"/>
              </a:defRPr>
            </a:lvl1pPr>
          </a:lstStyle>
          <a:p>
            <a:pPr lvl="0" latinLnBrk="0"/>
            <a:r>
              <a:rPr lang="en-US" noProof="0"/>
              <a:t>Click to edit Master subtitle style</a:t>
            </a:r>
            <a:endParaRPr lang="en-US" noProof="0" dirty="0"/>
          </a:p>
        </p:txBody>
      </p:sp>
      <p:sp>
        <p:nvSpPr>
          <p:cNvPr id="57" name="Document type" hidden="1"/>
          <p:cNvSpPr txBox="1">
            <a:spLocks noChangeArrowheads="1"/>
          </p:cNvSpPr>
          <p:nvPr/>
        </p:nvSpPr>
        <p:spPr bwMode="gray">
          <a:xfrm>
            <a:off x="2268266" y="3227411"/>
            <a:ext cx="6231663"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00" baseline="0" dirty="0">
                <a:solidFill>
                  <a:schemeClr val="bg1"/>
                </a:solidFill>
                <a:latin typeface="+mn-lt"/>
              </a:rPr>
              <a:t>Document type | Date</a:t>
            </a:r>
          </a:p>
        </p:txBody>
      </p:sp>
      <p:sp>
        <p:nvSpPr>
          <p:cNvPr id="5" name="doc id" hidden="1"/>
          <p:cNvSpPr txBox="1">
            <a:spLocks noChangeArrowheads="1"/>
          </p:cNvSpPr>
          <p:nvPr/>
        </p:nvSpPr>
        <p:spPr bwMode="white">
          <a:xfrm>
            <a:off x="8443913" y="36513"/>
            <a:ext cx="295275" cy="1222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hangingPunct="1">
              <a:defRPr/>
            </a:pPr>
            <a:endParaRPr lang="en-US" sz="800" baseline="0" dirty="0">
              <a:solidFill>
                <a:srgbClr val="FFFFFF"/>
              </a:solidFill>
              <a:latin typeface="+mn-lt"/>
            </a:endParaRPr>
          </a:p>
        </p:txBody>
      </p:sp>
      <p:sp>
        <p:nvSpPr>
          <p:cNvPr id="43" name="LogoImage"/>
          <p:cNvSpPr>
            <a:spLocks noEditPoints="1"/>
          </p:cNvSpPr>
          <p:nvPr/>
        </p:nvSpPr>
        <p:spPr bwMode="white">
          <a:xfrm>
            <a:off x="2269098" y="182925"/>
            <a:ext cx="2176978" cy="238073"/>
          </a:xfrm>
          <a:custGeom>
            <a:avLst/>
            <a:gdLst>
              <a:gd name="T0" fmla="*/ 504 w 5516"/>
              <a:gd name="T1" fmla="*/ 26 h 606"/>
              <a:gd name="T2" fmla="*/ 18 w 5516"/>
              <a:gd name="T3" fmla="*/ 22 h 606"/>
              <a:gd name="T4" fmla="*/ 140 w 5516"/>
              <a:gd name="T5" fmla="*/ 436 h 606"/>
              <a:gd name="T6" fmla="*/ 408 w 5516"/>
              <a:gd name="T7" fmla="*/ 372 h 606"/>
              <a:gd name="T8" fmla="*/ 696 w 5516"/>
              <a:gd name="T9" fmla="*/ 422 h 606"/>
              <a:gd name="T10" fmla="*/ 768 w 5516"/>
              <a:gd name="T11" fmla="*/ 196 h 606"/>
              <a:gd name="T12" fmla="*/ 1272 w 5516"/>
              <a:gd name="T13" fmla="*/ 26 h 606"/>
              <a:gd name="T14" fmla="*/ 1302 w 5516"/>
              <a:gd name="T15" fmla="*/ 338 h 606"/>
              <a:gd name="T16" fmla="*/ 1202 w 5516"/>
              <a:gd name="T17" fmla="*/ 436 h 606"/>
              <a:gd name="T18" fmla="*/ 1030 w 5516"/>
              <a:gd name="T19" fmla="*/ 10 h 606"/>
              <a:gd name="T20" fmla="*/ 960 w 5516"/>
              <a:gd name="T21" fmla="*/ 22 h 606"/>
              <a:gd name="T22" fmla="*/ 804 w 5516"/>
              <a:gd name="T23" fmla="*/ 434 h 606"/>
              <a:gd name="T24" fmla="*/ 930 w 5516"/>
              <a:gd name="T25" fmla="*/ 246 h 606"/>
              <a:gd name="T26" fmla="*/ 1658 w 5516"/>
              <a:gd name="T27" fmla="*/ 342 h 606"/>
              <a:gd name="T28" fmla="*/ 1368 w 5516"/>
              <a:gd name="T29" fmla="*/ 188 h 606"/>
              <a:gd name="T30" fmla="*/ 1514 w 5516"/>
              <a:gd name="T31" fmla="*/ 436 h 606"/>
              <a:gd name="T32" fmla="*/ 1564 w 5516"/>
              <a:gd name="T33" fmla="*/ 434 h 606"/>
              <a:gd name="T34" fmla="*/ 1904 w 5516"/>
              <a:gd name="T35" fmla="*/ 184 h 606"/>
              <a:gd name="T36" fmla="*/ 1728 w 5516"/>
              <a:gd name="T37" fmla="*/ 366 h 606"/>
              <a:gd name="T38" fmla="*/ 2102 w 5516"/>
              <a:gd name="T39" fmla="*/ 192 h 606"/>
              <a:gd name="T40" fmla="*/ 1982 w 5516"/>
              <a:gd name="T41" fmla="*/ 320 h 606"/>
              <a:gd name="T42" fmla="*/ 2478 w 5516"/>
              <a:gd name="T43" fmla="*/ 242 h 606"/>
              <a:gd name="T44" fmla="*/ 2406 w 5516"/>
              <a:gd name="T45" fmla="*/ 390 h 606"/>
              <a:gd name="T46" fmla="*/ 2234 w 5516"/>
              <a:gd name="T47" fmla="*/ 192 h 606"/>
              <a:gd name="T48" fmla="*/ 2478 w 5516"/>
              <a:gd name="T49" fmla="*/ 242 h 606"/>
              <a:gd name="T50" fmla="*/ 2928 w 5516"/>
              <a:gd name="T51" fmla="*/ 448 h 606"/>
              <a:gd name="T52" fmla="*/ 2958 w 5516"/>
              <a:gd name="T53" fmla="*/ 230 h 606"/>
              <a:gd name="T54" fmla="*/ 2716 w 5516"/>
              <a:gd name="T55" fmla="*/ 54 h 606"/>
              <a:gd name="T56" fmla="*/ 2714 w 5516"/>
              <a:gd name="T57" fmla="*/ 36 h 606"/>
              <a:gd name="T58" fmla="*/ 2928 w 5516"/>
              <a:gd name="T59" fmla="*/ 448 h 606"/>
              <a:gd name="T60" fmla="*/ 3388 w 5516"/>
              <a:gd name="T61" fmla="*/ 4 h 606"/>
              <a:gd name="T62" fmla="*/ 3396 w 5516"/>
              <a:gd name="T63" fmla="*/ 366 h 606"/>
              <a:gd name="T64" fmla="*/ 3580 w 5516"/>
              <a:gd name="T65" fmla="*/ 190 h 606"/>
              <a:gd name="T66" fmla="*/ 3502 w 5516"/>
              <a:gd name="T67" fmla="*/ 432 h 606"/>
              <a:gd name="T68" fmla="*/ 4232 w 5516"/>
              <a:gd name="T69" fmla="*/ 348 h 606"/>
              <a:gd name="T70" fmla="*/ 3858 w 5516"/>
              <a:gd name="T71" fmla="*/ 176 h 606"/>
              <a:gd name="T72" fmla="*/ 3758 w 5516"/>
              <a:gd name="T73" fmla="*/ 446 h 606"/>
              <a:gd name="T74" fmla="*/ 3990 w 5516"/>
              <a:gd name="T75" fmla="*/ 282 h 606"/>
              <a:gd name="T76" fmla="*/ 4042 w 5516"/>
              <a:gd name="T77" fmla="*/ 342 h 606"/>
              <a:gd name="T78" fmla="*/ 4134 w 5516"/>
              <a:gd name="T79" fmla="*/ 448 h 606"/>
              <a:gd name="T80" fmla="*/ 4454 w 5516"/>
              <a:gd name="T81" fmla="*/ 202 h 606"/>
              <a:gd name="T82" fmla="*/ 4284 w 5516"/>
              <a:gd name="T83" fmla="*/ 174 h 606"/>
              <a:gd name="T84" fmla="*/ 4432 w 5516"/>
              <a:gd name="T85" fmla="*/ 588 h 606"/>
              <a:gd name="T86" fmla="*/ 4792 w 5516"/>
              <a:gd name="T87" fmla="*/ 382 h 606"/>
              <a:gd name="T88" fmla="*/ 5192 w 5516"/>
              <a:gd name="T89" fmla="*/ 340 h 606"/>
              <a:gd name="T90" fmla="*/ 4902 w 5516"/>
              <a:gd name="T91" fmla="*/ 186 h 606"/>
              <a:gd name="T92" fmla="*/ 4850 w 5516"/>
              <a:gd name="T93" fmla="*/ 274 h 606"/>
              <a:gd name="T94" fmla="*/ 4742 w 5516"/>
              <a:gd name="T95" fmla="*/ 194 h 606"/>
              <a:gd name="T96" fmla="*/ 4794 w 5516"/>
              <a:gd name="T97" fmla="*/ 418 h 606"/>
              <a:gd name="T98" fmla="*/ 5004 w 5516"/>
              <a:gd name="T99" fmla="*/ 338 h 606"/>
              <a:gd name="T100" fmla="*/ 5098 w 5516"/>
              <a:gd name="T101" fmla="*/ 446 h 606"/>
              <a:gd name="T102" fmla="*/ 5418 w 5516"/>
              <a:gd name="T103" fmla="*/ 192 h 606"/>
              <a:gd name="T104" fmla="*/ 5348 w 5516"/>
              <a:gd name="T105" fmla="*/ 180 h 606"/>
              <a:gd name="T106" fmla="*/ 5254 w 5516"/>
              <a:gd name="T107" fmla="*/ 606 h 6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516" h="606">
                <a:moveTo>
                  <a:pt x="366" y="448"/>
                </a:moveTo>
                <a:cubicBezTo>
                  <a:pt x="524" y="448"/>
                  <a:pt x="524" y="448"/>
                  <a:pt x="524" y="448"/>
                </a:cubicBezTo>
                <a:cubicBezTo>
                  <a:pt x="524" y="436"/>
                  <a:pt x="524" y="436"/>
                  <a:pt x="524" y="436"/>
                </a:cubicBezTo>
                <a:cubicBezTo>
                  <a:pt x="486" y="432"/>
                  <a:pt x="470" y="414"/>
                  <a:pt x="468" y="362"/>
                </a:cubicBezTo>
                <a:cubicBezTo>
                  <a:pt x="454" y="86"/>
                  <a:pt x="454" y="86"/>
                  <a:pt x="454" y="86"/>
                </a:cubicBezTo>
                <a:cubicBezTo>
                  <a:pt x="452" y="46"/>
                  <a:pt x="470" y="30"/>
                  <a:pt x="504" y="26"/>
                </a:cubicBezTo>
                <a:cubicBezTo>
                  <a:pt x="504" y="12"/>
                  <a:pt x="504" y="12"/>
                  <a:pt x="504" y="12"/>
                </a:cubicBezTo>
                <a:cubicBezTo>
                  <a:pt x="394" y="12"/>
                  <a:pt x="394" y="12"/>
                  <a:pt x="394" y="12"/>
                </a:cubicBezTo>
                <a:cubicBezTo>
                  <a:pt x="264" y="350"/>
                  <a:pt x="264" y="350"/>
                  <a:pt x="264" y="350"/>
                </a:cubicBezTo>
                <a:cubicBezTo>
                  <a:pt x="132" y="10"/>
                  <a:pt x="132" y="10"/>
                  <a:pt x="132" y="10"/>
                </a:cubicBezTo>
                <a:cubicBezTo>
                  <a:pt x="18" y="10"/>
                  <a:pt x="18" y="10"/>
                  <a:pt x="18" y="10"/>
                </a:cubicBezTo>
                <a:cubicBezTo>
                  <a:pt x="18" y="22"/>
                  <a:pt x="18" y="22"/>
                  <a:pt x="18" y="22"/>
                </a:cubicBezTo>
                <a:cubicBezTo>
                  <a:pt x="40" y="26"/>
                  <a:pt x="74" y="32"/>
                  <a:pt x="72" y="84"/>
                </a:cubicBezTo>
                <a:cubicBezTo>
                  <a:pt x="58" y="352"/>
                  <a:pt x="58" y="352"/>
                  <a:pt x="58" y="352"/>
                </a:cubicBezTo>
                <a:cubicBezTo>
                  <a:pt x="54" y="410"/>
                  <a:pt x="38" y="430"/>
                  <a:pt x="0" y="436"/>
                </a:cubicBezTo>
                <a:cubicBezTo>
                  <a:pt x="0" y="448"/>
                  <a:pt x="0" y="448"/>
                  <a:pt x="0" y="448"/>
                </a:cubicBezTo>
                <a:cubicBezTo>
                  <a:pt x="140" y="448"/>
                  <a:pt x="140" y="448"/>
                  <a:pt x="140" y="448"/>
                </a:cubicBezTo>
                <a:cubicBezTo>
                  <a:pt x="140" y="436"/>
                  <a:pt x="140" y="436"/>
                  <a:pt x="140" y="436"/>
                </a:cubicBezTo>
                <a:cubicBezTo>
                  <a:pt x="98" y="428"/>
                  <a:pt x="84" y="414"/>
                  <a:pt x="88" y="356"/>
                </a:cubicBezTo>
                <a:cubicBezTo>
                  <a:pt x="100" y="86"/>
                  <a:pt x="100" y="86"/>
                  <a:pt x="100" y="86"/>
                </a:cubicBezTo>
                <a:cubicBezTo>
                  <a:pt x="240" y="444"/>
                  <a:pt x="240" y="444"/>
                  <a:pt x="240" y="444"/>
                </a:cubicBezTo>
                <a:cubicBezTo>
                  <a:pt x="258" y="444"/>
                  <a:pt x="258" y="444"/>
                  <a:pt x="258" y="444"/>
                </a:cubicBezTo>
                <a:cubicBezTo>
                  <a:pt x="396" y="86"/>
                  <a:pt x="396" y="86"/>
                  <a:pt x="396" y="86"/>
                </a:cubicBezTo>
                <a:cubicBezTo>
                  <a:pt x="408" y="372"/>
                  <a:pt x="408" y="372"/>
                  <a:pt x="408" y="372"/>
                </a:cubicBezTo>
                <a:cubicBezTo>
                  <a:pt x="410" y="416"/>
                  <a:pt x="398" y="430"/>
                  <a:pt x="366" y="434"/>
                </a:cubicBezTo>
                <a:lnTo>
                  <a:pt x="366" y="448"/>
                </a:lnTo>
                <a:close/>
                <a:moveTo>
                  <a:pt x="670" y="456"/>
                </a:moveTo>
                <a:cubicBezTo>
                  <a:pt x="708" y="456"/>
                  <a:pt x="756" y="440"/>
                  <a:pt x="782" y="412"/>
                </a:cubicBezTo>
                <a:cubicBezTo>
                  <a:pt x="776" y="400"/>
                  <a:pt x="776" y="400"/>
                  <a:pt x="776" y="400"/>
                </a:cubicBezTo>
                <a:cubicBezTo>
                  <a:pt x="750" y="416"/>
                  <a:pt x="722" y="422"/>
                  <a:pt x="696" y="422"/>
                </a:cubicBezTo>
                <a:cubicBezTo>
                  <a:pt x="620" y="422"/>
                  <a:pt x="592" y="358"/>
                  <a:pt x="592" y="290"/>
                </a:cubicBezTo>
                <a:cubicBezTo>
                  <a:pt x="592" y="258"/>
                  <a:pt x="600" y="236"/>
                  <a:pt x="614" y="222"/>
                </a:cubicBezTo>
                <a:cubicBezTo>
                  <a:pt x="626" y="210"/>
                  <a:pt x="646" y="204"/>
                  <a:pt x="664" y="204"/>
                </a:cubicBezTo>
                <a:cubicBezTo>
                  <a:pt x="690" y="204"/>
                  <a:pt x="722" y="214"/>
                  <a:pt x="744" y="244"/>
                </a:cubicBezTo>
                <a:cubicBezTo>
                  <a:pt x="750" y="244"/>
                  <a:pt x="750" y="244"/>
                  <a:pt x="750" y="244"/>
                </a:cubicBezTo>
                <a:cubicBezTo>
                  <a:pt x="758" y="234"/>
                  <a:pt x="766" y="212"/>
                  <a:pt x="768" y="196"/>
                </a:cubicBezTo>
                <a:cubicBezTo>
                  <a:pt x="748" y="180"/>
                  <a:pt x="720" y="172"/>
                  <a:pt x="686" y="172"/>
                </a:cubicBezTo>
                <a:cubicBezTo>
                  <a:pt x="604" y="172"/>
                  <a:pt x="544" y="246"/>
                  <a:pt x="544" y="326"/>
                </a:cubicBezTo>
                <a:cubicBezTo>
                  <a:pt x="540" y="390"/>
                  <a:pt x="576" y="456"/>
                  <a:pt x="670" y="456"/>
                </a:cubicBezTo>
                <a:moveTo>
                  <a:pt x="1272" y="98"/>
                </a:moveTo>
                <a:cubicBezTo>
                  <a:pt x="1292" y="98"/>
                  <a:pt x="1308" y="82"/>
                  <a:pt x="1308" y="62"/>
                </a:cubicBezTo>
                <a:cubicBezTo>
                  <a:pt x="1308" y="42"/>
                  <a:pt x="1292" y="26"/>
                  <a:pt x="1272" y="26"/>
                </a:cubicBezTo>
                <a:cubicBezTo>
                  <a:pt x="1252" y="26"/>
                  <a:pt x="1238" y="42"/>
                  <a:pt x="1238" y="62"/>
                </a:cubicBezTo>
                <a:cubicBezTo>
                  <a:pt x="1238" y="82"/>
                  <a:pt x="1252" y="98"/>
                  <a:pt x="1272" y="98"/>
                </a:cubicBezTo>
                <a:moveTo>
                  <a:pt x="1202" y="448"/>
                </a:moveTo>
                <a:cubicBezTo>
                  <a:pt x="1346" y="448"/>
                  <a:pt x="1346" y="448"/>
                  <a:pt x="1346" y="448"/>
                </a:cubicBezTo>
                <a:cubicBezTo>
                  <a:pt x="1346" y="436"/>
                  <a:pt x="1346" y="436"/>
                  <a:pt x="1346" y="436"/>
                </a:cubicBezTo>
                <a:cubicBezTo>
                  <a:pt x="1304" y="432"/>
                  <a:pt x="1302" y="434"/>
                  <a:pt x="1302" y="338"/>
                </a:cubicBezTo>
                <a:cubicBezTo>
                  <a:pt x="1302" y="176"/>
                  <a:pt x="1302" y="176"/>
                  <a:pt x="1302" y="176"/>
                </a:cubicBezTo>
                <a:cubicBezTo>
                  <a:pt x="1200" y="176"/>
                  <a:pt x="1200" y="176"/>
                  <a:pt x="1200" y="176"/>
                </a:cubicBezTo>
                <a:cubicBezTo>
                  <a:pt x="1200" y="188"/>
                  <a:pt x="1200" y="188"/>
                  <a:pt x="1200" y="188"/>
                </a:cubicBezTo>
                <a:cubicBezTo>
                  <a:pt x="1244" y="190"/>
                  <a:pt x="1250" y="192"/>
                  <a:pt x="1250" y="268"/>
                </a:cubicBezTo>
                <a:cubicBezTo>
                  <a:pt x="1250" y="336"/>
                  <a:pt x="1250" y="336"/>
                  <a:pt x="1250" y="336"/>
                </a:cubicBezTo>
                <a:cubicBezTo>
                  <a:pt x="1250" y="432"/>
                  <a:pt x="1248" y="432"/>
                  <a:pt x="1202" y="436"/>
                </a:cubicBezTo>
                <a:cubicBezTo>
                  <a:pt x="1178" y="434"/>
                  <a:pt x="1154" y="426"/>
                  <a:pt x="1076" y="338"/>
                </a:cubicBezTo>
                <a:cubicBezTo>
                  <a:pt x="1046" y="302"/>
                  <a:pt x="996" y="244"/>
                  <a:pt x="968" y="206"/>
                </a:cubicBezTo>
                <a:cubicBezTo>
                  <a:pt x="1062" y="102"/>
                  <a:pt x="1062" y="102"/>
                  <a:pt x="1062" y="102"/>
                </a:cubicBezTo>
                <a:cubicBezTo>
                  <a:pt x="1108" y="52"/>
                  <a:pt x="1132" y="26"/>
                  <a:pt x="1176" y="24"/>
                </a:cubicBezTo>
                <a:cubicBezTo>
                  <a:pt x="1176" y="10"/>
                  <a:pt x="1176" y="10"/>
                  <a:pt x="1176" y="10"/>
                </a:cubicBezTo>
                <a:cubicBezTo>
                  <a:pt x="1030" y="10"/>
                  <a:pt x="1030" y="10"/>
                  <a:pt x="1030" y="10"/>
                </a:cubicBezTo>
                <a:cubicBezTo>
                  <a:pt x="1030" y="22"/>
                  <a:pt x="1030" y="22"/>
                  <a:pt x="1030" y="22"/>
                </a:cubicBezTo>
                <a:cubicBezTo>
                  <a:pt x="1050" y="26"/>
                  <a:pt x="1056" y="32"/>
                  <a:pt x="1056" y="46"/>
                </a:cubicBezTo>
                <a:cubicBezTo>
                  <a:pt x="1056" y="56"/>
                  <a:pt x="1054" y="72"/>
                  <a:pt x="1026" y="102"/>
                </a:cubicBezTo>
                <a:cubicBezTo>
                  <a:pt x="910" y="230"/>
                  <a:pt x="910" y="230"/>
                  <a:pt x="910" y="230"/>
                </a:cubicBezTo>
                <a:cubicBezTo>
                  <a:pt x="910" y="148"/>
                  <a:pt x="910" y="148"/>
                  <a:pt x="910" y="148"/>
                </a:cubicBezTo>
                <a:cubicBezTo>
                  <a:pt x="910" y="36"/>
                  <a:pt x="916" y="28"/>
                  <a:pt x="960" y="22"/>
                </a:cubicBezTo>
                <a:cubicBezTo>
                  <a:pt x="960" y="8"/>
                  <a:pt x="960" y="8"/>
                  <a:pt x="960" y="8"/>
                </a:cubicBezTo>
                <a:cubicBezTo>
                  <a:pt x="804" y="8"/>
                  <a:pt x="804" y="8"/>
                  <a:pt x="804" y="8"/>
                </a:cubicBezTo>
                <a:cubicBezTo>
                  <a:pt x="804" y="22"/>
                  <a:pt x="804" y="22"/>
                  <a:pt x="804" y="22"/>
                </a:cubicBezTo>
                <a:cubicBezTo>
                  <a:pt x="852" y="26"/>
                  <a:pt x="854" y="36"/>
                  <a:pt x="854" y="148"/>
                </a:cubicBezTo>
                <a:cubicBezTo>
                  <a:pt x="854" y="300"/>
                  <a:pt x="854" y="300"/>
                  <a:pt x="854" y="300"/>
                </a:cubicBezTo>
                <a:cubicBezTo>
                  <a:pt x="854" y="422"/>
                  <a:pt x="850" y="430"/>
                  <a:pt x="804" y="434"/>
                </a:cubicBezTo>
                <a:cubicBezTo>
                  <a:pt x="804" y="446"/>
                  <a:pt x="804" y="446"/>
                  <a:pt x="804" y="446"/>
                </a:cubicBezTo>
                <a:cubicBezTo>
                  <a:pt x="960" y="446"/>
                  <a:pt x="960" y="446"/>
                  <a:pt x="960" y="446"/>
                </a:cubicBezTo>
                <a:cubicBezTo>
                  <a:pt x="960" y="434"/>
                  <a:pt x="960" y="434"/>
                  <a:pt x="960" y="434"/>
                </a:cubicBezTo>
                <a:cubicBezTo>
                  <a:pt x="910" y="428"/>
                  <a:pt x="910" y="424"/>
                  <a:pt x="910" y="292"/>
                </a:cubicBezTo>
                <a:cubicBezTo>
                  <a:pt x="910" y="268"/>
                  <a:pt x="910" y="268"/>
                  <a:pt x="910" y="268"/>
                </a:cubicBezTo>
                <a:cubicBezTo>
                  <a:pt x="930" y="246"/>
                  <a:pt x="930" y="246"/>
                  <a:pt x="930" y="246"/>
                </a:cubicBezTo>
                <a:cubicBezTo>
                  <a:pt x="982" y="310"/>
                  <a:pt x="1038" y="380"/>
                  <a:pt x="1098" y="448"/>
                </a:cubicBezTo>
                <a:cubicBezTo>
                  <a:pt x="1202" y="448"/>
                  <a:pt x="1202" y="448"/>
                  <a:pt x="1202" y="448"/>
                </a:cubicBezTo>
                <a:close/>
                <a:moveTo>
                  <a:pt x="1564" y="448"/>
                </a:moveTo>
                <a:cubicBezTo>
                  <a:pt x="1706" y="448"/>
                  <a:pt x="1706" y="448"/>
                  <a:pt x="1706" y="448"/>
                </a:cubicBezTo>
                <a:cubicBezTo>
                  <a:pt x="1706" y="436"/>
                  <a:pt x="1706" y="436"/>
                  <a:pt x="1706" y="436"/>
                </a:cubicBezTo>
                <a:cubicBezTo>
                  <a:pt x="1658" y="434"/>
                  <a:pt x="1658" y="432"/>
                  <a:pt x="1658" y="342"/>
                </a:cubicBezTo>
                <a:cubicBezTo>
                  <a:pt x="1658" y="280"/>
                  <a:pt x="1658" y="280"/>
                  <a:pt x="1658" y="280"/>
                </a:cubicBezTo>
                <a:cubicBezTo>
                  <a:pt x="1658" y="198"/>
                  <a:pt x="1612" y="172"/>
                  <a:pt x="1570" y="172"/>
                </a:cubicBezTo>
                <a:cubicBezTo>
                  <a:pt x="1534" y="172"/>
                  <a:pt x="1498" y="188"/>
                  <a:pt x="1470" y="224"/>
                </a:cubicBezTo>
                <a:cubicBezTo>
                  <a:pt x="1470" y="176"/>
                  <a:pt x="1470" y="176"/>
                  <a:pt x="1470" y="176"/>
                </a:cubicBezTo>
                <a:cubicBezTo>
                  <a:pt x="1368" y="176"/>
                  <a:pt x="1368" y="176"/>
                  <a:pt x="1368" y="176"/>
                </a:cubicBezTo>
                <a:cubicBezTo>
                  <a:pt x="1368" y="188"/>
                  <a:pt x="1368" y="188"/>
                  <a:pt x="1368" y="188"/>
                </a:cubicBezTo>
                <a:cubicBezTo>
                  <a:pt x="1412" y="190"/>
                  <a:pt x="1418" y="192"/>
                  <a:pt x="1418" y="268"/>
                </a:cubicBezTo>
                <a:cubicBezTo>
                  <a:pt x="1418" y="336"/>
                  <a:pt x="1418" y="336"/>
                  <a:pt x="1418" y="336"/>
                </a:cubicBezTo>
                <a:cubicBezTo>
                  <a:pt x="1418" y="434"/>
                  <a:pt x="1418" y="434"/>
                  <a:pt x="1370" y="436"/>
                </a:cubicBezTo>
                <a:cubicBezTo>
                  <a:pt x="1370" y="448"/>
                  <a:pt x="1370" y="448"/>
                  <a:pt x="1370" y="448"/>
                </a:cubicBezTo>
                <a:cubicBezTo>
                  <a:pt x="1514" y="448"/>
                  <a:pt x="1514" y="448"/>
                  <a:pt x="1514" y="448"/>
                </a:cubicBezTo>
                <a:cubicBezTo>
                  <a:pt x="1514" y="436"/>
                  <a:pt x="1514" y="436"/>
                  <a:pt x="1514" y="436"/>
                </a:cubicBezTo>
                <a:cubicBezTo>
                  <a:pt x="1472" y="432"/>
                  <a:pt x="1470" y="434"/>
                  <a:pt x="1470" y="338"/>
                </a:cubicBezTo>
                <a:cubicBezTo>
                  <a:pt x="1470" y="262"/>
                  <a:pt x="1470" y="262"/>
                  <a:pt x="1470" y="262"/>
                </a:cubicBezTo>
                <a:cubicBezTo>
                  <a:pt x="1470" y="236"/>
                  <a:pt x="1504" y="206"/>
                  <a:pt x="1546" y="206"/>
                </a:cubicBezTo>
                <a:cubicBezTo>
                  <a:pt x="1580" y="206"/>
                  <a:pt x="1606" y="220"/>
                  <a:pt x="1606" y="286"/>
                </a:cubicBezTo>
                <a:cubicBezTo>
                  <a:pt x="1606" y="340"/>
                  <a:pt x="1606" y="340"/>
                  <a:pt x="1606" y="340"/>
                </a:cubicBezTo>
                <a:cubicBezTo>
                  <a:pt x="1606" y="432"/>
                  <a:pt x="1602" y="432"/>
                  <a:pt x="1564" y="434"/>
                </a:cubicBezTo>
                <a:lnTo>
                  <a:pt x="1564" y="448"/>
                </a:lnTo>
                <a:close/>
                <a:moveTo>
                  <a:pt x="1776" y="222"/>
                </a:moveTo>
                <a:cubicBezTo>
                  <a:pt x="1776" y="200"/>
                  <a:pt x="1796" y="188"/>
                  <a:pt x="1822" y="188"/>
                </a:cubicBezTo>
                <a:cubicBezTo>
                  <a:pt x="1874" y="188"/>
                  <a:pt x="1896" y="236"/>
                  <a:pt x="1900" y="252"/>
                </a:cubicBezTo>
                <a:cubicBezTo>
                  <a:pt x="1912" y="252"/>
                  <a:pt x="1912" y="252"/>
                  <a:pt x="1912" y="252"/>
                </a:cubicBezTo>
                <a:cubicBezTo>
                  <a:pt x="1912" y="212"/>
                  <a:pt x="1908" y="188"/>
                  <a:pt x="1904" y="184"/>
                </a:cubicBezTo>
                <a:cubicBezTo>
                  <a:pt x="1900" y="180"/>
                  <a:pt x="1862" y="170"/>
                  <a:pt x="1824" y="170"/>
                </a:cubicBezTo>
                <a:cubicBezTo>
                  <a:pt x="1768" y="170"/>
                  <a:pt x="1734" y="206"/>
                  <a:pt x="1734" y="248"/>
                </a:cubicBezTo>
                <a:cubicBezTo>
                  <a:pt x="1734" y="340"/>
                  <a:pt x="1890" y="322"/>
                  <a:pt x="1890" y="396"/>
                </a:cubicBezTo>
                <a:cubicBezTo>
                  <a:pt x="1890" y="422"/>
                  <a:pt x="1866" y="436"/>
                  <a:pt x="1826" y="436"/>
                </a:cubicBezTo>
                <a:cubicBezTo>
                  <a:pt x="1788" y="436"/>
                  <a:pt x="1754" y="416"/>
                  <a:pt x="1744" y="366"/>
                </a:cubicBezTo>
                <a:cubicBezTo>
                  <a:pt x="1728" y="366"/>
                  <a:pt x="1728" y="366"/>
                  <a:pt x="1728" y="366"/>
                </a:cubicBezTo>
                <a:cubicBezTo>
                  <a:pt x="1728" y="386"/>
                  <a:pt x="1732" y="422"/>
                  <a:pt x="1734" y="428"/>
                </a:cubicBezTo>
                <a:cubicBezTo>
                  <a:pt x="1744" y="446"/>
                  <a:pt x="1788" y="454"/>
                  <a:pt x="1824" y="454"/>
                </a:cubicBezTo>
                <a:cubicBezTo>
                  <a:pt x="1888" y="454"/>
                  <a:pt x="1928" y="416"/>
                  <a:pt x="1928" y="372"/>
                </a:cubicBezTo>
                <a:cubicBezTo>
                  <a:pt x="1932" y="270"/>
                  <a:pt x="1776" y="286"/>
                  <a:pt x="1776" y="222"/>
                </a:cubicBezTo>
                <a:moveTo>
                  <a:pt x="2030" y="270"/>
                </a:moveTo>
                <a:cubicBezTo>
                  <a:pt x="2034" y="220"/>
                  <a:pt x="2058" y="192"/>
                  <a:pt x="2102" y="192"/>
                </a:cubicBezTo>
                <a:cubicBezTo>
                  <a:pt x="2144" y="192"/>
                  <a:pt x="2170" y="220"/>
                  <a:pt x="2172" y="270"/>
                </a:cubicBezTo>
                <a:lnTo>
                  <a:pt x="2030" y="270"/>
                </a:lnTo>
                <a:close/>
                <a:moveTo>
                  <a:pt x="2030" y="290"/>
                </a:moveTo>
                <a:cubicBezTo>
                  <a:pt x="2222" y="290"/>
                  <a:pt x="2222" y="290"/>
                  <a:pt x="2222" y="290"/>
                </a:cubicBezTo>
                <a:cubicBezTo>
                  <a:pt x="2226" y="228"/>
                  <a:pt x="2192" y="168"/>
                  <a:pt x="2114" y="168"/>
                </a:cubicBezTo>
                <a:cubicBezTo>
                  <a:pt x="2034" y="168"/>
                  <a:pt x="1982" y="232"/>
                  <a:pt x="1982" y="320"/>
                </a:cubicBezTo>
                <a:cubicBezTo>
                  <a:pt x="1982" y="388"/>
                  <a:pt x="2018" y="456"/>
                  <a:pt x="2112" y="456"/>
                </a:cubicBezTo>
                <a:cubicBezTo>
                  <a:pt x="2150" y="456"/>
                  <a:pt x="2198" y="440"/>
                  <a:pt x="2224" y="412"/>
                </a:cubicBezTo>
                <a:cubicBezTo>
                  <a:pt x="2218" y="400"/>
                  <a:pt x="2218" y="400"/>
                  <a:pt x="2218" y="400"/>
                </a:cubicBezTo>
                <a:cubicBezTo>
                  <a:pt x="2192" y="416"/>
                  <a:pt x="2164" y="422"/>
                  <a:pt x="2138" y="422"/>
                </a:cubicBezTo>
                <a:cubicBezTo>
                  <a:pt x="2058" y="420"/>
                  <a:pt x="2028" y="352"/>
                  <a:pt x="2030" y="290"/>
                </a:cubicBezTo>
                <a:moveTo>
                  <a:pt x="2478" y="242"/>
                </a:moveTo>
                <a:cubicBezTo>
                  <a:pt x="2490" y="206"/>
                  <a:pt x="2510" y="192"/>
                  <a:pt x="2528" y="192"/>
                </a:cubicBezTo>
                <a:cubicBezTo>
                  <a:pt x="2528" y="180"/>
                  <a:pt x="2528" y="180"/>
                  <a:pt x="2528" y="180"/>
                </a:cubicBezTo>
                <a:cubicBezTo>
                  <a:pt x="2430" y="180"/>
                  <a:pt x="2430" y="180"/>
                  <a:pt x="2430" y="180"/>
                </a:cubicBezTo>
                <a:cubicBezTo>
                  <a:pt x="2430" y="192"/>
                  <a:pt x="2430" y="192"/>
                  <a:pt x="2430" y="192"/>
                </a:cubicBezTo>
                <a:cubicBezTo>
                  <a:pt x="2454" y="194"/>
                  <a:pt x="2466" y="206"/>
                  <a:pt x="2458" y="234"/>
                </a:cubicBezTo>
                <a:cubicBezTo>
                  <a:pt x="2406" y="390"/>
                  <a:pt x="2406" y="390"/>
                  <a:pt x="2406" y="390"/>
                </a:cubicBezTo>
                <a:cubicBezTo>
                  <a:pt x="2354" y="270"/>
                  <a:pt x="2354" y="270"/>
                  <a:pt x="2354" y="270"/>
                </a:cubicBezTo>
                <a:cubicBezTo>
                  <a:pt x="2340" y="238"/>
                  <a:pt x="2334" y="224"/>
                  <a:pt x="2334" y="212"/>
                </a:cubicBezTo>
                <a:cubicBezTo>
                  <a:pt x="2334" y="202"/>
                  <a:pt x="2340" y="196"/>
                  <a:pt x="2360" y="192"/>
                </a:cubicBezTo>
                <a:cubicBezTo>
                  <a:pt x="2360" y="180"/>
                  <a:pt x="2360" y="180"/>
                  <a:pt x="2360" y="180"/>
                </a:cubicBezTo>
                <a:cubicBezTo>
                  <a:pt x="2234" y="180"/>
                  <a:pt x="2234" y="180"/>
                  <a:pt x="2234" y="180"/>
                </a:cubicBezTo>
                <a:cubicBezTo>
                  <a:pt x="2234" y="192"/>
                  <a:pt x="2234" y="192"/>
                  <a:pt x="2234" y="192"/>
                </a:cubicBezTo>
                <a:cubicBezTo>
                  <a:pt x="2266" y="194"/>
                  <a:pt x="2268" y="198"/>
                  <a:pt x="2310" y="292"/>
                </a:cubicBezTo>
                <a:cubicBezTo>
                  <a:pt x="2382" y="450"/>
                  <a:pt x="2382" y="450"/>
                  <a:pt x="2382" y="450"/>
                </a:cubicBezTo>
                <a:cubicBezTo>
                  <a:pt x="2358" y="512"/>
                  <a:pt x="2320" y="546"/>
                  <a:pt x="2242" y="564"/>
                </a:cubicBezTo>
                <a:cubicBezTo>
                  <a:pt x="2246" y="576"/>
                  <a:pt x="2260" y="600"/>
                  <a:pt x="2268" y="606"/>
                </a:cubicBezTo>
                <a:cubicBezTo>
                  <a:pt x="2370" y="564"/>
                  <a:pt x="2390" y="498"/>
                  <a:pt x="2426" y="396"/>
                </a:cubicBezTo>
                <a:lnTo>
                  <a:pt x="2478" y="242"/>
                </a:lnTo>
                <a:close/>
                <a:moveTo>
                  <a:pt x="2844" y="394"/>
                </a:moveTo>
                <a:cubicBezTo>
                  <a:pt x="2822" y="412"/>
                  <a:pt x="2782" y="416"/>
                  <a:pt x="2750" y="416"/>
                </a:cubicBezTo>
                <a:cubicBezTo>
                  <a:pt x="2670" y="416"/>
                  <a:pt x="2606" y="360"/>
                  <a:pt x="2606" y="284"/>
                </a:cubicBezTo>
                <a:cubicBezTo>
                  <a:pt x="2606" y="236"/>
                  <a:pt x="2626" y="206"/>
                  <a:pt x="2658" y="198"/>
                </a:cubicBezTo>
                <a:cubicBezTo>
                  <a:pt x="2698" y="266"/>
                  <a:pt x="2770" y="338"/>
                  <a:pt x="2844" y="394"/>
                </a:cubicBezTo>
                <a:moveTo>
                  <a:pt x="2928" y="448"/>
                </a:moveTo>
                <a:cubicBezTo>
                  <a:pt x="3022" y="448"/>
                  <a:pt x="3022" y="448"/>
                  <a:pt x="3022" y="448"/>
                </a:cubicBezTo>
                <a:cubicBezTo>
                  <a:pt x="3022" y="436"/>
                  <a:pt x="3022" y="436"/>
                  <a:pt x="3022" y="436"/>
                </a:cubicBezTo>
                <a:cubicBezTo>
                  <a:pt x="2992" y="432"/>
                  <a:pt x="2946" y="408"/>
                  <a:pt x="2896" y="372"/>
                </a:cubicBezTo>
                <a:cubicBezTo>
                  <a:pt x="2914" y="342"/>
                  <a:pt x="2918" y="300"/>
                  <a:pt x="2922" y="270"/>
                </a:cubicBezTo>
                <a:cubicBezTo>
                  <a:pt x="2926" y="244"/>
                  <a:pt x="2946" y="244"/>
                  <a:pt x="2958" y="242"/>
                </a:cubicBezTo>
                <a:cubicBezTo>
                  <a:pt x="2958" y="230"/>
                  <a:pt x="2958" y="230"/>
                  <a:pt x="2958" y="230"/>
                </a:cubicBezTo>
                <a:cubicBezTo>
                  <a:pt x="2834" y="230"/>
                  <a:pt x="2834" y="230"/>
                  <a:pt x="2834" y="230"/>
                </a:cubicBezTo>
                <a:cubicBezTo>
                  <a:pt x="2834" y="242"/>
                  <a:pt x="2834" y="242"/>
                  <a:pt x="2834" y="242"/>
                </a:cubicBezTo>
                <a:cubicBezTo>
                  <a:pt x="2864" y="246"/>
                  <a:pt x="2892" y="250"/>
                  <a:pt x="2892" y="294"/>
                </a:cubicBezTo>
                <a:cubicBezTo>
                  <a:pt x="2892" y="318"/>
                  <a:pt x="2888" y="342"/>
                  <a:pt x="2878" y="358"/>
                </a:cubicBezTo>
                <a:cubicBezTo>
                  <a:pt x="2770" y="274"/>
                  <a:pt x="2670" y="156"/>
                  <a:pt x="2670" y="96"/>
                </a:cubicBezTo>
                <a:cubicBezTo>
                  <a:pt x="2670" y="66"/>
                  <a:pt x="2688" y="54"/>
                  <a:pt x="2716" y="54"/>
                </a:cubicBezTo>
                <a:cubicBezTo>
                  <a:pt x="2752" y="54"/>
                  <a:pt x="2784" y="78"/>
                  <a:pt x="2800" y="124"/>
                </a:cubicBezTo>
                <a:cubicBezTo>
                  <a:pt x="2812" y="124"/>
                  <a:pt x="2812" y="124"/>
                  <a:pt x="2812" y="124"/>
                </a:cubicBezTo>
                <a:cubicBezTo>
                  <a:pt x="2810" y="42"/>
                  <a:pt x="2810" y="42"/>
                  <a:pt x="2810" y="42"/>
                </a:cubicBezTo>
                <a:cubicBezTo>
                  <a:pt x="2798" y="42"/>
                  <a:pt x="2798" y="42"/>
                  <a:pt x="2798" y="42"/>
                </a:cubicBezTo>
                <a:cubicBezTo>
                  <a:pt x="2798" y="48"/>
                  <a:pt x="2792" y="52"/>
                  <a:pt x="2788" y="52"/>
                </a:cubicBezTo>
                <a:cubicBezTo>
                  <a:pt x="2772" y="52"/>
                  <a:pt x="2752" y="36"/>
                  <a:pt x="2714" y="36"/>
                </a:cubicBezTo>
                <a:cubicBezTo>
                  <a:pt x="2672" y="36"/>
                  <a:pt x="2630" y="62"/>
                  <a:pt x="2630" y="118"/>
                </a:cubicBezTo>
                <a:cubicBezTo>
                  <a:pt x="2630" y="140"/>
                  <a:pt x="2636" y="160"/>
                  <a:pt x="2648" y="182"/>
                </a:cubicBezTo>
                <a:cubicBezTo>
                  <a:pt x="2592" y="200"/>
                  <a:pt x="2562" y="248"/>
                  <a:pt x="2562" y="304"/>
                </a:cubicBezTo>
                <a:cubicBezTo>
                  <a:pt x="2562" y="406"/>
                  <a:pt x="2640" y="460"/>
                  <a:pt x="2726" y="460"/>
                </a:cubicBezTo>
                <a:cubicBezTo>
                  <a:pt x="2780" y="460"/>
                  <a:pt x="2824" y="444"/>
                  <a:pt x="2862" y="410"/>
                </a:cubicBezTo>
                <a:cubicBezTo>
                  <a:pt x="2888" y="424"/>
                  <a:pt x="2912" y="442"/>
                  <a:pt x="2928" y="448"/>
                </a:cubicBezTo>
                <a:moveTo>
                  <a:pt x="3094" y="212"/>
                </a:moveTo>
                <a:cubicBezTo>
                  <a:pt x="3094" y="88"/>
                  <a:pt x="3154" y="20"/>
                  <a:pt x="3252" y="20"/>
                </a:cubicBezTo>
                <a:cubicBezTo>
                  <a:pt x="3328" y="20"/>
                  <a:pt x="3372" y="58"/>
                  <a:pt x="3392" y="134"/>
                </a:cubicBezTo>
                <a:cubicBezTo>
                  <a:pt x="3404" y="134"/>
                  <a:pt x="3404" y="134"/>
                  <a:pt x="3404" y="134"/>
                </a:cubicBezTo>
                <a:cubicBezTo>
                  <a:pt x="3400" y="4"/>
                  <a:pt x="3400" y="4"/>
                  <a:pt x="3400" y="4"/>
                </a:cubicBezTo>
                <a:cubicBezTo>
                  <a:pt x="3388" y="4"/>
                  <a:pt x="3388" y="4"/>
                  <a:pt x="3388" y="4"/>
                </a:cubicBezTo>
                <a:cubicBezTo>
                  <a:pt x="3384" y="14"/>
                  <a:pt x="3376" y="18"/>
                  <a:pt x="3364" y="18"/>
                </a:cubicBezTo>
                <a:cubicBezTo>
                  <a:pt x="3338" y="18"/>
                  <a:pt x="3314" y="0"/>
                  <a:pt x="3248" y="0"/>
                </a:cubicBezTo>
                <a:cubicBezTo>
                  <a:pt x="3118" y="0"/>
                  <a:pt x="3030" y="102"/>
                  <a:pt x="3030" y="242"/>
                </a:cubicBezTo>
                <a:cubicBezTo>
                  <a:pt x="3030" y="376"/>
                  <a:pt x="3110" y="460"/>
                  <a:pt x="3238" y="460"/>
                </a:cubicBezTo>
                <a:cubicBezTo>
                  <a:pt x="3320" y="460"/>
                  <a:pt x="3384" y="420"/>
                  <a:pt x="3408" y="380"/>
                </a:cubicBezTo>
                <a:cubicBezTo>
                  <a:pt x="3396" y="366"/>
                  <a:pt x="3396" y="366"/>
                  <a:pt x="3396" y="366"/>
                </a:cubicBezTo>
                <a:cubicBezTo>
                  <a:pt x="3370" y="402"/>
                  <a:pt x="3314" y="426"/>
                  <a:pt x="3256" y="426"/>
                </a:cubicBezTo>
                <a:cubicBezTo>
                  <a:pt x="3156" y="426"/>
                  <a:pt x="3094" y="340"/>
                  <a:pt x="3094" y="212"/>
                </a:cubicBezTo>
                <a:moveTo>
                  <a:pt x="3678" y="328"/>
                </a:moveTo>
                <a:cubicBezTo>
                  <a:pt x="3678" y="392"/>
                  <a:pt x="3650" y="430"/>
                  <a:pt x="3592" y="430"/>
                </a:cubicBezTo>
                <a:cubicBezTo>
                  <a:pt x="3542" y="430"/>
                  <a:pt x="3496" y="384"/>
                  <a:pt x="3496" y="292"/>
                </a:cubicBezTo>
                <a:cubicBezTo>
                  <a:pt x="3496" y="226"/>
                  <a:pt x="3528" y="190"/>
                  <a:pt x="3580" y="190"/>
                </a:cubicBezTo>
                <a:cubicBezTo>
                  <a:pt x="3628" y="192"/>
                  <a:pt x="3678" y="238"/>
                  <a:pt x="3678" y="328"/>
                </a:cubicBezTo>
                <a:moveTo>
                  <a:pt x="3732" y="312"/>
                </a:moveTo>
                <a:cubicBezTo>
                  <a:pt x="3732" y="260"/>
                  <a:pt x="3710" y="214"/>
                  <a:pt x="3672" y="190"/>
                </a:cubicBezTo>
                <a:cubicBezTo>
                  <a:pt x="3650" y="176"/>
                  <a:pt x="3620" y="168"/>
                  <a:pt x="3588" y="168"/>
                </a:cubicBezTo>
                <a:cubicBezTo>
                  <a:pt x="3502" y="168"/>
                  <a:pt x="3442" y="230"/>
                  <a:pt x="3442" y="310"/>
                </a:cubicBezTo>
                <a:cubicBezTo>
                  <a:pt x="3442" y="364"/>
                  <a:pt x="3464" y="408"/>
                  <a:pt x="3502" y="432"/>
                </a:cubicBezTo>
                <a:cubicBezTo>
                  <a:pt x="3524" y="446"/>
                  <a:pt x="3554" y="452"/>
                  <a:pt x="3586" y="452"/>
                </a:cubicBezTo>
                <a:cubicBezTo>
                  <a:pt x="3672" y="454"/>
                  <a:pt x="3732" y="394"/>
                  <a:pt x="3732" y="312"/>
                </a:cubicBezTo>
                <a:moveTo>
                  <a:pt x="4136" y="448"/>
                </a:moveTo>
                <a:cubicBezTo>
                  <a:pt x="4280" y="448"/>
                  <a:pt x="4280" y="448"/>
                  <a:pt x="4280" y="448"/>
                </a:cubicBezTo>
                <a:cubicBezTo>
                  <a:pt x="4280" y="436"/>
                  <a:pt x="4280" y="436"/>
                  <a:pt x="4280" y="436"/>
                </a:cubicBezTo>
                <a:cubicBezTo>
                  <a:pt x="4230" y="434"/>
                  <a:pt x="4232" y="426"/>
                  <a:pt x="4232" y="348"/>
                </a:cubicBezTo>
                <a:cubicBezTo>
                  <a:pt x="4232" y="276"/>
                  <a:pt x="4232" y="276"/>
                  <a:pt x="4232" y="276"/>
                </a:cubicBezTo>
                <a:cubicBezTo>
                  <a:pt x="4232" y="200"/>
                  <a:pt x="4190" y="172"/>
                  <a:pt x="4142" y="172"/>
                </a:cubicBezTo>
                <a:cubicBezTo>
                  <a:pt x="4098" y="172"/>
                  <a:pt x="4064" y="196"/>
                  <a:pt x="4038" y="232"/>
                </a:cubicBezTo>
                <a:cubicBezTo>
                  <a:pt x="4028" y="194"/>
                  <a:pt x="4000" y="172"/>
                  <a:pt x="3954" y="172"/>
                </a:cubicBezTo>
                <a:cubicBezTo>
                  <a:pt x="3916" y="172"/>
                  <a:pt x="3880" y="196"/>
                  <a:pt x="3858" y="224"/>
                </a:cubicBezTo>
                <a:cubicBezTo>
                  <a:pt x="3858" y="176"/>
                  <a:pt x="3858" y="176"/>
                  <a:pt x="3858" y="176"/>
                </a:cubicBezTo>
                <a:cubicBezTo>
                  <a:pt x="3756" y="176"/>
                  <a:pt x="3756" y="176"/>
                  <a:pt x="3756" y="176"/>
                </a:cubicBezTo>
                <a:cubicBezTo>
                  <a:pt x="3756" y="188"/>
                  <a:pt x="3756" y="188"/>
                  <a:pt x="3756" y="188"/>
                </a:cubicBezTo>
                <a:cubicBezTo>
                  <a:pt x="3800" y="190"/>
                  <a:pt x="3806" y="192"/>
                  <a:pt x="3806" y="268"/>
                </a:cubicBezTo>
                <a:cubicBezTo>
                  <a:pt x="3806" y="346"/>
                  <a:pt x="3806" y="346"/>
                  <a:pt x="3806" y="346"/>
                </a:cubicBezTo>
                <a:cubicBezTo>
                  <a:pt x="3806" y="434"/>
                  <a:pt x="3804" y="434"/>
                  <a:pt x="3758" y="434"/>
                </a:cubicBezTo>
                <a:cubicBezTo>
                  <a:pt x="3758" y="446"/>
                  <a:pt x="3758" y="446"/>
                  <a:pt x="3758" y="446"/>
                </a:cubicBezTo>
                <a:cubicBezTo>
                  <a:pt x="3902" y="446"/>
                  <a:pt x="3902" y="446"/>
                  <a:pt x="3902" y="446"/>
                </a:cubicBezTo>
                <a:cubicBezTo>
                  <a:pt x="3902" y="434"/>
                  <a:pt x="3902" y="434"/>
                  <a:pt x="3902" y="434"/>
                </a:cubicBezTo>
                <a:cubicBezTo>
                  <a:pt x="3862" y="430"/>
                  <a:pt x="3858" y="430"/>
                  <a:pt x="3858" y="342"/>
                </a:cubicBezTo>
                <a:cubicBezTo>
                  <a:pt x="3858" y="262"/>
                  <a:pt x="3858" y="262"/>
                  <a:pt x="3858" y="262"/>
                </a:cubicBezTo>
                <a:cubicBezTo>
                  <a:pt x="3858" y="234"/>
                  <a:pt x="3894" y="204"/>
                  <a:pt x="3932" y="204"/>
                </a:cubicBezTo>
                <a:cubicBezTo>
                  <a:pt x="3974" y="204"/>
                  <a:pt x="3990" y="226"/>
                  <a:pt x="3990" y="282"/>
                </a:cubicBezTo>
                <a:cubicBezTo>
                  <a:pt x="3990" y="338"/>
                  <a:pt x="3990" y="338"/>
                  <a:pt x="3990" y="338"/>
                </a:cubicBezTo>
                <a:cubicBezTo>
                  <a:pt x="3990" y="428"/>
                  <a:pt x="3988" y="432"/>
                  <a:pt x="3950" y="436"/>
                </a:cubicBezTo>
                <a:cubicBezTo>
                  <a:pt x="3950" y="448"/>
                  <a:pt x="3950" y="448"/>
                  <a:pt x="3950" y="448"/>
                </a:cubicBezTo>
                <a:cubicBezTo>
                  <a:pt x="4086" y="448"/>
                  <a:pt x="4086" y="448"/>
                  <a:pt x="4086" y="448"/>
                </a:cubicBezTo>
                <a:cubicBezTo>
                  <a:pt x="4086" y="436"/>
                  <a:pt x="4086" y="436"/>
                  <a:pt x="4086" y="436"/>
                </a:cubicBezTo>
                <a:cubicBezTo>
                  <a:pt x="4040" y="432"/>
                  <a:pt x="4042" y="428"/>
                  <a:pt x="4042" y="342"/>
                </a:cubicBezTo>
                <a:cubicBezTo>
                  <a:pt x="4042" y="264"/>
                  <a:pt x="4042" y="264"/>
                  <a:pt x="4042" y="264"/>
                </a:cubicBezTo>
                <a:cubicBezTo>
                  <a:pt x="4042" y="236"/>
                  <a:pt x="4078" y="206"/>
                  <a:pt x="4118" y="206"/>
                </a:cubicBezTo>
                <a:cubicBezTo>
                  <a:pt x="4152" y="206"/>
                  <a:pt x="4174" y="226"/>
                  <a:pt x="4174" y="284"/>
                </a:cubicBezTo>
                <a:cubicBezTo>
                  <a:pt x="4174" y="346"/>
                  <a:pt x="4174" y="346"/>
                  <a:pt x="4174" y="346"/>
                </a:cubicBezTo>
                <a:cubicBezTo>
                  <a:pt x="4174" y="428"/>
                  <a:pt x="4174" y="432"/>
                  <a:pt x="4134" y="436"/>
                </a:cubicBezTo>
                <a:cubicBezTo>
                  <a:pt x="4134" y="448"/>
                  <a:pt x="4134" y="448"/>
                  <a:pt x="4134" y="448"/>
                </a:cubicBezTo>
                <a:lnTo>
                  <a:pt x="4136" y="448"/>
                </a:lnTo>
                <a:close/>
                <a:moveTo>
                  <a:pt x="4546" y="316"/>
                </a:moveTo>
                <a:cubicBezTo>
                  <a:pt x="4546" y="388"/>
                  <a:pt x="4516" y="432"/>
                  <a:pt x="4460" y="432"/>
                </a:cubicBezTo>
                <a:cubicBezTo>
                  <a:pt x="4424" y="432"/>
                  <a:pt x="4384" y="412"/>
                  <a:pt x="4384" y="384"/>
                </a:cubicBezTo>
                <a:cubicBezTo>
                  <a:pt x="4384" y="248"/>
                  <a:pt x="4384" y="248"/>
                  <a:pt x="4384" y="248"/>
                </a:cubicBezTo>
                <a:cubicBezTo>
                  <a:pt x="4384" y="226"/>
                  <a:pt x="4416" y="202"/>
                  <a:pt x="4454" y="202"/>
                </a:cubicBezTo>
                <a:cubicBezTo>
                  <a:pt x="4510" y="206"/>
                  <a:pt x="4546" y="248"/>
                  <a:pt x="4546" y="316"/>
                </a:cubicBezTo>
                <a:moveTo>
                  <a:pt x="4600" y="310"/>
                </a:moveTo>
                <a:cubicBezTo>
                  <a:pt x="4600" y="230"/>
                  <a:pt x="4548" y="170"/>
                  <a:pt x="4478" y="170"/>
                </a:cubicBezTo>
                <a:cubicBezTo>
                  <a:pt x="4438" y="170"/>
                  <a:pt x="4406" y="188"/>
                  <a:pt x="4384" y="214"/>
                </a:cubicBezTo>
                <a:cubicBezTo>
                  <a:pt x="4384" y="174"/>
                  <a:pt x="4384" y="174"/>
                  <a:pt x="4384" y="174"/>
                </a:cubicBezTo>
                <a:cubicBezTo>
                  <a:pt x="4284" y="174"/>
                  <a:pt x="4284" y="174"/>
                  <a:pt x="4284" y="174"/>
                </a:cubicBezTo>
                <a:cubicBezTo>
                  <a:pt x="4284" y="186"/>
                  <a:pt x="4284" y="186"/>
                  <a:pt x="4284" y="186"/>
                </a:cubicBezTo>
                <a:cubicBezTo>
                  <a:pt x="4326" y="188"/>
                  <a:pt x="4332" y="190"/>
                  <a:pt x="4332" y="280"/>
                </a:cubicBezTo>
                <a:cubicBezTo>
                  <a:pt x="4332" y="466"/>
                  <a:pt x="4332" y="466"/>
                  <a:pt x="4332" y="466"/>
                </a:cubicBezTo>
                <a:cubicBezTo>
                  <a:pt x="4332" y="564"/>
                  <a:pt x="4334" y="570"/>
                  <a:pt x="4286" y="574"/>
                </a:cubicBezTo>
                <a:cubicBezTo>
                  <a:pt x="4286" y="588"/>
                  <a:pt x="4286" y="588"/>
                  <a:pt x="4286" y="588"/>
                </a:cubicBezTo>
                <a:cubicBezTo>
                  <a:pt x="4432" y="588"/>
                  <a:pt x="4432" y="588"/>
                  <a:pt x="4432" y="588"/>
                </a:cubicBezTo>
                <a:cubicBezTo>
                  <a:pt x="4432" y="574"/>
                  <a:pt x="4432" y="574"/>
                  <a:pt x="4432" y="574"/>
                </a:cubicBezTo>
                <a:cubicBezTo>
                  <a:pt x="4380" y="572"/>
                  <a:pt x="4384" y="564"/>
                  <a:pt x="4384" y="462"/>
                </a:cubicBezTo>
                <a:cubicBezTo>
                  <a:pt x="4384" y="424"/>
                  <a:pt x="4384" y="424"/>
                  <a:pt x="4384" y="424"/>
                </a:cubicBezTo>
                <a:cubicBezTo>
                  <a:pt x="4404" y="444"/>
                  <a:pt x="4436" y="454"/>
                  <a:pt x="4466" y="454"/>
                </a:cubicBezTo>
                <a:cubicBezTo>
                  <a:pt x="4548" y="454"/>
                  <a:pt x="4600" y="392"/>
                  <a:pt x="4600" y="310"/>
                </a:cubicBezTo>
                <a:moveTo>
                  <a:pt x="4792" y="382"/>
                </a:moveTo>
                <a:cubicBezTo>
                  <a:pt x="4792" y="404"/>
                  <a:pt x="4762" y="424"/>
                  <a:pt x="4736" y="424"/>
                </a:cubicBezTo>
                <a:cubicBezTo>
                  <a:pt x="4712" y="424"/>
                  <a:pt x="4694" y="410"/>
                  <a:pt x="4694" y="378"/>
                </a:cubicBezTo>
                <a:cubicBezTo>
                  <a:pt x="4694" y="322"/>
                  <a:pt x="4752" y="328"/>
                  <a:pt x="4792" y="306"/>
                </a:cubicBezTo>
                <a:cubicBezTo>
                  <a:pt x="4792" y="382"/>
                  <a:pt x="4792" y="382"/>
                  <a:pt x="4792" y="382"/>
                </a:cubicBezTo>
                <a:close/>
                <a:moveTo>
                  <a:pt x="5240" y="434"/>
                </a:moveTo>
                <a:cubicBezTo>
                  <a:pt x="5192" y="432"/>
                  <a:pt x="5192" y="430"/>
                  <a:pt x="5192" y="340"/>
                </a:cubicBezTo>
                <a:cubicBezTo>
                  <a:pt x="5192" y="278"/>
                  <a:pt x="5192" y="278"/>
                  <a:pt x="5192" y="278"/>
                </a:cubicBezTo>
                <a:cubicBezTo>
                  <a:pt x="5192" y="196"/>
                  <a:pt x="5146" y="170"/>
                  <a:pt x="5104" y="170"/>
                </a:cubicBezTo>
                <a:cubicBezTo>
                  <a:pt x="5068" y="170"/>
                  <a:pt x="5032" y="186"/>
                  <a:pt x="5004" y="222"/>
                </a:cubicBezTo>
                <a:cubicBezTo>
                  <a:pt x="5004" y="174"/>
                  <a:pt x="5004" y="174"/>
                  <a:pt x="5004" y="174"/>
                </a:cubicBezTo>
                <a:cubicBezTo>
                  <a:pt x="4902" y="174"/>
                  <a:pt x="4902" y="174"/>
                  <a:pt x="4902" y="174"/>
                </a:cubicBezTo>
                <a:cubicBezTo>
                  <a:pt x="4902" y="186"/>
                  <a:pt x="4902" y="186"/>
                  <a:pt x="4902" y="186"/>
                </a:cubicBezTo>
                <a:cubicBezTo>
                  <a:pt x="4946" y="188"/>
                  <a:pt x="4952" y="190"/>
                  <a:pt x="4952" y="266"/>
                </a:cubicBezTo>
                <a:cubicBezTo>
                  <a:pt x="4952" y="334"/>
                  <a:pt x="4952" y="334"/>
                  <a:pt x="4952" y="334"/>
                </a:cubicBezTo>
                <a:cubicBezTo>
                  <a:pt x="4952" y="430"/>
                  <a:pt x="4952" y="432"/>
                  <a:pt x="4904" y="434"/>
                </a:cubicBezTo>
                <a:cubicBezTo>
                  <a:pt x="4892" y="434"/>
                  <a:pt x="4892" y="434"/>
                  <a:pt x="4892" y="434"/>
                </a:cubicBezTo>
                <a:cubicBezTo>
                  <a:pt x="4854" y="434"/>
                  <a:pt x="4850" y="422"/>
                  <a:pt x="4850" y="366"/>
                </a:cubicBezTo>
                <a:cubicBezTo>
                  <a:pt x="4850" y="274"/>
                  <a:pt x="4850" y="274"/>
                  <a:pt x="4850" y="274"/>
                </a:cubicBezTo>
                <a:cubicBezTo>
                  <a:pt x="4850" y="256"/>
                  <a:pt x="4848" y="240"/>
                  <a:pt x="4844" y="228"/>
                </a:cubicBezTo>
                <a:cubicBezTo>
                  <a:pt x="4830" y="186"/>
                  <a:pt x="4796" y="170"/>
                  <a:pt x="4748" y="170"/>
                </a:cubicBezTo>
                <a:cubicBezTo>
                  <a:pt x="4718" y="170"/>
                  <a:pt x="4674" y="180"/>
                  <a:pt x="4650" y="202"/>
                </a:cubicBezTo>
                <a:cubicBezTo>
                  <a:pt x="4652" y="214"/>
                  <a:pt x="4664" y="240"/>
                  <a:pt x="4670" y="248"/>
                </a:cubicBezTo>
                <a:cubicBezTo>
                  <a:pt x="4676" y="246"/>
                  <a:pt x="4676" y="246"/>
                  <a:pt x="4676" y="246"/>
                </a:cubicBezTo>
                <a:cubicBezTo>
                  <a:pt x="4688" y="216"/>
                  <a:pt x="4708" y="194"/>
                  <a:pt x="4742" y="194"/>
                </a:cubicBezTo>
                <a:cubicBezTo>
                  <a:pt x="4778" y="194"/>
                  <a:pt x="4794" y="220"/>
                  <a:pt x="4794" y="250"/>
                </a:cubicBezTo>
                <a:cubicBezTo>
                  <a:pt x="4794" y="282"/>
                  <a:pt x="4794" y="282"/>
                  <a:pt x="4794" y="282"/>
                </a:cubicBezTo>
                <a:cubicBezTo>
                  <a:pt x="4794" y="302"/>
                  <a:pt x="4702" y="306"/>
                  <a:pt x="4664" y="338"/>
                </a:cubicBezTo>
                <a:cubicBezTo>
                  <a:pt x="4652" y="350"/>
                  <a:pt x="4642" y="364"/>
                  <a:pt x="4642" y="384"/>
                </a:cubicBezTo>
                <a:cubicBezTo>
                  <a:pt x="4642" y="426"/>
                  <a:pt x="4672" y="456"/>
                  <a:pt x="4716" y="456"/>
                </a:cubicBezTo>
                <a:cubicBezTo>
                  <a:pt x="4744" y="456"/>
                  <a:pt x="4768" y="446"/>
                  <a:pt x="4794" y="418"/>
                </a:cubicBezTo>
                <a:cubicBezTo>
                  <a:pt x="4798" y="438"/>
                  <a:pt x="4814" y="448"/>
                  <a:pt x="4842" y="448"/>
                </a:cubicBezTo>
                <a:cubicBezTo>
                  <a:pt x="4906" y="448"/>
                  <a:pt x="4906" y="448"/>
                  <a:pt x="4906" y="448"/>
                </a:cubicBezTo>
                <a:cubicBezTo>
                  <a:pt x="4906" y="448"/>
                  <a:pt x="4906" y="448"/>
                  <a:pt x="4906" y="448"/>
                </a:cubicBezTo>
                <a:cubicBezTo>
                  <a:pt x="5048" y="448"/>
                  <a:pt x="5048" y="448"/>
                  <a:pt x="5048" y="448"/>
                </a:cubicBezTo>
                <a:cubicBezTo>
                  <a:pt x="5048" y="436"/>
                  <a:pt x="5048" y="436"/>
                  <a:pt x="5048" y="436"/>
                </a:cubicBezTo>
                <a:cubicBezTo>
                  <a:pt x="5006" y="432"/>
                  <a:pt x="5004" y="434"/>
                  <a:pt x="5004" y="338"/>
                </a:cubicBezTo>
                <a:cubicBezTo>
                  <a:pt x="5004" y="262"/>
                  <a:pt x="5004" y="262"/>
                  <a:pt x="5004" y="262"/>
                </a:cubicBezTo>
                <a:cubicBezTo>
                  <a:pt x="5004" y="236"/>
                  <a:pt x="5038" y="206"/>
                  <a:pt x="5080" y="206"/>
                </a:cubicBezTo>
                <a:cubicBezTo>
                  <a:pt x="5114" y="206"/>
                  <a:pt x="5140" y="220"/>
                  <a:pt x="5140" y="286"/>
                </a:cubicBezTo>
                <a:cubicBezTo>
                  <a:pt x="5140" y="340"/>
                  <a:pt x="5140" y="340"/>
                  <a:pt x="5140" y="340"/>
                </a:cubicBezTo>
                <a:cubicBezTo>
                  <a:pt x="5140" y="432"/>
                  <a:pt x="5136" y="432"/>
                  <a:pt x="5098" y="434"/>
                </a:cubicBezTo>
                <a:cubicBezTo>
                  <a:pt x="5098" y="446"/>
                  <a:pt x="5098" y="446"/>
                  <a:pt x="5098" y="446"/>
                </a:cubicBezTo>
                <a:cubicBezTo>
                  <a:pt x="5240" y="446"/>
                  <a:pt x="5240" y="446"/>
                  <a:pt x="5240" y="446"/>
                </a:cubicBezTo>
                <a:lnTo>
                  <a:pt x="5240" y="434"/>
                </a:lnTo>
                <a:close/>
                <a:moveTo>
                  <a:pt x="5516" y="192"/>
                </a:moveTo>
                <a:cubicBezTo>
                  <a:pt x="5516" y="180"/>
                  <a:pt x="5516" y="180"/>
                  <a:pt x="5516" y="180"/>
                </a:cubicBezTo>
                <a:cubicBezTo>
                  <a:pt x="5418" y="180"/>
                  <a:pt x="5418" y="180"/>
                  <a:pt x="5418" y="180"/>
                </a:cubicBezTo>
                <a:cubicBezTo>
                  <a:pt x="5418" y="192"/>
                  <a:pt x="5418" y="192"/>
                  <a:pt x="5418" y="192"/>
                </a:cubicBezTo>
                <a:cubicBezTo>
                  <a:pt x="5442" y="194"/>
                  <a:pt x="5454" y="206"/>
                  <a:pt x="5446" y="234"/>
                </a:cubicBezTo>
                <a:cubicBezTo>
                  <a:pt x="5394" y="390"/>
                  <a:pt x="5394" y="390"/>
                  <a:pt x="5394" y="390"/>
                </a:cubicBezTo>
                <a:cubicBezTo>
                  <a:pt x="5342" y="270"/>
                  <a:pt x="5342" y="270"/>
                  <a:pt x="5342" y="270"/>
                </a:cubicBezTo>
                <a:cubicBezTo>
                  <a:pt x="5328" y="238"/>
                  <a:pt x="5322" y="224"/>
                  <a:pt x="5322" y="212"/>
                </a:cubicBezTo>
                <a:cubicBezTo>
                  <a:pt x="5322" y="202"/>
                  <a:pt x="5328" y="196"/>
                  <a:pt x="5348" y="192"/>
                </a:cubicBezTo>
                <a:cubicBezTo>
                  <a:pt x="5348" y="180"/>
                  <a:pt x="5348" y="180"/>
                  <a:pt x="5348" y="180"/>
                </a:cubicBezTo>
                <a:cubicBezTo>
                  <a:pt x="5220" y="180"/>
                  <a:pt x="5220" y="180"/>
                  <a:pt x="5220" y="180"/>
                </a:cubicBezTo>
                <a:cubicBezTo>
                  <a:pt x="5220" y="192"/>
                  <a:pt x="5220" y="192"/>
                  <a:pt x="5220" y="192"/>
                </a:cubicBezTo>
                <a:cubicBezTo>
                  <a:pt x="5252" y="194"/>
                  <a:pt x="5254" y="198"/>
                  <a:pt x="5296" y="292"/>
                </a:cubicBezTo>
                <a:cubicBezTo>
                  <a:pt x="5368" y="450"/>
                  <a:pt x="5368" y="450"/>
                  <a:pt x="5368" y="450"/>
                </a:cubicBezTo>
                <a:cubicBezTo>
                  <a:pt x="5344" y="512"/>
                  <a:pt x="5306" y="546"/>
                  <a:pt x="5228" y="564"/>
                </a:cubicBezTo>
                <a:cubicBezTo>
                  <a:pt x="5232" y="576"/>
                  <a:pt x="5246" y="600"/>
                  <a:pt x="5254" y="606"/>
                </a:cubicBezTo>
                <a:cubicBezTo>
                  <a:pt x="5356" y="564"/>
                  <a:pt x="5376" y="498"/>
                  <a:pt x="5412" y="396"/>
                </a:cubicBezTo>
                <a:cubicBezTo>
                  <a:pt x="5466" y="242"/>
                  <a:pt x="5466" y="242"/>
                  <a:pt x="5466" y="242"/>
                </a:cubicBezTo>
                <a:cubicBezTo>
                  <a:pt x="5478" y="206"/>
                  <a:pt x="5498" y="192"/>
                  <a:pt x="5516" y="192"/>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600" kern="1200">
                <a:solidFill>
                  <a:schemeClr val="tx1"/>
                </a:solidFill>
                <a:latin typeface="Arial" charset="0"/>
                <a:ea typeface="+mn-ea"/>
                <a:cs typeface="+mn-cs"/>
              </a:defRPr>
            </a:lvl1pPr>
            <a:lvl2pPr marL="457200" algn="l" rtl="0" fontAlgn="base">
              <a:spcBef>
                <a:spcPct val="0"/>
              </a:spcBef>
              <a:spcAft>
                <a:spcPct val="0"/>
              </a:spcAft>
              <a:defRPr sz="1600" kern="1200">
                <a:solidFill>
                  <a:schemeClr val="tx1"/>
                </a:solidFill>
                <a:latin typeface="Arial" charset="0"/>
                <a:ea typeface="+mn-ea"/>
                <a:cs typeface="+mn-cs"/>
              </a:defRPr>
            </a:lvl2pPr>
            <a:lvl3pPr marL="914400" algn="l" rtl="0" fontAlgn="base">
              <a:spcBef>
                <a:spcPct val="0"/>
              </a:spcBef>
              <a:spcAft>
                <a:spcPct val="0"/>
              </a:spcAft>
              <a:defRPr sz="1600" kern="1200">
                <a:solidFill>
                  <a:schemeClr val="tx1"/>
                </a:solidFill>
                <a:latin typeface="Arial" charset="0"/>
                <a:ea typeface="+mn-ea"/>
                <a:cs typeface="+mn-cs"/>
              </a:defRPr>
            </a:lvl3pPr>
            <a:lvl4pPr marL="1371600" algn="l" rtl="0" fontAlgn="base">
              <a:spcBef>
                <a:spcPct val="0"/>
              </a:spcBef>
              <a:spcAft>
                <a:spcPct val="0"/>
              </a:spcAft>
              <a:defRPr sz="1600" kern="1200">
                <a:solidFill>
                  <a:schemeClr val="tx1"/>
                </a:solidFill>
                <a:latin typeface="Arial" charset="0"/>
                <a:ea typeface="+mn-ea"/>
                <a:cs typeface="+mn-cs"/>
              </a:defRPr>
            </a:lvl4pPr>
            <a:lvl5pPr marL="1828800" algn="l" rtl="0" fontAlgn="base">
              <a:spcBef>
                <a:spcPct val="0"/>
              </a:spcBef>
              <a:spcAft>
                <a:spcPct val="0"/>
              </a:spcAft>
              <a:defRPr sz="1600" kern="1200">
                <a:solidFill>
                  <a:schemeClr val="tx1"/>
                </a:solidFill>
                <a:latin typeface="Arial" charset="0"/>
                <a:ea typeface="+mn-ea"/>
                <a:cs typeface="+mn-cs"/>
              </a:defRPr>
            </a:lvl5pPr>
            <a:lvl6pPr marL="2286000" algn="l" defTabSz="914400" rtl="0" eaLnBrk="1" latinLnBrk="0" hangingPunct="1">
              <a:defRPr sz="1600" kern="1200">
                <a:solidFill>
                  <a:schemeClr val="tx1"/>
                </a:solidFill>
                <a:latin typeface="Arial" charset="0"/>
                <a:ea typeface="+mn-ea"/>
                <a:cs typeface="+mn-cs"/>
              </a:defRPr>
            </a:lvl6pPr>
            <a:lvl7pPr marL="2743200" algn="l" defTabSz="914400" rtl="0" eaLnBrk="1" latinLnBrk="0" hangingPunct="1">
              <a:defRPr sz="1600" kern="1200">
                <a:solidFill>
                  <a:schemeClr val="tx1"/>
                </a:solidFill>
                <a:latin typeface="Arial" charset="0"/>
                <a:ea typeface="+mn-ea"/>
                <a:cs typeface="+mn-cs"/>
              </a:defRPr>
            </a:lvl7pPr>
            <a:lvl8pPr marL="3200400" algn="l" defTabSz="914400" rtl="0" eaLnBrk="1" latinLnBrk="0" hangingPunct="1">
              <a:defRPr sz="1600" kern="1200">
                <a:solidFill>
                  <a:schemeClr val="tx1"/>
                </a:solidFill>
                <a:latin typeface="Arial" charset="0"/>
                <a:ea typeface="+mn-ea"/>
                <a:cs typeface="+mn-cs"/>
              </a:defRPr>
            </a:lvl8pPr>
            <a:lvl9pPr marL="3657600" algn="l" defTabSz="914400" rtl="0" eaLnBrk="1" latinLnBrk="0" hangingPunct="1">
              <a:defRPr sz="1600" kern="1200">
                <a:solidFill>
                  <a:schemeClr val="tx1"/>
                </a:solidFill>
                <a:latin typeface="Arial" charset="0"/>
                <a:ea typeface="+mn-ea"/>
                <a:cs typeface="+mn-cs"/>
              </a:defRPr>
            </a:lvl9pPr>
          </a:lstStyle>
          <a:p>
            <a:endParaRPr lang="en-US" baseline="0" dirty="0">
              <a:solidFill>
                <a:srgbClr val="000000"/>
              </a:solidFill>
              <a:latin typeface="+mn-lt"/>
            </a:endParaRPr>
          </a:p>
        </p:txBody>
      </p:sp>
      <p:sp>
        <p:nvSpPr>
          <p:cNvPr id="27" name="Disclaimer-English (United States)" hidden="1"/>
          <p:cNvSpPr>
            <a:spLocks noChangeArrowheads="1"/>
          </p:cNvSpPr>
          <p:nvPr/>
        </p:nvSpPr>
        <p:spPr bwMode="black">
          <a:xfrm>
            <a:off x="2268266" y="6287785"/>
            <a:ext cx="3544453" cy="36908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t" anchorCtr="0">
            <a:noAutofit/>
          </a:bodyPr>
          <a:lstStyle/>
          <a:p>
            <a:pPr defTabSz="804863" eaLnBrk="0" hangingPunct="0"/>
            <a:r>
              <a:rPr lang="en-US" sz="800" baseline="0" dirty="0">
                <a:solidFill>
                  <a:srgbClr val="FFFFFF"/>
                </a:solidFill>
                <a:latin typeface="+mn-lt"/>
              </a:rPr>
              <a:t>CONFIDENTIAL AND PROPRIETARY</a:t>
            </a:r>
          </a:p>
          <a:p>
            <a:pPr defTabSz="804863" eaLnBrk="0" hangingPunct="0"/>
            <a:r>
              <a:rPr lang="en-US" sz="800" baseline="0" dirty="0">
                <a:solidFill>
                  <a:srgbClr val="FFFFFF"/>
                </a:solidFill>
                <a:latin typeface="+mn-lt"/>
              </a:rPr>
              <a:t>Any use of this material without specific permission of McKinsey &amp; Company is strictly prohibited</a:t>
            </a:r>
          </a:p>
        </p:txBody>
      </p:sp>
    </p:spTree>
    <p:extLst>
      <p:ext uri="{BB962C8B-B14F-4D97-AF65-F5344CB8AC3E}">
        <p14:creationId xmlns:p14="http://schemas.microsoft.com/office/powerpoint/2010/main" val="358351122"/>
      </p:ext>
    </p:extLst>
  </p:cSld>
  <p:clrMapOvr>
    <a:masterClrMapping/>
  </p:clrMapOvr>
  <p:extLst mod="1">
    <p:ext uri="{DCECCB84-F9BA-43D5-87BE-67443E8EF086}">
      <p15:sldGuideLst xmlns:p15="http://schemas.microsoft.com/office/powerpoint/2012/main">
        <p15:guide id="1" orient="horz" pos="2117">
          <p15:clr>
            <a:srgbClr val="FBAE40"/>
          </p15:clr>
        </p15:guide>
        <p15:guide id="2" pos="1416">
          <p15:clr>
            <a:srgbClr val="FBAE4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6E228F5-5CF1-42E1-9748-97D7582A107A}"/>
              </a:ext>
            </a:extLst>
          </p:cNvPr>
          <p:cNvGraphicFramePr>
            <a:graphicFrameLocks noChangeAspect="1"/>
          </p:cNvGraphicFramePr>
          <p:nvPr>
            <p:custDataLst>
              <p:tags r:id="rId2"/>
            </p:custDataLst>
            <p:extLst>
              <p:ext uri="{D42A27DB-BD31-4B8C-83A1-F6EECF244321}">
                <p14:modId xmlns:p14="http://schemas.microsoft.com/office/powerpoint/2010/main" val="142348353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9652" name="think-cell Slide" r:id="rId5" imgW="353" imgH="353" progId="TCLayout.ActiveDocument.1">
                  <p:embed/>
                </p:oleObj>
              </mc:Choice>
              <mc:Fallback>
                <p:oleObj name="think-cell Slide" r:id="rId5" imgW="353" imgH="353" progId="TCLayout.ActiveDocument.1">
                  <p:embed/>
                  <p:pic>
                    <p:nvPicPr>
                      <p:cNvPr id="3" name="Object 2" hidden="1">
                        <a:extLst>
                          <a:ext uri="{FF2B5EF4-FFF2-40B4-BE49-F238E27FC236}">
                            <a16:creationId xmlns:a16="http://schemas.microsoft.com/office/drawing/2014/main" id="{C6E228F5-5CF1-42E1-9748-97D7582A107A}"/>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2. Slide Title"/>
          <p:cNvSpPr>
            <a:spLocks noGrp="1"/>
          </p:cNvSpPr>
          <p:nvPr>
            <p:ph type="title"/>
          </p:nvPr>
        </p:nvSpPr>
        <p:spPr bwMode="auto"/>
        <p:txBody>
          <a:bodyPr/>
          <a:lstStyle/>
          <a:p>
            <a:r>
              <a:rPr lang="en-US"/>
              <a:t>Click to edit Master title style</a:t>
            </a:r>
            <a:endParaRPr lang="en-US" dirty="0"/>
          </a:p>
        </p:txBody>
      </p:sp>
      <p:sp>
        <p:nvSpPr>
          <p:cNvPr id="8" name="Slide Number"/>
          <p:cNvSpPr txBox="1">
            <a:spLocks/>
          </p:cNvSpPr>
          <p:nvPr/>
        </p:nvSpPr>
        <p:spPr bwMode="auto">
          <a:xfrm>
            <a:off x="8564563" y="6508272"/>
            <a:ext cx="125034" cy="123111"/>
          </a:xfrm>
          <a:prstGeom prst="rect">
            <a:avLst/>
          </a:prstGeom>
        </p:spPr>
        <p:txBody>
          <a:bodyPr vert="horz" wrap="none" lIns="0" tIns="0" rIns="0" bIns="0" rtlCol="0" anchor="ctr">
            <a:spAutoFit/>
          </a:bodyPr>
          <a:lstStyle>
            <a:defPPr>
              <a:defRPr lang="en-US"/>
            </a:defPPr>
            <a:lvl1pPr>
              <a:defRPr sz="1000" baseline="0">
                <a:latin typeface="+mn-lt"/>
              </a:defRPr>
            </a:lvl1pPr>
          </a:lstStyle>
          <a:p>
            <a:fld id="{42C328C1-A84F-4A39-A664-DBA00541A8C6}" type="slidenum">
              <a:rPr lang="en-US" sz="800" baseline="0" smtClean="0">
                <a:solidFill>
                  <a:srgbClr val="808080"/>
                </a:solidFill>
                <a:latin typeface="+mn-lt"/>
              </a:rPr>
              <a:pPr/>
              <a:t>‹#›</a:t>
            </a:fld>
            <a:endParaRPr lang="en-US" sz="800" baseline="0" dirty="0">
              <a:solidFill>
                <a:srgbClr val="808080"/>
              </a:solidFill>
              <a:latin typeface="+mn-lt"/>
            </a:endParaRPr>
          </a:p>
        </p:txBody>
      </p:sp>
      <p:sp>
        <p:nvSpPr>
          <p:cNvPr id="9" name="SlideLogoText"/>
          <p:cNvSpPr>
            <a:spLocks noChangeArrowheads="1"/>
          </p:cNvSpPr>
          <p:nvPr>
            <p:custDataLst>
              <p:tags r:id="rId3"/>
            </p:custDataLst>
          </p:nvPr>
        </p:nvSpPr>
        <p:spPr bwMode="auto">
          <a:xfrm>
            <a:off x="7450817" y="6508272"/>
            <a:ext cx="1013098"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algn="r" defTabSz="895350"/>
            <a:r>
              <a:rPr lang="en-US" sz="800" baseline="0" dirty="0">
                <a:solidFill>
                  <a:srgbClr val="808080"/>
                </a:solidFill>
                <a:latin typeface="+mn-lt"/>
              </a:rPr>
              <a:t>McKinsey &amp; Company</a:t>
            </a:r>
          </a:p>
        </p:txBody>
      </p:sp>
      <p:sp>
        <p:nvSpPr>
          <p:cNvPr id="5" name="doc id" hidden="1"/>
          <p:cNvSpPr txBox="1">
            <a:spLocks noChangeArrowheads="1"/>
          </p:cNvSpPr>
          <p:nvPr/>
        </p:nvSpPr>
        <p:spPr bwMode="white">
          <a:xfrm>
            <a:off x="8104473" y="36513"/>
            <a:ext cx="634716" cy="115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hangingPunct="1">
              <a:defRPr/>
            </a:pPr>
            <a:endParaRPr lang="en-US" sz="800" baseline="0" dirty="0">
              <a:solidFill>
                <a:schemeClr val="accent1"/>
              </a:solidFill>
              <a:latin typeface="+mn-lt"/>
              <a:ea typeface="+mn-ea"/>
            </a:endParaRPr>
          </a:p>
        </p:txBody>
      </p:sp>
    </p:spTree>
    <p:extLst>
      <p:ext uri="{BB962C8B-B14F-4D97-AF65-F5344CB8AC3E}">
        <p14:creationId xmlns:p14="http://schemas.microsoft.com/office/powerpoint/2010/main" val="3812846536"/>
      </p:ext>
    </p:extLst>
  </p:cSld>
  <p:clrMapOvr>
    <a:masterClrMapping/>
  </p:clrMapOvr>
  <p:extLst mod="1">
    <p:ext uri="{DCECCB84-F9BA-43D5-87BE-67443E8EF086}">
      <p15:sldGuideLst xmlns:p15="http://schemas.microsoft.com/office/powerpoint/2012/main">
        <p15:guide id="1" pos="5505">
          <p15:clr>
            <a:srgbClr val="F26B43"/>
          </p15:clr>
        </p15:guide>
        <p15:guide id="2" pos="74">
          <p15:clr>
            <a:srgbClr val="F26B43"/>
          </p15:clr>
        </p15:guide>
        <p15:guide id="3" orient="horz" pos="571">
          <p15:clr>
            <a:srgbClr val="F26B43"/>
          </p15:clr>
        </p15:guide>
        <p15:guide id="4" orient="horz" pos="3911">
          <p15:clr>
            <a:srgbClr val="F26B43"/>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1_Title Only">
    <p:bg>
      <p:bgPr>
        <a:solidFill>
          <a:schemeClr val="accent2"/>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F4AD34F-3B47-47E2-A09C-FFEB949F6A10}"/>
              </a:ext>
            </a:extLst>
          </p:cNvPr>
          <p:cNvGraphicFramePr>
            <a:graphicFrameLocks noChangeAspect="1"/>
          </p:cNvGraphicFramePr>
          <p:nvPr>
            <p:custDataLst>
              <p:tags r:id="rId2"/>
            </p:custDataLst>
            <p:extLst>
              <p:ext uri="{D42A27DB-BD31-4B8C-83A1-F6EECF244321}">
                <p14:modId xmlns:p14="http://schemas.microsoft.com/office/powerpoint/2010/main" val="192153744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0676" name="think-cell Slide" r:id="rId5" imgW="395" imgH="394" progId="TCLayout.ActiveDocument.1">
                  <p:embed/>
                </p:oleObj>
              </mc:Choice>
              <mc:Fallback>
                <p:oleObj name="think-cell Slide" r:id="rId5" imgW="395" imgH="394" progId="TCLayout.ActiveDocument.1">
                  <p:embed/>
                  <p:pic>
                    <p:nvPicPr>
                      <p:cNvPr id="3" name="Object 2" hidden="1">
                        <a:extLst>
                          <a:ext uri="{FF2B5EF4-FFF2-40B4-BE49-F238E27FC236}">
                            <a16:creationId xmlns:a16="http://schemas.microsoft.com/office/drawing/2014/main" id="{EF4AD34F-3B47-47E2-A09C-FFEB949F6A10}"/>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endParaRPr lang="en-US" dirty="0"/>
          </a:p>
        </p:txBody>
      </p:sp>
      <p:sp>
        <p:nvSpPr>
          <p:cNvPr id="15" name="Slide Number"/>
          <p:cNvSpPr txBox="1">
            <a:spLocks/>
          </p:cNvSpPr>
          <p:nvPr/>
        </p:nvSpPr>
        <p:spPr>
          <a:xfrm>
            <a:off x="8564563" y="6508272"/>
            <a:ext cx="125034" cy="123111"/>
          </a:xfrm>
          <a:prstGeom prst="rect">
            <a:avLst/>
          </a:prstGeom>
        </p:spPr>
        <p:txBody>
          <a:bodyPr vert="horz" wrap="none" lIns="0" tIns="0" rIns="0" bIns="0" rtlCol="0" anchor="ctr">
            <a:spAutoFit/>
          </a:bodyPr>
          <a:lstStyle>
            <a:defPPr>
              <a:defRPr lang="en-US"/>
            </a:defPPr>
            <a:lvl1pPr>
              <a:defRPr sz="1000" baseline="0">
                <a:latin typeface="+mn-lt"/>
              </a:defRPr>
            </a:lvl1pPr>
          </a:lstStyle>
          <a:p>
            <a:fld id="{42C328C1-A84F-4A39-A664-DBA00541A8C6}" type="slidenum">
              <a:rPr lang="en-US" sz="800" baseline="0" smtClean="0">
                <a:solidFill>
                  <a:srgbClr val="FFFFFF"/>
                </a:solidFill>
                <a:latin typeface="+mn-lt"/>
              </a:rPr>
              <a:pPr/>
              <a:t>‹#›</a:t>
            </a:fld>
            <a:endParaRPr lang="en-US" sz="800" baseline="0" dirty="0">
              <a:solidFill>
                <a:srgbClr val="FFFFFF"/>
              </a:solidFill>
              <a:latin typeface="+mn-lt"/>
            </a:endParaRPr>
          </a:p>
        </p:txBody>
      </p:sp>
      <p:sp>
        <p:nvSpPr>
          <p:cNvPr id="16" name="SlideLogoText"/>
          <p:cNvSpPr>
            <a:spLocks noChangeArrowheads="1"/>
          </p:cNvSpPr>
          <p:nvPr>
            <p:custDataLst>
              <p:tags r:id="rId3"/>
            </p:custDataLst>
          </p:nvPr>
        </p:nvSpPr>
        <p:spPr bwMode="auto">
          <a:xfrm>
            <a:off x="7450817" y="6508272"/>
            <a:ext cx="1013098"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algn="r" defTabSz="895350"/>
            <a:r>
              <a:rPr lang="en-US" sz="800" baseline="0" dirty="0">
                <a:solidFill>
                  <a:srgbClr val="FFFFFF"/>
                </a:solidFill>
                <a:latin typeface="+mn-lt"/>
              </a:rPr>
              <a:t>McKinsey &amp; Company</a:t>
            </a:r>
          </a:p>
        </p:txBody>
      </p:sp>
      <p:sp>
        <p:nvSpPr>
          <p:cNvPr id="5" name="doc id" hidden="1"/>
          <p:cNvSpPr txBox="1">
            <a:spLocks noChangeArrowheads="1"/>
          </p:cNvSpPr>
          <p:nvPr/>
        </p:nvSpPr>
        <p:spPr bwMode="white">
          <a:xfrm>
            <a:off x="8104473" y="36513"/>
            <a:ext cx="634716" cy="115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hangingPunct="1">
              <a:defRPr/>
            </a:pPr>
            <a:endParaRPr lang="en-US" sz="800" baseline="0" dirty="0">
              <a:solidFill>
                <a:schemeClr val="accent1"/>
              </a:solidFill>
              <a:latin typeface="+mn-lt"/>
              <a:ea typeface="+mn-ea"/>
            </a:endParaRPr>
          </a:p>
        </p:txBody>
      </p:sp>
    </p:spTree>
    <p:extLst>
      <p:ext uri="{BB962C8B-B14F-4D97-AF65-F5344CB8AC3E}">
        <p14:creationId xmlns:p14="http://schemas.microsoft.com/office/powerpoint/2010/main" val="4165174049"/>
      </p:ext>
    </p:extLst>
  </p:cSld>
  <p:clrMapOvr>
    <a:masterClrMapping/>
  </p:clrMapOvr>
  <p:extLst mod="1">
    <p:ext uri="{DCECCB84-F9BA-43D5-87BE-67443E8EF086}">
      <p15:sldGuideLst xmlns:p15="http://schemas.microsoft.com/office/powerpoint/2012/main">
        <p15:guide id="1" pos="3978">
          <p15:clr>
            <a:srgbClr val="000000"/>
          </p15:clr>
        </p15:guide>
        <p15:guide id="2" orient="horz" pos="570">
          <p15:clr>
            <a:srgbClr val="000000"/>
          </p15:clr>
        </p15:guide>
        <p15:guide id="3" orient="horz" pos="3912">
          <p15:clr>
            <a:srgbClr val="000000"/>
          </p15:clr>
        </p15:guide>
        <p15:guide id="4" pos="72">
          <p15:clr>
            <a:srgbClr val="00000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type="titleOnly">
  <p:cSld name="2_Title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ECD524A-1569-4253-8CD8-48D288AD883C}"/>
              </a:ext>
            </a:extLst>
          </p:cNvPr>
          <p:cNvGraphicFramePr>
            <a:graphicFrameLocks noChangeAspect="1"/>
          </p:cNvGraphicFramePr>
          <p:nvPr>
            <p:custDataLst>
              <p:tags r:id="rId2"/>
            </p:custDataLst>
            <p:extLst>
              <p:ext uri="{D42A27DB-BD31-4B8C-83A1-F6EECF244321}">
                <p14:modId xmlns:p14="http://schemas.microsoft.com/office/powerpoint/2010/main" val="227496195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1700" name="think-cell Slide" r:id="rId4" imgW="395" imgH="394" progId="TCLayout.ActiveDocument.1">
                  <p:embed/>
                </p:oleObj>
              </mc:Choice>
              <mc:Fallback>
                <p:oleObj name="think-cell Slide" r:id="rId4" imgW="395" imgH="394" progId="TCLayout.ActiveDocument.1">
                  <p:embed/>
                  <p:pic>
                    <p:nvPicPr>
                      <p:cNvPr id="3" name="Object 2" hidden="1">
                        <a:extLst>
                          <a:ext uri="{FF2B5EF4-FFF2-40B4-BE49-F238E27FC236}">
                            <a16:creationId xmlns:a16="http://schemas.microsoft.com/office/drawing/2014/main" id="{5ECD524A-1569-4253-8CD8-48D288AD883C}"/>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12230122"/>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pic>
        <p:nvPicPr>
          <p:cNvPr id="2" name="background"/>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0" y="198"/>
            <a:ext cx="8961438" cy="6721079"/>
          </a:xfrm>
          <a:prstGeom prst="rect">
            <a:avLst/>
          </a:prstGeom>
        </p:spPr>
      </p:pic>
      <p:sp>
        <p:nvSpPr>
          <p:cNvPr id="28" name="TitleRectangle"/>
          <p:cNvSpPr txBox="1">
            <a:spLocks/>
          </p:cNvSpPr>
          <p:nvPr/>
        </p:nvSpPr>
        <p:spPr>
          <a:xfrm>
            <a:off x="2084388" y="0"/>
            <a:ext cx="6875462" cy="3575976"/>
          </a:xfrm>
          <a:prstGeom prst="rect">
            <a:avLst/>
          </a:prstGeom>
          <a:solidFill>
            <a:srgbClr val="002960">
              <a:alpha val="92000"/>
            </a:srgbClr>
          </a:solidFill>
        </p:spPr>
        <p:txBody>
          <a:bodyPr vert="horz" wrap="square" lIns="216000" tIns="1440000" rIns="216000" bIns="108000" rtlCol="0">
            <a:noAutofit/>
          </a:bodyPr>
          <a:lstStyle>
            <a:lvl1pPr marL="0" indent="0" algn="l" defTabSz="914400" rtl="0" eaLnBrk="1" latinLnBrk="0" hangingPunct="1">
              <a:spcBef>
                <a:spcPct val="20000"/>
              </a:spcBef>
              <a:spcAft>
                <a:spcPts val="6000"/>
              </a:spcAft>
              <a:buFont typeface="Arial" pitchFamily="34" charset="0"/>
              <a:buNone/>
              <a:defRPr sz="3200" kern="1200">
                <a:solidFill>
                  <a:schemeClr val="accent1"/>
                </a:solidFill>
                <a:latin typeface="+mn-lt"/>
                <a:ea typeface="+mn-ea"/>
                <a:cs typeface="+mn-cs"/>
              </a:defRPr>
            </a:lvl1pPr>
            <a:lvl2pPr marL="0" indent="0" algn="l" defTabSz="914400" rtl="0" eaLnBrk="1" latinLnBrk="0" hangingPunct="1">
              <a:spcBef>
                <a:spcPct val="20000"/>
              </a:spcBef>
              <a:buFont typeface="Wingdings" charset="2"/>
              <a:buNone/>
              <a:defRPr sz="1400" kern="1200">
                <a:solidFill>
                  <a:schemeClr val="tx1">
                    <a:lumMod val="50000"/>
                    <a:lumOff val="50000"/>
                  </a:schemeClr>
                </a:solidFill>
                <a:latin typeface="+mn-lt"/>
                <a:ea typeface="+mn-ea"/>
                <a:cs typeface="+mn-cs"/>
              </a:defRPr>
            </a:lvl2pPr>
            <a:lvl3pPr marL="1143000" indent="-228600" algn="l" defTabSz="914400" rtl="0" eaLnBrk="1" latinLnBrk="0" hangingPunct="1">
              <a:spcBef>
                <a:spcPct val="20000"/>
              </a:spcBef>
              <a:buFont typeface="Lucida Grande"/>
              <a:buChar char="–"/>
              <a:defRPr sz="16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fontAlgn="auto">
              <a:defRPr/>
            </a:pPr>
            <a:r>
              <a:rPr lang="en-US" baseline="0" dirty="0">
                <a:solidFill>
                  <a:srgbClr val="00ADEF"/>
                </a:solidFill>
                <a:latin typeface="+mn-lt"/>
              </a:rPr>
              <a:t>
              </a:t>
            </a:r>
            <a:br>
              <a:rPr lang="en-US" baseline="0" dirty="0">
                <a:solidFill>
                  <a:srgbClr val="00ADEF"/>
                </a:solidFill>
                <a:latin typeface="+mn-lt"/>
              </a:rPr>
            </a:br>
            <a:endParaRPr lang="en-US" baseline="0" dirty="0">
              <a:solidFill>
                <a:srgbClr val="00ADEF"/>
              </a:solidFill>
              <a:latin typeface="+mn-lt"/>
            </a:endParaRPr>
          </a:p>
        </p:txBody>
      </p:sp>
      <p:graphicFrame>
        <p:nvGraphicFramePr>
          <p:cNvPr id="3" name="Object 2"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3748"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Working Draft Text" hidden="1"/>
          <p:cNvSpPr txBox="1">
            <a:spLocks noChangeArrowheads="1"/>
          </p:cNvSpPr>
          <p:nvPr/>
        </p:nvSpPr>
        <p:spPr bwMode="black">
          <a:xfrm>
            <a:off x="5992719" y="6287538"/>
            <a:ext cx="2790000"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800" b="1" baseline="0" dirty="0">
                <a:solidFill>
                  <a:srgbClr val="FFFFFF"/>
                </a:solidFill>
                <a:latin typeface="+mn-lt"/>
              </a:rPr>
              <a:t>WORKING DRAFT</a:t>
            </a:r>
          </a:p>
        </p:txBody>
      </p:sp>
      <p:sp>
        <p:nvSpPr>
          <p:cNvPr id="6" name="Working Draft" hidden="1"/>
          <p:cNvSpPr txBox="1">
            <a:spLocks noChangeArrowheads="1"/>
          </p:cNvSpPr>
          <p:nvPr/>
        </p:nvSpPr>
        <p:spPr bwMode="black">
          <a:xfrm>
            <a:off x="5992718" y="6410648"/>
            <a:ext cx="2968719"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800" baseline="0">
                <a:solidFill>
                  <a:srgbClr val="FFFFFF"/>
                </a:solidFill>
                <a:latin typeface="+mn-lt"/>
              </a:rPr>
              <a:t>Last Modified 21/05/2018 17:44 India Standard Time</a:t>
            </a:r>
            <a:endParaRPr lang="en-US" sz="800" baseline="0" dirty="0">
              <a:solidFill>
                <a:srgbClr val="FFFFFF"/>
              </a:solidFill>
              <a:latin typeface="+mn-lt"/>
            </a:endParaRPr>
          </a:p>
        </p:txBody>
      </p:sp>
      <p:sp>
        <p:nvSpPr>
          <p:cNvPr id="7" name="Printed" hidden="1"/>
          <p:cNvSpPr txBox="1">
            <a:spLocks noChangeArrowheads="1"/>
          </p:cNvSpPr>
          <p:nvPr/>
        </p:nvSpPr>
        <p:spPr bwMode="black">
          <a:xfrm>
            <a:off x="5992719" y="6533759"/>
            <a:ext cx="2790000"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800" baseline="0" dirty="0">
                <a:solidFill>
                  <a:srgbClr val="FFFFFF"/>
                </a:solidFill>
                <a:latin typeface="+mn-lt"/>
              </a:rPr>
              <a:t>Printed</a:t>
            </a:r>
          </a:p>
        </p:txBody>
      </p:sp>
      <p:sp>
        <p:nvSpPr>
          <p:cNvPr id="13314" name="Title"/>
          <p:cNvSpPr>
            <a:spLocks noGrp="1" noChangeArrowheads="1"/>
          </p:cNvSpPr>
          <p:nvPr>
            <p:ph type="ctrTitle"/>
          </p:nvPr>
        </p:nvSpPr>
        <p:spPr>
          <a:xfrm>
            <a:off x="2268266" y="1434419"/>
            <a:ext cx="6231663" cy="492443"/>
          </a:xfrm>
          <a:prstGeom prst="rect">
            <a:avLst/>
          </a:prstGeom>
        </p:spPr>
        <p:txBody>
          <a:bodyPr>
            <a:spAutoFit/>
          </a:bodyPr>
          <a:lstStyle>
            <a:lvl1pPr>
              <a:defRPr sz="3200" b="0" baseline="0">
                <a:solidFill>
                  <a:schemeClr val="accent2"/>
                </a:solidFill>
                <a:latin typeface="+mj-lt"/>
                <a:ea typeface="+mj-ea"/>
              </a:defRPr>
            </a:lvl1pPr>
          </a:lstStyle>
          <a:p>
            <a:pPr lvl="0" latinLnBrk="0"/>
            <a:r>
              <a:rPr lang="en-US" noProof="0"/>
              <a:t>Click to edit Master title style</a:t>
            </a:r>
            <a:endParaRPr lang="en-US" noProof="0" dirty="0"/>
          </a:p>
        </p:txBody>
      </p:sp>
      <p:sp>
        <p:nvSpPr>
          <p:cNvPr id="13315" name="Subtitle"/>
          <p:cNvSpPr>
            <a:spLocks noGrp="1" noChangeArrowheads="1"/>
          </p:cNvSpPr>
          <p:nvPr>
            <p:ph type="subTitle" idx="1"/>
          </p:nvPr>
        </p:nvSpPr>
        <p:spPr>
          <a:xfrm>
            <a:off x="2268266" y="2819401"/>
            <a:ext cx="6231663" cy="215444"/>
          </a:xfrm>
          <a:prstGeom prst="rect">
            <a:avLst/>
          </a:prstGeom>
        </p:spPr>
        <p:txBody>
          <a:bodyPr wrap="square">
            <a:spAutoFit/>
          </a:bodyPr>
          <a:lstStyle>
            <a:lvl1pPr>
              <a:defRPr sz="1400" cap="all" baseline="0">
                <a:solidFill>
                  <a:schemeClr val="bg1"/>
                </a:solidFill>
                <a:latin typeface="+mn-lt"/>
                <a:ea typeface="+mn-ea"/>
              </a:defRPr>
            </a:lvl1pPr>
          </a:lstStyle>
          <a:p>
            <a:pPr lvl="0" latinLnBrk="0"/>
            <a:r>
              <a:rPr lang="en-US" noProof="0"/>
              <a:t>Click to edit Master subtitle style</a:t>
            </a:r>
            <a:endParaRPr lang="en-US" noProof="0" dirty="0"/>
          </a:p>
        </p:txBody>
      </p:sp>
      <p:sp>
        <p:nvSpPr>
          <p:cNvPr id="57" name="Document type" hidden="1"/>
          <p:cNvSpPr txBox="1">
            <a:spLocks noChangeArrowheads="1"/>
          </p:cNvSpPr>
          <p:nvPr/>
        </p:nvSpPr>
        <p:spPr bwMode="gray">
          <a:xfrm>
            <a:off x="2268266" y="3227411"/>
            <a:ext cx="6231663"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00" baseline="0" dirty="0">
                <a:solidFill>
                  <a:schemeClr val="bg1"/>
                </a:solidFill>
                <a:latin typeface="+mn-lt"/>
              </a:rPr>
              <a:t>Document type | Date</a:t>
            </a:r>
          </a:p>
        </p:txBody>
      </p:sp>
      <p:sp>
        <p:nvSpPr>
          <p:cNvPr id="5" name="doc id" hidden="1"/>
          <p:cNvSpPr txBox="1">
            <a:spLocks noChangeArrowheads="1"/>
          </p:cNvSpPr>
          <p:nvPr/>
        </p:nvSpPr>
        <p:spPr bwMode="white">
          <a:xfrm>
            <a:off x="8443913" y="36513"/>
            <a:ext cx="295275" cy="1222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hangingPunct="1">
              <a:defRPr/>
            </a:pPr>
            <a:endParaRPr lang="en-US" sz="800" baseline="0" dirty="0">
              <a:solidFill>
                <a:srgbClr val="FFFFFF"/>
              </a:solidFill>
              <a:latin typeface="+mn-lt"/>
            </a:endParaRPr>
          </a:p>
        </p:txBody>
      </p:sp>
      <p:sp>
        <p:nvSpPr>
          <p:cNvPr id="43" name="LogoImage"/>
          <p:cNvSpPr>
            <a:spLocks noEditPoints="1"/>
          </p:cNvSpPr>
          <p:nvPr/>
        </p:nvSpPr>
        <p:spPr bwMode="white">
          <a:xfrm>
            <a:off x="2269098" y="182925"/>
            <a:ext cx="2176978" cy="238073"/>
          </a:xfrm>
          <a:custGeom>
            <a:avLst/>
            <a:gdLst>
              <a:gd name="T0" fmla="*/ 504 w 5516"/>
              <a:gd name="T1" fmla="*/ 26 h 606"/>
              <a:gd name="T2" fmla="*/ 18 w 5516"/>
              <a:gd name="T3" fmla="*/ 22 h 606"/>
              <a:gd name="T4" fmla="*/ 140 w 5516"/>
              <a:gd name="T5" fmla="*/ 436 h 606"/>
              <a:gd name="T6" fmla="*/ 408 w 5516"/>
              <a:gd name="T7" fmla="*/ 372 h 606"/>
              <a:gd name="T8" fmla="*/ 696 w 5516"/>
              <a:gd name="T9" fmla="*/ 422 h 606"/>
              <a:gd name="T10" fmla="*/ 768 w 5516"/>
              <a:gd name="T11" fmla="*/ 196 h 606"/>
              <a:gd name="T12" fmla="*/ 1272 w 5516"/>
              <a:gd name="T13" fmla="*/ 26 h 606"/>
              <a:gd name="T14" fmla="*/ 1302 w 5516"/>
              <a:gd name="T15" fmla="*/ 338 h 606"/>
              <a:gd name="T16" fmla="*/ 1202 w 5516"/>
              <a:gd name="T17" fmla="*/ 436 h 606"/>
              <a:gd name="T18" fmla="*/ 1030 w 5516"/>
              <a:gd name="T19" fmla="*/ 10 h 606"/>
              <a:gd name="T20" fmla="*/ 960 w 5516"/>
              <a:gd name="T21" fmla="*/ 22 h 606"/>
              <a:gd name="T22" fmla="*/ 804 w 5516"/>
              <a:gd name="T23" fmla="*/ 434 h 606"/>
              <a:gd name="T24" fmla="*/ 930 w 5516"/>
              <a:gd name="T25" fmla="*/ 246 h 606"/>
              <a:gd name="T26" fmla="*/ 1658 w 5516"/>
              <a:gd name="T27" fmla="*/ 342 h 606"/>
              <a:gd name="T28" fmla="*/ 1368 w 5516"/>
              <a:gd name="T29" fmla="*/ 188 h 606"/>
              <a:gd name="T30" fmla="*/ 1514 w 5516"/>
              <a:gd name="T31" fmla="*/ 436 h 606"/>
              <a:gd name="T32" fmla="*/ 1564 w 5516"/>
              <a:gd name="T33" fmla="*/ 434 h 606"/>
              <a:gd name="T34" fmla="*/ 1904 w 5516"/>
              <a:gd name="T35" fmla="*/ 184 h 606"/>
              <a:gd name="T36" fmla="*/ 1728 w 5516"/>
              <a:gd name="T37" fmla="*/ 366 h 606"/>
              <a:gd name="T38" fmla="*/ 2102 w 5516"/>
              <a:gd name="T39" fmla="*/ 192 h 606"/>
              <a:gd name="T40" fmla="*/ 1982 w 5516"/>
              <a:gd name="T41" fmla="*/ 320 h 606"/>
              <a:gd name="T42" fmla="*/ 2478 w 5516"/>
              <a:gd name="T43" fmla="*/ 242 h 606"/>
              <a:gd name="T44" fmla="*/ 2406 w 5516"/>
              <a:gd name="T45" fmla="*/ 390 h 606"/>
              <a:gd name="T46" fmla="*/ 2234 w 5516"/>
              <a:gd name="T47" fmla="*/ 192 h 606"/>
              <a:gd name="T48" fmla="*/ 2478 w 5516"/>
              <a:gd name="T49" fmla="*/ 242 h 606"/>
              <a:gd name="T50" fmla="*/ 2928 w 5516"/>
              <a:gd name="T51" fmla="*/ 448 h 606"/>
              <a:gd name="T52" fmla="*/ 2958 w 5516"/>
              <a:gd name="T53" fmla="*/ 230 h 606"/>
              <a:gd name="T54" fmla="*/ 2716 w 5516"/>
              <a:gd name="T55" fmla="*/ 54 h 606"/>
              <a:gd name="T56" fmla="*/ 2714 w 5516"/>
              <a:gd name="T57" fmla="*/ 36 h 606"/>
              <a:gd name="T58" fmla="*/ 2928 w 5516"/>
              <a:gd name="T59" fmla="*/ 448 h 606"/>
              <a:gd name="T60" fmla="*/ 3388 w 5516"/>
              <a:gd name="T61" fmla="*/ 4 h 606"/>
              <a:gd name="T62" fmla="*/ 3396 w 5516"/>
              <a:gd name="T63" fmla="*/ 366 h 606"/>
              <a:gd name="T64" fmla="*/ 3580 w 5516"/>
              <a:gd name="T65" fmla="*/ 190 h 606"/>
              <a:gd name="T66" fmla="*/ 3502 w 5516"/>
              <a:gd name="T67" fmla="*/ 432 h 606"/>
              <a:gd name="T68" fmla="*/ 4232 w 5516"/>
              <a:gd name="T69" fmla="*/ 348 h 606"/>
              <a:gd name="T70" fmla="*/ 3858 w 5516"/>
              <a:gd name="T71" fmla="*/ 176 h 606"/>
              <a:gd name="T72" fmla="*/ 3758 w 5516"/>
              <a:gd name="T73" fmla="*/ 446 h 606"/>
              <a:gd name="T74" fmla="*/ 3990 w 5516"/>
              <a:gd name="T75" fmla="*/ 282 h 606"/>
              <a:gd name="T76" fmla="*/ 4042 w 5516"/>
              <a:gd name="T77" fmla="*/ 342 h 606"/>
              <a:gd name="T78" fmla="*/ 4134 w 5516"/>
              <a:gd name="T79" fmla="*/ 448 h 606"/>
              <a:gd name="T80" fmla="*/ 4454 w 5516"/>
              <a:gd name="T81" fmla="*/ 202 h 606"/>
              <a:gd name="T82" fmla="*/ 4284 w 5516"/>
              <a:gd name="T83" fmla="*/ 174 h 606"/>
              <a:gd name="T84" fmla="*/ 4432 w 5516"/>
              <a:gd name="T85" fmla="*/ 588 h 606"/>
              <a:gd name="T86" fmla="*/ 4792 w 5516"/>
              <a:gd name="T87" fmla="*/ 382 h 606"/>
              <a:gd name="T88" fmla="*/ 5192 w 5516"/>
              <a:gd name="T89" fmla="*/ 340 h 606"/>
              <a:gd name="T90" fmla="*/ 4902 w 5516"/>
              <a:gd name="T91" fmla="*/ 186 h 606"/>
              <a:gd name="T92" fmla="*/ 4850 w 5516"/>
              <a:gd name="T93" fmla="*/ 274 h 606"/>
              <a:gd name="T94" fmla="*/ 4742 w 5516"/>
              <a:gd name="T95" fmla="*/ 194 h 606"/>
              <a:gd name="T96" fmla="*/ 4794 w 5516"/>
              <a:gd name="T97" fmla="*/ 418 h 606"/>
              <a:gd name="T98" fmla="*/ 5004 w 5516"/>
              <a:gd name="T99" fmla="*/ 338 h 606"/>
              <a:gd name="T100" fmla="*/ 5098 w 5516"/>
              <a:gd name="T101" fmla="*/ 446 h 606"/>
              <a:gd name="T102" fmla="*/ 5418 w 5516"/>
              <a:gd name="T103" fmla="*/ 192 h 606"/>
              <a:gd name="T104" fmla="*/ 5348 w 5516"/>
              <a:gd name="T105" fmla="*/ 180 h 606"/>
              <a:gd name="T106" fmla="*/ 5254 w 5516"/>
              <a:gd name="T107" fmla="*/ 606 h 6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516" h="606">
                <a:moveTo>
                  <a:pt x="366" y="448"/>
                </a:moveTo>
                <a:cubicBezTo>
                  <a:pt x="524" y="448"/>
                  <a:pt x="524" y="448"/>
                  <a:pt x="524" y="448"/>
                </a:cubicBezTo>
                <a:cubicBezTo>
                  <a:pt x="524" y="436"/>
                  <a:pt x="524" y="436"/>
                  <a:pt x="524" y="436"/>
                </a:cubicBezTo>
                <a:cubicBezTo>
                  <a:pt x="486" y="432"/>
                  <a:pt x="470" y="414"/>
                  <a:pt x="468" y="362"/>
                </a:cubicBezTo>
                <a:cubicBezTo>
                  <a:pt x="454" y="86"/>
                  <a:pt x="454" y="86"/>
                  <a:pt x="454" y="86"/>
                </a:cubicBezTo>
                <a:cubicBezTo>
                  <a:pt x="452" y="46"/>
                  <a:pt x="470" y="30"/>
                  <a:pt x="504" y="26"/>
                </a:cubicBezTo>
                <a:cubicBezTo>
                  <a:pt x="504" y="12"/>
                  <a:pt x="504" y="12"/>
                  <a:pt x="504" y="12"/>
                </a:cubicBezTo>
                <a:cubicBezTo>
                  <a:pt x="394" y="12"/>
                  <a:pt x="394" y="12"/>
                  <a:pt x="394" y="12"/>
                </a:cubicBezTo>
                <a:cubicBezTo>
                  <a:pt x="264" y="350"/>
                  <a:pt x="264" y="350"/>
                  <a:pt x="264" y="350"/>
                </a:cubicBezTo>
                <a:cubicBezTo>
                  <a:pt x="132" y="10"/>
                  <a:pt x="132" y="10"/>
                  <a:pt x="132" y="10"/>
                </a:cubicBezTo>
                <a:cubicBezTo>
                  <a:pt x="18" y="10"/>
                  <a:pt x="18" y="10"/>
                  <a:pt x="18" y="10"/>
                </a:cubicBezTo>
                <a:cubicBezTo>
                  <a:pt x="18" y="22"/>
                  <a:pt x="18" y="22"/>
                  <a:pt x="18" y="22"/>
                </a:cubicBezTo>
                <a:cubicBezTo>
                  <a:pt x="40" y="26"/>
                  <a:pt x="74" y="32"/>
                  <a:pt x="72" y="84"/>
                </a:cubicBezTo>
                <a:cubicBezTo>
                  <a:pt x="58" y="352"/>
                  <a:pt x="58" y="352"/>
                  <a:pt x="58" y="352"/>
                </a:cubicBezTo>
                <a:cubicBezTo>
                  <a:pt x="54" y="410"/>
                  <a:pt x="38" y="430"/>
                  <a:pt x="0" y="436"/>
                </a:cubicBezTo>
                <a:cubicBezTo>
                  <a:pt x="0" y="448"/>
                  <a:pt x="0" y="448"/>
                  <a:pt x="0" y="448"/>
                </a:cubicBezTo>
                <a:cubicBezTo>
                  <a:pt x="140" y="448"/>
                  <a:pt x="140" y="448"/>
                  <a:pt x="140" y="448"/>
                </a:cubicBezTo>
                <a:cubicBezTo>
                  <a:pt x="140" y="436"/>
                  <a:pt x="140" y="436"/>
                  <a:pt x="140" y="436"/>
                </a:cubicBezTo>
                <a:cubicBezTo>
                  <a:pt x="98" y="428"/>
                  <a:pt x="84" y="414"/>
                  <a:pt x="88" y="356"/>
                </a:cubicBezTo>
                <a:cubicBezTo>
                  <a:pt x="100" y="86"/>
                  <a:pt x="100" y="86"/>
                  <a:pt x="100" y="86"/>
                </a:cubicBezTo>
                <a:cubicBezTo>
                  <a:pt x="240" y="444"/>
                  <a:pt x="240" y="444"/>
                  <a:pt x="240" y="444"/>
                </a:cubicBezTo>
                <a:cubicBezTo>
                  <a:pt x="258" y="444"/>
                  <a:pt x="258" y="444"/>
                  <a:pt x="258" y="444"/>
                </a:cubicBezTo>
                <a:cubicBezTo>
                  <a:pt x="396" y="86"/>
                  <a:pt x="396" y="86"/>
                  <a:pt x="396" y="86"/>
                </a:cubicBezTo>
                <a:cubicBezTo>
                  <a:pt x="408" y="372"/>
                  <a:pt x="408" y="372"/>
                  <a:pt x="408" y="372"/>
                </a:cubicBezTo>
                <a:cubicBezTo>
                  <a:pt x="410" y="416"/>
                  <a:pt x="398" y="430"/>
                  <a:pt x="366" y="434"/>
                </a:cubicBezTo>
                <a:lnTo>
                  <a:pt x="366" y="448"/>
                </a:lnTo>
                <a:close/>
                <a:moveTo>
                  <a:pt x="670" y="456"/>
                </a:moveTo>
                <a:cubicBezTo>
                  <a:pt x="708" y="456"/>
                  <a:pt x="756" y="440"/>
                  <a:pt x="782" y="412"/>
                </a:cubicBezTo>
                <a:cubicBezTo>
                  <a:pt x="776" y="400"/>
                  <a:pt x="776" y="400"/>
                  <a:pt x="776" y="400"/>
                </a:cubicBezTo>
                <a:cubicBezTo>
                  <a:pt x="750" y="416"/>
                  <a:pt x="722" y="422"/>
                  <a:pt x="696" y="422"/>
                </a:cubicBezTo>
                <a:cubicBezTo>
                  <a:pt x="620" y="422"/>
                  <a:pt x="592" y="358"/>
                  <a:pt x="592" y="290"/>
                </a:cubicBezTo>
                <a:cubicBezTo>
                  <a:pt x="592" y="258"/>
                  <a:pt x="600" y="236"/>
                  <a:pt x="614" y="222"/>
                </a:cubicBezTo>
                <a:cubicBezTo>
                  <a:pt x="626" y="210"/>
                  <a:pt x="646" y="204"/>
                  <a:pt x="664" y="204"/>
                </a:cubicBezTo>
                <a:cubicBezTo>
                  <a:pt x="690" y="204"/>
                  <a:pt x="722" y="214"/>
                  <a:pt x="744" y="244"/>
                </a:cubicBezTo>
                <a:cubicBezTo>
                  <a:pt x="750" y="244"/>
                  <a:pt x="750" y="244"/>
                  <a:pt x="750" y="244"/>
                </a:cubicBezTo>
                <a:cubicBezTo>
                  <a:pt x="758" y="234"/>
                  <a:pt x="766" y="212"/>
                  <a:pt x="768" y="196"/>
                </a:cubicBezTo>
                <a:cubicBezTo>
                  <a:pt x="748" y="180"/>
                  <a:pt x="720" y="172"/>
                  <a:pt x="686" y="172"/>
                </a:cubicBezTo>
                <a:cubicBezTo>
                  <a:pt x="604" y="172"/>
                  <a:pt x="544" y="246"/>
                  <a:pt x="544" y="326"/>
                </a:cubicBezTo>
                <a:cubicBezTo>
                  <a:pt x="540" y="390"/>
                  <a:pt x="576" y="456"/>
                  <a:pt x="670" y="456"/>
                </a:cubicBezTo>
                <a:moveTo>
                  <a:pt x="1272" y="98"/>
                </a:moveTo>
                <a:cubicBezTo>
                  <a:pt x="1292" y="98"/>
                  <a:pt x="1308" y="82"/>
                  <a:pt x="1308" y="62"/>
                </a:cubicBezTo>
                <a:cubicBezTo>
                  <a:pt x="1308" y="42"/>
                  <a:pt x="1292" y="26"/>
                  <a:pt x="1272" y="26"/>
                </a:cubicBezTo>
                <a:cubicBezTo>
                  <a:pt x="1252" y="26"/>
                  <a:pt x="1238" y="42"/>
                  <a:pt x="1238" y="62"/>
                </a:cubicBezTo>
                <a:cubicBezTo>
                  <a:pt x="1238" y="82"/>
                  <a:pt x="1252" y="98"/>
                  <a:pt x="1272" y="98"/>
                </a:cubicBezTo>
                <a:moveTo>
                  <a:pt x="1202" y="448"/>
                </a:moveTo>
                <a:cubicBezTo>
                  <a:pt x="1346" y="448"/>
                  <a:pt x="1346" y="448"/>
                  <a:pt x="1346" y="448"/>
                </a:cubicBezTo>
                <a:cubicBezTo>
                  <a:pt x="1346" y="436"/>
                  <a:pt x="1346" y="436"/>
                  <a:pt x="1346" y="436"/>
                </a:cubicBezTo>
                <a:cubicBezTo>
                  <a:pt x="1304" y="432"/>
                  <a:pt x="1302" y="434"/>
                  <a:pt x="1302" y="338"/>
                </a:cubicBezTo>
                <a:cubicBezTo>
                  <a:pt x="1302" y="176"/>
                  <a:pt x="1302" y="176"/>
                  <a:pt x="1302" y="176"/>
                </a:cubicBezTo>
                <a:cubicBezTo>
                  <a:pt x="1200" y="176"/>
                  <a:pt x="1200" y="176"/>
                  <a:pt x="1200" y="176"/>
                </a:cubicBezTo>
                <a:cubicBezTo>
                  <a:pt x="1200" y="188"/>
                  <a:pt x="1200" y="188"/>
                  <a:pt x="1200" y="188"/>
                </a:cubicBezTo>
                <a:cubicBezTo>
                  <a:pt x="1244" y="190"/>
                  <a:pt x="1250" y="192"/>
                  <a:pt x="1250" y="268"/>
                </a:cubicBezTo>
                <a:cubicBezTo>
                  <a:pt x="1250" y="336"/>
                  <a:pt x="1250" y="336"/>
                  <a:pt x="1250" y="336"/>
                </a:cubicBezTo>
                <a:cubicBezTo>
                  <a:pt x="1250" y="432"/>
                  <a:pt x="1248" y="432"/>
                  <a:pt x="1202" y="436"/>
                </a:cubicBezTo>
                <a:cubicBezTo>
                  <a:pt x="1178" y="434"/>
                  <a:pt x="1154" y="426"/>
                  <a:pt x="1076" y="338"/>
                </a:cubicBezTo>
                <a:cubicBezTo>
                  <a:pt x="1046" y="302"/>
                  <a:pt x="996" y="244"/>
                  <a:pt x="968" y="206"/>
                </a:cubicBezTo>
                <a:cubicBezTo>
                  <a:pt x="1062" y="102"/>
                  <a:pt x="1062" y="102"/>
                  <a:pt x="1062" y="102"/>
                </a:cubicBezTo>
                <a:cubicBezTo>
                  <a:pt x="1108" y="52"/>
                  <a:pt x="1132" y="26"/>
                  <a:pt x="1176" y="24"/>
                </a:cubicBezTo>
                <a:cubicBezTo>
                  <a:pt x="1176" y="10"/>
                  <a:pt x="1176" y="10"/>
                  <a:pt x="1176" y="10"/>
                </a:cubicBezTo>
                <a:cubicBezTo>
                  <a:pt x="1030" y="10"/>
                  <a:pt x="1030" y="10"/>
                  <a:pt x="1030" y="10"/>
                </a:cubicBezTo>
                <a:cubicBezTo>
                  <a:pt x="1030" y="22"/>
                  <a:pt x="1030" y="22"/>
                  <a:pt x="1030" y="22"/>
                </a:cubicBezTo>
                <a:cubicBezTo>
                  <a:pt x="1050" y="26"/>
                  <a:pt x="1056" y="32"/>
                  <a:pt x="1056" y="46"/>
                </a:cubicBezTo>
                <a:cubicBezTo>
                  <a:pt x="1056" y="56"/>
                  <a:pt x="1054" y="72"/>
                  <a:pt x="1026" y="102"/>
                </a:cubicBezTo>
                <a:cubicBezTo>
                  <a:pt x="910" y="230"/>
                  <a:pt x="910" y="230"/>
                  <a:pt x="910" y="230"/>
                </a:cubicBezTo>
                <a:cubicBezTo>
                  <a:pt x="910" y="148"/>
                  <a:pt x="910" y="148"/>
                  <a:pt x="910" y="148"/>
                </a:cubicBezTo>
                <a:cubicBezTo>
                  <a:pt x="910" y="36"/>
                  <a:pt x="916" y="28"/>
                  <a:pt x="960" y="22"/>
                </a:cubicBezTo>
                <a:cubicBezTo>
                  <a:pt x="960" y="8"/>
                  <a:pt x="960" y="8"/>
                  <a:pt x="960" y="8"/>
                </a:cubicBezTo>
                <a:cubicBezTo>
                  <a:pt x="804" y="8"/>
                  <a:pt x="804" y="8"/>
                  <a:pt x="804" y="8"/>
                </a:cubicBezTo>
                <a:cubicBezTo>
                  <a:pt x="804" y="22"/>
                  <a:pt x="804" y="22"/>
                  <a:pt x="804" y="22"/>
                </a:cubicBezTo>
                <a:cubicBezTo>
                  <a:pt x="852" y="26"/>
                  <a:pt x="854" y="36"/>
                  <a:pt x="854" y="148"/>
                </a:cubicBezTo>
                <a:cubicBezTo>
                  <a:pt x="854" y="300"/>
                  <a:pt x="854" y="300"/>
                  <a:pt x="854" y="300"/>
                </a:cubicBezTo>
                <a:cubicBezTo>
                  <a:pt x="854" y="422"/>
                  <a:pt x="850" y="430"/>
                  <a:pt x="804" y="434"/>
                </a:cubicBezTo>
                <a:cubicBezTo>
                  <a:pt x="804" y="446"/>
                  <a:pt x="804" y="446"/>
                  <a:pt x="804" y="446"/>
                </a:cubicBezTo>
                <a:cubicBezTo>
                  <a:pt x="960" y="446"/>
                  <a:pt x="960" y="446"/>
                  <a:pt x="960" y="446"/>
                </a:cubicBezTo>
                <a:cubicBezTo>
                  <a:pt x="960" y="434"/>
                  <a:pt x="960" y="434"/>
                  <a:pt x="960" y="434"/>
                </a:cubicBezTo>
                <a:cubicBezTo>
                  <a:pt x="910" y="428"/>
                  <a:pt x="910" y="424"/>
                  <a:pt x="910" y="292"/>
                </a:cubicBezTo>
                <a:cubicBezTo>
                  <a:pt x="910" y="268"/>
                  <a:pt x="910" y="268"/>
                  <a:pt x="910" y="268"/>
                </a:cubicBezTo>
                <a:cubicBezTo>
                  <a:pt x="930" y="246"/>
                  <a:pt x="930" y="246"/>
                  <a:pt x="930" y="246"/>
                </a:cubicBezTo>
                <a:cubicBezTo>
                  <a:pt x="982" y="310"/>
                  <a:pt x="1038" y="380"/>
                  <a:pt x="1098" y="448"/>
                </a:cubicBezTo>
                <a:cubicBezTo>
                  <a:pt x="1202" y="448"/>
                  <a:pt x="1202" y="448"/>
                  <a:pt x="1202" y="448"/>
                </a:cubicBezTo>
                <a:close/>
                <a:moveTo>
                  <a:pt x="1564" y="448"/>
                </a:moveTo>
                <a:cubicBezTo>
                  <a:pt x="1706" y="448"/>
                  <a:pt x="1706" y="448"/>
                  <a:pt x="1706" y="448"/>
                </a:cubicBezTo>
                <a:cubicBezTo>
                  <a:pt x="1706" y="436"/>
                  <a:pt x="1706" y="436"/>
                  <a:pt x="1706" y="436"/>
                </a:cubicBezTo>
                <a:cubicBezTo>
                  <a:pt x="1658" y="434"/>
                  <a:pt x="1658" y="432"/>
                  <a:pt x="1658" y="342"/>
                </a:cubicBezTo>
                <a:cubicBezTo>
                  <a:pt x="1658" y="280"/>
                  <a:pt x="1658" y="280"/>
                  <a:pt x="1658" y="280"/>
                </a:cubicBezTo>
                <a:cubicBezTo>
                  <a:pt x="1658" y="198"/>
                  <a:pt x="1612" y="172"/>
                  <a:pt x="1570" y="172"/>
                </a:cubicBezTo>
                <a:cubicBezTo>
                  <a:pt x="1534" y="172"/>
                  <a:pt x="1498" y="188"/>
                  <a:pt x="1470" y="224"/>
                </a:cubicBezTo>
                <a:cubicBezTo>
                  <a:pt x="1470" y="176"/>
                  <a:pt x="1470" y="176"/>
                  <a:pt x="1470" y="176"/>
                </a:cubicBezTo>
                <a:cubicBezTo>
                  <a:pt x="1368" y="176"/>
                  <a:pt x="1368" y="176"/>
                  <a:pt x="1368" y="176"/>
                </a:cubicBezTo>
                <a:cubicBezTo>
                  <a:pt x="1368" y="188"/>
                  <a:pt x="1368" y="188"/>
                  <a:pt x="1368" y="188"/>
                </a:cubicBezTo>
                <a:cubicBezTo>
                  <a:pt x="1412" y="190"/>
                  <a:pt x="1418" y="192"/>
                  <a:pt x="1418" y="268"/>
                </a:cubicBezTo>
                <a:cubicBezTo>
                  <a:pt x="1418" y="336"/>
                  <a:pt x="1418" y="336"/>
                  <a:pt x="1418" y="336"/>
                </a:cubicBezTo>
                <a:cubicBezTo>
                  <a:pt x="1418" y="434"/>
                  <a:pt x="1418" y="434"/>
                  <a:pt x="1370" y="436"/>
                </a:cubicBezTo>
                <a:cubicBezTo>
                  <a:pt x="1370" y="448"/>
                  <a:pt x="1370" y="448"/>
                  <a:pt x="1370" y="448"/>
                </a:cubicBezTo>
                <a:cubicBezTo>
                  <a:pt x="1514" y="448"/>
                  <a:pt x="1514" y="448"/>
                  <a:pt x="1514" y="448"/>
                </a:cubicBezTo>
                <a:cubicBezTo>
                  <a:pt x="1514" y="436"/>
                  <a:pt x="1514" y="436"/>
                  <a:pt x="1514" y="436"/>
                </a:cubicBezTo>
                <a:cubicBezTo>
                  <a:pt x="1472" y="432"/>
                  <a:pt x="1470" y="434"/>
                  <a:pt x="1470" y="338"/>
                </a:cubicBezTo>
                <a:cubicBezTo>
                  <a:pt x="1470" y="262"/>
                  <a:pt x="1470" y="262"/>
                  <a:pt x="1470" y="262"/>
                </a:cubicBezTo>
                <a:cubicBezTo>
                  <a:pt x="1470" y="236"/>
                  <a:pt x="1504" y="206"/>
                  <a:pt x="1546" y="206"/>
                </a:cubicBezTo>
                <a:cubicBezTo>
                  <a:pt x="1580" y="206"/>
                  <a:pt x="1606" y="220"/>
                  <a:pt x="1606" y="286"/>
                </a:cubicBezTo>
                <a:cubicBezTo>
                  <a:pt x="1606" y="340"/>
                  <a:pt x="1606" y="340"/>
                  <a:pt x="1606" y="340"/>
                </a:cubicBezTo>
                <a:cubicBezTo>
                  <a:pt x="1606" y="432"/>
                  <a:pt x="1602" y="432"/>
                  <a:pt x="1564" y="434"/>
                </a:cubicBezTo>
                <a:lnTo>
                  <a:pt x="1564" y="448"/>
                </a:lnTo>
                <a:close/>
                <a:moveTo>
                  <a:pt x="1776" y="222"/>
                </a:moveTo>
                <a:cubicBezTo>
                  <a:pt x="1776" y="200"/>
                  <a:pt x="1796" y="188"/>
                  <a:pt x="1822" y="188"/>
                </a:cubicBezTo>
                <a:cubicBezTo>
                  <a:pt x="1874" y="188"/>
                  <a:pt x="1896" y="236"/>
                  <a:pt x="1900" y="252"/>
                </a:cubicBezTo>
                <a:cubicBezTo>
                  <a:pt x="1912" y="252"/>
                  <a:pt x="1912" y="252"/>
                  <a:pt x="1912" y="252"/>
                </a:cubicBezTo>
                <a:cubicBezTo>
                  <a:pt x="1912" y="212"/>
                  <a:pt x="1908" y="188"/>
                  <a:pt x="1904" y="184"/>
                </a:cubicBezTo>
                <a:cubicBezTo>
                  <a:pt x="1900" y="180"/>
                  <a:pt x="1862" y="170"/>
                  <a:pt x="1824" y="170"/>
                </a:cubicBezTo>
                <a:cubicBezTo>
                  <a:pt x="1768" y="170"/>
                  <a:pt x="1734" y="206"/>
                  <a:pt x="1734" y="248"/>
                </a:cubicBezTo>
                <a:cubicBezTo>
                  <a:pt x="1734" y="340"/>
                  <a:pt x="1890" y="322"/>
                  <a:pt x="1890" y="396"/>
                </a:cubicBezTo>
                <a:cubicBezTo>
                  <a:pt x="1890" y="422"/>
                  <a:pt x="1866" y="436"/>
                  <a:pt x="1826" y="436"/>
                </a:cubicBezTo>
                <a:cubicBezTo>
                  <a:pt x="1788" y="436"/>
                  <a:pt x="1754" y="416"/>
                  <a:pt x="1744" y="366"/>
                </a:cubicBezTo>
                <a:cubicBezTo>
                  <a:pt x="1728" y="366"/>
                  <a:pt x="1728" y="366"/>
                  <a:pt x="1728" y="366"/>
                </a:cubicBezTo>
                <a:cubicBezTo>
                  <a:pt x="1728" y="386"/>
                  <a:pt x="1732" y="422"/>
                  <a:pt x="1734" y="428"/>
                </a:cubicBezTo>
                <a:cubicBezTo>
                  <a:pt x="1744" y="446"/>
                  <a:pt x="1788" y="454"/>
                  <a:pt x="1824" y="454"/>
                </a:cubicBezTo>
                <a:cubicBezTo>
                  <a:pt x="1888" y="454"/>
                  <a:pt x="1928" y="416"/>
                  <a:pt x="1928" y="372"/>
                </a:cubicBezTo>
                <a:cubicBezTo>
                  <a:pt x="1932" y="270"/>
                  <a:pt x="1776" y="286"/>
                  <a:pt x="1776" y="222"/>
                </a:cubicBezTo>
                <a:moveTo>
                  <a:pt x="2030" y="270"/>
                </a:moveTo>
                <a:cubicBezTo>
                  <a:pt x="2034" y="220"/>
                  <a:pt x="2058" y="192"/>
                  <a:pt x="2102" y="192"/>
                </a:cubicBezTo>
                <a:cubicBezTo>
                  <a:pt x="2144" y="192"/>
                  <a:pt x="2170" y="220"/>
                  <a:pt x="2172" y="270"/>
                </a:cubicBezTo>
                <a:lnTo>
                  <a:pt x="2030" y="270"/>
                </a:lnTo>
                <a:close/>
                <a:moveTo>
                  <a:pt x="2030" y="290"/>
                </a:moveTo>
                <a:cubicBezTo>
                  <a:pt x="2222" y="290"/>
                  <a:pt x="2222" y="290"/>
                  <a:pt x="2222" y="290"/>
                </a:cubicBezTo>
                <a:cubicBezTo>
                  <a:pt x="2226" y="228"/>
                  <a:pt x="2192" y="168"/>
                  <a:pt x="2114" y="168"/>
                </a:cubicBezTo>
                <a:cubicBezTo>
                  <a:pt x="2034" y="168"/>
                  <a:pt x="1982" y="232"/>
                  <a:pt x="1982" y="320"/>
                </a:cubicBezTo>
                <a:cubicBezTo>
                  <a:pt x="1982" y="388"/>
                  <a:pt x="2018" y="456"/>
                  <a:pt x="2112" y="456"/>
                </a:cubicBezTo>
                <a:cubicBezTo>
                  <a:pt x="2150" y="456"/>
                  <a:pt x="2198" y="440"/>
                  <a:pt x="2224" y="412"/>
                </a:cubicBezTo>
                <a:cubicBezTo>
                  <a:pt x="2218" y="400"/>
                  <a:pt x="2218" y="400"/>
                  <a:pt x="2218" y="400"/>
                </a:cubicBezTo>
                <a:cubicBezTo>
                  <a:pt x="2192" y="416"/>
                  <a:pt x="2164" y="422"/>
                  <a:pt x="2138" y="422"/>
                </a:cubicBezTo>
                <a:cubicBezTo>
                  <a:pt x="2058" y="420"/>
                  <a:pt x="2028" y="352"/>
                  <a:pt x="2030" y="290"/>
                </a:cubicBezTo>
                <a:moveTo>
                  <a:pt x="2478" y="242"/>
                </a:moveTo>
                <a:cubicBezTo>
                  <a:pt x="2490" y="206"/>
                  <a:pt x="2510" y="192"/>
                  <a:pt x="2528" y="192"/>
                </a:cubicBezTo>
                <a:cubicBezTo>
                  <a:pt x="2528" y="180"/>
                  <a:pt x="2528" y="180"/>
                  <a:pt x="2528" y="180"/>
                </a:cubicBezTo>
                <a:cubicBezTo>
                  <a:pt x="2430" y="180"/>
                  <a:pt x="2430" y="180"/>
                  <a:pt x="2430" y="180"/>
                </a:cubicBezTo>
                <a:cubicBezTo>
                  <a:pt x="2430" y="192"/>
                  <a:pt x="2430" y="192"/>
                  <a:pt x="2430" y="192"/>
                </a:cubicBezTo>
                <a:cubicBezTo>
                  <a:pt x="2454" y="194"/>
                  <a:pt x="2466" y="206"/>
                  <a:pt x="2458" y="234"/>
                </a:cubicBezTo>
                <a:cubicBezTo>
                  <a:pt x="2406" y="390"/>
                  <a:pt x="2406" y="390"/>
                  <a:pt x="2406" y="390"/>
                </a:cubicBezTo>
                <a:cubicBezTo>
                  <a:pt x="2354" y="270"/>
                  <a:pt x="2354" y="270"/>
                  <a:pt x="2354" y="270"/>
                </a:cubicBezTo>
                <a:cubicBezTo>
                  <a:pt x="2340" y="238"/>
                  <a:pt x="2334" y="224"/>
                  <a:pt x="2334" y="212"/>
                </a:cubicBezTo>
                <a:cubicBezTo>
                  <a:pt x="2334" y="202"/>
                  <a:pt x="2340" y="196"/>
                  <a:pt x="2360" y="192"/>
                </a:cubicBezTo>
                <a:cubicBezTo>
                  <a:pt x="2360" y="180"/>
                  <a:pt x="2360" y="180"/>
                  <a:pt x="2360" y="180"/>
                </a:cubicBezTo>
                <a:cubicBezTo>
                  <a:pt x="2234" y="180"/>
                  <a:pt x="2234" y="180"/>
                  <a:pt x="2234" y="180"/>
                </a:cubicBezTo>
                <a:cubicBezTo>
                  <a:pt x="2234" y="192"/>
                  <a:pt x="2234" y="192"/>
                  <a:pt x="2234" y="192"/>
                </a:cubicBezTo>
                <a:cubicBezTo>
                  <a:pt x="2266" y="194"/>
                  <a:pt x="2268" y="198"/>
                  <a:pt x="2310" y="292"/>
                </a:cubicBezTo>
                <a:cubicBezTo>
                  <a:pt x="2382" y="450"/>
                  <a:pt x="2382" y="450"/>
                  <a:pt x="2382" y="450"/>
                </a:cubicBezTo>
                <a:cubicBezTo>
                  <a:pt x="2358" y="512"/>
                  <a:pt x="2320" y="546"/>
                  <a:pt x="2242" y="564"/>
                </a:cubicBezTo>
                <a:cubicBezTo>
                  <a:pt x="2246" y="576"/>
                  <a:pt x="2260" y="600"/>
                  <a:pt x="2268" y="606"/>
                </a:cubicBezTo>
                <a:cubicBezTo>
                  <a:pt x="2370" y="564"/>
                  <a:pt x="2390" y="498"/>
                  <a:pt x="2426" y="396"/>
                </a:cubicBezTo>
                <a:lnTo>
                  <a:pt x="2478" y="242"/>
                </a:lnTo>
                <a:close/>
                <a:moveTo>
                  <a:pt x="2844" y="394"/>
                </a:moveTo>
                <a:cubicBezTo>
                  <a:pt x="2822" y="412"/>
                  <a:pt x="2782" y="416"/>
                  <a:pt x="2750" y="416"/>
                </a:cubicBezTo>
                <a:cubicBezTo>
                  <a:pt x="2670" y="416"/>
                  <a:pt x="2606" y="360"/>
                  <a:pt x="2606" y="284"/>
                </a:cubicBezTo>
                <a:cubicBezTo>
                  <a:pt x="2606" y="236"/>
                  <a:pt x="2626" y="206"/>
                  <a:pt x="2658" y="198"/>
                </a:cubicBezTo>
                <a:cubicBezTo>
                  <a:pt x="2698" y="266"/>
                  <a:pt x="2770" y="338"/>
                  <a:pt x="2844" y="394"/>
                </a:cubicBezTo>
                <a:moveTo>
                  <a:pt x="2928" y="448"/>
                </a:moveTo>
                <a:cubicBezTo>
                  <a:pt x="3022" y="448"/>
                  <a:pt x="3022" y="448"/>
                  <a:pt x="3022" y="448"/>
                </a:cubicBezTo>
                <a:cubicBezTo>
                  <a:pt x="3022" y="436"/>
                  <a:pt x="3022" y="436"/>
                  <a:pt x="3022" y="436"/>
                </a:cubicBezTo>
                <a:cubicBezTo>
                  <a:pt x="2992" y="432"/>
                  <a:pt x="2946" y="408"/>
                  <a:pt x="2896" y="372"/>
                </a:cubicBezTo>
                <a:cubicBezTo>
                  <a:pt x="2914" y="342"/>
                  <a:pt x="2918" y="300"/>
                  <a:pt x="2922" y="270"/>
                </a:cubicBezTo>
                <a:cubicBezTo>
                  <a:pt x="2926" y="244"/>
                  <a:pt x="2946" y="244"/>
                  <a:pt x="2958" y="242"/>
                </a:cubicBezTo>
                <a:cubicBezTo>
                  <a:pt x="2958" y="230"/>
                  <a:pt x="2958" y="230"/>
                  <a:pt x="2958" y="230"/>
                </a:cubicBezTo>
                <a:cubicBezTo>
                  <a:pt x="2834" y="230"/>
                  <a:pt x="2834" y="230"/>
                  <a:pt x="2834" y="230"/>
                </a:cubicBezTo>
                <a:cubicBezTo>
                  <a:pt x="2834" y="242"/>
                  <a:pt x="2834" y="242"/>
                  <a:pt x="2834" y="242"/>
                </a:cubicBezTo>
                <a:cubicBezTo>
                  <a:pt x="2864" y="246"/>
                  <a:pt x="2892" y="250"/>
                  <a:pt x="2892" y="294"/>
                </a:cubicBezTo>
                <a:cubicBezTo>
                  <a:pt x="2892" y="318"/>
                  <a:pt x="2888" y="342"/>
                  <a:pt x="2878" y="358"/>
                </a:cubicBezTo>
                <a:cubicBezTo>
                  <a:pt x="2770" y="274"/>
                  <a:pt x="2670" y="156"/>
                  <a:pt x="2670" y="96"/>
                </a:cubicBezTo>
                <a:cubicBezTo>
                  <a:pt x="2670" y="66"/>
                  <a:pt x="2688" y="54"/>
                  <a:pt x="2716" y="54"/>
                </a:cubicBezTo>
                <a:cubicBezTo>
                  <a:pt x="2752" y="54"/>
                  <a:pt x="2784" y="78"/>
                  <a:pt x="2800" y="124"/>
                </a:cubicBezTo>
                <a:cubicBezTo>
                  <a:pt x="2812" y="124"/>
                  <a:pt x="2812" y="124"/>
                  <a:pt x="2812" y="124"/>
                </a:cubicBezTo>
                <a:cubicBezTo>
                  <a:pt x="2810" y="42"/>
                  <a:pt x="2810" y="42"/>
                  <a:pt x="2810" y="42"/>
                </a:cubicBezTo>
                <a:cubicBezTo>
                  <a:pt x="2798" y="42"/>
                  <a:pt x="2798" y="42"/>
                  <a:pt x="2798" y="42"/>
                </a:cubicBezTo>
                <a:cubicBezTo>
                  <a:pt x="2798" y="48"/>
                  <a:pt x="2792" y="52"/>
                  <a:pt x="2788" y="52"/>
                </a:cubicBezTo>
                <a:cubicBezTo>
                  <a:pt x="2772" y="52"/>
                  <a:pt x="2752" y="36"/>
                  <a:pt x="2714" y="36"/>
                </a:cubicBezTo>
                <a:cubicBezTo>
                  <a:pt x="2672" y="36"/>
                  <a:pt x="2630" y="62"/>
                  <a:pt x="2630" y="118"/>
                </a:cubicBezTo>
                <a:cubicBezTo>
                  <a:pt x="2630" y="140"/>
                  <a:pt x="2636" y="160"/>
                  <a:pt x="2648" y="182"/>
                </a:cubicBezTo>
                <a:cubicBezTo>
                  <a:pt x="2592" y="200"/>
                  <a:pt x="2562" y="248"/>
                  <a:pt x="2562" y="304"/>
                </a:cubicBezTo>
                <a:cubicBezTo>
                  <a:pt x="2562" y="406"/>
                  <a:pt x="2640" y="460"/>
                  <a:pt x="2726" y="460"/>
                </a:cubicBezTo>
                <a:cubicBezTo>
                  <a:pt x="2780" y="460"/>
                  <a:pt x="2824" y="444"/>
                  <a:pt x="2862" y="410"/>
                </a:cubicBezTo>
                <a:cubicBezTo>
                  <a:pt x="2888" y="424"/>
                  <a:pt x="2912" y="442"/>
                  <a:pt x="2928" y="448"/>
                </a:cubicBezTo>
                <a:moveTo>
                  <a:pt x="3094" y="212"/>
                </a:moveTo>
                <a:cubicBezTo>
                  <a:pt x="3094" y="88"/>
                  <a:pt x="3154" y="20"/>
                  <a:pt x="3252" y="20"/>
                </a:cubicBezTo>
                <a:cubicBezTo>
                  <a:pt x="3328" y="20"/>
                  <a:pt x="3372" y="58"/>
                  <a:pt x="3392" y="134"/>
                </a:cubicBezTo>
                <a:cubicBezTo>
                  <a:pt x="3404" y="134"/>
                  <a:pt x="3404" y="134"/>
                  <a:pt x="3404" y="134"/>
                </a:cubicBezTo>
                <a:cubicBezTo>
                  <a:pt x="3400" y="4"/>
                  <a:pt x="3400" y="4"/>
                  <a:pt x="3400" y="4"/>
                </a:cubicBezTo>
                <a:cubicBezTo>
                  <a:pt x="3388" y="4"/>
                  <a:pt x="3388" y="4"/>
                  <a:pt x="3388" y="4"/>
                </a:cubicBezTo>
                <a:cubicBezTo>
                  <a:pt x="3384" y="14"/>
                  <a:pt x="3376" y="18"/>
                  <a:pt x="3364" y="18"/>
                </a:cubicBezTo>
                <a:cubicBezTo>
                  <a:pt x="3338" y="18"/>
                  <a:pt x="3314" y="0"/>
                  <a:pt x="3248" y="0"/>
                </a:cubicBezTo>
                <a:cubicBezTo>
                  <a:pt x="3118" y="0"/>
                  <a:pt x="3030" y="102"/>
                  <a:pt x="3030" y="242"/>
                </a:cubicBezTo>
                <a:cubicBezTo>
                  <a:pt x="3030" y="376"/>
                  <a:pt x="3110" y="460"/>
                  <a:pt x="3238" y="460"/>
                </a:cubicBezTo>
                <a:cubicBezTo>
                  <a:pt x="3320" y="460"/>
                  <a:pt x="3384" y="420"/>
                  <a:pt x="3408" y="380"/>
                </a:cubicBezTo>
                <a:cubicBezTo>
                  <a:pt x="3396" y="366"/>
                  <a:pt x="3396" y="366"/>
                  <a:pt x="3396" y="366"/>
                </a:cubicBezTo>
                <a:cubicBezTo>
                  <a:pt x="3370" y="402"/>
                  <a:pt x="3314" y="426"/>
                  <a:pt x="3256" y="426"/>
                </a:cubicBezTo>
                <a:cubicBezTo>
                  <a:pt x="3156" y="426"/>
                  <a:pt x="3094" y="340"/>
                  <a:pt x="3094" y="212"/>
                </a:cubicBezTo>
                <a:moveTo>
                  <a:pt x="3678" y="328"/>
                </a:moveTo>
                <a:cubicBezTo>
                  <a:pt x="3678" y="392"/>
                  <a:pt x="3650" y="430"/>
                  <a:pt x="3592" y="430"/>
                </a:cubicBezTo>
                <a:cubicBezTo>
                  <a:pt x="3542" y="430"/>
                  <a:pt x="3496" y="384"/>
                  <a:pt x="3496" y="292"/>
                </a:cubicBezTo>
                <a:cubicBezTo>
                  <a:pt x="3496" y="226"/>
                  <a:pt x="3528" y="190"/>
                  <a:pt x="3580" y="190"/>
                </a:cubicBezTo>
                <a:cubicBezTo>
                  <a:pt x="3628" y="192"/>
                  <a:pt x="3678" y="238"/>
                  <a:pt x="3678" y="328"/>
                </a:cubicBezTo>
                <a:moveTo>
                  <a:pt x="3732" y="312"/>
                </a:moveTo>
                <a:cubicBezTo>
                  <a:pt x="3732" y="260"/>
                  <a:pt x="3710" y="214"/>
                  <a:pt x="3672" y="190"/>
                </a:cubicBezTo>
                <a:cubicBezTo>
                  <a:pt x="3650" y="176"/>
                  <a:pt x="3620" y="168"/>
                  <a:pt x="3588" y="168"/>
                </a:cubicBezTo>
                <a:cubicBezTo>
                  <a:pt x="3502" y="168"/>
                  <a:pt x="3442" y="230"/>
                  <a:pt x="3442" y="310"/>
                </a:cubicBezTo>
                <a:cubicBezTo>
                  <a:pt x="3442" y="364"/>
                  <a:pt x="3464" y="408"/>
                  <a:pt x="3502" y="432"/>
                </a:cubicBezTo>
                <a:cubicBezTo>
                  <a:pt x="3524" y="446"/>
                  <a:pt x="3554" y="452"/>
                  <a:pt x="3586" y="452"/>
                </a:cubicBezTo>
                <a:cubicBezTo>
                  <a:pt x="3672" y="454"/>
                  <a:pt x="3732" y="394"/>
                  <a:pt x="3732" y="312"/>
                </a:cubicBezTo>
                <a:moveTo>
                  <a:pt x="4136" y="448"/>
                </a:moveTo>
                <a:cubicBezTo>
                  <a:pt x="4280" y="448"/>
                  <a:pt x="4280" y="448"/>
                  <a:pt x="4280" y="448"/>
                </a:cubicBezTo>
                <a:cubicBezTo>
                  <a:pt x="4280" y="436"/>
                  <a:pt x="4280" y="436"/>
                  <a:pt x="4280" y="436"/>
                </a:cubicBezTo>
                <a:cubicBezTo>
                  <a:pt x="4230" y="434"/>
                  <a:pt x="4232" y="426"/>
                  <a:pt x="4232" y="348"/>
                </a:cubicBezTo>
                <a:cubicBezTo>
                  <a:pt x="4232" y="276"/>
                  <a:pt x="4232" y="276"/>
                  <a:pt x="4232" y="276"/>
                </a:cubicBezTo>
                <a:cubicBezTo>
                  <a:pt x="4232" y="200"/>
                  <a:pt x="4190" y="172"/>
                  <a:pt x="4142" y="172"/>
                </a:cubicBezTo>
                <a:cubicBezTo>
                  <a:pt x="4098" y="172"/>
                  <a:pt x="4064" y="196"/>
                  <a:pt x="4038" y="232"/>
                </a:cubicBezTo>
                <a:cubicBezTo>
                  <a:pt x="4028" y="194"/>
                  <a:pt x="4000" y="172"/>
                  <a:pt x="3954" y="172"/>
                </a:cubicBezTo>
                <a:cubicBezTo>
                  <a:pt x="3916" y="172"/>
                  <a:pt x="3880" y="196"/>
                  <a:pt x="3858" y="224"/>
                </a:cubicBezTo>
                <a:cubicBezTo>
                  <a:pt x="3858" y="176"/>
                  <a:pt x="3858" y="176"/>
                  <a:pt x="3858" y="176"/>
                </a:cubicBezTo>
                <a:cubicBezTo>
                  <a:pt x="3756" y="176"/>
                  <a:pt x="3756" y="176"/>
                  <a:pt x="3756" y="176"/>
                </a:cubicBezTo>
                <a:cubicBezTo>
                  <a:pt x="3756" y="188"/>
                  <a:pt x="3756" y="188"/>
                  <a:pt x="3756" y="188"/>
                </a:cubicBezTo>
                <a:cubicBezTo>
                  <a:pt x="3800" y="190"/>
                  <a:pt x="3806" y="192"/>
                  <a:pt x="3806" y="268"/>
                </a:cubicBezTo>
                <a:cubicBezTo>
                  <a:pt x="3806" y="346"/>
                  <a:pt x="3806" y="346"/>
                  <a:pt x="3806" y="346"/>
                </a:cubicBezTo>
                <a:cubicBezTo>
                  <a:pt x="3806" y="434"/>
                  <a:pt x="3804" y="434"/>
                  <a:pt x="3758" y="434"/>
                </a:cubicBezTo>
                <a:cubicBezTo>
                  <a:pt x="3758" y="446"/>
                  <a:pt x="3758" y="446"/>
                  <a:pt x="3758" y="446"/>
                </a:cubicBezTo>
                <a:cubicBezTo>
                  <a:pt x="3902" y="446"/>
                  <a:pt x="3902" y="446"/>
                  <a:pt x="3902" y="446"/>
                </a:cubicBezTo>
                <a:cubicBezTo>
                  <a:pt x="3902" y="434"/>
                  <a:pt x="3902" y="434"/>
                  <a:pt x="3902" y="434"/>
                </a:cubicBezTo>
                <a:cubicBezTo>
                  <a:pt x="3862" y="430"/>
                  <a:pt x="3858" y="430"/>
                  <a:pt x="3858" y="342"/>
                </a:cubicBezTo>
                <a:cubicBezTo>
                  <a:pt x="3858" y="262"/>
                  <a:pt x="3858" y="262"/>
                  <a:pt x="3858" y="262"/>
                </a:cubicBezTo>
                <a:cubicBezTo>
                  <a:pt x="3858" y="234"/>
                  <a:pt x="3894" y="204"/>
                  <a:pt x="3932" y="204"/>
                </a:cubicBezTo>
                <a:cubicBezTo>
                  <a:pt x="3974" y="204"/>
                  <a:pt x="3990" y="226"/>
                  <a:pt x="3990" y="282"/>
                </a:cubicBezTo>
                <a:cubicBezTo>
                  <a:pt x="3990" y="338"/>
                  <a:pt x="3990" y="338"/>
                  <a:pt x="3990" y="338"/>
                </a:cubicBezTo>
                <a:cubicBezTo>
                  <a:pt x="3990" y="428"/>
                  <a:pt x="3988" y="432"/>
                  <a:pt x="3950" y="436"/>
                </a:cubicBezTo>
                <a:cubicBezTo>
                  <a:pt x="3950" y="448"/>
                  <a:pt x="3950" y="448"/>
                  <a:pt x="3950" y="448"/>
                </a:cubicBezTo>
                <a:cubicBezTo>
                  <a:pt x="4086" y="448"/>
                  <a:pt x="4086" y="448"/>
                  <a:pt x="4086" y="448"/>
                </a:cubicBezTo>
                <a:cubicBezTo>
                  <a:pt x="4086" y="436"/>
                  <a:pt x="4086" y="436"/>
                  <a:pt x="4086" y="436"/>
                </a:cubicBezTo>
                <a:cubicBezTo>
                  <a:pt x="4040" y="432"/>
                  <a:pt x="4042" y="428"/>
                  <a:pt x="4042" y="342"/>
                </a:cubicBezTo>
                <a:cubicBezTo>
                  <a:pt x="4042" y="264"/>
                  <a:pt x="4042" y="264"/>
                  <a:pt x="4042" y="264"/>
                </a:cubicBezTo>
                <a:cubicBezTo>
                  <a:pt x="4042" y="236"/>
                  <a:pt x="4078" y="206"/>
                  <a:pt x="4118" y="206"/>
                </a:cubicBezTo>
                <a:cubicBezTo>
                  <a:pt x="4152" y="206"/>
                  <a:pt x="4174" y="226"/>
                  <a:pt x="4174" y="284"/>
                </a:cubicBezTo>
                <a:cubicBezTo>
                  <a:pt x="4174" y="346"/>
                  <a:pt x="4174" y="346"/>
                  <a:pt x="4174" y="346"/>
                </a:cubicBezTo>
                <a:cubicBezTo>
                  <a:pt x="4174" y="428"/>
                  <a:pt x="4174" y="432"/>
                  <a:pt x="4134" y="436"/>
                </a:cubicBezTo>
                <a:cubicBezTo>
                  <a:pt x="4134" y="448"/>
                  <a:pt x="4134" y="448"/>
                  <a:pt x="4134" y="448"/>
                </a:cubicBezTo>
                <a:lnTo>
                  <a:pt x="4136" y="448"/>
                </a:lnTo>
                <a:close/>
                <a:moveTo>
                  <a:pt x="4546" y="316"/>
                </a:moveTo>
                <a:cubicBezTo>
                  <a:pt x="4546" y="388"/>
                  <a:pt x="4516" y="432"/>
                  <a:pt x="4460" y="432"/>
                </a:cubicBezTo>
                <a:cubicBezTo>
                  <a:pt x="4424" y="432"/>
                  <a:pt x="4384" y="412"/>
                  <a:pt x="4384" y="384"/>
                </a:cubicBezTo>
                <a:cubicBezTo>
                  <a:pt x="4384" y="248"/>
                  <a:pt x="4384" y="248"/>
                  <a:pt x="4384" y="248"/>
                </a:cubicBezTo>
                <a:cubicBezTo>
                  <a:pt x="4384" y="226"/>
                  <a:pt x="4416" y="202"/>
                  <a:pt x="4454" y="202"/>
                </a:cubicBezTo>
                <a:cubicBezTo>
                  <a:pt x="4510" y="206"/>
                  <a:pt x="4546" y="248"/>
                  <a:pt x="4546" y="316"/>
                </a:cubicBezTo>
                <a:moveTo>
                  <a:pt x="4600" y="310"/>
                </a:moveTo>
                <a:cubicBezTo>
                  <a:pt x="4600" y="230"/>
                  <a:pt x="4548" y="170"/>
                  <a:pt x="4478" y="170"/>
                </a:cubicBezTo>
                <a:cubicBezTo>
                  <a:pt x="4438" y="170"/>
                  <a:pt x="4406" y="188"/>
                  <a:pt x="4384" y="214"/>
                </a:cubicBezTo>
                <a:cubicBezTo>
                  <a:pt x="4384" y="174"/>
                  <a:pt x="4384" y="174"/>
                  <a:pt x="4384" y="174"/>
                </a:cubicBezTo>
                <a:cubicBezTo>
                  <a:pt x="4284" y="174"/>
                  <a:pt x="4284" y="174"/>
                  <a:pt x="4284" y="174"/>
                </a:cubicBezTo>
                <a:cubicBezTo>
                  <a:pt x="4284" y="186"/>
                  <a:pt x="4284" y="186"/>
                  <a:pt x="4284" y="186"/>
                </a:cubicBezTo>
                <a:cubicBezTo>
                  <a:pt x="4326" y="188"/>
                  <a:pt x="4332" y="190"/>
                  <a:pt x="4332" y="280"/>
                </a:cubicBezTo>
                <a:cubicBezTo>
                  <a:pt x="4332" y="466"/>
                  <a:pt x="4332" y="466"/>
                  <a:pt x="4332" y="466"/>
                </a:cubicBezTo>
                <a:cubicBezTo>
                  <a:pt x="4332" y="564"/>
                  <a:pt x="4334" y="570"/>
                  <a:pt x="4286" y="574"/>
                </a:cubicBezTo>
                <a:cubicBezTo>
                  <a:pt x="4286" y="588"/>
                  <a:pt x="4286" y="588"/>
                  <a:pt x="4286" y="588"/>
                </a:cubicBezTo>
                <a:cubicBezTo>
                  <a:pt x="4432" y="588"/>
                  <a:pt x="4432" y="588"/>
                  <a:pt x="4432" y="588"/>
                </a:cubicBezTo>
                <a:cubicBezTo>
                  <a:pt x="4432" y="574"/>
                  <a:pt x="4432" y="574"/>
                  <a:pt x="4432" y="574"/>
                </a:cubicBezTo>
                <a:cubicBezTo>
                  <a:pt x="4380" y="572"/>
                  <a:pt x="4384" y="564"/>
                  <a:pt x="4384" y="462"/>
                </a:cubicBezTo>
                <a:cubicBezTo>
                  <a:pt x="4384" y="424"/>
                  <a:pt x="4384" y="424"/>
                  <a:pt x="4384" y="424"/>
                </a:cubicBezTo>
                <a:cubicBezTo>
                  <a:pt x="4404" y="444"/>
                  <a:pt x="4436" y="454"/>
                  <a:pt x="4466" y="454"/>
                </a:cubicBezTo>
                <a:cubicBezTo>
                  <a:pt x="4548" y="454"/>
                  <a:pt x="4600" y="392"/>
                  <a:pt x="4600" y="310"/>
                </a:cubicBezTo>
                <a:moveTo>
                  <a:pt x="4792" y="382"/>
                </a:moveTo>
                <a:cubicBezTo>
                  <a:pt x="4792" y="404"/>
                  <a:pt x="4762" y="424"/>
                  <a:pt x="4736" y="424"/>
                </a:cubicBezTo>
                <a:cubicBezTo>
                  <a:pt x="4712" y="424"/>
                  <a:pt x="4694" y="410"/>
                  <a:pt x="4694" y="378"/>
                </a:cubicBezTo>
                <a:cubicBezTo>
                  <a:pt x="4694" y="322"/>
                  <a:pt x="4752" y="328"/>
                  <a:pt x="4792" y="306"/>
                </a:cubicBezTo>
                <a:cubicBezTo>
                  <a:pt x="4792" y="382"/>
                  <a:pt x="4792" y="382"/>
                  <a:pt x="4792" y="382"/>
                </a:cubicBezTo>
                <a:close/>
                <a:moveTo>
                  <a:pt x="5240" y="434"/>
                </a:moveTo>
                <a:cubicBezTo>
                  <a:pt x="5192" y="432"/>
                  <a:pt x="5192" y="430"/>
                  <a:pt x="5192" y="340"/>
                </a:cubicBezTo>
                <a:cubicBezTo>
                  <a:pt x="5192" y="278"/>
                  <a:pt x="5192" y="278"/>
                  <a:pt x="5192" y="278"/>
                </a:cubicBezTo>
                <a:cubicBezTo>
                  <a:pt x="5192" y="196"/>
                  <a:pt x="5146" y="170"/>
                  <a:pt x="5104" y="170"/>
                </a:cubicBezTo>
                <a:cubicBezTo>
                  <a:pt x="5068" y="170"/>
                  <a:pt x="5032" y="186"/>
                  <a:pt x="5004" y="222"/>
                </a:cubicBezTo>
                <a:cubicBezTo>
                  <a:pt x="5004" y="174"/>
                  <a:pt x="5004" y="174"/>
                  <a:pt x="5004" y="174"/>
                </a:cubicBezTo>
                <a:cubicBezTo>
                  <a:pt x="4902" y="174"/>
                  <a:pt x="4902" y="174"/>
                  <a:pt x="4902" y="174"/>
                </a:cubicBezTo>
                <a:cubicBezTo>
                  <a:pt x="4902" y="186"/>
                  <a:pt x="4902" y="186"/>
                  <a:pt x="4902" y="186"/>
                </a:cubicBezTo>
                <a:cubicBezTo>
                  <a:pt x="4946" y="188"/>
                  <a:pt x="4952" y="190"/>
                  <a:pt x="4952" y="266"/>
                </a:cubicBezTo>
                <a:cubicBezTo>
                  <a:pt x="4952" y="334"/>
                  <a:pt x="4952" y="334"/>
                  <a:pt x="4952" y="334"/>
                </a:cubicBezTo>
                <a:cubicBezTo>
                  <a:pt x="4952" y="430"/>
                  <a:pt x="4952" y="432"/>
                  <a:pt x="4904" y="434"/>
                </a:cubicBezTo>
                <a:cubicBezTo>
                  <a:pt x="4892" y="434"/>
                  <a:pt x="4892" y="434"/>
                  <a:pt x="4892" y="434"/>
                </a:cubicBezTo>
                <a:cubicBezTo>
                  <a:pt x="4854" y="434"/>
                  <a:pt x="4850" y="422"/>
                  <a:pt x="4850" y="366"/>
                </a:cubicBezTo>
                <a:cubicBezTo>
                  <a:pt x="4850" y="274"/>
                  <a:pt x="4850" y="274"/>
                  <a:pt x="4850" y="274"/>
                </a:cubicBezTo>
                <a:cubicBezTo>
                  <a:pt x="4850" y="256"/>
                  <a:pt x="4848" y="240"/>
                  <a:pt x="4844" y="228"/>
                </a:cubicBezTo>
                <a:cubicBezTo>
                  <a:pt x="4830" y="186"/>
                  <a:pt x="4796" y="170"/>
                  <a:pt x="4748" y="170"/>
                </a:cubicBezTo>
                <a:cubicBezTo>
                  <a:pt x="4718" y="170"/>
                  <a:pt x="4674" y="180"/>
                  <a:pt x="4650" y="202"/>
                </a:cubicBezTo>
                <a:cubicBezTo>
                  <a:pt x="4652" y="214"/>
                  <a:pt x="4664" y="240"/>
                  <a:pt x="4670" y="248"/>
                </a:cubicBezTo>
                <a:cubicBezTo>
                  <a:pt x="4676" y="246"/>
                  <a:pt x="4676" y="246"/>
                  <a:pt x="4676" y="246"/>
                </a:cubicBezTo>
                <a:cubicBezTo>
                  <a:pt x="4688" y="216"/>
                  <a:pt x="4708" y="194"/>
                  <a:pt x="4742" y="194"/>
                </a:cubicBezTo>
                <a:cubicBezTo>
                  <a:pt x="4778" y="194"/>
                  <a:pt x="4794" y="220"/>
                  <a:pt x="4794" y="250"/>
                </a:cubicBezTo>
                <a:cubicBezTo>
                  <a:pt x="4794" y="282"/>
                  <a:pt x="4794" y="282"/>
                  <a:pt x="4794" y="282"/>
                </a:cubicBezTo>
                <a:cubicBezTo>
                  <a:pt x="4794" y="302"/>
                  <a:pt x="4702" y="306"/>
                  <a:pt x="4664" y="338"/>
                </a:cubicBezTo>
                <a:cubicBezTo>
                  <a:pt x="4652" y="350"/>
                  <a:pt x="4642" y="364"/>
                  <a:pt x="4642" y="384"/>
                </a:cubicBezTo>
                <a:cubicBezTo>
                  <a:pt x="4642" y="426"/>
                  <a:pt x="4672" y="456"/>
                  <a:pt x="4716" y="456"/>
                </a:cubicBezTo>
                <a:cubicBezTo>
                  <a:pt x="4744" y="456"/>
                  <a:pt x="4768" y="446"/>
                  <a:pt x="4794" y="418"/>
                </a:cubicBezTo>
                <a:cubicBezTo>
                  <a:pt x="4798" y="438"/>
                  <a:pt x="4814" y="448"/>
                  <a:pt x="4842" y="448"/>
                </a:cubicBezTo>
                <a:cubicBezTo>
                  <a:pt x="4906" y="448"/>
                  <a:pt x="4906" y="448"/>
                  <a:pt x="4906" y="448"/>
                </a:cubicBezTo>
                <a:cubicBezTo>
                  <a:pt x="4906" y="448"/>
                  <a:pt x="4906" y="448"/>
                  <a:pt x="4906" y="448"/>
                </a:cubicBezTo>
                <a:cubicBezTo>
                  <a:pt x="5048" y="448"/>
                  <a:pt x="5048" y="448"/>
                  <a:pt x="5048" y="448"/>
                </a:cubicBezTo>
                <a:cubicBezTo>
                  <a:pt x="5048" y="436"/>
                  <a:pt x="5048" y="436"/>
                  <a:pt x="5048" y="436"/>
                </a:cubicBezTo>
                <a:cubicBezTo>
                  <a:pt x="5006" y="432"/>
                  <a:pt x="5004" y="434"/>
                  <a:pt x="5004" y="338"/>
                </a:cubicBezTo>
                <a:cubicBezTo>
                  <a:pt x="5004" y="262"/>
                  <a:pt x="5004" y="262"/>
                  <a:pt x="5004" y="262"/>
                </a:cubicBezTo>
                <a:cubicBezTo>
                  <a:pt x="5004" y="236"/>
                  <a:pt x="5038" y="206"/>
                  <a:pt x="5080" y="206"/>
                </a:cubicBezTo>
                <a:cubicBezTo>
                  <a:pt x="5114" y="206"/>
                  <a:pt x="5140" y="220"/>
                  <a:pt x="5140" y="286"/>
                </a:cubicBezTo>
                <a:cubicBezTo>
                  <a:pt x="5140" y="340"/>
                  <a:pt x="5140" y="340"/>
                  <a:pt x="5140" y="340"/>
                </a:cubicBezTo>
                <a:cubicBezTo>
                  <a:pt x="5140" y="432"/>
                  <a:pt x="5136" y="432"/>
                  <a:pt x="5098" y="434"/>
                </a:cubicBezTo>
                <a:cubicBezTo>
                  <a:pt x="5098" y="446"/>
                  <a:pt x="5098" y="446"/>
                  <a:pt x="5098" y="446"/>
                </a:cubicBezTo>
                <a:cubicBezTo>
                  <a:pt x="5240" y="446"/>
                  <a:pt x="5240" y="446"/>
                  <a:pt x="5240" y="446"/>
                </a:cubicBezTo>
                <a:lnTo>
                  <a:pt x="5240" y="434"/>
                </a:lnTo>
                <a:close/>
                <a:moveTo>
                  <a:pt x="5516" y="192"/>
                </a:moveTo>
                <a:cubicBezTo>
                  <a:pt x="5516" y="180"/>
                  <a:pt x="5516" y="180"/>
                  <a:pt x="5516" y="180"/>
                </a:cubicBezTo>
                <a:cubicBezTo>
                  <a:pt x="5418" y="180"/>
                  <a:pt x="5418" y="180"/>
                  <a:pt x="5418" y="180"/>
                </a:cubicBezTo>
                <a:cubicBezTo>
                  <a:pt x="5418" y="192"/>
                  <a:pt x="5418" y="192"/>
                  <a:pt x="5418" y="192"/>
                </a:cubicBezTo>
                <a:cubicBezTo>
                  <a:pt x="5442" y="194"/>
                  <a:pt x="5454" y="206"/>
                  <a:pt x="5446" y="234"/>
                </a:cubicBezTo>
                <a:cubicBezTo>
                  <a:pt x="5394" y="390"/>
                  <a:pt x="5394" y="390"/>
                  <a:pt x="5394" y="390"/>
                </a:cubicBezTo>
                <a:cubicBezTo>
                  <a:pt x="5342" y="270"/>
                  <a:pt x="5342" y="270"/>
                  <a:pt x="5342" y="270"/>
                </a:cubicBezTo>
                <a:cubicBezTo>
                  <a:pt x="5328" y="238"/>
                  <a:pt x="5322" y="224"/>
                  <a:pt x="5322" y="212"/>
                </a:cubicBezTo>
                <a:cubicBezTo>
                  <a:pt x="5322" y="202"/>
                  <a:pt x="5328" y="196"/>
                  <a:pt x="5348" y="192"/>
                </a:cubicBezTo>
                <a:cubicBezTo>
                  <a:pt x="5348" y="180"/>
                  <a:pt x="5348" y="180"/>
                  <a:pt x="5348" y="180"/>
                </a:cubicBezTo>
                <a:cubicBezTo>
                  <a:pt x="5220" y="180"/>
                  <a:pt x="5220" y="180"/>
                  <a:pt x="5220" y="180"/>
                </a:cubicBezTo>
                <a:cubicBezTo>
                  <a:pt x="5220" y="192"/>
                  <a:pt x="5220" y="192"/>
                  <a:pt x="5220" y="192"/>
                </a:cubicBezTo>
                <a:cubicBezTo>
                  <a:pt x="5252" y="194"/>
                  <a:pt x="5254" y="198"/>
                  <a:pt x="5296" y="292"/>
                </a:cubicBezTo>
                <a:cubicBezTo>
                  <a:pt x="5368" y="450"/>
                  <a:pt x="5368" y="450"/>
                  <a:pt x="5368" y="450"/>
                </a:cubicBezTo>
                <a:cubicBezTo>
                  <a:pt x="5344" y="512"/>
                  <a:pt x="5306" y="546"/>
                  <a:pt x="5228" y="564"/>
                </a:cubicBezTo>
                <a:cubicBezTo>
                  <a:pt x="5232" y="576"/>
                  <a:pt x="5246" y="600"/>
                  <a:pt x="5254" y="606"/>
                </a:cubicBezTo>
                <a:cubicBezTo>
                  <a:pt x="5356" y="564"/>
                  <a:pt x="5376" y="498"/>
                  <a:pt x="5412" y="396"/>
                </a:cubicBezTo>
                <a:cubicBezTo>
                  <a:pt x="5466" y="242"/>
                  <a:pt x="5466" y="242"/>
                  <a:pt x="5466" y="242"/>
                </a:cubicBezTo>
                <a:cubicBezTo>
                  <a:pt x="5478" y="206"/>
                  <a:pt x="5498" y="192"/>
                  <a:pt x="5516" y="192"/>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600" kern="1200">
                <a:solidFill>
                  <a:schemeClr val="tx1"/>
                </a:solidFill>
                <a:latin typeface="Arial" charset="0"/>
                <a:ea typeface="+mn-ea"/>
                <a:cs typeface="+mn-cs"/>
              </a:defRPr>
            </a:lvl1pPr>
            <a:lvl2pPr marL="457200" algn="l" rtl="0" fontAlgn="base">
              <a:spcBef>
                <a:spcPct val="0"/>
              </a:spcBef>
              <a:spcAft>
                <a:spcPct val="0"/>
              </a:spcAft>
              <a:defRPr sz="1600" kern="1200">
                <a:solidFill>
                  <a:schemeClr val="tx1"/>
                </a:solidFill>
                <a:latin typeface="Arial" charset="0"/>
                <a:ea typeface="+mn-ea"/>
                <a:cs typeface="+mn-cs"/>
              </a:defRPr>
            </a:lvl2pPr>
            <a:lvl3pPr marL="914400" algn="l" rtl="0" fontAlgn="base">
              <a:spcBef>
                <a:spcPct val="0"/>
              </a:spcBef>
              <a:spcAft>
                <a:spcPct val="0"/>
              </a:spcAft>
              <a:defRPr sz="1600" kern="1200">
                <a:solidFill>
                  <a:schemeClr val="tx1"/>
                </a:solidFill>
                <a:latin typeface="Arial" charset="0"/>
                <a:ea typeface="+mn-ea"/>
                <a:cs typeface="+mn-cs"/>
              </a:defRPr>
            </a:lvl3pPr>
            <a:lvl4pPr marL="1371600" algn="l" rtl="0" fontAlgn="base">
              <a:spcBef>
                <a:spcPct val="0"/>
              </a:spcBef>
              <a:spcAft>
                <a:spcPct val="0"/>
              </a:spcAft>
              <a:defRPr sz="1600" kern="1200">
                <a:solidFill>
                  <a:schemeClr val="tx1"/>
                </a:solidFill>
                <a:latin typeface="Arial" charset="0"/>
                <a:ea typeface="+mn-ea"/>
                <a:cs typeface="+mn-cs"/>
              </a:defRPr>
            </a:lvl4pPr>
            <a:lvl5pPr marL="1828800" algn="l" rtl="0" fontAlgn="base">
              <a:spcBef>
                <a:spcPct val="0"/>
              </a:spcBef>
              <a:spcAft>
                <a:spcPct val="0"/>
              </a:spcAft>
              <a:defRPr sz="1600" kern="1200">
                <a:solidFill>
                  <a:schemeClr val="tx1"/>
                </a:solidFill>
                <a:latin typeface="Arial" charset="0"/>
                <a:ea typeface="+mn-ea"/>
                <a:cs typeface="+mn-cs"/>
              </a:defRPr>
            </a:lvl5pPr>
            <a:lvl6pPr marL="2286000" algn="l" defTabSz="914400" rtl="0" eaLnBrk="1" latinLnBrk="0" hangingPunct="1">
              <a:defRPr sz="1600" kern="1200">
                <a:solidFill>
                  <a:schemeClr val="tx1"/>
                </a:solidFill>
                <a:latin typeface="Arial" charset="0"/>
                <a:ea typeface="+mn-ea"/>
                <a:cs typeface="+mn-cs"/>
              </a:defRPr>
            </a:lvl6pPr>
            <a:lvl7pPr marL="2743200" algn="l" defTabSz="914400" rtl="0" eaLnBrk="1" latinLnBrk="0" hangingPunct="1">
              <a:defRPr sz="1600" kern="1200">
                <a:solidFill>
                  <a:schemeClr val="tx1"/>
                </a:solidFill>
                <a:latin typeface="Arial" charset="0"/>
                <a:ea typeface="+mn-ea"/>
                <a:cs typeface="+mn-cs"/>
              </a:defRPr>
            </a:lvl7pPr>
            <a:lvl8pPr marL="3200400" algn="l" defTabSz="914400" rtl="0" eaLnBrk="1" latinLnBrk="0" hangingPunct="1">
              <a:defRPr sz="1600" kern="1200">
                <a:solidFill>
                  <a:schemeClr val="tx1"/>
                </a:solidFill>
                <a:latin typeface="Arial" charset="0"/>
                <a:ea typeface="+mn-ea"/>
                <a:cs typeface="+mn-cs"/>
              </a:defRPr>
            </a:lvl8pPr>
            <a:lvl9pPr marL="3657600" algn="l" defTabSz="914400" rtl="0" eaLnBrk="1" latinLnBrk="0" hangingPunct="1">
              <a:defRPr sz="1600" kern="1200">
                <a:solidFill>
                  <a:schemeClr val="tx1"/>
                </a:solidFill>
                <a:latin typeface="Arial" charset="0"/>
                <a:ea typeface="+mn-ea"/>
                <a:cs typeface="+mn-cs"/>
              </a:defRPr>
            </a:lvl9pPr>
          </a:lstStyle>
          <a:p>
            <a:endParaRPr lang="en-US" baseline="0" dirty="0">
              <a:solidFill>
                <a:srgbClr val="000000"/>
              </a:solidFill>
              <a:latin typeface="+mn-lt"/>
            </a:endParaRPr>
          </a:p>
        </p:txBody>
      </p:sp>
      <p:sp>
        <p:nvSpPr>
          <p:cNvPr id="27" name="Disclaimer-English (United States)" hidden="1"/>
          <p:cNvSpPr>
            <a:spLocks noChangeArrowheads="1"/>
          </p:cNvSpPr>
          <p:nvPr/>
        </p:nvSpPr>
        <p:spPr bwMode="black">
          <a:xfrm>
            <a:off x="2268266" y="6287785"/>
            <a:ext cx="3544453" cy="36908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t" anchorCtr="0">
            <a:noAutofit/>
          </a:bodyPr>
          <a:lstStyle/>
          <a:p>
            <a:pPr defTabSz="804863" eaLnBrk="0" hangingPunct="0"/>
            <a:r>
              <a:rPr lang="en-US" sz="800" baseline="0" dirty="0">
                <a:solidFill>
                  <a:srgbClr val="FFFFFF"/>
                </a:solidFill>
                <a:latin typeface="+mn-lt"/>
              </a:rPr>
              <a:t>CONFIDENTIAL AND PROPRIETARY</a:t>
            </a:r>
          </a:p>
          <a:p>
            <a:pPr defTabSz="804863" eaLnBrk="0" hangingPunct="0"/>
            <a:r>
              <a:rPr lang="en-US" sz="800" baseline="0" dirty="0">
                <a:solidFill>
                  <a:srgbClr val="FFFFFF"/>
                </a:solidFill>
                <a:latin typeface="+mn-lt"/>
              </a:rPr>
              <a:t>Any use of this material without specific permission of McKinsey &amp; Company is strictly prohibited</a:t>
            </a:r>
          </a:p>
        </p:txBody>
      </p:sp>
    </p:spTree>
    <p:extLst>
      <p:ext uri="{BB962C8B-B14F-4D97-AF65-F5344CB8AC3E}">
        <p14:creationId xmlns:p14="http://schemas.microsoft.com/office/powerpoint/2010/main" val="3703841402"/>
      </p:ext>
    </p:extLst>
  </p:cSld>
  <p:clrMapOvr>
    <a:masterClrMapping/>
  </p:clrMapOvr>
  <p:extLst mod="1">
    <p:ext uri="{DCECCB84-F9BA-43D5-87BE-67443E8EF086}">
      <p15:sldGuideLst xmlns:p15="http://schemas.microsoft.com/office/powerpoint/2012/main">
        <p15:guide id="1" orient="horz" pos="2117">
          <p15:clr>
            <a:srgbClr val="FBAE40"/>
          </p15:clr>
        </p15:guide>
        <p15:guide id="2" pos="1416">
          <p15:clr>
            <a:srgbClr val="FBAE4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6E228F5-5CF1-42E1-9748-97D7582A107A}"/>
              </a:ext>
            </a:extLst>
          </p:cNvPr>
          <p:cNvGraphicFramePr>
            <a:graphicFrameLocks noChangeAspect="1"/>
          </p:cNvGraphicFramePr>
          <p:nvPr>
            <p:custDataLst>
              <p:tags r:id="rId2"/>
            </p:custDataLst>
            <p:extLst>
              <p:ext uri="{D42A27DB-BD31-4B8C-83A1-F6EECF244321}">
                <p14:modId xmlns:p14="http://schemas.microsoft.com/office/powerpoint/2010/main" val="26914995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4772" name="think-cell Slide" r:id="rId5" imgW="353" imgH="353" progId="TCLayout.ActiveDocument.1">
                  <p:embed/>
                </p:oleObj>
              </mc:Choice>
              <mc:Fallback>
                <p:oleObj name="think-cell Slide" r:id="rId5" imgW="353" imgH="353" progId="TCLayout.ActiveDocument.1">
                  <p:embed/>
                  <p:pic>
                    <p:nvPicPr>
                      <p:cNvPr id="3" name="Object 2" hidden="1">
                        <a:extLst>
                          <a:ext uri="{FF2B5EF4-FFF2-40B4-BE49-F238E27FC236}">
                            <a16:creationId xmlns:a16="http://schemas.microsoft.com/office/drawing/2014/main" id="{C6E228F5-5CF1-42E1-9748-97D7582A107A}"/>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2. Slide Title"/>
          <p:cNvSpPr>
            <a:spLocks noGrp="1"/>
          </p:cNvSpPr>
          <p:nvPr>
            <p:ph type="title"/>
          </p:nvPr>
        </p:nvSpPr>
        <p:spPr bwMode="auto"/>
        <p:txBody>
          <a:bodyPr/>
          <a:lstStyle/>
          <a:p>
            <a:r>
              <a:rPr lang="en-US"/>
              <a:t>Click to edit Master title style</a:t>
            </a:r>
            <a:endParaRPr lang="en-US" dirty="0"/>
          </a:p>
        </p:txBody>
      </p:sp>
      <p:sp>
        <p:nvSpPr>
          <p:cNvPr id="8" name="Slide Number"/>
          <p:cNvSpPr txBox="1">
            <a:spLocks/>
          </p:cNvSpPr>
          <p:nvPr/>
        </p:nvSpPr>
        <p:spPr bwMode="auto">
          <a:xfrm>
            <a:off x="8564563" y="6508272"/>
            <a:ext cx="125034" cy="123111"/>
          </a:xfrm>
          <a:prstGeom prst="rect">
            <a:avLst/>
          </a:prstGeom>
        </p:spPr>
        <p:txBody>
          <a:bodyPr vert="horz" wrap="none" lIns="0" tIns="0" rIns="0" bIns="0" rtlCol="0" anchor="ctr">
            <a:spAutoFit/>
          </a:bodyPr>
          <a:lstStyle>
            <a:defPPr>
              <a:defRPr lang="en-US"/>
            </a:defPPr>
            <a:lvl1pPr>
              <a:defRPr sz="1000" baseline="0">
                <a:latin typeface="+mn-lt"/>
              </a:defRPr>
            </a:lvl1pPr>
          </a:lstStyle>
          <a:p>
            <a:fld id="{42C328C1-A84F-4A39-A664-DBA00541A8C6}" type="slidenum">
              <a:rPr lang="en-US" sz="800" baseline="0" smtClean="0">
                <a:solidFill>
                  <a:srgbClr val="808080"/>
                </a:solidFill>
                <a:latin typeface="+mn-lt"/>
              </a:rPr>
              <a:pPr/>
              <a:t>‹#›</a:t>
            </a:fld>
            <a:endParaRPr lang="en-US" sz="800" baseline="0" dirty="0">
              <a:solidFill>
                <a:srgbClr val="808080"/>
              </a:solidFill>
              <a:latin typeface="+mn-lt"/>
            </a:endParaRPr>
          </a:p>
        </p:txBody>
      </p:sp>
      <p:sp>
        <p:nvSpPr>
          <p:cNvPr id="9" name="SlideLogoText"/>
          <p:cNvSpPr>
            <a:spLocks noChangeArrowheads="1"/>
          </p:cNvSpPr>
          <p:nvPr>
            <p:custDataLst>
              <p:tags r:id="rId3"/>
            </p:custDataLst>
          </p:nvPr>
        </p:nvSpPr>
        <p:spPr bwMode="auto">
          <a:xfrm>
            <a:off x="7450817" y="6508272"/>
            <a:ext cx="1013098"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algn="r" defTabSz="895350"/>
            <a:r>
              <a:rPr lang="en-US" sz="800" baseline="0" dirty="0">
                <a:solidFill>
                  <a:srgbClr val="808080"/>
                </a:solidFill>
                <a:latin typeface="+mn-lt"/>
              </a:rPr>
              <a:t>McKinsey &amp; Company</a:t>
            </a:r>
          </a:p>
        </p:txBody>
      </p:sp>
      <p:sp>
        <p:nvSpPr>
          <p:cNvPr id="5" name="doc id" hidden="1"/>
          <p:cNvSpPr txBox="1">
            <a:spLocks noChangeArrowheads="1"/>
          </p:cNvSpPr>
          <p:nvPr/>
        </p:nvSpPr>
        <p:spPr bwMode="white">
          <a:xfrm>
            <a:off x="8104473" y="36513"/>
            <a:ext cx="634716" cy="115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hangingPunct="1">
              <a:defRPr/>
            </a:pPr>
            <a:endParaRPr lang="en-US" sz="800" baseline="0" dirty="0">
              <a:solidFill>
                <a:schemeClr val="accent1"/>
              </a:solidFill>
              <a:latin typeface="+mn-lt"/>
              <a:ea typeface="+mn-ea"/>
            </a:endParaRPr>
          </a:p>
        </p:txBody>
      </p:sp>
    </p:spTree>
    <p:extLst>
      <p:ext uri="{BB962C8B-B14F-4D97-AF65-F5344CB8AC3E}">
        <p14:creationId xmlns:p14="http://schemas.microsoft.com/office/powerpoint/2010/main" val="2535750926"/>
      </p:ext>
    </p:extLst>
  </p:cSld>
  <p:clrMapOvr>
    <a:masterClrMapping/>
  </p:clrMapOvr>
  <p:extLst mod="1">
    <p:ext uri="{DCECCB84-F9BA-43D5-87BE-67443E8EF086}">
      <p15:sldGuideLst xmlns:p15="http://schemas.microsoft.com/office/powerpoint/2012/main">
        <p15:guide id="1" pos="5505">
          <p15:clr>
            <a:srgbClr val="F26B43"/>
          </p15:clr>
        </p15:guide>
        <p15:guide id="2" pos="74">
          <p15:clr>
            <a:srgbClr val="F26B43"/>
          </p15:clr>
        </p15:guide>
        <p15:guide id="3" orient="horz" pos="571">
          <p15:clr>
            <a:srgbClr val="F26B43"/>
          </p15:clr>
        </p15:guide>
        <p15:guide id="4" orient="horz" pos="3911">
          <p15:clr>
            <a:srgbClr val="F26B43"/>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1_Title Only">
    <p:bg>
      <p:bgPr>
        <a:solidFill>
          <a:schemeClr val="accent2"/>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F4AD34F-3B47-47E2-A09C-FFEB949F6A10}"/>
              </a:ext>
            </a:extLst>
          </p:cNvPr>
          <p:cNvGraphicFramePr>
            <a:graphicFrameLocks noChangeAspect="1"/>
          </p:cNvGraphicFramePr>
          <p:nvPr>
            <p:custDataLst>
              <p:tags r:id="rId2"/>
            </p:custDataLst>
            <p:extLst>
              <p:ext uri="{D42A27DB-BD31-4B8C-83A1-F6EECF244321}">
                <p14:modId xmlns:p14="http://schemas.microsoft.com/office/powerpoint/2010/main" val="404640073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5796" name="think-cell Slide" r:id="rId5" imgW="395" imgH="394" progId="TCLayout.ActiveDocument.1">
                  <p:embed/>
                </p:oleObj>
              </mc:Choice>
              <mc:Fallback>
                <p:oleObj name="think-cell Slide" r:id="rId5" imgW="395" imgH="394" progId="TCLayout.ActiveDocument.1">
                  <p:embed/>
                  <p:pic>
                    <p:nvPicPr>
                      <p:cNvPr id="3" name="Object 2" hidden="1">
                        <a:extLst>
                          <a:ext uri="{FF2B5EF4-FFF2-40B4-BE49-F238E27FC236}">
                            <a16:creationId xmlns:a16="http://schemas.microsoft.com/office/drawing/2014/main" id="{EF4AD34F-3B47-47E2-A09C-FFEB949F6A10}"/>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endParaRPr lang="en-US" dirty="0"/>
          </a:p>
        </p:txBody>
      </p:sp>
      <p:sp>
        <p:nvSpPr>
          <p:cNvPr id="15" name="Slide Number"/>
          <p:cNvSpPr txBox="1">
            <a:spLocks/>
          </p:cNvSpPr>
          <p:nvPr/>
        </p:nvSpPr>
        <p:spPr>
          <a:xfrm>
            <a:off x="8564563" y="6508272"/>
            <a:ext cx="125034" cy="123111"/>
          </a:xfrm>
          <a:prstGeom prst="rect">
            <a:avLst/>
          </a:prstGeom>
        </p:spPr>
        <p:txBody>
          <a:bodyPr vert="horz" wrap="none" lIns="0" tIns="0" rIns="0" bIns="0" rtlCol="0" anchor="ctr">
            <a:spAutoFit/>
          </a:bodyPr>
          <a:lstStyle>
            <a:defPPr>
              <a:defRPr lang="en-US"/>
            </a:defPPr>
            <a:lvl1pPr>
              <a:defRPr sz="1000" baseline="0">
                <a:latin typeface="+mn-lt"/>
              </a:defRPr>
            </a:lvl1pPr>
          </a:lstStyle>
          <a:p>
            <a:fld id="{42C328C1-A84F-4A39-A664-DBA00541A8C6}" type="slidenum">
              <a:rPr lang="en-US" sz="800" baseline="0" smtClean="0">
                <a:solidFill>
                  <a:srgbClr val="FFFFFF"/>
                </a:solidFill>
                <a:latin typeface="+mn-lt"/>
              </a:rPr>
              <a:pPr/>
              <a:t>‹#›</a:t>
            </a:fld>
            <a:endParaRPr lang="en-US" sz="800" baseline="0" dirty="0">
              <a:solidFill>
                <a:srgbClr val="FFFFFF"/>
              </a:solidFill>
              <a:latin typeface="+mn-lt"/>
            </a:endParaRPr>
          </a:p>
        </p:txBody>
      </p:sp>
      <p:sp>
        <p:nvSpPr>
          <p:cNvPr id="16" name="SlideLogoText"/>
          <p:cNvSpPr>
            <a:spLocks noChangeArrowheads="1"/>
          </p:cNvSpPr>
          <p:nvPr>
            <p:custDataLst>
              <p:tags r:id="rId3"/>
            </p:custDataLst>
          </p:nvPr>
        </p:nvSpPr>
        <p:spPr bwMode="auto">
          <a:xfrm>
            <a:off x="7450817" y="6508272"/>
            <a:ext cx="1013098"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algn="r" defTabSz="895350"/>
            <a:r>
              <a:rPr lang="en-US" sz="800" baseline="0" dirty="0">
                <a:solidFill>
                  <a:srgbClr val="FFFFFF"/>
                </a:solidFill>
                <a:latin typeface="+mn-lt"/>
              </a:rPr>
              <a:t>McKinsey &amp; Company</a:t>
            </a:r>
          </a:p>
        </p:txBody>
      </p:sp>
      <p:sp>
        <p:nvSpPr>
          <p:cNvPr id="5" name="doc id" hidden="1"/>
          <p:cNvSpPr txBox="1">
            <a:spLocks noChangeArrowheads="1"/>
          </p:cNvSpPr>
          <p:nvPr/>
        </p:nvSpPr>
        <p:spPr bwMode="white">
          <a:xfrm>
            <a:off x="8104473" y="36513"/>
            <a:ext cx="634716" cy="115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hangingPunct="1">
              <a:defRPr/>
            </a:pPr>
            <a:endParaRPr lang="en-US" sz="800" baseline="0" dirty="0">
              <a:solidFill>
                <a:schemeClr val="accent1"/>
              </a:solidFill>
              <a:latin typeface="+mn-lt"/>
              <a:ea typeface="+mn-ea"/>
            </a:endParaRPr>
          </a:p>
        </p:txBody>
      </p:sp>
    </p:spTree>
    <p:extLst>
      <p:ext uri="{BB962C8B-B14F-4D97-AF65-F5344CB8AC3E}">
        <p14:creationId xmlns:p14="http://schemas.microsoft.com/office/powerpoint/2010/main" val="739116808"/>
      </p:ext>
    </p:extLst>
  </p:cSld>
  <p:clrMapOvr>
    <a:masterClrMapping/>
  </p:clrMapOvr>
  <p:extLst mod="1">
    <p:ext uri="{DCECCB84-F9BA-43D5-87BE-67443E8EF086}">
      <p15:sldGuideLst xmlns:p15="http://schemas.microsoft.com/office/powerpoint/2012/main">
        <p15:guide id="1" pos="3978">
          <p15:clr>
            <a:srgbClr val="000000"/>
          </p15:clr>
        </p15:guide>
        <p15:guide id="2" orient="horz" pos="570">
          <p15:clr>
            <a:srgbClr val="000000"/>
          </p15:clr>
        </p15:guide>
        <p15:guide id="3" orient="horz" pos="3912">
          <p15:clr>
            <a:srgbClr val="000000"/>
          </p15:clr>
        </p15:guide>
        <p15:guide id="4" pos="72">
          <p15:clr>
            <a:srgbClr val="00000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6E228F5-5CF1-42E1-9748-97D7582A107A}"/>
              </a:ext>
            </a:extLst>
          </p:cNvPr>
          <p:cNvGraphicFramePr>
            <a:graphicFrameLocks noChangeAspect="1"/>
          </p:cNvGraphicFramePr>
          <p:nvPr>
            <p:custDataLst>
              <p:tags r:id="rId2"/>
            </p:custDataLst>
            <p:extLst>
              <p:ext uri="{D42A27DB-BD31-4B8C-83A1-F6EECF244321}">
                <p14:modId xmlns:p14="http://schemas.microsoft.com/office/powerpoint/2010/main" val="313196227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212" name="think-cell Slide" r:id="rId5" imgW="353" imgH="353" progId="TCLayout.ActiveDocument.1">
                  <p:embed/>
                </p:oleObj>
              </mc:Choice>
              <mc:Fallback>
                <p:oleObj name="think-cell Slide" r:id="rId5" imgW="353" imgH="353" progId="TCLayout.ActiveDocument.1">
                  <p:embed/>
                  <p:pic>
                    <p:nvPicPr>
                      <p:cNvPr id="3" name="Object 2" hidden="1">
                        <a:extLst>
                          <a:ext uri="{FF2B5EF4-FFF2-40B4-BE49-F238E27FC236}">
                            <a16:creationId xmlns:a16="http://schemas.microsoft.com/office/drawing/2014/main" id="{C6E228F5-5CF1-42E1-9748-97D7582A107A}"/>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2. Slide Title"/>
          <p:cNvSpPr>
            <a:spLocks noGrp="1"/>
          </p:cNvSpPr>
          <p:nvPr>
            <p:ph type="title"/>
          </p:nvPr>
        </p:nvSpPr>
        <p:spPr bwMode="auto"/>
        <p:txBody>
          <a:bodyPr/>
          <a:lstStyle/>
          <a:p>
            <a:r>
              <a:rPr lang="en-US"/>
              <a:t>Click to edit Master title style</a:t>
            </a:r>
            <a:endParaRPr lang="en-US" dirty="0"/>
          </a:p>
        </p:txBody>
      </p:sp>
      <p:sp>
        <p:nvSpPr>
          <p:cNvPr id="8" name="Slide Number"/>
          <p:cNvSpPr txBox="1">
            <a:spLocks/>
          </p:cNvSpPr>
          <p:nvPr/>
        </p:nvSpPr>
        <p:spPr bwMode="auto">
          <a:xfrm>
            <a:off x="8564563" y="6508272"/>
            <a:ext cx="125034" cy="123111"/>
          </a:xfrm>
          <a:prstGeom prst="rect">
            <a:avLst/>
          </a:prstGeom>
        </p:spPr>
        <p:txBody>
          <a:bodyPr vert="horz" wrap="none" lIns="0" tIns="0" rIns="0" bIns="0" rtlCol="0" anchor="ctr">
            <a:spAutoFit/>
          </a:bodyPr>
          <a:lstStyle>
            <a:defPPr>
              <a:defRPr lang="en-US"/>
            </a:defPPr>
            <a:lvl1pPr>
              <a:defRPr sz="1000" baseline="0">
                <a:latin typeface="+mn-lt"/>
              </a:defRPr>
            </a:lvl1pPr>
          </a:lstStyle>
          <a:p>
            <a:fld id="{42C328C1-A84F-4A39-A664-DBA00541A8C6}" type="slidenum">
              <a:rPr lang="en-US" sz="800" baseline="0" smtClean="0">
                <a:solidFill>
                  <a:srgbClr val="808080"/>
                </a:solidFill>
                <a:latin typeface="+mn-lt"/>
              </a:rPr>
              <a:pPr/>
              <a:t>‹#›</a:t>
            </a:fld>
            <a:endParaRPr lang="en-US" sz="800" baseline="0" dirty="0">
              <a:solidFill>
                <a:srgbClr val="808080"/>
              </a:solidFill>
              <a:latin typeface="+mn-lt"/>
            </a:endParaRPr>
          </a:p>
        </p:txBody>
      </p:sp>
      <p:sp>
        <p:nvSpPr>
          <p:cNvPr id="9" name="SlideLogoText"/>
          <p:cNvSpPr>
            <a:spLocks noChangeArrowheads="1"/>
          </p:cNvSpPr>
          <p:nvPr>
            <p:custDataLst>
              <p:tags r:id="rId3"/>
            </p:custDataLst>
          </p:nvPr>
        </p:nvSpPr>
        <p:spPr bwMode="auto">
          <a:xfrm>
            <a:off x="7450817" y="6508272"/>
            <a:ext cx="1013098"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algn="r" defTabSz="895350"/>
            <a:r>
              <a:rPr lang="en-US" sz="800" baseline="0" dirty="0">
                <a:solidFill>
                  <a:srgbClr val="808080"/>
                </a:solidFill>
                <a:latin typeface="+mn-lt"/>
              </a:rPr>
              <a:t>McKinsey &amp; Company</a:t>
            </a:r>
          </a:p>
        </p:txBody>
      </p:sp>
      <p:sp>
        <p:nvSpPr>
          <p:cNvPr id="5" name="doc id" hidden="1"/>
          <p:cNvSpPr txBox="1">
            <a:spLocks noChangeArrowheads="1"/>
          </p:cNvSpPr>
          <p:nvPr/>
        </p:nvSpPr>
        <p:spPr bwMode="white">
          <a:xfrm>
            <a:off x="8104473" y="36513"/>
            <a:ext cx="634716" cy="115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hangingPunct="1">
              <a:defRPr/>
            </a:pPr>
            <a:endParaRPr lang="en-US" sz="800" baseline="0" dirty="0">
              <a:solidFill>
                <a:schemeClr val="accent1"/>
              </a:solidFill>
              <a:latin typeface="+mn-lt"/>
              <a:ea typeface="+mn-ea"/>
            </a:endParaRPr>
          </a:p>
        </p:txBody>
      </p:sp>
    </p:spTree>
    <p:extLst>
      <p:ext uri="{BB962C8B-B14F-4D97-AF65-F5344CB8AC3E}">
        <p14:creationId xmlns:p14="http://schemas.microsoft.com/office/powerpoint/2010/main" val="4197500177"/>
      </p:ext>
    </p:extLst>
  </p:cSld>
  <p:clrMapOvr>
    <a:masterClrMapping/>
  </p:clrMapOvr>
  <p:extLst mod="1">
    <p:ext uri="{DCECCB84-F9BA-43D5-87BE-67443E8EF086}">
      <p15:sldGuideLst xmlns:p15="http://schemas.microsoft.com/office/powerpoint/2012/main">
        <p15:guide id="1" pos="5505">
          <p15:clr>
            <a:srgbClr val="F26B43"/>
          </p15:clr>
        </p15:guide>
        <p15:guide id="2" pos="74">
          <p15:clr>
            <a:srgbClr val="F26B43"/>
          </p15:clr>
        </p15:guide>
        <p15:guide id="3" orient="horz" pos="571">
          <p15:clr>
            <a:srgbClr val="F26B43"/>
          </p15:clr>
        </p15:guide>
        <p15:guide id="4" orient="horz" pos="3911">
          <p15:clr>
            <a:srgbClr val="F26B43"/>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type="titleOnly">
  <p:cSld name="2_Title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ECD524A-1569-4253-8CD8-48D288AD883C}"/>
              </a:ext>
            </a:extLst>
          </p:cNvPr>
          <p:cNvGraphicFramePr>
            <a:graphicFrameLocks noChangeAspect="1"/>
          </p:cNvGraphicFramePr>
          <p:nvPr>
            <p:custDataLst>
              <p:tags r:id="rId2"/>
            </p:custDataLst>
            <p:extLst>
              <p:ext uri="{D42A27DB-BD31-4B8C-83A1-F6EECF244321}">
                <p14:modId xmlns:p14="http://schemas.microsoft.com/office/powerpoint/2010/main" val="126691637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6820" name="think-cell Slide" r:id="rId4" imgW="395" imgH="394" progId="TCLayout.ActiveDocument.1">
                  <p:embed/>
                </p:oleObj>
              </mc:Choice>
              <mc:Fallback>
                <p:oleObj name="think-cell Slide" r:id="rId4" imgW="395" imgH="394" progId="TCLayout.ActiveDocument.1">
                  <p:embed/>
                  <p:pic>
                    <p:nvPicPr>
                      <p:cNvPr id="3" name="Object 2" hidden="1">
                        <a:extLst>
                          <a:ext uri="{FF2B5EF4-FFF2-40B4-BE49-F238E27FC236}">
                            <a16:creationId xmlns:a16="http://schemas.microsoft.com/office/drawing/2014/main" id="{5ECD524A-1569-4253-8CD8-48D288AD883C}"/>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80457920"/>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pic>
        <p:nvPicPr>
          <p:cNvPr id="2" name="background"/>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0" y="198"/>
            <a:ext cx="8961438" cy="6721079"/>
          </a:xfrm>
          <a:prstGeom prst="rect">
            <a:avLst/>
          </a:prstGeom>
        </p:spPr>
      </p:pic>
      <p:sp>
        <p:nvSpPr>
          <p:cNvPr id="28" name="TitleRectangle"/>
          <p:cNvSpPr txBox="1">
            <a:spLocks/>
          </p:cNvSpPr>
          <p:nvPr/>
        </p:nvSpPr>
        <p:spPr>
          <a:xfrm>
            <a:off x="2084388" y="0"/>
            <a:ext cx="6875462" cy="3575976"/>
          </a:xfrm>
          <a:prstGeom prst="rect">
            <a:avLst/>
          </a:prstGeom>
          <a:solidFill>
            <a:srgbClr val="002960">
              <a:alpha val="92000"/>
            </a:srgbClr>
          </a:solidFill>
        </p:spPr>
        <p:txBody>
          <a:bodyPr vert="horz" wrap="square" lIns="216000" tIns="1440000" rIns="216000" bIns="108000" rtlCol="0">
            <a:noAutofit/>
          </a:bodyPr>
          <a:lstStyle>
            <a:lvl1pPr marL="0" indent="0" algn="l" defTabSz="914400" rtl="0" eaLnBrk="1" latinLnBrk="0" hangingPunct="1">
              <a:spcBef>
                <a:spcPct val="20000"/>
              </a:spcBef>
              <a:spcAft>
                <a:spcPts val="6000"/>
              </a:spcAft>
              <a:buFont typeface="Arial" pitchFamily="34" charset="0"/>
              <a:buNone/>
              <a:defRPr sz="3200" kern="1200">
                <a:solidFill>
                  <a:schemeClr val="accent1"/>
                </a:solidFill>
                <a:latin typeface="+mn-lt"/>
                <a:ea typeface="+mn-ea"/>
                <a:cs typeface="+mn-cs"/>
              </a:defRPr>
            </a:lvl1pPr>
            <a:lvl2pPr marL="0" indent="0" algn="l" defTabSz="914400" rtl="0" eaLnBrk="1" latinLnBrk="0" hangingPunct="1">
              <a:spcBef>
                <a:spcPct val="20000"/>
              </a:spcBef>
              <a:buFont typeface="Wingdings" charset="2"/>
              <a:buNone/>
              <a:defRPr sz="1400" kern="1200">
                <a:solidFill>
                  <a:schemeClr val="tx1">
                    <a:lumMod val="50000"/>
                    <a:lumOff val="50000"/>
                  </a:schemeClr>
                </a:solidFill>
                <a:latin typeface="+mn-lt"/>
                <a:ea typeface="+mn-ea"/>
                <a:cs typeface="+mn-cs"/>
              </a:defRPr>
            </a:lvl2pPr>
            <a:lvl3pPr marL="1143000" indent="-228600" algn="l" defTabSz="914400" rtl="0" eaLnBrk="1" latinLnBrk="0" hangingPunct="1">
              <a:spcBef>
                <a:spcPct val="20000"/>
              </a:spcBef>
              <a:buFont typeface="Lucida Grande"/>
              <a:buChar char="–"/>
              <a:defRPr sz="16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fontAlgn="auto">
              <a:defRPr/>
            </a:pPr>
            <a:r>
              <a:rPr lang="en-US" baseline="0" dirty="0">
                <a:solidFill>
                  <a:srgbClr val="00ADEF"/>
                </a:solidFill>
                <a:latin typeface="+mn-lt"/>
              </a:rPr>
              <a:t>
              </a:t>
            </a:r>
            <a:br>
              <a:rPr lang="en-US" baseline="0" dirty="0">
                <a:solidFill>
                  <a:srgbClr val="00ADEF"/>
                </a:solidFill>
                <a:latin typeface="+mn-lt"/>
              </a:rPr>
            </a:br>
            <a:endParaRPr lang="en-US" baseline="0" dirty="0">
              <a:solidFill>
                <a:srgbClr val="00ADEF"/>
              </a:solidFill>
              <a:latin typeface="+mn-lt"/>
            </a:endParaRPr>
          </a:p>
        </p:txBody>
      </p:sp>
      <p:graphicFrame>
        <p:nvGraphicFramePr>
          <p:cNvPr id="3" name="Object 2"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8868"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Working Draft Text" hidden="1"/>
          <p:cNvSpPr txBox="1">
            <a:spLocks noChangeArrowheads="1"/>
          </p:cNvSpPr>
          <p:nvPr/>
        </p:nvSpPr>
        <p:spPr bwMode="black">
          <a:xfrm>
            <a:off x="5992719" y="6287538"/>
            <a:ext cx="2790000"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800" b="1" baseline="0" dirty="0">
                <a:solidFill>
                  <a:srgbClr val="FFFFFF"/>
                </a:solidFill>
                <a:latin typeface="+mn-lt"/>
              </a:rPr>
              <a:t>WORKING DRAFT</a:t>
            </a:r>
          </a:p>
        </p:txBody>
      </p:sp>
      <p:sp>
        <p:nvSpPr>
          <p:cNvPr id="6" name="Working Draft" hidden="1"/>
          <p:cNvSpPr txBox="1">
            <a:spLocks noChangeArrowheads="1"/>
          </p:cNvSpPr>
          <p:nvPr/>
        </p:nvSpPr>
        <p:spPr bwMode="black">
          <a:xfrm>
            <a:off x="5992718" y="6410648"/>
            <a:ext cx="2968719"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800" baseline="0">
                <a:solidFill>
                  <a:srgbClr val="FFFFFF"/>
                </a:solidFill>
                <a:latin typeface="+mn-lt"/>
              </a:rPr>
              <a:t>Last Modified 21/05/2018 17:44 India Standard Time</a:t>
            </a:r>
            <a:endParaRPr lang="en-US" sz="800" baseline="0" dirty="0">
              <a:solidFill>
                <a:srgbClr val="FFFFFF"/>
              </a:solidFill>
              <a:latin typeface="+mn-lt"/>
            </a:endParaRPr>
          </a:p>
        </p:txBody>
      </p:sp>
      <p:sp>
        <p:nvSpPr>
          <p:cNvPr id="7" name="Printed" hidden="1"/>
          <p:cNvSpPr txBox="1">
            <a:spLocks noChangeArrowheads="1"/>
          </p:cNvSpPr>
          <p:nvPr/>
        </p:nvSpPr>
        <p:spPr bwMode="black">
          <a:xfrm>
            <a:off x="5992719" y="6533759"/>
            <a:ext cx="2790000"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800" baseline="0" dirty="0">
                <a:solidFill>
                  <a:srgbClr val="FFFFFF"/>
                </a:solidFill>
                <a:latin typeface="+mn-lt"/>
              </a:rPr>
              <a:t>Printed</a:t>
            </a:r>
          </a:p>
        </p:txBody>
      </p:sp>
      <p:sp>
        <p:nvSpPr>
          <p:cNvPr id="13314" name="Title"/>
          <p:cNvSpPr>
            <a:spLocks noGrp="1" noChangeArrowheads="1"/>
          </p:cNvSpPr>
          <p:nvPr>
            <p:ph type="ctrTitle"/>
          </p:nvPr>
        </p:nvSpPr>
        <p:spPr>
          <a:xfrm>
            <a:off x="2268266" y="1434419"/>
            <a:ext cx="6231663" cy="492443"/>
          </a:xfrm>
          <a:prstGeom prst="rect">
            <a:avLst/>
          </a:prstGeom>
        </p:spPr>
        <p:txBody>
          <a:bodyPr>
            <a:spAutoFit/>
          </a:bodyPr>
          <a:lstStyle>
            <a:lvl1pPr>
              <a:defRPr sz="3200" b="0" baseline="0">
                <a:solidFill>
                  <a:schemeClr val="accent2"/>
                </a:solidFill>
                <a:latin typeface="+mj-lt"/>
                <a:ea typeface="+mj-ea"/>
              </a:defRPr>
            </a:lvl1pPr>
          </a:lstStyle>
          <a:p>
            <a:pPr lvl="0" latinLnBrk="0"/>
            <a:r>
              <a:rPr lang="en-US" noProof="0"/>
              <a:t>Click to edit Master title style</a:t>
            </a:r>
            <a:endParaRPr lang="en-US" noProof="0" dirty="0"/>
          </a:p>
        </p:txBody>
      </p:sp>
      <p:sp>
        <p:nvSpPr>
          <p:cNvPr id="13315" name="Subtitle"/>
          <p:cNvSpPr>
            <a:spLocks noGrp="1" noChangeArrowheads="1"/>
          </p:cNvSpPr>
          <p:nvPr>
            <p:ph type="subTitle" idx="1"/>
          </p:nvPr>
        </p:nvSpPr>
        <p:spPr>
          <a:xfrm>
            <a:off x="2268266" y="2819401"/>
            <a:ext cx="6231663" cy="215444"/>
          </a:xfrm>
          <a:prstGeom prst="rect">
            <a:avLst/>
          </a:prstGeom>
        </p:spPr>
        <p:txBody>
          <a:bodyPr wrap="square">
            <a:spAutoFit/>
          </a:bodyPr>
          <a:lstStyle>
            <a:lvl1pPr>
              <a:defRPr sz="1400" cap="all" baseline="0">
                <a:solidFill>
                  <a:schemeClr val="bg1"/>
                </a:solidFill>
                <a:latin typeface="+mn-lt"/>
                <a:ea typeface="+mn-ea"/>
              </a:defRPr>
            </a:lvl1pPr>
          </a:lstStyle>
          <a:p>
            <a:pPr lvl="0" latinLnBrk="0"/>
            <a:r>
              <a:rPr lang="en-US" noProof="0"/>
              <a:t>Click to edit Master subtitle style</a:t>
            </a:r>
            <a:endParaRPr lang="en-US" noProof="0" dirty="0"/>
          </a:p>
        </p:txBody>
      </p:sp>
      <p:sp>
        <p:nvSpPr>
          <p:cNvPr id="57" name="Document type" hidden="1"/>
          <p:cNvSpPr txBox="1">
            <a:spLocks noChangeArrowheads="1"/>
          </p:cNvSpPr>
          <p:nvPr/>
        </p:nvSpPr>
        <p:spPr bwMode="gray">
          <a:xfrm>
            <a:off x="2268266" y="3227411"/>
            <a:ext cx="6231663"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00" baseline="0" dirty="0">
                <a:solidFill>
                  <a:schemeClr val="bg1"/>
                </a:solidFill>
                <a:latin typeface="+mn-lt"/>
              </a:rPr>
              <a:t>Document type | Date</a:t>
            </a:r>
          </a:p>
        </p:txBody>
      </p:sp>
      <p:sp>
        <p:nvSpPr>
          <p:cNvPr id="5" name="doc id" hidden="1"/>
          <p:cNvSpPr txBox="1">
            <a:spLocks noChangeArrowheads="1"/>
          </p:cNvSpPr>
          <p:nvPr/>
        </p:nvSpPr>
        <p:spPr bwMode="white">
          <a:xfrm>
            <a:off x="8443913" y="36513"/>
            <a:ext cx="295275" cy="1222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hangingPunct="1">
              <a:defRPr/>
            </a:pPr>
            <a:endParaRPr lang="en-US" sz="800" baseline="0" dirty="0">
              <a:solidFill>
                <a:srgbClr val="FFFFFF"/>
              </a:solidFill>
              <a:latin typeface="+mn-lt"/>
            </a:endParaRPr>
          </a:p>
        </p:txBody>
      </p:sp>
      <p:sp>
        <p:nvSpPr>
          <p:cNvPr id="43" name="LogoImage"/>
          <p:cNvSpPr>
            <a:spLocks noEditPoints="1"/>
          </p:cNvSpPr>
          <p:nvPr/>
        </p:nvSpPr>
        <p:spPr bwMode="white">
          <a:xfrm>
            <a:off x="2269098" y="182925"/>
            <a:ext cx="2176978" cy="238073"/>
          </a:xfrm>
          <a:custGeom>
            <a:avLst/>
            <a:gdLst>
              <a:gd name="T0" fmla="*/ 504 w 5516"/>
              <a:gd name="T1" fmla="*/ 26 h 606"/>
              <a:gd name="T2" fmla="*/ 18 w 5516"/>
              <a:gd name="T3" fmla="*/ 22 h 606"/>
              <a:gd name="T4" fmla="*/ 140 w 5516"/>
              <a:gd name="T5" fmla="*/ 436 h 606"/>
              <a:gd name="T6" fmla="*/ 408 w 5516"/>
              <a:gd name="T7" fmla="*/ 372 h 606"/>
              <a:gd name="T8" fmla="*/ 696 w 5516"/>
              <a:gd name="T9" fmla="*/ 422 h 606"/>
              <a:gd name="T10" fmla="*/ 768 w 5516"/>
              <a:gd name="T11" fmla="*/ 196 h 606"/>
              <a:gd name="T12" fmla="*/ 1272 w 5516"/>
              <a:gd name="T13" fmla="*/ 26 h 606"/>
              <a:gd name="T14" fmla="*/ 1302 w 5516"/>
              <a:gd name="T15" fmla="*/ 338 h 606"/>
              <a:gd name="T16" fmla="*/ 1202 w 5516"/>
              <a:gd name="T17" fmla="*/ 436 h 606"/>
              <a:gd name="T18" fmla="*/ 1030 w 5516"/>
              <a:gd name="T19" fmla="*/ 10 h 606"/>
              <a:gd name="T20" fmla="*/ 960 w 5516"/>
              <a:gd name="T21" fmla="*/ 22 h 606"/>
              <a:gd name="T22" fmla="*/ 804 w 5516"/>
              <a:gd name="T23" fmla="*/ 434 h 606"/>
              <a:gd name="T24" fmla="*/ 930 w 5516"/>
              <a:gd name="T25" fmla="*/ 246 h 606"/>
              <a:gd name="T26" fmla="*/ 1658 w 5516"/>
              <a:gd name="T27" fmla="*/ 342 h 606"/>
              <a:gd name="T28" fmla="*/ 1368 w 5516"/>
              <a:gd name="T29" fmla="*/ 188 h 606"/>
              <a:gd name="T30" fmla="*/ 1514 w 5516"/>
              <a:gd name="T31" fmla="*/ 436 h 606"/>
              <a:gd name="T32" fmla="*/ 1564 w 5516"/>
              <a:gd name="T33" fmla="*/ 434 h 606"/>
              <a:gd name="T34" fmla="*/ 1904 w 5516"/>
              <a:gd name="T35" fmla="*/ 184 h 606"/>
              <a:gd name="T36" fmla="*/ 1728 w 5516"/>
              <a:gd name="T37" fmla="*/ 366 h 606"/>
              <a:gd name="T38" fmla="*/ 2102 w 5516"/>
              <a:gd name="T39" fmla="*/ 192 h 606"/>
              <a:gd name="T40" fmla="*/ 1982 w 5516"/>
              <a:gd name="T41" fmla="*/ 320 h 606"/>
              <a:gd name="T42" fmla="*/ 2478 w 5516"/>
              <a:gd name="T43" fmla="*/ 242 h 606"/>
              <a:gd name="T44" fmla="*/ 2406 w 5516"/>
              <a:gd name="T45" fmla="*/ 390 h 606"/>
              <a:gd name="T46" fmla="*/ 2234 w 5516"/>
              <a:gd name="T47" fmla="*/ 192 h 606"/>
              <a:gd name="T48" fmla="*/ 2478 w 5516"/>
              <a:gd name="T49" fmla="*/ 242 h 606"/>
              <a:gd name="T50" fmla="*/ 2928 w 5516"/>
              <a:gd name="T51" fmla="*/ 448 h 606"/>
              <a:gd name="T52" fmla="*/ 2958 w 5516"/>
              <a:gd name="T53" fmla="*/ 230 h 606"/>
              <a:gd name="T54" fmla="*/ 2716 w 5516"/>
              <a:gd name="T55" fmla="*/ 54 h 606"/>
              <a:gd name="T56" fmla="*/ 2714 w 5516"/>
              <a:gd name="T57" fmla="*/ 36 h 606"/>
              <a:gd name="T58" fmla="*/ 2928 w 5516"/>
              <a:gd name="T59" fmla="*/ 448 h 606"/>
              <a:gd name="T60" fmla="*/ 3388 w 5516"/>
              <a:gd name="T61" fmla="*/ 4 h 606"/>
              <a:gd name="T62" fmla="*/ 3396 w 5516"/>
              <a:gd name="T63" fmla="*/ 366 h 606"/>
              <a:gd name="T64" fmla="*/ 3580 w 5516"/>
              <a:gd name="T65" fmla="*/ 190 h 606"/>
              <a:gd name="T66" fmla="*/ 3502 w 5516"/>
              <a:gd name="T67" fmla="*/ 432 h 606"/>
              <a:gd name="T68" fmla="*/ 4232 w 5516"/>
              <a:gd name="T69" fmla="*/ 348 h 606"/>
              <a:gd name="T70" fmla="*/ 3858 w 5516"/>
              <a:gd name="T71" fmla="*/ 176 h 606"/>
              <a:gd name="T72" fmla="*/ 3758 w 5516"/>
              <a:gd name="T73" fmla="*/ 446 h 606"/>
              <a:gd name="T74" fmla="*/ 3990 w 5516"/>
              <a:gd name="T75" fmla="*/ 282 h 606"/>
              <a:gd name="T76" fmla="*/ 4042 w 5516"/>
              <a:gd name="T77" fmla="*/ 342 h 606"/>
              <a:gd name="T78" fmla="*/ 4134 w 5516"/>
              <a:gd name="T79" fmla="*/ 448 h 606"/>
              <a:gd name="T80" fmla="*/ 4454 w 5516"/>
              <a:gd name="T81" fmla="*/ 202 h 606"/>
              <a:gd name="T82" fmla="*/ 4284 w 5516"/>
              <a:gd name="T83" fmla="*/ 174 h 606"/>
              <a:gd name="T84" fmla="*/ 4432 w 5516"/>
              <a:gd name="T85" fmla="*/ 588 h 606"/>
              <a:gd name="T86" fmla="*/ 4792 w 5516"/>
              <a:gd name="T87" fmla="*/ 382 h 606"/>
              <a:gd name="T88" fmla="*/ 5192 w 5516"/>
              <a:gd name="T89" fmla="*/ 340 h 606"/>
              <a:gd name="T90" fmla="*/ 4902 w 5516"/>
              <a:gd name="T91" fmla="*/ 186 h 606"/>
              <a:gd name="T92" fmla="*/ 4850 w 5516"/>
              <a:gd name="T93" fmla="*/ 274 h 606"/>
              <a:gd name="T94" fmla="*/ 4742 w 5516"/>
              <a:gd name="T95" fmla="*/ 194 h 606"/>
              <a:gd name="T96" fmla="*/ 4794 w 5516"/>
              <a:gd name="T97" fmla="*/ 418 h 606"/>
              <a:gd name="T98" fmla="*/ 5004 w 5516"/>
              <a:gd name="T99" fmla="*/ 338 h 606"/>
              <a:gd name="T100" fmla="*/ 5098 w 5516"/>
              <a:gd name="T101" fmla="*/ 446 h 606"/>
              <a:gd name="T102" fmla="*/ 5418 w 5516"/>
              <a:gd name="T103" fmla="*/ 192 h 606"/>
              <a:gd name="T104" fmla="*/ 5348 w 5516"/>
              <a:gd name="T105" fmla="*/ 180 h 606"/>
              <a:gd name="T106" fmla="*/ 5254 w 5516"/>
              <a:gd name="T107" fmla="*/ 606 h 6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516" h="606">
                <a:moveTo>
                  <a:pt x="366" y="448"/>
                </a:moveTo>
                <a:cubicBezTo>
                  <a:pt x="524" y="448"/>
                  <a:pt x="524" y="448"/>
                  <a:pt x="524" y="448"/>
                </a:cubicBezTo>
                <a:cubicBezTo>
                  <a:pt x="524" y="436"/>
                  <a:pt x="524" y="436"/>
                  <a:pt x="524" y="436"/>
                </a:cubicBezTo>
                <a:cubicBezTo>
                  <a:pt x="486" y="432"/>
                  <a:pt x="470" y="414"/>
                  <a:pt x="468" y="362"/>
                </a:cubicBezTo>
                <a:cubicBezTo>
                  <a:pt x="454" y="86"/>
                  <a:pt x="454" y="86"/>
                  <a:pt x="454" y="86"/>
                </a:cubicBezTo>
                <a:cubicBezTo>
                  <a:pt x="452" y="46"/>
                  <a:pt x="470" y="30"/>
                  <a:pt x="504" y="26"/>
                </a:cubicBezTo>
                <a:cubicBezTo>
                  <a:pt x="504" y="12"/>
                  <a:pt x="504" y="12"/>
                  <a:pt x="504" y="12"/>
                </a:cubicBezTo>
                <a:cubicBezTo>
                  <a:pt x="394" y="12"/>
                  <a:pt x="394" y="12"/>
                  <a:pt x="394" y="12"/>
                </a:cubicBezTo>
                <a:cubicBezTo>
                  <a:pt x="264" y="350"/>
                  <a:pt x="264" y="350"/>
                  <a:pt x="264" y="350"/>
                </a:cubicBezTo>
                <a:cubicBezTo>
                  <a:pt x="132" y="10"/>
                  <a:pt x="132" y="10"/>
                  <a:pt x="132" y="10"/>
                </a:cubicBezTo>
                <a:cubicBezTo>
                  <a:pt x="18" y="10"/>
                  <a:pt x="18" y="10"/>
                  <a:pt x="18" y="10"/>
                </a:cubicBezTo>
                <a:cubicBezTo>
                  <a:pt x="18" y="22"/>
                  <a:pt x="18" y="22"/>
                  <a:pt x="18" y="22"/>
                </a:cubicBezTo>
                <a:cubicBezTo>
                  <a:pt x="40" y="26"/>
                  <a:pt x="74" y="32"/>
                  <a:pt x="72" y="84"/>
                </a:cubicBezTo>
                <a:cubicBezTo>
                  <a:pt x="58" y="352"/>
                  <a:pt x="58" y="352"/>
                  <a:pt x="58" y="352"/>
                </a:cubicBezTo>
                <a:cubicBezTo>
                  <a:pt x="54" y="410"/>
                  <a:pt x="38" y="430"/>
                  <a:pt x="0" y="436"/>
                </a:cubicBezTo>
                <a:cubicBezTo>
                  <a:pt x="0" y="448"/>
                  <a:pt x="0" y="448"/>
                  <a:pt x="0" y="448"/>
                </a:cubicBezTo>
                <a:cubicBezTo>
                  <a:pt x="140" y="448"/>
                  <a:pt x="140" y="448"/>
                  <a:pt x="140" y="448"/>
                </a:cubicBezTo>
                <a:cubicBezTo>
                  <a:pt x="140" y="436"/>
                  <a:pt x="140" y="436"/>
                  <a:pt x="140" y="436"/>
                </a:cubicBezTo>
                <a:cubicBezTo>
                  <a:pt x="98" y="428"/>
                  <a:pt x="84" y="414"/>
                  <a:pt x="88" y="356"/>
                </a:cubicBezTo>
                <a:cubicBezTo>
                  <a:pt x="100" y="86"/>
                  <a:pt x="100" y="86"/>
                  <a:pt x="100" y="86"/>
                </a:cubicBezTo>
                <a:cubicBezTo>
                  <a:pt x="240" y="444"/>
                  <a:pt x="240" y="444"/>
                  <a:pt x="240" y="444"/>
                </a:cubicBezTo>
                <a:cubicBezTo>
                  <a:pt x="258" y="444"/>
                  <a:pt x="258" y="444"/>
                  <a:pt x="258" y="444"/>
                </a:cubicBezTo>
                <a:cubicBezTo>
                  <a:pt x="396" y="86"/>
                  <a:pt x="396" y="86"/>
                  <a:pt x="396" y="86"/>
                </a:cubicBezTo>
                <a:cubicBezTo>
                  <a:pt x="408" y="372"/>
                  <a:pt x="408" y="372"/>
                  <a:pt x="408" y="372"/>
                </a:cubicBezTo>
                <a:cubicBezTo>
                  <a:pt x="410" y="416"/>
                  <a:pt x="398" y="430"/>
                  <a:pt x="366" y="434"/>
                </a:cubicBezTo>
                <a:lnTo>
                  <a:pt x="366" y="448"/>
                </a:lnTo>
                <a:close/>
                <a:moveTo>
                  <a:pt x="670" y="456"/>
                </a:moveTo>
                <a:cubicBezTo>
                  <a:pt x="708" y="456"/>
                  <a:pt x="756" y="440"/>
                  <a:pt x="782" y="412"/>
                </a:cubicBezTo>
                <a:cubicBezTo>
                  <a:pt x="776" y="400"/>
                  <a:pt x="776" y="400"/>
                  <a:pt x="776" y="400"/>
                </a:cubicBezTo>
                <a:cubicBezTo>
                  <a:pt x="750" y="416"/>
                  <a:pt x="722" y="422"/>
                  <a:pt x="696" y="422"/>
                </a:cubicBezTo>
                <a:cubicBezTo>
                  <a:pt x="620" y="422"/>
                  <a:pt x="592" y="358"/>
                  <a:pt x="592" y="290"/>
                </a:cubicBezTo>
                <a:cubicBezTo>
                  <a:pt x="592" y="258"/>
                  <a:pt x="600" y="236"/>
                  <a:pt x="614" y="222"/>
                </a:cubicBezTo>
                <a:cubicBezTo>
                  <a:pt x="626" y="210"/>
                  <a:pt x="646" y="204"/>
                  <a:pt x="664" y="204"/>
                </a:cubicBezTo>
                <a:cubicBezTo>
                  <a:pt x="690" y="204"/>
                  <a:pt x="722" y="214"/>
                  <a:pt x="744" y="244"/>
                </a:cubicBezTo>
                <a:cubicBezTo>
                  <a:pt x="750" y="244"/>
                  <a:pt x="750" y="244"/>
                  <a:pt x="750" y="244"/>
                </a:cubicBezTo>
                <a:cubicBezTo>
                  <a:pt x="758" y="234"/>
                  <a:pt x="766" y="212"/>
                  <a:pt x="768" y="196"/>
                </a:cubicBezTo>
                <a:cubicBezTo>
                  <a:pt x="748" y="180"/>
                  <a:pt x="720" y="172"/>
                  <a:pt x="686" y="172"/>
                </a:cubicBezTo>
                <a:cubicBezTo>
                  <a:pt x="604" y="172"/>
                  <a:pt x="544" y="246"/>
                  <a:pt x="544" y="326"/>
                </a:cubicBezTo>
                <a:cubicBezTo>
                  <a:pt x="540" y="390"/>
                  <a:pt x="576" y="456"/>
                  <a:pt x="670" y="456"/>
                </a:cubicBezTo>
                <a:moveTo>
                  <a:pt x="1272" y="98"/>
                </a:moveTo>
                <a:cubicBezTo>
                  <a:pt x="1292" y="98"/>
                  <a:pt x="1308" y="82"/>
                  <a:pt x="1308" y="62"/>
                </a:cubicBezTo>
                <a:cubicBezTo>
                  <a:pt x="1308" y="42"/>
                  <a:pt x="1292" y="26"/>
                  <a:pt x="1272" y="26"/>
                </a:cubicBezTo>
                <a:cubicBezTo>
                  <a:pt x="1252" y="26"/>
                  <a:pt x="1238" y="42"/>
                  <a:pt x="1238" y="62"/>
                </a:cubicBezTo>
                <a:cubicBezTo>
                  <a:pt x="1238" y="82"/>
                  <a:pt x="1252" y="98"/>
                  <a:pt x="1272" y="98"/>
                </a:cubicBezTo>
                <a:moveTo>
                  <a:pt x="1202" y="448"/>
                </a:moveTo>
                <a:cubicBezTo>
                  <a:pt x="1346" y="448"/>
                  <a:pt x="1346" y="448"/>
                  <a:pt x="1346" y="448"/>
                </a:cubicBezTo>
                <a:cubicBezTo>
                  <a:pt x="1346" y="436"/>
                  <a:pt x="1346" y="436"/>
                  <a:pt x="1346" y="436"/>
                </a:cubicBezTo>
                <a:cubicBezTo>
                  <a:pt x="1304" y="432"/>
                  <a:pt x="1302" y="434"/>
                  <a:pt x="1302" y="338"/>
                </a:cubicBezTo>
                <a:cubicBezTo>
                  <a:pt x="1302" y="176"/>
                  <a:pt x="1302" y="176"/>
                  <a:pt x="1302" y="176"/>
                </a:cubicBezTo>
                <a:cubicBezTo>
                  <a:pt x="1200" y="176"/>
                  <a:pt x="1200" y="176"/>
                  <a:pt x="1200" y="176"/>
                </a:cubicBezTo>
                <a:cubicBezTo>
                  <a:pt x="1200" y="188"/>
                  <a:pt x="1200" y="188"/>
                  <a:pt x="1200" y="188"/>
                </a:cubicBezTo>
                <a:cubicBezTo>
                  <a:pt x="1244" y="190"/>
                  <a:pt x="1250" y="192"/>
                  <a:pt x="1250" y="268"/>
                </a:cubicBezTo>
                <a:cubicBezTo>
                  <a:pt x="1250" y="336"/>
                  <a:pt x="1250" y="336"/>
                  <a:pt x="1250" y="336"/>
                </a:cubicBezTo>
                <a:cubicBezTo>
                  <a:pt x="1250" y="432"/>
                  <a:pt x="1248" y="432"/>
                  <a:pt x="1202" y="436"/>
                </a:cubicBezTo>
                <a:cubicBezTo>
                  <a:pt x="1178" y="434"/>
                  <a:pt x="1154" y="426"/>
                  <a:pt x="1076" y="338"/>
                </a:cubicBezTo>
                <a:cubicBezTo>
                  <a:pt x="1046" y="302"/>
                  <a:pt x="996" y="244"/>
                  <a:pt x="968" y="206"/>
                </a:cubicBezTo>
                <a:cubicBezTo>
                  <a:pt x="1062" y="102"/>
                  <a:pt x="1062" y="102"/>
                  <a:pt x="1062" y="102"/>
                </a:cubicBezTo>
                <a:cubicBezTo>
                  <a:pt x="1108" y="52"/>
                  <a:pt x="1132" y="26"/>
                  <a:pt x="1176" y="24"/>
                </a:cubicBezTo>
                <a:cubicBezTo>
                  <a:pt x="1176" y="10"/>
                  <a:pt x="1176" y="10"/>
                  <a:pt x="1176" y="10"/>
                </a:cubicBezTo>
                <a:cubicBezTo>
                  <a:pt x="1030" y="10"/>
                  <a:pt x="1030" y="10"/>
                  <a:pt x="1030" y="10"/>
                </a:cubicBezTo>
                <a:cubicBezTo>
                  <a:pt x="1030" y="22"/>
                  <a:pt x="1030" y="22"/>
                  <a:pt x="1030" y="22"/>
                </a:cubicBezTo>
                <a:cubicBezTo>
                  <a:pt x="1050" y="26"/>
                  <a:pt x="1056" y="32"/>
                  <a:pt x="1056" y="46"/>
                </a:cubicBezTo>
                <a:cubicBezTo>
                  <a:pt x="1056" y="56"/>
                  <a:pt x="1054" y="72"/>
                  <a:pt x="1026" y="102"/>
                </a:cubicBezTo>
                <a:cubicBezTo>
                  <a:pt x="910" y="230"/>
                  <a:pt x="910" y="230"/>
                  <a:pt x="910" y="230"/>
                </a:cubicBezTo>
                <a:cubicBezTo>
                  <a:pt x="910" y="148"/>
                  <a:pt x="910" y="148"/>
                  <a:pt x="910" y="148"/>
                </a:cubicBezTo>
                <a:cubicBezTo>
                  <a:pt x="910" y="36"/>
                  <a:pt x="916" y="28"/>
                  <a:pt x="960" y="22"/>
                </a:cubicBezTo>
                <a:cubicBezTo>
                  <a:pt x="960" y="8"/>
                  <a:pt x="960" y="8"/>
                  <a:pt x="960" y="8"/>
                </a:cubicBezTo>
                <a:cubicBezTo>
                  <a:pt x="804" y="8"/>
                  <a:pt x="804" y="8"/>
                  <a:pt x="804" y="8"/>
                </a:cubicBezTo>
                <a:cubicBezTo>
                  <a:pt x="804" y="22"/>
                  <a:pt x="804" y="22"/>
                  <a:pt x="804" y="22"/>
                </a:cubicBezTo>
                <a:cubicBezTo>
                  <a:pt x="852" y="26"/>
                  <a:pt x="854" y="36"/>
                  <a:pt x="854" y="148"/>
                </a:cubicBezTo>
                <a:cubicBezTo>
                  <a:pt x="854" y="300"/>
                  <a:pt x="854" y="300"/>
                  <a:pt x="854" y="300"/>
                </a:cubicBezTo>
                <a:cubicBezTo>
                  <a:pt x="854" y="422"/>
                  <a:pt x="850" y="430"/>
                  <a:pt x="804" y="434"/>
                </a:cubicBezTo>
                <a:cubicBezTo>
                  <a:pt x="804" y="446"/>
                  <a:pt x="804" y="446"/>
                  <a:pt x="804" y="446"/>
                </a:cubicBezTo>
                <a:cubicBezTo>
                  <a:pt x="960" y="446"/>
                  <a:pt x="960" y="446"/>
                  <a:pt x="960" y="446"/>
                </a:cubicBezTo>
                <a:cubicBezTo>
                  <a:pt x="960" y="434"/>
                  <a:pt x="960" y="434"/>
                  <a:pt x="960" y="434"/>
                </a:cubicBezTo>
                <a:cubicBezTo>
                  <a:pt x="910" y="428"/>
                  <a:pt x="910" y="424"/>
                  <a:pt x="910" y="292"/>
                </a:cubicBezTo>
                <a:cubicBezTo>
                  <a:pt x="910" y="268"/>
                  <a:pt x="910" y="268"/>
                  <a:pt x="910" y="268"/>
                </a:cubicBezTo>
                <a:cubicBezTo>
                  <a:pt x="930" y="246"/>
                  <a:pt x="930" y="246"/>
                  <a:pt x="930" y="246"/>
                </a:cubicBezTo>
                <a:cubicBezTo>
                  <a:pt x="982" y="310"/>
                  <a:pt x="1038" y="380"/>
                  <a:pt x="1098" y="448"/>
                </a:cubicBezTo>
                <a:cubicBezTo>
                  <a:pt x="1202" y="448"/>
                  <a:pt x="1202" y="448"/>
                  <a:pt x="1202" y="448"/>
                </a:cubicBezTo>
                <a:close/>
                <a:moveTo>
                  <a:pt x="1564" y="448"/>
                </a:moveTo>
                <a:cubicBezTo>
                  <a:pt x="1706" y="448"/>
                  <a:pt x="1706" y="448"/>
                  <a:pt x="1706" y="448"/>
                </a:cubicBezTo>
                <a:cubicBezTo>
                  <a:pt x="1706" y="436"/>
                  <a:pt x="1706" y="436"/>
                  <a:pt x="1706" y="436"/>
                </a:cubicBezTo>
                <a:cubicBezTo>
                  <a:pt x="1658" y="434"/>
                  <a:pt x="1658" y="432"/>
                  <a:pt x="1658" y="342"/>
                </a:cubicBezTo>
                <a:cubicBezTo>
                  <a:pt x="1658" y="280"/>
                  <a:pt x="1658" y="280"/>
                  <a:pt x="1658" y="280"/>
                </a:cubicBezTo>
                <a:cubicBezTo>
                  <a:pt x="1658" y="198"/>
                  <a:pt x="1612" y="172"/>
                  <a:pt x="1570" y="172"/>
                </a:cubicBezTo>
                <a:cubicBezTo>
                  <a:pt x="1534" y="172"/>
                  <a:pt x="1498" y="188"/>
                  <a:pt x="1470" y="224"/>
                </a:cubicBezTo>
                <a:cubicBezTo>
                  <a:pt x="1470" y="176"/>
                  <a:pt x="1470" y="176"/>
                  <a:pt x="1470" y="176"/>
                </a:cubicBezTo>
                <a:cubicBezTo>
                  <a:pt x="1368" y="176"/>
                  <a:pt x="1368" y="176"/>
                  <a:pt x="1368" y="176"/>
                </a:cubicBezTo>
                <a:cubicBezTo>
                  <a:pt x="1368" y="188"/>
                  <a:pt x="1368" y="188"/>
                  <a:pt x="1368" y="188"/>
                </a:cubicBezTo>
                <a:cubicBezTo>
                  <a:pt x="1412" y="190"/>
                  <a:pt x="1418" y="192"/>
                  <a:pt x="1418" y="268"/>
                </a:cubicBezTo>
                <a:cubicBezTo>
                  <a:pt x="1418" y="336"/>
                  <a:pt x="1418" y="336"/>
                  <a:pt x="1418" y="336"/>
                </a:cubicBezTo>
                <a:cubicBezTo>
                  <a:pt x="1418" y="434"/>
                  <a:pt x="1418" y="434"/>
                  <a:pt x="1370" y="436"/>
                </a:cubicBezTo>
                <a:cubicBezTo>
                  <a:pt x="1370" y="448"/>
                  <a:pt x="1370" y="448"/>
                  <a:pt x="1370" y="448"/>
                </a:cubicBezTo>
                <a:cubicBezTo>
                  <a:pt x="1514" y="448"/>
                  <a:pt x="1514" y="448"/>
                  <a:pt x="1514" y="448"/>
                </a:cubicBezTo>
                <a:cubicBezTo>
                  <a:pt x="1514" y="436"/>
                  <a:pt x="1514" y="436"/>
                  <a:pt x="1514" y="436"/>
                </a:cubicBezTo>
                <a:cubicBezTo>
                  <a:pt x="1472" y="432"/>
                  <a:pt x="1470" y="434"/>
                  <a:pt x="1470" y="338"/>
                </a:cubicBezTo>
                <a:cubicBezTo>
                  <a:pt x="1470" y="262"/>
                  <a:pt x="1470" y="262"/>
                  <a:pt x="1470" y="262"/>
                </a:cubicBezTo>
                <a:cubicBezTo>
                  <a:pt x="1470" y="236"/>
                  <a:pt x="1504" y="206"/>
                  <a:pt x="1546" y="206"/>
                </a:cubicBezTo>
                <a:cubicBezTo>
                  <a:pt x="1580" y="206"/>
                  <a:pt x="1606" y="220"/>
                  <a:pt x="1606" y="286"/>
                </a:cubicBezTo>
                <a:cubicBezTo>
                  <a:pt x="1606" y="340"/>
                  <a:pt x="1606" y="340"/>
                  <a:pt x="1606" y="340"/>
                </a:cubicBezTo>
                <a:cubicBezTo>
                  <a:pt x="1606" y="432"/>
                  <a:pt x="1602" y="432"/>
                  <a:pt x="1564" y="434"/>
                </a:cubicBezTo>
                <a:lnTo>
                  <a:pt x="1564" y="448"/>
                </a:lnTo>
                <a:close/>
                <a:moveTo>
                  <a:pt x="1776" y="222"/>
                </a:moveTo>
                <a:cubicBezTo>
                  <a:pt x="1776" y="200"/>
                  <a:pt x="1796" y="188"/>
                  <a:pt x="1822" y="188"/>
                </a:cubicBezTo>
                <a:cubicBezTo>
                  <a:pt x="1874" y="188"/>
                  <a:pt x="1896" y="236"/>
                  <a:pt x="1900" y="252"/>
                </a:cubicBezTo>
                <a:cubicBezTo>
                  <a:pt x="1912" y="252"/>
                  <a:pt x="1912" y="252"/>
                  <a:pt x="1912" y="252"/>
                </a:cubicBezTo>
                <a:cubicBezTo>
                  <a:pt x="1912" y="212"/>
                  <a:pt x="1908" y="188"/>
                  <a:pt x="1904" y="184"/>
                </a:cubicBezTo>
                <a:cubicBezTo>
                  <a:pt x="1900" y="180"/>
                  <a:pt x="1862" y="170"/>
                  <a:pt x="1824" y="170"/>
                </a:cubicBezTo>
                <a:cubicBezTo>
                  <a:pt x="1768" y="170"/>
                  <a:pt x="1734" y="206"/>
                  <a:pt x="1734" y="248"/>
                </a:cubicBezTo>
                <a:cubicBezTo>
                  <a:pt x="1734" y="340"/>
                  <a:pt x="1890" y="322"/>
                  <a:pt x="1890" y="396"/>
                </a:cubicBezTo>
                <a:cubicBezTo>
                  <a:pt x="1890" y="422"/>
                  <a:pt x="1866" y="436"/>
                  <a:pt x="1826" y="436"/>
                </a:cubicBezTo>
                <a:cubicBezTo>
                  <a:pt x="1788" y="436"/>
                  <a:pt x="1754" y="416"/>
                  <a:pt x="1744" y="366"/>
                </a:cubicBezTo>
                <a:cubicBezTo>
                  <a:pt x="1728" y="366"/>
                  <a:pt x="1728" y="366"/>
                  <a:pt x="1728" y="366"/>
                </a:cubicBezTo>
                <a:cubicBezTo>
                  <a:pt x="1728" y="386"/>
                  <a:pt x="1732" y="422"/>
                  <a:pt x="1734" y="428"/>
                </a:cubicBezTo>
                <a:cubicBezTo>
                  <a:pt x="1744" y="446"/>
                  <a:pt x="1788" y="454"/>
                  <a:pt x="1824" y="454"/>
                </a:cubicBezTo>
                <a:cubicBezTo>
                  <a:pt x="1888" y="454"/>
                  <a:pt x="1928" y="416"/>
                  <a:pt x="1928" y="372"/>
                </a:cubicBezTo>
                <a:cubicBezTo>
                  <a:pt x="1932" y="270"/>
                  <a:pt x="1776" y="286"/>
                  <a:pt x="1776" y="222"/>
                </a:cubicBezTo>
                <a:moveTo>
                  <a:pt x="2030" y="270"/>
                </a:moveTo>
                <a:cubicBezTo>
                  <a:pt x="2034" y="220"/>
                  <a:pt x="2058" y="192"/>
                  <a:pt x="2102" y="192"/>
                </a:cubicBezTo>
                <a:cubicBezTo>
                  <a:pt x="2144" y="192"/>
                  <a:pt x="2170" y="220"/>
                  <a:pt x="2172" y="270"/>
                </a:cubicBezTo>
                <a:lnTo>
                  <a:pt x="2030" y="270"/>
                </a:lnTo>
                <a:close/>
                <a:moveTo>
                  <a:pt x="2030" y="290"/>
                </a:moveTo>
                <a:cubicBezTo>
                  <a:pt x="2222" y="290"/>
                  <a:pt x="2222" y="290"/>
                  <a:pt x="2222" y="290"/>
                </a:cubicBezTo>
                <a:cubicBezTo>
                  <a:pt x="2226" y="228"/>
                  <a:pt x="2192" y="168"/>
                  <a:pt x="2114" y="168"/>
                </a:cubicBezTo>
                <a:cubicBezTo>
                  <a:pt x="2034" y="168"/>
                  <a:pt x="1982" y="232"/>
                  <a:pt x="1982" y="320"/>
                </a:cubicBezTo>
                <a:cubicBezTo>
                  <a:pt x="1982" y="388"/>
                  <a:pt x="2018" y="456"/>
                  <a:pt x="2112" y="456"/>
                </a:cubicBezTo>
                <a:cubicBezTo>
                  <a:pt x="2150" y="456"/>
                  <a:pt x="2198" y="440"/>
                  <a:pt x="2224" y="412"/>
                </a:cubicBezTo>
                <a:cubicBezTo>
                  <a:pt x="2218" y="400"/>
                  <a:pt x="2218" y="400"/>
                  <a:pt x="2218" y="400"/>
                </a:cubicBezTo>
                <a:cubicBezTo>
                  <a:pt x="2192" y="416"/>
                  <a:pt x="2164" y="422"/>
                  <a:pt x="2138" y="422"/>
                </a:cubicBezTo>
                <a:cubicBezTo>
                  <a:pt x="2058" y="420"/>
                  <a:pt x="2028" y="352"/>
                  <a:pt x="2030" y="290"/>
                </a:cubicBezTo>
                <a:moveTo>
                  <a:pt x="2478" y="242"/>
                </a:moveTo>
                <a:cubicBezTo>
                  <a:pt x="2490" y="206"/>
                  <a:pt x="2510" y="192"/>
                  <a:pt x="2528" y="192"/>
                </a:cubicBezTo>
                <a:cubicBezTo>
                  <a:pt x="2528" y="180"/>
                  <a:pt x="2528" y="180"/>
                  <a:pt x="2528" y="180"/>
                </a:cubicBezTo>
                <a:cubicBezTo>
                  <a:pt x="2430" y="180"/>
                  <a:pt x="2430" y="180"/>
                  <a:pt x="2430" y="180"/>
                </a:cubicBezTo>
                <a:cubicBezTo>
                  <a:pt x="2430" y="192"/>
                  <a:pt x="2430" y="192"/>
                  <a:pt x="2430" y="192"/>
                </a:cubicBezTo>
                <a:cubicBezTo>
                  <a:pt x="2454" y="194"/>
                  <a:pt x="2466" y="206"/>
                  <a:pt x="2458" y="234"/>
                </a:cubicBezTo>
                <a:cubicBezTo>
                  <a:pt x="2406" y="390"/>
                  <a:pt x="2406" y="390"/>
                  <a:pt x="2406" y="390"/>
                </a:cubicBezTo>
                <a:cubicBezTo>
                  <a:pt x="2354" y="270"/>
                  <a:pt x="2354" y="270"/>
                  <a:pt x="2354" y="270"/>
                </a:cubicBezTo>
                <a:cubicBezTo>
                  <a:pt x="2340" y="238"/>
                  <a:pt x="2334" y="224"/>
                  <a:pt x="2334" y="212"/>
                </a:cubicBezTo>
                <a:cubicBezTo>
                  <a:pt x="2334" y="202"/>
                  <a:pt x="2340" y="196"/>
                  <a:pt x="2360" y="192"/>
                </a:cubicBezTo>
                <a:cubicBezTo>
                  <a:pt x="2360" y="180"/>
                  <a:pt x="2360" y="180"/>
                  <a:pt x="2360" y="180"/>
                </a:cubicBezTo>
                <a:cubicBezTo>
                  <a:pt x="2234" y="180"/>
                  <a:pt x="2234" y="180"/>
                  <a:pt x="2234" y="180"/>
                </a:cubicBezTo>
                <a:cubicBezTo>
                  <a:pt x="2234" y="192"/>
                  <a:pt x="2234" y="192"/>
                  <a:pt x="2234" y="192"/>
                </a:cubicBezTo>
                <a:cubicBezTo>
                  <a:pt x="2266" y="194"/>
                  <a:pt x="2268" y="198"/>
                  <a:pt x="2310" y="292"/>
                </a:cubicBezTo>
                <a:cubicBezTo>
                  <a:pt x="2382" y="450"/>
                  <a:pt x="2382" y="450"/>
                  <a:pt x="2382" y="450"/>
                </a:cubicBezTo>
                <a:cubicBezTo>
                  <a:pt x="2358" y="512"/>
                  <a:pt x="2320" y="546"/>
                  <a:pt x="2242" y="564"/>
                </a:cubicBezTo>
                <a:cubicBezTo>
                  <a:pt x="2246" y="576"/>
                  <a:pt x="2260" y="600"/>
                  <a:pt x="2268" y="606"/>
                </a:cubicBezTo>
                <a:cubicBezTo>
                  <a:pt x="2370" y="564"/>
                  <a:pt x="2390" y="498"/>
                  <a:pt x="2426" y="396"/>
                </a:cubicBezTo>
                <a:lnTo>
                  <a:pt x="2478" y="242"/>
                </a:lnTo>
                <a:close/>
                <a:moveTo>
                  <a:pt x="2844" y="394"/>
                </a:moveTo>
                <a:cubicBezTo>
                  <a:pt x="2822" y="412"/>
                  <a:pt x="2782" y="416"/>
                  <a:pt x="2750" y="416"/>
                </a:cubicBezTo>
                <a:cubicBezTo>
                  <a:pt x="2670" y="416"/>
                  <a:pt x="2606" y="360"/>
                  <a:pt x="2606" y="284"/>
                </a:cubicBezTo>
                <a:cubicBezTo>
                  <a:pt x="2606" y="236"/>
                  <a:pt x="2626" y="206"/>
                  <a:pt x="2658" y="198"/>
                </a:cubicBezTo>
                <a:cubicBezTo>
                  <a:pt x="2698" y="266"/>
                  <a:pt x="2770" y="338"/>
                  <a:pt x="2844" y="394"/>
                </a:cubicBezTo>
                <a:moveTo>
                  <a:pt x="2928" y="448"/>
                </a:moveTo>
                <a:cubicBezTo>
                  <a:pt x="3022" y="448"/>
                  <a:pt x="3022" y="448"/>
                  <a:pt x="3022" y="448"/>
                </a:cubicBezTo>
                <a:cubicBezTo>
                  <a:pt x="3022" y="436"/>
                  <a:pt x="3022" y="436"/>
                  <a:pt x="3022" y="436"/>
                </a:cubicBezTo>
                <a:cubicBezTo>
                  <a:pt x="2992" y="432"/>
                  <a:pt x="2946" y="408"/>
                  <a:pt x="2896" y="372"/>
                </a:cubicBezTo>
                <a:cubicBezTo>
                  <a:pt x="2914" y="342"/>
                  <a:pt x="2918" y="300"/>
                  <a:pt x="2922" y="270"/>
                </a:cubicBezTo>
                <a:cubicBezTo>
                  <a:pt x="2926" y="244"/>
                  <a:pt x="2946" y="244"/>
                  <a:pt x="2958" y="242"/>
                </a:cubicBezTo>
                <a:cubicBezTo>
                  <a:pt x="2958" y="230"/>
                  <a:pt x="2958" y="230"/>
                  <a:pt x="2958" y="230"/>
                </a:cubicBezTo>
                <a:cubicBezTo>
                  <a:pt x="2834" y="230"/>
                  <a:pt x="2834" y="230"/>
                  <a:pt x="2834" y="230"/>
                </a:cubicBezTo>
                <a:cubicBezTo>
                  <a:pt x="2834" y="242"/>
                  <a:pt x="2834" y="242"/>
                  <a:pt x="2834" y="242"/>
                </a:cubicBezTo>
                <a:cubicBezTo>
                  <a:pt x="2864" y="246"/>
                  <a:pt x="2892" y="250"/>
                  <a:pt x="2892" y="294"/>
                </a:cubicBezTo>
                <a:cubicBezTo>
                  <a:pt x="2892" y="318"/>
                  <a:pt x="2888" y="342"/>
                  <a:pt x="2878" y="358"/>
                </a:cubicBezTo>
                <a:cubicBezTo>
                  <a:pt x="2770" y="274"/>
                  <a:pt x="2670" y="156"/>
                  <a:pt x="2670" y="96"/>
                </a:cubicBezTo>
                <a:cubicBezTo>
                  <a:pt x="2670" y="66"/>
                  <a:pt x="2688" y="54"/>
                  <a:pt x="2716" y="54"/>
                </a:cubicBezTo>
                <a:cubicBezTo>
                  <a:pt x="2752" y="54"/>
                  <a:pt x="2784" y="78"/>
                  <a:pt x="2800" y="124"/>
                </a:cubicBezTo>
                <a:cubicBezTo>
                  <a:pt x="2812" y="124"/>
                  <a:pt x="2812" y="124"/>
                  <a:pt x="2812" y="124"/>
                </a:cubicBezTo>
                <a:cubicBezTo>
                  <a:pt x="2810" y="42"/>
                  <a:pt x="2810" y="42"/>
                  <a:pt x="2810" y="42"/>
                </a:cubicBezTo>
                <a:cubicBezTo>
                  <a:pt x="2798" y="42"/>
                  <a:pt x="2798" y="42"/>
                  <a:pt x="2798" y="42"/>
                </a:cubicBezTo>
                <a:cubicBezTo>
                  <a:pt x="2798" y="48"/>
                  <a:pt x="2792" y="52"/>
                  <a:pt x="2788" y="52"/>
                </a:cubicBezTo>
                <a:cubicBezTo>
                  <a:pt x="2772" y="52"/>
                  <a:pt x="2752" y="36"/>
                  <a:pt x="2714" y="36"/>
                </a:cubicBezTo>
                <a:cubicBezTo>
                  <a:pt x="2672" y="36"/>
                  <a:pt x="2630" y="62"/>
                  <a:pt x="2630" y="118"/>
                </a:cubicBezTo>
                <a:cubicBezTo>
                  <a:pt x="2630" y="140"/>
                  <a:pt x="2636" y="160"/>
                  <a:pt x="2648" y="182"/>
                </a:cubicBezTo>
                <a:cubicBezTo>
                  <a:pt x="2592" y="200"/>
                  <a:pt x="2562" y="248"/>
                  <a:pt x="2562" y="304"/>
                </a:cubicBezTo>
                <a:cubicBezTo>
                  <a:pt x="2562" y="406"/>
                  <a:pt x="2640" y="460"/>
                  <a:pt x="2726" y="460"/>
                </a:cubicBezTo>
                <a:cubicBezTo>
                  <a:pt x="2780" y="460"/>
                  <a:pt x="2824" y="444"/>
                  <a:pt x="2862" y="410"/>
                </a:cubicBezTo>
                <a:cubicBezTo>
                  <a:pt x="2888" y="424"/>
                  <a:pt x="2912" y="442"/>
                  <a:pt x="2928" y="448"/>
                </a:cubicBezTo>
                <a:moveTo>
                  <a:pt x="3094" y="212"/>
                </a:moveTo>
                <a:cubicBezTo>
                  <a:pt x="3094" y="88"/>
                  <a:pt x="3154" y="20"/>
                  <a:pt x="3252" y="20"/>
                </a:cubicBezTo>
                <a:cubicBezTo>
                  <a:pt x="3328" y="20"/>
                  <a:pt x="3372" y="58"/>
                  <a:pt x="3392" y="134"/>
                </a:cubicBezTo>
                <a:cubicBezTo>
                  <a:pt x="3404" y="134"/>
                  <a:pt x="3404" y="134"/>
                  <a:pt x="3404" y="134"/>
                </a:cubicBezTo>
                <a:cubicBezTo>
                  <a:pt x="3400" y="4"/>
                  <a:pt x="3400" y="4"/>
                  <a:pt x="3400" y="4"/>
                </a:cubicBezTo>
                <a:cubicBezTo>
                  <a:pt x="3388" y="4"/>
                  <a:pt x="3388" y="4"/>
                  <a:pt x="3388" y="4"/>
                </a:cubicBezTo>
                <a:cubicBezTo>
                  <a:pt x="3384" y="14"/>
                  <a:pt x="3376" y="18"/>
                  <a:pt x="3364" y="18"/>
                </a:cubicBezTo>
                <a:cubicBezTo>
                  <a:pt x="3338" y="18"/>
                  <a:pt x="3314" y="0"/>
                  <a:pt x="3248" y="0"/>
                </a:cubicBezTo>
                <a:cubicBezTo>
                  <a:pt x="3118" y="0"/>
                  <a:pt x="3030" y="102"/>
                  <a:pt x="3030" y="242"/>
                </a:cubicBezTo>
                <a:cubicBezTo>
                  <a:pt x="3030" y="376"/>
                  <a:pt x="3110" y="460"/>
                  <a:pt x="3238" y="460"/>
                </a:cubicBezTo>
                <a:cubicBezTo>
                  <a:pt x="3320" y="460"/>
                  <a:pt x="3384" y="420"/>
                  <a:pt x="3408" y="380"/>
                </a:cubicBezTo>
                <a:cubicBezTo>
                  <a:pt x="3396" y="366"/>
                  <a:pt x="3396" y="366"/>
                  <a:pt x="3396" y="366"/>
                </a:cubicBezTo>
                <a:cubicBezTo>
                  <a:pt x="3370" y="402"/>
                  <a:pt x="3314" y="426"/>
                  <a:pt x="3256" y="426"/>
                </a:cubicBezTo>
                <a:cubicBezTo>
                  <a:pt x="3156" y="426"/>
                  <a:pt x="3094" y="340"/>
                  <a:pt x="3094" y="212"/>
                </a:cubicBezTo>
                <a:moveTo>
                  <a:pt x="3678" y="328"/>
                </a:moveTo>
                <a:cubicBezTo>
                  <a:pt x="3678" y="392"/>
                  <a:pt x="3650" y="430"/>
                  <a:pt x="3592" y="430"/>
                </a:cubicBezTo>
                <a:cubicBezTo>
                  <a:pt x="3542" y="430"/>
                  <a:pt x="3496" y="384"/>
                  <a:pt x="3496" y="292"/>
                </a:cubicBezTo>
                <a:cubicBezTo>
                  <a:pt x="3496" y="226"/>
                  <a:pt x="3528" y="190"/>
                  <a:pt x="3580" y="190"/>
                </a:cubicBezTo>
                <a:cubicBezTo>
                  <a:pt x="3628" y="192"/>
                  <a:pt x="3678" y="238"/>
                  <a:pt x="3678" y="328"/>
                </a:cubicBezTo>
                <a:moveTo>
                  <a:pt x="3732" y="312"/>
                </a:moveTo>
                <a:cubicBezTo>
                  <a:pt x="3732" y="260"/>
                  <a:pt x="3710" y="214"/>
                  <a:pt x="3672" y="190"/>
                </a:cubicBezTo>
                <a:cubicBezTo>
                  <a:pt x="3650" y="176"/>
                  <a:pt x="3620" y="168"/>
                  <a:pt x="3588" y="168"/>
                </a:cubicBezTo>
                <a:cubicBezTo>
                  <a:pt x="3502" y="168"/>
                  <a:pt x="3442" y="230"/>
                  <a:pt x="3442" y="310"/>
                </a:cubicBezTo>
                <a:cubicBezTo>
                  <a:pt x="3442" y="364"/>
                  <a:pt x="3464" y="408"/>
                  <a:pt x="3502" y="432"/>
                </a:cubicBezTo>
                <a:cubicBezTo>
                  <a:pt x="3524" y="446"/>
                  <a:pt x="3554" y="452"/>
                  <a:pt x="3586" y="452"/>
                </a:cubicBezTo>
                <a:cubicBezTo>
                  <a:pt x="3672" y="454"/>
                  <a:pt x="3732" y="394"/>
                  <a:pt x="3732" y="312"/>
                </a:cubicBezTo>
                <a:moveTo>
                  <a:pt x="4136" y="448"/>
                </a:moveTo>
                <a:cubicBezTo>
                  <a:pt x="4280" y="448"/>
                  <a:pt x="4280" y="448"/>
                  <a:pt x="4280" y="448"/>
                </a:cubicBezTo>
                <a:cubicBezTo>
                  <a:pt x="4280" y="436"/>
                  <a:pt x="4280" y="436"/>
                  <a:pt x="4280" y="436"/>
                </a:cubicBezTo>
                <a:cubicBezTo>
                  <a:pt x="4230" y="434"/>
                  <a:pt x="4232" y="426"/>
                  <a:pt x="4232" y="348"/>
                </a:cubicBezTo>
                <a:cubicBezTo>
                  <a:pt x="4232" y="276"/>
                  <a:pt x="4232" y="276"/>
                  <a:pt x="4232" y="276"/>
                </a:cubicBezTo>
                <a:cubicBezTo>
                  <a:pt x="4232" y="200"/>
                  <a:pt x="4190" y="172"/>
                  <a:pt x="4142" y="172"/>
                </a:cubicBezTo>
                <a:cubicBezTo>
                  <a:pt x="4098" y="172"/>
                  <a:pt x="4064" y="196"/>
                  <a:pt x="4038" y="232"/>
                </a:cubicBezTo>
                <a:cubicBezTo>
                  <a:pt x="4028" y="194"/>
                  <a:pt x="4000" y="172"/>
                  <a:pt x="3954" y="172"/>
                </a:cubicBezTo>
                <a:cubicBezTo>
                  <a:pt x="3916" y="172"/>
                  <a:pt x="3880" y="196"/>
                  <a:pt x="3858" y="224"/>
                </a:cubicBezTo>
                <a:cubicBezTo>
                  <a:pt x="3858" y="176"/>
                  <a:pt x="3858" y="176"/>
                  <a:pt x="3858" y="176"/>
                </a:cubicBezTo>
                <a:cubicBezTo>
                  <a:pt x="3756" y="176"/>
                  <a:pt x="3756" y="176"/>
                  <a:pt x="3756" y="176"/>
                </a:cubicBezTo>
                <a:cubicBezTo>
                  <a:pt x="3756" y="188"/>
                  <a:pt x="3756" y="188"/>
                  <a:pt x="3756" y="188"/>
                </a:cubicBezTo>
                <a:cubicBezTo>
                  <a:pt x="3800" y="190"/>
                  <a:pt x="3806" y="192"/>
                  <a:pt x="3806" y="268"/>
                </a:cubicBezTo>
                <a:cubicBezTo>
                  <a:pt x="3806" y="346"/>
                  <a:pt x="3806" y="346"/>
                  <a:pt x="3806" y="346"/>
                </a:cubicBezTo>
                <a:cubicBezTo>
                  <a:pt x="3806" y="434"/>
                  <a:pt x="3804" y="434"/>
                  <a:pt x="3758" y="434"/>
                </a:cubicBezTo>
                <a:cubicBezTo>
                  <a:pt x="3758" y="446"/>
                  <a:pt x="3758" y="446"/>
                  <a:pt x="3758" y="446"/>
                </a:cubicBezTo>
                <a:cubicBezTo>
                  <a:pt x="3902" y="446"/>
                  <a:pt x="3902" y="446"/>
                  <a:pt x="3902" y="446"/>
                </a:cubicBezTo>
                <a:cubicBezTo>
                  <a:pt x="3902" y="434"/>
                  <a:pt x="3902" y="434"/>
                  <a:pt x="3902" y="434"/>
                </a:cubicBezTo>
                <a:cubicBezTo>
                  <a:pt x="3862" y="430"/>
                  <a:pt x="3858" y="430"/>
                  <a:pt x="3858" y="342"/>
                </a:cubicBezTo>
                <a:cubicBezTo>
                  <a:pt x="3858" y="262"/>
                  <a:pt x="3858" y="262"/>
                  <a:pt x="3858" y="262"/>
                </a:cubicBezTo>
                <a:cubicBezTo>
                  <a:pt x="3858" y="234"/>
                  <a:pt x="3894" y="204"/>
                  <a:pt x="3932" y="204"/>
                </a:cubicBezTo>
                <a:cubicBezTo>
                  <a:pt x="3974" y="204"/>
                  <a:pt x="3990" y="226"/>
                  <a:pt x="3990" y="282"/>
                </a:cubicBezTo>
                <a:cubicBezTo>
                  <a:pt x="3990" y="338"/>
                  <a:pt x="3990" y="338"/>
                  <a:pt x="3990" y="338"/>
                </a:cubicBezTo>
                <a:cubicBezTo>
                  <a:pt x="3990" y="428"/>
                  <a:pt x="3988" y="432"/>
                  <a:pt x="3950" y="436"/>
                </a:cubicBezTo>
                <a:cubicBezTo>
                  <a:pt x="3950" y="448"/>
                  <a:pt x="3950" y="448"/>
                  <a:pt x="3950" y="448"/>
                </a:cubicBezTo>
                <a:cubicBezTo>
                  <a:pt x="4086" y="448"/>
                  <a:pt x="4086" y="448"/>
                  <a:pt x="4086" y="448"/>
                </a:cubicBezTo>
                <a:cubicBezTo>
                  <a:pt x="4086" y="436"/>
                  <a:pt x="4086" y="436"/>
                  <a:pt x="4086" y="436"/>
                </a:cubicBezTo>
                <a:cubicBezTo>
                  <a:pt x="4040" y="432"/>
                  <a:pt x="4042" y="428"/>
                  <a:pt x="4042" y="342"/>
                </a:cubicBezTo>
                <a:cubicBezTo>
                  <a:pt x="4042" y="264"/>
                  <a:pt x="4042" y="264"/>
                  <a:pt x="4042" y="264"/>
                </a:cubicBezTo>
                <a:cubicBezTo>
                  <a:pt x="4042" y="236"/>
                  <a:pt x="4078" y="206"/>
                  <a:pt x="4118" y="206"/>
                </a:cubicBezTo>
                <a:cubicBezTo>
                  <a:pt x="4152" y="206"/>
                  <a:pt x="4174" y="226"/>
                  <a:pt x="4174" y="284"/>
                </a:cubicBezTo>
                <a:cubicBezTo>
                  <a:pt x="4174" y="346"/>
                  <a:pt x="4174" y="346"/>
                  <a:pt x="4174" y="346"/>
                </a:cubicBezTo>
                <a:cubicBezTo>
                  <a:pt x="4174" y="428"/>
                  <a:pt x="4174" y="432"/>
                  <a:pt x="4134" y="436"/>
                </a:cubicBezTo>
                <a:cubicBezTo>
                  <a:pt x="4134" y="448"/>
                  <a:pt x="4134" y="448"/>
                  <a:pt x="4134" y="448"/>
                </a:cubicBezTo>
                <a:lnTo>
                  <a:pt x="4136" y="448"/>
                </a:lnTo>
                <a:close/>
                <a:moveTo>
                  <a:pt x="4546" y="316"/>
                </a:moveTo>
                <a:cubicBezTo>
                  <a:pt x="4546" y="388"/>
                  <a:pt x="4516" y="432"/>
                  <a:pt x="4460" y="432"/>
                </a:cubicBezTo>
                <a:cubicBezTo>
                  <a:pt x="4424" y="432"/>
                  <a:pt x="4384" y="412"/>
                  <a:pt x="4384" y="384"/>
                </a:cubicBezTo>
                <a:cubicBezTo>
                  <a:pt x="4384" y="248"/>
                  <a:pt x="4384" y="248"/>
                  <a:pt x="4384" y="248"/>
                </a:cubicBezTo>
                <a:cubicBezTo>
                  <a:pt x="4384" y="226"/>
                  <a:pt x="4416" y="202"/>
                  <a:pt x="4454" y="202"/>
                </a:cubicBezTo>
                <a:cubicBezTo>
                  <a:pt x="4510" y="206"/>
                  <a:pt x="4546" y="248"/>
                  <a:pt x="4546" y="316"/>
                </a:cubicBezTo>
                <a:moveTo>
                  <a:pt x="4600" y="310"/>
                </a:moveTo>
                <a:cubicBezTo>
                  <a:pt x="4600" y="230"/>
                  <a:pt x="4548" y="170"/>
                  <a:pt x="4478" y="170"/>
                </a:cubicBezTo>
                <a:cubicBezTo>
                  <a:pt x="4438" y="170"/>
                  <a:pt x="4406" y="188"/>
                  <a:pt x="4384" y="214"/>
                </a:cubicBezTo>
                <a:cubicBezTo>
                  <a:pt x="4384" y="174"/>
                  <a:pt x="4384" y="174"/>
                  <a:pt x="4384" y="174"/>
                </a:cubicBezTo>
                <a:cubicBezTo>
                  <a:pt x="4284" y="174"/>
                  <a:pt x="4284" y="174"/>
                  <a:pt x="4284" y="174"/>
                </a:cubicBezTo>
                <a:cubicBezTo>
                  <a:pt x="4284" y="186"/>
                  <a:pt x="4284" y="186"/>
                  <a:pt x="4284" y="186"/>
                </a:cubicBezTo>
                <a:cubicBezTo>
                  <a:pt x="4326" y="188"/>
                  <a:pt x="4332" y="190"/>
                  <a:pt x="4332" y="280"/>
                </a:cubicBezTo>
                <a:cubicBezTo>
                  <a:pt x="4332" y="466"/>
                  <a:pt x="4332" y="466"/>
                  <a:pt x="4332" y="466"/>
                </a:cubicBezTo>
                <a:cubicBezTo>
                  <a:pt x="4332" y="564"/>
                  <a:pt x="4334" y="570"/>
                  <a:pt x="4286" y="574"/>
                </a:cubicBezTo>
                <a:cubicBezTo>
                  <a:pt x="4286" y="588"/>
                  <a:pt x="4286" y="588"/>
                  <a:pt x="4286" y="588"/>
                </a:cubicBezTo>
                <a:cubicBezTo>
                  <a:pt x="4432" y="588"/>
                  <a:pt x="4432" y="588"/>
                  <a:pt x="4432" y="588"/>
                </a:cubicBezTo>
                <a:cubicBezTo>
                  <a:pt x="4432" y="574"/>
                  <a:pt x="4432" y="574"/>
                  <a:pt x="4432" y="574"/>
                </a:cubicBezTo>
                <a:cubicBezTo>
                  <a:pt x="4380" y="572"/>
                  <a:pt x="4384" y="564"/>
                  <a:pt x="4384" y="462"/>
                </a:cubicBezTo>
                <a:cubicBezTo>
                  <a:pt x="4384" y="424"/>
                  <a:pt x="4384" y="424"/>
                  <a:pt x="4384" y="424"/>
                </a:cubicBezTo>
                <a:cubicBezTo>
                  <a:pt x="4404" y="444"/>
                  <a:pt x="4436" y="454"/>
                  <a:pt x="4466" y="454"/>
                </a:cubicBezTo>
                <a:cubicBezTo>
                  <a:pt x="4548" y="454"/>
                  <a:pt x="4600" y="392"/>
                  <a:pt x="4600" y="310"/>
                </a:cubicBezTo>
                <a:moveTo>
                  <a:pt x="4792" y="382"/>
                </a:moveTo>
                <a:cubicBezTo>
                  <a:pt x="4792" y="404"/>
                  <a:pt x="4762" y="424"/>
                  <a:pt x="4736" y="424"/>
                </a:cubicBezTo>
                <a:cubicBezTo>
                  <a:pt x="4712" y="424"/>
                  <a:pt x="4694" y="410"/>
                  <a:pt x="4694" y="378"/>
                </a:cubicBezTo>
                <a:cubicBezTo>
                  <a:pt x="4694" y="322"/>
                  <a:pt x="4752" y="328"/>
                  <a:pt x="4792" y="306"/>
                </a:cubicBezTo>
                <a:cubicBezTo>
                  <a:pt x="4792" y="382"/>
                  <a:pt x="4792" y="382"/>
                  <a:pt x="4792" y="382"/>
                </a:cubicBezTo>
                <a:close/>
                <a:moveTo>
                  <a:pt x="5240" y="434"/>
                </a:moveTo>
                <a:cubicBezTo>
                  <a:pt x="5192" y="432"/>
                  <a:pt x="5192" y="430"/>
                  <a:pt x="5192" y="340"/>
                </a:cubicBezTo>
                <a:cubicBezTo>
                  <a:pt x="5192" y="278"/>
                  <a:pt x="5192" y="278"/>
                  <a:pt x="5192" y="278"/>
                </a:cubicBezTo>
                <a:cubicBezTo>
                  <a:pt x="5192" y="196"/>
                  <a:pt x="5146" y="170"/>
                  <a:pt x="5104" y="170"/>
                </a:cubicBezTo>
                <a:cubicBezTo>
                  <a:pt x="5068" y="170"/>
                  <a:pt x="5032" y="186"/>
                  <a:pt x="5004" y="222"/>
                </a:cubicBezTo>
                <a:cubicBezTo>
                  <a:pt x="5004" y="174"/>
                  <a:pt x="5004" y="174"/>
                  <a:pt x="5004" y="174"/>
                </a:cubicBezTo>
                <a:cubicBezTo>
                  <a:pt x="4902" y="174"/>
                  <a:pt x="4902" y="174"/>
                  <a:pt x="4902" y="174"/>
                </a:cubicBezTo>
                <a:cubicBezTo>
                  <a:pt x="4902" y="186"/>
                  <a:pt x="4902" y="186"/>
                  <a:pt x="4902" y="186"/>
                </a:cubicBezTo>
                <a:cubicBezTo>
                  <a:pt x="4946" y="188"/>
                  <a:pt x="4952" y="190"/>
                  <a:pt x="4952" y="266"/>
                </a:cubicBezTo>
                <a:cubicBezTo>
                  <a:pt x="4952" y="334"/>
                  <a:pt x="4952" y="334"/>
                  <a:pt x="4952" y="334"/>
                </a:cubicBezTo>
                <a:cubicBezTo>
                  <a:pt x="4952" y="430"/>
                  <a:pt x="4952" y="432"/>
                  <a:pt x="4904" y="434"/>
                </a:cubicBezTo>
                <a:cubicBezTo>
                  <a:pt x="4892" y="434"/>
                  <a:pt x="4892" y="434"/>
                  <a:pt x="4892" y="434"/>
                </a:cubicBezTo>
                <a:cubicBezTo>
                  <a:pt x="4854" y="434"/>
                  <a:pt x="4850" y="422"/>
                  <a:pt x="4850" y="366"/>
                </a:cubicBezTo>
                <a:cubicBezTo>
                  <a:pt x="4850" y="274"/>
                  <a:pt x="4850" y="274"/>
                  <a:pt x="4850" y="274"/>
                </a:cubicBezTo>
                <a:cubicBezTo>
                  <a:pt x="4850" y="256"/>
                  <a:pt x="4848" y="240"/>
                  <a:pt x="4844" y="228"/>
                </a:cubicBezTo>
                <a:cubicBezTo>
                  <a:pt x="4830" y="186"/>
                  <a:pt x="4796" y="170"/>
                  <a:pt x="4748" y="170"/>
                </a:cubicBezTo>
                <a:cubicBezTo>
                  <a:pt x="4718" y="170"/>
                  <a:pt x="4674" y="180"/>
                  <a:pt x="4650" y="202"/>
                </a:cubicBezTo>
                <a:cubicBezTo>
                  <a:pt x="4652" y="214"/>
                  <a:pt x="4664" y="240"/>
                  <a:pt x="4670" y="248"/>
                </a:cubicBezTo>
                <a:cubicBezTo>
                  <a:pt x="4676" y="246"/>
                  <a:pt x="4676" y="246"/>
                  <a:pt x="4676" y="246"/>
                </a:cubicBezTo>
                <a:cubicBezTo>
                  <a:pt x="4688" y="216"/>
                  <a:pt x="4708" y="194"/>
                  <a:pt x="4742" y="194"/>
                </a:cubicBezTo>
                <a:cubicBezTo>
                  <a:pt x="4778" y="194"/>
                  <a:pt x="4794" y="220"/>
                  <a:pt x="4794" y="250"/>
                </a:cubicBezTo>
                <a:cubicBezTo>
                  <a:pt x="4794" y="282"/>
                  <a:pt x="4794" y="282"/>
                  <a:pt x="4794" y="282"/>
                </a:cubicBezTo>
                <a:cubicBezTo>
                  <a:pt x="4794" y="302"/>
                  <a:pt x="4702" y="306"/>
                  <a:pt x="4664" y="338"/>
                </a:cubicBezTo>
                <a:cubicBezTo>
                  <a:pt x="4652" y="350"/>
                  <a:pt x="4642" y="364"/>
                  <a:pt x="4642" y="384"/>
                </a:cubicBezTo>
                <a:cubicBezTo>
                  <a:pt x="4642" y="426"/>
                  <a:pt x="4672" y="456"/>
                  <a:pt x="4716" y="456"/>
                </a:cubicBezTo>
                <a:cubicBezTo>
                  <a:pt x="4744" y="456"/>
                  <a:pt x="4768" y="446"/>
                  <a:pt x="4794" y="418"/>
                </a:cubicBezTo>
                <a:cubicBezTo>
                  <a:pt x="4798" y="438"/>
                  <a:pt x="4814" y="448"/>
                  <a:pt x="4842" y="448"/>
                </a:cubicBezTo>
                <a:cubicBezTo>
                  <a:pt x="4906" y="448"/>
                  <a:pt x="4906" y="448"/>
                  <a:pt x="4906" y="448"/>
                </a:cubicBezTo>
                <a:cubicBezTo>
                  <a:pt x="4906" y="448"/>
                  <a:pt x="4906" y="448"/>
                  <a:pt x="4906" y="448"/>
                </a:cubicBezTo>
                <a:cubicBezTo>
                  <a:pt x="5048" y="448"/>
                  <a:pt x="5048" y="448"/>
                  <a:pt x="5048" y="448"/>
                </a:cubicBezTo>
                <a:cubicBezTo>
                  <a:pt x="5048" y="436"/>
                  <a:pt x="5048" y="436"/>
                  <a:pt x="5048" y="436"/>
                </a:cubicBezTo>
                <a:cubicBezTo>
                  <a:pt x="5006" y="432"/>
                  <a:pt x="5004" y="434"/>
                  <a:pt x="5004" y="338"/>
                </a:cubicBezTo>
                <a:cubicBezTo>
                  <a:pt x="5004" y="262"/>
                  <a:pt x="5004" y="262"/>
                  <a:pt x="5004" y="262"/>
                </a:cubicBezTo>
                <a:cubicBezTo>
                  <a:pt x="5004" y="236"/>
                  <a:pt x="5038" y="206"/>
                  <a:pt x="5080" y="206"/>
                </a:cubicBezTo>
                <a:cubicBezTo>
                  <a:pt x="5114" y="206"/>
                  <a:pt x="5140" y="220"/>
                  <a:pt x="5140" y="286"/>
                </a:cubicBezTo>
                <a:cubicBezTo>
                  <a:pt x="5140" y="340"/>
                  <a:pt x="5140" y="340"/>
                  <a:pt x="5140" y="340"/>
                </a:cubicBezTo>
                <a:cubicBezTo>
                  <a:pt x="5140" y="432"/>
                  <a:pt x="5136" y="432"/>
                  <a:pt x="5098" y="434"/>
                </a:cubicBezTo>
                <a:cubicBezTo>
                  <a:pt x="5098" y="446"/>
                  <a:pt x="5098" y="446"/>
                  <a:pt x="5098" y="446"/>
                </a:cubicBezTo>
                <a:cubicBezTo>
                  <a:pt x="5240" y="446"/>
                  <a:pt x="5240" y="446"/>
                  <a:pt x="5240" y="446"/>
                </a:cubicBezTo>
                <a:lnTo>
                  <a:pt x="5240" y="434"/>
                </a:lnTo>
                <a:close/>
                <a:moveTo>
                  <a:pt x="5516" y="192"/>
                </a:moveTo>
                <a:cubicBezTo>
                  <a:pt x="5516" y="180"/>
                  <a:pt x="5516" y="180"/>
                  <a:pt x="5516" y="180"/>
                </a:cubicBezTo>
                <a:cubicBezTo>
                  <a:pt x="5418" y="180"/>
                  <a:pt x="5418" y="180"/>
                  <a:pt x="5418" y="180"/>
                </a:cubicBezTo>
                <a:cubicBezTo>
                  <a:pt x="5418" y="192"/>
                  <a:pt x="5418" y="192"/>
                  <a:pt x="5418" y="192"/>
                </a:cubicBezTo>
                <a:cubicBezTo>
                  <a:pt x="5442" y="194"/>
                  <a:pt x="5454" y="206"/>
                  <a:pt x="5446" y="234"/>
                </a:cubicBezTo>
                <a:cubicBezTo>
                  <a:pt x="5394" y="390"/>
                  <a:pt x="5394" y="390"/>
                  <a:pt x="5394" y="390"/>
                </a:cubicBezTo>
                <a:cubicBezTo>
                  <a:pt x="5342" y="270"/>
                  <a:pt x="5342" y="270"/>
                  <a:pt x="5342" y="270"/>
                </a:cubicBezTo>
                <a:cubicBezTo>
                  <a:pt x="5328" y="238"/>
                  <a:pt x="5322" y="224"/>
                  <a:pt x="5322" y="212"/>
                </a:cubicBezTo>
                <a:cubicBezTo>
                  <a:pt x="5322" y="202"/>
                  <a:pt x="5328" y="196"/>
                  <a:pt x="5348" y="192"/>
                </a:cubicBezTo>
                <a:cubicBezTo>
                  <a:pt x="5348" y="180"/>
                  <a:pt x="5348" y="180"/>
                  <a:pt x="5348" y="180"/>
                </a:cubicBezTo>
                <a:cubicBezTo>
                  <a:pt x="5220" y="180"/>
                  <a:pt x="5220" y="180"/>
                  <a:pt x="5220" y="180"/>
                </a:cubicBezTo>
                <a:cubicBezTo>
                  <a:pt x="5220" y="192"/>
                  <a:pt x="5220" y="192"/>
                  <a:pt x="5220" y="192"/>
                </a:cubicBezTo>
                <a:cubicBezTo>
                  <a:pt x="5252" y="194"/>
                  <a:pt x="5254" y="198"/>
                  <a:pt x="5296" y="292"/>
                </a:cubicBezTo>
                <a:cubicBezTo>
                  <a:pt x="5368" y="450"/>
                  <a:pt x="5368" y="450"/>
                  <a:pt x="5368" y="450"/>
                </a:cubicBezTo>
                <a:cubicBezTo>
                  <a:pt x="5344" y="512"/>
                  <a:pt x="5306" y="546"/>
                  <a:pt x="5228" y="564"/>
                </a:cubicBezTo>
                <a:cubicBezTo>
                  <a:pt x="5232" y="576"/>
                  <a:pt x="5246" y="600"/>
                  <a:pt x="5254" y="606"/>
                </a:cubicBezTo>
                <a:cubicBezTo>
                  <a:pt x="5356" y="564"/>
                  <a:pt x="5376" y="498"/>
                  <a:pt x="5412" y="396"/>
                </a:cubicBezTo>
                <a:cubicBezTo>
                  <a:pt x="5466" y="242"/>
                  <a:pt x="5466" y="242"/>
                  <a:pt x="5466" y="242"/>
                </a:cubicBezTo>
                <a:cubicBezTo>
                  <a:pt x="5478" y="206"/>
                  <a:pt x="5498" y="192"/>
                  <a:pt x="5516" y="192"/>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600" kern="1200">
                <a:solidFill>
                  <a:schemeClr val="tx1"/>
                </a:solidFill>
                <a:latin typeface="Arial" charset="0"/>
                <a:ea typeface="+mn-ea"/>
                <a:cs typeface="+mn-cs"/>
              </a:defRPr>
            </a:lvl1pPr>
            <a:lvl2pPr marL="457200" algn="l" rtl="0" fontAlgn="base">
              <a:spcBef>
                <a:spcPct val="0"/>
              </a:spcBef>
              <a:spcAft>
                <a:spcPct val="0"/>
              </a:spcAft>
              <a:defRPr sz="1600" kern="1200">
                <a:solidFill>
                  <a:schemeClr val="tx1"/>
                </a:solidFill>
                <a:latin typeface="Arial" charset="0"/>
                <a:ea typeface="+mn-ea"/>
                <a:cs typeface="+mn-cs"/>
              </a:defRPr>
            </a:lvl2pPr>
            <a:lvl3pPr marL="914400" algn="l" rtl="0" fontAlgn="base">
              <a:spcBef>
                <a:spcPct val="0"/>
              </a:spcBef>
              <a:spcAft>
                <a:spcPct val="0"/>
              </a:spcAft>
              <a:defRPr sz="1600" kern="1200">
                <a:solidFill>
                  <a:schemeClr val="tx1"/>
                </a:solidFill>
                <a:latin typeface="Arial" charset="0"/>
                <a:ea typeface="+mn-ea"/>
                <a:cs typeface="+mn-cs"/>
              </a:defRPr>
            </a:lvl3pPr>
            <a:lvl4pPr marL="1371600" algn="l" rtl="0" fontAlgn="base">
              <a:spcBef>
                <a:spcPct val="0"/>
              </a:spcBef>
              <a:spcAft>
                <a:spcPct val="0"/>
              </a:spcAft>
              <a:defRPr sz="1600" kern="1200">
                <a:solidFill>
                  <a:schemeClr val="tx1"/>
                </a:solidFill>
                <a:latin typeface="Arial" charset="0"/>
                <a:ea typeface="+mn-ea"/>
                <a:cs typeface="+mn-cs"/>
              </a:defRPr>
            </a:lvl4pPr>
            <a:lvl5pPr marL="1828800" algn="l" rtl="0" fontAlgn="base">
              <a:spcBef>
                <a:spcPct val="0"/>
              </a:spcBef>
              <a:spcAft>
                <a:spcPct val="0"/>
              </a:spcAft>
              <a:defRPr sz="1600" kern="1200">
                <a:solidFill>
                  <a:schemeClr val="tx1"/>
                </a:solidFill>
                <a:latin typeface="Arial" charset="0"/>
                <a:ea typeface="+mn-ea"/>
                <a:cs typeface="+mn-cs"/>
              </a:defRPr>
            </a:lvl5pPr>
            <a:lvl6pPr marL="2286000" algn="l" defTabSz="914400" rtl="0" eaLnBrk="1" latinLnBrk="0" hangingPunct="1">
              <a:defRPr sz="1600" kern="1200">
                <a:solidFill>
                  <a:schemeClr val="tx1"/>
                </a:solidFill>
                <a:latin typeface="Arial" charset="0"/>
                <a:ea typeface="+mn-ea"/>
                <a:cs typeface="+mn-cs"/>
              </a:defRPr>
            </a:lvl6pPr>
            <a:lvl7pPr marL="2743200" algn="l" defTabSz="914400" rtl="0" eaLnBrk="1" latinLnBrk="0" hangingPunct="1">
              <a:defRPr sz="1600" kern="1200">
                <a:solidFill>
                  <a:schemeClr val="tx1"/>
                </a:solidFill>
                <a:latin typeface="Arial" charset="0"/>
                <a:ea typeface="+mn-ea"/>
                <a:cs typeface="+mn-cs"/>
              </a:defRPr>
            </a:lvl7pPr>
            <a:lvl8pPr marL="3200400" algn="l" defTabSz="914400" rtl="0" eaLnBrk="1" latinLnBrk="0" hangingPunct="1">
              <a:defRPr sz="1600" kern="1200">
                <a:solidFill>
                  <a:schemeClr val="tx1"/>
                </a:solidFill>
                <a:latin typeface="Arial" charset="0"/>
                <a:ea typeface="+mn-ea"/>
                <a:cs typeface="+mn-cs"/>
              </a:defRPr>
            </a:lvl8pPr>
            <a:lvl9pPr marL="3657600" algn="l" defTabSz="914400" rtl="0" eaLnBrk="1" latinLnBrk="0" hangingPunct="1">
              <a:defRPr sz="1600" kern="1200">
                <a:solidFill>
                  <a:schemeClr val="tx1"/>
                </a:solidFill>
                <a:latin typeface="Arial" charset="0"/>
                <a:ea typeface="+mn-ea"/>
                <a:cs typeface="+mn-cs"/>
              </a:defRPr>
            </a:lvl9pPr>
          </a:lstStyle>
          <a:p>
            <a:endParaRPr lang="en-US" baseline="0" dirty="0">
              <a:solidFill>
                <a:srgbClr val="000000"/>
              </a:solidFill>
              <a:latin typeface="+mn-lt"/>
            </a:endParaRPr>
          </a:p>
        </p:txBody>
      </p:sp>
      <p:sp>
        <p:nvSpPr>
          <p:cNvPr id="27" name="Disclaimer-English (United States)" hidden="1"/>
          <p:cNvSpPr>
            <a:spLocks noChangeArrowheads="1"/>
          </p:cNvSpPr>
          <p:nvPr/>
        </p:nvSpPr>
        <p:spPr bwMode="black">
          <a:xfrm>
            <a:off x="2268266" y="6287785"/>
            <a:ext cx="3544453" cy="36908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t" anchorCtr="0">
            <a:noAutofit/>
          </a:bodyPr>
          <a:lstStyle/>
          <a:p>
            <a:pPr defTabSz="804863" eaLnBrk="0" hangingPunct="0"/>
            <a:r>
              <a:rPr lang="en-US" sz="800" baseline="0" dirty="0">
                <a:solidFill>
                  <a:srgbClr val="FFFFFF"/>
                </a:solidFill>
                <a:latin typeface="+mn-lt"/>
              </a:rPr>
              <a:t>CONFIDENTIAL AND PROPRIETARY</a:t>
            </a:r>
          </a:p>
          <a:p>
            <a:pPr defTabSz="804863" eaLnBrk="0" hangingPunct="0"/>
            <a:r>
              <a:rPr lang="en-US" sz="800" baseline="0" dirty="0">
                <a:solidFill>
                  <a:srgbClr val="FFFFFF"/>
                </a:solidFill>
                <a:latin typeface="+mn-lt"/>
              </a:rPr>
              <a:t>Any use of this material without specific permission of McKinsey &amp; Company is strictly prohibited</a:t>
            </a:r>
          </a:p>
        </p:txBody>
      </p:sp>
    </p:spTree>
    <p:extLst>
      <p:ext uri="{BB962C8B-B14F-4D97-AF65-F5344CB8AC3E}">
        <p14:creationId xmlns:p14="http://schemas.microsoft.com/office/powerpoint/2010/main" val="47202753"/>
      </p:ext>
    </p:extLst>
  </p:cSld>
  <p:clrMapOvr>
    <a:masterClrMapping/>
  </p:clrMapOvr>
  <p:extLst mod="1">
    <p:ext uri="{DCECCB84-F9BA-43D5-87BE-67443E8EF086}">
      <p15:sldGuideLst xmlns:p15="http://schemas.microsoft.com/office/powerpoint/2012/main">
        <p15:guide id="1" orient="horz" pos="2117">
          <p15:clr>
            <a:srgbClr val="FBAE40"/>
          </p15:clr>
        </p15:guide>
        <p15:guide id="2" pos="1416">
          <p15:clr>
            <a:srgbClr val="FBAE4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6E228F5-5CF1-42E1-9748-97D7582A107A}"/>
              </a:ext>
            </a:extLst>
          </p:cNvPr>
          <p:cNvGraphicFramePr>
            <a:graphicFrameLocks noChangeAspect="1"/>
          </p:cNvGraphicFramePr>
          <p:nvPr>
            <p:custDataLst>
              <p:tags r:id="rId2"/>
            </p:custDataLst>
            <p:extLst>
              <p:ext uri="{D42A27DB-BD31-4B8C-83A1-F6EECF244321}">
                <p14:modId xmlns:p14="http://schemas.microsoft.com/office/powerpoint/2010/main" val="397645605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9892" name="think-cell Slide" r:id="rId5" imgW="353" imgH="353" progId="TCLayout.ActiveDocument.1">
                  <p:embed/>
                </p:oleObj>
              </mc:Choice>
              <mc:Fallback>
                <p:oleObj name="think-cell Slide" r:id="rId5" imgW="353" imgH="353" progId="TCLayout.ActiveDocument.1">
                  <p:embed/>
                  <p:pic>
                    <p:nvPicPr>
                      <p:cNvPr id="3" name="Object 2" hidden="1">
                        <a:extLst>
                          <a:ext uri="{FF2B5EF4-FFF2-40B4-BE49-F238E27FC236}">
                            <a16:creationId xmlns:a16="http://schemas.microsoft.com/office/drawing/2014/main" id="{C6E228F5-5CF1-42E1-9748-97D7582A107A}"/>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2. Slide Title"/>
          <p:cNvSpPr>
            <a:spLocks noGrp="1"/>
          </p:cNvSpPr>
          <p:nvPr>
            <p:ph type="title"/>
          </p:nvPr>
        </p:nvSpPr>
        <p:spPr bwMode="auto"/>
        <p:txBody>
          <a:bodyPr/>
          <a:lstStyle/>
          <a:p>
            <a:r>
              <a:rPr lang="en-US"/>
              <a:t>Click to edit Master title style</a:t>
            </a:r>
            <a:endParaRPr lang="en-US" dirty="0"/>
          </a:p>
        </p:txBody>
      </p:sp>
      <p:sp>
        <p:nvSpPr>
          <p:cNvPr id="8" name="Slide Number"/>
          <p:cNvSpPr txBox="1">
            <a:spLocks/>
          </p:cNvSpPr>
          <p:nvPr/>
        </p:nvSpPr>
        <p:spPr bwMode="auto">
          <a:xfrm>
            <a:off x="8564563" y="6508272"/>
            <a:ext cx="125034" cy="123111"/>
          </a:xfrm>
          <a:prstGeom prst="rect">
            <a:avLst/>
          </a:prstGeom>
        </p:spPr>
        <p:txBody>
          <a:bodyPr vert="horz" wrap="none" lIns="0" tIns="0" rIns="0" bIns="0" rtlCol="0" anchor="ctr">
            <a:spAutoFit/>
          </a:bodyPr>
          <a:lstStyle>
            <a:defPPr>
              <a:defRPr lang="en-US"/>
            </a:defPPr>
            <a:lvl1pPr>
              <a:defRPr sz="1000" baseline="0">
                <a:latin typeface="+mn-lt"/>
              </a:defRPr>
            </a:lvl1pPr>
          </a:lstStyle>
          <a:p>
            <a:fld id="{42C328C1-A84F-4A39-A664-DBA00541A8C6}" type="slidenum">
              <a:rPr lang="en-US" sz="800" baseline="0" smtClean="0">
                <a:solidFill>
                  <a:srgbClr val="808080"/>
                </a:solidFill>
                <a:latin typeface="+mn-lt"/>
              </a:rPr>
              <a:pPr/>
              <a:t>‹#›</a:t>
            </a:fld>
            <a:endParaRPr lang="en-US" sz="800" baseline="0" dirty="0">
              <a:solidFill>
                <a:srgbClr val="808080"/>
              </a:solidFill>
              <a:latin typeface="+mn-lt"/>
            </a:endParaRPr>
          </a:p>
        </p:txBody>
      </p:sp>
      <p:sp>
        <p:nvSpPr>
          <p:cNvPr id="9" name="SlideLogoText"/>
          <p:cNvSpPr>
            <a:spLocks noChangeArrowheads="1"/>
          </p:cNvSpPr>
          <p:nvPr>
            <p:custDataLst>
              <p:tags r:id="rId3"/>
            </p:custDataLst>
          </p:nvPr>
        </p:nvSpPr>
        <p:spPr bwMode="auto">
          <a:xfrm>
            <a:off x="7450817" y="6508272"/>
            <a:ext cx="1013098"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algn="r" defTabSz="895350"/>
            <a:r>
              <a:rPr lang="en-US" sz="800" baseline="0" dirty="0">
                <a:solidFill>
                  <a:srgbClr val="808080"/>
                </a:solidFill>
                <a:latin typeface="+mn-lt"/>
              </a:rPr>
              <a:t>McKinsey &amp; Company</a:t>
            </a:r>
          </a:p>
        </p:txBody>
      </p:sp>
      <p:sp>
        <p:nvSpPr>
          <p:cNvPr id="5" name="doc id" hidden="1"/>
          <p:cNvSpPr txBox="1">
            <a:spLocks noChangeArrowheads="1"/>
          </p:cNvSpPr>
          <p:nvPr/>
        </p:nvSpPr>
        <p:spPr bwMode="white">
          <a:xfrm>
            <a:off x="8104473" y="36513"/>
            <a:ext cx="634716" cy="115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hangingPunct="1">
              <a:defRPr/>
            </a:pPr>
            <a:endParaRPr lang="en-US" sz="800" baseline="0" dirty="0">
              <a:solidFill>
                <a:schemeClr val="accent1"/>
              </a:solidFill>
              <a:latin typeface="+mn-lt"/>
              <a:ea typeface="+mn-ea"/>
            </a:endParaRPr>
          </a:p>
        </p:txBody>
      </p:sp>
    </p:spTree>
    <p:extLst>
      <p:ext uri="{BB962C8B-B14F-4D97-AF65-F5344CB8AC3E}">
        <p14:creationId xmlns:p14="http://schemas.microsoft.com/office/powerpoint/2010/main" val="254923959"/>
      </p:ext>
    </p:extLst>
  </p:cSld>
  <p:clrMapOvr>
    <a:masterClrMapping/>
  </p:clrMapOvr>
  <p:extLst mod="1">
    <p:ext uri="{DCECCB84-F9BA-43D5-87BE-67443E8EF086}">
      <p15:sldGuideLst xmlns:p15="http://schemas.microsoft.com/office/powerpoint/2012/main">
        <p15:guide id="1" pos="5505">
          <p15:clr>
            <a:srgbClr val="F26B43"/>
          </p15:clr>
        </p15:guide>
        <p15:guide id="2" pos="74">
          <p15:clr>
            <a:srgbClr val="F26B43"/>
          </p15:clr>
        </p15:guide>
        <p15:guide id="3" orient="horz" pos="571">
          <p15:clr>
            <a:srgbClr val="F26B43"/>
          </p15:clr>
        </p15:guide>
        <p15:guide id="4" orient="horz" pos="3911">
          <p15:clr>
            <a:srgbClr val="F26B43"/>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1_Title Only">
    <p:bg>
      <p:bgPr>
        <a:solidFill>
          <a:schemeClr val="accent2"/>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F4AD34F-3B47-47E2-A09C-FFEB949F6A10}"/>
              </a:ext>
            </a:extLst>
          </p:cNvPr>
          <p:cNvGraphicFramePr>
            <a:graphicFrameLocks noChangeAspect="1"/>
          </p:cNvGraphicFramePr>
          <p:nvPr>
            <p:custDataLst>
              <p:tags r:id="rId2"/>
            </p:custDataLst>
            <p:extLst>
              <p:ext uri="{D42A27DB-BD31-4B8C-83A1-F6EECF244321}">
                <p14:modId xmlns:p14="http://schemas.microsoft.com/office/powerpoint/2010/main" val="391635297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0916" name="think-cell Slide" r:id="rId5" imgW="395" imgH="394" progId="TCLayout.ActiveDocument.1">
                  <p:embed/>
                </p:oleObj>
              </mc:Choice>
              <mc:Fallback>
                <p:oleObj name="think-cell Slide" r:id="rId5" imgW="395" imgH="394" progId="TCLayout.ActiveDocument.1">
                  <p:embed/>
                  <p:pic>
                    <p:nvPicPr>
                      <p:cNvPr id="3" name="Object 2" hidden="1">
                        <a:extLst>
                          <a:ext uri="{FF2B5EF4-FFF2-40B4-BE49-F238E27FC236}">
                            <a16:creationId xmlns:a16="http://schemas.microsoft.com/office/drawing/2014/main" id="{EF4AD34F-3B47-47E2-A09C-FFEB949F6A10}"/>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endParaRPr lang="en-US" dirty="0"/>
          </a:p>
        </p:txBody>
      </p:sp>
      <p:sp>
        <p:nvSpPr>
          <p:cNvPr id="15" name="Slide Number"/>
          <p:cNvSpPr txBox="1">
            <a:spLocks/>
          </p:cNvSpPr>
          <p:nvPr/>
        </p:nvSpPr>
        <p:spPr>
          <a:xfrm>
            <a:off x="8564563" y="6508272"/>
            <a:ext cx="125034" cy="123111"/>
          </a:xfrm>
          <a:prstGeom prst="rect">
            <a:avLst/>
          </a:prstGeom>
        </p:spPr>
        <p:txBody>
          <a:bodyPr vert="horz" wrap="none" lIns="0" tIns="0" rIns="0" bIns="0" rtlCol="0" anchor="ctr">
            <a:spAutoFit/>
          </a:bodyPr>
          <a:lstStyle>
            <a:defPPr>
              <a:defRPr lang="en-US"/>
            </a:defPPr>
            <a:lvl1pPr>
              <a:defRPr sz="1000" baseline="0">
                <a:latin typeface="+mn-lt"/>
              </a:defRPr>
            </a:lvl1pPr>
          </a:lstStyle>
          <a:p>
            <a:fld id="{42C328C1-A84F-4A39-A664-DBA00541A8C6}" type="slidenum">
              <a:rPr lang="en-US" sz="800" baseline="0" smtClean="0">
                <a:solidFill>
                  <a:srgbClr val="FFFFFF"/>
                </a:solidFill>
                <a:latin typeface="+mn-lt"/>
              </a:rPr>
              <a:pPr/>
              <a:t>‹#›</a:t>
            </a:fld>
            <a:endParaRPr lang="en-US" sz="800" baseline="0" dirty="0">
              <a:solidFill>
                <a:srgbClr val="FFFFFF"/>
              </a:solidFill>
              <a:latin typeface="+mn-lt"/>
            </a:endParaRPr>
          </a:p>
        </p:txBody>
      </p:sp>
      <p:sp>
        <p:nvSpPr>
          <p:cNvPr id="16" name="SlideLogoText"/>
          <p:cNvSpPr>
            <a:spLocks noChangeArrowheads="1"/>
          </p:cNvSpPr>
          <p:nvPr>
            <p:custDataLst>
              <p:tags r:id="rId3"/>
            </p:custDataLst>
          </p:nvPr>
        </p:nvSpPr>
        <p:spPr bwMode="auto">
          <a:xfrm>
            <a:off x="7450817" y="6508272"/>
            <a:ext cx="1013098"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algn="r" defTabSz="895350"/>
            <a:r>
              <a:rPr lang="en-US" sz="800" baseline="0" dirty="0">
                <a:solidFill>
                  <a:srgbClr val="FFFFFF"/>
                </a:solidFill>
                <a:latin typeface="+mn-lt"/>
              </a:rPr>
              <a:t>McKinsey &amp; Company</a:t>
            </a:r>
          </a:p>
        </p:txBody>
      </p:sp>
      <p:sp>
        <p:nvSpPr>
          <p:cNvPr id="5" name="doc id" hidden="1"/>
          <p:cNvSpPr txBox="1">
            <a:spLocks noChangeArrowheads="1"/>
          </p:cNvSpPr>
          <p:nvPr/>
        </p:nvSpPr>
        <p:spPr bwMode="white">
          <a:xfrm>
            <a:off x="8104473" y="36513"/>
            <a:ext cx="634716" cy="115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hangingPunct="1">
              <a:defRPr/>
            </a:pPr>
            <a:endParaRPr lang="en-US" sz="800" baseline="0" dirty="0">
              <a:solidFill>
                <a:schemeClr val="accent1"/>
              </a:solidFill>
              <a:latin typeface="+mn-lt"/>
              <a:ea typeface="+mn-ea"/>
            </a:endParaRPr>
          </a:p>
        </p:txBody>
      </p:sp>
    </p:spTree>
    <p:extLst>
      <p:ext uri="{BB962C8B-B14F-4D97-AF65-F5344CB8AC3E}">
        <p14:creationId xmlns:p14="http://schemas.microsoft.com/office/powerpoint/2010/main" val="568612622"/>
      </p:ext>
    </p:extLst>
  </p:cSld>
  <p:clrMapOvr>
    <a:masterClrMapping/>
  </p:clrMapOvr>
  <p:extLst mod="1">
    <p:ext uri="{DCECCB84-F9BA-43D5-87BE-67443E8EF086}">
      <p15:sldGuideLst xmlns:p15="http://schemas.microsoft.com/office/powerpoint/2012/main">
        <p15:guide id="1" pos="3978">
          <p15:clr>
            <a:srgbClr val="000000"/>
          </p15:clr>
        </p15:guide>
        <p15:guide id="2" orient="horz" pos="570">
          <p15:clr>
            <a:srgbClr val="000000"/>
          </p15:clr>
        </p15:guide>
        <p15:guide id="3" orient="horz" pos="3912">
          <p15:clr>
            <a:srgbClr val="000000"/>
          </p15:clr>
        </p15:guide>
        <p15:guide id="4" pos="72">
          <p15:clr>
            <a:srgbClr val="00000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type="titleOnly">
  <p:cSld name="2_Title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ECD524A-1569-4253-8CD8-48D288AD883C}"/>
              </a:ext>
            </a:extLst>
          </p:cNvPr>
          <p:cNvGraphicFramePr>
            <a:graphicFrameLocks noChangeAspect="1"/>
          </p:cNvGraphicFramePr>
          <p:nvPr>
            <p:custDataLst>
              <p:tags r:id="rId2"/>
            </p:custDataLst>
            <p:extLst>
              <p:ext uri="{D42A27DB-BD31-4B8C-83A1-F6EECF244321}">
                <p14:modId xmlns:p14="http://schemas.microsoft.com/office/powerpoint/2010/main" val="401742970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1940" name="think-cell Slide" r:id="rId4" imgW="395" imgH="394" progId="TCLayout.ActiveDocument.1">
                  <p:embed/>
                </p:oleObj>
              </mc:Choice>
              <mc:Fallback>
                <p:oleObj name="think-cell Slide" r:id="rId4" imgW="395" imgH="394" progId="TCLayout.ActiveDocument.1">
                  <p:embed/>
                  <p:pic>
                    <p:nvPicPr>
                      <p:cNvPr id="3" name="Object 2" hidden="1">
                        <a:extLst>
                          <a:ext uri="{FF2B5EF4-FFF2-40B4-BE49-F238E27FC236}">
                            <a16:creationId xmlns:a16="http://schemas.microsoft.com/office/drawing/2014/main" id="{5ECD524A-1569-4253-8CD8-48D288AD883C}"/>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32129510"/>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pic>
        <p:nvPicPr>
          <p:cNvPr id="2" name="background"/>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0" y="198"/>
            <a:ext cx="8961438" cy="6721079"/>
          </a:xfrm>
          <a:prstGeom prst="rect">
            <a:avLst/>
          </a:prstGeom>
        </p:spPr>
      </p:pic>
      <p:sp>
        <p:nvSpPr>
          <p:cNvPr id="28" name="TitleRectangle"/>
          <p:cNvSpPr txBox="1">
            <a:spLocks/>
          </p:cNvSpPr>
          <p:nvPr/>
        </p:nvSpPr>
        <p:spPr>
          <a:xfrm>
            <a:off x="2084388" y="0"/>
            <a:ext cx="6875462" cy="3575976"/>
          </a:xfrm>
          <a:prstGeom prst="rect">
            <a:avLst/>
          </a:prstGeom>
          <a:solidFill>
            <a:srgbClr val="002960">
              <a:alpha val="92000"/>
            </a:srgbClr>
          </a:solidFill>
        </p:spPr>
        <p:txBody>
          <a:bodyPr vert="horz" wrap="square" lIns="216000" tIns="1440000" rIns="216000" bIns="108000" rtlCol="0">
            <a:noAutofit/>
          </a:bodyPr>
          <a:lstStyle>
            <a:lvl1pPr marL="0" indent="0" algn="l" defTabSz="914400" rtl="0" eaLnBrk="1" latinLnBrk="0" hangingPunct="1">
              <a:spcBef>
                <a:spcPct val="20000"/>
              </a:spcBef>
              <a:spcAft>
                <a:spcPts val="6000"/>
              </a:spcAft>
              <a:buFont typeface="Arial" pitchFamily="34" charset="0"/>
              <a:buNone/>
              <a:defRPr sz="3200" kern="1200">
                <a:solidFill>
                  <a:schemeClr val="accent1"/>
                </a:solidFill>
                <a:latin typeface="+mn-lt"/>
                <a:ea typeface="+mn-ea"/>
                <a:cs typeface="+mn-cs"/>
              </a:defRPr>
            </a:lvl1pPr>
            <a:lvl2pPr marL="0" indent="0" algn="l" defTabSz="914400" rtl="0" eaLnBrk="1" latinLnBrk="0" hangingPunct="1">
              <a:spcBef>
                <a:spcPct val="20000"/>
              </a:spcBef>
              <a:buFont typeface="Wingdings" charset="2"/>
              <a:buNone/>
              <a:defRPr sz="1400" kern="1200">
                <a:solidFill>
                  <a:schemeClr val="tx1">
                    <a:lumMod val="50000"/>
                    <a:lumOff val="50000"/>
                  </a:schemeClr>
                </a:solidFill>
                <a:latin typeface="+mn-lt"/>
                <a:ea typeface="+mn-ea"/>
                <a:cs typeface="+mn-cs"/>
              </a:defRPr>
            </a:lvl2pPr>
            <a:lvl3pPr marL="1143000" indent="-228600" algn="l" defTabSz="914400" rtl="0" eaLnBrk="1" latinLnBrk="0" hangingPunct="1">
              <a:spcBef>
                <a:spcPct val="20000"/>
              </a:spcBef>
              <a:buFont typeface="Lucida Grande"/>
              <a:buChar char="–"/>
              <a:defRPr sz="16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fontAlgn="auto">
              <a:defRPr/>
            </a:pPr>
            <a:r>
              <a:rPr lang="en-US" baseline="0" dirty="0">
                <a:solidFill>
                  <a:srgbClr val="00ADEF"/>
                </a:solidFill>
                <a:latin typeface="+mn-lt"/>
              </a:rPr>
              <a:t>
              </a:t>
            </a:r>
            <a:br>
              <a:rPr lang="en-US" baseline="0" dirty="0">
                <a:solidFill>
                  <a:srgbClr val="00ADEF"/>
                </a:solidFill>
                <a:latin typeface="+mn-lt"/>
              </a:rPr>
            </a:br>
            <a:endParaRPr lang="en-US" baseline="0" dirty="0">
              <a:solidFill>
                <a:srgbClr val="00ADEF"/>
              </a:solidFill>
              <a:latin typeface="+mn-lt"/>
            </a:endParaRPr>
          </a:p>
        </p:txBody>
      </p:sp>
      <p:graphicFrame>
        <p:nvGraphicFramePr>
          <p:cNvPr id="3" name="Object 2"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3988"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Working Draft Text" hidden="1"/>
          <p:cNvSpPr txBox="1">
            <a:spLocks noChangeArrowheads="1"/>
          </p:cNvSpPr>
          <p:nvPr/>
        </p:nvSpPr>
        <p:spPr bwMode="black">
          <a:xfrm>
            <a:off x="5992719" y="6287538"/>
            <a:ext cx="2790000"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800" b="1" baseline="0" dirty="0">
                <a:solidFill>
                  <a:srgbClr val="FFFFFF"/>
                </a:solidFill>
                <a:latin typeface="+mn-lt"/>
              </a:rPr>
              <a:t>WORKING DRAFT</a:t>
            </a:r>
          </a:p>
        </p:txBody>
      </p:sp>
      <p:sp>
        <p:nvSpPr>
          <p:cNvPr id="6" name="Working Draft" hidden="1"/>
          <p:cNvSpPr txBox="1">
            <a:spLocks noChangeArrowheads="1"/>
          </p:cNvSpPr>
          <p:nvPr/>
        </p:nvSpPr>
        <p:spPr bwMode="black">
          <a:xfrm>
            <a:off x="5992718" y="6410648"/>
            <a:ext cx="2968719"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800" baseline="0">
                <a:solidFill>
                  <a:srgbClr val="FFFFFF"/>
                </a:solidFill>
                <a:latin typeface="+mn-lt"/>
              </a:rPr>
              <a:t>Last Modified 21/05/2018 17:44 India Standard Time</a:t>
            </a:r>
            <a:endParaRPr lang="en-US" sz="800" baseline="0" dirty="0">
              <a:solidFill>
                <a:srgbClr val="FFFFFF"/>
              </a:solidFill>
              <a:latin typeface="+mn-lt"/>
            </a:endParaRPr>
          </a:p>
        </p:txBody>
      </p:sp>
      <p:sp>
        <p:nvSpPr>
          <p:cNvPr id="7" name="Printed" hidden="1"/>
          <p:cNvSpPr txBox="1">
            <a:spLocks noChangeArrowheads="1"/>
          </p:cNvSpPr>
          <p:nvPr/>
        </p:nvSpPr>
        <p:spPr bwMode="black">
          <a:xfrm>
            <a:off x="5992719" y="6533759"/>
            <a:ext cx="2790000"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800" baseline="0" dirty="0">
                <a:solidFill>
                  <a:srgbClr val="FFFFFF"/>
                </a:solidFill>
                <a:latin typeface="+mn-lt"/>
              </a:rPr>
              <a:t>Printed</a:t>
            </a:r>
          </a:p>
        </p:txBody>
      </p:sp>
      <p:sp>
        <p:nvSpPr>
          <p:cNvPr id="13314" name="Title"/>
          <p:cNvSpPr>
            <a:spLocks noGrp="1" noChangeArrowheads="1"/>
          </p:cNvSpPr>
          <p:nvPr>
            <p:ph type="ctrTitle"/>
          </p:nvPr>
        </p:nvSpPr>
        <p:spPr>
          <a:xfrm>
            <a:off x="2268266" y="1434419"/>
            <a:ext cx="6231663" cy="492443"/>
          </a:xfrm>
          <a:prstGeom prst="rect">
            <a:avLst/>
          </a:prstGeom>
        </p:spPr>
        <p:txBody>
          <a:bodyPr>
            <a:spAutoFit/>
          </a:bodyPr>
          <a:lstStyle>
            <a:lvl1pPr>
              <a:defRPr sz="3200" b="0" baseline="0">
                <a:solidFill>
                  <a:schemeClr val="accent2"/>
                </a:solidFill>
                <a:latin typeface="+mj-lt"/>
                <a:ea typeface="+mj-ea"/>
              </a:defRPr>
            </a:lvl1pPr>
          </a:lstStyle>
          <a:p>
            <a:pPr lvl="0" latinLnBrk="0"/>
            <a:r>
              <a:rPr lang="en-US" noProof="0"/>
              <a:t>Click to edit Master title style</a:t>
            </a:r>
            <a:endParaRPr lang="en-US" noProof="0" dirty="0"/>
          </a:p>
        </p:txBody>
      </p:sp>
      <p:sp>
        <p:nvSpPr>
          <p:cNvPr id="13315" name="Subtitle"/>
          <p:cNvSpPr>
            <a:spLocks noGrp="1" noChangeArrowheads="1"/>
          </p:cNvSpPr>
          <p:nvPr>
            <p:ph type="subTitle" idx="1"/>
          </p:nvPr>
        </p:nvSpPr>
        <p:spPr>
          <a:xfrm>
            <a:off x="2268266" y="2819401"/>
            <a:ext cx="6231663" cy="215444"/>
          </a:xfrm>
          <a:prstGeom prst="rect">
            <a:avLst/>
          </a:prstGeom>
        </p:spPr>
        <p:txBody>
          <a:bodyPr wrap="square">
            <a:spAutoFit/>
          </a:bodyPr>
          <a:lstStyle>
            <a:lvl1pPr>
              <a:defRPr sz="1400" cap="all" baseline="0">
                <a:solidFill>
                  <a:schemeClr val="bg1"/>
                </a:solidFill>
                <a:latin typeface="+mn-lt"/>
                <a:ea typeface="+mn-ea"/>
              </a:defRPr>
            </a:lvl1pPr>
          </a:lstStyle>
          <a:p>
            <a:pPr lvl="0" latinLnBrk="0"/>
            <a:r>
              <a:rPr lang="en-US" noProof="0"/>
              <a:t>Click to edit Master subtitle style</a:t>
            </a:r>
            <a:endParaRPr lang="en-US" noProof="0" dirty="0"/>
          </a:p>
        </p:txBody>
      </p:sp>
      <p:sp>
        <p:nvSpPr>
          <p:cNvPr id="57" name="Document type" hidden="1"/>
          <p:cNvSpPr txBox="1">
            <a:spLocks noChangeArrowheads="1"/>
          </p:cNvSpPr>
          <p:nvPr/>
        </p:nvSpPr>
        <p:spPr bwMode="gray">
          <a:xfrm>
            <a:off x="2268266" y="3227411"/>
            <a:ext cx="6231663"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00" baseline="0" dirty="0">
                <a:solidFill>
                  <a:schemeClr val="bg1"/>
                </a:solidFill>
                <a:latin typeface="+mn-lt"/>
              </a:rPr>
              <a:t>Document type | Date</a:t>
            </a:r>
          </a:p>
        </p:txBody>
      </p:sp>
      <p:sp>
        <p:nvSpPr>
          <p:cNvPr id="5" name="doc id" hidden="1"/>
          <p:cNvSpPr txBox="1">
            <a:spLocks noChangeArrowheads="1"/>
          </p:cNvSpPr>
          <p:nvPr/>
        </p:nvSpPr>
        <p:spPr bwMode="white">
          <a:xfrm>
            <a:off x="8443913" y="36513"/>
            <a:ext cx="295275" cy="1222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hangingPunct="1">
              <a:defRPr/>
            </a:pPr>
            <a:endParaRPr lang="en-US" sz="800" baseline="0" dirty="0">
              <a:solidFill>
                <a:srgbClr val="FFFFFF"/>
              </a:solidFill>
              <a:latin typeface="+mn-lt"/>
            </a:endParaRPr>
          </a:p>
        </p:txBody>
      </p:sp>
      <p:sp>
        <p:nvSpPr>
          <p:cNvPr id="43" name="LogoImage"/>
          <p:cNvSpPr>
            <a:spLocks noEditPoints="1"/>
          </p:cNvSpPr>
          <p:nvPr/>
        </p:nvSpPr>
        <p:spPr bwMode="white">
          <a:xfrm>
            <a:off x="2269098" y="182925"/>
            <a:ext cx="2176978" cy="238073"/>
          </a:xfrm>
          <a:custGeom>
            <a:avLst/>
            <a:gdLst>
              <a:gd name="T0" fmla="*/ 504 w 5516"/>
              <a:gd name="T1" fmla="*/ 26 h 606"/>
              <a:gd name="T2" fmla="*/ 18 w 5516"/>
              <a:gd name="T3" fmla="*/ 22 h 606"/>
              <a:gd name="T4" fmla="*/ 140 w 5516"/>
              <a:gd name="T5" fmla="*/ 436 h 606"/>
              <a:gd name="T6" fmla="*/ 408 w 5516"/>
              <a:gd name="T7" fmla="*/ 372 h 606"/>
              <a:gd name="T8" fmla="*/ 696 w 5516"/>
              <a:gd name="T9" fmla="*/ 422 h 606"/>
              <a:gd name="T10" fmla="*/ 768 w 5516"/>
              <a:gd name="T11" fmla="*/ 196 h 606"/>
              <a:gd name="T12" fmla="*/ 1272 w 5516"/>
              <a:gd name="T13" fmla="*/ 26 h 606"/>
              <a:gd name="T14" fmla="*/ 1302 w 5516"/>
              <a:gd name="T15" fmla="*/ 338 h 606"/>
              <a:gd name="T16" fmla="*/ 1202 w 5516"/>
              <a:gd name="T17" fmla="*/ 436 h 606"/>
              <a:gd name="T18" fmla="*/ 1030 w 5516"/>
              <a:gd name="T19" fmla="*/ 10 h 606"/>
              <a:gd name="T20" fmla="*/ 960 w 5516"/>
              <a:gd name="T21" fmla="*/ 22 h 606"/>
              <a:gd name="T22" fmla="*/ 804 w 5516"/>
              <a:gd name="T23" fmla="*/ 434 h 606"/>
              <a:gd name="T24" fmla="*/ 930 w 5516"/>
              <a:gd name="T25" fmla="*/ 246 h 606"/>
              <a:gd name="T26" fmla="*/ 1658 w 5516"/>
              <a:gd name="T27" fmla="*/ 342 h 606"/>
              <a:gd name="T28" fmla="*/ 1368 w 5516"/>
              <a:gd name="T29" fmla="*/ 188 h 606"/>
              <a:gd name="T30" fmla="*/ 1514 w 5516"/>
              <a:gd name="T31" fmla="*/ 436 h 606"/>
              <a:gd name="T32" fmla="*/ 1564 w 5516"/>
              <a:gd name="T33" fmla="*/ 434 h 606"/>
              <a:gd name="T34" fmla="*/ 1904 w 5516"/>
              <a:gd name="T35" fmla="*/ 184 h 606"/>
              <a:gd name="T36" fmla="*/ 1728 w 5516"/>
              <a:gd name="T37" fmla="*/ 366 h 606"/>
              <a:gd name="T38" fmla="*/ 2102 w 5516"/>
              <a:gd name="T39" fmla="*/ 192 h 606"/>
              <a:gd name="T40" fmla="*/ 1982 w 5516"/>
              <a:gd name="T41" fmla="*/ 320 h 606"/>
              <a:gd name="T42" fmla="*/ 2478 w 5516"/>
              <a:gd name="T43" fmla="*/ 242 h 606"/>
              <a:gd name="T44" fmla="*/ 2406 w 5516"/>
              <a:gd name="T45" fmla="*/ 390 h 606"/>
              <a:gd name="T46" fmla="*/ 2234 w 5516"/>
              <a:gd name="T47" fmla="*/ 192 h 606"/>
              <a:gd name="T48" fmla="*/ 2478 w 5516"/>
              <a:gd name="T49" fmla="*/ 242 h 606"/>
              <a:gd name="T50" fmla="*/ 2928 w 5516"/>
              <a:gd name="T51" fmla="*/ 448 h 606"/>
              <a:gd name="T52" fmla="*/ 2958 w 5516"/>
              <a:gd name="T53" fmla="*/ 230 h 606"/>
              <a:gd name="T54" fmla="*/ 2716 w 5516"/>
              <a:gd name="T55" fmla="*/ 54 h 606"/>
              <a:gd name="T56" fmla="*/ 2714 w 5516"/>
              <a:gd name="T57" fmla="*/ 36 h 606"/>
              <a:gd name="T58" fmla="*/ 2928 w 5516"/>
              <a:gd name="T59" fmla="*/ 448 h 606"/>
              <a:gd name="T60" fmla="*/ 3388 w 5516"/>
              <a:gd name="T61" fmla="*/ 4 h 606"/>
              <a:gd name="T62" fmla="*/ 3396 w 5516"/>
              <a:gd name="T63" fmla="*/ 366 h 606"/>
              <a:gd name="T64" fmla="*/ 3580 w 5516"/>
              <a:gd name="T65" fmla="*/ 190 h 606"/>
              <a:gd name="T66" fmla="*/ 3502 w 5516"/>
              <a:gd name="T67" fmla="*/ 432 h 606"/>
              <a:gd name="T68" fmla="*/ 4232 w 5516"/>
              <a:gd name="T69" fmla="*/ 348 h 606"/>
              <a:gd name="T70" fmla="*/ 3858 w 5516"/>
              <a:gd name="T71" fmla="*/ 176 h 606"/>
              <a:gd name="T72" fmla="*/ 3758 w 5516"/>
              <a:gd name="T73" fmla="*/ 446 h 606"/>
              <a:gd name="T74" fmla="*/ 3990 w 5516"/>
              <a:gd name="T75" fmla="*/ 282 h 606"/>
              <a:gd name="T76" fmla="*/ 4042 w 5516"/>
              <a:gd name="T77" fmla="*/ 342 h 606"/>
              <a:gd name="T78" fmla="*/ 4134 w 5516"/>
              <a:gd name="T79" fmla="*/ 448 h 606"/>
              <a:gd name="T80" fmla="*/ 4454 w 5516"/>
              <a:gd name="T81" fmla="*/ 202 h 606"/>
              <a:gd name="T82" fmla="*/ 4284 w 5516"/>
              <a:gd name="T83" fmla="*/ 174 h 606"/>
              <a:gd name="T84" fmla="*/ 4432 w 5516"/>
              <a:gd name="T85" fmla="*/ 588 h 606"/>
              <a:gd name="T86" fmla="*/ 4792 w 5516"/>
              <a:gd name="T87" fmla="*/ 382 h 606"/>
              <a:gd name="T88" fmla="*/ 5192 w 5516"/>
              <a:gd name="T89" fmla="*/ 340 h 606"/>
              <a:gd name="T90" fmla="*/ 4902 w 5516"/>
              <a:gd name="T91" fmla="*/ 186 h 606"/>
              <a:gd name="T92" fmla="*/ 4850 w 5516"/>
              <a:gd name="T93" fmla="*/ 274 h 606"/>
              <a:gd name="T94" fmla="*/ 4742 w 5516"/>
              <a:gd name="T95" fmla="*/ 194 h 606"/>
              <a:gd name="T96" fmla="*/ 4794 w 5516"/>
              <a:gd name="T97" fmla="*/ 418 h 606"/>
              <a:gd name="T98" fmla="*/ 5004 w 5516"/>
              <a:gd name="T99" fmla="*/ 338 h 606"/>
              <a:gd name="T100" fmla="*/ 5098 w 5516"/>
              <a:gd name="T101" fmla="*/ 446 h 606"/>
              <a:gd name="T102" fmla="*/ 5418 w 5516"/>
              <a:gd name="T103" fmla="*/ 192 h 606"/>
              <a:gd name="T104" fmla="*/ 5348 w 5516"/>
              <a:gd name="T105" fmla="*/ 180 h 606"/>
              <a:gd name="T106" fmla="*/ 5254 w 5516"/>
              <a:gd name="T107" fmla="*/ 606 h 6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516" h="606">
                <a:moveTo>
                  <a:pt x="366" y="448"/>
                </a:moveTo>
                <a:cubicBezTo>
                  <a:pt x="524" y="448"/>
                  <a:pt x="524" y="448"/>
                  <a:pt x="524" y="448"/>
                </a:cubicBezTo>
                <a:cubicBezTo>
                  <a:pt x="524" y="436"/>
                  <a:pt x="524" y="436"/>
                  <a:pt x="524" y="436"/>
                </a:cubicBezTo>
                <a:cubicBezTo>
                  <a:pt x="486" y="432"/>
                  <a:pt x="470" y="414"/>
                  <a:pt x="468" y="362"/>
                </a:cubicBezTo>
                <a:cubicBezTo>
                  <a:pt x="454" y="86"/>
                  <a:pt x="454" y="86"/>
                  <a:pt x="454" y="86"/>
                </a:cubicBezTo>
                <a:cubicBezTo>
                  <a:pt x="452" y="46"/>
                  <a:pt x="470" y="30"/>
                  <a:pt x="504" y="26"/>
                </a:cubicBezTo>
                <a:cubicBezTo>
                  <a:pt x="504" y="12"/>
                  <a:pt x="504" y="12"/>
                  <a:pt x="504" y="12"/>
                </a:cubicBezTo>
                <a:cubicBezTo>
                  <a:pt x="394" y="12"/>
                  <a:pt x="394" y="12"/>
                  <a:pt x="394" y="12"/>
                </a:cubicBezTo>
                <a:cubicBezTo>
                  <a:pt x="264" y="350"/>
                  <a:pt x="264" y="350"/>
                  <a:pt x="264" y="350"/>
                </a:cubicBezTo>
                <a:cubicBezTo>
                  <a:pt x="132" y="10"/>
                  <a:pt x="132" y="10"/>
                  <a:pt x="132" y="10"/>
                </a:cubicBezTo>
                <a:cubicBezTo>
                  <a:pt x="18" y="10"/>
                  <a:pt x="18" y="10"/>
                  <a:pt x="18" y="10"/>
                </a:cubicBezTo>
                <a:cubicBezTo>
                  <a:pt x="18" y="22"/>
                  <a:pt x="18" y="22"/>
                  <a:pt x="18" y="22"/>
                </a:cubicBezTo>
                <a:cubicBezTo>
                  <a:pt x="40" y="26"/>
                  <a:pt x="74" y="32"/>
                  <a:pt x="72" y="84"/>
                </a:cubicBezTo>
                <a:cubicBezTo>
                  <a:pt x="58" y="352"/>
                  <a:pt x="58" y="352"/>
                  <a:pt x="58" y="352"/>
                </a:cubicBezTo>
                <a:cubicBezTo>
                  <a:pt x="54" y="410"/>
                  <a:pt x="38" y="430"/>
                  <a:pt x="0" y="436"/>
                </a:cubicBezTo>
                <a:cubicBezTo>
                  <a:pt x="0" y="448"/>
                  <a:pt x="0" y="448"/>
                  <a:pt x="0" y="448"/>
                </a:cubicBezTo>
                <a:cubicBezTo>
                  <a:pt x="140" y="448"/>
                  <a:pt x="140" y="448"/>
                  <a:pt x="140" y="448"/>
                </a:cubicBezTo>
                <a:cubicBezTo>
                  <a:pt x="140" y="436"/>
                  <a:pt x="140" y="436"/>
                  <a:pt x="140" y="436"/>
                </a:cubicBezTo>
                <a:cubicBezTo>
                  <a:pt x="98" y="428"/>
                  <a:pt x="84" y="414"/>
                  <a:pt x="88" y="356"/>
                </a:cubicBezTo>
                <a:cubicBezTo>
                  <a:pt x="100" y="86"/>
                  <a:pt x="100" y="86"/>
                  <a:pt x="100" y="86"/>
                </a:cubicBezTo>
                <a:cubicBezTo>
                  <a:pt x="240" y="444"/>
                  <a:pt x="240" y="444"/>
                  <a:pt x="240" y="444"/>
                </a:cubicBezTo>
                <a:cubicBezTo>
                  <a:pt x="258" y="444"/>
                  <a:pt x="258" y="444"/>
                  <a:pt x="258" y="444"/>
                </a:cubicBezTo>
                <a:cubicBezTo>
                  <a:pt x="396" y="86"/>
                  <a:pt x="396" y="86"/>
                  <a:pt x="396" y="86"/>
                </a:cubicBezTo>
                <a:cubicBezTo>
                  <a:pt x="408" y="372"/>
                  <a:pt x="408" y="372"/>
                  <a:pt x="408" y="372"/>
                </a:cubicBezTo>
                <a:cubicBezTo>
                  <a:pt x="410" y="416"/>
                  <a:pt x="398" y="430"/>
                  <a:pt x="366" y="434"/>
                </a:cubicBezTo>
                <a:lnTo>
                  <a:pt x="366" y="448"/>
                </a:lnTo>
                <a:close/>
                <a:moveTo>
                  <a:pt x="670" y="456"/>
                </a:moveTo>
                <a:cubicBezTo>
                  <a:pt x="708" y="456"/>
                  <a:pt x="756" y="440"/>
                  <a:pt x="782" y="412"/>
                </a:cubicBezTo>
                <a:cubicBezTo>
                  <a:pt x="776" y="400"/>
                  <a:pt x="776" y="400"/>
                  <a:pt x="776" y="400"/>
                </a:cubicBezTo>
                <a:cubicBezTo>
                  <a:pt x="750" y="416"/>
                  <a:pt x="722" y="422"/>
                  <a:pt x="696" y="422"/>
                </a:cubicBezTo>
                <a:cubicBezTo>
                  <a:pt x="620" y="422"/>
                  <a:pt x="592" y="358"/>
                  <a:pt x="592" y="290"/>
                </a:cubicBezTo>
                <a:cubicBezTo>
                  <a:pt x="592" y="258"/>
                  <a:pt x="600" y="236"/>
                  <a:pt x="614" y="222"/>
                </a:cubicBezTo>
                <a:cubicBezTo>
                  <a:pt x="626" y="210"/>
                  <a:pt x="646" y="204"/>
                  <a:pt x="664" y="204"/>
                </a:cubicBezTo>
                <a:cubicBezTo>
                  <a:pt x="690" y="204"/>
                  <a:pt x="722" y="214"/>
                  <a:pt x="744" y="244"/>
                </a:cubicBezTo>
                <a:cubicBezTo>
                  <a:pt x="750" y="244"/>
                  <a:pt x="750" y="244"/>
                  <a:pt x="750" y="244"/>
                </a:cubicBezTo>
                <a:cubicBezTo>
                  <a:pt x="758" y="234"/>
                  <a:pt x="766" y="212"/>
                  <a:pt x="768" y="196"/>
                </a:cubicBezTo>
                <a:cubicBezTo>
                  <a:pt x="748" y="180"/>
                  <a:pt x="720" y="172"/>
                  <a:pt x="686" y="172"/>
                </a:cubicBezTo>
                <a:cubicBezTo>
                  <a:pt x="604" y="172"/>
                  <a:pt x="544" y="246"/>
                  <a:pt x="544" y="326"/>
                </a:cubicBezTo>
                <a:cubicBezTo>
                  <a:pt x="540" y="390"/>
                  <a:pt x="576" y="456"/>
                  <a:pt x="670" y="456"/>
                </a:cubicBezTo>
                <a:moveTo>
                  <a:pt x="1272" y="98"/>
                </a:moveTo>
                <a:cubicBezTo>
                  <a:pt x="1292" y="98"/>
                  <a:pt x="1308" y="82"/>
                  <a:pt x="1308" y="62"/>
                </a:cubicBezTo>
                <a:cubicBezTo>
                  <a:pt x="1308" y="42"/>
                  <a:pt x="1292" y="26"/>
                  <a:pt x="1272" y="26"/>
                </a:cubicBezTo>
                <a:cubicBezTo>
                  <a:pt x="1252" y="26"/>
                  <a:pt x="1238" y="42"/>
                  <a:pt x="1238" y="62"/>
                </a:cubicBezTo>
                <a:cubicBezTo>
                  <a:pt x="1238" y="82"/>
                  <a:pt x="1252" y="98"/>
                  <a:pt x="1272" y="98"/>
                </a:cubicBezTo>
                <a:moveTo>
                  <a:pt x="1202" y="448"/>
                </a:moveTo>
                <a:cubicBezTo>
                  <a:pt x="1346" y="448"/>
                  <a:pt x="1346" y="448"/>
                  <a:pt x="1346" y="448"/>
                </a:cubicBezTo>
                <a:cubicBezTo>
                  <a:pt x="1346" y="436"/>
                  <a:pt x="1346" y="436"/>
                  <a:pt x="1346" y="436"/>
                </a:cubicBezTo>
                <a:cubicBezTo>
                  <a:pt x="1304" y="432"/>
                  <a:pt x="1302" y="434"/>
                  <a:pt x="1302" y="338"/>
                </a:cubicBezTo>
                <a:cubicBezTo>
                  <a:pt x="1302" y="176"/>
                  <a:pt x="1302" y="176"/>
                  <a:pt x="1302" y="176"/>
                </a:cubicBezTo>
                <a:cubicBezTo>
                  <a:pt x="1200" y="176"/>
                  <a:pt x="1200" y="176"/>
                  <a:pt x="1200" y="176"/>
                </a:cubicBezTo>
                <a:cubicBezTo>
                  <a:pt x="1200" y="188"/>
                  <a:pt x="1200" y="188"/>
                  <a:pt x="1200" y="188"/>
                </a:cubicBezTo>
                <a:cubicBezTo>
                  <a:pt x="1244" y="190"/>
                  <a:pt x="1250" y="192"/>
                  <a:pt x="1250" y="268"/>
                </a:cubicBezTo>
                <a:cubicBezTo>
                  <a:pt x="1250" y="336"/>
                  <a:pt x="1250" y="336"/>
                  <a:pt x="1250" y="336"/>
                </a:cubicBezTo>
                <a:cubicBezTo>
                  <a:pt x="1250" y="432"/>
                  <a:pt x="1248" y="432"/>
                  <a:pt x="1202" y="436"/>
                </a:cubicBezTo>
                <a:cubicBezTo>
                  <a:pt x="1178" y="434"/>
                  <a:pt x="1154" y="426"/>
                  <a:pt x="1076" y="338"/>
                </a:cubicBezTo>
                <a:cubicBezTo>
                  <a:pt x="1046" y="302"/>
                  <a:pt x="996" y="244"/>
                  <a:pt x="968" y="206"/>
                </a:cubicBezTo>
                <a:cubicBezTo>
                  <a:pt x="1062" y="102"/>
                  <a:pt x="1062" y="102"/>
                  <a:pt x="1062" y="102"/>
                </a:cubicBezTo>
                <a:cubicBezTo>
                  <a:pt x="1108" y="52"/>
                  <a:pt x="1132" y="26"/>
                  <a:pt x="1176" y="24"/>
                </a:cubicBezTo>
                <a:cubicBezTo>
                  <a:pt x="1176" y="10"/>
                  <a:pt x="1176" y="10"/>
                  <a:pt x="1176" y="10"/>
                </a:cubicBezTo>
                <a:cubicBezTo>
                  <a:pt x="1030" y="10"/>
                  <a:pt x="1030" y="10"/>
                  <a:pt x="1030" y="10"/>
                </a:cubicBezTo>
                <a:cubicBezTo>
                  <a:pt x="1030" y="22"/>
                  <a:pt x="1030" y="22"/>
                  <a:pt x="1030" y="22"/>
                </a:cubicBezTo>
                <a:cubicBezTo>
                  <a:pt x="1050" y="26"/>
                  <a:pt x="1056" y="32"/>
                  <a:pt x="1056" y="46"/>
                </a:cubicBezTo>
                <a:cubicBezTo>
                  <a:pt x="1056" y="56"/>
                  <a:pt x="1054" y="72"/>
                  <a:pt x="1026" y="102"/>
                </a:cubicBezTo>
                <a:cubicBezTo>
                  <a:pt x="910" y="230"/>
                  <a:pt x="910" y="230"/>
                  <a:pt x="910" y="230"/>
                </a:cubicBezTo>
                <a:cubicBezTo>
                  <a:pt x="910" y="148"/>
                  <a:pt x="910" y="148"/>
                  <a:pt x="910" y="148"/>
                </a:cubicBezTo>
                <a:cubicBezTo>
                  <a:pt x="910" y="36"/>
                  <a:pt x="916" y="28"/>
                  <a:pt x="960" y="22"/>
                </a:cubicBezTo>
                <a:cubicBezTo>
                  <a:pt x="960" y="8"/>
                  <a:pt x="960" y="8"/>
                  <a:pt x="960" y="8"/>
                </a:cubicBezTo>
                <a:cubicBezTo>
                  <a:pt x="804" y="8"/>
                  <a:pt x="804" y="8"/>
                  <a:pt x="804" y="8"/>
                </a:cubicBezTo>
                <a:cubicBezTo>
                  <a:pt x="804" y="22"/>
                  <a:pt x="804" y="22"/>
                  <a:pt x="804" y="22"/>
                </a:cubicBezTo>
                <a:cubicBezTo>
                  <a:pt x="852" y="26"/>
                  <a:pt x="854" y="36"/>
                  <a:pt x="854" y="148"/>
                </a:cubicBezTo>
                <a:cubicBezTo>
                  <a:pt x="854" y="300"/>
                  <a:pt x="854" y="300"/>
                  <a:pt x="854" y="300"/>
                </a:cubicBezTo>
                <a:cubicBezTo>
                  <a:pt x="854" y="422"/>
                  <a:pt x="850" y="430"/>
                  <a:pt x="804" y="434"/>
                </a:cubicBezTo>
                <a:cubicBezTo>
                  <a:pt x="804" y="446"/>
                  <a:pt x="804" y="446"/>
                  <a:pt x="804" y="446"/>
                </a:cubicBezTo>
                <a:cubicBezTo>
                  <a:pt x="960" y="446"/>
                  <a:pt x="960" y="446"/>
                  <a:pt x="960" y="446"/>
                </a:cubicBezTo>
                <a:cubicBezTo>
                  <a:pt x="960" y="434"/>
                  <a:pt x="960" y="434"/>
                  <a:pt x="960" y="434"/>
                </a:cubicBezTo>
                <a:cubicBezTo>
                  <a:pt x="910" y="428"/>
                  <a:pt x="910" y="424"/>
                  <a:pt x="910" y="292"/>
                </a:cubicBezTo>
                <a:cubicBezTo>
                  <a:pt x="910" y="268"/>
                  <a:pt x="910" y="268"/>
                  <a:pt x="910" y="268"/>
                </a:cubicBezTo>
                <a:cubicBezTo>
                  <a:pt x="930" y="246"/>
                  <a:pt x="930" y="246"/>
                  <a:pt x="930" y="246"/>
                </a:cubicBezTo>
                <a:cubicBezTo>
                  <a:pt x="982" y="310"/>
                  <a:pt x="1038" y="380"/>
                  <a:pt x="1098" y="448"/>
                </a:cubicBezTo>
                <a:cubicBezTo>
                  <a:pt x="1202" y="448"/>
                  <a:pt x="1202" y="448"/>
                  <a:pt x="1202" y="448"/>
                </a:cubicBezTo>
                <a:close/>
                <a:moveTo>
                  <a:pt x="1564" y="448"/>
                </a:moveTo>
                <a:cubicBezTo>
                  <a:pt x="1706" y="448"/>
                  <a:pt x="1706" y="448"/>
                  <a:pt x="1706" y="448"/>
                </a:cubicBezTo>
                <a:cubicBezTo>
                  <a:pt x="1706" y="436"/>
                  <a:pt x="1706" y="436"/>
                  <a:pt x="1706" y="436"/>
                </a:cubicBezTo>
                <a:cubicBezTo>
                  <a:pt x="1658" y="434"/>
                  <a:pt x="1658" y="432"/>
                  <a:pt x="1658" y="342"/>
                </a:cubicBezTo>
                <a:cubicBezTo>
                  <a:pt x="1658" y="280"/>
                  <a:pt x="1658" y="280"/>
                  <a:pt x="1658" y="280"/>
                </a:cubicBezTo>
                <a:cubicBezTo>
                  <a:pt x="1658" y="198"/>
                  <a:pt x="1612" y="172"/>
                  <a:pt x="1570" y="172"/>
                </a:cubicBezTo>
                <a:cubicBezTo>
                  <a:pt x="1534" y="172"/>
                  <a:pt x="1498" y="188"/>
                  <a:pt x="1470" y="224"/>
                </a:cubicBezTo>
                <a:cubicBezTo>
                  <a:pt x="1470" y="176"/>
                  <a:pt x="1470" y="176"/>
                  <a:pt x="1470" y="176"/>
                </a:cubicBezTo>
                <a:cubicBezTo>
                  <a:pt x="1368" y="176"/>
                  <a:pt x="1368" y="176"/>
                  <a:pt x="1368" y="176"/>
                </a:cubicBezTo>
                <a:cubicBezTo>
                  <a:pt x="1368" y="188"/>
                  <a:pt x="1368" y="188"/>
                  <a:pt x="1368" y="188"/>
                </a:cubicBezTo>
                <a:cubicBezTo>
                  <a:pt x="1412" y="190"/>
                  <a:pt x="1418" y="192"/>
                  <a:pt x="1418" y="268"/>
                </a:cubicBezTo>
                <a:cubicBezTo>
                  <a:pt x="1418" y="336"/>
                  <a:pt x="1418" y="336"/>
                  <a:pt x="1418" y="336"/>
                </a:cubicBezTo>
                <a:cubicBezTo>
                  <a:pt x="1418" y="434"/>
                  <a:pt x="1418" y="434"/>
                  <a:pt x="1370" y="436"/>
                </a:cubicBezTo>
                <a:cubicBezTo>
                  <a:pt x="1370" y="448"/>
                  <a:pt x="1370" y="448"/>
                  <a:pt x="1370" y="448"/>
                </a:cubicBezTo>
                <a:cubicBezTo>
                  <a:pt x="1514" y="448"/>
                  <a:pt x="1514" y="448"/>
                  <a:pt x="1514" y="448"/>
                </a:cubicBezTo>
                <a:cubicBezTo>
                  <a:pt x="1514" y="436"/>
                  <a:pt x="1514" y="436"/>
                  <a:pt x="1514" y="436"/>
                </a:cubicBezTo>
                <a:cubicBezTo>
                  <a:pt x="1472" y="432"/>
                  <a:pt x="1470" y="434"/>
                  <a:pt x="1470" y="338"/>
                </a:cubicBezTo>
                <a:cubicBezTo>
                  <a:pt x="1470" y="262"/>
                  <a:pt x="1470" y="262"/>
                  <a:pt x="1470" y="262"/>
                </a:cubicBezTo>
                <a:cubicBezTo>
                  <a:pt x="1470" y="236"/>
                  <a:pt x="1504" y="206"/>
                  <a:pt x="1546" y="206"/>
                </a:cubicBezTo>
                <a:cubicBezTo>
                  <a:pt x="1580" y="206"/>
                  <a:pt x="1606" y="220"/>
                  <a:pt x="1606" y="286"/>
                </a:cubicBezTo>
                <a:cubicBezTo>
                  <a:pt x="1606" y="340"/>
                  <a:pt x="1606" y="340"/>
                  <a:pt x="1606" y="340"/>
                </a:cubicBezTo>
                <a:cubicBezTo>
                  <a:pt x="1606" y="432"/>
                  <a:pt x="1602" y="432"/>
                  <a:pt x="1564" y="434"/>
                </a:cubicBezTo>
                <a:lnTo>
                  <a:pt x="1564" y="448"/>
                </a:lnTo>
                <a:close/>
                <a:moveTo>
                  <a:pt x="1776" y="222"/>
                </a:moveTo>
                <a:cubicBezTo>
                  <a:pt x="1776" y="200"/>
                  <a:pt x="1796" y="188"/>
                  <a:pt x="1822" y="188"/>
                </a:cubicBezTo>
                <a:cubicBezTo>
                  <a:pt x="1874" y="188"/>
                  <a:pt x="1896" y="236"/>
                  <a:pt x="1900" y="252"/>
                </a:cubicBezTo>
                <a:cubicBezTo>
                  <a:pt x="1912" y="252"/>
                  <a:pt x="1912" y="252"/>
                  <a:pt x="1912" y="252"/>
                </a:cubicBezTo>
                <a:cubicBezTo>
                  <a:pt x="1912" y="212"/>
                  <a:pt x="1908" y="188"/>
                  <a:pt x="1904" y="184"/>
                </a:cubicBezTo>
                <a:cubicBezTo>
                  <a:pt x="1900" y="180"/>
                  <a:pt x="1862" y="170"/>
                  <a:pt x="1824" y="170"/>
                </a:cubicBezTo>
                <a:cubicBezTo>
                  <a:pt x="1768" y="170"/>
                  <a:pt x="1734" y="206"/>
                  <a:pt x="1734" y="248"/>
                </a:cubicBezTo>
                <a:cubicBezTo>
                  <a:pt x="1734" y="340"/>
                  <a:pt x="1890" y="322"/>
                  <a:pt x="1890" y="396"/>
                </a:cubicBezTo>
                <a:cubicBezTo>
                  <a:pt x="1890" y="422"/>
                  <a:pt x="1866" y="436"/>
                  <a:pt x="1826" y="436"/>
                </a:cubicBezTo>
                <a:cubicBezTo>
                  <a:pt x="1788" y="436"/>
                  <a:pt x="1754" y="416"/>
                  <a:pt x="1744" y="366"/>
                </a:cubicBezTo>
                <a:cubicBezTo>
                  <a:pt x="1728" y="366"/>
                  <a:pt x="1728" y="366"/>
                  <a:pt x="1728" y="366"/>
                </a:cubicBezTo>
                <a:cubicBezTo>
                  <a:pt x="1728" y="386"/>
                  <a:pt x="1732" y="422"/>
                  <a:pt x="1734" y="428"/>
                </a:cubicBezTo>
                <a:cubicBezTo>
                  <a:pt x="1744" y="446"/>
                  <a:pt x="1788" y="454"/>
                  <a:pt x="1824" y="454"/>
                </a:cubicBezTo>
                <a:cubicBezTo>
                  <a:pt x="1888" y="454"/>
                  <a:pt x="1928" y="416"/>
                  <a:pt x="1928" y="372"/>
                </a:cubicBezTo>
                <a:cubicBezTo>
                  <a:pt x="1932" y="270"/>
                  <a:pt x="1776" y="286"/>
                  <a:pt x="1776" y="222"/>
                </a:cubicBezTo>
                <a:moveTo>
                  <a:pt x="2030" y="270"/>
                </a:moveTo>
                <a:cubicBezTo>
                  <a:pt x="2034" y="220"/>
                  <a:pt x="2058" y="192"/>
                  <a:pt x="2102" y="192"/>
                </a:cubicBezTo>
                <a:cubicBezTo>
                  <a:pt x="2144" y="192"/>
                  <a:pt x="2170" y="220"/>
                  <a:pt x="2172" y="270"/>
                </a:cubicBezTo>
                <a:lnTo>
                  <a:pt x="2030" y="270"/>
                </a:lnTo>
                <a:close/>
                <a:moveTo>
                  <a:pt x="2030" y="290"/>
                </a:moveTo>
                <a:cubicBezTo>
                  <a:pt x="2222" y="290"/>
                  <a:pt x="2222" y="290"/>
                  <a:pt x="2222" y="290"/>
                </a:cubicBezTo>
                <a:cubicBezTo>
                  <a:pt x="2226" y="228"/>
                  <a:pt x="2192" y="168"/>
                  <a:pt x="2114" y="168"/>
                </a:cubicBezTo>
                <a:cubicBezTo>
                  <a:pt x="2034" y="168"/>
                  <a:pt x="1982" y="232"/>
                  <a:pt x="1982" y="320"/>
                </a:cubicBezTo>
                <a:cubicBezTo>
                  <a:pt x="1982" y="388"/>
                  <a:pt x="2018" y="456"/>
                  <a:pt x="2112" y="456"/>
                </a:cubicBezTo>
                <a:cubicBezTo>
                  <a:pt x="2150" y="456"/>
                  <a:pt x="2198" y="440"/>
                  <a:pt x="2224" y="412"/>
                </a:cubicBezTo>
                <a:cubicBezTo>
                  <a:pt x="2218" y="400"/>
                  <a:pt x="2218" y="400"/>
                  <a:pt x="2218" y="400"/>
                </a:cubicBezTo>
                <a:cubicBezTo>
                  <a:pt x="2192" y="416"/>
                  <a:pt x="2164" y="422"/>
                  <a:pt x="2138" y="422"/>
                </a:cubicBezTo>
                <a:cubicBezTo>
                  <a:pt x="2058" y="420"/>
                  <a:pt x="2028" y="352"/>
                  <a:pt x="2030" y="290"/>
                </a:cubicBezTo>
                <a:moveTo>
                  <a:pt x="2478" y="242"/>
                </a:moveTo>
                <a:cubicBezTo>
                  <a:pt x="2490" y="206"/>
                  <a:pt x="2510" y="192"/>
                  <a:pt x="2528" y="192"/>
                </a:cubicBezTo>
                <a:cubicBezTo>
                  <a:pt x="2528" y="180"/>
                  <a:pt x="2528" y="180"/>
                  <a:pt x="2528" y="180"/>
                </a:cubicBezTo>
                <a:cubicBezTo>
                  <a:pt x="2430" y="180"/>
                  <a:pt x="2430" y="180"/>
                  <a:pt x="2430" y="180"/>
                </a:cubicBezTo>
                <a:cubicBezTo>
                  <a:pt x="2430" y="192"/>
                  <a:pt x="2430" y="192"/>
                  <a:pt x="2430" y="192"/>
                </a:cubicBezTo>
                <a:cubicBezTo>
                  <a:pt x="2454" y="194"/>
                  <a:pt x="2466" y="206"/>
                  <a:pt x="2458" y="234"/>
                </a:cubicBezTo>
                <a:cubicBezTo>
                  <a:pt x="2406" y="390"/>
                  <a:pt x="2406" y="390"/>
                  <a:pt x="2406" y="390"/>
                </a:cubicBezTo>
                <a:cubicBezTo>
                  <a:pt x="2354" y="270"/>
                  <a:pt x="2354" y="270"/>
                  <a:pt x="2354" y="270"/>
                </a:cubicBezTo>
                <a:cubicBezTo>
                  <a:pt x="2340" y="238"/>
                  <a:pt x="2334" y="224"/>
                  <a:pt x="2334" y="212"/>
                </a:cubicBezTo>
                <a:cubicBezTo>
                  <a:pt x="2334" y="202"/>
                  <a:pt x="2340" y="196"/>
                  <a:pt x="2360" y="192"/>
                </a:cubicBezTo>
                <a:cubicBezTo>
                  <a:pt x="2360" y="180"/>
                  <a:pt x="2360" y="180"/>
                  <a:pt x="2360" y="180"/>
                </a:cubicBezTo>
                <a:cubicBezTo>
                  <a:pt x="2234" y="180"/>
                  <a:pt x="2234" y="180"/>
                  <a:pt x="2234" y="180"/>
                </a:cubicBezTo>
                <a:cubicBezTo>
                  <a:pt x="2234" y="192"/>
                  <a:pt x="2234" y="192"/>
                  <a:pt x="2234" y="192"/>
                </a:cubicBezTo>
                <a:cubicBezTo>
                  <a:pt x="2266" y="194"/>
                  <a:pt x="2268" y="198"/>
                  <a:pt x="2310" y="292"/>
                </a:cubicBezTo>
                <a:cubicBezTo>
                  <a:pt x="2382" y="450"/>
                  <a:pt x="2382" y="450"/>
                  <a:pt x="2382" y="450"/>
                </a:cubicBezTo>
                <a:cubicBezTo>
                  <a:pt x="2358" y="512"/>
                  <a:pt x="2320" y="546"/>
                  <a:pt x="2242" y="564"/>
                </a:cubicBezTo>
                <a:cubicBezTo>
                  <a:pt x="2246" y="576"/>
                  <a:pt x="2260" y="600"/>
                  <a:pt x="2268" y="606"/>
                </a:cubicBezTo>
                <a:cubicBezTo>
                  <a:pt x="2370" y="564"/>
                  <a:pt x="2390" y="498"/>
                  <a:pt x="2426" y="396"/>
                </a:cubicBezTo>
                <a:lnTo>
                  <a:pt x="2478" y="242"/>
                </a:lnTo>
                <a:close/>
                <a:moveTo>
                  <a:pt x="2844" y="394"/>
                </a:moveTo>
                <a:cubicBezTo>
                  <a:pt x="2822" y="412"/>
                  <a:pt x="2782" y="416"/>
                  <a:pt x="2750" y="416"/>
                </a:cubicBezTo>
                <a:cubicBezTo>
                  <a:pt x="2670" y="416"/>
                  <a:pt x="2606" y="360"/>
                  <a:pt x="2606" y="284"/>
                </a:cubicBezTo>
                <a:cubicBezTo>
                  <a:pt x="2606" y="236"/>
                  <a:pt x="2626" y="206"/>
                  <a:pt x="2658" y="198"/>
                </a:cubicBezTo>
                <a:cubicBezTo>
                  <a:pt x="2698" y="266"/>
                  <a:pt x="2770" y="338"/>
                  <a:pt x="2844" y="394"/>
                </a:cubicBezTo>
                <a:moveTo>
                  <a:pt x="2928" y="448"/>
                </a:moveTo>
                <a:cubicBezTo>
                  <a:pt x="3022" y="448"/>
                  <a:pt x="3022" y="448"/>
                  <a:pt x="3022" y="448"/>
                </a:cubicBezTo>
                <a:cubicBezTo>
                  <a:pt x="3022" y="436"/>
                  <a:pt x="3022" y="436"/>
                  <a:pt x="3022" y="436"/>
                </a:cubicBezTo>
                <a:cubicBezTo>
                  <a:pt x="2992" y="432"/>
                  <a:pt x="2946" y="408"/>
                  <a:pt x="2896" y="372"/>
                </a:cubicBezTo>
                <a:cubicBezTo>
                  <a:pt x="2914" y="342"/>
                  <a:pt x="2918" y="300"/>
                  <a:pt x="2922" y="270"/>
                </a:cubicBezTo>
                <a:cubicBezTo>
                  <a:pt x="2926" y="244"/>
                  <a:pt x="2946" y="244"/>
                  <a:pt x="2958" y="242"/>
                </a:cubicBezTo>
                <a:cubicBezTo>
                  <a:pt x="2958" y="230"/>
                  <a:pt x="2958" y="230"/>
                  <a:pt x="2958" y="230"/>
                </a:cubicBezTo>
                <a:cubicBezTo>
                  <a:pt x="2834" y="230"/>
                  <a:pt x="2834" y="230"/>
                  <a:pt x="2834" y="230"/>
                </a:cubicBezTo>
                <a:cubicBezTo>
                  <a:pt x="2834" y="242"/>
                  <a:pt x="2834" y="242"/>
                  <a:pt x="2834" y="242"/>
                </a:cubicBezTo>
                <a:cubicBezTo>
                  <a:pt x="2864" y="246"/>
                  <a:pt x="2892" y="250"/>
                  <a:pt x="2892" y="294"/>
                </a:cubicBezTo>
                <a:cubicBezTo>
                  <a:pt x="2892" y="318"/>
                  <a:pt x="2888" y="342"/>
                  <a:pt x="2878" y="358"/>
                </a:cubicBezTo>
                <a:cubicBezTo>
                  <a:pt x="2770" y="274"/>
                  <a:pt x="2670" y="156"/>
                  <a:pt x="2670" y="96"/>
                </a:cubicBezTo>
                <a:cubicBezTo>
                  <a:pt x="2670" y="66"/>
                  <a:pt x="2688" y="54"/>
                  <a:pt x="2716" y="54"/>
                </a:cubicBezTo>
                <a:cubicBezTo>
                  <a:pt x="2752" y="54"/>
                  <a:pt x="2784" y="78"/>
                  <a:pt x="2800" y="124"/>
                </a:cubicBezTo>
                <a:cubicBezTo>
                  <a:pt x="2812" y="124"/>
                  <a:pt x="2812" y="124"/>
                  <a:pt x="2812" y="124"/>
                </a:cubicBezTo>
                <a:cubicBezTo>
                  <a:pt x="2810" y="42"/>
                  <a:pt x="2810" y="42"/>
                  <a:pt x="2810" y="42"/>
                </a:cubicBezTo>
                <a:cubicBezTo>
                  <a:pt x="2798" y="42"/>
                  <a:pt x="2798" y="42"/>
                  <a:pt x="2798" y="42"/>
                </a:cubicBezTo>
                <a:cubicBezTo>
                  <a:pt x="2798" y="48"/>
                  <a:pt x="2792" y="52"/>
                  <a:pt x="2788" y="52"/>
                </a:cubicBezTo>
                <a:cubicBezTo>
                  <a:pt x="2772" y="52"/>
                  <a:pt x="2752" y="36"/>
                  <a:pt x="2714" y="36"/>
                </a:cubicBezTo>
                <a:cubicBezTo>
                  <a:pt x="2672" y="36"/>
                  <a:pt x="2630" y="62"/>
                  <a:pt x="2630" y="118"/>
                </a:cubicBezTo>
                <a:cubicBezTo>
                  <a:pt x="2630" y="140"/>
                  <a:pt x="2636" y="160"/>
                  <a:pt x="2648" y="182"/>
                </a:cubicBezTo>
                <a:cubicBezTo>
                  <a:pt x="2592" y="200"/>
                  <a:pt x="2562" y="248"/>
                  <a:pt x="2562" y="304"/>
                </a:cubicBezTo>
                <a:cubicBezTo>
                  <a:pt x="2562" y="406"/>
                  <a:pt x="2640" y="460"/>
                  <a:pt x="2726" y="460"/>
                </a:cubicBezTo>
                <a:cubicBezTo>
                  <a:pt x="2780" y="460"/>
                  <a:pt x="2824" y="444"/>
                  <a:pt x="2862" y="410"/>
                </a:cubicBezTo>
                <a:cubicBezTo>
                  <a:pt x="2888" y="424"/>
                  <a:pt x="2912" y="442"/>
                  <a:pt x="2928" y="448"/>
                </a:cubicBezTo>
                <a:moveTo>
                  <a:pt x="3094" y="212"/>
                </a:moveTo>
                <a:cubicBezTo>
                  <a:pt x="3094" y="88"/>
                  <a:pt x="3154" y="20"/>
                  <a:pt x="3252" y="20"/>
                </a:cubicBezTo>
                <a:cubicBezTo>
                  <a:pt x="3328" y="20"/>
                  <a:pt x="3372" y="58"/>
                  <a:pt x="3392" y="134"/>
                </a:cubicBezTo>
                <a:cubicBezTo>
                  <a:pt x="3404" y="134"/>
                  <a:pt x="3404" y="134"/>
                  <a:pt x="3404" y="134"/>
                </a:cubicBezTo>
                <a:cubicBezTo>
                  <a:pt x="3400" y="4"/>
                  <a:pt x="3400" y="4"/>
                  <a:pt x="3400" y="4"/>
                </a:cubicBezTo>
                <a:cubicBezTo>
                  <a:pt x="3388" y="4"/>
                  <a:pt x="3388" y="4"/>
                  <a:pt x="3388" y="4"/>
                </a:cubicBezTo>
                <a:cubicBezTo>
                  <a:pt x="3384" y="14"/>
                  <a:pt x="3376" y="18"/>
                  <a:pt x="3364" y="18"/>
                </a:cubicBezTo>
                <a:cubicBezTo>
                  <a:pt x="3338" y="18"/>
                  <a:pt x="3314" y="0"/>
                  <a:pt x="3248" y="0"/>
                </a:cubicBezTo>
                <a:cubicBezTo>
                  <a:pt x="3118" y="0"/>
                  <a:pt x="3030" y="102"/>
                  <a:pt x="3030" y="242"/>
                </a:cubicBezTo>
                <a:cubicBezTo>
                  <a:pt x="3030" y="376"/>
                  <a:pt x="3110" y="460"/>
                  <a:pt x="3238" y="460"/>
                </a:cubicBezTo>
                <a:cubicBezTo>
                  <a:pt x="3320" y="460"/>
                  <a:pt x="3384" y="420"/>
                  <a:pt x="3408" y="380"/>
                </a:cubicBezTo>
                <a:cubicBezTo>
                  <a:pt x="3396" y="366"/>
                  <a:pt x="3396" y="366"/>
                  <a:pt x="3396" y="366"/>
                </a:cubicBezTo>
                <a:cubicBezTo>
                  <a:pt x="3370" y="402"/>
                  <a:pt x="3314" y="426"/>
                  <a:pt x="3256" y="426"/>
                </a:cubicBezTo>
                <a:cubicBezTo>
                  <a:pt x="3156" y="426"/>
                  <a:pt x="3094" y="340"/>
                  <a:pt x="3094" y="212"/>
                </a:cubicBezTo>
                <a:moveTo>
                  <a:pt x="3678" y="328"/>
                </a:moveTo>
                <a:cubicBezTo>
                  <a:pt x="3678" y="392"/>
                  <a:pt x="3650" y="430"/>
                  <a:pt x="3592" y="430"/>
                </a:cubicBezTo>
                <a:cubicBezTo>
                  <a:pt x="3542" y="430"/>
                  <a:pt x="3496" y="384"/>
                  <a:pt x="3496" y="292"/>
                </a:cubicBezTo>
                <a:cubicBezTo>
                  <a:pt x="3496" y="226"/>
                  <a:pt x="3528" y="190"/>
                  <a:pt x="3580" y="190"/>
                </a:cubicBezTo>
                <a:cubicBezTo>
                  <a:pt x="3628" y="192"/>
                  <a:pt x="3678" y="238"/>
                  <a:pt x="3678" y="328"/>
                </a:cubicBezTo>
                <a:moveTo>
                  <a:pt x="3732" y="312"/>
                </a:moveTo>
                <a:cubicBezTo>
                  <a:pt x="3732" y="260"/>
                  <a:pt x="3710" y="214"/>
                  <a:pt x="3672" y="190"/>
                </a:cubicBezTo>
                <a:cubicBezTo>
                  <a:pt x="3650" y="176"/>
                  <a:pt x="3620" y="168"/>
                  <a:pt x="3588" y="168"/>
                </a:cubicBezTo>
                <a:cubicBezTo>
                  <a:pt x="3502" y="168"/>
                  <a:pt x="3442" y="230"/>
                  <a:pt x="3442" y="310"/>
                </a:cubicBezTo>
                <a:cubicBezTo>
                  <a:pt x="3442" y="364"/>
                  <a:pt x="3464" y="408"/>
                  <a:pt x="3502" y="432"/>
                </a:cubicBezTo>
                <a:cubicBezTo>
                  <a:pt x="3524" y="446"/>
                  <a:pt x="3554" y="452"/>
                  <a:pt x="3586" y="452"/>
                </a:cubicBezTo>
                <a:cubicBezTo>
                  <a:pt x="3672" y="454"/>
                  <a:pt x="3732" y="394"/>
                  <a:pt x="3732" y="312"/>
                </a:cubicBezTo>
                <a:moveTo>
                  <a:pt x="4136" y="448"/>
                </a:moveTo>
                <a:cubicBezTo>
                  <a:pt x="4280" y="448"/>
                  <a:pt x="4280" y="448"/>
                  <a:pt x="4280" y="448"/>
                </a:cubicBezTo>
                <a:cubicBezTo>
                  <a:pt x="4280" y="436"/>
                  <a:pt x="4280" y="436"/>
                  <a:pt x="4280" y="436"/>
                </a:cubicBezTo>
                <a:cubicBezTo>
                  <a:pt x="4230" y="434"/>
                  <a:pt x="4232" y="426"/>
                  <a:pt x="4232" y="348"/>
                </a:cubicBezTo>
                <a:cubicBezTo>
                  <a:pt x="4232" y="276"/>
                  <a:pt x="4232" y="276"/>
                  <a:pt x="4232" y="276"/>
                </a:cubicBezTo>
                <a:cubicBezTo>
                  <a:pt x="4232" y="200"/>
                  <a:pt x="4190" y="172"/>
                  <a:pt x="4142" y="172"/>
                </a:cubicBezTo>
                <a:cubicBezTo>
                  <a:pt x="4098" y="172"/>
                  <a:pt x="4064" y="196"/>
                  <a:pt x="4038" y="232"/>
                </a:cubicBezTo>
                <a:cubicBezTo>
                  <a:pt x="4028" y="194"/>
                  <a:pt x="4000" y="172"/>
                  <a:pt x="3954" y="172"/>
                </a:cubicBezTo>
                <a:cubicBezTo>
                  <a:pt x="3916" y="172"/>
                  <a:pt x="3880" y="196"/>
                  <a:pt x="3858" y="224"/>
                </a:cubicBezTo>
                <a:cubicBezTo>
                  <a:pt x="3858" y="176"/>
                  <a:pt x="3858" y="176"/>
                  <a:pt x="3858" y="176"/>
                </a:cubicBezTo>
                <a:cubicBezTo>
                  <a:pt x="3756" y="176"/>
                  <a:pt x="3756" y="176"/>
                  <a:pt x="3756" y="176"/>
                </a:cubicBezTo>
                <a:cubicBezTo>
                  <a:pt x="3756" y="188"/>
                  <a:pt x="3756" y="188"/>
                  <a:pt x="3756" y="188"/>
                </a:cubicBezTo>
                <a:cubicBezTo>
                  <a:pt x="3800" y="190"/>
                  <a:pt x="3806" y="192"/>
                  <a:pt x="3806" y="268"/>
                </a:cubicBezTo>
                <a:cubicBezTo>
                  <a:pt x="3806" y="346"/>
                  <a:pt x="3806" y="346"/>
                  <a:pt x="3806" y="346"/>
                </a:cubicBezTo>
                <a:cubicBezTo>
                  <a:pt x="3806" y="434"/>
                  <a:pt x="3804" y="434"/>
                  <a:pt x="3758" y="434"/>
                </a:cubicBezTo>
                <a:cubicBezTo>
                  <a:pt x="3758" y="446"/>
                  <a:pt x="3758" y="446"/>
                  <a:pt x="3758" y="446"/>
                </a:cubicBezTo>
                <a:cubicBezTo>
                  <a:pt x="3902" y="446"/>
                  <a:pt x="3902" y="446"/>
                  <a:pt x="3902" y="446"/>
                </a:cubicBezTo>
                <a:cubicBezTo>
                  <a:pt x="3902" y="434"/>
                  <a:pt x="3902" y="434"/>
                  <a:pt x="3902" y="434"/>
                </a:cubicBezTo>
                <a:cubicBezTo>
                  <a:pt x="3862" y="430"/>
                  <a:pt x="3858" y="430"/>
                  <a:pt x="3858" y="342"/>
                </a:cubicBezTo>
                <a:cubicBezTo>
                  <a:pt x="3858" y="262"/>
                  <a:pt x="3858" y="262"/>
                  <a:pt x="3858" y="262"/>
                </a:cubicBezTo>
                <a:cubicBezTo>
                  <a:pt x="3858" y="234"/>
                  <a:pt x="3894" y="204"/>
                  <a:pt x="3932" y="204"/>
                </a:cubicBezTo>
                <a:cubicBezTo>
                  <a:pt x="3974" y="204"/>
                  <a:pt x="3990" y="226"/>
                  <a:pt x="3990" y="282"/>
                </a:cubicBezTo>
                <a:cubicBezTo>
                  <a:pt x="3990" y="338"/>
                  <a:pt x="3990" y="338"/>
                  <a:pt x="3990" y="338"/>
                </a:cubicBezTo>
                <a:cubicBezTo>
                  <a:pt x="3990" y="428"/>
                  <a:pt x="3988" y="432"/>
                  <a:pt x="3950" y="436"/>
                </a:cubicBezTo>
                <a:cubicBezTo>
                  <a:pt x="3950" y="448"/>
                  <a:pt x="3950" y="448"/>
                  <a:pt x="3950" y="448"/>
                </a:cubicBezTo>
                <a:cubicBezTo>
                  <a:pt x="4086" y="448"/>
                  <a:pt x="4086" y="448"/>
                  <a:pt x="4086" y="448"/>
                </a:cubicBezTo>
                <a:cubicBezTo>
                  <a:pt x="4086" y="436"/>
                  <a:pt x="4086" y="436"/>
                  <a:pt x="4086" y="436"/>
                </a:cubicBezTo>
                <a:cubicBezTo>
                  <a:pt x="4040" y="432"/>
                  <a:pt x="4042" y="428"/>
                  <a:pt x="4042" y="342"/>
                </a:cubicBezTo>
                <a:cubicBezTo>
                  <a:pt x="4042" y="264"/>
                  <a:pt x="4042" y="264"/>
                  <a:pt x="4042" y="264"/>
                </a:cubicBezTo>
                <a:cubicBezTo>
                  <a:pt x="4042" y="236"/>
                  <a:pt x="4078" y="206"/>
                  <a:pt x="4118" y="206"/>
                </a:cubicBezTo>
                <a:cubicBezTo>
                  <a:pt x="4152" y="206"/>
                  <a:pt x="4174" y="226"/>
                  <a:pt x="4174" y="284"/>
                </a:cubicBezTo>
                <a:cubicBezTo>
                  <a:pt x="4174" y="346"/>
                  <a:pt x="4174" y="346"/>
                  <a:pt x="4174" y="346"/>
                </a:cubicBezTo>
                <a:cubicBezTo>
                  <a:pt x="4174" y="428"/>
                  <a:pt x="4174" y="432"/>
                  <a:pt x="4134" y="436"/>
                </a:cubicBezTo>
                <a:cubicBezTo>
                  <a:pt x="4134" y="448"/>
                  <a:pt x="4134" y="448"/>
                  <a:pt x="4134" y="448"/>
                </a:cubicBezTo>
                <a:lnTo>
                  <a:pt x="4136" y="448"/>
                </a:lnTo>
                <a:close/>
                <a:moveTo>
                  <a:pt x="4546" y="316"/>
                </a:moveTo>
                <a:cubicBezTo>
                  <a:pt x="4546" y="388"/>
                  <a:pt x="4516" y="432"/>
                  <a:pt x="4460" y="432"/>
                </a:cubicBezTo>
                <a:cubicBezTo>
                  <a:pt x="4424" y="432"/>
                  <a:pt x="4384" y="412"/>
                  <a:pt x="4384" y="384"/>
                </a:cubicBezTo>
                <a:cubicBezTo>
                  <a:pt x="4384" y="248"/>
                  <a:pt x="4384" y="248"/>
                  <a:pt x="4384" y="248"/>
                </a:cubicBezTo>
                <a:cubicBezTo>
                  <a:pt x="4384" y="226"/>
                  <a:pt x="4416" y="202"/>
                  <a:pt x="4454" y="202"/>
                </a:cubicBezTo>
                <a:cubicBezTo>
                  <a:pt x="4510" y="206"/>
                  <a:pt x="4546" y="248"/>
                  <a:pt x="4546" y="316"/>
                </a:cubicBezTo>
                <a:moveTo>
                  <a:pt x="4600" y="310"/>
                </a:moveTo>
                <a:cubicBezTo>
                  <a:pt x="4600" y="230"/>
                  <a:pt x="4548" y="170"/>
                  <a:pt x="4478" y="170"/>
                </a:cubicBezTo>
                <a:cubicBezTo>
                  <a:pt x="4438" y="170"/>
                  <a:pt x="4406" y="188"/>
                  <a:pt x="4384" y="214"/>
                </a:cubicBezTo>
                <a:cubicBezTo>
                  <a:pt x="4384" y="174"/>
                  <a:pt x="4384" y="174"/>
                  <a:pt x="4384" y="174"/>
                </a:cubicBezTo>
                <a:cubicBezTo>
                  <a:pt x="4284" y="174"/>
                  <a:pt x="4284" y="174"/>
                  <a:pt x="4284" y="174"/>
                </a:cubicBezTo>
                <a:cubicBezTo>
                  <a:pt x="4284" y="186"/>
                  <a:pt x="4284" y="186"/>
                  <a:pt x="4284" y="186"/>
                </a:cubicBezTo>
                <a:cubicBezTo>
                  <a:pt x="4326" y="188"/>
                  <a:pt x="4332" y="190"/>
                  <a:pt x="4332" y="280"/>
                </a:cubicBezTo>
                <a:cubicBezTo>
                  <a:pt x="4332" y="466"/>
                  <a:pt x="4332" y="466"/>
                  <a:pt x="4332" y="466"/>
                </a:cubicBezTo>
                <a:cubicBezTo>
                  <a:pt x="4332" y="564"/>
                  <a:pt x="4334" y="570"/>
                  <a:pt x="4286" y="574"/>
                </a:cubicBezTo>
                <a:cubicBezTo>
                  <a:pt x="4286" y="588"/>
                  <a:pt x="4286" y="588"/>
                  <a:pt x="4286" y="588"/>
                </a:cubicBezTo>
                <a:cubicBezTo>
                  <a:pt x="4432" y="588"/>
                  <a:pt x="4432" y="588"/>
                  <a:pt x="4432" y="588"/>
                </a:cubicBezTo>
                <a:cubicBezTo>
                  <a:pt x="4432" y="574"/>
                  <a:pt x="4432" y="574"/>
                  <a:pt x="4432" y="574"/>
                </a:cubicBezTo>
                <a:cubicBezTo>
                  <a:pt x="4380" y="572"/>
                  <a:pt x="4384" y="564"/>
                  <a:pt x="4384" y="462"/>
                </a:cubicBezTo>
                <a:cubicBezTo>
                  <a:pt x="4384" y="424"/>
                  <a:pt x="4384" y="424"/>
                  <a:pt x="4384" y="424"/>
                </a:cubicBezTo>
                <a:cubicBezTo>
                  <a:pt x="4404" y="444"/>
                  <a:pt x="4436" y="454"/>
                  <a:pt x="4466" y="454"/>
                </a:cubicBezTo>
                <a:cubicBezTo>
                  <a:pt x="4548" y="454"/>
                  <a:pt x="4600" y="392"/>
                  <a:pt x="4600" y="310"/>
                </a:cubicBezTo>
                <a:moveTo>
                  <a:pt x="4792" y="382"/>
                </a:moveTo>
                <a:cubicBezTo>
                  <a:pt x="4792" y="404"/>
                  <a:pt x="4762" y="424"/>
                  <a:pt x="4736" y="424"/>
                </a:cubicBezTo>
                <a:cubicBezTo>
                  <a:pt x="4712" y="424"/>
                  <a:pt x="4694" y="410"/>
                  <a:pt x="4694" y="378"/>
                </a:cubicBezTo>
                <a:cubicBezTo>
                  <a:pt x="4694" y="322"/>
                  <a:pt x="4752" y="328"/>
                  <a:pt x="4792" y="306"/>
                </a:cubicBezTo>
                <a:cubicBezTo>
                  <a:pt x="4792" y="382"/>
                  <a:pt x="4792" y="382"/>
                  <a:pt x="4792" y="382"/>
                </a:cubicBezTo>
                <a:close/>
                <a:moveTo>
                  <a:pt x="5240" y="434"/>
                </a:moveTo>
                <a:cubicBezTo>
                  <a:pt x="5192" y="432"/>
                  <a:pt x="5192" y="430"/>
                  <a:pt x="5192" y="340"/>
                </a:cubicBezTo>
                <a:cubicBezTo>
                  <a:pt x="5192" y="278"/>
                  <a:pt x="5192" y="278"/>
                  <a:pt x="5192" y="278"/>
                </a:cubicBezTo>
                <a:cubicBezTo>
                  <a:pt x="5192" y="196"/>
                  <a:pt x="5146" y="170"/>
                  <a:pt x="5104" y="170"/>
                </a:cubicBezTo>
                <a:cubicBezTo>
                  <a:pt x="5068" y="170"/>
                  <a:pt x="5032" y="186"/>
                  <a:pt x="5004" y="222"/>
                </a:cubicBezTo>
                <a:cubicBezTo>
                  <a:pt x="5004" y="174"/>
                  <a:pt x="5004" y="174"/>
                  <a:pt x="5004" y="174"/>
                </a:cubicBezTo>
                <a:cubicBezTo>
                  <a:pt x="4902" y="174"/>
                  <a:pt x="4902" y="174"/>
                  <a:pt x="4902" y="174"/>
                </a:cubicBezTo>
                <a:cubicBezTo>
                  <a:pt x="4902" y="186"/>
                  <a:pt x="4902" y="186"/>
                  <a:pt x="4902" y="186"/>
                </a:cubicBezTo>
                <a:cubicBezTo>
                  <a:pt x="4946" y="188"/>
                  <a:pt x="4952" y="190"/>
                  <a:pt x="4952" y="266"/>
                </a:cubicBezTo>
                <a:cubicBezTo>
                  <a:pt x="4952" y="334"/>
                  <a:pt x="4952" y="334"/>
                  <a:pt x="4952" y="334"/>
                </a:cubicBezTo>
                <a:cubicBezTo>
                  <a:pt x="4952" y="430"/>
                  <a:pt x="4952" y="432"/>
                  <a:pt x="4904" y="434"/>
                </a:cubicBezTo>
                <a:cubicBezTo>
                  <a:pt x="4892" y="434"/>
                  <a:pt x="4892" y="434"/>
                  <a:pt x="4892" y="434"/>
                </a:cubicBezTo>
                <a:cubicBezTo>
                  <a:pt x="4854" y="434"/>
                  <a:pt x="4850" y="422"/>
                  <a:pt x="4850" y="366"/>
                </a:cubicBezTo>
                <a:cubicBezTo>
                  <a:pt x="4850" y="274"/>
                  <a:pt x="4850" y="274"/>
                  <a:pt x="4850" y="274"/>
                </a:cubicBezTo>
                <a:cubicBezTo>
                  <a:pt x="4850" y="256"/>
                  <a:pt x="4848" y="240"/>
                  <a:pt x="4844" y="228"/>
                </a:cubicBezTo>
                <a:cubicBezTo>
                  <a:pt x="4830" y="186"/>
                  <a:pt x="4796" y="170"/>
                  <a:pt x="4748" y="170"/>
                </a:cubicBezTo>
                <a:cubicBezTo>
                  <a:pt x="4718" y="170"/>
                  <a:pt x="4674" y="180"/>
                  <a:pt x="4650" y="202"/>
                </a:cubicBezTo>
                <a:cubicBezTo>
                  <a:pt x="4652" y="214"/>
                  <a:pt x="4664" y="240"/>
                  <a:pt x="4670" y="248"/>
                </a:cubicBezTo>
                <a:cubicBezTo>
                  <a:pt x="4676" y="246"/>
                  <a:pt x="4676" y="246"/>
                  <a:pt x="4676" y="246"/>
                </a:cubicBezTo>
                <a:cubicBezTo>
                  <a:pt x="4688" y="216"/>
                  <a:pt x="4708" y="194"/>
                  <a:pt x="4742" y="194"/>
                </a:cubicBezTo>
                <a:cubicBezTo>
                  <a:pt x="4778" y="194"/>
                  <a:pt x="4794" y="220"/>
                  <a:pt x="4794" y="250"/>
                </a:cubicBezTo>
                <a:cubicBezTo>
                  <a:pt x="4794" y="282"/>
                  <a:pt x="4794" y="282"/>
                  <a:pt x="4794" y="282"/>
                </a:cubicBezTo>
                <a:cubicBezTo>
                  <a:pt x="4794" y="302"/>
                  <a:pt x="4702" y="306"/>
                  <a:pt x="4664" y="338"/>
                </a:cubicBezTo>
                <a:cubicBezTo>
                  <a:pt x="4652" y="350"/>
                  <a:pt x="4642" y="364"/>
                  <a:pt x="4642" y="384"/>
                </a:cubicBezTo>
                <a:cubicBezTo>
                  <a:pt x="4642" y="426"/>
                  <a:pt x="4672" y="456"/>
                  <a:pt x="4716" y="456"/>
                </a:cubicBezTo>
                <a:cubicBezTo>
                  <a:pt x="4744" y="456"/>
                  <a:pt x="4768" y="446"/>
                  <a:pt x="4794" y="418"/>
                </a:cubicBezTo>
                <a:cubicBezTo>
                  <a:pt x="4798" y="438"/>
                  <a:pt x="4814" y="448"/>
                  <a:pt x="4842" y="448"/>
                </a:cubicBezTo>
                <a:cubicBezTo>
                  <a:pt x="4906" y="448"/>
                  <a:pt x="4906" y="448"/>
                  <a:pt x="4906" y="448"/>
                </a:cubicBezTo>
                <a:cubicBezTo>
                  <a:pt x="4906" y="448"/>
                  <a:pt x="4906" y="448"/>
                  <a:pt x="4906" y="448"/>
                </a:cubicBezTo>
                <a:cubicBezTo>
                  <a:pt x="5048" y="448"/>
                  <a:pt x="5048" y="448"/>
                  <a:pt x="5048" y="448"/>
                </a:cubicBezTo>
                <a:cubicBezTo>
                  <a:pt x="5048" y="436"/>
                  <a:pt x="5048" y="436"/>
                  <a:pt x="5048" y="436"/>
                </a:cubicBezTo>
                <a:cubicBezTo>
                  <a:pt x="5006" y="432"/>
                  <a:pt x="5004" y="434"/>
                  <a:pt x="5004" y="338"/>
                </a:cubicBezTo>
                <a:cubicBezTo>
                  <a:pt x="5004" y="262"/>
                  <a:pt x="5004" y="262"/>
                  <a:pt x="5004" y="262"/>
                </a:cubicBezTo>
                <a:cubicBezTo>
                  <a:pt x="5004" y="236"/>
                  <a:pt x="5038" y="206"/>
                  <a:pt x="5080" y="206"/>
                </a:cubicBezTo>
                <a:cubicBezTo>
                  <a:pt x="5114" y="206"/>
                  <a:pt x="5140" y="220"/>
                  <a:pt x="5140" y="286"/>
                </a:cubicBezTo>
                <a:cubicBezTo>
                  <a:pt x="5140" y="340"/>
                  <a:pt x="5140" y="340"/>
                  <a:pt x="5140" y="340"/>
                </a:cubicBezTo>
                <a:cubicBezTo>
                  <a:pt x="5140" y="432"/>
                  <a:pt x="5136" y="432"/>
                  <a:pt x="5098" y="434"/>
                </a:cubicBezTo>
                <a:cubicBezTo>
                  <a:pt x="5098" y="446"/>
                  <a:pt x="5098" y="446"/>
                  <a:pt x="5098" y="446"/>
                </a:cubicBezTo>
                <a:cubicBezTo>
                  <a:pt x="5240" y="446"/>
                  <a:pt x="5240" y="446"/>
                  <a:pt x="5240" y="446"/>
                </a:cubicBezTo>
                <a:lnTo>
                  <a:pt x="5240" y="434"/>
                </a:lnTo>
                <a:close/>
                <a:moveTo>
                  <a:pt x="5516" y="192"/>
                </a:moveTo>
                <a:cubicBezTo>
                  <a:pt x="5516" y="180"/>
                  <a:pt x="5516" y="180"/>
                  <a:pt x="5516" y="180"/>
                </a:cubicBezTo>
                <a:cubicBezTo>
                  <a:pt x="5418" y="180"/>
                  <a:pt x="5418" y="180"/>
                  <a:pt x="5418" y="180"/>
                </a:cubicBezTo>
                <a:cubicBezTo>
                  <a:pt x="5418" y="192"/>
                  <a:pt x="5418" y="192"/>
                  <a:pt x="5418" y="192"/>
                </a:cubicBezTo>
                <a:cubicBezTo>
                  <a:pt x="5442" y="194"/>
                  <a:pt x="5454" y="206"/>
                  <a:pt x="5446" y="234"/>
                </a:cubicBezTo>
                <a:cubicBezTo>
                  <a:pt x="5394" y="390"/>
                  <a:pt x="5394" y="390"/>
                  <a:pt x="5394" y="390"/>
                </a:cubicBezTo>
                <a:cubicBezTo>
                  <a:pt x="5342" y="270"/>
                  <a:pt x="5342" y="270"/>
                  <a:pt x="5342" y="270"/>
                </a:cubicBezTo>
                <a:cubicBezTo>
                  <a:pt x="5328" y="238"/>
                  <a:pt x="5322" y="224"/>
                  <a:pt x="5322" y="212"/>
                </a:cubicBezTo>
                <a:cubicBezTo>
                  <a:pt x="5322" y="202"/>
                  <a:pt x="5328" y="196"/>
                  <a:pt x="5348" y="192"/>
                </a:cubicBezTo>
                <a:cubicBezTo>
                  <a:pt x="5348" y="180"/>
                  <a:pt x="5348" y="180"/>
                  <a:pt x="5348" y="180"/>
                </a:cubicBezTo>
                <a:cubicBezTo>
                  <a:pt x="5220" y="180"/>
                  <a:pt x="5220" y="180"/>
                  <a:pt x="5220" y="180"/>
                </a:cubicBezTo>
                <a:cubicBezTo>
                  <a:pt x="5220" y="192"/>
                  <a:pt x="5220" y="192"/>
                  <a:pt x="5220" y="192"/>
                </a:cubicBezTo>
                <a:cubicBezTo>
                  <a:pt x="5252" y="194"/>
                  <a:pt x="5254" y="198"/>
                  <a:pt x="5296" y="292"/>
                </a:cubicBezTo>
                <a:cubicBezTo>
                  <a:pt x="5368" y="450"/>
                  <a:pt x="5368" y="450"/>
                  <a:pt x="5368" y="450"/>
                </a:cubicBezTo>
                <a:cubicBezTo>
                  <a:pt x="5344" y="512"/>
                  <a:pt x="5306" y="546"/>
                  <a:pt x="5228" y="564"/>
                </a:cubicBezTo>
                <a:cubicBezTo>
                  <a:pt x="5232" y="576"/>
                  <a:pt x="5246" y="600"/>
                  <a:pt x="5254" y="606"/>
                </a:cubicBezTo>
                <a:cubicBezTo>
                  <a:pt x="5356" y="564"/>
                  <a:pt x="5376" y="498"/>
                  <a:pt x="5412" y="396"/>
                </a:cubicBezTo>
                <a:cubicBezTo>
                  <a:pt x="5466" y="242"/>
                  <a:pt x="5466" y="242"/>
                  <a:pt x="5466" y="242"/>
                </a:cubicBezTo>
                <a:cubicBezTo>
                  <a:pt x="5478" y="206"/>
                  <a:pt x="5498" y="192"/>
                  <a:pt x="5516" y="192"/>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600" kern="1200">
                <a:solidFill>
                  <a:schemeClr val="tx1"/>
                </a:solidFill>
                <a:latin typeface="Arial" charset="0"/>
                <a:ea typeface="+mn-ea"/>
                <a:cs typeface="+mn-cs"/>
              </a:defRPr>
            </a:lvl1pPr>
            <a:lvl2pPr marL="457200" algn="l" rtl="0" fontAlgn="base">
              <a:spcBef>
                <a:spcPct val="0"/>
              </a:spcBef>
              <a:spcAft>
                <a:spcPct val="0"/>
              </a:spcAft>
              <a:defRPr sz="1600" kern="1200">
                <a:solidFill>
                  <a:schemeClr val="tx1"/>
                </a:solidFill>
                <a:latin typeface="Arial" charset="0"/>
                <a:ea typeface="+mn-ea"/>
                <a:cs typeface="+mn-cs"/>
              </a:defRPr>
            </a:lvl2pPr>
            <a:lvl3pPr marL="914400" algn="l" rtl="0" fontAlgn="base">
              <a:spcBef>
                <a:spcPct val="0"/>
              </a:spcBef>
              <a:spcAft>
                <a:spcPct val="0"/>
              </a:spcAft>
              <a:defRPr sz="1600" kern="1200">
                <a:solidFill>
                  <a:schemeClr val="tx1"/>
                </a:solidFill>
                <a:latin typeface="Arial" charset="0"/>
                <a:ea typeface="+mn-ea"/>
                <a:cs typeface="+mn-cs"/>
              </a:defRPr>
            </a:lvl3pPr>
            <a:lvl4pPr marL="1371600" algn="l" rtl="0" fontAlgn="base">
              <a:spcBef>
                <a:spcPct val="0"/>
              </a:spcBef>
              <a:spcAft>
                <a:spcPct val="0"/>
              </a:spcAft>
              <a:defRPr sz="1600" kern="1200">
                <a:solidFill>
                  <a:schemeClr val="tx1"/>
                </a:solidFill>
                <a:latin typeface="Arial" charset="0"/>
                <a:ea typeface="+mn-ea"/>
                <a:cs typeface="+mn-cs"/>
              </a:defRPr>
            </a:lvl4pPr>
            <a:lvl5pPr marL="1828800" algn="l" rtl="0" fontAlgn="base">
              <a:spcBef>
                <a:spcPct val="0"/>
              </a:spcBef>
              <a:spcAft>
                <a:spcPct val="0"/>
              </a:spcAft>
              <a:defRPr sz="1600" kern="1200">
                <a:solidFill>
                  <a:schemeClr val="tx1"/>
                </a:solidFill>
                <a:latin typeface="Arial" charset="0"/>
                <a:ea typeface="+mn-ea"/>
                <a:cs typeface="+mn-cs"/>
              </a:defRPr>
            </a:lvl5pPr>
            <a:lvl6pPr marL="2286000" algn="l" defTabSz="914400" rtl="0" eaLnBrk="1" latinLnBrk="0" hangingPunct="1">
              <a:defRPr sz="1600" kern="1200">
                <a:solidFill>
                  <a:schemeClr val="tx1"/>
                </a:solidFill>
                <a:latin typeface="Arial" charset="0"/>
                <a:ea typeface="+mn-ea"/>
                <a:cs typeface="+mn-cs"/>
              </a:defRPr>
            </a:lvl6pPr>
            <a:lvl7pPr marL="2743200" algn="l" defTabSz="914400" rtl="0" eaLnBrk="1" latinLnBrk="0" hangingPunct="1">
              <a:defRPr sz="1600" kern="1200">
                <a:solidFill>
                  <a:schemeClr val="tx1"/>
                </a:solidFill>
                <a:latin typeface="Arial" charset="0"/>
                <a:ea typeface="+mn-ea"/>
                <a:cs typeface="+mn-cs"/>
              </a:defRPr>
            </a:lvl7pPr>
            <a:lvl8pPr marL="3200400" algn="l" defTabSz="914400" rtl="0" eaLnBrk="1" latinLnBrk="0" hangingPunct="1">
              <a:defRPr sz="1600" kern="1200">
                <a:solidFill>
                  <a:schemeClr val="tx1"/>
                </a:solidFill>
                <a:latin typeface="Arial" charset="0"/>
                <a:ea typeface="+mn-ea"/>
                <a:cs typeface="+mn-cs"/>
              </a:defRPr>
            </a:lvl8pPr>
            <a:lvl9pPr marL="3657600" algn="l" defTabSz="914400" rtl="0" eaLnBrk="1" latinLnBrk="0" hangingPunct="1">
              <a:defRPr sz="1600" kern="1200">
                <a:solidFill>
                  <a:schemeClr val="tx1"/>
                </a:solidFill>
                <a:latin typeface="Arial" charset="0"/>
                <a:ea typeface="+mn-ea"/>
                <a:cs typeface="+mn-cs"/>
              </a:defRPr>
            </a:lvl9pPr>
          </a:lstStyle>
          <a:p>
            <a:endParaRPr lang="en-US" baseline="0" dirty="0">
              <a:solidFill>
                <a:srgbClr val="000000"/>
              </a:solidFill>
              <a:latin typeface="+mn-lt"/>
            </a:endParaRPr>
          </a:p>
        </p:txBody>
      </p:sp>
      <p:sp>
        <p:nvSpPr>
          <p:cNvPr id="27" name="Disclaimer-English (United States)" hidden="1"/>
          <p:cNvSpPr>
            <a:spLocks noChangeArrowheads="1"/>
          </p:cNvSpPr>
          <p:nvPr/>
        </p:nvSpPr>
        <p:spPr bwMode="black">
          <a:xfrm>
            <a:off x="2268266" y="6287785"/>
            <a:ext cx="3544453" cy="36908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t" anchorCtr="0">
            <a:noAutofit/>
          </a:bodyPr>
          <a:lstStyle/>
          <a:p>
            <a:pPr defTabSz="804863" eaLnBrk="0" hangingPunct="0"/>
            <a:r>
              <a:rPr lang="en-US" sz="800" baseline="0" dirty="0">
                <a:solidFill>
                  <a:srgbClr val="FFFFFF"/>
                </a:solidFill>
                <a:latin typeface="+mn-lt"/>
              </a:rPr>
              <a:t>CONFIDENTIAL AND PROPRIETARY</a:t>
            </a:r>
          </a:p>
          <a:p>
            <a:pPr defTabSz="804863" eaLnBrk="0" hangingPunct="0"/>
            <a:r>
              <a:rPr lang="en-US" sz="800" baseline="0" dirty="0">
                <a:solidFill>
                  <a:srgbClr val="FFFFFF"/>
                </a:solidFill>
                <a:latin typeface="+mn-lt"/>
              </a:rPr>
              <a:t>Any use of this material without specific permission of McKinsey &amp; Company is strictly prohibited</a:t>
            </a:r>
          </a:p>
        </p:txBody>
      </p:sp>
    </p:spTree>
    <p:extLst>
      <p:ext uri="{BB962C8B-B14F-4D97-AF65-F5344CB8AC3E}">
        <p14:creationId xmlns:p14="http://schemas.microsoft.com/office/powerpoint/2010/main" val="4250444107"/>
      </p:ext>
    </p:extLst>
  </p:cSld>
  <p:clrMapOvr>
    <a:masterClrMapping/>
  </p:clrMapOvr>
  <p:extLst mod="1">
    <p:ext uri="{DCECCB84-F9BA-43D5-87BE-67443E8EF086}">
      <p15:sldGuideLst xmlns:p15="http://schemas.microsoft.com/office/powerpoint/2012/main">
        <p15:guide id="1" orient="horz" pos="2117">
          <p15:clr>
            <a:srgbClr val="FBAE40"/>
          </p15:clr>
        </p15:guide>
        <p15:guide id="2" pos="1416">
          <p15:clr>
            <a:srgbClr val="FBAE4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6E228F5-5CF1-42E1-9748-97D7582A107A}"/>
              </a:ext>
            </a:extLst>
          </p:cNvPr>
          <p:cNvGraphicFramePr>
            <a:graphicFrameLocks noChangeAspect="1"/>
          </p:cNvGraphicFramePr>
          <p:nvPr>
            <p:custDataLst>
              <p:tags r:id="rId2"/>
            </p:custDataLst>
            <p:extLst>
              <p:ext uri="{D42A27DB-BD31-4B8C-83A1-F6EECF244321}">
                <p14:modId xmlns:p14="http://schemas.microsoft.com/office/powerpoint/2010/main" val="231362335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5012" name="think-cell Slide" r:id="rId5" imgW="353" imgH="353" progId="TCLayout.ActiveDocument.1">
                  <p:embed/>
                </p:oleObj>
              </mc:Choice>
              <mc:Fallback>
                <p:oleObj name="think-cell Slide" r:id="rId5" imgW="353" imgH="353" progId="TCLayout.ActiveDocument.1">
                  <p:embed/>
                  <p:pic>
                    <p:nvPicPr>
                      <p:cNvPr id="3" name="Object 2" hidden="1">
                        <a:extLst>
                          <a:ext uri="{FF2B5EF4-FFF2-40B4-BE49-F238E27FC236}">
                            <a16:creationId xmlns:a16="http://schemas.microsoft.com/office/drawing/2014/main" id="{C6E228F5-5CF1-42E1-9748-97D7582A107A}"/>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2. Slide Title"/>
          <p:cNvSpPr>
            <a:spLocks noGrp="1"/>
          </p:cNvSpPr>
          <p:nvPr>
            <p:ph type="title"/>
          </p:nvPr>
        </p:nvSpPr>
        <p:spPr bwMode="auto"/>
        <p:txBody>
          <a:bodyPr/>
          <a:lstStyle/>
          <a:p>
            <a:r>
              <a:rPr lang="en-US"/>
              <a:t>Click to edit Master title style</a:t>
            </a:r>
            <a:endParaRPr lang="en-US" dirty="0"/>
          </a:p>
        </p:txBody>
      </p:sp>
      <p:sp>
        <p:nvSpPr>
          <p:cNvPr id="8" name="Slide Number"/>
          <p:cNvSpPr txBox="1">
            <a:spLocks/>
          </p:cNvSpPr>
          <p:nvPr/>
        </p:nvSpPr>
        <p:spPr bwMode="auto">
          <a:xfrm>
            <a:off x="8564563" y="6508272"/>
            <a:ext cx="125034" cy="123111"/>
          </a:xfrm>
          <a:prstGeom prst="rect">
            <a:avLst/>
          </a:prstGeom>
        </p:spPr>
        <p:txBody>
          <a:bodyPr vert="horz" wrap="none" lIns="0" tIns="0" rIns="0" bIns="0" rtlCol="0" anchor="ctr">
            <a:spAutoFit/>
          </a:bodyPr>
          <a:lstStyle>
            <a:defPPr>
              <a:defRPr lang="en-US"/>
            </a:defPPr>
            <a:lvl1pPr>
              <a:defRPr sz="1000" baseline="0">
                <a:latin typeface="+mn-lt"/>
              </a:defRPr>
            </a:lvl1pPr>
          </a:lstStyle>
          <a:p>
            <a:fld id="{42C328C1-A84F-4A39-A664-DBA00541A8C6}" type="slidenum">
              <a:rPr lang="en-US" sz="800" baseline="0" smtClean="0">
                <a:solidFill>
                  <a:srgbClr val="808080"/>
                </a:solidFill>
                <a:latin typeface="+mn-lt"/>
              </a:rPr>
              <a:pPr/>
              <a:t>‹#›</a:t>
            </a:fld>
            <a:endParaRPr lang="en-US" sz="800" baseline="0" dirty="0">
              <a:solidFill>
                <a:srgbClr val="808080"/>
              </a:solidFill>
              <a:latin typeface="+mn-lt"/>
            </a:endParaRPr>
          </a:p>
        </p:txBody>
      </p:sp>
      <p:sp>
        <p:nvSpPr>
          <p:cNvPr id="9" name="SlideLogoText"/>
          <p:cNvSpPr>
            <a:spLocks noChangeArrowheads="1"/>
          </p:cNvSpPr>
          <p:nvPr>
            <p:custDataLst>
              <p:tags r:id="rId3"/>
            </p:custDataLst>
          </p:nvPr>
        </p:nvSpPr>
        <p:spPr bwMode="auto">
          <a:xfrm>
            <a:off x="7450817" y="6508272"/>
            <a:ext cx="1013098"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algn="r" defTabSz="895350"/>
            <a:r>
              <a:rPr lang="en-US" sz="800" baseline="0" dirty="0">
                <a:solidFill>
                  <a:srgbClr val="808080"/>
                </a:solidFill>
                <a:latin typeface="+mn-lt"/>
              </a:rPr>
              <a:t>McKinsey &amp; Company</a:t>
            </a:r>
          </a:p>
        </p:txBody>
      </p:sp>
      <p:sp>
        <p:nvSpPr>
          <p:cNvPr id="5" name="doc id" hidden="1"/>
          <p:cNvSpPr txBox="1">
            <a:spLocks noChangeArrowheads="1"/>
          </p:cNvSpPr>
          <p:nvPr/>
        </p:nvSpPr>
        <p:spPr bwMode="white">
          <a:xfrm>
            <a:off x="8104473" y="36513"/>
            <a:ext cx="634716" cy="115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hangingPunct="1">
              <a:defRPr/>
            </a:pPr>
            <a:endParaRPr lang="en-US" sz="800" baseline="0" dirty="0">
              <a:solidFill>
                <a:schemeClr val="accent1"/>
              </a:solidFill>
              <a:latin typeface="+mn-lt"/>
              <a:ea typeface="+mn-ea"/>
            </a:endParaRPr>
          </a:p>
        </p:txBody>
      </p:sp>
    </p:spTree>
    <p:extLst>
      <p:ext uri="{BB962C8B-B14F-4D97-AF65-F5344CB8AC3E}">
        <p14:creationId xmlns:p14="http://schemas.microsoft.com/office/powerpoint/2010/main" val="1835709452"/>
      </p:ext>
    </p:extLst>
  </p:cSld>
  <p:clrMapOvr>
    <a:masterClrMapping/>
  </p:clrMapOvr>
  <p:extLst mod="1">
    <p:ext uri="{DCECCB84-F9BA-43D5-87BE-67443E8EF086}">
      <p15:sldGuideLst xmlns:p15="http://schemas.microsoft.com/office/powerpoint/2012/main">
        <p15:guide id="1" pos="5505">
          <p15:clr>
            <a:srgbClr val="F26B43"/>
          </p15:clr>
        </p15:guide>
        <p15:guide id="2" pos="74">
          <p15:clr>
            <a:srgbClr val="F26B43"/>
          </p15:clr>
        </p15:guide>
        <p15:guide id="3" orient="horz" pos="571">
          <p15:clr>
            <a:srgbClr val="F26B43"/>
          </p15:clr>
        </p15:guide>
        <p15:guide id="4" orient="horz" pos="3911">
          <p15:clr>
            <a:srgbClr val="F26B43"/>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1_Title Only">
    <p:bg>
      <p:bgPr>
        <a:solidFill>
          <a:schemeClr val="accent2"/>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F4AD34F-3B47-47E2-A09C-FFEB949F6A10}"/>
              </a:ext>
            </a:extLst>
          </p:cNvPr>
          <p:cNvGraphicFramePr>
            <a:graphicFrameLocks noChangeAspect="1"/>
          </p:cNvGraphicFramePr>
          <p:nvPr>
            <p:custDataLst>
              <p:tags r:id="rId2"/>
            </p:custDataLst>
            <p:extLst>
              <p:ext uri="{D42A27DB-BD31-4B8C-83A1-F6EECF244321}">
                <p14:modId xmlns:p14="http://schemas.microsoft.com/office/powerpoint/2010/main" val="252652599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6036" name="think-cell Slide" r:id="rId5" imgW="395" imgH="394" progId="TCLayout.ActiveDocument.1">
                  <p:embed/>
                </p:oleObj>
              </mc:Choice>
              <mc:Fallback>
                <p:oleObj name="think-cell Slide" r:id="rId5" imgW="395" imgH="394" progId="TCLayout.ActiveDocument.1">
                  <p:embed/>
                  <p:pic>
                    <p:nvPicPr>
                      <p:cNvPr id="3" name="Object 2" hidden="1">
                        <a:extLst>
                          <a:ext uri="{FF2B5EF4-FFF2-40B4-BE49-F238E27FC236}">
                            <a16:creationId xmlns:a16="http://schemas.microsoft.com/office/drawing/2014/main" id="{EF4AD34F-3B47-47E2-A09C-FFEB949F6A10}"/>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endParaRPr lang="en-US" dirty="0"/>
          </a:p>
        </p:txBody>
      </p:sp>
      <p:sp>
        <p:nvSpPr>
          <p:cNvPr id="15" name="Slide Number"/>
          <p:cNvSpPr txBox="1">
            <a:spLocks/>
          </p:cNvSpPr>
          <p:nvPr/>
        </p:nvSpPr>
        <p:spPr>
          <a:xfrm>
            <a:off x="8564563" y="6508272"/>
            <a:ext cx="125034" cy="123111"/>
          </a:xfrm>
          <a:prstGeom prst="rect">
            <a:avLst/>
          </a:prstGeom>
        </p:spPr>
        <p:txBody>
          <a:bodyPr vert="horz" wrap="none" lIns="0" tIns="0" rIns="0" bIns="0" rtlCol="0" anchor="ctr">
            <a:spAutoFit/>
          </a:bodyPr>
          <a:lstStyle>
            <a:defPPr>
              <a:defRPr lang="en-US"/>
            </a:defPPr>
            <a:lvl1pPr>
              <a:defRPr sz="1000" baseline="0">
                <a:latin typeface="+mn-lt"/>
              </a:defRPr>
            </a:lvl1pPr>
          </a:lstStyle>
          <a:p>
            <a:fld id="{42C328C1-A84F-4A39-A664-DBA00541A8C6}" type="slidenum">
              <a:rPr lang="en-US" sz="800" baseline="0" smtClean="0">
                <a:solidFill>
                  <a:srgbClr val="FFFFFF"/>
                </a:solidFill>
                <a:latin typeface="+mn-lt"/>
              </a:rPr>
              <a:pPr/>
              <a:t>‹#›</a:t>
            </a:fld>
            <a:endParaRPr lang="en-US" sz="800" baseline="0" dirty="0">
              <a:solidFill>
                <a:srgbClr val="FFFFFF"/>
              </a:solidFill>
              <a:latin typeface="+mn-lt"/>
            </a:endParaRPr>
          </a:p>
        </p:txBody>
      </p:sp>
      <p:sp>
        <p:nvSpPr>
          <p:cNvPr id="16" name="SlideLogoText"/>
          <p:cNvSpPr>
            <a:spLocks noChangeArrowheads="1"/>
          </p:cNvSpPr>
          <p:nvPr>
            <p:custDataLst>
              <p:tags r:id="rId3"/>
            </p:custDataLst>
          </p:nvPr>
        </p:nvSpPr>
        <p:spPr bwMode="auto">
          <a:xfrm>
            <a:off x="7450817" y="6508272"/>
            <a:ext cx="1013098"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algn="r" defTabSz="895350"/>
            <a:r>
              <a:rPr lang="en-US" sz="800" baseline="0" dirty="0">
                <a:solidFill>
                  <a:srgbClr val="FFFFFF"/>
                </a:solidFill>
                <a:latin typeface="+mn-lt"/>
              </a:rPr>
              <a:t>McKinsey &amp; Company</a:t>
            </a:r>
          </a:p>
        </p:txBody>
      </p:sp>
      <p:sp>
        <p:nvSpPr>
          <p:cNvPr id="5" name="doc id" hidden="1"/>
          <p:cNvSpPr txBox="1">
            <a:spLocks noChangeArrowheads="1"/>
          </p:cNvSpPr>
          <p:nvPr/>
        </p:nvSpPr>
        <p:spPr bwMode="white">
          <a:xfrm>
            <a:off x="8104473" y="36513"/>
            <a:ext cx="634716" cy="115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hangingPunct="1">
              <a:defRPr/>
            </a:pPr>
            <a:endParaRPr lang="en-US" sz="800" baseline="0" dirty="0">
              <a:solidFill>
                <a:schemeClr val="accent1"/>
              </a:solidFill>
              <a:latin typeface="+mn-lt"/>
              <a:ea typeface="+mn-ea"/>
            </a:endParaRPr>
          </a:p>
        </p:txBody>
      </p:sp>
    </p:spTree>
    <p:extLst>
      <p:ext uri="{BB962C8B-B14F-4D97-AF65-F5344CB8AC3E}">
        <p14:creationId xmlns:p14="http://schemas.microsoft.com/office/powerpoint/2010/main" val="1286791967"/>
      </p:ext>
    </p:extLst>
  </p:cSld>
  <p:clrMapOvr>
    <a:masterClrMapping/>
  </p:clrMapOvr>
  <p:extLst mod="1">
    <p:ext uri="{DCECCB84-F9BA-43D5-87BE-67443E8EF086}">
      <p15:sldGuideLst xmlns:p15="http://schemas.microsoft.com/office/powerpoint/2012/main">
        <p15:guide id="1" pos="3978">
          <p15:clr>
            <a:srgbClr val="000000"/>
          </p15:clr>
        </p15:guide>
        <p15:guide id="2" orient="horz" pos="570">
          <p15:clr>
            <a:srgbClr val="000000"/>
          </p15:clr>
        </p15:guide>
        <p15:guide id="3" orient="horz" pos="3912">
          <p15:clr>
            <a:srgbClr val="000000"/>
          </p15:clr>
        </p15:guide>
        <p15:guide id="4" pos="72">
          <p15:clr>
            <a:srgbClr val="00000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type="titleOnly">
  <p:cSld name="2_Title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ECD524A-1569-4253-8CD8-48D288AD883C}"/>
              </a:ext>
            </a:extLst>
          </p:cNvPr>
          <p:cNvGraphicFramePr>
            <a:graphicFrameLocks noChangeAspect="1"/>
          </p:cNvGraphicFramePr>
          <p:nvPr>
            <p:custDataLst>
              <p:tags r:id="rId2"/>
            </p:custDataLst>
            <p:extLst>
              <p:ext uri="{D42A27DB-BD31-4B8C-83A1-F6EECF244321}">
                <p14:modId xmlns:p14="http://schemas.microsoft.com/office/powerpoint/2010/main" val="345789527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7060" name="think-cell Slide" r:id="rId4" imgW="395" imgH="394" progId="TCLayout.ActiveDocument.1">
                  <p:embed/>
                </p:oleObj>
              </mc:Choice>
              <mc:Fallback>
                <p:oleObj name="think-cell Slide" r:id="rId4" imgW="395" imgH="394" progId="TCLayout.ActiveDocument.1">
                  <p:embed/>
                  <p:pic>
                    <p:nvPicPr>
                      <p:cNvPr id="3" name="Object 2" hidden="1">
                        <a:extLst>
                          <a:ext uri="{FF2B5EF4-FFF2-40B4-BE49-F238E27FC236}">
                            <a16:creationId xmlns:a16="http://schemas.microsoft.com/office/drawing/2014/main" id="{5ECD524A-1569-4253-8CD8-48D288AD883C}"/>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60583660"/>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pic>
        <p:nvPicPr>
          <p:cNvPr id="2" name="background"/>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0" y="198"/>
            <a:ext cx="8961438" cy="6721079"/>
          </a:xfrm>
          <a:prstGeom prst="rect">
            <a:avLst/>
          </a:prstGeom>
        </p:spPr>
      </p:pic>
      <p:sp>
        <p:nvSpPr>
          <p:cNvPr id="28" name="TitleRectangle"/>
          <p:cNvSpPr txBox="1">
            <a:spLocks/>
          </p:cNvSpPr>
          <p:nvPr/>
        </p:nvSpPr>
        <p:spPr>
          <a:xfrm>
            <a:off x="2084388" y="0"/>
            <a:ext cx="6875462" cy="3575976"/>
          </a:xfrm>
          <a:prstGeom prst="rect">
            <a:avLst/>
          </a:prstGeom>
          <a:solidFill>
            <a:srgbClr val="002960">
              <a:alpha val="92000"/>
            </a:srgbClr>
          </a:solidFill>
        </p:spPr>
        <p:txBody>
          <a:bodyPr vert="horz" wrap="square" lIns="216000" tIns="1440000" rIns="216000" bIns="108000" rtlCol="0">
            <a:noAutofit/>
          </a:bodyPr>
          <a:lstStyle>
            <a:lvl1pPr marL="0" indent="0" algn="l" defTabSz="914400" rtl="0" eaLnBrk="1" latinLnBrk="0" hangingPunct="1">
              <a:spcBef>
                <a:spcPct val="20000"/>
              </a:spcBef>
              <a:spcAft>
                <a:spcPts val="6000"/>
              </a:spcAft>
              <a:buFont typeface="Arial" pitchFamily="34" charset="0"/>
              <a:buNone/>
              <a:defRPr sz="3200" kern="1200">
                <a:solidFill>
                  <a:schemeClr val="accent1"/>
                </a:solidFill>
                <a:latin typeface="+mn-lt"/>
                <a:ea typeface="+mn-ea"/>
                <a:cs typeface="+mn-cs"/>
              </a:defRPr>
            </a:lvl1pPr>
            <a:lvl2pPr marL="0" indent="0" algn="l" defTabSz="914400" rtl="0" eaLnBrk="1" latinLnBrk="0" hangingPunct="1">
              <a:spcBef>
                <a:spcPct val="20000"/>
              </a:spcBef>
              <a:buFont typeface="Wingdings" charset="2"/>
              <a:buNone/>
              <a:defRPr sz="1400" kern="1200">
                <a:solidFill>
                  <a:schemeClr val="tx1">
                    <a:lumMod val="50000"/>
                    <a:lumOff val="50000"/>
                  </a:schemeClr>
                </a:solidFill>
                <a:latin typeface="+mn-lt"/>
                <a:ea typeface="+mn-ea"/>
                <a:cs typeface="+mn-cs"/>
              </a:defRPr>
            </a:lvl2pPr>
            <a:lvl3pPr marL="1143000" indent="-228600" algn="l" defTabSz="914400" rtl="0" eaLnBrk="1" latinLnBrk="0" hangingPunct="1">
              <a:spcBef>
                <a:spcPct val="20000"/>
              </a:spcBef>
              <a:buFont typeface="Lucida Grande"/>
              <a:buChar char="–"/>
              <a:defRPr sz="16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fontAlgn="auto">
              <a:defRPr/>
            </a:pPr>
            <a:r>
              <a:rPr lang="en-US" baseline="0" dirty="0">
                <a:solidFill>
                  <a:srgbClr val="00ADEF"/>
                </a:solidFill>
                <a:latin typeface="+mn-lt"/>
              </a:rPr>
              <a:t>
              </a:t>
            </a:r>
            <a:br>
              <a:rPr lang="en-US" baseline="0" dirty="0">
                <a:solidFill>
                  <a:srgbClr val="00ADEF"/>
                </a:solidFill>
                <a:latin typeface="+mn-lt"/>
              </a:rPr>
            </a:br>
            <a:endParaRPr lang="en-US" baseline="0" dirty="0">
              <a:solidFill>
                <a:srgbClr val="00ADEF"/>
              </a:solidFill>
              <a:latin typeface="+mn-lt"/>
            </a:endParaRPr>
          </a:p>
        </p:txBody>
      </p:sp>
      <p:graphicFrame>
        <p:nvGraphicFramePr>
          <p:cNvPr id="3" name="Object 2"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9108"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Working Draft Text" hidden="1"/>
          <p:cNvSpPr txBox="1">
            <a:spLocks noChangeArrowheads="1"/>
          </p:cNvSpPr>
          <p:nvPr/>
        </p:nvSpPr>
        <p:spPr bwMode="black">
          <a:xfrm>
            <a:off x="5992719" y="6287538"/>
            <a:ext cx="2790000"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800" b="1" baseline="0" dirty="0">
                <a:solidFill>
                  <a:srgbClr val="FFFFFF"/>
                </a:solidFill>
                <a:latin typeface="+mn-lt"/>
              </a:rPr>
              <a:t>WORKING DRAFT</a:t>
            </a:r>
          </a:p>
        </p:txBody>
      </p:sp>
      <p:sp>
        <p:nvSpPr>
          <p:cNvPr id="6" name="Working Draft" hidden="1"/>
          <p:cNvSpPr txBox="1">
            <a:spLocks noChangeArrowheads="1"/>
          </p:cNvSpPr>
          <p:nvPr/>
        </p:nvSpPr>
        <p:spPr bwMode="black">
          <a:xfrm>
            <a:off x="5992718" y="6410648"/>
            <a:ext cx="2968719"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800" baseline="0">
                <a:solidFill>
                  <a:srgbClr val="FFFFFF"/>
                </a:solidFill>
                <a:latin typeface="+mn-lt"/>
              </a:rPr>
              <a:t>Last Modified 21/05/2018 17:44 India Standard Time</a:t>
            </a:r>
            <a:endParaRPr lang="en-US" sz="800" baseline="0" dirty="0">
              <a:solidFill>
                <a:srgbClr val="FFFFFF"/>
              </a:solidFill>
              <a:latin typeface="+mn-lt"/>
            </a:endParaRPr>
          </a:p>
        </p:txBody>
      </p:sp>
      <p:sp>
        <p:nvSpPr>
          <p:cNvPr id="7" name="Printed" hidden="1"/>
          <p:cNvSpPr txBox="1">
            <a:spLocks noChangeArrowheads="1"/>
          </p:cNvSpPr>
          <p:nvPr/>
        </p:nvSpPr>
        <p:spPr bwMode="black">
          <a:xfrm>
            <a:off x="5992719" y="6533759"/>
            <a:ext cx="2790000"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800" baseline="0" dirty="0">
                <a:solidFill>
                  <a:srgbClr val="FFFFFF"/>
                </a:solidFill>
                <a:latin typeface="+mn-lt"/>
              </a:rPr>
              <a:t>Printed</a:t>
            </a:r>
          </a:p>
        </p:txBody>
      </p:sp>
      <p:sp>
        <p:nvSpPr>
          <p:cNvPr id="13314" name="Title"/>
          <p:cNvSpPr>
            <a:spLocks noGrp="1" noChangeArrowheads="1"/>
          </p:cNvSpPr>
          <p:nvPr>
            <p:ph type="ctrTitle"/>
          </p:nvPr>
        </p:nvSpPr>
        <p:spPr>
          <a:xfrm>
            <a:off x="2268266" y="1434419"/>
            <a:ext cx="6231663" cy="492443"/>
          </a:xfrm>
          <a:prstGeom prst="rect">
            <a:avLst/>
          </a:prstGeom>
        </p:spPr>
        <p:txBody>
          <a:bodyPr>
            <a:spAutoFit/>
          </a:bodyPr>
          <a:lstStyle>
            <a:lvl1pPr>
              <a:defRPr sz="3200" b="0" baseline="0">
                <a:solidFill>
                  <a:schemeClr val="accent2"/>
                </a:solidFill>
                <a:latin typeface="+mj-lt"/>
                <a:ea typeface="+mj-ea"/>
              </a:defRPr>
            </a:lvl1pPr>
          </a:lstStyle>
          <a:p>
            <a:pPr lvl="0" latinLnBrk="0"/>
            <a:r>
              <a:rPr lang="en-US" noProof="0"/>
              <a:t>Click to edit Master title style</a:t>
            </a:r>
            <a:endParaRPr lang="en-US" noProof="0" dirty="0"/>
          </a:p>
        </p:txBody>
      </p:sp>
      <p:sp>
        <p:nvSpPr>
          <p:cNvPr id="13315" name="Subtitle"/>
          <p:cNvSpPr>
            <a:spLocks noGrp="1" noChangeArrowheads="1"/>
          </p:cNvSpPr>
          <p:nvPr>
            <p:ph type="subTitle" idx="1"/>
          </p:nvPr>
        </p:nvSpPr>
        <p:spPr>
          <a:xfrm>
            <a:off x="2268266" y="2819401"/>
            <a:ext cx="6231663" cy="215444"/>
          </a:xfrm>
          <a:prstGeom prst="rect">
            <a:avLst/>
          </a:prstGeom>
        </p:spPr>
        <p:txBody>
          <a:bodyPr wrap="square">
            <a:spAutoFit/>
          </a:bodyPr>
          <a:lstStyle>
            <a:lvl1pPr>
              <a:defRPr sz="1400" cap="all" baseline="0">
                <a:solidFill>
                  <a:schemeClr val="bg1"/>
                </a:solidFill>
                <a:latin typeface="+mn-lt"/>
                <a:ea typeface="+mn-ea"/>
              </a:defRPr>
            </a:lvl1pPr>
          </a:lstStyle>
          <a:p>
            <a:pPr lvl="0" latinLnBrk="0"/>
            <a:r>
              <a:rPr lang="en-US" noProof="0"/>
              <a:t>Click to edit Master subtitle style</a:t>
            </a:r>
            <a:endParaRPr lang="en-US" noProof="0" dirty="0"/>
          </a:p>
        </p:txBody>
      </p:sp>
      <p:sp>
        <p:nvSpPr>
          <p:cNvPr id="57" name="Document type" hidden="1"/>
          <p:cNvSpPr txBox="1">
            <a:spLocks noChangeArrowheads="1"/>
          </p:cNvSpPr>
          <p:nvPr/>
        </p:nvSpPr>
        <p:spPr bwMode="gray">
          <a:xfrm>
            <a:off x="2268266" y="3227411"/>
            <a:ext cx="6231663"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00" baseline="0" dirty="0">
                <a:solidFill>
                  <a:schemeClr val="bg1"/>
                </a:solidFill>
                <a:latin typeface="+mn-lt"/>
              </a:rPr>
              <a:t>Document type | Date</a:t>
            </a:r>
          </a:p>
        </p:txBody>
      </p:sp>
      <p:sp>
        <p:nvSpPr>
          <p:cNvPr id="5" name="doc id" hidden="1"/>
          <p:cNvSpPr txBox="1">
            <a:spLocks noChangeArrowheads="1"/>
          </p:cNvSpPr>
          <p:nvPr/>
        </p:nvSpPr>
        <p:spPr bwMode="white">
          <a:xfrm>
            <a:off x="8443913" y="36513"/>
            <a:ext cx="295275" cy="1222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hangingPunct="1">
              <a:defRPr/>
            </a:pPr>
            <a:endParaRPr lang="en-US" sz="800" baseline="0" dirty="0">
              <a:solidFill>
                <a:srgbClr val="FFFFFF"/>
              </a:solidFill>
              <a:latin typeface="+mn-lt"/>
            </a:endParaRPr>
          </a:p>
        </p:txBody>
      </p:sp>
      <p:sp>
        <p:nvSpPr>
          <p:cNvPr id="43" name="LogoImage"/>
          <p:cNvSpPr>
            <a:spLocks noEditPoints="1"/>
          </p:cNvSpPr>
          <p:nvPr/>
        </p:nvSpPr>
        <p:spPr bwMode="white">
          <a:xfrm>
            <a:off x="2269098" y="182925"/>
            <a:ext cx="2176978" cy="238073"/>
          </a:xfrm>
          <a:custGeom>
            <a:avLst/>
            <a:gdLst>
              <a:gd name="T0" fmla="*/ 504 w 5516"/>
              <a:gd name="T1" fmla="*/ 26 h 606"/>
              <a:gd name="T2" fmla="*/ 18 w 5516"/>
              <a:gd name="T3" fmla="*/ 22 h 606"/>
              <a:gd name="T4" fmla="*/ 140 w 5516"/>
              <a:gd name="T5" fmla="*/ 436 h 606"/>
              <a:gd name="T6" fmla="*/ 408 w 5516"/>
              <a:gd name="T7" fmla="*/ 372 h 606"/>
              <a:gd name="T8" fmla="*/ 696 w 5516"/>
              <a:gd name="T9" fmla="*/ 422 h 606"/>
              <a:gd name="T10" fmla="*/ 768 w 5516"/>
              <a:gd name="T11" fmla="*/ 196 h 606"/>
              <a:gd name="T12" fmla="*/ 1272 w 5516"/>
              <a:gd name="T13" fmla="*/ 26 h 606"/>
              <a:gd name="T14" fmla="*/ 1302 w 5516"/>
              <a:gd name="T15" fmla="*/ 338 h 606"/>
              <a:gd name="T16" fmla="*/ 1202 w 5516"/>
              <a:gd name="T17" fmla="*/ 436 h 606"/>
              <a:gd name="T18" fmla="*/ 1030 w 5516"/>
              <a:gd name="T19" fmla="*/ 10 h 606"/>
              <a:gd name="T20" fmla="*/ 960 w 5516"/>
              <a:gd name="T21" fmla="*/ 22 h 606"/>
              <a:gd name="T22" fmla="*/ 804 w 5516"/>
              <a:gd name="T23" fmla="*/ 434 h 606"/>
              <a:gd name="T24" fmla="*/ 930 w 5516"/>
              <a:gd name="T25" fmla="*/ 246 h 606"/>
              <a:gd name="T26" fmla="*/ 1658 w 5516"/>
              <a:gd name="T27" fmla="*/ 342 h 606"/>
              <a:gd name="T28" fmla="*/ 1368 w 5516"/>
              <a:gd name="T29" fmla="*/ 188 h 606"/>
              <a:gd name="T30" fmla="*/ 1514 w 5516"/>
              <a:gd name="T31" fmla="*/ 436 h 606"/>
              <a:gd name="T32" fmla="*/ 1564 w 5516"/>
              <a:gd name="T33" fmla="*/ 434 h 606"/>
              <a:gd name="T34" fmla="*/ 1904 w 5516"/>
              <a:gd name="T35" fmla="*/ 184 h 606"/>
              <a:gd name="T36" fmla="*/ 1728 w 5516"/>
              <a:gd name="T37" fmla="*/ 366 h 606"/>
              <a:gd name="T38" fmla="*/ 2102 w 5516"/>
              <a:gd name="T39" fmla="*/ 192 h 606"/>
              <a:gd name="T40" fmla="*/ 1982 w 5516"/>
              <a:gd name="T41" fmla="*/ 320 h 606"/>
              <a:gd name="T42" fmla="*/ 2478 w 5516"/>
              <a:gd name="T43" fmla="*/ 242 h 606"/>
              <a:gd name="T44" fmla="*/ 2406 w 5516"/>
              <a:gd name="T45" fmla="*/ 390 h 606"/>
              <a:gd name="T46" fmla="*/ 2234 w 5516"/>
              <a:gd name="T47" fmla="*/ 192 h 606"/>
              <a:gd name="T48" fmla="*/ 2478 w 5516"/>
              <a:gd name="T49" fmla="*/ 242 h 606"/>
              <a:gd name="T50" fmla="*/ 2928 w 5516"/>
              <a:gd name="T51" fmla="*/ 448 h 606"/>
              <a:gd name="T52" fmla="*/ 2958 w 5516"/>
              <a:gd name="T53" fmla="*/ 230 h 606"/>
              <a:gd name="T54" fmla="*/ 2716 w 5516"/>
              <a:gd name="T55" fmla="*/ 54 h 606"/>
              <a:gd name="T56" fmla="*/ 2714 w 5516"/>
              <a:gd name="T57" fmla="*/ 36 h 606"/>
              <a:gd name="T58" fmla="*/ 2928 w 5516"/>
              <a:gd name="T59" fmla="*/ 448 h 606"/>
              <a:gd name="T60" fmla="*/ 3388 w 5516"/>
              <a:gd name="T61" fmla="*/ 4 h 606"/>
              <a:gd name="T62" fmla="*/ 3396 w 5516"/>
              <a:gd name="T63" fmla="*/ 366 h 606"/>
              <a:gd name="T64" fmla="*/ 3580 w 5516"/>
              <a:gd name="T65" fmla="*/ 190 h 606"/>
              <a:gd name="T66" fmla="*/ 3502 w 5516"/>
              <a:gd name="T67" fmla="*/ 432 h 606"/>
              <a:gd name="T68" fmla="*/ 4232 w 5516"/>
              <a:gd name="T69" fmla="*/ 348 h 606"/>
              <a:gd name="T70" fmla="*/ 3858 w 5516"/>
              <a:gd name="T71" fmla="*/ 176 h 606"/>
              <a:gd name="T72" fmla="*/ 3758 w 5516"/>
              <a:gd name="T73" fmla="*/ 446 h 606"/>
              <a:gd name="T74" fmla="*/ 3990 w 5516"/>
              <a:gd name="T75" fmla="*/ 282 h 606"/>
              <a:gd name="T76" fmla="*/ 4042 w 5516"/>
              <a:gd name="T77" fmla="*/ 342 h 606"/>
              <a:gd name="T78" fmla="*/ 4134 w 5516"/>
              <a:gd name="T79" fmla="*/ 448 h 606"/>
              <a:gd name="T80" fmla="*/ 4454 w 5516"/>
              <a:gd name="T81" fmla="*/ 202 h 606"/>
              <a:gd name="T82" fmla="*/ 4284 w 5516"/>
              <a:gd name="T83" fmla="*/ 174 h 606"/>
              <a:gd name="T84" fmla="*/ 4432 w 5516"/>
              <a:gd name="T85" fmla="*/ 588 h 606"/>
              <a:gd name="T86" fmla="*/ 4792 w 5516"/>
              <a:gd name="T87" fmla="*/ 382 h 606"/>
              <a:gd name="T88" fmla="*/ 5192 w 5516"/>
              <a:gd name="T89" fmla="*/ 340 h 606"/>
              <a:gd name="T90" fmla="*/ 4902 w 5516"/>
              <a:gd name="T91" fmla="*/ 186 h 606"/>
              <a:gd name="T92" fmla="*/ 4850 w 5516"/>
              <a:gd name="T93" fmla="*/ 274 h 606"/>
              <a:gd name="T94" fmla="*/ 4742 w 5516"/>
              <a:gd name="T95" fmla="*/ 194 h 606"/>
              <a:gd name="T96" fmla="*/ 4794 w 5516"/>
              <a:gd name="T97" fmla="*/ 418 h 606"/>
              <a:gd name="T98" fmla="*/ 5004 w 5516"/>
              <a:gd name="T99" fmla="*/ 338 h 606"/>
              <a:gd name="T100" fmla="*/ 5098 w 5516"/>
              <a:gd name="T101" fmla="*/ 446 h 606"/>
              <a:gd name="T102" fmla="*/ 5418 w 5516"/>
              <a:gd name="T103" fmla="*/ 192 h 606"/>
              <a:gd name="T104" fmla="*/ 5348 w 5516"/>
              <a:gd name="T105" fmla="*/ 180 h 606"/>
              <a:gd name="T106" fmla="*/ 5254 w 5516"/>
              <a:gd name="T107" fmla="*/ 606 h 6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516" h="606">
                <a:moveTo>
                  <a:pt x="366" y="448"/>
                </a:moveTo>
                <a:cubicBezTo>
                  <a:pt x="524" y="448"/>
                  <a:pt x="524" y="448"/>
                  <a:pt x="524" y="448"/>
                </a:cubicBezTo>
                <a:cubicBezTo>
                  <a:pt x="524" y="436"/>
                  <a:pt x="524" y="436"/>
                  <a:pt x="524" y="436"/>
                </a:cubicBezTo>
                <a:cubicBezTo>
                  <a:pt x="486" y="432"/>
                  <a:pt x="470" y="414"/>
                  <a:pt x="468" y="362"/>
                </a:cubicBezTo>
                <a:cubicBezTo>
                  <a:pt x="454" y="86"/>
                  <a:pt x="454" y="86"/>
                  <a:pt x="454" y="86"/>
                </a:cubicBezTo>
                <a:cubicBezTo>
                  <a:pt x="452" y="46"/>
                  <a:pt x="470" y="30"/>
                  <a:pt x="504" y="26"/>
                </a:cubicBezTo>
                <a:cubicBezTo>
                  <a:pt x="504" y="12"/>
                  <a:pt x="504" y="12"/>
                  <a:pt x="504" y="12"/>
                </a:cubicBezTo>
                <a:cubicBezTo>
                  <a:pt x="394" y="12"/>
                  <a:pt x="394" y="12"/>
                  <a:pt x="394" y="12"/>
                </a:cubicBezTo>
                <a:cubicBezTo>
                  <a:pt x="264" y="350"/>
                  <a:pt x="264" y="350"/>
                  <a:pt x="264" y="350"/>
                </a:cubicBezTo>
                <a:cubicBezTo>
                  <a:pt x="132" y="10"/>
                  <a:pt x="132" y="10"/>
                  <a:pt x="132" y="10"/>
                </a:cubicBezTo>
                <a:cubicBezTo>
                  <a:pt x="18" y="10"/>
                  <a:pt x="18" y="10"/>
                  <a:pt x="18" y="10"/>
                </a:cubicBezTo>
                <a:cubicBezTo>
                  <a:pt x="18" y="22"/>
                  <a:pt x="18" y="22"/>
                  <a:pt x="18" y="22"/>
                </a:cubicBezTo>
                <a:cubicBezTo>
                  <a:pt x="40" y="26"/>
                  <a:pt x="74" y="32"/>
                  <a:pt x="72" y="84"/>
                </a:cubicBezTo>
                <a:cubicBezTo>
                  <a:pt x="58" y="352"/>
                  <a:pt x="58" y="352"/>
                  <a:pt x="58" y="352"/>
                </a:cubicBezTo>
                <a:cubicBezTo>
                  <a:pt x="54" y="410"/>
                  <a:pt x="38" y="430"/>
                  <a:pt x="0" y="436"/>
                </a:cubicBezTo>
                <a:cubicBezTo>
                  <a:pt x="0" y="448"/>
                  <a:pt x="0" y="448"/>
                  <a:pt x="0" y="448"/>
                </a:cubicBezTo>
                <a:cubicBezTo>
                  <a:pt x="140" y="448"/>
                  <a:pt x="140" y="448"/>
                  <a:pt x="140" y="448"/>
                </a:cubicBezTo>
                <a:cubicBezTo>
                  <a:pt x="140" y="436"/>
                  <a:pt x="140" y="436"/>
                  <a:pt x="140" y="436"/>
                </a:cubicBezTo>
                <a:cubicBezTo>
                  <a:pt x="98" y="428"/>
                  <a:pt x="84" y="414"/>
                  <a:pt x="88" y="356"/>
                </a:cubicBezTo>
                <a:cubicBezTo>
                  <a:pt x="100" y="86"/>
                  <a:pt x="100" y="86"/>
                  <a:pt x="100" y="86"/>
                </a:cubicBezTo>
                <a:cubicBezTo>
                  <a:pt x="240" y="444"/>
                  <a:pt x="240" y="444"/>
                  <a:pt x="240" y="444"/>
                </a:cubicBezTo>
                <a:cubicBezTo>
                  <a:pt x="258" y="444"/>
                  <a:pt x="258" y="444"/>
                  <a:pt x="258" y="444"/>
                </a:cubicBezTo>
                <a:cubicBezTo>
                  <a:pt x="396" y="86"/>
                  <a:pt x="396" y="86"/>
                  <a:pt x="396" y="86"/>
                </a:cubicBezTo>
                <a:cubicBezTo>
                  <a:pt x="408" y="372"/>
                  <a:pt x="408" y="372"/>
                  <a:pt x="408" y="372"/>
                </a:cubicBezTo>
                <a:cubicBezTo>
                  <a:pt x="410" y="416"/>
                  <a:pt x="398" y="430"/>
                  <a:pt x="366" y="434"/>
                </a:cubicBezTo>
                <a:lnTo>
                  <a:pt x="366" y="448"/>
                </a:lnTo>
                <a:close/>
                <a:moveTo>
                  <a:pt x="670" y="456"/>
                </a:moveTo>
                <a:cubicBezTo>
                  <a:pt x="708" y="456"/>
                  <a:pt x="756" y="440"/>
                  <a:pt x="782" y="412"/>
                </a:cubicBezTo>
                <a:cubicBezTo>
                  <a:pt x="776" y="400"/>
                  <a:pt x="776" y="400"/>
                  <a:pt x="776" y="400"/>
                </a:cubicBezTo>
                <a:cubicBezTo>
                  <a:pt x="750" y="416"/>
                  <a:pt x="722" y="422"/>
                  <a:pt x="696" y="422"/>
                </a:cubicBezTo>
                <a:cubicBezTo>
                  <a:pt x="620" y="422"/>
                  <a:pt x="592" y="358"/>
                  <a:pt x="592" y="290"/>
                </a:cubicBezTo>
                <a:cubicBezTo>
                  <a:pt x="592" y="258"/>
                  <a:pt x="600" y="236"/>
                  <a:pt x="614" y="222"/>
                </a:cubicBezTo>
                <a:cubicBezTo>
                  <a:pt x="626" y="210"/>
                  <a:pt x="646" y="204"/>
                  <a:pt x="664" y="204"/>
                </a:cubicBezTo>
                <a:cubicBezTo>
                  <a:pt x="690" y="204"/>
                  <a:pt x="722" y="214"/>
                  <a:pt x="744" y="244"/>
                </a:cubicBezTo>
                <a:cubicBezTo>
                  <a:pt x="750" y="244"/>
                  <a:pt x="750" y="244"/>
                  <a:pt x="750" y="244"/>
                </a:cubicBezTo>
                <a:cubicBezTo>
                  <a:pt x="758" y="234"/>
                  <a:pt x="766" y="212"/>
                  <a:pt x="768" y="196"/>
                </a:cubicBezTo>
                <a:cubicBezTo>
                  <a:pt x="748" y="180"/>
                  <a:pt x="720" y="172"/>
                  <a:pt x="686" y="172"/>
                </a:cubicBezTo>
                <a:cubicBezTo>
                  <a:pt x="604" y="172"/>
                  <a:pt x="544" y="246"/>
                  <a:pt x="544" y="326"/>
                </a:cubicBezTo>
                <a:cubicBezTo>
                  <a:pt x="540" y="390"/>
                  <a:pt x="576" y="456"/>
                  <a:pt x="670" y="456"/>
                </a:cubicBezTo>
                <a:moveTo>
                  <a:pt x="1272" y="98"/>
                </a:moveTo>
                <a:cubicBezTo>
                  <a:pt x="1292" y="98"/>
                  <a:pt x="1308" y="82"/>
                  <a:pt x="1308" y="62"/>
                </a:cubicBezTo>
                <a:cubicBezTo>
                  <a:pt x="1308" y="42"/>
                  <a:pt x="1292" y="26"/>
                  <a:pt x="1272" y="26"/>
                </a:cubicBezTo>
                <a:cubicBezTo>
                  <a:pt x="1252" y="26"/>
                  <a:pt x="1238" y="42"/>
                  <a:pt x="1238" y="62"/>
                </a:cubicBezTo>
                <a:cubicBezTo>
                  <a:pt x="1238" y="82"/>
                  <a:pt x="1252" y="98"/>
                  <a:pt x="1272" y="98"/>
                </a:cubicBezTo>
                <a:moveTo>
                  <a:pt x="1202" y="448"/>
                </a:moveTo>
                <a:cubicBezTo>
                  <a:pt x="1346" y="448"/>
                  <a:pt x="1346" y="448"/>
                  <a:pt x="1346" y="448"/>
                </a:cubicBezTo>
                <a:cubicBezTo>
                  <a:pt x="1346" y="436"/>
                  <a:pt x="1346" y="436"/>
                  <a:pt x="1346" y="436"/>
                </a:cubicBezTo>
                <a:cubicBezTo>
                  <a:pt x="1304" y="432"/>
                  <a:pt x="1302" y="434"/>
                  <a:pt x="1302" y="338"/>
                </a:cubicBezTo>
                <a:cubicBezTo>
                  <a:pt x="1302" y="176"/>
                  <a:pt x="1302" y="176"/>
                  <a:pt x="1302" y="176"/>
                </a:cubicBezTo>
                <a:cubicBezTo>
                  <a:pt x="1200" y="176"/>
                  <a:pt x="1200" y="176"/>
                  <a:pt x="1200" y="176"/>
                </a:cubicBezTo>
                <a:cubicBezTo>
                  <a:pt x="1200" y="188"/>
                  <a:pt x="1200" y="188"/>
                  <a:pt x="1200" y="188"/>
                </a:cubicBezTo>
                <a:cubicBezTo>
                  <a:pt x="1244" y="190"/>
                  <a:pt x="1250" y="192"/>
                  <a:pt x="1250" y="268"/>
                </a:cubicBezTo>
                <a:cubicBezTo>
                  <a:pt x="1250" y="336"/>
                  <a:pt x="1250" y="336"/>
                  <a:pt x="1250" y="336"/>
                </a:cubicBezTo>
                <a:cubicBezTo>
                  <a:pt x="1250" y="432"/>
                  <a:pt x="1248" y="432"/>
                  <a:pt x="1202" y="436"/>
                </a:cubicBezTo>
                <a:cubicBezTo>
                  <a:pt x="1178" y="434"/>
                  <a:pt x="1154" y="426"/>
                  <a:pt x="1076" y="338"/>
                </a:cubicBezTo>
                <a:cubicBezTo>
                  <a:pt x="1046" y="302"/>
                  <a:pt x="996" y="244"/>
                  <a:pt x="968" y="206"/>
                </a:cubicBezTo>
                <a:cubicBezTo>
                  <a:pt x="1062" y="102"/>
                  <a:pt x="1062" y="102"/>
                  <a:pt x="1062" y="102"/>
                </a:cubicBezTo>
                <a:cubicBezTo>
                  <a:pt x="1108" y="52"/>
                  <a:pt x="1132" y="26"/>
                  <a:pt x="1176" y="24"/>
                </a:cubicBezTo>
                <a:cubicBezTo>
                  <a:pt x="1176" y="10"/>
                  <a:pt x="1176" y="10"/>
                  <a:pt x="1176" y="10"/>
                </a:cubicBezTo>
                <a:cubicBezTo>
                  <a:pt x="1030" y="10"/>
                  <a:pt x="1030" y="10"/>
                  <a:pt x="1030" y="10"/>
                </a:cubicBezTo>
                <a:cubicBezTo>
                  <a:pt x="1030" y="22"/>
                  <a:pt x="1030" y="22"/>
                  <a:pt x="1030" y="22"/>
                </a:cubicBezTo>
                <a:cubicBezTo>
                  <a:pt x="1050" y="26"/>
                  <a:pt x="1056" y="32"/>
                  <a:pt x="1056" y="46"/>
                </a:cubicBezTo>
                <a:cubicBezTo>
                  <a:pt x="1056" y="56"/>
                  <a:pt x="1054" y="72"/>
                  <a:pt x="1026" y="102"/>
                </a:cubicBezTo>
                <a:cubicBezTo>
                  <a:pt x="910" y="230"/>
                  <a:pt x="910" y="230"/>
                  <a:pt x="910" y="230"/>
                </a:cubicBezTo>
                <a:cubicBezTo>
                  <a:pt x="910" y="148"/>
                  <a:pt x="910" y="148"/>
                  <a:pt x="910" y="148"/>
                </a:cubicBezTo>
                <a:cubicBezTo>
                  <a:pt x="910" y="36"/>
                  <a:pt x="916" y="28"/>
                  <a:pt x="960" y="22"/>
                </a:cubicBezTo>
                <a:cubicBezTo>
                  <a:pt x="960" y="8"/>
                  <a:pt x="960" y="8"/>
                  <a:pt x="960" y="8"/>
                </a:cubicBezTo>
                <a:cubicBezTo>
                  <a:pt x="804" y="8"/>
                  <a:pt x="804" y="8"/>
                  <a:pt x="804" y="8"/>
                </a:cubicBezTo>
                <a:cubicBezTo>
                  <a:pt x="804" y="22"/>
                  <a:pt x="804" y="22"/>
                  <a:pt x="804" y="22"/>
                </a:cubicBezTo>
                <a:cubicBezTo>
                  <a:pt x="852" y="26"/>
                  <a:pt x="854" y="36"/>
                  <a:pt x="854" y="148"/>
                </a:cubicBezTo>
                <a:cubicBezTo>
                  <a:pt x="854" y="300"/>
                  <a:pt x="854" y="300"/>
                  <a:pt x="854" y="300"/>
                </a:cubicBezTo>
                <a:cubicBezTo>
                  <a:pt x="854" y="422"/>
                  <a:pt x="850" y="430"/>
                  <a:pt x="804" y="434"/>
                </a:cubicBezTo>
                <a:cubicBezTo>
                  <a:pt x="804" y="446"/>
                  <a:pt x="804" y="446"/>
                  <a:pt x="804" y="446"/>
                </a:cubicBezTo>
                <a:cubicBezTo>
                  <a:pt x="960" y="446"/>
                  <a:pt x="960" y="446"/>
                  <a:pt x="960" y="446"/>
                </a:cubicBezTo>
                <a:cubicBezTo>
                  <a:pt x="960" y="434"/>
                  <a:pt x="960" y="434"/>
                  <a:pt x="960" y="434"/>
                </a:cubicBezTo>
                <a:cubicBezTo>
                  <a:pt x="910" y="428"/>
                  <a:pt x="910" y="424"/>
                  <a:pt x="910" y="292"/>
                </a:cubicBezTo>
                <a:cubicBezTo>
                  <a:pt x="910" y="268"/>
                  <a:pt x="910" y="268"/>
                  <a:pt x="910" y="268"/>
                </a:cubicBezTo>
                <a:cubicBezTo>
                  <a:pt x="930" y="246"/>
                  <a:pt x="930" y="246"/>
                  <a:pt x="930" y="246"/>
                </a:cubicBezTo>
                <a:cubicBezTo>
                  <a:pt x="982" y="310"/>
                  <a:pt x="1038" y="380"/>
                  <a:pt x="1098" y="448"/>
                </a:cubicBezTo>
                <a:cubicBezTo>
                  <a:pt x="1202" y="448"/>
                  <a:pt x="1202" y="448"/>
                  <a:pt x="1202" y="448"/>
                </a:cubicBezTo>
                <a:close/>
                <a:moveTo>
                  <a:pt x="1564" y="448"/>
                </a:moveTo>
                <a:cubicBezTo>
                  <a:pt x="1706" y="448"/>
                  <a:pt x="1706" y="448"/>
                  <a:pt x="1706" y="448"/>
                </a:cubicBezTo>
                <a:cubicBezTo>
                  <a:pt x="1706" y="436"/>
                  <a:pt x="1706" y="436"/>
                  <a:pt x="1706" y="436"/>
                </a:cubicBezTo>
                <a:cubicBezTo>
                  <a:pt x="1658" y="434"/>
                  <a:pt x="1658" y="432"/>
                  <a:pt x="1658" y="342"/>
                </a:cubicBezTo>
                <a:cubicBezTo>
                  <a:pt x="1658" y="280"/>
                  <a:pt x="1658" y="280"/>
                  <a:pt x="1658" y="280"/>
                </a:cubicBezTo>
                <a:cubicBezTo>
                  <a:pt x="1658" y="198"/>
                  <a:pt x="1612" y="172"/>
                  <a:pt x="1570" y="172"/>
                </a:cubicBezTo>
                <a:cubicBezTo>
                  <a:pt x="1534" y="172"/>
                  <a:pt x="1498" y="188"/>
                  <a:pt x="1470" y="224"/>
                </a:cubicBezTo>
                <a:cubicBezTo>
                  <a:pt x="1470" y="176"/>
                  <a:pt x="1470" y="176"/>
                  <a:pt x="1470" y="176"/>
                </a:cubicBezTo>
                <a:cubicBezTo>
                  <a:pt x="1368" y="176"/>
                  <a:pt x="1368" y="176"/>
                  <a:pt x="1368" y="176"/>
                </a:cubicBezTo>
                <a:cubicBezTo>
                  <a:pt x="1368" y="188"/>
                  <a:pt x="1368" y="188"/>
                  <a:pt x="1368" y="188"/>
                </a:cubicBezTo>
                <a:cubicBezTo>
                  <a:pt x="1412" y="190"/>
                  <a:pt x="1418" y="192"/>
                  <a:pt x="1418" y="268"/>
                </a:cubicBezTo>
                <a:cubicBezTo>
                  <a:pt x="1418" y="336"/>
                  <a:pt x="1418" y="336"/>
                  <a:pt x="1418" y="336"/>
                </a:cubicBezTo>
                <a:cubicBezTo>
                  <a:pt x="1418" y="434"/>
                  <a:pt x="1418" y="434"/>
                  <a:pt x="1370" y="436"/>
                </a:cubicBezTo>
                <a:cubicBezTo>
                  <a:pt x="1370" y="448"/>
                  <a:pt x="1370" y="448"/>
                  <a:pt x="1370" y="448"/>
                </a:cubicBezTo>
                <a:cubicBezTo>
                  <a:pt x="1514" y="448"/>
                  <a:pt x="1514" y="448"/>
                  <a:pt x="1514" y="448"/>
                </a:cubicBezTo>
                <a:cubicBezTo>
                  <a:pt x="1514" y="436"/>
                  <a:pt x="1514" y="436"/>
                  <a:pt x="1514" y="436"/>
                </a:cubicBezTo>
                <a:cubicBezTo>
                  <a:pt x="1472" y="432"/>
                  <a:pt x="1470" y="434"/>
                  <a:pt x="1470" y="338"/>
                </a:cubicBezTo>
                <a:cubicBezTo>
                  <a:pt x="1470" y="262"/>
                  <a:pt x="1470" y="262"/>
                  <a:pt x="1470" y="262"/>
                </a:cubicBezTo>
                <a:cubicBezTo>
                  <a:pt x="1470" y="236"/>
                  <a:pt x="1504" y="206"/>
                  <a:pt x="1546" y="206"/>
                </a:cubicBezTo>
                <a:cubicBezTo>
                  <a:pt x="1580" y="206"/>
                  <a:pt x="1606" y="220"/>
                  <a:pt x="1606" y="286"/>
                </a:cubicBezTo>
                <a:cubicBezTo>
                  <a:pt x="1606" y="340"/>
                  <a:pt x="1606" y="340"/>
                  <a:pt x="1606" y="340"/>
                </a:cubicBezTo>
                <a:cubicBezTo>
                  <a:pt x="1606" y="432"/>
                  <a:pt x="1602" y="432"/>
                  <a:pt x="1564" y="434"/>
                </a:cubicBezTo>
                <a:lnTo>
                  <a:pt x="1564" y="448"/>
                </a:lnTo>
                <a:close/>
                <a:moveTo>
                  <a:pt x="1776" y="222"/>
                </a:moveTo>
                <a:cubicBezTo>
                  <a:pt x="1776" y="200"/>
                  <a:pt x="1796" y="188"/>
                  <a:pt x="1822" y="188"/>
                </a:cubicBezTo>
                <a:cubicBezTo>
                  <a:pt x="1874" y="188"/>
                  <a:pt x="1896" y="236"/>
                  <a:pt x="1900" y="252"/>
                </a:cubicBezTo>
                <a:cubicBezTo>
                  <a:pt x="1912" y="252"/>
                  <a:pt x="1912" y="252"/>
                  <a:pt x="1912" y="252"/>
                </a:cubicBezTo>
                <a:cubicBezTo>
                  <a:pt x="1912" y="212"/>
                  <a:pt x="1908" y="188"/>
                  <a:pt x="1904" y="184"/>
                </a:cubicBezTo>
                <a:cubicBezTo>
                  <a:pt x="1900" y="180"/>
                  <a:pt x="1862" y="170"/>
                  <a:pt x="1824" y="170"/>
                </a:cubicBezTo>
                <a:cubicBezTo>
                  <a:pt x="1768" y="170"/>
                  <a:pt x="1734" y="206"/>
                  <a:pt x="1734" y="248"/>
                </a:cubicBezTo>
                <a:cubicBezTo>
                  <a:pt x="1734" y="340"/>
                  <a:pt x="1890" y="322"/>
                  <a:pt x="1890" y="396"/>
                </a:cubicBezTo>
                <a:cubicBezTo>
                  <a:pt x="1890" y="422"/>
                  <a:pt x="1866" y="436"/>
                  <a:pt x="1826" y="436"/>
                </a:cubicBezTo>
                <a:cubicBezTo>
                  <a:pt x="1788" y="436"/>
                  <a:pt x="1754" y="416"/>
                  <a:pt x="1744" y="366"/>
                </a:cubicBezTo>
                <a:cubicBezTo>
                  <a:pt x="1728" y="366"/>
                  <a:pt x="1728" y="366"/>
                  <a:pt x="1728" y="366"/>
                </a:cubicBezTo>
                <a:cubicBezTo>
                  <a:pt x="1728" y="386"/>
                  <a:pt x="1732" y="422"/>
                  <a:pt x="1734" y="428"/>
                </a:cubicBezTo>
                <a:cubicBezTo>
                  <a:pt x="1744" y="446"/>
                  <a:pt x="1788" y="454"/>
                  <a:pt x="1824" y="454"/>
                </a:cubicBezTo>
                <a:cubicBezTo>
                  <a:pt x="1888" y="454"/>
                  <a:pt x="1928" y="416"/>
                  <a:pt x="1928" y="372"/>
                </a:cubicBezTo>
                <a:cubicBezTo>
                  <a:pt x="1932" y="270"/>
                  <a:pt x="1776" y="286"/>
                  <a:pt x="1776" y="222"/>
                </a:cubicBezTo>
                <a:moveTo>
                  <a:pt x="2030" y="270"/>
                </a:moveTo>
                <a:cubicBezTo>
                  <a:pt x="2034" y="220"/>
                  <a:pt x="2058" y="192"/>
                  <a:pt x="2102" y="192"/>
                </a:cubicBezTo>
                <a:cubicBezTo>
                  <a:pt x="2144" y="192"/>
                  <a:pt x="2170" y="220"/>
                  <a:pt x="2172" y="270"/>
                </a:cubicBezTo>
                <a:lnTo>
                  <a:pt x="2030" y="270"/>
                </a:lnTo>
                <a:close/>
                <a:moveTo>
                  <a:pt x="2030" y="290"/>
                </a:moveTo>
                <a:cubicBezTo>
                  <a:pt x="2222" y="290"/>
                  <a:pt x="2222" y="290"/>
                  <a:pt x="2222" y="290"/>
                </a:cubicBezTo>
                <a:cubicBezTo>
                  <a:pt x="2226" y="228"/>
                  <a:pt x="2192" y="168"/>
                  <a:pt x="2114" y="168"/>
                </a:cubicBezTo>
                <a:cubicBezTo>
                  <a:pt x="2034" y="168"/>
                  <a:pt x="1982" y="232"/>
                  <a:pt x="1982" y="320"/>
                </a:cubicBezTo>
                <a:cubicBezTo>
                  <a:pt x="1982" y="388"/>
                  <a:pt x="2018" y="456"/>
                  <a:pt x="2112" y="456"/>
                </a:cubicBezTo>
                <a:cubicBezTo>
                  <a:pt x="2150" y="456"/>
                  <a:pt x="2198" y="440"/>
                  <a:pt x="2224" y="412"/>
                </a:cubicBezTo>
                <a:cubicBezTo>
                  <a:pt x="2218" y="400"/>
                  <a:pt x="2218" y="400"/>
                  <a:pt x="2218" y="400"/>
                </a:cubicBezTo>
                <a:cubicBezTo>
                  <a:pt x="2192" y="416"/>
                  <a:pt x="2164" y="422"/>
                  <a:pt x="2138" y="422"/>
                </a:cubicBezTo>
                <a:cubicBezTo>
                  <a:pt x="2058" y="420"/>
                  <a:pt x="2028" y="352"/>
                  <a:pt x="2030" y="290"/>
                </a:cubicBezTo>
                <a:moveTo>
                  <a:pt x="2478" y="242"/>
                </a:moveTo>
                <a:cubicBezTo>
                  <a:pt x="2490" y="206"/>
                  <a:pt x="2510" y="192"/>
                  <a:pt x="2528" y="192"/>
                </a:cubicBezTo>
                <a:cubicBezTo>
                  <a:pt x="2528" y="180"/>
                  <a:pt x="2528" y="180"/>
                  <a:pt x="2528" y="180"/>
                </a:cubicBezTo>
                <a:cubicBezTo>
                  <a:pt x="2430" y="180"/>
                  <a:pt x="2430" y="180"/>
                  <a:pt x="2430" y="180"/>
                </a:cubicBezTo>
                <a:cubicBezTo>
                  <a:pt x="2430" y="192"/>
                  <a:pt x="2430" y="192"/>
                  <a:pt x="2430" y="192"/>
                </a:cubicBezTo>
                <a:cubicBezTo>
                  <a:pt x="2454" y="194"/>
                  <a:pt x="2466" y="206"/>
                  <a:pt x="2458" y="234"/>
                </a:cubicBezTo>
                <a:cubicBezTo>
                  <a:pt x="2406" y="390"/>
                  <a:pt x="2406" y="390"/>
                  <a:pt x="2406" y="390"/>
                </a:cubicBezTo>
                <a:cubicBezTo>
                  <a:pt x="2354" y="270"/>
                  <a:pt x="2354" y="270"/>
                  <a:pt x="2354" y="270"/>
                </a:cubicBezTo>
                <a:cubicBezTo>
                  <a:pt x="2340" y="238"/>
                  <a:pt x="2334" y="224"/>
                  <a:pt x="2334" y="212"/>
                </a:cubicBezTo>
                <a:cubicBezTo>
                  <a:pt x="2334" y="202"/>
                  <a:pt x="2340" y="196"/>
                  <a:pt x="2360" y="192"/>
                </a:cubicBezTo>
                <a:cubicBezTo>
                  <a:pt x="2360" y="180"/>
                  <a:pt x="2360" y="180"/>
                  <a:pt x="2360" y="180"/>
                </a:cubicBezTo>
                <a:cubicBezTo>
                  <a:pt x="2234" y="180"/>
                  <a:pt x="2234" y="180"/>
                  <a:pt x="2234" y="180"/>
                </a:cubicBezTo>
                <a:cubicBezTo>
                  <a:pt x="2234" y="192"/>
                  <a:pt x="2234" y="192"/>
                  <a:pt x="2234" y="192"/>
                </a:cubicBezTo>
                <a:cubicBezTo>
                  <a:pt x="2266" y="194"/>
                  <a:pt x="2268" y="198"/>
                  <a:pt x="2310" y="292"/>
                </a:cubicBezTo>
                <a:cubicBezTo>
                  <a:pt x="2382" y="450"/>
                  <a:pt x="2382" y="450"/>
                  <a:pt x="2382" y="450"/>
                </a:cubicBezTo>
                <a:cubicBezTo>
                  <a:pt x="2358" y="512"/>
                  <a:pt x="2320" y="546"/>
                  <a:pt x="2242" y="564"/>
                </a:cubicBezTo>
                <a:cubicBezTo>
                  <a:pt x="2246" y="576"/>
                  <a:pt x="2260" y="600"/>
                  <a:pt x="2268" y="606"/>
                </a:cubicBezTo>
                <a:cubicBezTo>
                  <a:pt x="2370" y="564"/>
                  <a:pt x="2390" y="498"/>
                  <a:pt x="2426" y="396"/>
                </a:cubicBezTo>
                <a:lnTo>
                  <a:pt x="2478" y="242"/>
                </a:lnTo>
                <a:close/>
                <a:moveTo>
                  <a:pt x="2844" y="394"/>
                </a:moveTo>
                <a:cubicBezTo>
                  <a:pt x="2822" y="412"/>
                  <a:pt x="2782" y="416"/>
                  <a:pt x="2750" y="416"/>
                </a:cubicBezTo>
                <a:cubicBezTo>
                  <a:pt x="2670" y="416"/>
                  <a:pt x="2606" y="360"/>
                  <a:pt x="2606" y="284"/>
                </a:cubicBezTo>
                <a:cubicBezTo>
                  <a:pt x="2606" y="236"/>
                  <a:pt x="2626" y="206"/>
                  <a:pt x="2658" y="198"/>
                </a:cubicBezTo>
                <a:cubicBezTo>
                  <a:pt x="2698" y="266"/>
                  <a:pt x="2770" y="338"/>
                  <a:pt x="2844" y="394"/>
                </a:cubicBezTo>
                <a:moveTo>
                  <a:pt x="2928" y="448"/>
                </a:moveTo>
                <a:cubicBezTo>
                  <a:pt x="3022" y="448"/>
                  <a:pt x="3022" y="448"/>
                  <a:pt x="3022" y="448"/>
                </a:cubicBezTo>
                <a:cubicBezTo>
                  <a:pt x="3022" y="436"/>
                  <a:pt x="3022" y="436"/>
                  <a:pt x="3022" y="436"/>
                </a:cubicBezTo>
                <a:cubicBezTo>
                  <a:pt x="2992" y="432"/>
                  <a:pt x="2946" y="408"/>
                  <a:pt x="2896" y="372"/>
                </a:cubicBezTo>
                <a:cubicBezTo>
                  <a:pt x="2914" y="342"/>
                  <a:pt x="2918" y="300"/>
                  <a:pt x="2922" y="270"/>
                </a:cubicBezTo>
                <a:cubicBezTo>
                  <a:pt x="2926" y="244"/>
                  <a:pt x="2946" y="244"/>
                  <a:pt x="2958" y="242"/>
                </a:cubicBezTo>
                <a:cubicBezTo>
                  <a:pt x="2958" y="230"/>
                  <a:pt x="2958" y="230"/>
                  <a:pt x="2958" y="230"/>
                </a:cubicBezTo>
                <a:cubicBezTo>
                  <a:pt x="2834" y="230"/>
                  <a:pt x="2834" y="230"/>
                  <a:pt x="2834" y="230"/>
                </a:cubicBezTo>
                <a:cubicBezTo>
                  <a:pt x="2834" y="242"/>
                  <a:pt x="2834" y="242"/>
                  <a:pt x="2834" y="242"/>
                </a:cubicBezTo>
                <a:cubicBezTo>
                  <a:pt x="2864" y="246"/>
                  <a:pt x="2892" y="250"/>
                  <a:pt x="2892" y="294"/>
                </a:cubicBezTo>
                <a:cubicBezTo>
                  <a:pt x="2892" y="318"/>
                  <a:pt x="2888" y="342"/>
                  <a:pt x="2878" y="358"/>
                </a:cubicBezTo>
                <a:cubicBezTo>
                  <a:pt x="2770" y="274"/>
                  <a:pt x="2670" y="156"/>
                  <a:pt x="2670" y="96"/>
                </a:cubicBezTo>
                <a:cubicBezTo>
                  <a:pt x="2670" y="66"/>
                  <a:pt x="2688" y="54"/>
                  <a:pt x="2716" y="54"/>
                </a:cubicBezTo>
                <a:cubicBezTo>
                  <a:pt x="2752" y="54"/>
                  <a:pt x="2784" y="78"/>
                  <a:pt x="2800" y="124"/>
                </a:cubicBezTo>
                <a:cubicBezTo>
                  <a:pt x="2812" y="124"/>
                  <a:pt x="2812" y="124"/>
                  <a:pt x="2812" y="124"/>
                </a:cubicBezTo>
                <a:cubicBezTo>
                  <a:pt x="2810" y="42"/>
                  <a:pt x="2810" y="42"/>
                  <a:pt x="2810" y="42"/>
                </a:cubicBezTo>
                <a:cubicBezTo>
                  <a:pt x="2798" y="42"/>
                  <a:pt x="2798" y="42"/>
                  <a:pt x="2798" y="42"/>
                </a:cubicBezTo>
                <a:cubicBezTo>
                  <a:pt x="2798" y="48"/>
                  <a:pt x="2792" y="52"/>
                  <a:pt x="2788" y="52"/>
                </a:cubicBezTo>
                <a:cubicBezTo>
                  <a:pt x="2772" y="52"/>
                  <a:pt x="2752" y="36"/>
                  <a:pt x="2714" y="36"/>
                </a:cubicBezTo>
                <a:cubicBezTo>
                  <a:pt x="2672" y="36"/>
                  <a:pt x="2630" y="62"/>
                  <a:pt x="2630" y="118"/>
                </a:cubicBezTo>
                <a:cubicBezTo>
                  <a:pt x="2630" y="140"/>
                  <a:pt x="2636" y="160"/>
                  <a:pt x="2648" y="182"/>
                </a:cubicBezTo>
                <a:cubicBezTo>
                  <a:pt x="2592" y="200"/>
                  <a:pt x="2562" y="248"/>
                  <a:pt x="2562" y="304"/>
                </a:cubicBezTo>
                <a:cubicBezTo>
                  <a:pt x="2562" y="406"/>
                  <a:pt x="2640" y="460"/>
                  <a:pt x="2726" y="460"/>
                </a:cubicBezTo>
                <a:cubicBezTo>
                  <a:pt x="2780" y="460"/>
                  <a:pt x="2824" y="444"/>
                  <a:pt x="2862" y="410"/>
                </a:cubicBezTo>
                <a:cubicBezTo>
                  <a:pt x="2888" y="424"/>
                  <a:pt x="2912" y="442"/>
                  <a:pt x="2928" y="448"/>
                </a:cubicBezTo>
                <a:moveTo>
                  <a:pt x="3094" y="212"/>
                </a:moveTo>
                <a:cubicBezTo>
                  <a:pt x="3094" y="88"/>
                  <a:pt x="3154" y="20"/>
                  <a:pt x="3252" y="20"/>
                </a:cubicBezTo>
                <a:cubicBezTo>
                  <a:pt x="3328" y="20"/>
                  <a:pt x="3372" y="58"/>
                  <a:pt x="3392" y="134"/>
                </a:cubicBezTo>
                <a:cubicBezTo>
                  <a:pt x="3404" y="134"/>
                  <a:pt x="3404" y="134"/>
                  <a:pt x="3404" y="134"/>
                </a:cubicBezTo>
                <a:cubicBezTo>
                  <a:pt x="3400" y="4"/>
                  <a:pt x="3400" y="4"/>
                  <a:pt x="3400" y="4"/>
                </a:cubicBezTo>
                <a:cubicBezTo>
                  <a:pt x="3388" y="4"/>
                  <a:pt x="3388" y="4"/>
                  <a:pt x="3388" y="4"/>
                </a:cubicBezTo>
                <a:cubicBezTo>
                  <a:pt x="3384" y="14"/>
                  <a:pt x="3376" y="18"/>
                  <a:pt x="3364" y="18"/>
                </a:cubicBezTo>
                <a:cubicBezTo>
                  <a:pt x="3338" y="18"/>
                  <a:pt x="3314" y="0"/>
                  <a:pt x="3248" y="0"/>
                </a:cubicBezTo>
                <a:cubicBezTo>
                  <a:pt x="3118" y="0"/>
                  <a:pt x="3030" y="102"/>
                  <a:pt x="3030" y="242"/>
                </a:cubicBezTo>
                <a:cubicBezTo>
                  <a:pt x="3030" y="376"/>
                  <a:pt x="3110" y="460"/>
                  <a:pt x="3238" y="460"/>
                </a:cubicBezTo>
                <a:cubicBezTo>
                  <a:pt x="3320" y="460"/>
                  <a:pt x="3384" y="420"/>
                  <a:pt x="3408" y="380"/>
                </a:cubicBezTo>
                <a:cubicBezTo>
                  <a:pt x="3396" y="366"/>
                  <a:pt x="3396" y="366"/>
                  <a:pt x="3396" y="366"/>
                </a:cubicBezTo>
                <a:cubicBezTo>
                  <a:pt x="3370" y="402"/>
                  <a:pt x="3314" y="426"/>
                  <a:pt x="3256" y="426"/>
                </a:cubicBezTo>
                <a:cubicBezTo>
                  <a:pt x="3156" y="426"/>
                  <a:pt x="3094" y="340"/>
                  <a:pt x="3094" y="212"/>
                </a:cubicBezTo>
                <a:moveTo>
                  <a:pt x="3678" y="328"/>
                </a:moveTo>
                <a:cubicBezTo>
                  <a:pt x="3678" y="392"/>
                  <a:pt x="3650" y="430"/>
                  <a:pt x="3592" y="430"/>
                </a:cubicBezTo>
                <a:cubicBezTo>
                  <a:pt x="3542" y="430"/>
                  <a:pt x="3496" y="384"/>
                  <a:pt x="3496" y="292"/>
                </a:cubicBezTo>
                <a:cubicBezTo>
                  <a:pt x="3496" y="226"/>
                  <a:pt x="3528" y="190"/>
                  <a:pt x="3580" y="190"/>
                </a:cubicBezTo>
                <a:cubicBezTo>
                  <a:pt x="3628" y="192"/>
                  <a:pt x="3678" y="238"/>
                  <a:pt x="3678" y="328"/>
                </a:cubicBezTo>
                <a:moveTo>
                  <a:pt x="3732" y="312"/>
                </a:moveTo>
                <a:cubicBezTo>
                  <a:pt x="3732" y="260"/>
                  <a:pt x="3710" y="214"/>
                  <a:pt x="3672" y="190"/>
                </a:cubicBezTo>
                <a:cubicBezTo>
                  <a:pt x="3650" y="176"/>
                  <a:pt x="3620" y="168"/>
                  <a:pt x="3588" y="168"/>
                </a:cubicBezTo>
                <a:cubicBezTo>
                  <a:pt x="3502" y="168"/>
                  <a:pt x="3442" y="230"/>
                  <a:pt x="3442" y="310"/>
                </a:cubicBezTo>
                <a:cubicBezTo>
                  <a:pt x="3442" y="364"/>
                  <a:pt x="3464" y="408"/>
                  <a:pt x="3502" y="432"/>
                </a:cubicBezTo>
                <a:cubicBezTo>
                  <a:pt x="3524" y="446"/>
                  <a:pt x="3554" y="452"/>
                  <a:pt x="3586" y="452"/>
                </a:cubicBezTo>
                <a:cubicBezTo>
                  <a:pt x="3672" y="454"/>
                  <a:pt x="3732" y="394"/>
                  <a:pt x="3732" y="312"/>
                </a:cubicBezTo>
                <a:moveTo>
                  <a:pt x="4136" y="448"/>
                </a:moveTo>
                <a:cubicBezTo>
                  <a:pt x="4280" y="448"/>
                  <a:pt x="4280" y="448"/>
                  <a:pt x="4280" y="448"/>
                </a:cubicBezTo>
                <a:cubicBezTo>
                  <a:pt x="4280" y="436"/>
                  <a:pt x="4280" y="436"/>
                  <a:pt x="4280" y="436"/>
                </a:cubicBezTo>
                <a:cubicBezTo>
                  <a:pt x="4230" y="434"/>
                  <a:pt x="4232" y="426"/>
                  <a:pt x="4232" y="348"/>
                </a:cubicBezTo>
                <a:cubicBezTo>
                  <a:pt x="4232" y="276"/>
                  <a:pt x="4232" y="276"/>
                  <a:pt x="4232" y="276"/>
                </a:cubicBezTo>
                <a:cubicBezTo>
                  <a:pt x="4232" y="200"/>
                  <a:pt x="4190" y="172"/>
                  <a:pt x="4142" y="172"/>
                </a:cubicBezTo>
                <a:cubicBezTo>
                  <a:pt x="4098" y="172"/>
                  <a:pt x="4064" y="196"/>
                  <a:pt x="4038" y="232"/>
                </a:cubicBezTo>
                <a:cubicBezTo>
                  <a:pt x="4028" y="194"/>
                  <a:pt x="4000" y="172"/>
                  <a:pt x="3954" y="172"/>
                </a:cubicBezTo>
                <a:cubicBezTo>
                  <a:pt x="3916" y="172"/>
                  <a:pt x="3880" y="196"/>
                  <a:pt x="3858" y="224"/>
                </a:cubicBezTo>
                <a:cubicBezTo>
                  <a:pt x="3858" y="176"/>
                  <a:pt x="3858" y="176"/>
                  <a:pt x="3858" y="176"/>
                </a:cubicBezTo>
                <a:cubicBezTo>
                  <a:pt x="3756" y="176"/>
                  <a:pt x="3756" y="176"/>
                  <a:pt x="3756" y="176"/>
                </a:cubicBezTo>
                <a:cubicBezTo>
                  <a:pt x="3756" y="188"/>
                  <a:pt x="3756" y="188"/>
                  <a:pt x="3756" y="188"/>
                </a:cubicBezTo>
                <a:cubicBezTo>
                  <a:pt x="3800" y="190"/>
                  <a:pt x="3806" y="192"/>
                  <a:pt x="3806" y="268"/>
                </a:cubicBezTo>
                <a:cubicBezTo>
                  <a:pt x="3806" y="346"/>
                  <a:pt x="3806" y="346"/>
                  <a:pt x="3806" y="346"/>
                </a:cubicBezTo>
                <a:cubicBezTo>
                  <a:pt x="3806" y="434"/>
                  <a:pt x="3804" y="434"/>
                  <a:pt x="3758" y="434"/>
                </a:cubicBezTo>
                <a:cubicBezTo>
                  <a:pt x="3758" y="446"/>
                  <a:pt x="3758" y="446"/>
                  <a:pt x="3758" y="446"/>
                </a:cubicBezTo>
                <a:cubicBezTo>
                  <a:pt x="3902" y="446"/>
                  <a:pt x="3902" y="446"/>
                  <a:pt x="3902" y="446"/>
                </a:cubicBezTo>
                <a:cubicBezTo>
                  <a:pt x="3902" y="434"/>
                  <a:pt x="3902" y="434"/>
                  <a:pt x="3902" y="434"/>
                </a:cubicBezTo>
                <a:cubicBezTo>
                  <a:pt x="3862" y="430"/>
                  <a:pt x="3858" y="430"/>
                  <a:pt x="3858" y="342"/>
                </a:cubicBezTo>
                <a:cubicBezTo>
                  <a:pt x="3858" y="262"/>
                  <a:pt x="3858" y="262"/>
                  <a:pt x="3858" y="262"/>
                </a:cubicBezTo>
                <a:cubicBezTo>
                  <a:pt x="3858" y="234"/>
                  <a:pt x="3894" y="204"/>
                  <a:pt x="3932" y="204"/>
                </a:cubicBezTo>
                <a:cubicBezTo>
                  <a:pt x="3974" y="204"/>
                  <a:pt x="3990" y="226"/>
                  <a:pt x="3990" y="282"/>
                </a:cubicBezTo>
                <a:cubicBezTo>
                  <a:pt x="3990" y="338"/>
                  <a:pt x="3990" y="338"/>
                  <a:pt x="3990" y="338"/>
                </a:cubicBezTo>
                <a:cubicBezTo>
                  <a:pt x="3990" y="428"/>
                  <a:pt x="3988" y="432"/>
                  <a:pt x="3950" y="436"/>
                </a:cubicBezTo>
                <a:cubicBezTo>
                  <a:pt x="3950" y="448"/>
                  <a:pt x="3950" y="448"/>
                  <a:pt x="3950" y="448"/>
                </a:cubicBezTo>
                <a:cubicBezTo>
                  <a:pt x="4086" y="448"/>
                  <a:pt x="4086" y="448"/>
                  <a:pt x="4086" y="448"/>
                </a:cubicBezTo>
                <a:cubicBezTo>
                  <a:pt x="4086" y="436"/>
                  <a:pt x="4086" y="436"/>
                  <a:pt x="4086" y="436"/>
                </a:cubicBezTo>
                <a:cubicBezTo>
                  <a:pt x="4040" y="432"/>
                  <a:pt x="4042" y="428"/>
                  <a:pt x="4042" y="342"/>
                </a:cubicBezTo>
                <a:cubicBezTo>
                  <a:pt x="4042" y="264"/>
                  <a:pt x="4042" y="264"/>
                  <a:pt x="4042" y="264"/>
                </a:cubicBezTo>
                <a:cubicBezTo>
                  <a:pt x="4042" y="236"/>
                  <a:pt x="4078" y="206"/>
                  <a:pt x="4118" y="206"/>
                </a:cubicBezTo>
                <a:cubicBezTo>
                  <a:pt x="4152" y="206"/>
                  <a:pt x="4174" y="226"/>
                  <a:pt x="4174" y="284"/>
                </a:cubicBezTo>
                <a:cubicBezTo>
                  <a:pt x="4174" y="346"/>
                  <a:pt x="4174" y="346"/>
                  <a:pt x="4174" y="346"/>
                </a:cubicBezTo>
                <a:cubicBezTo>
                  <a:pt x="4174" y="428"/>
                  <a:pt x="4174" y="432"/>
                  <a:pt x="4134" y="436"/>
                </a:cubicBezTo>
                <a:cubicBezTo>
                  <a:pt x="4134" y="448"/>
                  <a:pt x="4134" y="448"/>
                  <a:pt x="4134" y="448"/>
                </a:cubicBezTo>
                <a:lnTo>
                  <a:pt x="4136" y="448"/>
                </a:lnTo>
                <a:close/>
                <a:moveTo>
                  <a:pt x="4546" y="316"/>
                </a:moveTo>
                <a:cubicBezTo>
                  <a:pt x="4546" y="388"/>
                  <a:pt x="4516" y="432"/>
                  <a:pt x="4460" y="432"/>
                </a:cubicBezTo>
                <a:cubicBezTo>
                  <a:pt x="4424" y="432"/>
                  <a:pt x="4384" y="412"/>
                  <a:pt x="4384" y="384"/>
                </a:cubicBezTo>
                <a:cubicBezTo>
                  <a:pt x="4384" y="248"/>
                  <a:pt x="4384" y="248"/>
                  <a:pt x="4384" y="248"/>
                </a:cubicBezTo>
                <a:cubicBezTo>
                  <a:pt x="4384" y="226"/>
                  <a:pt x="4416" y="202"/>
                  <a:pt x="4454" y="202"/>
                </a:cubicBezTo>
                <a:cubicBezTo>
                  <a:pt x="4510" y="206"/>
                  <a:pt x="4546" y="248"/>
                  <a:pt x="4546" y="316"/>
                </a:cubicBezTo>
                <a:moveTo>
                  <a:pt x="4600" y="310"/>
                </a:moveTo>
                <a:cubicBezTo>
                  <a:pt x="4600" y="230"/>
                  <a:pt x="4548" y="170"/>
                  <a:pt x="4478" y="170"/>
                </a:cubicBezTo>
                <a:cubicBezTo>
                  <a:pt x="4438" y="170"/>
                  <a:pt x="4406" y="188"/>
                  <a:pt x="4384" y="214"/>
                </a:cubicBezTo>
                <a:cubicBezTo>
                  <a:pt x="4384" y="174"/>
                  <a:pt x="4384" y="174"/>
                  <a:pt x="4384" y="174"/>
                </a:cubicBezTo>
                <a:cubicBezTo>
                  <a:pt x="4284" y="174"/>
                  <a:pt x="4284" y="174"/>
                  <a:pt x="4284" y="174"/>
                </a:cubicBezTo>
                <a:cubicBezTo>
                  <a:pt x="4284" y="186"/>
                  <a:pt x="4284" y="186"/>
                  <a:pt x="4284" y="186"/>
                </a:cubicBezTo>
                <a:cubicBezTo>
                  <a:pt x="4326" y="188"/>
                  <a:pt x="4332" y="190"/>
                  <a:pt x="4332" y="280"/>
                </a:cubicBezTo>
                <a:cubicBezTo>
                  <a:pt x="4332" y="466"/>
                  <a:pt x="4332" y="466"/>
                  <a:pt x="4332" y="466"/>
                </a:cubicBezTo>
                <a:cubicBezTo>
                  <a:pt x="4332" y="564"/>
                  <a:pt x="4334" y="570"/>
                  <a:pt x="4286" y="574"/>
                </a:cubicBezTo>
                <a:cubicBezTo>
                  <a:pt x="4286" y="588"/>
                  <a:pt x="4286" y="588"/>
                  <a:pt x="4286" y="588"/>
                </a:cubicBezTo>
                <a:cubicBezTo>
                  <a:pt x="4432" y="588"/>
                  <a:pt x="4432" y="588"/>
                  <a:pt x="4432" y="588"/>
                </a:cubicBezTo>
                <a:cubicBezTo>
                  <a:pt x="4432" y="574"/>
                  <a:pt x="4432" y="574"/>
                  <a:pt x="4432" y="574"/>
                </a:cubicBezTo>
                <a:cubicBezTo>
                  <a:pt x="4380" y="572"/>
                  <a:pt x="4384" y="564"/>
                  <a:pt x="4384" y="462"/>
                </a:cubicBezTo>
                <a:cubicBezTo>
                  <a:pt x="4384" y="424"/>
                  <a:pt x="4384" y="424"/>
                  <a:pt x="4384" y="424"/>
                </a:cubicBezTo>
                <a:cubicBezTo>
                  <a:pt x="4404" y="444"/>
                  <a:pt x="4436" y="454"/>
                  <a:pt x="4466" y="454"/>
                </a:cubicBezTo>
                <a:cubicBezTo>
                  <a:pt x="4548" y="454"/>
                  <a:pt x="4600" y="392"/>
                  <a:pt x="4600" y="310"/>
                </a:cubicBezTo>
                <a:moveTo>
                  <a:pt x="4792" y="382"/>
                </a:moveTo>
                <a:cubicBezTo>
                  <a:pt x="4792" y="404"/>
                  <a:pt x="4762" y="424"/>
                  <a:pt x="4736" y="424"/>
                </a:cubicBezTo>
                <a:cubicBezTo>
                  <a:pt x="4712" y="424"/>
                  <a:pt x="4694" y="410"/>
                  <a:pt x="4694" y="378"/>
                </a:cubicBezTo>
                <a:cubicBezTo>
                  <a:pt x="4694" y="322"/>
                  <a:pt x="4752" y="328"/>
                  <a:pt x="4792" y="306"/>
                </a:cubicBezTo>
                <a:cubicBezTo>
                  <a:pt x="4792" y="382"/>
                  <a:pt x="4792" y="382"/>
                  <a:pt x="4792" y="382"/>
                </a:cubicBezTo>
                <a:close/>
                <a:moveTo>
                  <a:pt x="5240" y="434"/>
                </a:moveTo>
                <a:cubicBezTo>
                  <a:pt x="5192" y="432"/>
                  <a:pt x="5192" y="430"/>
                  <a:pt x="5192" y="340"/>
                </a:cubicBezTo>
                <a:cubicBezTo>
                  <a:pt x="5192" y="278"/>
                  <a:pt x="5192" y="278"/>
                  <a:pt x="5192" y="278"/>
                </a:cubicBezTo>
                <a:cubicBezTo>
                  <a:pt x="5192" y="196"/>
                  <a:pt x="5146" y="170"/>
                  <a:pt x="5104" y="170"/>
                </a:cubicBezTo>
                <a:cubicBezTo>
                  <a:pt x="5068" y="170"/>
                  <a:pt x="5032" y="186"/>
                  <a:pt x="5004" y="222"/>
                </a:cubicBezTo>
                <a:cubicBezTo>
                  <a:pt x="5004" y="174"/>
                  <a:pt x="5004" y="174"/>
                  <a:pt x="5004" y="174"/>
                </a:cubicBezTo>
                <a:cubicBezTo>
                  <a:pt x="4902" y="174"/>
                  <a:pt x="4902" y="174"/>
                  <a:pt x="4902" y="174"/>
                </a:cubicBezTo>
                <a:cubicBezTo>
                  <a:pt x="4902" y="186"/>
                  <a:pt x="4902" y="186"/>
                  <a:pt x="4902" y="186"/>
                </a:cubicBezTo>
                <a:cubicBezTo>
                  <a:pt x="4946" y="188"/>
                  <a:pt x="4952" y="190"/>
                  <a:pt x="4952" y="266"/>
                </a:cubicBezTo>
                <a:cubicBezTo>
                  <a:pt x="4952" y="334"/>
                  <a:pt x="4952" y="334"/>
                  <a:pt x="4952" y="334"/>
                </a:cubicBezTo>
                <a:cubicBezTo>
                  <a:pt x="4952" y="430"/>
                  <a:pt x="4952" y="432"/>
                  <a:pt x="4904" y="434"/>
                </a:cubicBezTo>
                <a:cubicBezTo>
                  <a:pt x="4892" y="434"/>
                  <a:pt x="4892" y="434"/>
                  <a:pt x="4892" y="434"/>
                </a:cubicBezTo>
                <a:cubicBezTo>
                  <a:pt x="4854" y="434"/>
                  <a:pt x="4850" y="422"/>
                  <a:pt x="4850" y="366"/>
                </a:cubicBezTo>
                <a:cubicBezTo>
                  <a:pt x="4850" y="274"/>
                  <a:pt x="4850" y="274"/>
                  <a:pt x="4850" y="274"/>
                </a:cubicBezTo>
                <a:cubicBezTo>
                  <a:pt x="4850" y="256"/>
                  <a:pt x="4848" y="240"/>
                  <a:pt x="4844" y="228"/>
                </a:cubicBezTo>
                <a:cubicBezTo>
                  <a:pt x="4830" y="186"/>
                  <a:pt x="4796" y="170"/>
                  <a:pt x="4748" y="170"/>
                </a:cubicBezTo>
                <a:cubicBezTo>
                  <a:pt x="4718" y="170"/>
                  <a:pt x="4674" y="180"/>
                  <a:pt x="4650" y="202"/>
                </a:cubicBezTo>
                <a:cubicBezTo>
                  <a:pt x="4652" y="214"/>
                  <a:pt x="4664" y="240"/>
                  <a:pt x="4670" y="248"/>
                </a:cubicBezTo>
                <a:cubicBezTo>
                  <a:pt x="4676" y="246"/>
                  <a:pt x="4676" y="246"/>
                  <a:pt x="4676" y="246"/>
                </a:cubicBezTo>
                <a:cubicBezTo>
                  <a:pt x="4688" y="216"/>
                  <a:pt x="4708" y="194"/>
                  <a:pt x="4742" y="194"/>
                </a:cubicBezTo>
                <a:cubicBezTo>
                  <a:pt x="4778" y="194"/>
                  <a:pt x="4794" y="220"/>
                  <a:pt x="4794" y="250"/>
                </a:cubicBezTo>
                <a:cubicBezTo>
                  <a:pt x="4794" y="282"/>
                  <a:pt x="4794" y="282"/>
                  <a:pt x="4794" y="282"/>
                </a:cubicBezTo>
                <a:cubicBezTo>
                  <a:pt x="4794" y="302"/>
                  <a:pt x="4702" y="306"/>
                  <a:pt x="4664" y="338"/>
                </a:cubicBezTo>
                <a:cubicBezTo>
                  <a:pt x="4652" y="350"/>
                  <a:pt x="4642" y="364"/>
                  <a:pt x="4642" y="384"/>
                </a:cubicBezTo>
                <a:cubicBezTo>
                  <a:pt x="4642" y="426"/>
                  <a:pt x="4672" y="456"/>
                  <a:pt x="4716" y="456"/>
                </a:cubicBezTo>
                <a:cubicBezTo>
                  <a:pt x="4744" y="456"/>
                  <a:pt x="4768" y="446"/>
                  <a:pt x="4794" y="418"/>
                </a:cubicBezTo>
                <a:cubicBezTo>
                  <a:pt x="4798" y="438"/>
                  <a:pt x="4814" y="448"/>
                  <a:pt x="4842" y="448"/>
                </a:cubicBezTo>
                <a:cubicBezTo>
                  <a:pt x="4906" y="448"/>
                  <a:pt x="4906" y="448"/>
                  <a:pt x="4906" y="448"/>
                </a:cubicBezTo>
                <a:cubicBezTo>
                  <a:pt x="4906" y="448"/>
                  <a:pt x="4906" y="448"/>
                  <a:pt x="4906" y="448"/>
                </a:cubicBezTo>
                <a:cubicBezTo>
                  <a:pt x="5048" y="448"/>
                  <a:pt x="5048" y="448"/>
                  <a:pt x="5048" y="448"/>
                </a:cubicBezTo>
                <a:cubicBezTo>
                  <a:pt x="5048" y="436"/>
                  <a:pt x="5048" y="436"/>
                  <a:pt x="5048" y="436"/>
                </a:cubicBezTo>
                <a:cubicBezTo>
                  <a:pt x="5006" y="432"/>
                  <a:pt x="5004" y="434"/>
                  <a:pt x="5004" y="338"/>
                </a:cubicBezTo>
                <a:cubicBezTo>
                  <a:pt x="5004" y="262"/>
                  <a:pt x="5004" y="262"/>
                  <a:pt x="5004" y="262"/>
                </a:cubicBezTo>
                <a:cubicBezTo>
                  <a:pt x="5004" y="236"/>
                  <a:pt x="5038" y="206"/>
                  <a:pt x="5080" y="206"/>
                </a:cubicBezTo>
                <a:cubicBezTo>
                  <a:pt x="5114" y="206"/>
                  <a:pt x="5140" y="220"/>
                  <a:pt x="5140" y="286"/>
                </a:cubicBezTo>
                <a:cubicBezTo>
                  <a:pt x="5140" y="340"/>
                  <a:pt x="5140" y="340"/>
                  <a:pt x="5140" y="340"/>
                </a:cubicBezTo>
                <a:cubicBezTo>
                  <a:pt x="5140" y="432"/>
                  <a:pt x="5136" y="432"/>
                  <a:pt x="5098" y="434"/>
                </a:cubicBezTo>
                <a:cubicBezTo>
                  <a:pt x="5098" y="446"/>
                  <a:pt x="5098" y="446"/>
                  <a:pt x="5098" y="446"/>
                </a:cubicBezTo>
                <a:cubicBezTo>
                  <a:pt x="5240" y="446"/>
                  <a:pt x="5240" y="446"/>
                  <a:pt x="5240" y="446"/>
                </a:cubicBezTo>
                <a:lnTo>
                  <a:pt x="5240" y="434"/>
                </a:lnTo>
                <a:close/>
                <a:moveTo>
                  <a:pt x="5516" y="192"/>
                </a:moveTo>
                <a:cubicBezTo>
                  <a:pt x="5516" y="180"/>
                  <a:pt x="5516" y="180"/>
                  <a:pt x="5516" y="180"/>
                </a:cubicBezTo>
                <a:cubicBezTo>
                  <a:pt x="5418" y="180"/>
                  <a:pt x="5418" y="180"/>
                  <a:pt x="5418" y="180"/>
                </a:cubicBezTo>
                <a:cubicBezTo>
                  <a:pt x="5418" y="192"/>
                  <a:pt x="5418" y="192"/>
                  <a:pt x="5418" y="192"/>
                </a:cubicBezTo>
                <a:cubicBezTo>
                  <a:pt x="5442" y="194"/>
                  <a:pt x="5454" y="206"/>
                  <a:pt x="5446" y="234"/>
                </a:cubicBezTo>
                <a:cubicBezTo>
                  <a:pt x="5394" y="390"/>
                  <a:pt x="5394" y="390"/>
                  <a:pt x="5394" y="390"/>
                </a:cubicBezTo>
                <a:cubicBezTo>
                  <a:pt x="5342" y="270"/>
                  <a:pt x="5342" y="270"/>
                  <a:pt x="5342" y="270"/>
                </a:cubicBezTo>
                <a:cubicBezTo>
                  <a:pt x="5328" y="238"/>
                  <a:pt x="5322" y="224"/>
                  <a:pt x="5322" y="212"/>
                </a:cubicBezTo>
                <a:cubicBezTo>
                  <a:pt x="5322" y="202"/>
                  <a:pt x="5328" y="196"/>
                  <a:pt x="5348" y="192"/>
                </a:cubicBezTo>
                <a:cubicBezTo>
                  <a:pt x="5348" y="180"/>
                  <a:pt x="5348" y="180"/>
                  <a:pt x="5348" y="180"/>
                </a:cubicBezTo>
                <a:cubicBezTo>
                  <a:pt x="5220" y="180"/>
                  <a:pt x="5220" y="180"/>
                  <a:pt x="5220" y="180"/>
                </a:cubicBezTo>
                <a:cubicBezTo>
                  <a:pt x="5220" y="192"/>
                  <a:pt x="5220" y="192"/>
                  <a:pt x="5220" y="192"/>
                </a:cubicBezTo>
                <a:cubicBezTo>
                  <a:pt x="5252" y="194"/>
                  <a:pt x="5254" y="198"/>
                  <a:pt x="5296" y="292"/>
                </a:cubicBezTo>
                <a:cubicBezTo>
                  <a:pt x="5368" y="450"/>
                  <a:pt x="5368" y="450"/>
                  <a:pt x="5368" y="450"/>
                </a:cubicBezTo>
                <a:cubicBezTo>
                  <a:pt x="5344" y="512"/>
                  <a:pt x="5306" y="546"/>
                  <a:pt x="5228" y="564"/>
                </a:cubicBezTo>
                <a:cubicBezTo>
                  <a:pt x="5232" y="576"/>
                  <a:pt x="5246" y="600"/>
                  <a:pt x="5254" y="606"/>
                </a:cubicBezTo>
                <a:cubicBezTo>
                  <a:pt x="5356" y="564"/>
                  <a:pt x="5376" y="498"/>
                  <a:pt x="5412" y="396"/>
                </a:cubicBezTo>
                <a:cubicBezTo>
                  <a:pt x="5466" y="242"/>
                  <a:pt x="5466" y="242"/>
                  <a:pt x="5466" y="242"/>
                </a:cubicBezTo>
                <a:cubicBezTo>
                  <a:pt x="5478" y="206"/>
                  <a:pt x="5498" y="192"/>
                  <a:pt x="5516" y="192"/>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600" kern="1200">
                <a:solidFill>
                  <a:schemeClr val="tx1"/>
                </a:solidFill>
                <a:latin typeface="Arial" charset="0"/>
                <a:ea typeface="+mn-ea"/>
                <a:cs typeface="+mn-cs"/>
              </a:defRPr>
            </a:lvl1pPr>
            <a:lvl2pPr marL="457200" algn="l" rtl="0" fontAlgn="base">
              <a:spcBef>
                <a:spcPct val="0"/>
              </a:spcBef>
              <a:spcAft>
                <a:spcPct val="0"/>
              </a:spcAft>
              <a:defRPr sz="1600" kern="1200">
                <a:solidFill>
                  <a:schemeClr val="tx1"/>
                </a:solidFill>
                <a:latin typeface="Arial" charset="0"/>
                <a:ea typeface="+mn-ea"/>
                <a:cs typeface="+mn-cs"/>
              </a:defRPr>
            </a:lvl2pPr>
            <a:lvl3pPr marL="914400" algn="l" rtl="0" fontAlgn="base">
              <a:spcBef>
                <a:spcPct val="0"/>
              </a:spcBef>
              <a:spcAft>
                <a:spcPct val="0"/>
              </a:spcAft>
              <a:defRPr sz="1600" kern="1200">
                <a:solidFill>
                  <a:schemeClr val="tx1"/>
                </a:solidFill>
                <a:latin typeface="Arial" charset="0"/>
                <a:ea typeface="+mn-ea"/>
                <a:cs typeface="+mn-cs"/>
              </a:defRPr>
            </a:lvl3pPr>
            <a:lvl4pPr marL="1371600" algn="l" rtl="0" fontAlgn="base">
              <a:spcBef>
                <a:spcPct val="0"/>
              </a:spcBef>
              <a:spcAft>
                <a:spcPct val="0"/>
              </a:spcAft>
              <a:defRPr sz="1600" kern="1200">
                <a:solidFill>
                  <a:schemeClr val="tx1"/>
                </a:solidFill>
                <a:latin typeface="Arial" charset="0"/>
                <a:ea typeface="+mn-ea"/>
                <a:cs typeface="+mn-cs"/>
              </a:defRPr>
            </a:lvl4pPr>
            <a:lvl5pPr marL="1828800" algn="l" rtl="0" fontAlgn="base">
              <a:spcBef>
                <a:spcPct val="0"/>
              </a:spcBef>
              <a:spcAft>
                <a:spcPct val="0"/>
              </a:spcAft>
              <a:defRPr sz="1600" kern="1200">
                <a:solidFill>
                  <a:schemeClr val="tx1"/>
                </a:solidFill>
                <a:latin typeface="Arial" charset="0"/>
                <a:ea typeface="+mn-ea"/>
                <a:cs typeface="+mn-cs"/>
              </a:defRPr>
            </a:lvl5pPr>
            <a:lvl6pPr marL="2286000" algn="l" defTabSz="914400" rtl="0" eaLnBrk="1" latinLnBrk="0" hangingPunct="1">
              <a:defRPr sz="1600" kern="1200">
                <a:solidFill>
                  <a:schemeClr val="tx1"/>
                </a:solidFill>
                <a:latin typeface="Arial" charset="0"/>
                <a:ea typeface="+mn-ea"/>
                <a:cs typeface="+mn-cs"/>
              </a:defRPr>
            </a:lvl6pPr>
            <a:lvl7pPr marL="2743200" algn="l" defTabSz="914400" rtl="0" eaLnBrk="1" latinLnBrk="0" hangingPunct="1">
              <a:defRPr sz="1600" kern="1200">
                <a:solidFill>
                  <a:schemeClr val="tx1"/>
                </a:solidFill>
                <a:latin typeface="Arial" charset="0"/>
                <a:ea typeface="+mn-ea"/>
                <a:cs typeface="+mn-cs"/>
              </a:defRPr>
            </a:lvl7pPr>
            <a:lvl8pPr marL="3200400" algn="l" defTabSz="914400" rtl="0" eaLnBrk="1" latinLnBrk="0" hangingPunct="1">
              <a:defRPr sz="1600" kern="1200">
                <a:solidFill>
                  <a:schemeClr val="tx1"/>
                </a:solidFill>
                <a:latin typeface="Arial" charset="0"/>
                <a:ea typeface="+mn-ea"/>
                <a:cs typeface="+mn-cs"/>
              </a:defRPr>
            </a:lvl8pPr>
            <a:lvl9pPr marL="3657600" algn="l" defTabSz="914400" rtl="0" eaLnBrk="1" latinLnBrk="0" hangingPunct="1">
              <a:defRPr sz="1600" kern="1200">
                <a:solidFill>
                  <a:schemeClr val="tx1"/>
                </a:solidFill>
                <a:latin typeface="Arial" charset="0"/>
                <a:ea typeface="+mn-ea"/>
                <a:cs typeface="+mn-cs"/>
              </a:defRPr>
            </a:lvl9pPr>
          </a:lstStyle>
          <a:p>
            <a:endParaRPr lang="en-US" baseline="0" dirty="0">
              <a:solidFill>
                <a:srgbClr val="000000"/>
              </a:solidFill>
              <a:latin typeface="+mn-lt"/>
            </a:endParaRPr>
          </a:p>
        </p:txBody>
      </p:sp>
      <p:sp>
        <p:nvSpPr>
          <p:cNvPr id="27" name="Disclaimer-English (United States)" hidden="1"/>
          <p:cNvSpPr>
            <a:spLocks noChangeArrowheads="1"/>
          </p:cNvSpPr>
          <p:nvPr/>
        </p:nvSpPr>
        <p:spPr bwMode="black">
          <a:xfrm>
            <a:off x="2268266" y="6287785"/>
            <a:ext cx="3544453" cy="36908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t" anchorCtr="0">
            <a:noAutofit/>
          </a:bodyPr>
          <a:lstStyle/>
          <a:p>
            <a:pPr defTabSz="804863" eaLnBrk="0" hangingPunct="0"/>
            <a:r>
              <a:rPr lang="en-US" sz="800" baseline="0" dirty="0">
                <a:solidFill>
                  <a:srgbClr val="FFFFFF"/>
                </a:solidFill>
                <a:latin typeface="+mn-lt"/>
              </a:rPr>
              <a:t>CONFIDENTIAL AND PROPRIETARY</a:t>
            </a:r>
          </a:p>
          <a:p>
            <a:pPr defTabSz="804863" eaLnBrk="0" hangingPunct="0"/>
            <a:r>
              <a:rPr lang="en-US" sz="800" baseline="0" dirty="0">
                <a:solidFill>
                  <a:srgbClr val="FFFFFF"/>
                </a:solidFill>
                <a:latin typeface="+mn-lt"/>
              </a:rPr>
              <a:t>Any use of this material without specific permission of McKinsey &amp; Company is strictly prohibited</a:t>
            </a:r>
          </a:p>
        </p:txBody>
      </p:sp>
    </p:spTree>
    <p:extLst>
      <p:ext uri="{BB962C8B-B14F-4D97-AF65-F5344CB8AC3E}">
        <p14:creationId xmlns:p14="http://schemas.microsoft.com/office/powerpoint/2010/main" val="3128556097"/>
      </p:ext>
    </p:extLst>
  </p:cSld>
  <p:clrMapOvr>
    <a:masterClrMapping/>
  </p:clrMapOvr>
  <p:extLst mod="1">
    <p:ext uri="{DCECCB84-F9BA-43D5-87BE-67443E8EF086}">
      <p15:sldGuideLst xmlns:p15="http://schemas.microsoft.com/office/powerpoint/2012/main">
        <p15:guide id="1" orient="horz" pos="2117">
          <p15:clr>
            <a:srgbClr val="FBAE40"/>
          </p15:clr>
        </p15:guide>
        <p15:guide id="2" pos="1416">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1_Title Only">
    <p:bg>
      <p:bgPr>
        <a:solidFill>
          <a:schemeClr val="accent2"/>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F4AD34F-3B47-47E2-A09C-FFEB949F6A10}"/>
              </a:ext>
            </a:extLst>
          </p:cNvPr>
          <p:cNvGraphicFramePr>
            <a:graphicFrameLocks noChangeAspect="1"/>
          </p:cNvGraphicFramePr>
          <p:nvPr>
            <p:custDataLst>
              <p:tags r:id="rId2"/>
            </p:custDataLst>
            <p:extLst>
              <p:ext uri="{D42A27DB-BD31-4B8C-83A1-F6EECF244321}">
                <p14:modId xmlns:p14="http://schemas.microsoft.com/office/powerpoint/2010/main" val="59755416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236" name="think-cell Slide" r:id="rId5" imgW="395" imgH="394" progId="TCLayout.ActiveDocument.1">
                  <p:embed/>
                </p:oleObj>
              </mc:Choice>
              <mc:Fallback>
                <p:oleObj name="think-cell Slide" r:id="rId5" imgW="395" imgH="394" progId="TCLayout.ActiveDocument.1">
                  <p:embed/>
                  <p:pic>
                    <p:nvPicPr>
                      <p:cNvPr id="3" name="Object 2" hidden="1">
                        <a:extLst>
                          <a:ext uri="{FF2B5EF4-FFF2-40B4-BE49-F238E27FC236}">
                            <a16:creationId xmlns:a16="http://schemas.microsoft.com/office/drawing/2014/main" id="{EF4AD34F-3B47-47E2-A09C-FFEB949F6A10}"/>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endParaRPr lang="en-US" dirty="0"/>
          </a:p>
        </p:txBody>
      </p:sp>
      <p:sp>
        <p:nvSpPr>
          <p:cNvPr id="15" name="Slide Number"/>
          <p:cNvSpPr txBox="1">
            <a:spLocks/>
          </p:cNvSpPr>
          <p:nvPr/>
        </p:nvSpPr>
        <p:spPr>
          <a:xfrm>
            <a:off x="8564563" y="6508272"/>
            <a:ext cx="125034" cy="123111"/>
          </a:xfrm>
          <a:prstGeom prst="rect">
            <a:avLst/>
          </a:prstGeom>
        </p:spPr>
        <p:txBody>
          <a:bodyPr vert="horz" wrap="none" lIns="0" tIns="0" rIns="0" bIns="0" rtlCol="0" anchor="ctr">
            <a:spAutoFit/>
          </a:bodyPr>
          <a:lstStyle>
            <a:defPPr>
              <a:defRPr lang="en-US"/>
            </a:defPPr>
            <a:lvl1pPr>
              <a:defRPr sz="1000" baseline="0">
                <a:latin typeface="+mn-lt"/>
              </a:defRPr>
            </a:lvl1pPr>
          </a:lstStyle>
          <a:p>
            <a:fld id="{42C328C1-A84F-4A39-A664-DBA00541A8C6}" type="slidenum">
              <a:rPr lang="en-US" sz="800" baseline="0" smtClean="0">
                <a:solidFill>
                  <a:srgbClr val="FFFFFF"/>
                </a:solidFill>
                <a:latin typeface="+mn-lt"/>
              </a:rPr>
              <a:pPr/>
              <a:t>‹#›</a:t>
            </a:fld>
            <a:endParaRPr lang="en-US" sz="800" baseline="0" dirty="0">
              <a:solidFill>
                <a:srgbClr val="FFFFFF"/>
              </a:solidFill>
              <a:latin typeface="+mn-lt"/>
            </a:endParaRPr>
          </a:p>
        </p:txBody>
      </p:sp>
      <p:sp>
        <p:nvSpPr>
          <p:cNvPr id="16" name="SlideLogoText"/>
          <p:cNvSpPr>
            <a:spLocks noChangeArrowheads="1"/>
          </p:cNvSpPr>
          <p:nvPr>
            <p:custDataLst>
              <p:tags r:id="rId3"/>
            </p:custDataLst>
          </p:nvPr>
        </p:nvSpPr>
        <p:spPr bwMode="auto">
          <a:xfrm>
            <a:off x="7450817" y="6508272"/>
            <a:ext cx="1013098"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algn="r" defTabSz="895350"/>
            <a:r>
              <a:rPr lang="en-US" sz="800" baseline="0" dirty="0">
                <a:solidFill>
                  <a:srgbClr val="FFFFFF"/>
                </a:solidFill>
                <a:latin typeface="+mn-lt"/>
              </a:rPr>
              <a:t>McKinsey &amp; Company</a:t>
            </a:r>
          </a:p>
        </p:txBody>
      </p:sp>
      <p:sp>
        <p:nvSpPr>
          <p:cNvPr id="5" name="doc id" hidden="1"/>
          <p:cNvSpPr txBox="1">
            <a:spLocks noChangeArrowheads="1"/>
          </p:cNvSpPr>
          <p:nvPr/>
        </p:nvSpPr>
        <p:spPr bwMode="white">
          <a:xfrm>
            <a:off x="8104473" y="36513"/>
            <a:ext cx="634716" cy="115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hangingPunct="1">
              <a:defRPr/>
            </a:pPr>
            <a:endParaRPr lang="en-US" sz="800" baseline="0" dirty="0">
              <a:solidFill>
                <a:schemeClr val="accent1"/>
              </a:solidFill>
              <a:latin typeface="+mn-lt"/>
              <a:ea typeface="+mn-ea"/>
            </a:endParaRPr>
          </a:p>
        </p:txBody>
      </p:sp>
    </p:spTree>
    <p:extLst>
      <p:ext uri="{BB962C8B-B14F-4D97-AF65-F5344CB8AC3E}">
        <p14:creationId xmlns:p14="http://schemas.microsoft.com/office/powerpoint/2010/main" val="3506536986"/>
      </p:ext>
    </p:extLst>
  </p:cSld>
  <p:clrMapOvr>
    <a:masterClrMapping/>
  </p:clrMapOvr>
  <p:extLst mod="1">
    <p:ext uri="{DCECCB84-F9BA-43D5-87BE-67443E8EF086}">
      <p15:sldGuideLst xmlns:p15="http://schemas.microsoft.com/office/powerpoint/2012/main">
        <p15:guide id="1" pos="3978">
          <p15:clr>
            <a:srgbClr val="000000"/>
          </p15:clr>
        </p15:guide>
        <p15:guide id="2" orient="horz" pos="570">
          <p15:clr>
            <a:srgbClr val="000000"/>
          </p15:clr>
        </p15:guide>
        <p15:guide id="3" orient="horz" pos="3912">
          <p15:clr>
            <a:srgbClr val="000000"/>
          </p15:clr>
        </p15:guide>
        <p15:guide id="4" pos="72">
          <p15:clr>
            <a:srgbClr val="00000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6E228F5-5CF1-42E1-9748-97D7582A107A}"/>
              </a:ext>
            </a:extLst>
          </p:cNvPr>
          <p:cNvGraphicFramePr>
            <a:graphicFrameLocks noChangeAspect="1"/>
          </p:cNvGraphicFramePr>
          <p:nvPr>
            <p:custDataLst>
              <p:tags r:id="rId2"/>
            </p:custDataLst>
            <p:extLst>
              <p:ext uri="{D42A27DB-BD31-4B8C-83A1-F6EECF244321}">
                <p14:modId xmlns:p14="http://schemas.microsoft.com/office/powerpoint/2010/main" val="27256114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0132" name="think-cell Slide" r:id="rId5" imgW="353" imgH="353" progId="TCLayout.ActiveDocument.1">
                  <p:embed/>
                </p:oleObj>
              </mc:Choice>
              <mc:Fallback>
                <p:oleObj name="think-cell Slide" r:id="rId5" imgW="353" imgH="353" progId="TCLayout.ActiveDocument.1">
                  <p:embed/>
                  <p:pic>
                    <p:nvPicPr>
                      <p:cNvPr id="3" name="Object 2" hidden="1">
                        <a:extLst>
                          <a:ext uri="{FF2B5EF4-FFF2-40B4-BE49-F238E27FC236}">
                            <a16:creationId xmlns:a16="http://schemas.microsoft.com/office/drawing/2014/main" id="{C6E228F5-5CF1-42E1-9748-97D7582A107A}"/>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2. Slide Title"/>
          <p:cNvSpPr>
            <a:spLocks noGrp="1"/>
          </p:cNvSpPr>
          <p:nvPr>
            <p:ph type="title"/>
          </p:nvPr>
        </p:nvSpPr>
        <p:spPr bwMode="auto"/>
        <p:txBody>
          <a:bodyPr/>
          <a:lstStyle/>
          <a:p>
            <a:r>
              <a:rPr lang="en-US"/>
              <a:t>Click to edit Master title style</a:t>
            </a:r>
            <a:endParaRPr lang="en-US" dirty="0"/>
          </a:p>
        </p:txBody>
      </p:sp>
      <p:sp>
        <p:nvSpPr>
          <p:cNvPr id="8" name="Slide Number"/>
          <p:cNvSpPr txBox="1">
            <a:spLocks/>
          </p:cNvSpPr>
          <p:nvPr/>
        </p:nvSpPr>
        <p:spPr bwMode="auto">
          <a:xfrm>
            <a:off x="8564563" y="6508272"/>
            <a:ext cx="125034" cy="123111"/>
          </a:xfrm>
          <a:prstGeom prst="rect">
            <a:avLst/>
          </a:prstGeom>
        </p:spPr>
        <p:txBody>
          <a:bodyPr vert="horz" wrap="none" lIns="0" tIns="0" rIns="0" bIns="0" rtlCol="0" anchor="ctr">
            <a:spAutoFit/>
          </a:bodyPr>
          <a:lstStyle>
            <a:defPPr>
              <a:defRPr lang="en-US"/>
            </a:defPPr>
            <a:lvl1pPr>
              <a:defRPr sz="1000" baseline="0">
                <a:latin typeface="+mn-lt"/>
              </a:defRPr>
            </a:lvl1pPr>
          </a:lstStyle>
          <a:p>
            <a:fld id="{42C328C1-A84F-4A39-A664-DBA00541A8C6}" type="slidenum">
              <a:rPr lang="en-US" sz="800" baseline="0" smtClean="0">
                <a:solidFill>
                  <a:srgbClr val="808080"/>
                </a:solidFill>
                <a:latin typeface="+mn-lt"/>
              </a:rPr>
              <a:pPr/>
              <a:t>‹#›</a:t>
            </a:fld>
            <a:endParaRPr lang="en-US" sz="800" baseline="0" dirty="0">
              <a:solidFill>
                <a:srgbClr val="808080"/>
              </a:solidFill>
              <a:latin typeface="+mn-lt"/>
            </a:endParaRPr>
          </a:p>
        </p:txBody>
      </p:sp>
      <p:sp>
        <p:nvSpPr>
          <p:cNvPr id="9" name="SlideLogoText"/>
          <p:cNvSpPr>
            <a:spLocks noChangeArrowheads="1"/>
          </p:cNvSpPr>
          <p:nvPr>
            <p:custDataLst>
              <p:tags r:id="rId3"/>
            </p:custDataLst>
          </p:nvPr>
        </p:nvSpPr>
        <p:spPr bwMode="auto">
          <a:xfrm>
            <a:off x="7450817" y="6508272"/>
            <a:ext cx="1013098"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algn="r" defTabSz="895350"/>
            <a:r>
              <a:rPr lang="en-US" sz="800" baseline="0" dirty="0">
                <a:solidFill>
                  <a:srgbClr val="808080"/>
                </a:solidFill>
                <a:latin typeface="+mn-lt"/>
              </a:rPr>
              <a:t>McKinsey &amp; Company</a:t>
            </a:r>
          </a:p>
        </p:txBody>
      </p:sp>
      <p:sp>
        <p:nvSpPr>
          <p:cNvPr id="5" name="doc id" hidden="1"/>
          <p:cNvSpPr txBox="1">
            <a:spLocks noChangeArrowheads="1"/>
          </p:cNvSpPr>
          <p:nvPr/>
        </p:nvSpPr>
        <p:spPr bwMode="white">
          <a:xfrm>
            <a:off x="8104473" y="36513"/>
            <a:ext cx="634716" cy="115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hangingPunct="1">
              <a:defRPr/>
            </a:pPr>
            <a:endParaRPr lang="en-US" sz="800" baseline="0" dirty="0">
              <a:solidFill>
                <a:schemeClr val="accent1"/>
              </a:solidFill>
              <a:latin typeface="+mn-lt"/>
              <a:ea typeface="+mn-ea"/>
            </a:endParaRPr>
          </a:p>
        </p:txBody>
      </p:sp>
    </p:spTree>
    <p:extLst>
      <p:ext uri="{BB962C8B-B14F-4D97-AF65-F5344CB8AC3E}">
        <p14:creationId xmlns:p14="http://schemas.microsoft.com/office/powerpoint/2010/main" val="411045022"/>
      </p:ext>
    </p:extLst>
  </p:cSld>
  <p:clrMapOvr>
    <a:masterClrMapping/>
  </p:clrMapOvr>
  <p:extLst mod="1">
    <p:ext uri="{DCECCB84-F9BA-43D5-87BE-67443E8EF086}">
      <p15:sldGuideLst xmlns:p15="http://schemas.microsoft.com/office/powerpoint/2012/main">
        <p15:guide id="1" pos="5505">
          <p15:clr>
            <a:srgbClr val="F26B43"/>
          </p15:clr>
        </p15:guide>
        <p15:guide id="2" pos="74">
          <p15:clr>
            <a:srgbClr val="F26B43"/>
          </p15:clr>
        </p15:guide>
        <p15:guide id="3" orient="horz" pos="571">
          <p15:clr>
            <a:srgbClr val="F26B43"/>
          </p15:clr>
        </p15:guide>
        <p15:guide id="4" orient="horz" pos="3911">
          <p15:clr>
            <a:srgbClr val="F26B43"/>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1_Title Only">
    <p:bg>
      <p:bgPr>
        <a:solidFill>
          <a:schemeClr val="accent2"/>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F4AD34F-3B47-47E2-A09C-FFEB949F6A10}"/>
              </a:ext>
            </a:extLst>
          </p:cNvPr>
          <p:cNvGraphicFramePr>
            <a:graphicFrameLocks noChangeAspect="1"/>
          </p:cNvGraphicFramePr>
          <p:nvPr>
            <p:custDataLst>
              <p:tags r:id="rId2"/>
            </p:custDataLst>
            <p:extLst>
              <p:ext uri="{D42A27DB-BD31-4B8C-83A1-F6EECF244321}">
                <p14:modId xmlns:p14="http://schemas.microsoft.com/office/powerpoint/2010/main" val="323429417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1156" name="think-cell Slide" r:id="rId5" imgW="395" imgH="394" progId="TCLayout.ActiveDocument.1">
                  <p:embed/>
                </p:oleObj>
              </mc:Choice>
              <mc:Fallback>
                <p:oleObj name="think-cell Slide" r:id="rId5" imgW="395" imgH="394" progId="TCLayout.ActiveDocument.1">
                  <p:embed/>
                  <p:pic>
                    <p:nvPicPr>
                      <p:cNvPr id="3" name="Object 2" hidden="1">
                        <a:extLst>
                          <a:ext uri="{FF2B5EF4-FFF2-40B4-BE49-F238E27FC236}">
                            <a16:creationId xmlns:a16="http://schemas.microsoft.com/office/drawing/2014/main" id="{EF4AD34F-3B47-47E2-A09C-FFEB949F6A10}"/>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endParaRPr lang="en-US" dirty="0"/>
          </a:p>
        </p:txBody>
      </p:sp>
      <p:sp>
        <p:nvSpPr>
          <p:cNvPr id="15" name="Slide Number"/>
          <p:cNvSpPr txBox="1">
            <a:spLocks/>
          </p:cNvSpPr>
          <p:nvPr/>
        </p:nvSpPr>
        <p:spPr>
          <a:xfrm>
            <a:off x="8564563" y="6508272"/>
            <a:ext cx="125034" cy="123111"/>
          </a:xfrm>
          <a:prstGeom prst="rect">
            <a:avLst/>
          </a:prstGeom>
        </p:spPr>
        <p:txBody>
          <a:bodyPr vert="horz" wrap="none" lIns="0" tIns="0" rIns="0" bIns="0" rtlCol="0" anchor="ctr">
            <a:spAutoFit/>
          </a:bodyPr>
          <a:lstStyle>
            <a:defPPr>
              <a:defRPr lang="en-US"/>
            </a:defPPr>
            <a:lvl1pPr>
              <a:defRPr sz="1000" baseline="0">
                <a:latin typeface="+mn-lt"/>
              </a:defRPr>
            </a:lvl1pPr>
          </a:lstStyle>
          <a:p>
            <a:fld id="{42C328C1-A84F-4A39-A664-DBA00541A8C6}" type="slidenum">
              <a:rPr lang="en-US" sz="800" baseline="0" smtClean="0">
                <a:solidFill>
                  <a:srgbClr val="FFFFFF"/>
                </a:solidFill>
                <a:latin typeface="+mn-lt"/>
              </a:rPr>
              <a:pPr/>
              <a:t>‹#›</a:t>
            </a:fld>
            <a:endParaRPr lang="en-US" sz="800" baseline="0" dirty="0">
              <a:solidFill>
                <a:srgbClr val="FFFFFF"/>
              </a:solidFill>
              <a:latin typeface="+mn-lt"/>
            </a:endParaRPr>
          </a:p>
        </p:txBody>
      </p:sp>
      <p:sp>
        <p:nvSpPr>
          <p:cNvPr id="16" name="SlideLogoText"/>
          <p:cNvSpPr>
            <a:spLocks noChangeArrowheads="1"/>
          </p:cNvSpPr>
          <p:nvPr>
            <p:custDataLst>
              <p:tags r:id="rId3"/>
            </p:custDataLst>
          </p:nvPr>
        </p:nvSpPr>
        <p:spPr bwMode="auto">
          <a:xfrm>
            <a:off x="7450817" y="6508272"/>
            <a:ext cx="1013098"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algn="r" defTabSz="895350"/>
            <a:r>
              <a:rPr lang="en-US" sz="800" baseline="0" dirty="0">
                <a:solidFill>
                  <a:srgbClr val="FFFFFF"/>
                </a:solidFill>
                <a:latin typeface="+mn-lt"/>
              </a:rPr>
              <a:t>McKinsey &amp; Company</a:t>
            </a:r>
          </a:p>
        </p:txBody>
      </p:sp>
      <p:sp>
        <p:nvSpPr>
          <p:cNvPr id="5" name="doc id" hidden="1"/>
          <p:cNvSpPr txBox="1">
            <a:spLocks noChangeArrowheads="1"/>
          </p:cNvSpPr>
          <p:nvPr/>
        </p:nvSpPr>
        <p:spPr bwMode="white">
          <a:xfrm>
            <a:off x="8104473" y="36513"/>
            <a:ext cx="634716" cy="115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hangingPunct="1">
              <a:defRPr/>
            </a:pPr>
            <a:endParaRPr lang="en-US" sz="800" baseline="0" dirty="0">
              <a:solidFill>
                <a:schemeClr val="accent1"/>
              </a:solidFill>
              <a:latin typeface="+mn-lt"/>
              <a:ea typeface="+mn-ea"/>
            </a:endParaRPr>
          </a:p>
        </p:txBody>
      </p:sp>
    </p:spTree>
    <p:extLst>
      <p:ext uri="{BB962C8B-B14F-4D97-AF65-F5344CB8AC3E}">
        <p14:creationId xmlns:p14="http://schemas.microsoft.com/office/powerpoint/2010/main" val="2075967596"/>
      </p:ext>
    </p:extLst>
  </p:cSld>
  <p:clrMapOvr>
    <a:masterClrMapping/>
  </p:clrMapOvr>
  <p:extLst mod="1">
    <p:ext uri="{DCECCB84-F9BA-43D5-87BE-67443E8EF086}">
      <p15:sldGuideLst xmlns:p15="http://schemas.microsoft.com/office/powerpoint/2012/main">
        <p15:guide id="1" pos="3978">
          <p15:clr>
            <a:srgbClr val="000000"/>
          </p15:clr>
        </p15:guide>
        <p15:guide id="2" orient="horz" pos="570">
          <p15:clr>
            <a:srgbClr val="000000"/>
          </p15:clr>
        </p15:guide>
        <p15:guide id="3" orient="horz" pos="3912">
          <p15:clr>
            <a:srgbClr val="000000"/>
          </p15:clr>
        </p15:guide>
        <p15:guide id="4" pos="72">
          <p15:clr>
            <a:srgbClr val="00000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type="titleOnly">
  <p:cSld name="2_Title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ECD524A-1569-4253-8CD8-48D288AD883C}"/>
              </a:ext>
            </a:extLst>
          </p:cNvPr>
          <p:cNvGraphicFramePr>
            <a:graphicFrameLocks noChangeAspect="1"/>
          </p:cNvGraphicFramePr>
          <p:nvPr>
            <p:custDataLst>
              <p:tags r:id="rId2"/>
            </p:custDataLst>
            <p:extLst>
              <p:ext uri="{D42A27DB-BD31-4B8C-83A1-F6EECF244321}">
                <p14:modId xmlns:p14="http://schemas.microsoft.com/office/powerpoint/2010/main" val="427535193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2180" name="think-cell Slide" r:id="rId4" imgW="395" imgH="394" progId="TCLayout.ActiveDocument.1">
                  <p:embed/>
                </p:oleObj>
              </mc:Choice>
              <mc:Fallback>
                <p:oleObj name="think-cell Slide" r:id="rId4" imgW="395" imgH="394" progId="TCLayout.ActiveDocument.1">
                  <p:embed/>
                  <p:pic>
                    <p:nvPicPr>
                      <p:cNvPr id="3" name="Object 2" hidden="1">
                        <a:extLst>
                          <a:ext uri="{FF2B5EF4-FFF2-40B4-BE49-F238E27FC236}">
                            <a16:creationId xmlns:a16="http://schemas.microsoft.com/office/drawing/2014/main" id="{5ECD524A-1569-4253-8CD8-48D288AD883C}"/>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122325225"/>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pic>
        <p:nvPicPr>
          <p:cNvPr id="2" name="background"/>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0" y="198"/>
            <a:ext cx="8961438" cy="6721079"/>
          </a:xfrm>
          <a:prstGeom prst="rect">
            <a:avLst/>
          </a:prstGeom>
        </p:spPr>
      </p:pic>
      <p:sp>
        <p:nvSpPr>
          <p:cNvPr id="28" name="TitleRectangle"/>
          <p:cNvSpPr txBox="1">
            <a:spLocks/>
          </p:cNvSpPr>
          <p:nvPr/>
        </p:nvSpPr>
        <p:spPr>
          <a:xfrm>
            <a:off x="2084388" y="0"/>
            <a:ext cx="6875462" cy="3575976"/>
          </a:xfrm>
          <a:prstGeom prst="rect">
            <a:avLst/>
          </a:prstGeom>
          <a:solidFill>
            <a:srgbClr val="002960">
              <a:alpha val="92000"/>
            </a:srgbClr>
          </a:solidFill>
        </p:spPr>
        <p:txBody>
          <a:bodyPr vert="horz" wrap="square" lIns="216000" tIns="1440000" rIns="216000" bIns="108000" rtlCol="0">
            <a:noAutofit/>
          </a:bodyPr>
          <a:lstStyle>
            <a:lvl1pPr marL="0" indent="0" algn="l" defTabSz="914400" rtl="0" eaLnBrk="1" latinLnBrk="0" hangingPunct="1">
              <a:spcBef>
                <a:spcPct val="20000"/>
              </a:spcBef>
              <a:spcAft>
                <a:spcPts val="6000"/>
              </a:spcAft>
              <a:buFont typeface="Arial" pitchFamily="34" charset="0"/>
              <a:buNone/>
              <a:defRPr sz="3200" kern="1200">
                <a:solidFill>
                  <a:schemeClr val="accent1"/>
                </a:solidFill>
                <a:latin typeface="+mn-lt"/>
                <a:ea typeface="+mn-ea"/>
                <a:cs typeface="+mn-cs"/>
              </a:defRPr>
            </a:lvl1pPr>
            <a:lvl2pPr marL="0" indent="0" algn="l" defTabSz="914400" rtl="0" eaLnBrk="1" latinLnBrk="0" hangingPunct="1">
              <a:spcBef>
                <a:spcPct val="20000"/>
              </a:spcBef>
              <a:buFont typeface="Wingdings" charset="2"/>
              <a:buNone/>
              <a:defRPr sz="1400" kern="1200">
                <a:solidFill>
                  <a:schemeClr val="tx1">
                    <a:lumMod val="50000"/>
                    <a:lumOff val="50000"/>
                  </a:schemeClr>
                </a:solidFill>
                <a:latin typeface="+mn-lt"/>
                <a:ea typeface="+mn-ea"/>
                <a:cs typeface="+mn-cs"/>
              </a:defRPr>
            </a:lvl2pPr>
            <a:lvl3pPr marL="1143000" indent="-228600" algn="l" defTabSz="914400" rtl="0" eaLnBrk="1" latinLnBrk="0" hangingPunct="1">
              <a:spcBef>
                <a:spcPct val="20000"/>
              </a:spcBef>
              <a:buFont typeface="Lucida Grande"/>
              <a:buChar char="–"/>
              <a:defRPr sz="16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fontAlgn="auto">
              <a:defRPr/>
            </a:pPr>
            <a:r>
              <a:rPr lang="en-US" baseline="0" dirty="0">
                <a:solidFill>
                  <a:srgbClr val="00ADEF"/>
                </a:solidFill>
                <a:latin typeface="+mn-lt"/>
              </a:rPr>
              <a:t>
              </a:t>
            </a:r>
            <a:br>
              <a:rPr lang="en-US" baseline="0" dirty="0">
                <a:solidFill>
                  <a:srgbClr val="00ADEF"/>
                </a:solidFill>
                <a:latin typeface="+mn-lt"/>
              </a:rPr>
            </a:br>
            <a:endParaRPr lang="en-US" baseline="0" dirty="0">
              <a:solidFill>
                <a:srgbClr val="00ADEF"/>
              </a:solidFill>
              <a:latin typeface="+mn-lt"/>
            </a:endParaRPr>
          </a:p>
        </p:txBody>
      </p:sp>
      <p:graphicFrame>
        <p:nvGraphicFramePr>
          <p:cNvPr id="3" name="Object 2"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4228"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Working Draft Text" hidden="1"/>
          <p:cNvSpPr txBox="1">
            <a:spLocks noChangeArrowheads="1"/>
          </p:cNvSpPr>
          <p:nvPr/>
        </p:nvSpPr>
        <p:spPr bwMode="black">
          <a:xfrm>
            <a:off x="5992719" y="6287538"/>
            <a:ext cx="2790000"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800" b="1" baseline="0" dirty="0">
                <a:solidFill>
                  <a:srgbClr val="FFFFFF"/>
                </a:solidFill>
                <a:latin typeface="+mn-lt"/>
              </a:rPr>
              <a:t>WORKING DRAFT</a:t>
            </a:r>
          </a:p>
        </p:txBody>
      </p:sp>
      <p:sp>
        <p:nvSpPr>
          <p:cNvPr id="6" name="Working Draft" hidden="1"/>
          <p:cNvSpPr txBox="1">
            <a:spLocks noChangeArrowheads="1"/>
          </p:cNvSpPr>
          <p:nvPr/>
        </p:nvSpPr>
        <p:spPr bwMode="black">
          <a:xfrm>
            <a:off x="5992718" y="6410648"/>
            <a:ext cx="2968719"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800" baseline="0">
                <a:solidFill>
                  <a:srgbClr val="FFFFFF"/>
                </a:solidFill>
                <a:latin typeface="+mn-lt"/>
              </a:rPr>
              <a:t>Last Modified 21/05/2018 17:44 India Standard Time</a:t>
            </a:r>
            <a:endParaRPr lang="en-US" sz="800" baseline="0" dirty="0">
              <a:solidFill>
                <a:srgbClr val="FFFFFF"/>
              </a:solidFill>
              <a:latin typeface="+mn-lt"/>
            </a:endParaRPr>
          </a:p>
        </p:txBody>
      </p:sp>
      <p:sp>
        <p:nvSpPr>
          <p:cNvPr id="7" name="Printed" hidden="1"/>
          <p:cNvSpPr txBox="1">
            <a:spLocks noChangeArrowheads="1"/>
          </p:cNvSpPr>
          <p:nvPr/>
        </p:nvSpPr>
        <p:spPr bwMode="black">
          <a:xfrm>
            <a:off x="5992719" y="6533759"/>
            <a:ext cx="2790000"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800" baseline="0" dirty="0">
                <a:solidFill>
                  <a:srgbClr val="FFFFFF"/>
                </a:solidFill>
                <a:latin typeface="+mn-lt"/>
              </a:rPr>
              <a:t>Printed</a:t>
            </a:r>
          </a:p>
        </p:txBody>
      </p:sp>
      <p:sp>
        <p:nvSpPr>
          <p:cNvPr id="13314" name="Title"/>
          <p:cNvSpPr>
            <a:spLocks noGrp="1" noChangeArrowheads="1"/>
          </p:cNvSpPr>
          <p:nvPr>
            <p:ph type="ctrTitle"/>
          </p:nvPr>
        </p:nvSpPr>
        <p:spPr>
          <a:xfrm>
            <a:off x="2268266" y="1434419"/>
            <a:ext cx="6231663" cy="492443"/>
          </a:xfrm>
          <a:prstGeom prst="rect">
            <a:avLst/>
          </a:prstGeom>
        </p:spPr>
        <p:txBody>
          <a:bodyPr>
            <a:spAutoFit/>
          </a:bodyPr>
          <a:lstStyle>
            <a:lvl1pPr>
              <a:defRPr sz="3200" b="0" baseline="0">
                <a:solidFill>
                  <a:schemeClr val="accent2"/>
                </a:solidFill>
                <a:latin typeface="+mj-lt"/>
                <a:ea typeface="+mj-ea"/>
              </a:defRPr>
            </a:lvl1pPr>
          </a:lstStyle>
          <a:p>
            <a:pPr lvl="0" latinLnBrk="0"/>
            <a:r>
              <a:rPr lang="en-US" noProof="0"/>
              <a:t>Click to edit Master title style</a:t>
            </a:r>
            <a:endParaRPr lang="en-US" noProof="0" dirty="0"/>
          </a:p>
        </p:txBody>
      </p:sp>
      <p:sp>
        <p:nvSpPr>
          <p:cNvPr id="13315" name="Subtitle"/>
          <p:cNvSpPr>
            <a:spLocks noGrp="1" noChangeArrowheads="1"/>
          </p:cNvSpPr>
          <p:nvPr>
            <p:ph type="subTitle" idx="1"/>
          </p:nvPr>
        </p:nvSpPr>
        <p:spPr>
          <a:xfrm>
            <a:off x="2268266" y="2819401"/>
            <a:ext cx="6231663" cy="215444"/>
          </a:xfrm>
          <a:prstGeom prst="rect">
            <a:avLst/>
          </a:prstGeom>
        </p:spPr>
        <p:txBody>
          <a:bodyPr wrap="square">
            <a:spAutoFit/>
          </a:bodyPr>
          <a:lstStyle>
            <a:lvl1pPr>
              <a:defRPr sz="1400" cap="all" baseline="0">
                <a:solidFill>
                  <a:schemeClr val="bg1"/>
                </a:solidFill>
                <a:latin typeface="+mn-lt"/>
                <a:ea typeface="+mn-ea"/>
              </a:defRPr>
            </a:lvl1pPr>
          </a:lstStyle>
          <a:p>
            <a:pPr lvl="0" latinLnBrk="0"/>
            <a:r>
              <a:rPr lang="en-US" noProof="0"/>
              <a:t>Click to edit Master subtitle style</a:t>
            </a:r>
            <a:endParaRPr lang="en-US" noProof="0" dirty="0"/>
          </a:p>
        </p:txBody>
      </p:sp>
      <p:sp>
        <p:nvSpPr>
          <p:cNvPr id="57" name="Document type" hidden="1"/>
          <p:cNvSpPr txBox="1">
            <a:spLocks noChangeArrowheads="1"/>
          </p:cNvSpPr>
          <p:nvPr/>
        </p:nvSpPr>
        <p:spPr bwMode="gray">
          <a:xfrm>
            <a:off x="2268266" y="3227411"/>
            <a:ext cx="6231663"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00" baseline="0" dirty="0">
                <a:solidFill>
                  <a:schemeClr val="bg1"/>
                </a:solidFill>
                <a:latin typeface="+mn-lt"/>
              </a:rPr>
              <a:t>Document type | Date</a:t>
            </a:r>
          </a:p>
        </p:txBody>
      </p:sp>
      <p:sp>
        <p:nvSpPr>
          <p:cNvPr id="5" name="doc id" hidden="1"/>
          <p:cNvSpPr txBox="1">
            <a:spLocks noChangeArrowheads="1"/>
          </p:cNvSpPr>
          <p:nvPr/>
        </p:nvSpPr>
        <p:spPr bwMode="white">
          <a:xfrm>
            <a:off x="8443913" y="36513"/>
            <a:ext cx="295275" cy="1222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hangingPunct="1">
              <a:defRPr/>
            </a:pPr>
            <a:endParaRPr lang="en-US" sz="800" baseline="0" dirty="0">
              <a:solidFill>
                <a:srgbClr val="FFFFFF"/>
              </a:solidFill>
              <a:latin typeface="+mn-lt"/>
            </a:endParaRPr>
          </a:p>
        </p:txBody>
      </p:sp>
      <p:sp>
        <p:nvSpPr>
          <p:cNvPr id="43" name="LogoImage"/>
          <p:cNvSpPr>
            <a:spLocks noEditPoints="1"/>
          </p:cNvSpPr>
          <p:nvPr/>
        </p:nvSpPr>
        <p:spPr bwMode="white">
          <a:xfrm>
            <a:off x="2269098" y="182925"/>
            <a:ext cx="2176978" cy="238073"/>
          </a:xfrm>
          <a:custGeom>
            <a:avLst/>
            <a:gdLst>
              <a:gd name="T0" fmla="*/ 504 w 5516"/>
              <a:gd name="T1" fmla="*/ 26 h 606"/>
              <a:gd name="T2" fmla="*/ 18 w 5516"/>
              <a:gd name="T3" fmla="*/ 22 h 606"/>
              <a:gd name="T4" fmla="*/ 140 w 5516"/>
              <a:gd name="T5" fmla="*/ 436 h 606"/>
              <a:gd name="T6" fmla="*/ 408 w 5516"/>
              <a:gd name="T7" fmla="*/ 372 h 606"/>
              <a:gd name="T8" fmla="*/ 696 w 5516"/>
              <a:gd name="T9" fmla="*/ 422 h 606"/>
              <a:gd name="T10" fmla="*/ 768 w 5516"/>
              <a:gd name="T11" fmla="*/ 196 h 606"/>
              <a:gd name="T12" fmla="*/ 1272 w 5516"/>
              <a:gd name="T13" fmla="*/ 26 h 606"/>
              <a:gd name="T14" fmla="*/ 1302 w 5516"/>
              <a:gd name="T15" fmla="*/ 338 h 606"/>
              <a:gd name="T16" fmla="*/ 1202 w 5516"/>
              <a:gd name="T17" fmla="*/ 436 h 606"/>
              <a:gd name="T18" fmla="*/ 1030 w 5516"/>
              <a:gd name="T19" fmla="*/ 10 h 606"/>
              <a:gd name="T20" fmla="*/ 960 w 5516"/>
              <a:gd name="T21" fmla="*/ 22 h 606"/>
              <a:gd name="T22" fmla="*/ 804 w 5516"/>
              <a:gd name="T23" fmla="*/ 434 h 606"/>
              <a:gd name="T24" fmla="*/ 930 w 5516"/>
              <a:gd name="T25" fmla="*/ 246 h 606"/>
              <a:gd name="T26" fmla="*/ 1658 w 5516"/>
              <a:gd name="T27" fmla="*/ 342 h 606"/>
              <a:gd name="T28" fmla="*/ 1368 w 5516"/>
              <a:gd name="T29" fmla="*/ 188 h 606"/>
              <a:gd name="T30" fmla="*/ 1514 w 5516"/>
              <a:gd name="T31" fmla="*/ 436 h 606"/>
              <a:gd name="T32" fmla="*/ 1564 w 5516"/>
              <a:gd name="T33" fmla="*/ 434 h 606"/>
              <a:gd name="T34" fmla="*/ 1904 w 5516"/>
              <a:gd name="T35" fmla="*/ 184 h 606"/>
              <a:gd name="T36" fmla="*/ 1728 w 5516"/>
              <a:gd name="T37" fmla="*/ 366 h 606"/>
              <a:gd name="T38" fmla="*/ 2102 w 5516"/>
              <a:gd name="T39" fmla="*/ 192 h 606"/>
              <a:gd name="T40" fmla="*/ 1982 w 5516"/>
              <a:gd name="T41" fmla="*/ 320 h 606"/>
              <a:gd name="T42" fmla="*/ 2478 w 5516"/>
              <a:gd name="T43" fmla="*/ 242 h 606"/>
              <a:gd name="T44" fmla="*/ 2406 w 5516"/>
              <a:gd name="T45" fmla="*/ 390 h 606"/>
              <a:gd name="T46" fmla="*/ 2234 w 5516"/>
              <a:gd name="T47" fmla="*/ 192 h 606"/>
              <a:gd name="T48" fmla="*/ 2478 w 5516"/>
              <a:gd name="T49" fmla="*/ 242 h 606"/>
              <a:gd name="T50" fmla="*/ 2928 w 5516"/>
              <a:gd name="T51" fmla="*/ 448 h 606"/>
              <a:gd name="T52" fmla="*/ 2958 w 5516"/>
              <a:gd name="T53" fmla="*/ 230 h 606"/>
              <a:gd name="T54" fmla="*/ 2716 w 5516"/>
              <a:gd name="T55" fmla="*/ 54 h 606"/>
              <a:gd name="T56" fmla="*/ 2714 w 5516"/>
              <a:gd name="T57" fmla="*/ 36 h 606"/>
              <a:gd name="T58" fmla="*/ 2928 w 5516"/>
              <a:gd name="T59" fmla="*/ 448 h 606"/>
              <a:gd name="T60" fmla="*/ 3388 w 5516"/>
              <a:gd name="T61" fmla="*/ 4 h 606"/>
              <a:gd name="T62" fmla="*/ 3396 w 5516"/>
              <a:gd name="T63" fmla="*/ 366 h 606"/>
              <a:gd name="T64" fmla="*/ 3580 w 5516"/>
              <a:gd name="T65" fmla="*/ 190 h 606"/>
              <a:gd name="T66" fmla="*/ 3502 w 5516"/>
              <a:gd name="T67" fmla="*/ 432 h 606"/>
              <a:gd name="T68" fmla="*/ 4232 w 5516"/>
              <a:gd name="T69" fmla="*/ 348 h 606"/>
              <a:gd name="T70" fmla="*/ 3858 w 5516"/>
              <a:gd name="T71" fmla="*/ 176 h 606"/>
              <a:gd name="T72" fmla="*/ 3758 w 5516"/>
              <a:gd name="T73" fmla="*/ 446 h 606"/>
              <a:gd name="T74" fmla="*/ 3990 w 5516"/>
              <a:gd name="T75" fmla="*/ 282 h 606"/>
              <a:gd name="T76" fmla="*/ 4042 w 5516"/>
              <a:gd name="T77" fmla="*/ 342 h 606"/>
              <a:gd name="T78" fmla="*/ 4134 w 5516"/>
              <a:gd name="T79" fmla="*/ 448 h 606"/>
              <a:gd name="T80" fmla="*/ 4454 w 5516"/>
              <a:gd name="T81" fmla="*/ 202 h 606"/>
              <a:gd name="T82" fmla="*/ 4284 w 5516"/>
              <a:gd name="T83" fmla="*/ 174 h 606"/>
              <a:gd name="T84" fmla="*/ 4432 w 5516"/>
              <a:gd name="T85" fmla="*/ 588 h 606"/>
              <a:gd name="T86" fmla="*/ 4792 w 5516"/>
              <a:gd name="T87" fmla="*/ 382 h 606"/>
              <a:gd name="T88" fmla="*/ 5192 w 5516"/>
              <a:gd name="T89" fmla="*/ 340 h 606"/>
              <a:gd name="T90" fmla="*/ 4902 w 5516"/>
              <a:gd name="T91" fmla="*/ 186 h 606"/>
              <a:gd name="T92" fmla="*/ 4850 w 5516"/>
              <a:gd name="T93" fmla="*/ 274 h 606"/>
              <a:gd name="T94" fmla="*/ 4742 w 5516"/>
              <a:gd name="T95" fmla="*/ 194 h 606"/>
              <a:gd name="T96" fmla="*/ 4794 w 5516"/>
              <a:gd name="T97" fmla="*/ 418 h 606"/>
              <a:gd name="T98" fmla="*/ 5004 w 5516"/>
              <a:gd name="T99" fmla="*/ 338 h 606"/>
              <a:gd name="T100" fmla="*/ 5098 w 5516"/>
              <a:gd name="T101" fmla="*/ 446 h 606"/>
              <a:gd name="T102" fmla="*/ 5418 w 5516"/>
              <a:gd name="T103" fmla="*/ 192 h 606"/>
              <a:gd name="T104" fmla="*/ 5348 w 5516"/>
              <a:gd name="T105" fmla="*/ 180 h 606"/>
              <a:gd name="T106" fmla="*/ 5254 w 5516"/>
              <a:gd name="T107" fmla="*/ 606 h 6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516" h="606">
                <a:moveTo>
                  <a:pt x="366" y="448"/>
                </a:moveTo>
                <a:cubicBezTo>
                  <a:pt x="524" y="448"/>
                  <a:pt x="524" y="448"/>
                  <a:pt x="524" y="448"/>
                </a:cubicBezTo>
                <a:cubicBezTo>
                  <a:pt x="524" y="436"/>
                  <a:pt x="524" y="436"/>
                  <a:pt x="524" y="436"/>
                </a:cubicBezTo>
                <a:cubicBezTo>
                  <a:pt x="486" y="432"/>
                  <a:pt x="470" y="414"/>
                  <a:pt x="468" y="362"/>
                </a:cubicBezTo>
                <a:cubicBezTo>
                  <a:pt x="454" y="86"/>
                  <a:pt x="454" y="86"/>
                  <a:pt x="454" y="86"/>
                </a:cubicBezTo>
                <a:cubicBezTo>
                  <a:pt x="452" y="46"/>
                  <a:pt x="470" y="30"/>
                  <a:pt x="504" y="26"/>
                </a:cubicBezTo>
                <a:cubicBezTo>
                  <a:pt x="504" y="12"/>
                  <a:pt x="504" y="12"/>
                  <a:pt x="504" y="12"/>
                </a:cubicBezTo>
                <a:cubicBezTo>
                  <a:pt x="394" y="12"/>
                  <a:pt x="394" y="12"/>
                  <a:pt x="394" y="12"/>
                </a:cubicBezTo>
                <a:cubicBezTo>
                  <a:pt x="264" y="350"/>
                  <a:pt x="264" y="350"/>
                  <a:pt x="264" y="350"/>
                </a:cubicBezTo>
                <a:cubicBezTo>
                  <a:pt x="132" y="10"/>
                  <a:pt x="132" y="10"/>
                  <a:pt x="132" y="10"/>
                </a:cubicBezTo>
                <a:cubicBezTo>
                  <a:pt x="18" y="10"/>
                  <a:pt x="18" y="10"/>
                  <a:pt x="18" y="10"/>
                </a:cubicBezTo>
                <a:cubicBezTo>
                  <a:pt x="18" y="22"/>
                  <a:pt x="18" y="22"/>
                  <a:pt x="18" y="22"/>
                </a:cubicBezTo>
                <a:cubicBezTo>
                  <a:pt x="40" y="26"/>
                  <a:pt x="74" y="32"/>
                  <a:pt x="72" y="84"/>
                </a:cubicBezTo>
                <a:cubicBezTo>
                  <a:pt x="58" y="352"/>
                  <a:pt x="58" y="352"/>
                  <a:pt x="58" y="352"/>
                </a:cubicBezTo>
                <a:cubicBezTo>
                  <a:pt x="54" y="410"/>
                  <a:pt x="38" y="430"/>
                  <a:pt x="0" y="436"/>
                </a:cubicBezTo>
                <a:cubicBezTo>
                  <a:pt x="0" y="448"/>
                  <a:pt x="0" y="448"/>
                  <a:pt x="0" y="448"/>
                </a:cubicBezTo>
                <a:cubicBezTo>
                  <a:pt x="140" y="448"/>
                  <a:pt x="140" y="448"/>
                  <a:pt x="140" y="448"/>
                </a:cubicBezTo>
                <a:cubicBezTo>
                  <a:pt x="140" y="436"/>
                  <a:pt x="140" y="436"/>
                  <a:pt x="140" y="436"/>
                </a:cubicBezTo>
                <a:cubicBezTo>
                  <a:pt x="98" y="428"/>
                  <a:pt x="84" y="414"/>
                  <a:pt x="88" y="356"/>
                </a:cubicBezTo>
                <a:cubicBezTo>
                  <a:pt x="100" y="86"/>
                  <a:pt x="100" y="86"/>
                  <a:pt x="100" y="86"/>
                </a:cubicBezTo>
                <a:cubicBezTo>
                  <a:pt x="240" y="444"/>
                  <a:pt x="240" y="444"/>
                  <a:pt x="240" y="444"/>
                </a:cubicBezTo>
                <a:cubicBezTo>
                  <a:pt x="258" y="444"/>
                  <a:pt x="258" y="444"/>
                  <a:pt x="258" y="444"/>
                </a:cubicBezTo>
                <a:cubicBezTo>
                  <a:pt x="396" y="86"/>
                  <a:pt x="396" y="86"/>
                  <a:pt x="396" y="86"/>
                </a:cubicBezTo>
                <a:cubicBezTo>
                  <a:pt x="408" y="372"/>
                  <a:pt x="408" y="372"/>
                  <a:pt x="408" y="372"/>
                </a:cubicBezTo>
                <a:cubicBezTo>
                  <a:pt x="410" y="416"/>
                  <a:pt x="398" y="430"/>
                  <a:pt x="366" y="434"/>
                </a:cubicBezTo>
                <a:lnTo>
                  <a:pt x="366" y="448"/>
                </a:lnTo>
                <a:close/>
                <a:moveTo>
                  <a:pt x="670" y="456"/>
                </a:moveTo>
                <a:cubicBezTo>
                  <a:pt x="708" y="456"/>
                  <a:pt x="756" y="440"/>
                  <a:pt x="782" y="412"/>
                </a:cubicBezTo>
                <a:cubicBezTo>
                  <a:pt x="776" y="400"/>
                  <a:pt x="776" y="400"/>
                  <a:pt x="776" y="400"/>
                </a:cubicBezTo>
                <a:cubicBezTo>
                  <a:pt x="750" y="416"/>
                  <a:pt x="722" y="422"/>
                  <a:pt x="696" y="422"/>
                </a:cubicBezTo>
                <a:cubicBezTo>
                  <a:pt x="620" y="422"/>
                  <a:pt x="592" y="358"/>
                  <a:pt x="592" y="290"/>
                </a:cubicBezTo>
                <a:cubicBezTo>
                  <a:pt x="592" y="258"/>
                  <a:pt x="600" y="236"/>
                  <a:pt x="614" y="222"/>
                </a:cubicBezTo>
                <a:cubicBezTo>
                  <a:pt x="626" y="210"/>
                  <a:pt x="646" y="204"/>
                  <a:pt x="664" y="204"/>
                </a:cubicBezTo>
                <a:cubicBezTo>
                  <a:pt x="690" y="204"/>
                  <a:pt x="722" y="214"/>
                  <a:pt x="744" y="244"/>
                </a:cubicBezTo>
                <a:cubicBezTo>
                  <a:pt x="750" y="244"/>
                  <a:pt x="750" y="244"/>
                  <a:pt x="750" y="244"/>
                </a:cubicBezTo>
                <a:cubicBezTo>
                  <a:pt x="758" y="234"/>
                  <a:pt x="766" y="212"/>
                  <a:pt x="768" y="196"/>
                </a:cubicBezTo>
                <a:cubicBezTo>
                  <a:pt x="748" y="180"/>
                  <a:pt x="720" y="172"/>
                  <a:pt x="686" y="172"/>
                </a:cubicBezTo>
                <a:cubicBezTo>
                  <a:pt x="604" y="172"/>
                  <a:pt x="544" y="246"/>
                  <a:pt x="544" y="326"/>
                </a:cubicBezTo>
                <a:cubicBezTo>
                  <a:pt x="540" y="390"/>
                  <a:pt x="576" y="456"/>
                  <a:pt x="670" y="456"/>
                </a:cubicBezTo>
                <a:moveTo>
                  <a:pt x="1272" y="98"/>
                </a:moveTo>
                <a:cubicBezTo>
                  <a:pt x="1292" y="98"/>
                  <a:pt x="1308" y="82"/>
                  <a:pt x="1308" y="62"/>
                </a:cubicBezTo>
                <a:cubicBezTo>
                  <a:pt x="1308" y="42"/>
                  <a:pt x="1292" y="26"/>
                  <a:pt x="1272" y="26"/>
                </a:cubicBezTo>
                <a:cubicBezTo>
                  <a:pt x="1252" y="26"/>
                  <a:pt x="1238" y="42"/>
                  <a:pt x="1238" y="62"/>
                </a:cubicBezTo>
                <a:cubicBezTo>
                  <a:pt x="1238" y="82"/>
                  <a:pt x="1252" y="98"/>
                  <a:pt x="1272" y="98"/>
                </a:cubicBezTo>
                <a:moveTo>
                  <a:pt x="1202" y="448"/>
                </a:moveTo>
                <a:cubicBezTo>
                  <a:pt x="1346" y="448"/>
                  <a:pt x="1346" y="448"/>
                  <a:pt x="1346" y="448"/>
                </a:cubicBezTo>
                <a:cubicBezTo>
                  <a:pt x="1346" y="436"/>
                  <a:pt x="1346" y="436"/>
                  <a:pt x="1346" y="436"/>
                </a:cubicBezTo>
                <a:cubicBezTo>
                  <a:pt x="1304" y="432"/>
                  <a:pt x="1302" y="434"/>
                  <a:pt x="1302" y="338"/>
                </a:cubicBezTo>
                <a:cubicBezTo>
                  <a:pt x="1302" y="176"/>
                  <a:pt x="1302" y="176"/>
                  <a:pt x="1302" y="176"/>
                </a:cubicBezTo>
                <a:cubicBezTo>
                  <a:pt x="1200" y="176"/>
                  <a:pt x="1200" y="176"/>
                  <a:pt x="1200" y="176"/>
                </a:cubicBezTo>
                <a:cubicBezTo>
                  <a:pt x="1200" y="188"/>
                  <a:pt x="1200" y="188"/>
                  <a:pt x="1200" y="188"/>
                </a:cubicBezTo>
                <a:cubicBezTo>
                  <a:pt x="1244" y="190"/>
                  <a:pt x="1250" y="192"/>
                  <a:pt x="1250" y="268"/>
                </a:cubicBezTo>
                <a:cubicBezTo>
                  <a:pt x="1250" y="336"/>
                  <a:pt x="1250" y="336"/>
                  <a:pt x="1250" y="336"/>
                </a:cubicBezTo>
                <a:cubicBezTo>
                  <a:pt x="1250" y="432"/>
                  <a:pt x="1248" y="432"/>
                  <a:pt x="1202" y="436"/>
                </a:cubicBezTo>
                <a:cubicBezTo>
                  <a:pt x="1178" y="434"/>
                  <a:pt x="1154" y="426"/>
                  <a:pt x="1076" y="338"/>
                </a:cubicBezTo>
                <a:cubicBezTo>
                  <a:pt x="1046" y="302"/>
                  <a:pt x="996" y="244"/>
                  <a:pt x="968" y="206"/>
                </a:cubicBezTo>
                <a:cubicBezTo>
                  <a:pt x="1062" y="102"/>
                  <a:pt x="1062" y="102"/>
                  <a:pt x="1062" y="102"/>
                </a:cubicBezTo>
                <a:cubicBezTo>
                  <a:pt x="1108" y="52"/>
                  <a:pt x="1132" y="26"/>
                  <a:pt x="1176" y="24"/>
                </a:cubicBezTo>
                <a:cubicBezTo>
                  <a:pt x="1176" y="10"/>
                  <a:pt x="1176" y="10"/>
                  <a:pt x="1176" y="10"/>
                </a:cubicBezTo>
                <a:cubicBezTo>
                  <a:pt x="1030" y="10"/>
                  <a:pt x="1030" y="10"/>
                  <a:pt x="1030" y="10"/>
                </a:cubicBezTo>
                <a:cubicBezTo>
                  <a:pt x="1030" y="22"/>
                  <a:pt x="1030" y="22"/>
                  <a:pt x="1030" y="22"/>
                </a:cubicBezTo>
                <a:cubicBezTo>
                  <a:pt x="1050" y="26"/>
                  <a:pt x="1056" y="32"/>
                  <a:pt x="1056" y="46"/>
                </a:cubicBezTo>
                <a:cubicBezTo>
                  <a:pt x="1056" y="56"/>
                  <a:pt x="1054" y="72"/>
                  <a:pt x="1026" y="102"/>
                </a:cubicBezTo>
                <a:cubicBezTo>
                  <a:pt x="910" y="230"/>
                  <a:pt x="910" y="230"/>
                  <a:pt x="910" y="230"/>
                </a:cubicBezTo>
                <a:cubicBezTo>
                  <a:pt x="910" y="148"/>
                  <a:pt x="910" y="148"/>
                  <a:pt x="910" y="148"/>
                </a:cubicBezTo>
                <a:cubicBezTo>
                  <a:pt x="910" y="36"/>
                  <a:pt x="916" y="28"/>
                  <a:pt x="960" y="22"/>
                </a:cubicBezTo>
                <a:cubicBezTo>
                  <a:pt x="960" y="8"/>
                  <a:pt x="960" y="8"/>
                  <a:pt x="960" y="8"/>
                </a:cubicBezTo>
                <a:cubicBezTo>
                  <a:pt x="804" y="8"/>
                  <a:pt x="804" y="8"/>
                  <a:pt x="804" y="8"/>
                </a:cubicBezTo>
                <a:cubicBezTo>
                  <a:pt x="804" y="22"/>
                  <a:pt x="804" y="22"/>
                  <a:pt x="804" y="22"/>
                </a:cubicBezTo>
                <a:cubicBezTo>
                  <a:pt x="852" y="26"/>
                  <a:pt x="854" y="36"/>
                  <a:pt x="854" y="148"/>
                </a:cubicBezTo>
                <a:cubicBezTo>
                  <a:pt x="854" y="300"/>
                  <a:pt x="854" y="300"/>
                  <a:pt x="854" y="300"/>
                </a:cubicBezTo>
                <a:cubicBezTo>
                  <a:pt x="854" y="422"/>
                  <a:pt x="850" y="430"/>
                  <a:pt x="804" y="434"/>
                </a:cubicBezTo>
                <a:cubicBezTo>
                  <a:pt x="804" y="446"/>
                  <a:pt x="804" y="446"/>
                  <a:pt x="804" y="446"/>
                </a:cubicBezTo>
                <a:cubicBezTo>
                  <a:pt x="960" y="446"/>
                  <a:pt x="960" y="446"/>
                  <a:pt x="960" y="446"/>
                </a:cubicBezTo>
                <a:cubicBezTo>
                  <a:pt x="960" y="434"/>
                  <a:pt x="960" y="434"/>
                  <a:pt x="960" y="434"/>
                </a:cubicBezTo>
                <a:cubicBezTo>
                  <a:pt x="910" y="428"/>
                  <a:pt x="910" y="424"/>
                  <a:pt x="910" y="292"/>
                </a:cubicBezTo>
                <a:cubicBezTo>
                  <a:pt x="910" y="268"/>
                  <a:pt x="910" y="268"/>
                  <a:pt x="910" y="268"/>
                </a:cubicBezTo>
                <a:cubicBezTo>
                  <a:pt x="930" y="246"/>
                  <a:pt x="930" y="246"/>
                  <a:pt x="930" y="246"/>
                </a:cubicBezTo>
                <a:cubicBezTo>
                  <a:pt x="982" y="310"/>
                  <a:pt x="1038" y="380"/>
                  <a:pt x="1098" y="448"/>
                </a:cubicBezTo>
                <a:cubicBezTo>
                  <a:pt x="1202" y="448"/>
                  <a:pt x="1202" y="448"/>
                  <a:pt x="1202" y="448"/>
                </a:cubicBezTo>
                <a:close/>
                <a:moveTo>
                  <a:pt x="1564" y="448"/>
                </a:moveTo>
                <a:cubicBezTo>
                  <a:pt x="1706" y="448"/>
                  <a:pt x="1706" y="448"/>
                  <a:pt x="1706" y="448"/>
                </a:cubicBezTo>
                <a:cubicBezTo>
                  <a:pt x="1706" y="436"/>
                  <a:pt x="1706" y="436"/>
                  <a:pt x="1706" y="436"/>
                </a:cubicBezTo>
                <a:cubicBezTo>
                  <a:pt x="1658" y="434"/>
                  <a:pt x="1658" y="432"/>
                  <a:pt x="1658" y="342"/>
                </a:cubicBezTo>
                <a:cubicBezTo>
                  <a:pt x="1658" y="280"/>
                  <a:pt x="1658" y="280"/>
                  <a:pt x="1658" y="280"/>
                </a:cubicBezTo>
                <a:cubicBezTo>
                  <a:pt x="1658" y="198"/>
                  <a:pt x="1612" y="172"/>
                  <a:pt x="1570" y="172"/>
                </a:cubicBezTo>
                <a:cubicBezTo>
                  <a:pt x="1534" y="172"/>
                  <a:pt x="1498" y="188"/>
                  <a:pt x="1470" y="224"/>
                </a:cubicBezTo>
                <a:cubicBezTo>
                  <a:pt x="1470" y="176"/>
                  <a:pt x="1470" y="176"/>
                  <a:pt x="1470" y="176"/>
                </a:cubicBezTo>
                <a:cubicBezTo>
                  <a:pt x="1368" y="176"/>
                  <a:pt x="1368" y="176"/>
                  <a:pt x="1368" y="176"/>
                </a:cubicBezTo>
                <a:cubicBezTo>
                  <a:pt x="1368" y="188"/>
                  <a:pt x="1368" y="188"/>
                  <a:pt x="1368" y="188"/>
                </a:cubicBezTo>
                <a:cubicBezTo>
                  <a:pt x="1412" y="190"/>
                  <a:pt x="1418" y="192"/>
                  <a:pt x="1418" y="268"/>
                </a:cubicBezTo>
                <a:cubicBezTo>
                  <a:pt x="1418" y="336"/>
                  <a:pt x="1418" y="336"/>
                  <a:pt x="1418" y="336"/>
                </a:cubicBezTo>
                <a:cubicBezTo>
                  <a:pt x="1418" y="434"/>
                  <a:pt x="1418" y="434"/>
                  <a:pt x="1370" y="436"/>
                </a:cubicBezTo>
                <a:cubicBezTo>
                  <a:pt x="1370" y="448"/>
                  <a:pt x="1370" y="448"/>
                  <a:pt x="1370" y="448"/>
                </a:cubicBezTo>
                <a:cubicBezTo>
                  <a:pt x="1514" y="448"/>
                  <a:pt x="1514" y="448"/>
                  <a:pt x="1514" y="448"/>
                </a:cubicBezTo>
                <a:cubicBezTo>
                  <a:pt x="1514" y="436"/>
                  <a:pt x="1514" y="436"/>
                  <a:pt x="1514" y="436"/>
                </a:cubicBezTo>
                <a:cubicBezTo>
                  <a:pt x="1472" y="432"/>
                  <a:pt x="1470" y="434"/>
                  <a:pt x="1470" y="338"/>
                </a:cubicBezTo>
                <a:cubicBezTo>
                  <a:pt x="1470" y="262"/>
                  <a:pt x="1470" y="262"/>
                  <a:pt x="1470" y="262"/>
                </a:cubicBezTo>
                <a:cubicBezTo>
                  <a:pt x="1470" y="236"/>
                  <a:pt x="1504" y="206"/>
                  <a:pt x="1546" y="206"/>
                </a:cubicBezTo>
                <a:cubicBezTo>
                  <a:pt x="1580" y="206"/>
                  <a:pt x="1606" y="220"/>
                  <a:pt x="1606" y="286"/>
                </a:cubicBezTo>
                <a:cubicBezTo>
                  <a:pt x="1606" y="340"/>
                  <a:pt x="1606" y="340"/>
                  <a:pt x="1606" y="340"/>
                </a:cubicBezTo>
                <a:cubicBezTo>
                  <a:pt x="1606" y="432"/>
                  <a:pt x="1602" y="432"/>
                  <a:pt x="1564" y="434"/>
                </a:cubicBezTo>
                <a:lnTo>
                  <a:pt x="1564" y="448"/>
                </a:lnTo>
                <a:close/>
                <a:moveTo>
                  <a:pt x="1776" y="222"/>
                </a:moveTo>
                <a:cubicBezTo>
                  <a:pt x="1776" y="200"/>
                  <a:pt x="1796" y="188"/>
                  <a:pt x="1822" y="188"/>
                </a:cubicBezTo>
                <a:cubicBezTo>
                  <a:pt x="1874" y="188"/>
                  <a:pt x="1896" y="236"/>
                  <a:pt x="1900" y="252"/>
                </a:cubicBezTo>
                <a:cubicBezTo>
                  <a:pt x="1912" y="252"/>
                  <a:pt x="1912" y="252"/>
                  <a:pt x="1912" y="252"/>
                </a:cubicBezTo>
                <a:cubicBezTo>
                  <a:pt x="1912" y="212"/>
                  <a:pt x="1908" y="188"/>
                  <a:pt x="1904" y="184"/>
                </a:cubicBezTo>
                <a:cubicBezTo>
                  <a:pt x="1900" y="180"/>
                  <a:pt x="1862" y="170"/>
                  <a:pt x="1824" y="170"/>
                </a:cubicBezTo>
                <a:cubicBezTo>
                  <a:pt x="1768" y="170"/>
                  <a:pt x="1734" y="206"/>
                  <a:pt x="1734" y="248"/>
                </a:cubicBezTo>
                <a:cubicBezTo>
                  <a:pt x="1734" y="340"/>
                  <a:pt x="1890" y="322"/>
                  <a:pt x="1890" y="396"/>
                </a:cubicBezTo>
                <a:cubicBezTo>
                  <a:pt x="1890" y="422"/>
                  <a:pt x="1866" y="436"/>
                  <a:pt x="1826" y="436"/>
                </a:cubicBezTo>
                <a:cubicBezTo>
                  <a:pt x="1788" y="436"/>
                  <a:pt x="1754" y="416"/>
                  <a:pt x="1744" y="366"/>
                </a:cubicBezTo>
                <a:cubicBezTo>
                  <a:pt x="1728" y="366"/>
                  <a:pt x="1728" y="366"/>
                  <a:pt x="1728" y="366"/>
                </a:cubicBezTo>
                <a:cubicBezTo>
                  <a:pt x="1728" y="386"/>
                  <a:pt x="1732" y="422"/>
                  <a:pt x="1734" y="428"/>
                </a:cubicBezTo>
                <a:cubicBezTo>
                  <a:pt x="1744" y="446"/>
                  <a:pt x="1788" y="454"/>
                  <a:pt x="1824" y="454"/>
                </a:cubicBezTo>
                <a:cubicBezTo>
                  <a:pt x="1888" y="454"/>
                  <a:pt x="1928" y="416"/>
                  <a:pt x="1928" y="372"/>
                </a:cubicBezTo>
                <a:cubicBezTo>
                  <a:pt x="1932" y="270"/>
                  <a:pt x="1776" y="286"/>
                  <a:pt x="1776" y="222"/>
                </a:cubicBezTo>
                <a:moveTo>
                  <a:pt x="2030" y="270"/>
                </a:moveTo>
                <a:cubicBezTo>
                  <a:pt x="2034" y="220"/>
                  <a:pt x="2058" y="192"/>
                  <a:pt x="2102" y="192"/>
                </a:cubicBezTo>
                <a:cubicBezTo>
                  <a:pt x="2144" y="192"/>
                  <a:pt x="2170" y="220"/>
                  <a:pt x="2172" y="270"/>
                </a:cubicBezTo>
                <a:lnTo>
                  <a:pt x="2030" y="270"/>
                </a:lnTo>
                <a:close/>
                <a:moveTo>
                  <a:pt x="2030" y="290"/>
                </a:moveTo>
                <a:cubicBezTo>
                  <a:pt x="2222" y="290"/>
                  <a:pt x="2222" y="290"/>
                  <a:pt x="2222" y="290"/>
                </a:cubicBezTo>
                <a:cubicBezTo>
                  <a:pt x="2226" y="228"/>
                  <a:pt x="2192" y="168"/>
                  <a:pt x="2114" y="168"/>
                </a:cubicBezTo>
                <a:cubicBezTo>
                  <a:pt x="2034" y="168"/>
                  <a:pt x="1982" y="232"/>
                  <a:pt x="1982" y="320"/>
                </a:cubicBezTo>
                <a:cubicBezTo>
                  <a:pt x="1982" y="388"/>
                  <a:pt x="2018" y="456"/>
                  <a:pt x="2112" y="456"/>
                </a:cubicBezTo>
                <a:cubicBezTo>
                  <a:pt x="2150" y="456"/>
                  <a:pt x="2198" y="440"/>
                  <a:pt x="2224" y="412"/>
                </a:cubicBezTo>
                <a:cubicBezTo>
                  <a:pt x="2218" y="400"/>
                  <a:pt x="2218" y="400"/>
                  <a:pt x="2218" y="400"/>
                </a:cubicBezTo>
                <a:cubicBezTo>
                  <a:pt x="2192" y="416"/>
                  <a:pt x="2164" y="422"/>
                  <a:pt x="2138" y="422"/>
                </a:cubicBezTo>
                <a:cubicBezTo>
                  <a:pt x="2058" y="420"/>
                  <a:pt x="2028" y="352"/>
                  <a:pt x="2030" y="290"/>
                </a:cubicBezTo>
                <a:moveTo>
                  <a:pt x="2478" y="242"/>
                </a:moveTo>
                <a:cubicBezTo>
                  <a:pt x="2490" y="206"/>
                  <a:pt x="2510" y="192"/>
                  <a:pt x="2528" y="192"/>
                </a:cubicBezTo>
                <a:cubicBezTo>
                  <a:pt x="2528" y="180"/>
                  <a:pt x="2528" y="180"/>
                  <a:pt x="2528" y="180"/>
                </a:cubicBezTo>
                <a:cubicBezTo>
                  <a:pt x="2430" y="180"/>
                  <a:pt x="2430" y="180"/>
                  <a:pt x="2430" y="180"/>
                </a:cubicBezTo>
                <a:cubicBezTo>
                  <a:pt x="2430" y="192"/>
                  <a:pt x="2430" y="192"/>
                  <a:pt x="2430" y="192"/>
                </a:cubicBezTo>
                <a:cubicBezTo>
                  <a:pt x="2454" y="194"/>
                  <a:pt x="2466" y="206"/>
                  <a:pt x="2458" y="234"/>
                </a:cubicBezTo>
                <a:cubicBezTo>
                  <a:pt x="2406" y="390"/>
                  <a:pt x="2406" y="390"/>
                  <a:pt x="2406" y="390"/>
                </a:cubicBezTo>
                <a:cubicBezTo>
                  <a:pt x="2354" y="270"/>
                  <a:pt x="2354" y="270"/>
                  <a:pt x="2354" y="270"/>
                </a:cubicBezTo>
                <a:cubicBezTo>
                  <a:pt x="2340" y="238"/>
                  <a:pt x="2334" y="224"/>
                  <a:pt x="2334" y="212"/>
                </a:cubicBezTo>
                <a:cubicBezTo>
                  <a:pt x="2334" y="202"/>
                  <a:pt x="2340" y="196"/>
                  <a:pt x="2360" y="192"/>
                </a:cubicBezTo>
                <a:cubicBezTo>
                  <a:pt x="2360" y="180"/>
                  <a:pt x="2360" y="180"/>
                  <a:pt x="2360" y="180"/>
                </a:cubicBezTo>
                <a:cubicBezTo>
                  <a:pt x="2234" y="180"/>
                  <a:pt x="2234" y="180"/>
                  <a:pt x="2234" y="180"/>
                </a:cubicBezTo>
                <a:cubicBezTo>
                  <a:pt x="2234" y="192"/>
                  <a:pt x="2234" y="192"/>
                  <a:pt x="2234" y="192"/>
                </a:cubicBezTo>
                <a:cubicBezTo>
                  <a:pt x="2266" y="194"/>
                  <a:pt x="2268" y="198"/>
                  <a:pt x="2310" y="292"/>
                </a:cubicBezTo>
                <a:cubicBezTo>
                  <a:pt x="2382" y="450"/>
                  <a:pt x="2382" y="450"/>
                  <a:pt x="2382" y="450"/>
                </a:cubicBezTo>
                <a:cubicBezTo>
                  <a:pt x="2358" y="512"/>
                  <a:pt x="2320" y="546"/>
                  <a:pt x="2242" y="564"/>
                </a:cubicBezTo>
                <a:cubicBezTo>
                  <a:pt x="2246" y="576"/>
                  <a:pt x="2260" y="600"/>
                  <a:pt x="2268" y="606"/>
                </a:cubicBezTo>
                <a:cubicBezTo>
                  <a:pt x="2370" y="564"/>
                  <a:pt x="2390" y="498"/>
                  <a:pt x="2426" y="396"/>
                </a:cubicBezTo>
                <a:lnTo>
                  <a:pt x="2478" y="242"/>
                </a:lnTo>
                <a:close/>
                <a:moveTo>
                  <a:pt x="2844" y="394"/>
                </a:moveTo>
                <a:cubicBezTo>
                  <a:pt x="2822" y="412"/>
                  <a:pt x="2782" y="416"/>
                  <a:pt x="2750" y="416"/>
                </a:cubicBezTo>
                <a:cubicBezTo>
                  <a:pt x="2670" y="416"/>
                  <a:pt x="2606" y="360"/>
                  <a:pt x="2606" y="284"/>
                </a:cubicBezTo>
                <a:cubicBezTo>
                  <a:pt x="2606" y="236"/>
                  <a:pt x="2626" y="206"/>
                  <a:pt x="2658" y="198"/>
                </a:cubicBezTo>
                <a:cubicBezTo>
                  <a:pt x="2698" y="266"/>
                  <a:pt x="2770" y="338"/>
                  <a:pt x="2844" y="394"/>
                </a:cubicBezTo>
                <a:moveTo>
                  <a:pt x="2928" y="448"/>
                </a:moveTo>
                <a:cubicBezTo>
                  <a:pt x="3022" y="448"/>
                  <a:pt x="3022" y="448"/>
                  <a:pt x="3022" y="448"/>
                </a:cubicBezTo>
                <a:cubicBezTo>
                  <a:pt x="3022" y="436"/>
                  <a:pt x="3022" y="436"/>
                  <a:pt x="3022" y="436"/>
                </a:cubicBezTo>
                <a:cubicBezTo>
                  <a:pt x="2992" y="432"/>
                  <a:pt x="2946" y="408"/>
                  <a:pt x="2896" y="372"/>
                </a:cubicBezTo>
                <a:cubicBezTo>
                  <a:pt x="2914" y="342"/>
                  <a:pt x="2918" y="300"/>
                  <a:pt x="2922" y="270"/>
                </a:cubicBezTo>
                <a:cubicBezTo>
                  <a:pt x="2926" y="244"/>
                  <a:pt x="2946" y="244"/>
                  <a:pt x="2958" y="242"/>
                </a:cubicBezTo>
                <a:cubicBezTo>
                  <a:pt x="2958" y="230"/>
                  <a:pt x="2958" y="230"/>
                  <a:pt x="2958" y="230"/>
                </a:cubicBezTo>
                <a:cubicBezTo>
                  <a:pt x="2834" y="230"/>
                  <a:pt x="2834" y="230"/>
                  <a:pt x="2834" y="230"/>
                </a:cubicBezTo>
                <a:cubicBezTo>
                  <a:pt x="2834" y="242"/>
                  <a:pt x="2834" y="242"/>
                  <a:pt x="2834" y="242"/>
                </a:cubicBezTo>
                <a:cubicBezTo>
                  <a:pt x="2864" y="246"/>
                  <a:pt x="2892" y="250"/>
                  <a:pt x="2892" y="294"/>
                </a:cubicBezTo>
                <a:cubicBezTo>
                  <a:pt x="2892" y="318"/>
                  <a:pt x="2888" y="342"/>
                  <a:pt x="2878" y="358"/>
                </a:cubicBezTo>
                <a:cubicBezTo>
                  <a:pt x="2770" y="274"/>
                  <a:pt x="2670" y="156"/>
                  <a:pt x="2670" y="96"/>
                </a:cubicBezTo>
                <a:cubicBezTo>
                  <a:pt x="2670" y="66"/>
                  <a:pt x="2688" y="54"/>
                  <a:pt x="2716" y="54"/>
                </a:cubicBezTo>
                <a:cubicBezTo>
                  <a:pt x="2752" y="54"/>
                  <a:pt x="2784" y="78"/>
                  <a:pt x="2800" y="124"/>
                </a:cubicBezTo>
                <a:cubicBezTo>
                  <a:pt x="2812" y="124"/>
                  <a:pt x="2812" y="124"/>
                  <a:pt x="2812" y="124"/>
                </a:cubicBezTo>
                <a:cubicBezTo>
                  <a:pt x="2810" y="42"/>
                  <a:pt x="2810" y="42"/>
                  <a:pt x="2810" y="42"/>
                </a:cubicBezTo>
                <a:cubicBezTo>
                  <a:pt x="2798" y="42"/>
                  <a:pt x="2798" y="42"/>
                  <a:pt x="2798" y="42"/>
                </a:cubicBezTo>
                <a:cubicBezTo>
                  <a:pt x="2798" y="48"/>
                  <a:pt x="2792" y="52"/>
                  <a:pt x="2788" y="52"/>
                </a:cubicBezTo>
                <a:cubicBezTo>
                  <a:pt x="2772" y="52"/>
                  <a:pt x="2752" y="36"/>
                  <a:pt x="2714" y="36"/>
                </a:cubicBezTo>
                <a:cubicBezTo>
                  <a:pt x="2672" y="36"/>
                  <a:pt x="2630" y="62"/>
                  <a:pt x="2630" y="118"/>
                </a:cubicBezTo>
                <a:cubicBezTo>
                  <a:pt x="2630" y="140"/>
                  <a:pt x="2636" y="160"/>
                  <a:pt x="2648" y="182"/>
                </a:cubicBezTo>
                <a:cubicBezTo>
                  <a:pt x="2592" y="200"/>
                  <a:pt x="2562" y="248"/>
                  <a:pt x="2562" y="304"/>
                </a:cubicBezTo>
                <a:cubicBezTo>
                  <a:pt x="2562" y="406"/>
                  <a:pt x="2640" y="460"/>
                  <a:pt x="2726" y="460"/>
                </a:cubicBezTo>
                <a:cubicBezTo>
                  <a:pt x="2780" y="460"/>
                  <a:pt x="2824" y="444"/>
                  <a:pt x="2862" y="410"/>
                </a:cubicBezTo>
                <a:cubicBezTo>
                  <a:pt x="2888" y="424"/>
                  <a:pt x="2912" y="442"/>
                  <a:pt x="2928" y="448"/>
                </a:cubicBezTo>
                <a:moveTo>
                  <a:pt x="3094" y="212"/>
                </a:moveTo>
                <a:cubicBezTo>
                  <a:pt x="3094" y="88"/>
                  <a:pt x="3154" y="20"/>
                  <a:pt x="3252" y="20"/>
                </a:cubicBezTo>
                <a:cubicBezTo>
                  <a:pt x="3328" y="20"/>
                  <a:pt x="3372" y="58"/>
                  <a:pt x="3392" y="134"/>
                </a:cubicBezTo>
                <a:cubicBezTo>
                  <a:pt x="3404" y="134"/>
                  <a:pt x="3404" y="134"/>
                  <a:pt x="3404" y="134"/>
                </a:cubicBezTo>
                <a:cubicBezTo>
                  <a:pt x="3400" y="4"/>
                  <a:pt x="3400" y="4"/>
                  <a:pt x="3400" y="4"/>
                </a:cubicBezTo>
                <a:cubicBezTo>
                  <a:pt x="3388" y="4"/>
                  <a:pt x="3388" y="4"/>
                  <a:pt x="3388" y="4"/>
                </a:cubicBezTo>
                <a:cubicBezTo>
                  <a:pt x="3384" y="14"/>
                  <a:pt x="3376" y="18"/>
                  <a:pt x="3364" y="18"/>
                </a:cubicBezTo>
                <a:cubicBezTo>
                  <a:pt x="3338" y="18"/>
                  <a:pt x="3314" y="0"/>
                  <a:pt x="3248" y="0"/>
                </a:cubicBezTo>
                <a:cubicBezTo>
                  <a:pt x="3118" y="0"/>
                  <a:pt x="3030" y="102"/>
                  <a:pt x="3030" y="242"/>
                </a:cubicBezTo>
                <a:cubicBezTo>
                  <a:pt x="3030" y="376"/>
                  <a:pt x="3110" y="460"/>
                  <a:pt x="3238" y="460"/>
                </a:cubicBezTo>
                <a:cubicBezTo>
                  <a:pt x="3320" y="460"/>
                  <a:pt x="3384" y="420"/>
                  <a:pt x="3408" y="380"/>
                </a:cubicBezTo>
                <a:cubicBezTo>
                  <a:pt x="3396" y="366"/>
                  <a:pt x="3396" y="366"/>
                  <a:pt x="3396" y="366"/>
                </a:cubicBezTo>
                <a:cubicBezTo>
                  <a:pt x="3370" y="402"/>
                  <a:pt x="3314" y="426"/>
                  <a:pt x="3256" y="426"/>
                </a:cubicBezTo>
                <a:cubicBezTo>
                  <a:pt x="3156" y="426"/>
                  <a:pt x="3094" y="340"/>
                  <a:pt x="3094" y="212"/>
                </a:cubicBezTo>
                <a:moveTo>
                  <a:pt x="3678" y="328"/>
                </a:moveTo>
                <a:cubicBezTo>
                  <a:pt x="3678" y="392"/>
                  <a:pt x="3650" y="430"/>
                  <a:pt x="3592" y="430"/>
                </a:cubicBezTo>
                <a:cubicBezTo>
                  <a:pt x="3542" y="430"/>
                  <a:pt x="3496" y="384"/>
                  <a:pt x="3496" y="292"/>
                </a:cubicBezTo>
                <a:cubicBezTo>
                  <a:pt x="3496" y="226"/>
                  <a:pt x="3528" y="190"/>
                  <a:pt x="3580" y="190"/>
                </a:cubicBezTo>
                <a:cubicBezTo>
                  <a:pt x="3628" y="192"/>
                  <a:pt x="3678" y="238"/>
                  <a:pt x="3678" y="328"/>
                </a:cubicBezTo>
                <a:moveTo>
                  <a:pt x="3732" y="312"/>
                </a:moveTo>
                <a:cubicBezTo>
                  <a:pt x="3732" y="260"/>
                  <a:pt x="3710" y="214"/>
                  <a:pt x="3672" y="190"/>
                </a:cubicBezTo>
                <a:cubicBezTo>
                  <a:pt x="3650" y="176"/>
                  <a:pt x="3620" y="168"/>
                  <a:pt x="3588" y="168"/>
                </a:cubicBezTo>
                <a:cubicBezTo>
                  <a:pt x="3502" y="168"/>
                  <a:pt x="3442" y="230"/>
                  <a:pt x="3442" y="310"/>
                </a:cubicBezTo>
                <a:cubicBezTo>
                  <a:pt x="3442" y="364"/>
                  <a:pt x="3464" y="408"/>
                  <a:pt x="3502" y="432"/>
                </a:cubicBezTo>
                <a:cubicBezTo>
                  <a:pt x="3524" y="446"/>
                  <a:pt x="3554" y="452"/>
                  <a:pt x="3586" y="452"/>
                </a:cubicBezTo>
                <a:cubicBezTo>
                  <a:pt x="3672" y="454"/>
                  <a:pt x="3732" y="394"/>
                  <a:pt x="3732" y="312"/>
                </a:cubicBezTo>
                <a:moveTo>
                  <a:pt x="4136" y="448"/>
                </a:moveTo>
                <a:cubicBezTo>
                  <a:pt x="4280" y="448"/>
                  <a:pt x="4280" y="448"/>
                  <a:pt x="4280" y="448"/>
                </a:cubicBezTo>
                <a:cubicBezTo>
                  <a:pt x="4280" y="436"/>
                  <a:pt x="4280" y="436"/>
                  <a:pt x="4280" y="436"/>
                </a:cubicBezTo>
                <a:cubicBezTo>
                  <a:pt x="4230" y="434"/>
                  <a:pt x="4232" y="426"/>
                  <a:pt x="4232" y="348"/>
                </a:cubicBezTo>
                <a:cubicBezTo>
                  <a:pt x="4232" y="276"/>
                  <a:pt x="4232" y="276"/>
                  <a:pt x="4232" y="276"/>
                </a:cubicBezTo>
                <a:cubicBezTo>
                  <a:pt x="4232" y="200"/>
                  <a:pt x="4190" y="172"/>
                  <a:pt x="4142" y="172"/>
                </a:cubicBezTo>
                <a:cubicBezTo>
                  <a:pt x="4098" y="172"/>
                  <a:pt x="4064" y="196"/>
                  <a:pt x="4038" y="232"/>
                </a:cubicBezTo>
                <a:cubicBezTo>
                  <a:pt x="4028" y="194"/>
                  <a:pt x="4000" y="172"/>
                  <a:pt x="3954" y="172"/>
                </a:cubicBezTo>
                <a:cubicBezTo>
                  <a:pt x="3916" y="172"/>
                  <a:pt x="3880" y="196"/>
                  <a:pt x="3858" y="224"/>
                </a:cubicBezTo>
                <a:cubicBezTo>
                  <a:pt x="3858" y="176"/>
                  <a:pt x="3858" y="176"/>
                  <a:pt x="3858" y="176"/>
                </a:cubicBezTo>
                <a:cubicBezTo>
                  <a:pt x="3756" y="176"/>
                  <a:pt x="3756" y="176"/>
                  <a:pt x="3756" y="176"/>
                </a:cubicBezTo>
                <a:cubicBezTo>
                  <a:pt x="3756" y="188"/>
                  <a:pt x="3756" y="188"/>
                  <a:pt x="3756" y="188"/>
                </a:cubicBezTo>
                <a:cubicBezTo>
                  <a:pt x="3800" y="190"/>
                  <a:pt x="3806" y="192"/>
                  <a:pt x="3806" y="268"/>
                </a:cubicBezTo>
                <a:cubicBezTo>
                  <a:pt x="3806" y="346"/>
                  <a:pt x="3806" y="346"/>
                  <a:pt x="3806" y="346"/>
                </a:cubicBezTo>
                <a:cubicBezTo>
                  <a:pt x="3806" y="434"/>
                  <a:pt x="3804" y="434"/>
                  <a:pt x="3758" y="434"/>
                </a:cubicBezTo>
                <a:cubicBezTo>
                  <a:pt x="3758" y="446"/>
                  <a:pt x="3758" y="446"/>
                  <a:pt x="3758" y="446"/>
                </a:cubicBezTo>
                <a:cubicBezTo>
                  <a:pt x="3902" y="446"/>
                  <a:pt x="3902" y="446"/>
                  <a:pt x="3902" y="446"/>
                </a:cubicBezTo>
                <a:cubicBezTo>
                  <a:pt x="3902" y="434"/>
                  <a:pt x="3902" y="434"/>
                  <a:pt x="3902" y="434"/>
                </a:cubicBezTo>
                <a:cubicBezTo>
                  <a:pt x="3862" y="430"/>
                  <a:pt x="3858" y="430"/>
                  <a:pt x="3858" y="342"/>
                </a:cubicBezTo>
                <a:cubicBezTo>
                  <a:pt x="3858" y="262"/>
                  <a:pt x="3858" y="262"/>
                  <a:pt x="3858" y="262"/>
                </a:cubicBezTo>
                <a:cubicBezTo>
                  <a:pt x="3858" y="234"/>
                  <a:pt x="3894" y="204"/>
                  <a:pt x="3932" y="204"/>
                </a:cubicBezTo>
                <a:cubicBezTo>
                  <a:pt x="3974" y="204"/>
                  <a:pt x="3990" y="226"/>
                  <a:pt x="3990" y="282"/>
                </a:cubicBezTo>
                <a:cubicBezTo>
                  <a:pt x="3990" y="338"/>
                  <a:pt x="3990" y="338"/>
                  <a:pt x="3990" y="338"/>
                </a:cubicBezTo>
                <a:cubicBezTo>
                  <a:pt x="3990" y="428"/>
                  <a:pt x="3988" y="432"/>
                  <a:pt x="3950" y="436"/>
                </a:cubicBezTo>
                <a:cubicBezTo>
                  <a:pt x="3950" y="448"/>
                  <a:pt x="3950" y="448"/>
                  <a:pt x="3950" y="448"/>
                </a:cubicBezTo>
                <a:cubicBezTo>
                  <a:pt x="4086" y="448"/>
                  <a:pt x="4086" y="448"/>
                  <a:pt x="4086" y="448"/>
                </a:cubicBezTo>
                <a:cubicBezTo>
                  <a:pt x="4086" y="436"/>
                  <a:pt x="4086" y="436"/>
                  <a:pt x="4086" y="436"/>
                </a:cubicBezTo>
                <a:cubicBezTo>
                  <a:pt x="4040" y="432"/>
                  <a:pt x="4042" y="428"/>
                  <a:pt x="4042" y="342"/>
                </a:cubicBezTo>
                <a:cubicBezTo>
                  <a:pt x="4042" y="264"/>
                  <a:pt x="4042" y="264"/>
                  <a:pt x="4042" y="264"/>
                </a:cubicBezTo>
                <a:cubicBezTo>
                  <a:pt x="4042" y="236"/>
                  <a:pt x="4078" y="206"/>
                  <a:pt x="4118" y="206"/>
                </a:cubicBezTo>
                <a:cubicBezTo>
                  <a:pt x="4152" y="206"/>
                  <a:pt x="4174" y="226"/>
                  <a:pt x="4174" y="284"/>
                </a:cubicBezTo>
                <a:cubicBezTo>
                  <a:pt x="4174" y="346"/>
                  <a:pt x="4174" y="346"/>
                  <a:pt x="4174" y="346"/>
                </a:cubicBezTo>
                <a:cubicBezTo>
                  <a:pt x="4174" y="428"/>
                  <a:pt x="4174" y="432"/>
                  <a:pt x="4134" y="436"/>
                </a:cubicBezTo>
                <a:cubicBezTo>
                  <a:pt x="4134" y="448"/>
                  <a:pt x="4134" y="448"/>
                  <a:pt x="4134" y="448"/>
                </a:cubicBezTo>
                <a:lnTo>
                  <a:pt x="4136" y="448"/>
                </a:lnTo>
                <a:close/>
                <a:moveTo>
                  <a:pt x="4546" y="316"/>
                </a:moveTo>
                <a:cubicBezTo>
                  <a:pt x="4546" y="388"/>
                  <a:pt x="4516" y="432"/>
                  <a:pt x="4460" y="432"/>
                </a:cubicBezTo>
                <a:cubicBezTo>
                  <a:pt x="4424" y="432"/>
                  <a:pt x="4384" y="412"/>
                  <a:pt x="4384" y="384"/>
                </a:cubicBezTo>
                <a:cubicBezTo>
                  <a:pt x="4384" y="248"/>
                  <a:pt x="4384" y="248"/>
                  <a:pt x="4384" y="248"/>
                </a:cubicBezTo>
                <a:cubicBezTo>
                  <a:pt x="4384" y="226"/>
                  <a:pt x="4416" y="202"/>
                  <a:pt x="4454" y="202"/>
                </a:cubicBezTo>
                <a:cubicBezTo>
                  <a:pt x="4510" y="206"/>
                  <a:pt x="4546" y="248"/>
                  <a:pt x="4546" y="316"/>
                </a:cubicBezTo>
                <a:moveTo>
                  <a:pt x="4600" y="310"/>
                </a:moveTo>
                <a:cubicBezTo>
                  <a:pt x="4600" y="230"/>
                  <a:pt x="4548" y="170"/>
                  <a:pt x="4478" y="170"/>
                </a:cubicBezTo>
                <a:cubicBezTo>
                  <a:pt x="4438" y="170"/>
                  <a:pt x="4406" y="188"/>
                  <a:pt x="4384" y="214"/>
                </a:cubicBezTo>
                <a:cubicBezTo>
                  <a:pt x="4384" y="174"/>
                  <a:pt x="4384" y="174"/>
                  <a:pt x="4384" y="174"/>
                </a:cubicBezTo>
                <a:cubicBezTo>
                  <a:pt x="4284" y="174"/>
                  <a:pt x="4284" y="174"/>
                  <a:pt x="4284" y="174"/>
                </a:cubicBezTo>
                <a:cubicBezTo>
                  <a:pt x="4284" y="186"/>
                  <a:pt x="4284" y="186"/>
                  <a:pt x="4284" y="186"/>
                </a:cubicBezTo>
                <a:cubicBezTo>
                  <a:pt x="4326" y="188"/>
                  <a:pt x="4332" y="190"/>
                  <a:pt x="4332" y="280"/>
                </a:cubicBezTo>
                <a:cubicBezTo>
                  <a:pt x="4332" y="466"/>
                  <a:pt x="4332" y="466"/>
                  <a:pt x="4332" y="466"/>
                </a:cubicBezTo>
                <a:cubicBezTo>
                  <a:pt x="4332" y="564"/>
                  <a:pt x="4334" y="570"/>
                  <a:pt x="4286" y="574"/>
                </a:cubicBezTo>
                <a:cubicBezTo>
                  <a:pt x="4286" y="588"/>
                  <a:pt x="4286" y="588"/>
                  <a:pt x="4286" y="588"/>
                </a:cubicBezTo>
                <a:cubicBezTo>
                  <a:pt x="4432" y="588"/>
                  <a:pt x="4432" y="588"/>
                  <a:pt x="4432" y="588"/>
                </a:cubicBezTo>
                <a:cubicBezTo>
                  <a:pt x="4432" y="574"/>
                  <a:pt x="4432" y="574"/>
                  <a:pt x="4432" y="574"/>
                </a:cubicBezTo>
                <a:cubicBezTo>
                  <a:pt x="4380" y="572"/>
                  <a:pt x="4384" y="564"/>
                  <a:pt x="4384" y="462"/>
                </a:cubicBezTo>
                <a:cubicBezTo>
                  <a:pt x="4384" y="424"/>
                  <a:pt x="4384" y="424"/>
                  <a:pt x="4384" y="424"/>
                </a:cubicBezTo>
                <a:cubicBezTo>
                  <a:pt x="4404" y="444"/>
                  <a:pt x="4436" y="454"/>
                  <a:pt x="4466" y="454"/>
                </a:cubicBezTo>
                <a:cubicBezTo>
                  <a:pt x="4548" y="454"/>
                  <a:pt x="4600" y="392"/>
                  <a:pt x="4600" y="310"/>
                </a:cubicBezTo>
                <a:moveTo>
                  <a:pt x="4792" y="382"/>
                </a:moveTo>
                <a:cubicBezTo>
                  <a:pt x="4792" y="404"/>
                  <a:pt x="4762" y="424"/>
                  <a:pt x="4736" y="424"/>
                </a:cubicBezTo>
                <a:cubicBezTo>
                  <a:pt x="4712" y="424"/>
                  <a:pt x="4694" y="410"/>
                  <a:pt x="4694" y="378"/>
                </a:cubicBezTo>
                <a:cubicBezTo>
                  <a:pt x="4694" y="322"/>
                  <a:pt x="4752" y="328"/>
                  <a:pt x="4792" y="306"/>
                </a:cubicBezTo>
                <a:cubicBezTo>
                  <a:pt x="4792" y="382"/>
                  <a:pt x="4792" y="382"/>
                  <a:pt x="4792" y="382"/>
                </a:cubicBezTo>
                <a:close/>
                <a:moveTo>
                  <a:pt x="5240" y="434"/>
                </a:moveTo>
                <a:cubicBezTo>
                  <a:pt x="5192" y="432"/>
                  <a:pt x="5192" y="430"/>
                  <a:pt x="5192" y="340"/>
                </a:cubicBezTo>
                <a:cubicBezTo>
                  <a:pt x="5192" y="278"/>
                  <a:pt x="5192" y="278"/>
                  <a:pt x="5192" y="278"/>
                </a:cubicBezTo>
                <a:cubicBezTo>
                  <a:pt x="5192" y="196"/>
                  <a:pt x="5146" y="170"/>
                  <a:pt x="5104" y="170"/>
                </a:cubicBezTo>
                <a:cubicBezTo>
                  <a:pt x="5068" y="170"/>
                  <a:pt x="5032" y="186"/>
                  <a:pt x="5004" y="222"/>
                </a:cubicBezTo>
                <a:cubicBezTo>
                  <a:pt x="5004" y="174"/>
                  <a:pt x="5004" y="174"/>
                  <a:pt x="5004" y="174"/>
                </a:cubicBezTo>
                <a:cubicBezTo>
                  <a:pt x="4902" y="174"/>
                  <a:pt x="4902" y="174"/>
                  <a:pt x="4902" y="174"/>
                </a:cubicBezTo>
                <a:cubicBezTo>
                  <a:pt x="4902" y="186"/>
                  <a:pt x="4902" y="186"/>
                  <a:pt x="4902" y="186"/>
                </a:cubicBezTo>
                <a:cubicBezTo>
                  <a:pt x="4946" y="188"/>
                  <a:pt x="4952" y="190"/>
                  <a:pt x="4952" y="266"/>
                </a:cubicBezTo>
                <a:cubicBezTo>
                  <a:pt x="4952" y="334"/>
                  <a:pt x="4952" y="334"/>
                  <a:pt x="4952" y="334"/>
                </a:cubicBezTo>
                <a:cubicBezTo>
                  <a:pt x="4952" y="430"/>
                  <a:pt x="4952" y="432"/>
                  <a:pt x="4904" y="434"/>
                </a:cubicBezTo>
                <a:cubicBezTo>
                  <a:pt x="4892" y="434"/>
                  <a:pt x="4892" y="434"/>
                  <a:pt x="4892" y="434"/>
                </a:cubicBezTo>
                <a:cubicBezTo>
                  <a:pt x="4854" y="434"/>
                  <a:pt x="4850" y="422"/>
                  <a:pt x="4850" y="366"/>
                </a:cubicBezTo>
                <a:cubicBezTo>
                  <a:pt x="4850" y="274"/>
                  <a:pt x="4850" y="274"/>
                  <a:pt x="4850" y="274"/>
                </a:cubicBezTo>
                <a:cubicBezTo>
                  <a:pt x="4850" y="256"/>
                  <a:pt x="4848" y="240"/>
                  <a:pt x="4844" y="228"/>
                </a:cubicBezTo>
                <a:cubicBezTo>
                  <a:pt x="4830" y="186"/>
                  <a:pt x="4796" y="170"/>
                  <a:pt x="4748" y="170"/>
                </a:cubicBezTo>
                <a:cubicBezTo>
                  <a:pt x="4718" y="170"/>
                  <a:pt x="4674" y="180"/>
                  <a:pt x="4650" y="202"/>
                </a:cubicBezTo>
                <a:cubicBezTo>
                  <a:pt x="4652" y="214"/>
                  <a:pt x="4664" y="240"/>
                  <a:pt x="4670" y="248"/>
                </a:cubicBezTo>
                <a:cubicBezTo>
                  <a:pt x="4676" y="246"/>
                  <a:pt x="4676" y="246"/>
                  <a:pt x="4676" y="246"/>
                </a:cubicBezTo>
                <a:cubicBezTo>
                  <a:pt x="4688" y="216"/>
                  <a:pt x="4708" y="194"/>
                  <a:pt x="4742" y="194"/>
                </a:cubicBezTo>
                <a:cubicBezTo>
                  <a:pt x="4778" y="194"/>
                  <a:pt x="4794" y="220"/>
                  <a:pt x="4794" y="250"/>
                </a:cubicBezTo>
                <a:cubicBezTo>
                  <a:pt x="4794" y="282"/>
                  <a:pt x="4794" y="282"/>
                  <a:pt x="4794" y="282"/>
                </a:cubicBezTo>
                <a:cubicBezTo>
                  <a:pt x="4794" y="302"/>
                  <a:pt x="4702" y="306"/>
                  <a:pt x="4664" y="338"/>
                </a:cubicBezTo>
                <a:cubicBezTo>
                  <a:pt x="4652" y="350"/>
                  <a:pt x="4642" y="364"/>
                  <a:pt x="4642" y="384"/>
                </a:cubicBezTo>
                <a:cubicBezTo>
                  <a:pt x="4642" y="426"/>
                  <a:pt x="4672" y="456"/>
                  <a:pt x="4716" y="456"/>
                </a:cubicBezTo>
                <a:cubicBezTo>
                  <a:pt x="4744" y="456"/>
                  <a:pt x="4768" y="446"/>
                  <a:pt x="4794" y="418"/>
                </a:cubicBezTo>
                <a:cubicBezTo>
                  <a:pt x="4798" y="438"/>
                  <a:pt x="4814" y="448"/>
                  <a:pt x="4842" y="448"/>
                </a:cubicBezTo>
                <a:cubicBezTo>
                  <a:pt x="4906" y="448"/>
                  <a:pt x="4906" y="448"/>
                  <a:pt x="4906" y="448"/>
                </a:cubicBezTo>
                <a:cubicBezTo>
                  <a:pt x="4906" y="448"/>
                  <a:pt x="4906" y="448"/>
                  <a:pt x="4906" y="448"/>
                </a:cubicBezTo>
                <a:cubicBezTo>
                  <a:pt x="5048" y="448"/>
                  <a:pt x="5048" y="448"/>
                  <a:pt x="5048" y="448"/>
                </a:cubicBezTo>
                <a:cubicBezTo>
                  <a:pt x="5048" y="436"/>
                  <a:pt x="5048" y="436"/>
                  <a:pt x="5048" y="436"/>
                </a:cubicBezTo>
                <a:cubicBezTo>
                  <a:pt x="5006" y="432"/>
                  <a:pt x="5004" y="434"/>
                  <a:pt x="5004" y="338"/>
                </a:cubicBezTo>
                <a:cubicBezTo>
                  <a:pt x="5004" y="262"/>
                  <a:pt x="5004" y="262"/>
                  <a:pt x="5004" y="262"/>
                </a:cubicBezTo>
                <a:cubicBezTo>
                  <a:pt x="5004" y="236"/>
                  <a:pt x="5038" y="206"/>
                  <a:pt x="5080" y="206"/>
                </a:cubicBezTo>
                <a:cubicBezTo>
                  <a:pt x="5114" y="206"/>
                  <a:pt x="5140" y="220"/>
                  <a:pt x="5140" y="286"/>
                </a:cubicBezTo>
                <a:cubicBezTo>
                  <a:pt x="5140" y="340"/>
                  <a:pt x="5140" y="340"/>
                  <a:pt x="5140" y="340"/>
                </a:cubicBezTo>
                <a:cubicBezTo>
                  <a:pt x="5140" y="432"/>
                  <a:pt x="5136" y="432"/>
                  <a:pt x="5098" y="434"/>
                </a:cubicBezTo>
                <a:cubicBezTo>
                  <a:pt x="5098" y="446"/>
                  <a:pt x="5098" y="446"/>
                  <a:pt x="5098" y="446"/>
                </a:cubicBezTo>
                <a:cubicBezTo>
                  <a:pt x="5240" y="446"/>
                  <a:pt x="5240" y="446"/>
                  <a:pt x="5240" y="446"/>
                </a:cubicBezTo>
                <a:lnTo>
                  <a:pt x="5240" y="434"/>
                </a:lnTo>
                <a:close/>
                <a:moveTo>
                  <a:pt x="5516" y="192"/>
                </a:moveTo>
                <a:cubicBezTo>
                  <a:pt x="5516" y="180"/>
                  <a:pt x="5516" y="180"/>
                  <a:pt x="5516" y="180"/>
                </a:cubicBezTo>
                <a:cubicBezTo>
                  <a:pt x="5418" y="180"/>
                  <a:pt x="5418" y="180"/>
                  <a:pt x="5418" y="180"/>
                </a:cubicBezTo>
                <a:cubicBezTo>
                  <a:pt x="5418" y="192"/>
                  <a:pt x="5418" y="192"/>
                  <a:pt x="5418" y="192"/>
                </a:cubicBezTo>
                <a:cubicBezTo>
                  <a:pt x="5442" y="194"/>
                  <a:pt x="5454" y="206"/>
                  <a:pt x="5446" y="234"/>
                </a:cubicBezTo>
                <a:cubicBezTo>
                  <a:pt x="5394" y="390"/>
                  <a:pt x="5394" y="390"/>
                  <a:pt x="5394" y="390"/>
                </a:cubicBezTo>
                <a:cubicBezTo>
                  <a:pt x="5342" y="270"/>
                  <a:pt x="5342" y="270"/>
                  <a:pt x="5342" y="270"/>
                </a:cubicBezTo>
                <a:cubicBezTo>
                  <a:pt x="5328" y="238"/>
                  <a:pt x="5322" y="224"/>
                  <a:pt x="5322" y="212"/>
                </a:cubicBezTo>
                <a:cubicBezTo>
                  <a:pt x="5322" y="202"/>
                  <a:pt x="5328" y="196"/>
                  <a:pt x="5348" y="192"/>
                </a:cubicBezTo>
                <a:cubicBezTo>
                  <a:pt x="5348" y="180"/>
                  <a:pt x="5348" y="180"/>
                  <a:pt x="5348" y="180"/>
                </a:cubicBezTo>
                <a:cubicBezTo>
                  <a:pt x="5220" y="180"/>
                  <a:pt x="5220" y="180"/>
                  <a:pt x="5220" y="180"/>
                </a:cubicBezTo>
                <a:cubicBezTo>
                  <a:pt x="5220" y="192"/>
                  <a:pt x="5220" y="192"/>
                  <a:pt x="5220" y="192"/>
                </a:cubicBezTo>
                <a:cubicBezTo>
                  <a:pt x="5252" y="194"/>
                  <a:pt x="5254" y="198"/>
                  <a:pt x="5296" y="292"/>
                </a:cubicBezTo>
                <a:cubicBezTo>
                  <a:pt x="5368" y="450"/>
                  <a:pt x="5368" y="450"/>
                  <a:pt x="5368" y="450"/>
                </a:cubicBezTo>
                <a:cubicBezTo>
                  <a:pt x="5344" y="512"/>
                  <a:pt x="5306" y="546"/>
                  <a:pt x="5228" y="564"/>
                </a:cubicBezTo>
                <a:cubicBezTo>
                  <a:pt x="5232" y="576"/>
                  <a:pt x="5246" y="600"/>
                  <a:pt x="5254" y="606"/>
                </a:cubicBezTo>
                <a:cubicBezTo>
                  <a:pt x="5356" y="564"/>
                  <a:pt x="5376" y="498"/>
                  <a:pt x="5412" y="396"/>
                </a:cubicBezTo>
                <a:cubicBezTo>
                  <a:pt x="5466" y="242"/>
                  <a:pt x="5466" y="242"/>
                  <a:pt x="5466" y="242"/>
                </a:cubicBezTo>
                <a:cubicBezTo>
                  <a:pt x="5478" y="206"/>
                  <a:pt x="5498" y="192"/>
                  <a:pt x="5516" y="192"/>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600" kern="1200">
                <a:solidFill>
                  <a:schemeClr val="tx1"/>
                </a:solidFill>
                <a:latin typeface="Arial" charset="0"/>
                <a:ea typeface="+mn-ea"/>
                <a:cs typeface="+mn-cs"/>
              </a:defRPr>
            </a:lvl1pPr>
            <a:lvl2pPr marL="457200" algn="l" rtl="0" fontAlgn="base">
              <a:spcBef>
                <a:spcPct val="0"/>
              </a:spcBef>
              <a:spcAft>
                <a:spcPct val="0"/>
              </a:spcAft>
              <a:defRPr sz="1600" kern="1200">
                <a:solidFill>
                  <a:schemeClr val="tx1"/>
                </a:solidFill>
                <a:latin typeface="Arial" charset="0"/>
                <a:ea typeface="+mn-ea"/>
                <a:cs typeface="+mn-cs"/>
              </a:defRPr>
            </a:lvl2pPr>
            <a:lvl3pPr marL="914400" algn="l" rtl="0" fontAlgn="base">
              <a:spcBef>
                <a:spcPct val="0"/>
              </a:spcBef>
              <a:spcAft>
                <a:spcPct val="0"/>
              </a:spcAft>
              <a:defRPr sz="1600" kern="1200">
                <a:solidFill>
                  <a:schemeClr val="tx1"/>
                </a:solidFill>
                <a:latin typeface="Arial" charset="0"/>
                <a:ea typeface="+mn-ea"/>
                <a:cs typeface="+mn-cs"/>
              </a:defRPr>
            </a:lvl3pPr>
            <a:lvl4pPr marL="1371600" algn="l" rtl="0" fontAlgn="base">
              <a:spcBef>
                <a:spcPct val="0"/>
              </a:spcBef>
              <a:spcAft>
                <a:spcPct val="0"/>
              </a:spcAft>
              <a:defRPr sz="1600" kern="1200">
                <a:solidFill>
                  <a:schemeClr val="tx1"/>
                </a:solidFill>
                <a:latin typeface="Arial" charset="0"/>
                <a:ea typeface="+mn-ea"/>
                <a:cs typeface="+mn-cs"/>
              </a:defRPr>
            </a:lvl4pPr>
            <a:lvl5pPr marL="1828800" algn="l" rtl="0" fontAlgn="base">
              <a:spcBef>
                <a:spcPct val="0"/>
              </a:spcBef>
              <a:spcAft>
                <a:spcPct val="0"/>
              </a:spcAft>
              <a:defRPr sz="1600" kern="1200">
                <a:solidFill>
                  <a:schemeClr val="tx1"/>
                </a:solidFill>
                <a:latin typeface="Arial" charset="0"/>
                <a:ea typeface="+mn-ea"/>
                <a:cs typeface="+mn-cs"/>
              </a:defRPr>
            </a:lvl5pPr>
            <a:lvl6pPr marL="2286000" algn="l" defTabSz="914400" rtl="0" eaLnBrk="1" latinLnBrk="0" hangingPunct="1">
              <a:defRPr sz="1600" kern="1200">
                <a:solidFill>
                  <a:schemeClr val="tx1"/>
                </a:solidFill>
                <a:latin typeface="Arial" charset="0"/>
                <a:ea typeface="+mn-ea"/>
                <a:cs typeface="+mn-cs"/>
              </a:defRPr>
            </a:lvl6pPr>
            <a:lvl7pPr marL="2743200" algn="l" defTabSz="914400" rtl="0" eaLnBrk="1" latinLnBrk="0" hangingPunct="1">
              <a:defRPr sz="1600" kern="1200">
                <a:solidFill>
                  <a:schemeClr val="tx1"/>
                </a:solidFill>
                <a:latin typeface="Arial" charset="0"/>
                <a:ea typeface="+mn-ea"/>
                <a:cs typeface="+mn-cs"/>
              </a:defRPr>
            </a:lvl7pPr>
            <a:lvl8pPr marL="3200400" algn="l" defTabSz="914400" rtl="0" eaLnBrk="1" latinLnBrk="0" hangingPunct="1">
              <a:defRPr sz="1600" kern="1200">
                <a:solidFill>
                  <a:schemeClr val="tx1"/>
                </a:solidFill>
                <a:latin typeface="Arial" charset="0"/>
                <a:ea typeface="+mn-ea"/>
                <a:cs typeface="+mn-cs"/>
              </a:defRPr>
            </a:lvl8pPr>
            <a:lvl9pPr marL="3657600" algn="l" defTabSz="914400" rtl="0" eaLnBrk="1" latinLnBrk="0" hangingPunct="1">
              <a:defRPr sz="1600" kern="1200">
                <a:solidFill>
                  <a:schemeClr val="tx1"/>
                </a:solidFill>
                <a:latin typeface="Arial" charset="0"/>
                <a:ea typeface="+mn-ea"/>
                <a:cs typeface="+mn-cs"/>
              </a:defRPr>
            </a:lvl9pPr>
          </a:lstStyle>
          <a:p>
            <a:endParaRPr lang="en-US" baseline="0" dirty="0">
              <a:solidFill>
                <a:srgbClr val="000000"/>
              </a:solidFill>
              <a:latin typeface="+mn-lt"/>
            </a:endParaRPr>
          </a:p>
        </p:txBody>
      </p:sp>
      <p:sp>
        <p:nvSpPr>
          <p:cNvPr id="27" name="Disclaimer-English (United States)" hidden="1"/>
          <p:cNvSpPr>
            <a:spLocks noChangeArrowheads="1"/>
          </p:cNvSpPr>
          <p:nvPr/>
        </p:nvSpPr>
        <p:spPr bwMode="black">
          <a:xfrm>
            <a:off x="2268266" y="6287785"/>
            <a:ext cx="3544453" cy="36908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t" anchorCtr="0">
            <a:noAutofit/>
          </a:bodyPr>
          <a:lstStyle/>
          <a:p>
            <a:pPr defTabSz="804863" eaLnBrk="0" hangingPunct="0"/>
            <a:r>
              <a:rPr lang="en-US" sz="800" baseline="0" dirty="0">
                <a:solidFill>
                  <a:srgbClr val="FFFFFF"/>
                </a:solidFill>
                <a:latin typeface="+mn-lt"/>
              </a:rPr>
              <a:t>CONFIDENTIAL AND PROPRIETARY</a:t>
            </a:r>
          </a:p>
          <a:p>
            <a:pPr defTabSz="804863" eaLnBrk="0" hangingPunct="0"/>
            <a:r>
              <a:rPr lang="en-US" sz="800" baseline="0" dirty="0">
                <a:solidFill>
                  <a:srgbClr val="FFFFFF"/>
                </a:solidFill>
                <a:latin typeface="+mn-lt"/>
              </a:rPr>
              <a:t>Any use of this material without specific permission of McKinsey &amp; Company is strictly prohibited</a:t>
            </a:r>
          </a:p>
        </p:txBody>
      </p:sp>
    </p:spTree>
    <p:extLst>
      <p:ext uri="{BB962C8B-B14F-4D97-AF65-F5344CB8AC3E}">
        <p14:creationId xmlns:p14="http://schemas.microsoft.com/office/powerpoint/2010/main" val="3599197745"/>
      </p:ext>
    </p:extLst>
  </p:cSld>
  <p:clrMapOvr>
    <a:masterClrMapping/>
  </p:clrMapOvr>
  <p:extLst mod="1">
    <p:ext uri="{DCECCB84-F9BA-43D5-87BE-67443E8EF086}">
      <p15:sldGuideLst xmlns:p15="http://schemas.microsoft.com/office/powerpoint/2012/main">
        <p15:guide id="1" orient="horz" pos="2117">
          <p15:clr>
            <a:srgbClr val="FBAE40"/>
          </p15:clr>
        </p15:guide>
        <p15:guide id="2" pos="1416">
          <p15:clr>
            <a:srgbClr val="FBAE4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6E228F5-5CF1-42E1-9748-97D7582A107A}"/>
              </a:ext>
            </a:extLst>
          </p:cNvPr>
          <p:cNvGraphicFramePr>
            <a:graphicFrameLocks noChangeAspect="1"/>
          </p:cNvGraphicFramePr>
          <p:nvPr>
            <p:custDataLst>
              <p:tags r:id="rId2"/>
            </p:custDataLst>
            <p:extLst>
              <p:ext uri="{D42A27DB-BD31-4B8C-83A1-F6EECF244321}">
                <p14:modId xmlns:p14="http://schemas.microsoft.com/office/powerpoint/2010/main" val="182791817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5252" name="think-cell Slide" r:id="rId5" imgW="353" imgH="353" progId="TCLayout.ActiveDocument.1">
                  <p:embed/>
                </p:oleObj>
              </mc:Choice>
              <mc:Fallback>
                <p:oleObj name="think-cell Slide" r:id="rId5" imgW="353" imgH="353" progId="TCLayout.ActiveDocument.1">
                  <p:embed/>
                  <p:pic>
                    <p:nvPicPr>
                      <p:cNvPr id="3" name="Object 2" hidden="1">
                        <a:extLst>
                          <a:ext uri="{FF2B5EF4-FFF2-40B4-BE49-F238E27FC236}">
                            <a16:creationId xmlns:a16="http://schemas.microsoft.com/office/drawing/2014/main" id="{C6E228F5-5CF1-42E1-9748-97D7582A107A}"/>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2. Slide Title"/>
          <p:cNvSpPr>
            <a:spLocks noGrp="1"/>
          </p:cNvSpPr>
          <p:nvPr>
            <p:ph type="title"/>
          </p:nvPr>
        </p:nvSpPr>
        <p:spPr bwMode="auto"/>
        <p:txBody>
          <a:bodyPr/>
          <a:lstStyle/>
          <a:p>
            <a:r>
              <a:rPr lang="en-US"/>
              <a:t>Click to edit Master title style</a:t>
            </a:r>
            <a:endParaRPr lang="en-US" dirty="0"/>
          </a:p>
        </p:txBody>
      </p:sp>
      <p:sp>
        <p:nvSpPr>
          <p:cNvPr id="8" name="Slide Number"/>
          <p:cNvSpPr txBox="1">
            <a:spLocks/>
          </p:cNvSpPr>
          <p:nvPr/>
        </p:nvSpPr>
        <p:spPr bwMode="auto">
          <a:xfrm>
            <a:off x="8564563" y="6508272"/>
            <a:ext cx="125034" cy="123111"/>
          </a:xfrm>
          <a:prstGeom prst="rect">
            <a:avLst/>
          </a:prstGeom>
        </p:spPr>
        <p:txBody>
          <a:bodyPr vert="horz" wrap="none" lIns="0" tIns="0" rIns="0" bIns="0" rtlCol="0" anchor="ctr">
            <a:spAutoFit/>
          </a:bodyPr>
          <a:lstStyle>
            <a:defPPr>
              <a:defRPr lang="en-US"/>
            </a:defPPr>
            <a:lvl1pPr>
              <a:defRPr sz="1000" baseline="0">
                <a:latin typeface="+mn-lt"/>
              </a:defRPr>
            </a:lvl1pPr>
          </a:lstStyle>
          <a:p>
            <a:fld id="{42C328C1-A84F-4A39-A664-DBA00541A8C6}" type="slidenum">
              <a:rPr lang="en-US" sz="800" baseline="0" smtClean="0">
                <a:solidFill>
                  <a:srgbClr val="808080"/>
                </a:solidFill>
                <a:latin typeface="+mn-lt"/>
              </a:rPr>
              <a:pPr/>
              <a:t>‹#›</a:t>
            </a:fld>
            <a:endParaRPr lang="en-US" sz="800" baseline="0" dirty="0">
              <a:solidFill>
                <a:srgbClr val="808080"/>
              </a:solidFill>
              <a:latin typeface="+mn-lt"/>
            </a:endParaRPr>
          </a:p>
        </p:txBody>
      </p:sp>
      <p:sp>
        <p:nvSpPr>
          <p:cNvPr id="9" name="SlideLogoText"/>
          <p:cNvSpPr>
            <a:spLocks noChangeArrowheads="1"/>
          </p:cNvSpPr>
          <p:nvPr>
            <p:custDataLst>
              <p:tags r:id="rId3"/>
            </p:custDataLst>
          </p:nvPr>
        </p:nvSpPr>
        <p:spPr bwMode="auto">
          <a:xfrm>
            <a:off x="7450817" y="6508272"/>
            <a:ext cx="1013098"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algn="r" defTabSz="895350"/>
            <a:r>
              <a:rPr lang="en-US" sz="800" baseline="0" dirty="0">
                <a:solidFill>
                  <a:srgbClr val="808080"/>
                </a:solidFill>
                <a:latin typeface="+mn-lt"/>
              </a:rPr>
              <a:t>McKinsey &amp; Company</a:t>
            </a:r>
          </a:p>
        </p:txBody>
      </p:sp>
      <p:sp>
        <p:nvSpPr>
          <p:cNvPr id="5" name="doc id" hidden="1"/>
          <p:cNvSpPr txBox="1">
            <a:spLocks noChangeArrowheads="1"/>
          </p:cNvSpPr>
          <p:nvPr/>
        </p:nvSpPr>
        <p:spPr bwMode="white">
          <a:xfrm>
            <a:off x="8104473" y="36513"/>
            <a:ext cx="634716" cy="115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hangingPunct="1">
              <a:defRPr/>
            </a:pPr>
            <a:endParaRPr lang="en-US" sz="800" baseline="0" dirty="0">
              <a:solidFill>
                <a:schemeClr val="accent1"/>
              </a:solidFill>
              <a:latin typeface="+mn-lt"/>
              <a:ea typeface="+mn-ea"/>
            </a:endParaRPr>
          </a:p>
        </p:txBody>
      </p:sp>
    </p:spTree>
    <p:extLst>
      <p:ext uri="{BB962C8B-B14F-4D97-AF65-F5344CB8AC3E}">
        <p14:creationId xmlns:p14="http://schemas.microsoft.com/office/powerpoint/2010/main" val="1371937414"/>
      </p:ext>
    </p:extLst>
  </p:cSld>
  <p:clrMapOvr>
    <a:masterClrMapping/>
  </p:clrMapOvr>
  <p:extLst mod="1">
    <p:ext uri="{DCECCB84-F9BA-43D5-87BE-67443E8EF086}">
      <p15:sldGuideLst xmlns:p15="http://schemas.microsoft.com/office/powerpoint/2012/main">
        <p15:guide id="1" pos="5505">
          <p15:clr>
            <a:srgbClr val="F26B43"/>
          </p15:clr>
        </p15:guide>
        <p15:guide id="2" pos="74">
          <p15:clr>
            <a:srgbClr val="F26B43"/>
          </p15:clr>
        </p15:guide>
        <p15:guide id="3" orient="horz" pos="571">
          <p15:clr>
            <a:srgbClr val="F26B43"/>
          </p15:clr>
        </p15:guide>
        <p15:guide id="4" orient="horz" pos="3911">
          <p15:clr>
            <a:srgbClr val="F26B43"/>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1_Title Only">
    <p:bg>
      <p:bgPr>
        <a:solidFill>
          <a:schemeClr val="accent2"/>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F4AD34F-3B47-47E2-A09C-FFEB949F6A10}"/>
              </a:ext>
            </a:extLst>
          </p:cNvPr>
          <p:cNvGraphicFramePr>
            <a:graphicFrameLocks noChangeAspect="1"/>
          </p:cNvGraphicFramePr>
          <p:nvPr>
            <p:custDataLst>
              <p:tags r:id="rId2"/>
            </p:custDataLst>
            <p:extLst>
              <p:ext uri="{D42A27DB-BD31-4B8C-83A1-F6EECF244321}">
                <p14:modId xmlns:p14="http://schemas.microsoft.com/office/powerpoint/2010/main" val="378225940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6276" name="think-cell Slide" r:id="rId5" imgW="395" imgH="394" progId="TCLayout.ActiveDocument.1">
                  <p:embed/>
                </p:oleObj>
              </mc:Choice>
              <mc:Fallback>
                <p:oleObj name="think-cell Slide" r:id="rId5" imgW="395" imgH="394" progId="TCLayout.ActiveDocument.1">
                  <p:embed/>
                  <p:pic>
                    <p:nvPicPr>
                      <p:cNvPr id="3" name="Object 2" hidden="1">
                        <a:extLst>
                          <a:ext uri="{FF2B5EF4-FFF2-40B4-BE49-F238E27FC236}">
                            <a16:creationId xmlns:a16="http://schemas.microsoft.com/office/drawing/2014/main" id="{EF4AD34F-3B47-47E2-A09C-FFEB949F6A10}"/>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endParaRPr lang="en-US" dirty="0"/>
          </a:p>
        </p:txBody>
      </p:sp>
      <p:sp>
        <p:nvSpPr>
          <p:cNvPr id="15" name="Slide Number"/>
          <p:cNvSpPr txBox="1">
            <a:spLocks/>
          </p:cNvSpPr>
          <p:nvPr/>
        </p:nvSpPr>
        <p:spPr>
          <a:xfrm>
            <a:off x="8564563" y="6508272"/>
            <a:ext cx="125034" cy="123111"/>
          </a:xfrm>
          <a:prstGeom prst="rect">
            <a:avLst/>
          </a:prstGeom>
        </p:spPr>
        <p:txBody>
          <a:bodyPr vert="horz" wrap="none" lIns="0" tIns="0" rIns="0" bIns="0" rtlCol="0" anchor="ctr">
            <a:spAutoFit/>
          </a:bodyPr>
          <a:lstStyle>
            <a:defPPr>
              <a:defRPr lang="en-US"/>
            </a:defPPr>
            <a:lvl1pPr>
              <a:defRPr sz="1000" baseline="0">
                <a:latin typeface="+mn-lt"/>
              </a:defRPr>
            </a:lvl1pPr>
          </a:lstStyle>
          <a:p>
            <a:fld id="{42C328C1-A84F-4A39-A664-DBA00541A8C6}" type="slidenum">
              <a:rPr lang="en-US" sz="800" baseline="0" smtClean="0">
                <a:solidFill>
                  <a:srgbClr val="FFFFFF"/>
                </a:solidFill>
                <a:latin typeface="+mn-lt"/>
              </a:rPr>
              <a:pPr/>
              <a:t>‹#›</a:t>
            </a:fld>
            <a:endParaRPr lang="en-US" sz="800" baseline="0" dirty="0">
              <a:solidFill>
                <a:srgbClr val="FFFFFF"/>
              </a:solidFill>
              <a:latin typeface="+mn-lt"/>
            </a:endParaRPr>
          </a:p>
        </p:txBody>
      </p:sp>
      <p:sp>
        <p:nvSpPr>
          <p:cNvPr id="16" name="SlideLogoText"/>
          <p:cNvSpPr>
            <a:spLocks noChangeArrowheads="1"/>
          </p:cNvSpPr>
          <p:nvPr>
            <p:custDataLst>
              <p:tags r:id="rId3"/>
            </p:custDataLst>
          </p:nvPr>
        </p:nvSpPr>
        <p:spPr bwMode="auto">
          <a:xfrm>
            <a:off x="7450817" y="6508272"/>
            <a:ext cx="1013098"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algn="r" defTabSz="895350"/>
            <a:r>
              <a:rPr lang="en-US" sz="800" baseline="0" dirty="0">
                <a:solidFill>
                  <a:srgbClr val="FFFFFF"/>
                </a:solidFill>
                <a:latin typeface="+mn-lt"/>
              </a:rPr>
              <a:t>McKinsey &amp; Company</a:t>
            </a:r>
          </a:p>
        </p:txBody>
      </p:sp>
      <p:sp>
        <p:nvSpPr>
          <p:cNvPr id="5" name="doc id" hidden="1"/>
          <p:cNvSpPr txBox="1">
            <a:spLocks noChangeArrowheads="1"/>
          </p:cNvSpPr>
          <p:nvPr/>
        </p:nvSpPr>
        <p:spPr bwMode="white">
          <a:xfrm>
            <a:off x="8104473" y="36513"/>
            <a:ext cx="634716" cy="115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hangingPunct="1">
              <a:defRPr/>
            </a:pPr>
            <a:endParaRPr lang="en-US" sz="800" baseline="0" dirty="0">
              <a:solidFill>
                <a:schemeClr val="accent1"/>
              </a:solidFill>
              <a:latin typeface="+mn-lt"/>
              <a:ea typeface="+mn-ea"/>
            </a:endParaRPr>
          </a:p>
        </p:txBody>
      </p:sp>
    </p:spTree>
    <p:extLst>
      <p:ext uri="{BB962C8B-B14F-4D97-AF65-F5344CB8AC3E}">
        <p14:creationId xmlns:p14="http://schemas.microsoft.com/office/powerpoint/2010/main" val="2483183192"/>
      </p:ext>
    </p:extLst>
  </p:cSld>
  <p:clrMapOvr>
    <a:masterClrMapping/>
  </p:clrMapOvr>
  <p:extLst mod="1">
    <p:ext uri="{DCECCB84-F9BA-43D5-87BE-67443E8EF086}">
      <p15:sldGuideLst xmlns:p15="http://schemas.microsoft.com/office/powerpoint/2012/main">
        <p15:guide id="1" pos="3978">
          <p15:clr>
            <a:srgbClr val="000000"/>
          </p15:clr>
        </p15:guide>
        <p15:guide id="2" orient="horz" pos="570">
          <p15:clr>
            <a:srgbClr val="000000"/>
          </p15:clr>
        </p15:guide>
        <p15:guide id="3" orient="horz" pos="3912">
          <p15:clr>
            <a:srgbClr val="000000"/>
          </p15:clr>
        </p15:guide>
        <p15:guide id="4" pos="72">
          <p15:clr>
            <a:srgbClr val="00000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type="titleOnly">
  <p:cSld name="2_Title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ECD524A-1569-4253-8CD8-48D288AD883C}"/>
              </a:ext>
            </a:extLst>
          </p:cNvPr>
          <p:cNvGraphicFramePr>
            <a:graphicFrameLocks noChangeAspect="1"/>
          </p:cNvGraphicFramePr>
          <p:nvPr>
            <p:custDataLst>
              <p:tags r:id="rId2"/>
            </p:custDataLst>
            <p:extLst>
              <p:ext uri="{D42A27DB-BD31-4B8C-83A1-F6EECF244321}">
                <p14:modId xmlns:p14="http://schemas.microsoft.com/office/powerpoint/2010/main" val="157775951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7300" name="think-cell Slide" r:id="rId4" imgW="395" imgH="394" progId="TCLayout.ActiveDocument.1">
                  <p:embed/>
                </p:oleObj>
              </mc:Choice>
              <mc:Fallback>
                <p:oleObj name="think-cell Slide" r:id="rId4" imgW="395" imgH="394" progId="TCLayout.ActiveDocument.1">
                  <p:embed/>
                  <p:pic>
                    <p:nvPicPr>
                      <p:cNvPr id="3" name="Object 2" hidden="1">
                        <a:extLst>
                          <a:ext uri="{FF2B5EF4-FFF2-40B4-BE49-F238E27FC236}">
                            <a16:creationId xmlns:a16="http://schemas.microsoft.com/office/drawing/2014/main" id="{5ECD524A-1569-4253-8CD8-48D288AD883C}"/>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078842106"/>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pic>
        <p:nvPicPr>
          <p:cNvPr id="2" name="background"/>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0" y="198"/>
            <a:ext cx="8961438" cy="6721079"/>
          </a:xfrm>
          <a:prstGeom prst="rect">
            <a:avLst/>
          </a:prstGeom>
        </p:spPr>
      </p:pic>
      <p:sp>
        <p:nvSpPr>
          <p:cNvPr id="28" name="TitleRectangle"/>
          <p:cNvSpPr txBox="1">
            <a:spLocks/>
          </p:cNvSpPr>
          <p:nvPr/>
        </p:nvSpPr>
        <p:spPr>
          <a:xfrm>
            <a:off x="2084388" y="0"/>
            <a:ext cx="6875462" cy="3575976"/>
          </a:xfrm>
          <a:prstGeom prst="rect">
            <a:avLst/>
          </a:prstGeom>
          <a:solidFill>
            <a:srgbClr val="002960">
              <a:alpha val="92000"/>
            </a:srgbClr>
          </a:solidFill>
        </p:spPr>
        <p:txBody>
          <a:bodyPr vert="horz" wrap="square" lIns="216000" tIns="1440000" rIns="216000" bIns="108000" rtlCol="0">
            <a:noAutofit/>
          </a:bodyPr>
          <a:lstStyle>
            <a:lvl1pPr marL="0" indent="0" algn="l" defTabSz="914400" rtl="0" eaLnBrk="1" latinLnBrk="0" hangingPunct="1">
              <a:spcBef>
                <a:spcPct val="20000"/>
              </a:spcBef>
              <a:spcAft>
                <a:spcPts val="6000"/>
              </a:spcAft>
              <a:buFont typeface="Arial" pitchFamily="34" charset="0"/>
              <a:buNone/>
              <a:defRPr sz="3200" kern="1200">
                <a:solidFill>
                  <a:schemeClr val="accent1"/>
                </a:solidFill>
                <a:latin typeface="+mn-lt"/>
                <a:ea typeface="+mn-ea"/>
                <a:cs typeface="+mn-cs"/>
              </a:defRPr>
            </a:lvl1pPr>
            <a:lvl2pPr marL="0" indent="0" algn="l" defTabSz="914400" rtl="0" eaLnBrk="1" latinLnBrk="0" hangingPunct="1">
              <a:spcBef>
                <a:spcPct val="20000"/>
              </a:spcBef>
              <a:buFont typeface="Wingdings" charset="2"/>
              <a:buNone/>
              <a:defRPr sz="1400" kern="1200">
                <a:solidFill>
                  <a:schemeClr val="tx1">
                    <a:lumMod val="50000"/>
                    <a:lumOff val="50000"/>
                  </a:schemeClr>
                </a:solidFill>
                <a:latin typeface="+mn-lt"/>
                <a:ea typeface="+mn-ea"/>
                <a:cs typeface="+mn-cs"/>
              </a:defRPr>
            </a:lvl2pPr>
            <a:lvl3pPr marL="1143000" indent="-228600" algn="l" defTabSz="914400" rtl="0" eaLnBrk="1" latinLnBrk="0" hangingPunct="1">
              <a:spcBef>
                <a:spcPct val="20000"/>
              </a:spcBef>
              <a:buFont typeface="Lucida Grande"/>
              <a:buChar char="–"/>
              <a:defRPr sz="16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fontAlgn="auto">
              <a:defRPr/>
            </a:pPr>
            <a:r>
              <a:rPr lang="en-US" baseline="0" dirty="0">
                <a:solidFill>
                  <a:srgbClr val="00ADEF"/>
                </a:solidFill>
                <a:latin typeface="+mn-lt"/>
              </a:rPr>
              <a:t>
              </a:t>
            </a:r>
            <a:br>
              <a:rPr lang="en-US" baseline="0" dirty="0">
                <a:solidFill>
                  <a:srgbClr val="00ADEF"/>
                </a:solidFill>
                <a:latin typeface="+mn-lt"/>
              </a:rPr>
            </a:br>
            <a:endParaRPr lang="en-US" baseline="0" dirty="0">
              <a:solidFill>
                <a:srgbClr val="00ADEF"/>
              </a:solidFill>
              <a:latin typeface="+mn-lt"/>
            </a:endParaRPr>
          </a:p>
        </p:txBody>
      </p:sp>
      <p:graphicFrame>
        <p:nvGraphicFramePr>
          <p:cNvPr id="3" name="Object 2"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9348"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Working Draft Text" hidden="1"/>
          <p:cNvSpPr txBox="1">
            <a:spLocks noChangeArrowheads="1"/>
          </p:cNvSpPr>
          <p:nvPr/>
        </p:nvSpPr>
        <p:spPr bwMode="black">
          <a:xfrm>
            <a:off x="5992719" y="6287538"/>
            <a:ext cx="2790000"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800" b="1" baseline="0" dirty="0">
                <a:solidFill>
                  <a:srgbClr val="FFFFFF"/>
                </a:solidFill>
                <a:latin typeface="+mn-lt"/>
              </a:rPr>
              <a:t>WORKING DRAFT</a:t>
            </a:r>
          </a:p>
        </p:txBody>
      </p:sp>
      <p:sp>
        <p:nvSpPr>
          <p:cNvPr id="6" name="Working Draft" hidden="1"/>
          <p:cNvSpPr txBox="1">
            <a:spLocks noChangeArrowheads="1"/>
          </p:cNvSpPr>
          <p:nvPr/>
        </p:nvSpPr>
        <p:spPr bwMode="black">
          <a:xfrm>
            <a:off x="5992718" y="6410648"/>
            <a:ext cx="2968719"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800" baseline="0">
                <a:solidFill>
                  <a:srgbClr val="FFFFFF"/>
                </a:solidFill>
                <a:latin typeface="+mn-lt"/>
              </a:rPr>
              <a:t>Last Modified 21/05/2018 17:44 India Standard Time</a:t>
            </a:r>
            <a:endParaRPr lang="en-US" sz="800" baseline="0" dirty="0">
              <a:solidFill>
                <a:srgbClr val="FFFFFF"/>
              </a:solidFill>
              <a:latin typeface="+mn-lt"/>
            </a:endParaRPr>
          </a:p>
        </p:txBody>
      </p:sp>
      <p:sp>
        <p:nvSpPr>
          <p:cNvPr id="7" name="Printed" hidden="1"/>
          <p:cNvSpPr txBox="1">
            <a:spLocks noChangeArrowheads="1"/>
          </p:cNvSpPr>
          <p:nvPr/>
        </p:nvSpPr>
        <p:spPr bwMode="black">
          <a:xfrm>
            <a:off x="5992719" y="6533759"/>
            <a:ext cx="2790000"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800" baseline="0" dirty="0">
                <a:solidFill>
                  <a:srgbClr val="FFFFFF"/>
                </a:solidFill>
                <a:latin typeface="+mn-lt"/>
              </a:rPr>
              <a:t>Printed</a:t>
            </a:r>
          </a:p>
        </p:txBody>
      </p:sp>
      <p:sp>
        <p:nvSpPr>
          <p:cNvPr id="13314" name="Title"/>
          <p:cNvSpPr>
            <a:spLocks noGrp="1" noChangeArrowheads="1"/>
          </p:cNvSpPr>
          <p:nvPr>
            <p:ph type="ctrTitle"/>
          </p:nvPr>
        </p:nvSpPr>
        <p:spPr>
          <a:xfrm>
            <a:off x="2268266" y="1434419"/>
            <a:ext cx="6231663" cy="492443"/>
          </a:xfrm>
          <a:prstGeom prst="rect">
            <a:avLst/>
          </a:prstGeom>
        </p:spPr>
        <p:txBody>
          <a:bodyPr>
            <a:spAutoFit/>
          </a:bodyPr>
          <a:lstStyle>
            <a:lvl1pPr>
              <a:defRPr sz="3200" b="0" baseline="0">
                <a:solidFill>
                  <a:schemeClr val="accent2"/>
                </a:solidFill>
                <a:latin typeface="+mj-lt"/>
                <a:ea typeface="+mj-ea"/>
              </a:defRPr>
            </a:lvl1pPr>
          </a:lstStyle>
          <a:p>
            <a:pPr lvl="0" latinLnBrk="0"/>
            <a:r>
              <a:rPr lang="en-US" noProof="0"/>
              <a:t>Click to edit Master title style</a:t>
            </a:r>
            <a:endParaRPr lang="en-US" noProof="0" dirty="0"/>
          </a:p>
        </p:txBody>
      </p:sp>
      <p:sp>
        <p:nvSpPr>
          <p:cNvPr id="13315" name="Subtitle"/>
          <p:cNvSpPr>
            <a:spLocks noGrp="1" noChangeArrowheads="1"/>
          </p:cNvSpPr>
          <p:nvPr>
            <p:ph type="subTitle" idx="1"/>
          </p:nvPr>
        </p:nvSpPr>
        <p:spPr>
          <a:xfrm>
            <a:off x="2268266" y="2819401"/>
            <a:ext cx="6231663" cy="215444"/>
          </a:xfrm>
          <a:prstGeom prst="rect">
            <a:avLst/>
          </a:prstGeom>
        </p:spPr>
        <p:txBody>
          <a:bodyPr wrap="square">
            <a:spAutoFit/>
          </a:bodyPr>
          <a:lstStyle>
            <a:lvl1pPr>
              <a:defRPr sz="1400" cap="all" baseline="0">
                <a:solidFill>
                  <a:schemeClr val="bg1"/>
                </a:solidFill>
                <a:latin typeface="+mn-lt"/>
                <a:ea typeface="+mn-ea"/>
              </a:defRPr>
            </a:lvl1pPr>
          </a:lstStyle>
          <a:p>
            <a:pPr lvl="0" latinLnBrk="0"/>
            <a:r>
              <a:rPr lang="en-US" noProof="0"/>
              <a:t>Click to edit Master subtitle style</a:t>
            </a:r>
            <a:endParaRPr lang="en-US" noProof="0" dirty="0"/>
          </a:p>
        </p:txBody>
      </p:sp>
      <p:sp>
        <p:nvSpPr>
          <p:cNvPr id="57" name="Document type" hidden="1"/>
          <p:cNvSpPr txBox="1">
            <a:spLocks noChangeArrowheads="1"/>
          </p:cNvSpPr>
          <p:nvPr/>
        </p:nvSpPr>
        <p:spPr bwMode="gray">
          <a:xfrm>
            <a:off x="2268266" y="3227411"/>
            <a:ext cx="6231663"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00" baseline="0" dirty="0">
                <a:solidFill>
                  <a:schemeClr val="bg1"/>
                </a:solidFill>
                <a:latin typeface="+mn-lt"/>
              </a:rPr>
              <a:t>Document type | Date</a:t>
            </a:r>
          </a:p>
        </p:txBody>
      </p:sp>
      <p:sp>
        <p:nvSpPr>
          <p:cNvPr id="5" name="doc id" hidden="1"/>
          <p:cNvSpPr txBox="1">
            <a:spLocks noChangeArrowheads="1"/>
          </p:cNvSpPr>
          <p:nvPr/>
        </p:nvSpPr>
        <p:spPr bwMode="white">
          <a:xfrm>
            <a:off x="8443913" y="36513"/>
            <a:ext cx="295275" cy="1222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hangingPunct="1">
              <a:defRPr/>
            </a:pPr>
            <a:endParaRPr lang="en-US" sz="800" baseline="0" dirty="0">
              <a:solidFill>
                <a:srgbClr val="FFFFFF"/>
              </a:solidFill>
              <a:latin typeface="+mn-lt"/>
            </a:endParaRPr>
          </a:p>
        </p:txBody>
      </p:sp>
      <p:sp>
        <p:nvSpPr>
          <p:cNvPr id="43" name="LogoImage"/>
          <p:cNvSpPr>
            <a:spLocks noEditPoints="1"/>
          </p:cNvSpPr>
          <p:nvPr/>
        </p:nvSpPr>
        <p:spPr bwMode="white">
          <a:xfrm>
            <a:off x="2269098" y="182925"/>
            <a:ext cx="2176978" cy="238073"/>
          </a:xfrm>
          <a:custGeom>
            <a:avLst/>
            <a:gdLst>
              <a:gd name="T0" fmla="*/ 504 w 5516"/>
              <a:gd name="T1" fmla="*/ 26 h 606"/>
              <a:gd name="T2" fmla="*/ 18 w 5516"/>
              <a:gd name="T3" fmla="*/ 22 h 606"/>
              <a:gd name="T4" fmla="*/ 140 w 5516"/>
              <a:gd name="T5" fmla="*/ 436 h 606"/>
              <a:gd name="T6" fmla="*/ 408 w 5516"/>
              <a:gd name="T7" fmla="*/ 372 h 606"/>
              <a:gd name="T8" fmla="*/ 696 w 5516"/>
              <a:gd name="T9" fmla="*/ 422 h 606"/>
              <a:gd name="T10" fmla="*/ 768 w 5516"/>
              <a:gd name="T11" fmla="*/ 196 h 606"/>
              <a:gd name="T12" fmla="*/ 1272 w 5516"/>
              <a:gd name="T13" fmla="*/ 26 h 606"/>
              <a:gd name="T14" fmla="*/ 1302 w 5516"/>
              <a:gd name="T15" fmla="*/ 338 h 606"/>
              <a:gd name="T16" fmla="*/ 1202 w 5516"/>
              <a:gd name="T17" fmla="*/ 436 h 606"/>
              <a:gd name="T18" fmla="*/ 1030 w 5516"/>
              <a:gd name="T19" fmla="*/ 10 h 606"/>
              <a:gd name="T20" fmla="*/ 960 w 5516"/>
              <a:gd name="T21" fmla="*/ 22 h 606"/>
              <a:gd name="T22" fmla="*/ 804 w 5516"/>
              <a:gd name="T23" fmla="*/ 434 h 606"/>
              <a:gd name="T24" fmla="*/ 930 w 5516"/>
              <a:gd name="T25" fmla="*/ 246 h 606"/>
              <a:gd name="T26" fmla="*/ 1658 w 5516"/>
              <a:gd name="T27" fmla="*/ 342 h 606"/>
              <a:gd name="T28" fmla="*/ 1368 w 5516"/>
              <a:gd name="T29" fmla="*/ 188 h 606"/>
              <a:gd name="T30" fmla="*/ 1514 w 5516"/>
              <a:gd name="T31" fmla="*/ 436 h 606"/>
              <a:gd name="T32" fmla="*/ 1564 w 5516"/>
              <a:gd name="T33" fmla="*/ 434 h 606"/>
              <a:gd name="T34" fmla="*/ 1904 w 5516"/>
              <a:gd name="T35" fmla="*/ 184 h 606"/>
              <a:gd name="T36" fmla="*/ 1728 w 5516"/>
              <a:gd name="T37" fmla="*/ 366 h 606"/>
              <a:gd name="T38" fmla="*/ 2102 w 5516"/>
              <a:gd name="T39" fmla="*/ 192 h 606"/>
              <a:gd name="T40" fmla="*/ 1982 w 5516"/>
              <a:gd name="T41" fmla="*/ 320 h 606"/>
              <a:gd name="T42" fmla="*/ 2478 w 5516"/>
              <a:gd name="T43" fmla="*/ 242 h 606"/>
              <a:gd name="T44" fmla="*/ 2406 w 5516"/>
              <a:gd name="T45" fmla="*/ 390 h 606"/>
              <a:gd name="T46" fmla="*/ 2234 w 5516"/>
              <a:gd name="T47" fmla="*/ 192 h 606"/>
              <a:gd name="T48" fmla="*/ 2478 w 5516"/>
              <a:gd name="T49" fmla="*/ 242 h 606"/>
              <a:gd name="T50" fmla="*/ 2928 w 5516"/>
              <a:gd name="T51" fmla="*/ 448 h 606"/>
              <a:gd name="T52" fmla="*/ 2958 w 5516"/>
              <a:gd name="T53" fmla="*/ 230 h 606"/>
              <a:gd name="T54" fmla="*/ 2716 w 5516"/>
              <a:gd name="T55" fmla="*/ 54 h 606"/>
              <a:gd name="T56" fmla="*/ 2714 w 5516"/>
              <a:gd name="T57" fmla="*/ 36 h 606"/>
              <a:gd name="T58" fmla="*/ 2928 w 5516"/>
              <a:gd name="T59" fmla="*/ 448 h 606"/>
              <a:gd name="T60" fmla="*/ 3388 w 5516"/>
              <a:gd name="T61" fmla="*/ 4 h 606"/>
              <a:gd name="T62" fmla="*/ 3396 w 5516"/>
              <a:gd name="T63" fmla="*/ 366 h 606"/>
              <a:gd name="T64" fmla="*/ 3580 w 5516"/>
              <a:gd name="T65" fmla="*/ 190 h 606"/>
              <a:gd name="T66" fmla="*/ 3502 w 5516"/>
              <a:gd name="T67" fmla="*/ 432 h 606"/>
              <a:gd name="T68" fmla="*/ 4232 w 5516"/>
              <a:gd name="T69" fmla="*/ 348 h 606"/>
              <a:gd name="T70" fmla="*/ 3858 w 5516"/>
              <a:gd name="T71" fmla="*/ 176 h 606"/>
              <a:gd name="T72" fmla="*/ 3758 w 5516"/>
              <a:gd name="T73" fmla="*/ 446 h 606"/>
              <a:gd name="T74" fmla="*/ 3990 w 5516"/>
              <a:gd name="T75" fmla="*/ 282 h 606"/>
              <a:gd name="T76" fmla="*/ 4042 w 5516"/>
              <a:gd name="T77" fmla="*/ 342 h 606"/>
              <a:gd name="T78" fmla="*/ 4134 w 5516"/>
              <a:gd name="T79" fmla="*/ 448 h 606"/>
              <a:gd name="T80" fmla="*/ 4454 w 5516"/>
              <a:gd name="T81" fmla="*/ 202 h 606"/>
              <a:gd name="T82" fmla="*/ 4284 w 5516"/>
              <a:gd name="T83" fmla="*/ 174 h 606"/>
              <a:gd name="T84" fmla="*/ 4432 w 5516"/>
              <a:gd name="T85" fmla="*/ 588 h 606"/>
              <a:gd name="T86" fmla="*/ 4792 w 5516"/>
              <a:gd name="T87" fmla="*/ 382 h 606"/>
              <a:gd name="T88" fmla="*/ 5192 w 5516"/>
              <a:gd name="T89" fmla="*/ 340 h 606"/>
              <a:gd name="T90" fmla="*/ 4902 w 5516"/>
              <a:gd name="T91" fmla="*/ 186 h 606"/>
              <a:gd name="T92" fmla="*/ 4850 w 5516"/>
              <a:gd name="T93" fmla="*/ 274 h 606"/>
              <a:gd name="T94" fmla="*/ 4742 w 5516"/>
              <a:gd name="T95" fmla="*/ 194 h 606"/>
              <a:gd name="T96" fmla="*/ 4794 w 5516"/>
              <a:gd name="T97" fmla="*/ 418 h 606"/>
              <a:gd name="T98" fmla="*/ 5004 w 5516"/>
              <a:gd name="T99" fmla="*/ 338 h 606"/>
              <a:gd name="T100" fmla="*/ 5098 w 5516"/>
              <a:gd name="T101" fmla="*/ 446 h 606"/>
              <a:gd name="T102" fmla="*/ 5418 w 5516"/>
              <a:gd name="T103" fmla="*/ 192 h 606"/>
              <a:gd name="T104" fmla="*/ 5348 w 5516"/>
              <a:gd name="T105" fmla="*/ 180 h 606"/>
              <a:gd name="T106" fmla="*/ 5254 w 5516"/>
              <a:gd name="T107" fmla="*/ 606 h 6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516" h="606">
                <a:moveTo>
                  <a:pt x="366" y="448"/>
                </a:moveTo>
                <a:cubicBezTo>
                  <a:pt x="524" y="448"/>
                  <a:pt x="524" y="448"/>
                  <a:pt x="524" y="448"/>
                </a:cubicBezTo>
                <a:cubicBezTo>
                  <a:pt x="524" y="436"/>
                  <a:pt x="524" y="436"/>
                  <a:pt x="524" y="436"/>
                </a:cubicBezTo>
                <a:cubicBezTo>
                  <a:pt x="486" y="432"/>
                  <a:pt x="470" y="414"/>
                  <a:pt x="468" y="362"/>
                </a:cubicBezTo>
                <a:cubicBezTo>
                  <a:pt x="454" y="86"/>
                  <a:pt x="454" y="86"/>
                  <a:pt x="454" y="86"/>
                </a:cubicBezTo>
                <a:cubicBezTo>
                  <a:pt x="452" y="46"/>
                  <a:pt x="470" y="30"/>
                  <a:pt x="504" y="26"/>
                </a:cubicBezTo>
                <a:cubicBezTo>
                  <a:pt x="504" y="12"/>
                  <a:pt x="504" y="12"/>
                  <a:pt x="504" y="12"/>
                </a:cubicBezTo>
                <a:cubicBezTo>
                  <a:pt x="394" y="12"/>
                  <a:pt x="394" y="12"/>
                  <a:pt x="394" y="12"/>
                </a:cubicBezTo>
                <a:cubicBezTo>
                  <a:pt x="264" y="350"/>
                  <a:pt x="264" y="350"/>
                  <a:pt x="264" y="350"/>
                </a:cubicBezTo>
                <a:cubicBezTo>
                  <a:pt x="132" y="10"/>
                  <a:pt x="132" y="10"/>
                  <a:pt x="132" y="10"/>
                </a:cubicBezTo>
                <a:cubicBezTo>
                  <a:pt x="18" y="10"/>
                  <a:pt x="18" y="10"/>
                  <a:pt x="18" y="10"/>
                </a:cubicBezTo>
                <a:cubicBezTo>
                  <a:pt x="18" y="22"/>
                  <a:pt x="18" y="22"/>
                  <a:pt x="18" y="22"/>
                </a:cubicBezTo>
                <a:cubicBezTo>
                  <a:pt x="40" y="26"/>
                  <a:pt x="74" y="32"/>
                  <a:pt x="72" y="84"/>
                </a:cubicBezTo>
                <a:cubicBezTo>
                  <a:pt x="58" y="352"/>
                  <a:pt x="58" y="352"/>
                  <a:pt x="58" y="352"/>
                </a:cubicBezTo>
                <a:cubicBezTo>
                  <a:pt x="54" y="410"/>
                  <a:pt x="38" y="430"/>
                  <a:pt x="0" y="436"/>
                </a:cubicBezTo>
                <a:cubicBezTo>
                  <a:pt x="0" y="448"/>
                  <a:pt x="0" y="448"/>
                  <a:pt x="0" y="448"/>
                </a:cubicBezTo>
                <a:cubicBezTo>
                  <a:pt x="140" y="448"/>
                  <a:pt x="140" y="448"/>
                  <a:pt x="140" y="448"/>
                </a:cubicBezTo>
                <a:cubicBezTo>
                  <a:pt x="140" y="436"/>
                  <a:pt x="140" y="436"/>
                  <a:pt x="140" y="436"/>
                </a:cubicBezTo>
                <a:cubicBezTo>
                  <a:pt x="98" y="428"/>
                  <a:pt x="84" y="414"/>
                  <a:pt x="88" y="356"/>
                </a:cubicBezTo>
                <a:cubicBezTo>
                  <a:pt x="100" y="86"/>
                  <a:pt x="100" y="86"/>
                  <a:pt x="100" y="86"/>
                </a:cubicBezTo>
                <a:cubicBezTo>
                  <a:pt x="240" y="444"/>
                  <a:pt x="240" y="444"/>
                  <a:pt x="240" y="444"/>
                </a:cubicBezTo>
                <a:cubicBezTo>
                  <a:pt x="258" y="444"/>
                  <a:pt x="258" y="444"/>
                  <a:pt x="258" y="444"/>
                </a:cubicBezTo>
                <a:cubicBezTo>
                  <a:pt x="396" y="86"/>
                  <a:pt x="396" y="86"/>
                  <a:pt x="396" y="86"/>
                </a:cubicBezTo>
                <a:cubicBezTo>
                  <a:pt x="408" y="372"/>
                  <a:pt x="408" y="372"/>
                  <a:pt x="408" y="372"/>
                </a:cubicBezTo>
                <a:cubicBezTo>
                  <a:pt x="410" y="416"/>
                  <a:pt x="398" y="430"/>
                  <a:pt x="366" y="434"/>
                </a:cubicBezTo>
                <a:lnTo>
                  <a:pt x="366" y="448"/>
                </a:lnTo>
                <a:close/>
                <a:moveTo>
                  <a:pt x="670" y="456"/>
                </a:moveTo>
                <a:cubicBezTo>
                  <a:pt x="708" y="456"/>
                  <a:pt x="756" y="440"/>
                  <a:pt x="782" y="412"/>
                </a:cubicBezTo>
                <a:cubicBezTo>
                  <a:pt x="776" y="400"/>
                  <a:pt x="776" y="400"/>
                  <a:pt x="776" y="400"/>
                </a:cubicBezTo>
                <a:cubicBezTo>
                  <a:pt x="750" y="416"/>
                  <a:pt x="722" y="422"/>
                  <a:pt x="696" y="422"/>
                </a:cubicBezTo>
                <a:cubicBezTo>
                  <a:pt x="620" y="422"/>
                  <a:pt x="592" y="358"/>
                  <a:pt x="592" y="290"/>
                </a:cubicBezTo>
                <a:cubicBezTo>
                  <a:pt x="592" y="258"/>
                  <a:pt x="600" y="236"/>
                  <a:pt x="614" y="222"/>
                </a:cubicBezTo>
                <a:cubicBezTo>
                  <a:pt x="626" y="210"/>
                  <a:pt x="646" y="204"/>
                  <a:pt x="664" y="204"/>
                </a:cubicBezTo>
                <a:cubicBezTo>
                  <a:pt x="690" y="204"/>
                  <a:pt x="722" y="214"/>
                  <a:pt x="744" y="244"/>
                </a:cubicBezTo>
                <a:cubicBezTo>
                  <a:pt x="750" y="244"/>
                  <a:pt x="750" y="244"/>
                  <a:pt x="750" y="244"/>
                </a:cubicBezTo>
                <a:cubicBezTo>
                  <a:pt x="758" y="234"/>
                  <a:pt x="766" y="212"/>
                  <a:pt x="768" y="196"/>
                </a:cubicBezTo>
                <a:cubicBezTo>
                  <a:pt x="748" y="180"/>
                  <a:pt x="720" y="172"/>
                  <a:pt x="686" y="172"/>
                </a:cubicBezTo>
                <a:cubicBezTo>
                  <a:pt x="604" y="172"/>
                  <a:pt x="544" y="246"/>
                  <a:pt x="544" y="326"/>
                </a:cubicBezTo>
                <a:cubicBezTo>
                  <a:pt x="540" y="390"/>
                  <a:pt x="576" y="456"/>
                  <a:pt x="670" y="456"/>
                </a:cubicBezTo>
                <a:moveTo>
                  <a:pt x="1272" y="98"/>
                </a:moveTo>
                <a:cubicBezTo>
                  <a:pt x="1292" y="98"/>
                  <a:pt x="1308" y="82"/>
                  <a:pt x="1308" y="62"/>
                </a:cubicBezTo>
                <a:cubicBezTo>
                  <a:pt x="1308" y="42"/>
                  <a:pt x="1292" y="26"/>
                  <a:pt x="1272" y="26"/>
                </a:cubicBezTo>
                <a:cubicBezTo>
                  <a:pt x="1252" y="26"/>
                  <a:pt x="1238" y="42"/>
                  <a:pt x="1238" y="62"/>
                </a:cubicBezTo>
                <a:cubicBezTo>
                  <a:pt x="1238" y="82"/>
                  <a:pt x="1252" y="98"/>
                  <a:pt x="1272" y="98"/>
                </a:cubicBezTo>
                <a:moveTo>
                  <a:pt x="1202" y="448"/>
                </a:moveTo>
                <a:cubicBezTo>
                  <a:pt x="1346" y="448"/>
                  <a:pt x="1346" y="448"/>
                  <a:pt x="1346" y="448"/>
                </a:cubicBezTo>
                <a:cubicBezTo>
                  <a:pt x="1346" y="436"/>
                  <a:pt x="1346" y="436"/>
                  <a:pt x="1346" y="436"/>
                </a:cubicBezTo>
                <a:cubicBezTo>
                  <a:pt x="1304" y="432"/>
                  <a:pt x="1302" y="434"/>
                  <a:pt x="1302" y="338"/>
                </a:cubicBezTo>
                <a:cubicBezTo>
                  <a:pt x="1302" y="176"/>
                  <a:pt x="1302" y="176"/>
                  <a:pt x="1302" y="176"/>
                </a:cubicBezTo>
                <a:cubicBezTo>
                  <a:pt x="1200" y="176"/>
                  <a:pt x="1200" y="176"/>
                  <a:pt x="1200" y="176"/>
                </a:cubicBezTo>
                <a:cubicBezTo>
                  <a:pt x="1200" y="188"/>
                  <a:pt x="1200" y="188"/>
                  <a:pt x="1200" y="188"/>
                </a:cubicBezTo>
                <a:cubicBezTo>
                  <a:pt x="1244" y="190"/>
                  <a:pt x="1250" y="192"/>
                  <a:pt x="1250" y="268"/>
                </a:cubicBezTo>
                <a:cubicBezTo>
                  <a:pt x="1250" y="336"/>
                  <a:pt x="1250" y="336"/>
                  <a:pt x="1250" y="336"/>
                </a:cubicBezTo>
                <a:cubicBezTo>
                  <a:pt x="1250" y="432"/>
                  <a:pt x="1248" y="432"/>
                  <a:pt x="1202" y="436"/>
                </a:cubicBezTo>
                <a:cubicBezTo>
                  <a:pt x="1178" y="434"/>
                  <a:pt x="1154" y="426"/>
                  <a:pt x="1076" y="338"/>
                </a:cubicBezTo>
                <a:cubicBezTo>
                  <a:pt x="1046" y="302"/>
                  <a:pt x="996" y="244"/>
                  <a:pt x="968" y="206"/>
                </a:cubicBezTo>
                <a:cubicBezTo>
                  <a:pt x="1062" y="102"/>
                  <a:pt x="1062" y="102"/>
                  <a:pt x="1062" y="102"/>
                </a:cubicBezTo>
                <a:cubicBezTo>
                  <a:pt x="1108" y="52"/>
                  <a:pt x="1132" y="26"/>
                  <a:pt x="1176" y="24"/>
                </a:cubicBezTo>
                <a:cubicBezTo>
                  <a:pt x="1176" y="10"/>
                  <a:pt x="1176" y="10"/>
                  <a:pt x="1176" y="10"/>
                </a:cubicBezTo>
                <a:cubicBezTo>
                  <a:pt x="1030" y="10"/>
                  <a:pt x="1030" y="10"/>
                  <a:pt x="1030" y="10"/>
                </a:cubicBezTo>
                <a:cubicBezTo>
                  <a:pt x="1030" y="22"/>
                  <a:pt x="1030" y="22"/>
                  <a:pt x="1030" y="22"/>
                </a:cubicBezTo>
                <a:cubicBezTo>
                  <a:pt x="1050" y="26"/>
                  <a:pt x="1056" y="32"/>
                  <a:pt x="1056" y="46"/>
                </a:cubicBezTo>
                <a:cubicBezTo>
                  <a:pt x="1056" y="56"/>
                  <a:pt x="1054" y="72"/>
                  <a:pt x="1026" y="102"/>
                </a:cubicBezTo>
                <a:cubicBezTo>
                  <a:pt x="910" y="230"/>
                  <a:pt x="910" y="230"/>
                  <a:pt x="910" y="230"/>
                </a:cubicBezTo>
                <a:cubicBezTo>
                  <a:pt x="910" y="148"/>
                  <a:pt x="910" y="148"/>
                  <a:pt x="910" y="148"/>
                </a:cubicBezTo>
                <a:cubicBezTo>
                  <a:pt x="910" y="36"/>
                  <a:pt x="916" y="28"/>
                  <a:pt x="960" y="22"/>
                </a:cubicBezTo>
                <a:cubicBezTo>
                  <a:pt x="960" y="8"/>
                  <a:pt x="960" y="8"/>
                  <a:pt x="960" y="8"/>
                </a:cubicBezTo>
                <a:cubicBezTo>
                  <a:pt x="804" y="8"/>
                  <a:pt x="804" y="8"/>
                  <a:pt x="804" y="8"/>
                </a:cubicBezTo>
                <a:cubicBezTo>
                  <a:pt x="804" y="22"/>
                  <a:pt x="804" y="22"/>
                  <a:pt x="804" y="22"/>
                </a:cubicBezTo>
                <a:cubicBezTo>
                  <a:pt x="852" y="26"/>
                  <a:pt x="854" y="36"/>
                  <a:pt x="854" y="148"/>
                </a:cubicBezTo>
                <a:cubicBezTo>
                  <a:pt x="854" y="300"/>
                  <a:pt x="854" y="300"/>
                  <a:pt x="854" y="300"/>
                </a:cubicBezTo>
                <a:cubicBezTo>
                  <a:pt x="854" y="422"/>
                  <a:pt x="850" y="430"/>
                  <a:pt x="804" y="434"/>
                </a:cubicBezTo>
                <a:cubicBezTo>
                  <a:pt x="804" y="446"/>
                  <a:pt x="804" y="446"/>
                  <a:pt x="804" y="446"/>
                </a:cubicBezTo>
                <a:cubicBezTo>
                  <a:pt x="960" y="446"/>
                  <a:pt x="960" y="446"/>
                  <a:pt x="960" y="446"/>
                </a:cubicBezTo>
                <a:cubicBezTo>
                  <a:pt x="960" y="434"/>
                  <a:pt x="960" y="434"/>
                  <a:pt x="960" y="434"/>
                </a:cubicBezTo>
                <a:cubicBezTo>
                  <a:pt x="910" y="428"/>
                  <a:pt x="910" y="424"/>
                  <a:pt x="910" y="292"/>
                </a:cubicBezTo>
                <a:cubicBezTo>
                  <a:pt x="910" y="268"/>
                  <a:pt x="910" y="268"/>
                  <a:pt x="910" y="268"/>
                </a:cubicBezTo>
                <a:cubicBezTo>
                  <a:pt x="930" y="246"/>
                  <a:pt x="930" y="246"/>
                  <a:pt x="930" y="246"/>
                </a:cubicBezTo>
                <a:cubicBezTo>
                  <a:pt x="982" y="310"/>
                  <a:pt x="1038" y="380"/>
                  <a:pt x="1098" y="448"/>
                </a:cubicBezTo>
                <a:cubicBezTo>
                  <a:pt x="1202" y="448"/>
                  <a:pt x="1202" y="448"/>
                  <a:pt x="1202" y="448"/>
                </a:cubicBezTo>
                <a:close/>
                <a:moveTo>
                  <a:pt x="1564" y="448"/>
                </a:moveTo>
                <a:cubicBezTo>
                  <a:pt x="1706" y="448"/>
                  <a:pt x="1706" y="448"/>
                  <a:pt x="1706" y="448"/>
                </a:cubicBezTo>
                <a:cubicBezTo>
                  <a:pt x="1706" y="436"/>
                  <a:pt x="1706" y="436"/>
                  <a:pt x="1706" y="436"/>
                </a:cubicBezTo>
                <a:cubicBezTo>
                  <a:pt x="1658" y="434"/>
                  <a:pt x="1658" y="432"/>
                  <a:pt x="1658" y="342"/>
                </a:cubicBezTo>
                <a:cubicBezTo>
                  <a:pt x="1658" y="280"/>
                  <a:pt x="1658" y="280"/>
                  <a:pt x="1658" y="280"/>
                </a:cubicBezTo>
                <a:cubicBezTo>
                  <a:pt x="1658" y="198"/>
                  <a:pt x="1612" y="172"/>
                  <a:pt x="1570" y="172"/>
                </a:cubicBezTo>
                <a:cubicBezTo>
                  <a:pt x="1534" y="172"/>
                  <a:pt x="1498" y="188"/>
                  <a:pt x="1470" y="224"/>
                </a:cubicBezTo>
                <a:cubicBezTo>
                  <a:pt x="1470" y="176"/>
                  <a:pt x="1470" y="176"/>
                  <a:pt x="1470" y="176"/>
                </a:cubicBezTo>
                <a:cubicBezTo>
                  <a:pt x="1368" y="176"/>
                  <a:pt x="1368" y="176"/>
                  <a:pt x="1368" y="176"/>
                </a:cubicBezTo>
                <a:cubicBezTo>
                  <a:pt x="1368" y="188"/>
                  <a:pt x="1368" y="188"/>
                  <a:pt x="1368" y="188"/>
                </a:cubicBezTo>
                <a:cubicBezTo>
                  <a:pt x="1412" y="190"/>
                  <a:pt x="1418" y="192"/>
                  <a:pt x="1418" y="268"/>
                </a:cubicBezTo>
                <a:cubicBezTo>
                  <a:pt x="1418" y="336"/>
                  <a:pt x="1418" y="336"/>
                  <a:pt x="1418" y="336"/>
                </a:cubicBezTo>
                <a:cubicBezTo>
                  <a:pt x="1418" y="434"/>
                  <a:pt x="1418" y="434"/>
                  <a:pt x="1370" y="436"/>
                </a:cubicBezTo>
                <a:cubicBezTo>
                  <a:pt x="1370" y="448"/>
                  <a:pt x="1370" y="448"/>
                  <a:pt x="1370" y="448"/>
                </a:cubicBezTo>
                <a:cubicBezTo>
                  <a:pt x="1514" y="448"/>
                  <a:pt x="1514" y="448"/>
                  <a:pt x="1514" y="448"/>
                </a:cubicBezTo>
                <a:cubicBezTo>
                  <a:pt x="1514" y="436"/>
                  <a:pt x="1514" y="436"/>
                  <a:pt x="1514" y="436"/>
                </a:cubicBezTo>
                <a:cubicBezTo>
                  <a:pt x="1472" y="432"/>
                  <a:pt x="1470" y="434"/>
                  <a:pt x="1470" y="338"/>
                </a:cubicBezTo>
                <a:cubicBezTo>
                  <a:pt x="1470" y="262"/>
                  <a:pt x="1470" y="262"/>
                  <a:pt x="1470" y="262"/>
                </a:cubicBezTo>
                <a:cubicBezTo>
                  <a:pt x="1470" y="236"/>
                  <a:pt x="1504" y="206"/>
                  <a:pt x="1546" y="206"/>
                </a:cubicBezTo>
                <a:cubicBezTo>
                  <a:pt x="1580" y="206"/>
                  <a:pt x="1606" y="220"/>
                  <a:pt x="1606" y="286"/>
                </a:cubicBezTo>
                <a:cubicBezTo>
                  <a:pt x="1606" y="340"/>
                  <a:pt x="1606" y="340"/>
                  <a:pt x="1606" y="340"/>
                </a:cubicBezTo>
                <a:cubicBezTo>
                  <a:pt x="1606" y="432"/>
                  <a:pt x="1602" y="432"/>
                  <a:pt x="1564" y="434"/>
                </a:cubicBezTo>
                <a:lnTo>
                  <a:pt x="1564" y="448"/>
                </a:lnTo>
                <a:close/>
                <a:moveTo>
                  <a:pt x="1776" y="222"/>
                </a:moveTo>
                <a:cubicBezTo>
                  <a:pt x="1776" y="200"/>
                  <a:pt x="1796" y="188"/>
                  <a:pt x="1822" y="188"/>
                </a:cubicBezTo>
                <a:cubicBezTo>
                  <a:pt x="1874" y="188"/>
                  <a:pt x="1896" y="236"/>
                  <a:pt x="1900" y="252"/>
                </a:cubicBezTo>
                <a:cubicBezTo>
                  <a:pt x="1912" y="252"/>
                  <a:pt x="1912" y="252"/>
                  <a:pt x="1912" y="252"/>
                </a:cubicBezTo>
                <a:cubicBezTo>
                  <a:pt x="1912" y="212"/>
                  <a:pt x="1908" y="188"/>
                  <a:pt x="1904" y="184"/>
                </a:cubicBezTo>
                <a:cubicBezTo>
                  <a:pt x="1900" y="180"/>
                  <a:pt x="1862" y="170"/>
                  <a:pt x="1824" y="170"/>
                </a:cubicBezTo>
                <a:cubicBezTo>
                  <a:pt x="1768" y="170"/>
                  <a:pt x="1734" y="206"/>
                  <a:pt x="1734" y="248"/>
                </a:cubicBezTo>
                <a:cubicBezTo>
                  <a:pt x="1734" y="340"/>
                  <a:pt x="1890" y="322"/>
                  <a:pt x="1890" y="396"/>
                </a:cubicBezTo>
                <a:cubicBezTo>
                  <a:pt x="1890" y="422"/>
                  <a:pt x="1866" y="436"/>
                  <a:pt x="1826" y="436"/>
                </a:cubicBezTo>
                <a:cubicBezTo>
                  <a:pt x="1788" y="436"/>
                  <a:pt x="1754" y="416"/>
                  <a:pt x="1744" y="366"/>
                </a:cubicBezTo>
                <a:cubicBezTo>
                  <a:pt x="1728" y="366"/>
                  <a:pt x="1728" y="366"/>
                  <a:pt x="1728" y="366"/>
                </a:cubicBezTo>
                <a:cubicBezTo>
                  <a:pt x="1728" y="386"/>
                  <a:pt x="1732" y="422"/>
                  <a:pt x="1734" y="428"/>
                </a:cubicBezTo>
                <a:cubicBezTo>
                  <a:pt x="1744" y="446"/>
                  <a:pt x="1788" y="454"/>
                  <a:pt x="1824" y="454"/>
                </a:cubicBezTo>
                <a:cubicBezTo>
                  <a:pt x="1888" y="454"/>
                  <a:pt x="1928" y="416"/>
                  <a:pt x="1928" y="372"/>
                </a:cubicBezTo>
                <a:cubicBezTo>
                  <a:pt x="1932" y="270"/>
                  <a:pt x="1776" y="286"/>
                  <a:pt x="1776" y="222"/>
                </a:cubicBezTo>
                <a:moveTo>
                  <a:pt x="2030" y="270"/>
                </a:moveTo>
                <a:cubicBezTo>
                  <a:pt x="2034" y="220"/>
                  <a:pt x="2058" y="192"/>
                  <a:pt x="2102" y="192"/>
                </a:cubicBezTo>
                <a:cubicBezTo>
                  <a:pt x="2144" y="192"/>
                  <a:pt x="2170" y="220"/>
                  <a:pt x="2172" y="270"/>
                </a:cubicBezTo>
                <a:lnTo>
                  <a:pt x="2030" y="270"/>
                </a:lnTo>
                <a:close/>
                <a:moveTo>
                  <a:pt x="2030" y="290"/>
                </a:moveTo>
                <a:cubicBezTo>
                  <a:pt x="2222" y="290"/>
                  <a:pt x="2222" y="290"/>
                  <a:pt x="2222" y="290"/>
                </a:cubicBezTo>
                <a:cubicBezTo>
                  <a:pt x="2226" y="228"/>
                  <a:pt x="2192" y="168"/>
                  <a:pt x="2114" y="168"/>
                </a:cubicBezTo>
                <a:cubicBezTo>
                  <a:pt x="2034" y="168"/>
                  <a:pt x="1982" y="232"/>
                  <a:pt x="1982" y="320"/>
                </a:cubicBezTo>
                <a:cubicBezTo>
                  <a:pt x="1982" y="388"/>
                  <a:pt x="2018" y="456"/>
                  <a:pt x="2112" y="456"/>
                </a:cubicBezTo>
                <a:cubicBezTo>
                  <a:pt x="2150" y="456"/>
                  <a:pt x="2198" y="440"/>
                  <a:pt x="2224" y="412"/>
                </a:cubicBezTo>
                <a:cubicBezTo>
                  <a:pt x="2218" y="400"/>
                  <a:pt x="2218" y="400"/>
                  <a:pt x="2218" y="400"/>
                </a:cubicBezTo>
                <a:cubicBezTo>
                  <a:pt x="2192" y="416"/>
                  <a:pt x="2164" y="422"/>
                  <a:pt x="2138" y="422"/>
                </a:cubicBezTo>
                <a:cubicBezTo>
                  <a:pt x="2058" y="420"/>
                  <a:pt x="2028" y="352"/>
                  <a:pt x="2030" y="290"/>
                </a:cubicBezTo>
                <a:moveTo>
                  <a:pt x="2478" y="242"/>
                </a:moveTo>
                <a:cubicBezTo>
                  <a:pt x="2490" y="206"/>
                  <a:pt x="2510" y="192"/>
                  <a:pt x="2528" y="192"/>
                </a:cubicBezTo>
                <a:cubicBezTo>
                  <a:pt x="2528" y="180"/>
                  <a:pt x="2528" y="180"/>
                  <a:pt x="2528" y="180"/>
                </a:cubicBezTo>
                <a:cubicBezTo>
                  <a:pt x="2430" y="180"/>
                  <a:pt x="2430" y="180"/>
                  <a:pt x="2430" y="180"/>
                </a:cubicBezTo>
                <a:cubicBezTo>
                  <a:pt x="2430" y="192"/>
                  <a:pt x="2430" y="192"/>
                  <a:pt x="2430" y="192"/>
                </a:cubicBezTo>
                <a:cubicBezTo>
                  <a:pt x="2454" y="194"/>
                  <a:pt x="2466" y="206"/>
                  <a:pt x="2458" y="234"/>
                </a:cubicBezTo>
                <a:cubicBezTo>
                  <a:pt x="2406" y="390"/>
                  <a:pt x="2406" y="390"/>
                  <a:pt x="2406" y="390"/>
                </a:cubicBezTo>
                <a:cubicBezTo>
                  <a:pt x="2354" y="270"/>
                  <a:pt x="2354" y="270"/>
                  <a:pt x="2354" y="270"/>
                </a:cubicBezTo>
                <a:cubicBezTo>
                  <a:pt x="2340" y="238"/>
                  <a:pt x="2334" y="224"/>
                  <a:pt x="2334" y="212"/>
                </a:cubicBezTo>
                <a:cubicBezTo>
                  <a:pt x="2334" y="202"/>
                  <a:pt x="2340" y="196"/>
                  <a:pt x="2360" y="192"/>
                </a:cubicBezTo>
                <a:cubicBezTo>
                  <a:pt x="2360" y="180"/>
                  <a:pt x="2360" y="180"/>
                  <a:pt x="2360" y="180"/>
                </a:cubicBezTo>
                <a:cubicBezTo>
                  <a:pt x="2234" y="180"/>
                  <a:pt x="2234" y="180"/>
                  <a:pt x="2234" y="180"/>
                </a:cubicBezTo>
                <a:cubicBezTo>
                  <a:pt x="2234" y="192"/>
                  <a:pt x="2234" y="192"/>
                  <a:pt x="2234" y="192"/>
                </a:cubicBezTo>
                <a:cubicBezTo>
                  <a:pt x="2266" y="194"/>
                  <a:pt x="2268" y="198"/>
                  <a:pt x="2310" y="292"/>
                </a:cubicBezTo>
                <a:cubicBezTo>
                  <a:pt x="2382" y="450"/>
                  <a:pt x="2382" y="450"/>
                  <a:pt x="2382" y="450"/>
                </a:cubicBezTo>
                <a:cubicBezTo>
                  <a:pt x="2358" y="512"/>
                  <a:pt x="2320" y="546"/>
                  <a:pt x="2242" y="564"/>
                </a:cubicBezTo>
                <a:cubicBezTo>
                  <a:pt x="2246" y="576"/>
                  <a:pt x="2260" y="600"/>
                  <a:pt x="2268" y="606"/>
                </a:cubicBezTo>
                <a:cubicBezTo>
                  <a:pt x="2370" y="564"/>
                  <a:pt x="2390" y="498"/>
                  <a:pt x="2426" y="396"/>
                </a:cubicBezTo>
                <a:lnTo>
                  <a:pt x="2478" y="242"/>
                </a:lnTo>
                <a:close/>
                <a:moveTo>
                  <a:pt x="2844" y="394"/>
                </a:moveTo>
                <a:cubicBezTo>
                  <a:pt x="2822" y="412"/>
                  <a:pt x="2782" y="416"/>
                  <a:pt x="2750" y="416"/>
                </a:cubicBezTo>
                <a:cubicBezTo>
                  <a:pt x="2670" y="416"/>
                  <a:pt x="2606" y="360"/>
                  <a:pt x="2606" y="284"/>
                </a:cubicBezTo>
                <a:cubicBezTo>
                  <a:pt x="2606" y="236"/>
                  <a:pt x="2626" y="206"/>
                  <a:pt x="2658" y="198"/>
                </a:cubicBezTo>
                <a:cubicBezTo>
                  <a:pt x="2698" y="266"/>
                  <a:pt x="2770" y="338"/>
                  <a:pt x="2844" y="394"/>
                </a:cubicBezTo>
                <a:moveTo>
                  <a:pt x="2928" y="448"/>
                </a:moveTo>
                <a:cubicBezTo>
                  <a:pt x="3022" y="448"/>
                  <a:pt x="3022" y="448"/>
                  <a:pt x="3022" y="448"/>
                </a:cubicBezTo>
                <a:cubicBezTo>
                  <a:pt x="3022" y="436"/>
                  <a:pt x="3022" y="436"/>
                  <a:pt x="3022" y="436"/>
                </a:cubicBezTo>
                <a:cubicBezTo>
                  <a:pt x="2992" y="432"/>
                  <a:pt x="2946" y="408"/>
                  <a:pt x="2896" y="372"/>
                </a:cubicBezTo>
                <a:cubicBezTo>
                  <a:pt x="2914" y="342"/>
                  <a:pt x="2918" y="300"/>
                  <a:pt x="2922" y="270"/>
                </a:cubicBezTo>
                <a:cubicBezTo>
                  <a:pt x="2926" y="244"/>
                  <a:pt x="2946" y="244"/>
                  <a:pt x="2958" y="242"/>
                </a:cubicBezTo>
                <a:cubicBezTo>
                  <a:pt x="2958" y="230"/>
                  <a:pt x="2958" y="230"/>
                  <a:pt x="2958" y="230"/>
                </a:cubicBezTo>
                <a:cubicBezTo>
                  <a:pt x="2834" y="230"/>
                  <a:pt x="2834" y="230"/>
                  <a:pt x="2834" y="230"/>
                </a:cubicBezTo>
                <a:cubicBezTo>
                  <a:pt x="2834" y="242"/>
                  <a:pt x="2834" y="242"/>
                  <a:pt x="2834" y="242"/>
                </a:cubicBezTo>
                <a:cubicBezTo>
                  <a:pt x="2864" y="246"/>
                  <a:pt x="2892" y="250"/>
                  <a:pt x="2892" y="294"/>
                </a:cubicBezTo>
                <a:cubicBezTo>
                  <a:pt x="2892" y="318"/>
                  <a:pt x="2888" y="342"/>
                  <a:pt x="2878" y="358"/>
                </a:cubicBezTo>
                <a:cubicBezTo>
                  <a:pt x="2770" y="274"/>
                  <a:pt x="2670" y="156"/>
                  <a:pt x="2670" y="96"/>
                </a:cubicBezTo>
                <a:cubicBezTo>
                  <a:pt x="2670" y="66"/>
                  <a:pt x="2688" y="54"/>
                  <a:pt x="2716" y="54"/>
                </a:cubicBezTo>
                <a:cubicBezTo>
                  <a:pt x="2752" y="54"/>
                  <a:pt x="2784" y="78"/>
                  <a:pt x="2800" y="124"/>
                </a:cubicBezTo>
                <a:cubicBezTo>
                  <a:pt x="2812" y="124"/>
                  <a:pt x="2812" y="124"/>
                  <a:pt x="2812" y="124"/>
                </a:cubicBezTo>
                <a:cubicBezTo>
                  <a:pt x="2810" y="42"/>
                  <a:pt x="2810" y="42"/>
                  <a:pt x="2810" y="42"/>
                </a:cubicBezTo>
                <a:cubicBezTo>
                  <a:pt x="2798" y="42"/>
                  <a:pt x="2798" y="42"/>
                  <a:pt x="2798" y="42"/>
                </a:cubicBezTo>
                <a:cubicBezTo>
                  <a:pt x="2798" y="48"/>
                  <a:pt x="2792" y="52"/>
                  <a:pt x="2788" y="52"/>
                </a:cubicBezTo>
                <a:cubicBezTo>
                  <a:pt x="2772" y="52"/>
                  <a:pt x="2752" y="36"/>
                  <a:pt x="2714" y="36"/>
                </a:cubicBezTo>
                <a:cubicBezTo>
                  <a:pt x="2672" y="36"/>
                  <a:pt x="2630" y="62"/>
                  <a:pt x="2630" y="118"/>
                </a:cubicBezTo>
                <a:cubicBezTo>
                  <a:pt x="2630" y="140"/>
                  <a:pt x="2636" y="160"/>
                  <a:pt x="2648" y="182"/>
                </a:cubicBezTo>
                <a:cubicBezTo>
                  <a:pt x="2592" y="200"/>
                  <a:pt x="2562" y="248"/>
                  <a:pt x="2562" y="304"/>
                </a:cubicBezTo>
                <a:cubicBezTo>
                  <a:pt x="2562" y="406"/>
                  <a:pt x="2640" y="460"/>
                  <a:pt x="2726" y="460"/>
                </a:cubicBezTo>
                <a:cubicBezTo>
                  <a:pt x="2780" y="460"/>
                  <a:pt x="2824" y="444"/>
                  <a:pt x="2862" y="410"/>
                </a:cubicBezTo>
                <a:cubicBezTo>
                  <a:pt x="2888" y="424"/>
                  <a:pt x="2912" y="442"/>
                  <a:pt x="2928" y="448"/>
                </a:cubicBezTo>
                <a:moveTo>
                  <a:pt x="3094" y="212"/>
                </a:moveTo>
                <a:cubicBezTo>
                  <a:pt x="3094" y="88"/>
                  <a:pt x="3154" y="20"/>
                  <a:pt x="3252" y="20"/>
                </a:cubicBezTo>
                <a:cubicBezTo>
                  <a:pt x="3328" y="20"/>
                  <a:pt x="3372" y="58"/>
                  <a:pt x="3392" y="134"/>
                </a:cubicBezTo>
                <a:cubicBezTo>
                  <a:pt x="3404" y="134"/>
                  <a:pt x="3404" y="134"/>
                  <a:pt x="3404" y="134"/>
                </a:cubicBezTo>
                <a:cubicBezTo>
                  <a:pt x="3400" y="4"/>
                  <a:pt x="3400" y="4"/>
                  <a:pt x="3400" y="4"/>
                </a:cubicBezTo>
                <a:cubicBezTo>
                  <a:pt x="3388" y="4"/>
                  <a:pt x="3388" y="4"/>
                  <a:pt x="3388" y="4"/>
                </a:cubicBezTo>
                <a:cubicBezTo>
                  <a:pt x="3384" y="14"/>
                  <a:pt x="3376" y="18"/>
                  <a:pt x="3364" y="18"/>
                </a:cubicBezTo>
                <a:cubicBezTo>
                  <a:pt x="3338" y="18"/>
                  <a:pt x="3314" y="0"/>
                  <a:pt x="3248" y="0"/>
                </a:cubicBezTo>
                <a:cubicBezTo>
                  <a:pt x="3118" y="0"/>
                  <a:pt x="3030" y="102"/>
                  <a:pt x="3030" y="242"/>
                </a:cubicBezTo>
                <a:cubicBezTo>
                  <a:pt x="3030" y="376"/>
                  <a:pt x="3110" y="460"/>
                  <a:pt x="3238" y="460"/>
                </a:cubicBezTo>
                <a:cubicBezTo>
                  <a:pt x="3320" y="460"/>
                  <a:pt x="3384" y="420"/>
                  <a:pt x="3408" y="380"/>
                </a:cubicBezTo>
                <a:cubicBezTo>
                  <a:pt x="3396" y="366"/>
                  <a:pt x="3396" y="366"/>
                  <a:pt x="3396" y="366"/>
                </a:cubicBezTo>
                <a:cubicBezTo>
                  <a:pt x="3370" y="402"/>
                  <a:pt x="3314" y="426"/>
                  <a:pt x="3256" y="426"/>
                </a:cubicBezTo>
                <a:cubicBezTo>
                  <a:pt x="3156" y="426"/>
                  <a:pt x="3094" y="340"/>
                  <a:pt x="3094" y="212"/>
                </a:cubicBezTo>
                <a:moveTo>
                  <a:pt x="3678" y="328"/>
                </a:moveTo>
                <a:cubicBezTo>
                  <a:pt x="3678" y="392"/>
                  <a:pt x="3650" y="430"/>
                  <a:pt x="3592" y="430"/>
                </a:cubicBezTo>
                <a:cubicBezTo>
                  <a:pt x="3542" y="430"/>
                  <a:pt x="3496" y="384"/>
                  <a:pt x="3496" y="292"/>
                </a:cubicBezTo>
                <a:cubicBezTo>
                  <a:pt x="3496" y="226"/>
                  <a:pt x="3528" y="190"/>
                  <a:pt x="3580" y="190"/>
                </a:cubicBezTo>
                <a:cubicBezTo>
                  <a:pt x="3628" y="192"/>
                  <a:pt x="3678" y="238"/>
                  <a:pt x="3678" y="328"/>
                </a:cubicBezTo>
                <a:moveTo>
                  <a:pt x="3732" y="312"/>
                </a:moveTo>
                <a:cubicBezTo>
                  <a:pt x="3732" y="260"/>
                  <a:pt x="3710" y="214"/>
                  <a:pt x="3672" y="190"/>
                </a:cubicBezTo>
                <a:cubicBezTo>
                  <a:pt x="3650" y="176"/>
                  <a:pt x="3620" y="168"/>
                  <a:pt x="3588" y="168"/>
                </a:cubicBezTo>
                <a:cubicBezTo>
                  <a:pt x="3502" y="168"/>
                  <a:pt x="3442" y="230"/>
                  <a:pt x="3442" y="310"/>
                </a:cubicBezTo>
                <a:cubicBezTo>
                  <a:pt x="3442" y="364"/>
                  <a:pt x="3464" y="408"/>
                  <a:pt x="3502" y="432"/>
                </a:cubicBezTo>
                <a:cubicBezTo>
                  <a:pt x="3524" y="446"/>
                  <a:pt x="3554" y="452"/>
                  <a:pt x="3586" y="452"/>
                </a:cubicBezTo>
                <a:cubicBezTo>
                  <a:pt x="3672" y="454"/>
                  <a:pt x="3732" y="394"/>
                  <a:pt x="3732" y="312"/>
                </a:cubicBezTo>
                <a:moveTo>
                  <a:pt x="4136" y="448"/>
                </a:moveTo>
                <a:cubicBezTo>
                  <a:pt x="4280" y="448"/>
                  <a:pt x="4280" y="448"/>
                  <a:pt x="4280" y="448"/>
                </a:cubicBezTo>
                <a:cubicBezTo>
                  <a:pt x="4280" y="436"/>
                  <a:pt x="4280" y="436"/>
                  <a:pt x="4280" y="436"/>
                </a:cubicBezTo>
                <a:cubicBezTo>
                  <a:pt x="4230" y="434"/>
                  <a:pt x="4232" y="426"/>
                  <a:pt x="4232" y="348"/>
                </a:cubicBezTo>
                <a:cubicBezTo>
                  <a:pt x="4232" y="276"/>
                  <a:pt x="4232" y="276"/>
                  <a:pt x="4232" y="276"/>
                </a:cubicBezTo>
                <a:cubicBezTo>
                  <a:pt x="4232" y="200"/>
                  <a:pt x="4190" y="172"/>
                  <a:pt x="4142" y="172"/>
                </a:cubicBezTo>
                <a:cubicBezTo>
                  <a:pt x="4098" y="172"/>
                  <a:pt x="4064" y="196"/>
                  <a:pt x="4038" y="232"/>
                </a:cubicBezTo>
                <a:cubicBezTo>
                  <a:pt x="4028" y="194"/>
                  <a:pt x="4000" y="172"/>
                  <a:pt x="3954" y="172"/>
                </a:cubicBezTo>
                <a:cubicBezTo>
                  <a:pt x="3916" y="172"/>
                  <a:pt x="3880" y="196"/>
                  <a:pt x="3858" y="224"/>
                </a:cubicBezTo>
                <a:cubicBezTo>
                  <a:pt x="3858" y="176"/>
                  <a:pt x="3858" y="176"/>
                  <a:pt x="3858" y="176"/>
                </a:cubicBezTo>
                <a:cubicBezTo>
                  <a:pt x="3756" y="176"/>
                  <a:pt x="3756" y="176"/>
                  <a:pt x="3756" y="176"/>
                </a:cubicBezTo>
                <a:cubicBezTo>
                  <a:pt x="3756" y="188"/>
                  <a:pt x="3756" y="188"/>
                  <a:pt x="3756" y="188"/>
                </a:cubicBezTo>
                <a:cubicBezTo>
                  <a:pt x="3800" y="190"/>
                  <a:pt x="3806" y="192"/>
                  <a:pt x="3806" y="268"/>
                </a:cubicBezTo>
                <a:cubicBezTo>
                  <a:pt x="3806" y="346"/>
                  <a:pt x="3806" y="346"/>
                  <a:pt x="3806" y="346"/>
                </a:cubicBezTo>
                <a:cubicBezTo>
                  <a:pt x="3806" y="434"/>
                  <a:pt x="3804" y="434"/>
                  <a:pt x="3758" y="434"/>
                </a:cubicBezTo>
                <a:cubicBezTo>
                  <a:pt x="3758" y="446"/>
                  <a:pt x="3758" y="446"/>
                  <a:pt x="3758" y="446"/>
                </a:cubicBezTo>
                <a:cubicBezTo>
                  <a:pt x="3902" y="446"/>
                  <a:pt x="3902" y="446"/>
                  <a:pt x="3902" y="446"/>
                </a:cubicBezTo>
                <a:cubicBezTo>
                  <a:pt x="3902" y="434"/>
                  <a:pt x="3902" y="434"/>
                  <a:pt x="3902" y="434"/>
                </a:cubicBezTo>
                <a:cubicBezTo>
                  <a:pt x="3862" y="430"/>
                  <a:pt x="3858" y="430"/>
                  <a:pt x="3858" y="342"/>
                </a:cubicBezTo>
                <a:cubicBezTo>
                  <a:pt x="3858" y="262"/>
                  <a:pt x="3858" y="262"/>
                  <a:pt x="3858" y="262"/>
                </a:cubicBezTo>
                <a:cubicBezTo>
                  <a:pt x="3858" y="234"/>
                  <a:pt x="3894" y="204"/>
                  <a:pt x="3932" y="204"/>
                </a:cubicBezTo>
                <a:cubicBezTo>
                  <a:pt x="3974" y="204"/>
                  <a:pt x="3990" y="226"/>
                  <a:pt x="3990" y="282"/>
                </a:cubicBezTo>
                <a:cubicBezTo>
                  <a:pt x="3990" y="338"/>
                  <a:pt x="3990" y="338"/>
                  <a:pt x="3990" y="338"/>
                </a:cubicBezTo>
                <a:cubicBezTo>
                  <a:pt x="3990" y="428"/>
                  <a:pt x="3988" y="432"/>
                  <a:pt x="3950" y="436"/>
                </a:cubicBezTo>
                <a:cubicBezTo>
                  <a:pt x="3950" y="448"/>
                  <a:pt x="3950" y="448"/>
                  <a:pt x="3950" y="448"/>
                </a:cubicBezTo>
                <a:cubicBezTo>
                  <a:pt x="4086" y="448"/>
                  <a:pt x="4086" y="448"/>
                  <a:pt x="4086" y="448"/>
                </a:cubicBezTo>
                <a:cubicBezTo>
                  <a:pt x="4086" y="436"/>
                  <a:pt x="4086" y="436"/>
                  <a:pt x="4086" y="436"/>
                </a:cubicBezTo>
                <a:cubicBezTo>
                  <a:pt x="4040" y="432"/>
                  <a:pt x="4042" y="428"/>
                  <a:pt x="4042" y="342"/>
                </a:cubicBezTo>
                <a:cubicBezTo>
                  <a:pt x="4042" y="264"/>
                  <a:pt x="4042" y="264"/>
                  <a:pt x="4042" y="264"/>
                </a:cubicBezTo>
                <a:cubicBezTo>
                  <a:pt x="4042" y="236"/>
                  <a:pt x="4078" y="206"/>
                  <a:pt x="4118" y="206"/>
                </a:cubicBezTo>
                <a:cubicBezTo>
                  <a:pt x="4152" y="206"/>
                  <a:pt x="4174" y="226"/>
                  <a:pt x="4174" y="284"/>
                </a:cubicBezTo>
                <a:cubicBezTo>
                  <a:pt x="4174" y="346"/>
                  <a:pt x="4174" y="346"/>
                  <a:pt x="4174" y="346"/>
                </a:cubicBezTo>
                <a:cubicBezTo>
                  <a:pt x="4174" y="428"/>
                  <a:pt x="4174" y="432"/>
                  <a:pt x="4134" y="436"/>
                </a:cubicBezTo>
                <a:cubicBezTo>
                  <a:pt x="4134" y="448"/>
                  <a:pt x="4134" y="448"/>
                  <a:pt x="4134" y="448"/>
                </a:cubicBezTo>
                <a:lnTo>
                  <a:pt x="4136" y="448"/>
                </a:lnTo>
                <a:close/>
                <a:moveTo>
                  <a:pt x="4546" y="316"/>
                </a:moveTo>
                <a:cubicBezTo>
                  <a:pt x="4546" y="388"/>
                  <a:pt x="4516" y="432"/>
                  <a:pt x="4460" y="432"/>
                </a:cubicBezTo>
                <a:cubicBezTo>
                  <a:pt x="4424" y="432"/>
                  <a:pt x="4384" y="412"/>
                  <a:pt x="4384" y="384"/>
                </a:cubicBezTo>
                <a:cubicBezTo>
                  <a:pt x="4384" y="248"/>
                  <a:pt x="4384" y="248"/>
                  <a:pt x="4384" y="248"/>
                </a:cubicBezTo>
                <a:cubicBezTo>
                  <a:pt x="4384" y="226"/>
                  <a:pt x="4416" y="202"/>
                  <a:pt x="4454" y="202"/>
                </a:cubicBezTo>
                <a:cubicBezTo>
                  <a:pt x="4510" y="206"/>
                  <a:pt x="4546" y="248"/>
                  <a:pt x="4546" y="316"/>
                </a:cubicBezTo>
                <a:moveTo>
                  <a:pt x="4600" y="310"/>
                </a:moveTo>
                <a:cubicBezTo>
                  <a:pt x="4600" y="230"/>
                  <a:pt x="4548" y="170"/>
                  <a:pt x="4478" y="170"/>
                </a:cubicBezTo>
                <a:cubicBezTo>
                  <a:pt x="4438" y="170"/>
                  <a:pt x="4406" y="188"/>
                  <a:pt x="4384" y="214"/>
                </a:cubicBezTo>
                <a:cubicBezTo>
                  <a:pt x="4384" y="174"/>
                  <a:pt x="4384" y="174"/>
                  <a:pt x="4384" y="174"/>
                </a:cubicBezTo>
                <a:cubicBezTo>
                  <a:pt x="4284" y="174"/>
                  <a:pt x="4284" y="174"/>
                  <a:pt x="4284" y="174"/>
                </a:cubicBezTo>
                <a:cubicBezTo>
                  <a:pt x="4284" y="186"/>
                  <a:pt x="4284" y="186"/>
                  <a:pt x="4284" y="186"/>
                </a:cubicBezTo>
                <a:cubicBezTo>
                  <a:pt x="4326" y="188"/>
                  <a:pt x="4332" y="190"/>
                  <a:pt x="4332" y="280"/>
                </a:cubicBezTo>
                <a:cubicBezTo>
                  <a:pt x="4332" y="466"/>
                  <a:pt x="4332" y="466"/>
                  <a:pt x="4332" y="466"/>
                </a:cubicBezTo>
                <a:cubicBezTo>
                  <a:pt x="4332" y="564"/>
                  <a:pt x="4334" y="570"/>
                  <a:pt x="4286" y="574"/>
                </a:cubicBezTo>
                <a:cubicBezTo>
                  <a:pt x="4286" y="588"/>
                  <a:pt x="4286" y="588"/>
                  <a:pt x="4286" y="588"/>
                </a:cubicBezTo>
                <a:cubicBezTo>
                  <a:pt x="4432" y="588"/>
                  <a:pt x="4432" y="588"/>
                  <a:pt x="4432" y="588"/>
                </a:cubicBezTo>
                <a:cubicBezTo>
                  <a:pt x="4432" y="574"/>
                  <a:pt x="4432" y="574"/>
                  <a:pt x="4432" y="574"/>
                </a:cubicBezTo>
                <a:cubicBezTo>
                  <a:pt x="4380" y="572"/>
                  <a:pt x="4384" y="564"/>
                  <a:pt x="4384" y="462"/>
                </a:cubicBezTo>
                <a:cubicBezTo>
                  <a:pt x="4384" y="424"/>
                  <a:pt x="4384" y="424"/>
                  <a:pt x="4384" y="424"/>
                </a:cubicBezTo>
                <a:cubicBezTo>
                  <a:pt x="4404" y="444"/>
                  <a:pt x="4436" y="454"/>
                  <a:pt x="4466" y="454"/>
                </a:cubicBezTo>
                <a:cubicBezTo>
                  <a:pt x="4548" y="454"/>
                  <a:pt x="4600" y="392"/>
                  <a:pt x="4600" y="310"/>
                </a:cubicBezTo>
                <a:moveTo>
                  <a:pt x="4792" y="382"/>
                </a:moveTo>
                <a:cubicBezTo>
                  <a:pt x="4792" y="404"/>
                  <a:pt x="4762" y="424"/>
                  <a:pt x="4736" y="424"/>
                </a:cubicBezTo>
                <a:cubicBezTo>
                  <a:pt x="4712" y="424"/>
                  <a:pt x="4694" y="410"/>
                  <a:pt x="4694" y="378"/>
                </a:cubicBezTo>
                <a:cubicBezTo>
                  <a:pt x="4694" y="322"/>
                  <a:pt x="4752" y="328"/>
                  <a:pt x="4792" y="306"/>
                </a:cubicBezTo>
                <a:cubicBezTo>
                  <a:pt x="4792" y="382"/>
                  <a:pt x="4792" y="382"/>
                  <a:pt x="4792" y="382"/>
                </a:cubicBezTo>
                <a:close/>
                <a:moveTo>
                  <a:pt x="5240" y="434"/>
                </a:moveTo>
                <a:cubicBezTo>
                  <a:pt x="5192" y="432"/>
                  <a:pt x="5192" y="430"/>
                  <a:pt x="5192" y="340"/>
                </a:cubicBezTo>
                <a:cubicBezTo>
                  <a:pt x="5192" y="278"/>
                  <a:pt x="5192" y="278"/>
                  <a:pt x="5192" y="278"/>
                </a:cubicBezTo>
                <a:cubicBezTo>
                  <a:pt x="5192" y="196"/>
                  <a:pt x="5146" y="170"/>
                  <a:pt x="5104" y="170"/>
                </a:cubicBezTo>
                <a:cubicBezTo>
                  <a:pt x="5068" y="170"/>
                  <a:pt x="5032" y="186"/>
                  <a:pt x="5004" y="222"/>
                </a:cubicBezTo>
                <a:cubicBezTo>
                  <a:pt x="5004" y="174"/>
                  <a:pt x="5004" y="174"/>
                  <a:pt x="5004" y="174"/>
                </a:cubicBezTo>
                <a:cubicBezTo>
                  <a:pt x="4902" y="174"/>
                  <a:pt x="4902" y="174"/>
                  <a:pt x="4902" y="174"/>
                </a:cubicBezTo>
                <a:cubicBezTo>
                  <a:pt x="4902" y="186"/>
                  <a:pt x="4902" y="186"/>
                  <a:pt x="4902" y="186"/>
                </a:cubicBezTo>
                <a:cubicBezTo>
                  <a:pt x="4946" y="188"/>
                  <a:pt x="4952" y="190"/>
                  <a:pt x="4952" y="266"/>
                </a:cubicBezTo>
                <a:cubicBezTo>
                  <a:pt x="4952" y="334"/>
                  <a:pt x="4952" y="334"/>
                  <a:pt x="4952" y="334"/>
                </a:cubicBezTo>
                <a:cubicBezTo>
                  <a:pt x="4952" y="430"/>
                  <a:pt x="4952" y="432"/>
                  <a:pt x="4904" y="434"/>
                </a:cubicBezTo>
                <a:cubicBezTo>
                  <a:pt x="4892" y="434"/>
                  <a:pt x="4892" y="434"/>
                  <a:pt x="4892" y="434"/>
                </a:cubicBezTo>
                <a:cubicBezTo>
                  <a:pt x="4854" y="434"/>
                  <a:pt x="4850" y="422"/>
                  <a:pt x="4850" y="366"/>
                </a:cubicBezTo>
                <a:cubicBezTo>
                  <a:pt x="4850" y="274"/>
                  <a:pt x="4850" y="274"/>
                  <a:pt x="4850" y="274"/>
                </a:cubicBezTo>
                <a:cubicBezTo>
                  <a:pt x="4850" y="256"/>
                  <a:pt x="4848" y="240"/>
                  <a:pt x="4844" y="228"/>
                </a:cubicBezTo>
                <a:cubicBezTo>
                  <a:pt x="4830" y="186"/>
                  <a:pt x="4796" y="170"/>
                  <a:pt x="4748" y="170"/>
                </a:cubicBezTo>
                <a:cubicBezTo>
                  <a:pt x="4718" y="170"/>
                  <a:pt x="4674" y="180"/>
                  <a:pt x="4650" y="202"/>
                </a:cubicBezTo>
                <a:cubicBezTo>
                  <a:pt x="4652" y="214"/>
                  <a:pt x="4664" y="240"/>
                  <a:pt x="4670" y="248"/>
                </a:cubicBezTo>
                <a:cubicBezTo>
                  <a:pt x="4676" y="246"/>
                  <a:pt x="4676" y="246"/>
                  <a:pt x="4676" y="246"/>
                </a:cubicBezTo>
                <a:cubicBezTo>
                  <a:pt x="4688" y="216"/>
                  <a:pt x="4708" y="194"/>
                  <a:pt x="4742" y="194"/>
                </a:cubicBezTo>
                <a:cubicBezTo>
                  <a:pt x="4778" y="194"/>
                  <a:pt x="4794" y="220"/>
                  <a:pt x="4794" y="250"/>
                </a:cubicBezTo>
                <a:cubicBezTo>
                  <a:pt x="4794" y="282"/>
                  <a:pt x="4794" y="282"/>
                  <a:pt x="4794" y="282"/>
                </a:cubicBezTo>
                <a:cubicBezTo>
                  <a:pt x="4794" y="302"/>
                  <a:pt x="4702" y="306"/>
                  <a:pt x="4664" y="338"/>
                </a:cubicBezTo>
                <a:cubicBezTo>
                  <a:pt x="4652" y="350"/>
                  <a:pt x="4642" y="364"/>
                  <a:pt x="4642" y="384"/>
                </a:cubicBezTo>
                <a:cubicBezTo>
                  <a:pt x="4642" y="426"/>
                  <a:pt x="4672" y="456"/>
                  <a:pt x="4716" y="456"/>
                </a:cubicBezTo>
                <a:cubicBezTo>
                  <a:pt x="4744" y="456"/>
                  <a:pt x="4768" y="446"/>
                  <a:pt x="4794" y="418"/>
                </a:cubicBezTo>
                <a:cubicBezTo>
                  <a:pt x="4798" y="438"/>
                  <a:pt x="4814" y="448"/>
                  <a:pt x="4842" y="448"/>
                </a:cubicBezTo>
                <a:cubicBezTo>
                  <a:pt x="4906" y="448"/>
                  <a:pt x="4906" y="448"/>
                  <a:pt x="4906" y="448"/>
                </a:cubicBezTo>
                <a:cubicBezTo>
                  <a:pt x="4906" y="448"/>
                  <a:pt x="4906" y="448"/>
                  <a:pt x="4906" y="448"/>
                </a:cubicBezTo>
                <a:cubicBezTo>
                  <a:pt x="5048" y="448"/>
                  <a:pt x="5048" y="448"/>
                  <a:pt x="5048" y="448"/>
                </a:cubicBezTo>
                <a:cubicBezTo>
                  <a:pt x="5048" y="436"/>
                  <a:pt x="5048" y="436"/>
                  <a:pt x="5048" y="436"/>
                </a:cubicBezTo>
                <a:cubicBezTo>
                  <a:pt x="5006" y="432"/>
                  <a:pt x="5004" y="434"/>
                  <a:pt x="5004" y="338"/>
                </a:cubicBezTo>
                <a:cubicBezTo>
                  <a:pt x="5004" y="262"/>
                  <a:pt x="5004" y="262"/>
                  <a:pt x="5004" y="262"/>
                </a:cubicBezTo>
                <a:cubicBezTo>
                  <a:pt x="5004" y="236"/>
                  <a:pt x="5038" y="206"/>
                  <a:pt x="5080" y="206"/>
                </a:cubicBezTo>
                <a:cubicBezTo>
                  <a:pt x="5114" y="206"/>
                  <a:pt x="5140" y="220"/>
                  <a:pt x="5140" y="286"/>
                </a:cubicBezTo>
                <a:cubicBezTo>
                  <a:pt x="5140" y="340"/>
                  <a:pt x="5140" y="340"/>
                  <a:pt x="5140" y="340"/>
                </a:cubicBezTo>
                <a:cubicBezTo>
                  <a:pt x="5140" y="432"/>
                  <a:pt x="5136" y="432"/>
                  <a:pt x="5098" y="434"/>
                </a:cubicBezTo>
                <a:cubicBezTo>
                  <a:pt x="5098" y="446"/>
                  <a:pt x="5098" y="446"/>
                  <a:pt x="5098" y="446"/>
                </a:cubicBezTo>
                <a:cubicBezTo>
                  <a:pt x="5240" y="446"/>
                  <a:pt x="5240" y="446"/>
                  <a:pt x="5240" y="446"/>
                </a:cubicBezTo>
                <a:lnTo>
                  <a:pt x="5240" y="434"/>
                </a:lnTo>
                <a:close/>
                <a:moveTo>
                  <a:pt x="5516" y="192"/>
                </a:moveTo>
                <a:cubicBezTo>
                  <a:pt x="5516" y="180"/>
                  <a:pt x="5516" y="180"/>
                  <a:pt x="5516" y="180"/>
                </a:cubicBezTo>
                <a:cubicBezTo>
                  <a:pt x="5418" y="180"/>
                  <a:pt x="5418" y="180"/>
                  <a:pt x="5418" y="180"/>
                </a:cubicBezTo>
                <a:cubicBezTo>
                  <a:pt x="5418" y="192"/>
                  <a:pt x="5418" y="192"/>
                  <a:pt x="5418" y="192"/>
                </a:cubicBezTo>
                <a:cubicBezTo>
                  <a:pt x="5442" y="194"/>
                  <a:pt x="5454" y="206"/>
                  <a:pt x="5446" y="234"/>
                </a:cubicBezTo>
                <a:cubicBezTo>
                  <a:pt x="5394" y="390"/>
                  <a:pt x="5394" y="390"/>
                  <a:pt x="5394" y="390"/>
                </a:cubicBezTo>
                <a:cubicBezTo>
                  <a:pt x="5342" y="270"/>
                  <a:pt x="5342" y="270"/>
                  <a:pt x="5342" y="270"/>
                </a:cubicBezTo>
                <a:cubicBezTo>
                  <a:pt x="5328" y="238"/>
                  <a:pt x="5322" y="224"/>
                  <a:pt x="5322" y="212"/>
                </a:cubicBezTo>
                <a:cubicBezTo>
                  <a:pt x="5322" y="202"/>
                  <a:pt x="5328" y="196"/>
                  <a:pt x="5348" y="192"/>
                </a:cubicBezTo>
                <a:cubicBezTo>
                  <a:pt x="5348" y="180"/>
                  <a:pt x="5348" y="180"/>
                  <a:pt x="5348" y="180"/>
                </a:cubicBezTo>
                <a:cubicBezTo>
                  <a:pt x="5220" y="180"/>
                  <a:pt x="5220" y="180"/>
                  <a:pt x="5220" y="180"/>
                </a:cubicBezTo>
                <a:cubicBezTo>
                  <a:pt x="5220" y="192"/>
                  <a:pt x="5220" y="192"/>
                  <a:pt x="5220" y="192"/>
                </a:cubicBezTo>
                <a:cubicBezTo>
                  <a:pt x="5252" y="194"/>
                  <a:pt x="5254" y="198"/>
                  <a:pt x="5296" y="292"/>
                </a:cubicBezTo>
                <a:cubicBezTo>
                  <a:pt x="5368" y="450"/>
                  <a:pt x="5368" y="450"/>
                  <a:pt x="5368" y="450"/>
                </a:cubicBezTo>
                <a:cubicBezTo>
                  <a:pt x="5344" y="512"/>
                  <a:pt x="5306" y="546"/>
                  <a:pt x="5228" y="564"/>
                </a:cubicBezTo>
                <a:cubicBezTo>
                  <a:pt x="5232" y="576"/>
                  <a:pt x="5246" y="600"/>
                  <a:pt x="5254" y="606"/>
                </a:cubicBezTo>
                <a:cubicBezTo>
                  <a:pt x="5356" y="564"/>
                  <a:pt x="5376" y="498"/>
                  <a:pt x="5412" y="396"/>
                </a:cubicBezTo>
                <a:cubicBezTo>
                  <a:pt x="5466" y="242"/>
                  <a:pt x="5466" y="242"/>
                  <a:pt x="5466" y="242"/>
                </a:cubicBezTo>
                <a:cubicBezTo>
                  <a:pt x="5478" y="206"/>
                  <a:pt x="5498" y="192"/>
                  <a:pt x="5516" y="192"/>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600" kern="1200">
                <a:solidFill>
                  <a:schemeClr val="tx1"/>
                </a:solidFill>
                <a:latin typeface="Arial" charset="0"/>
                <a:ea typeface="+mn-ea"/>
                <a:cs typeface="+mn-cs"/>
              </a:defRPr>
            </a:lvl1pPr>
            <a:lvl2pPr marL="457200" algn="l" rtl="0" fontAlgn="base">
              <a:spcBef>
                <a:spcPct val="0"/>
              </a:spcBef>
              <a:spcAft>
                <a:spcPct val="0"/>
              </a:spcAft>
              <a:defRPr sz="1600" kern="1200">
                <a:solidFill>
                  <a:schemeClr val="tx1"/>
                </a:solidFill>
                <a:latin typeface="Arial" charset="0"/>
                <a:ea typeface="+mn-ea"/>
                <a:cs typeface="+mn-cs"/>
              </a:defRPr>
            </a:lvl2pPr>
            <a:lvl3pPr marL="914400" algn="l" rtl="0" fontAlgn="base">
              <a:spcBef>
                <a:spcPct val="0"/>
              </a:spcBef>
              <a:spcAft>
                <a:spcPct val="0"/>
              </a:spcAft>
              <a:defRPr sz="1600" kern="1200">
                <a:solidFill>
                  <a:schemeClr val="tx1"/>
                </a:solidFill>
                <a:latin typeface="Arial" charset="0"/>
                <a:ea typeface="+mn-ea"/>
                <a:cs typeface="+mn-cs"/>
              </a:defRPr>
            </a:lvl3pPr>
            <a:lvl4pPr marL="1371600" algn="l" rtl="0" fontAlgn="base">
              <a:spcBef>
                <a:spcPct val="0"/>
              </a:spcBef>
              <a:spcAft>
                <a:spcPct val="0"/>
              </a:spcAft>
              <a:defRPr sz="1600" kern="1200">
                <a:solidFill>
                  <a:schemeClr val="tx1"/>
                </a:solidFill>
                <a:latin typeface="Arial" charset="0"/>
                <a:ea typeface="+mn-ea"/>
                <a:cs typeface="+mn-cs"/>
              </a:defRPr>
            </a:lvl4pPr>
            <a:lvl5pPr marL="1828800" algn="l" rtl="0" fontAlgn="base">
              <a:spcBef>
                <a:spcPct val="0"/>
              </a:spcBef>
              <a:spcAft>
                <a:spcPct val="0"/>
              </a:spcAft>
              <a:defRPr sz="1600" kern="1200">
                <a:solidFill>
                  <a:schemeClr val="tx1"/>
                </a:solidFill>
                <a:latin typeface="Arial" charset="0"/>
                <a:ea typeface="+mn-ea"/>
                <a:cs typeface="+mn-cs"/>
              </a:defRPr>
            </a:lvl5pPr>
            <a:lvl6pPr marL="2286000" algn="l" defTabSz="914400" rtl="0" eaLnBrk="1" latinLnBrk="0" hangingPunct="1">
              <a:defRPr sz="1600" kern="1200">
                <a:solidFill>
                  <a:schemeClr val="tx1"/>
                </a:solidFill>
                <a:latin typeface="Arial" charset="0"/>
                <a:ea typeface="+mn-ea"/>
                <a:cs typeface="+mn-cs"/>
              </a:defRPr>
            </a:lvl6pPr>
            <a:lvl7pPr marL="2743200" algn="l" defTabSz="914400" rtl="0" eaLnBrk="1" latinLnBrk="0" hangingPunct="1">
              <a:defRPr sz="1600" kern="1200">
                <a:solidFill>
                  <a:schemeClr val="tx1"/>
                </a:solidFill>
                <a:latin typeface="Arial" charset="0"/>
                <a:ea typeface="+mn-ea"/>
                <a:cs typeface="+mn-cs"/>
              </a:defRPr>
            </a:lvl7pPr>
            <a:lvl8pPr marL="3200400" algn="l" defTabSz="914400" rtl="0" eaLnBrk="1" latinLnBrk="0" hangingPunct="1">
              <a:defRPr sz="1600" kern="1200">
                <a:solidFill>
                  <a:schemeClr val="tx1"/>
                </a:solidFill>
                <a:latin typeface="Arial" charset="0"/>
                <a:ea typeface="+mn-ea"/>
                <a:cs typeface="+mn-cs"/>
              </a:defRPr>
            </a:lvl8pPr>
            <a:lvl9pPr marL="3657600" algn="l" defTabSz="914400" rtl="0" eaLnBrk="1" latinLnBrk="0" hangingPunct="1">
              <a:defRPr sz="1600" kern="1200">
                <a:solidFill>
                  <a:schemeClr val="tx1"/>
                </a:solidFill>
                <a:latin typeface="Arial" charset="0"/>
                <a:ea typeface="+mn-ea"/>
                <a:cs typeface="+mn-cs"/>
              </a:defRPr>
            </a:lvl9pPr>
          </a:lstStyle>
          <a:p>
            <a:endParaRPr lang="en-US" baseline="0" dirty="0">
              <a:solidFill>
                <a:srgbClr val="000000"/>
              </a:solidFill>
              <a:latin typeface="+mn-lt"/>
            </a:endParaRPr>
          </a:p>
        </p:txBody>
      </p:sp>
      <p:sp>
        <p:nvSpPr>
          <p:cNvPr id="27" name="Disclaimer-English (United States)" hidden="1"/>
          <p:cNvSpPr>
            <a:spLocks noChangeArrowheads="1"/>
          </p:cNvSpPr>
          <p:nvPr/>
        </p:nvSpPr>
        <p:spPr bwMode="black">
          <a:xfrm>
            <a:off x="2268266" y="6287785"/>
            <a:ext cx="3544453" cy="36908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t" anchorCtr="0">
            <a:noAutofit/>
          </a:bodyPr>
          <a:lstStyle/>
          <a:p>
            <a:pPr defTabSz="804863" eaLnBrk="0" hangingPunct="0"/>
            <a:r>
              <a:rPr lang="en-US" sz="800" baseline="0" dirty="0">
                <a:solidFill>
                  <a:srgbClr val="FFFFFF"/>
                </a:solidFill>
                <a:latin typeface="+mn-lt"/>
              </a:rPr>
              <a:t>CONFIDENTIAL AND PROPRIETARY</a:t>
            </a:r>
          </a:p>
          <a:p>
            <a:pPr defTabSz="804863" eaLnBrk="0" hangingPunct="0"/>
            <a:r>
              <a:rPr lang="en-US" sz="800" baseline="0" dirty="0">
                <a:solidFill>
                  <a:srgbClr val="FFFFFF"/>
                </a:solidFill>
                <a:latin typeface="+mn-lt"/>
              </a:rPr>
              <a:t>Any use of this material without specific permission of McKinsey &amp; Company is strictly prohibited</a:t>
            </a:r>
          </a:p>
        </p:txBody>
      </p:sp>
    </p:spTree>
    <p:extLst>
      <p:ext uri="{BB962C8B-B14F-4D97-AF65-F5344CB8AC3E}">
        <p14:creationId xmlns:p14="http://schemas.microsoft.com/office/powerpoint/2010/main" val="3447494335"/>
      </p:ext>
    </p:extLst>
  </p:cSld>
  <p:clrMapOvr>
    <a:masterClrMapping/>
  </p:clrMapOvr>
  <p:extLst mod="1">
    <p:ext uri="{DCECCB84-F9BA-43D5-87BE-67443E8EF086}">
      <p15:sldGuideLst xmlns:p15="http://schemas.microsoft.com/office/powerpoint/2012/main">
        <p15:guide id="1" orient="horz" pos="2117">
          <p15:clr>
            <a:srgbClr val="FBAE40"/>
          </p15:clr>
        </p15:guide>
        <p15:guide id="2" pos="1416">
          <p15:clr>
            <a:srgbClr val="FBAE4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6E228F5-5CF1-42E1-9748-97D7582A107A}"/>
              </a:ext>
            </a:extLst>
          </p:cNvPr>
          <p:cNvGraphicFramePr>
            <a:graphicFrameLocks noChangeAspect="1"/>
          </p:cNvGraphicFramePr>
          <p:nvPr>
            <p:custDataLst>
              <p:tags r:id="rId2"/>
            </p:custDataLst>
            <p:extLst>
              <p:ext uri="{D42A27DB-BD31-4B8C-83A1-F6EECF244321}">
                <p14:modId xmlns:p14="http://schemas.microsoft.com/office/powerpoint/2010/main" val="185372449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0372" name="think-cell Slide" r:id="rId5" imgW="353" imgH="353" progId="TCLayout.ActiveDocument.1">
                  <p:embed/>
                </p:oleObj>
              </mc:Choice>
              <mc:Fallback>
                <p:oleObj name="think-cell Slide" r:id="rId5" imgW="353" imgH="353" progId="TCLayout.ActiveDocument.1">
                  <p:embed/>
                  <p:pic>
                    <p:nvPicPr>
                      <p:cNvPr id="3" name="Object 2" hidden="1">
                        <a:extLst>
                          <a:ext uri="{FF2B5EF4-FFF2-40B4-BE49-F238E27FC236}">
                            <a16:creationId xmlns:a16="http://schemas.microsoft.com/office/drawing/2014/main" id="{C6E228F5-5CF1-42E1-9748-97D7582A107A}"/>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2. Slide Title"/>
          <p:cNvSpPr>
            <a:spLocks noGrp="1"/>
          </p:cNvSpPr>
          <p:nvPr>
            <p:ph type="title"/>
          </p:nvPr>
        </p:nvSpPr>
        <p:spPr bwMode="auto"/>
        <p:txBody>
          <a:bodyPr/>
          <a:lstStyle/>
          <a:p>
            <a:r>
              <a:rPr lang="en-US"/>
              <a:t>Click to edit Master title style</a:t>
            </a:r>
            <a:endParaRPr lang="en-US" dirty="0"/>
          </a:p>
        </p:txBody>
      </p:sp>
      <p:sp>
        <p:nvSpPr>
          <p:cNvPr id="8" name="Slide Number"/>
          <p:cNvSpPr txBox="1">
            <a:spLocks/>
          </p:cNvSpPr>
          <p:nvPr/>
        </p:nvSpPr>
        <p:spPr bwMode="auto">
          <a:xfrm>
            <a:off x="8564563" y="6508272"/>
            <a:ext cx="125034" cy="123111"/>
          </a:xfrm>
          <a:prstGeom prst="rect">
            <a:avLst/>
          </a:prstGeom>
        </p:spPr>
        <p:txBody>
          <a:bodyPr vert="horz" wrap="none" lIns="0" tIns="0" rIns="0" bIns="0" rtlCol="0" anchor="ctr">
            <a:spAutoFit/>
          </a:bodyPr>
          <a:lstStyle>
            <a:defPPr>
              <a:defRPr lang="en-US"/>
            </a:defPPr>
            <a:lvl1pPr>
              <a:defRPr sz="1000" baseline="0">
                <a:latin typeface="+mn-lt"/>
              </a:defRPr>
            </a:lvl1pPr>
          </a:lstStyle>
          <a:p>
            <a:fld id="{42C328C1-A84F-4A39-A664-DBA00541A8C6}" type="slidenum">
              <a:rPr lang="en-US" sz="800" baseline="0" smtClean="0">
                <a:solidFill>
                  <a:srgbClr val="808080"/>
                </a:solidFill>
                <a:latin typeface="+mn-lt"/>
              </a:rPr>
              <a:pPr/>
              <a:t>‹#›</a:t>
            </a:fld>
            <a:endParaRPr lang="en-US" sz="800" baseline="0" dirty="0">
              <a:solidFill>
                <a:srgbClr val="808080"/>
              </a:solidFill>
              <a:latin typeface="+mn-lt"/>
            </a:endParaRPr>
          </a:p>
        </p:txBody>
      </p:sp>
      <p:sp>
        <p:nvSpPr>
          <p:cNvPr id="9" name="SlideLogoText"/>
          <p:cNvSpPr>
            <a:spLocks noChangeArrowheads="1"/>
          </p:cNvSpPr>
          <p:nvPr>
            <p:custDataLst>
              <p:tags r:id="rId3"/>
            </p:custDataLst>
          </p:nvPr>
        </p:nvSpPr>
        <p:spPr bwMode="auto">
          <a:xfrm>
            <a:off x="7450817" y="6508272"/>
            <a:ext cx="1013098"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algn="r" defTabSz="895350"/>
            <a:r>
              <a:rPr lang="en-US" sz="800" baseline="0" dirty="0">
                <a:solidFill>
                  <a:srgbClr val="808080"/>
                </a:solidFill>
                <a:latin typeface="+mn-lt"/>
              </a:rPr>
              <a:t>McKinsey &amp; Company</a:t>
            </a:r>
          </a:p>
        </p:txBody>
      </p:sp>
      <p:sp>
        <p:nvSpPr>
          <p:cNvPr id="5" name="doc id" hidden="1"/>
          <p:cNvSpPr txBox="1">
            <a:spLocks noChangeArrowheads="1"/>
          </p:cNvSpPr>
          <p:nvPr/>
        </p:nvSpPr>
        <p:spPr bwMode="white">
          <a:xfrm>
            <a:off x="8104473" y="36513"/>
            <a:ext cx="634716" cy="115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hangingPunct="1">
              <a:defRPr/>
            </a:pPr>
            <a:endParaRPr lang="en-US" sz="800" baseline="0" dirty="0">
              <a:solidFill>
                <a:schemeClr val="accent1"/>
              </a:solidFill>
              <a:latin typeface="+mn-lt"/>
              <a:ea typeface="+mn-ea"/>
            </a:endParaRPr>
          </a:p>
        </p:txBody>
      </p:sp>
    </p:spTree>
    <p:extLst>
      <p:ext uri="{BB962C8B-B14F-4D97-AF65-F5344CB8AC3E}">
        <p14:creationId xmlns:p14="http://schemas.microsoft.com/office/powerpoint/2010/main" val="2289636069"/>
      </p:ext>
    </p:extLst>
  </p:cSld>
  <p:clrMapOvr>
    <a:masterClrMapping/>
  </p:clrMapOvr>
  <p:extLst mod="1">
    <p:ext uri="{DCECCB84-F9BA-43D5-87BE-67443E8EF086}">
      <p15:sldGuideLst xmlns:p15="http://schemas.microsoft.com/office/powerpoint/2012/main">
        <p15:guide id="1" pos="5505">
          <p15:clr>
            <a:srgbClr val="F26B43"/>
          </p15:clr>
        </p15:guide>
        <p15:guide id="2" pos="74">
          <p15:clr>
            <a:srgbClr val="F26B43"/>
          </p15:clr>
        </p15:guide>
        <p15:guide id="3" orient="horz" pos="571">
          <p15:clr>
            <a:srgbClr val="F26B43"/>
          </p15:clr>
        </p15:guide>
        <p15:guide id="4" orient="horz" pos="3911">
          <p15:clr>
            <a:srgbClr val="F26B43"/>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p:cSld name="1_Title Only">
    <p:bg>
      <p:bgPr>
        <a:solidFill>
          <a:schemeClr val="accent2"/>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F4AD34F-3B47-47E2-A09C-FFEB949F6A10}"/>
              </a:ext>
            </a:extLst>
          </p:cNvPr>
          <p:cNvGraphicFramePr>
            <a:graphicFrameLocks noChangeAspect="1"/>
          </p:cNvGraphicFramePr>
          <p:nvPr>
            <p:custDataLst>
              <p:tags r:id="rId2"/>
            </p:custDataLst>
            <p:extLst>
              <p:ext uri="{D42A27DB-BD31-4B8C-83A1-F6EECF244321}">
                <p14:modId xmlns:p14="http://schemas.microsoft.com/office/powerpoint/2010/main" val="236305811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1396" name="think-cell Slide" r:id="rId5" imgW="395" imgH="394" progId="TCLayout.ActiveDocument.1">
                  <p:embed/>
                </p:oleObj>
              </mc:Choice>
              <mc:Fallback>
                <p:oleObj name="think-cell Slide" r:id="rId5" imgW="395" imgH="394" progId="TCLayout.ActiveDocument.1">
                  <p:embed/>
                  <p:pic>
                    <p:nvPicPr>
                      <p:cNvPr id="3" name="Object 2" hidden="1">
                        <a:extLst>
                          <a:ext uri="{FF2B5EF4-FFF2-40B4-BE49-F238E27FC236}">
                            <a16:creationId xmlns:a16="http://schemas.microsoft.com/office/drawing/2014/main" id="{EF4AD34F-3B47-47E2-A09C-FFEB949F6A10}"/>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endParaRPr lang="en-US" dirty="0"/>
          </a:p>
        </p:txBody>
      </p:sp>
      <p:sp>
        <p:nvSpPr>
          <p:cNvPr id="15" name="Slide Number"/>
          <p:cNvSpPr txBox="1">
            <a:spLocks/>
          </p:cNvSpPr>
          <p:nvPr/>
        </p:nvSpPr>
        <p:spPr>
          <a:xfrm>
            <a:off x="8564563" y="6508272"/>
            <a:ext cx="125034" cy="123111"/>
          </a:xfrm>
          <a:prstGeom prst="rect">
            <a:avLst/>
          </a:prstGeom>
        </p:spPr>
        <p:txBody>
          <a:bodyPr vert="horz" wrap="none" lIns="0" tIns="0" rIns="0" bIns="0" rtlCol="0" anchor="ctr">
            <a:spAutoFit/>
          </a:bodyPr>
          <a:lstStyle>
            <a:defPPr>
              <a:defRPr lang="en-US"/>
            </a:defPPr>
            <a:lvl1pPr>
              <a:defRPr sz="1000" baseline="0">
                <a:latin typeface="+mn-lt"/>
              </a:defRPr>
            </a:lvl1pPr>
          </a:lstStyle>
          <a:p>
            <a:fld id="{42C328C1-A84F-4A39-A664-DBA00541A8C6}" type="slidenum">
              <a:rPr lang="en-US" sz="800" baseline="0" smtClean="0">
                <a:solidFill>
                  <a:srgbClr val="FFFFFF"/>
                </a:solidFill>
                <a:latin typeface="+mn-lt"/>
              </a:rPr>
              <a:pPr/>
              <a:t>‹#›</a:t>
            </a:fld>
            <a:endParaRPr lang="en-US" sz="800" baseline="0" dirty="0">
              <a:solidFill>
                <a:srgbClr val="FFFFFF"/>
              </a:solidFill>
              <a:latin typeface="+mn-lt"/>
            </a:endParaRPr>
          </a:p>
        </p:txBody>
      </p:sp>
      <p:sp>
        <p:nvSpPr>
          <p:cNvPr id="16" name="SlideLogoText"/>
          <p:cNvSpPr>
            <a:spLocks noChangeArrowheads="1"/>
          </p:cNvSpPr>
          <p:nvPr>
            <p:custDataLst>
              <p:tags r:id="rId3"/>
            </p:custDataLst>
          </p:nvPr>
        </p:nvSpPr>
        <p:spPr bwMode="auto">
          <a:xfrm>
            <a:off x="7450817" y="6508272"/>
            <a:ext cx="1013098"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algn="r" defTabSz="895350"/>
            <a:r>
              <a:rPr lang="en-US" sz="800" baseline="0" dirty="0">
                <a:solidFill>
                  <a:srgbClr val="FFFFFF"/>
                </a:solidFill>
                <a:latin typeface="+mn-lt"/>
              </a:rPr>
              <a:t>McKinsey &amp; Company</a:t>
            </a:r>
          </a:p>
        </p:txBody>
      </p:sp>
      <p:sp>
        <p:nvSpPr>
          <p:cNvPr id="5" name="doc id" hidden="1"/>
          <p:cNvSpPr txBox="1">
            <a:spLocks noChangeArrowheads="1"/>
          </p:cNvSpPr>
          <p:nvPr/>
        </p:nvSpPr>
        <p:spPr bwMode="white">
          <a:xfrm>
            <a:off x="8104473" y="36513"/>
            <a:ext cx="634716" cy="115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hangingPunct="1">
              <a:defRPr/>
            </a:pPr>
            <a:endParaRPr lang="en-US" sz="800" baseline="0" dirty="0">
              <a:solidFill>
                <a:schemeClr val="accent1"/>
              </a:solidFill>
              <a:latin typeface="+mn-lt"/>
              <a:ea typeface="+mn-ea"/>
            </a:endParaRPr>
          </a:p>
        </p:txBody>
      </p:sp>
    </p:spTree>
    <p:extLst>
      <p:ext uri="{BB962C8B-B14F-4D97-AF65-F5344CB8AC3E}">
        <p14:creationId xmlns:p14="http://schemas.microsoft.com/office/powerpoint/2010/main" val="3690871694"/>
      </p:ext>
    </p:extLst>
  </p:cSld>
  <p:clrMapOvr>
    <a:masterClrMapping/>
  </p:clrMapOvr>
  <p:extLst mod="1">
    <p:ext uri="{DCECCB84-F9BA-43D5-87BE-67443E8EF086}">
      <p15:sldGuideLst xmlns:p15="http://schemas.microsoft.com/office/powerpoint/2012/main">
        <p15:guide id="1" pos="3978">
          <p15:clr>
            <a:srgbClr val="000000"/>
          </p15:clr>
        </p15:guide>
        <p15:guide id="2" orient="horz" pos="570">
          <p15:clr>
            <a:srgbClr val="000000"/>
          </p15:clr>
        </p15:guide>
        <p15:guide id="3" orient="horz" pos="3912">
          <p15:clr>
            <a:srgbClr val="000000"/>
          </p15:clr>
        </p15:guide>
        <p15:guide id="4" pos="72">
          <p15:clr>
            <a:srgbClr val="00000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type="titleOnly">
  <p:cSld name="2_Title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ECD524A-1569-4253-8CD8-48D288AD883C}"/>
              </a:ext>
            </a:extLst>
          </p:cNvPr>
          <p:cNvGraphicFramePr>
            <a:graphicFrameLocks noChangeAspect="1"/>
          </p:cNvGraphicFramePr>
          <p:nvPr>
            <p:custDataLst>
              <p:tags r:id="rId2"/>
            </p:custDataLst>
            <p:extLst>
              <p:ext uri="{D42A27DB-BD31-4B8C-83A1-F6EECF244321}">
                <p14:modId xmlns:p14="http://schemas.microsoft.com/office/powerpoint/2010/main" val="222487070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260" name="think-cell Slide" r:id="rId4" imgW="395" imgH="394" progId="TCLayout.ActiveDocument.1">
                  <p:embed/>
                </p:oleObj>
              </mc:Choice>
              <mc:Fallback>
                <p:oleObj name="think-cell Slide" r:id="rId4" imgW="395" imgH="394" progId="TCLayout.ActiveDocument.1">
                  <p:embed/>
                  <p:pic>
                    <p:nvPicPr>
                      <p:cNvPr id="3" name="Object 2" hidden="1">
                        <a:extLst>
                          <a:ext uri="{FF2B5EF4-FFF2-40B4-BE49-F238E27FC236}">
                            <a16:creationId xmlns:a16="http://schemas.microsoft.com/office/drawing/2014/main" id="{5ECD524A-1569-4253-8CD8-48D288AD883C}"/>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507256654"/>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type="titleOnly">
  <p:cSld name="2_Title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ECD524A-1569-4253-8CD8-48D288AD883C}"/>
              </a:ext>
            </a:extLst>
          </p:cNvPr>
          <p:cNvGraphicFramePr>
            <a:graphicFrameLocks noChangeAspect="1"/>
          </p:cNvGraphicFramePr>
          <p:nvPr>
            <p:custDataLst>
              <p:tags r:id="rId2"/>
            </p:custDataLst>
            <p:extLst>
              <p:ext uri="{D42A27DB-BD31-4B8C-83A1-F6EECF244321}">
                <p14:modId xmlns:p14="http://schemas.microsoft.com/office/powerpoint/2010/main" val="162386844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2420" name="think-cell Slide" r:id="rId4" imgW="395" imgH="394" progId="TCLayout.ActiveDocument.1">
                  <p:embed/>
                </p:oleObj>
              </mc:Choice>
              <mc:Fallback>
                <p:oleObj name="think-cell Slide" r:id="rId4" imgW="395" imgH="394" progId="TCLayout.ActiveDocument.1">
                  <p:embed/>
                  <p:pic>
                    <p:nvPicPr>
                      <p:cNvPr id="3" name="Object 2" hidden="1">
                        <a:extLst>
                          <a:ext uri="{FF2B5EF4-FFF2-40B4-BE49-F238E27FC236}">
                            <a16:creationId xmlns:a16="http://schemas.microsoft.com/office/drawing/2014/main" id="{5ECD524A-1569-4253-8CD8-48D288AD883C}"/>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932610351"/>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pic>
        <p:nvPicPr>
          <p:cNvPr id="2" name="background"/>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0" y="198"/>
            <a:ext cx="8961438" cy="6721079"/>
          </a:xfrm>
          <a:prstGeom prst="rect">
            <a:avLst/>
          </a:prstGeom>
        </p:spPr>
      </p:pic>
      <p:sp>
        <p:nvSpPr>
          <p:cNvPr id="28" name="TitleRectangle"/>
          <p:cNvSpPr txBox="1">
            <a:spLocks/>
          </p:cNvSpPr>
          <p:nvPr/>
        </p:nvSpPr>
        <p:spPr>
          <a:xfrm>
            <a:off x="2084388" y="0"/>
            <a:ext cx="6875462" cy="3575976"/>
          </a:xfrm>
          <a:prstGeom prst="rect">
            <a:avLst/>
          </a:prstGeom>
          <a:solidFill>
            <a:srgbClr val="002960">
              <a:alpha val="92000"/>
            </a:srgbClr>
          </a:solidFill>
        </p:spPr>
        <p:txBody>
          <a:bodyPr vert="horz" wrap="square" lIns="216000" tIns="1440000" rIns="216000" bIns="108000" rtlCol="0">
            <a:noAutofit/>
          </a:bodyPr>
          <a:lstStyle>
            <a:lvl1pPr marL="0" indent="0" algn="l" defTabSz="914400" rtl="0" eaLnBrk="1" latinLnBrk="0" hangingPunct="1">
              <a:spcBef>
                <a:spcPct val="20000"/>
              </a:spcBef>
              <a:spcAft>
                <a:spcPts val="6000"/>
              </a:spcAft>
              <a:buFont typeface="Arial" pitchFamily="34" charset="0"/>
              <a:buNone/>
              <a:defRPr sz="3200" kern="1200">
                <a:solidFill>
                  <a:schemeClr val="accent1"/>
                </a:solidFill>
                <a:latin typeface="+mn-lt"/>
                <a:ea typeface="+mn-ea"/>
                <a:cs typeface="+mn-cs"/>
              </a:defRPr>
            </a:lvl1pPr>
            <a:lvl2pPr marL="0" indent="0" algn="l" defTabSz="914400" rtl="0" eaLnBrk="1" latinLnBrk="0" hangingPunct="1">
              <a:spcBef>
                <a:spcPct val="20000"/>
              </a:spcBef>
              <a:buFont typeface="Wingdings" charset="2"/>
              <a:buNone/>
              <a:defRPr sz="1400" kern="1200">
                <a:solidFill>
                  <a:schemeClr val="tx1">
                    <a:lumMod val="50000"/>
                    <a:lumOff val="50000"/>
                  </a:schemeClr>
                </a:solidFill>
                <a:latin typeface="+mn-lt"/>
                <a:ea typeface="+mn-ea"/>
                <a:cs typeface="+mn-cs"/>
              </a:defRPr>
            </a:lvl2pPr>
            <a:lvl3pPr marL="1143000" indent="-228600" algn="l" defTabSz="914400" rtl="0" eaLnBrk="1" latinLnBrk="0" hangingPunct="1">
              <a:spcBef>
                <a:spcPct val="20000"/>
              </a:spcBef>
              <a:buFont typeface="Lucida Grande"/>
              <a:buChar char="–"/>
              <a:defRPr sz="16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fontAlgn="auto">
              <a:defRPr/>
            </a:pPr>
            <a:r>
              <a:rPr lang="en-US" baseline="0" dirty="0">
                <a:solidFill>
                  <a:srgbClr val="00ADEF"/>
                </a:solidFill>
                <a:latin typeface="+mn-lt"/>
              </a:rPr>
              <a:t>
              </a:t>
            </a:r>
            <a:br>
              <a:rPr lang="en-US" baseline="0" dirty="0">
                <a:solidFill>
                  <a:srgbClr val="00ADEF"/>
                </a:solidFill>
                <a:latin typeface="+mn-lt"/>
              </a:rPr>
            </a:br>
            <a:endParaRPr lang="en-US" baseline="0" dirty="0">
              <a:solidFill>
                <a:srgbClr val="00ADEF"/>
              </a:solidFill>
              <a:latin typeface="+mn-lt"/>
            </a:endParaRPr>
          </a:p>
        </p:txBody>
      </p:sp>
      <p:graphicFrame>
        <p:nvGraphicFramePr>
          <p:cNvPr id="3" name="Object 2"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4468"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Working Draft Text" hidden="1"/>
          <p:cNvSpPr txBox="1">
            <a:spLocks noChangeArrowheads="1"/>
          </p:cNvSpPr>
          <p:nvPr/>
        </p:nvSpPr>
        <p:spPr bwMode="black">
          <a:xfrm>
            <a:off x="5992719" y="6287538"/>
            <a:ext cx="2790000"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800" b="1" baseline="0" dirty="0">
                <a:solidFill>
                  <a:srgbClr val="FFFFFF"/>
                </a:solidFill>
                <a:latin typeface="+mn-lt"/>
              </a:rPr>
              <a:t>WORKING DRAFT</a:t>
            </a:r>
          </a:p>
        </p:txBody>
      </p:sp>
      <p:sp>
        <p:nvSpPr>
          <p:cNvPr id="6" name="Working Draft" hidden="1"/>
          <p:cNvSpPr txBox="1">
            <a:spLocks noChangeArrowheads="1"/>
          </p:cNvSpPr>
          <p:nvPr/>
        </p:nvSpPr>
        <p:spPr bwMode="black">
          <a:xfrm>
            <a:off x="5992718" y="6410648"/>
            <a:ext cx="2968719"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800" baseline="0">
                <a:solidFill>
                  <a:srgbClr val="FFFFFF"/>
                </a:solidFill>
                <a:latin typeface="+mn-lt"/>
              </a:rPr>
              <a:t>Last Modified 21/05/2018 17:44 India Standard Time</a:t>
            </a:r>
            <a:endParaRPr lang="en-US" sz="800" baseline="0" dirty="0">
              <a:solidFill>
                <a:srgbClr val="FFFFFF"/>
              </a:solidFill>
              <a:latin typeface="+mn-lt"/>
            </a:endParaRPr>
          </a:p>
        </p:txBody>
      </p:sp>
      <p:sp>
        <p:nvSpPr>
          <p:cNvPr id="7" name="Printed" hidden="1"/>
          <p:cNvSpPr txBox="1">
            <a:spLocks noChangeArrowheads="1"/>
          </p:cNvSpPr>
          <p:nvPr/>
        </p:nvSpPr>
        <p:spPr bwMode="black">
          <a:xfrm>
            <a:off x="5992719" y="6533759"/>
            <a:ext cx="2790000"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800" baseline="0" dirty="0">
                <a:solidFill>
                  <a:srgbClr val="FFFFFF"/>
                </a:solidFill>
                <a:latin typeface="+mn-lt"/>
              </a:rPr>
              <a:t>Printed</a:t>
            </a:r>
          </a:p>
        </p:txBody>
      </p:sp>
      <p:sp>
        <p:nvSpPr>
          <p:cNvPr id="13314" name="Title"/>
          <p:cNvSpPr>
            <a:spLocks noGrp="1" noChangeArrowheads="1"/>
          </p:cNvSpPr>
          <p:nvPr>
            <p:ph type="ctrTitle"/>
          </p:nvPr>
        </p:nvSpPr>
        <p:spPr>
          <a:xfrm>
            <a:off x="2268266" y="1434419"/>
            <a:ext cx="6231663" cy="492443"/>
          </a:xfrm>
          <a:prstGeom prst="rect">
            <a:avLst/>
          </a:prstGeom>
        </p:spPr>
        <p:txBody>
          <a:bodyPr>
            <a:spAutoFit/>
          </a:bodyPr>
          <a:lstStyle>
            <a:lvl1pPr>
              <a:defRPr sz="3200" b="0" baseline="0">
                <a:solidFill>
                  <a:schemeClr val="accent2"/>
                </a:solidFill>
                <a:latin typeface="+mj-lt"/>
                <a:ea typeface="+mj-ea"/>
              </a:defRPr>
            </a:lvl1pPr>
          </a:lstStyle>
          <a:p>
            <a:pPr lvl="0" latinLnBrk="0"/>
            <a:r>
              <a:rPr lang="en-US" noProof="0"/>
              <a:t>Click to edit Master title style</a:t>
            </a:r>
            <a:endParaRPr lang="en-US" noProof="0" dirty="0"/>
          </a:p>
        </p:txBody>
      </p:sp>
      <p:sp>
        <p:nvSpPr>
          <p:cNvPr id="13315" name="Subtitle"/>
          <p:cNvSpPr>
            <a:spLocks noGrp="1" noChangeArrowheads="1"/>
          </p:cNvSpPr>
          <p:nvPr>
            <p:ph type="subTitle" idx="1"/>
          </p:nvPr>
        </p:nvSpPr>
        <p:spPr>
          <a:xfrm>
            <a:off x="2268266" y="2819401"/>
            <a:ext cx="6231663" cy="215444"/>
          </a:xfrm>
          <a:prstGeom prst="rect">
            <a:avLst/>
          </a:prstGeom>
        </p:spPr>
        <p:txBody>
          <a:bodyPr wrap="square">
            <a:spAutoFit/>
          </a:bodyPr>
          <a:lstStyle>
            <a:lvl1pPr>
              <a:defRPr sz="1400" cap="all" baseline="0">
                <a:solidFill>
                  <a:schemeClr val="bg1"/>
                </a:solidFill>
                <a:latin typeface="+mn-lt"/>
                <a:ea typeface="+mn-ea"/>
              </a:defRPr>
            </a:lvl1pPr>
          </a:lstStyle>
          <a:p>
            <a:pPr lvl="0" latinLnBrk="0"/>
            <a:r>
              <a:rPr lang="en-US" noProof="0"/>
              <a:t>Click to edit Master subtitle style</a:t>
            </a:r>
            <a:endParaRPr lang="en-US" noProof="0" dirty="0"/>
          </a:p>
        </p:txBody>
      </p:sp>
      <p:sp>
        <p:nvSpPr>
          <p:cNvPr id="57" name="Document type" hidden="1"/>
          <p:cNvSpPr txBox="1">
            <a:spLocks noChangeArrowheads="1"/>
          </p:cNvSpPr>
          <p:nvPr/>
        </p:nvSpPr>
        <p:spPr bwMode="gray">
          <a:xfrm>
            <a:off x="2268266" y="3227411"/>
            <a:ext cx="6231663"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00" baseline="0" dirty="0">
                <a:solidFill>
                  <a:schemeClr val="bg1"/>
                </a:solidFill>
                <a:latin typeface="+mn-lt"/>
              </a:rPr>
              <a:t>Document type | Date</a:t>
            </a:r>
          </a:p>
        </p:txBody>
      </p:sp>
      <p:sp>
        <p:nvSpPr>
          <p:cNvPr id="5" name="doc id" hidden="1"/>
          <p:cNvSpPr txBox="1">
            <a:spLocks noChangeArrowheads="1"/>
          </p:cNvSpPr>
          <p:nvPr/>
        </p:nvSpPr>
        <p:spPr bwMode="white">
          <a:xfrm>
            <a:off x="8443913" y="36513"/>
            <a:ext cx="295275" cy="1222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hangingPunct="1">
              <a:defRPr/>
            </a:pPr>
            <a:endParaRPr lang="en-US" sz="800" baseline="0" dirty="0">
              <a:solidFill>
                <a:srgbClr val="FFFFFF"/>
              </a:solidFill>
              <a:latin typeface="+mn-lt"/>
            </a:endParaRPr>
          </a:p>
        </p:txBody>
      </p:sp>
      <p:sp>
        <p:nvSpPr>
          <p:cNvPr id="43" name="LogoImage"/>
          <p:cNvSpPr>
            <a:spLocks noEditPoints="1"/>
          </p:cNvSpPr>
          <p:nvPr/>
        </p:nvSpPr>
        <p:spPr bwMode="white">
          <a:xfrm>
            <a:off x="2269098" y="182925"/>
            <a:ext cx="2176978" cy="238073"/>
          </a:xfrm>
          <a:custGeom>
            <a:avLst/>
            <a:gdLst>
              <a:gd name="T0" fmla="*/ 504 w 5516"/>
              <a:gd name="T1" fmla="*/ 26 h 606"/>
              <a:gd name="T2" fmla="*/ 18 w 5516"/>
              <a:gd name="T3" fmla="*/ 22 h 606"/>
              <a:gd name="T4" fmla="*/ 140 w 5516"/>
              <a:gd name="T5" fmla="*/ 436 h 606"/>
              <a:gd name="T6" fmla="*/ 408 w 5516"/>
              <a:gd name="T7" fmla="*/ 372 h 606"/>
              <a:gd name="T8" fmla="*/ 696 w 5516"/>
              <a:gd name="T9" fmla="*/ 422 h 606"/>
              <a:gd name="T10" fmla="*/ 768 w 5516"/>
              <a:gd name="T11" fmla="*/ 196 h 606"/>
              <a:gd name="T12" fmla="*/ 1272 w 5516"/>
              <a:gd name="T13" fmla="*/ 26 h 606"/>
              <a:gd name="T14" fmla="*/ 1302 w 5516"/>
              <a:gd name="T15" fmla="*/ 338 h 606"/>
              <a:gd name="T16" fmla="*/ 1202 w 5516"/>
              <a:gd name="T17" fmla="*/ 436 h 606"/>
              <a:gd name="T18" fmla="*/ 1030 w 5516"/>
              <a:gd name="T19" fmla="*/ 10 h 606"/>
              <a:gd name="T20" fmla="*/ 960 w 5516"/>
              <a:gd name="T21" fmla="*/ 22 h 606"/>
              <a:gd name="T22" fmla="*/ 804 w 5516"/>
              <a:gd name="T23" fmla="*/ 434 h 606"/>
              <a:gd name="T24" fmla="*/ 930 w 5516"/>
              <a:gd name="T25" fmla="*/ 246 h 606"/>
              <a:gd name="T26" fmla="*/ 1658 w 5516"/>
              <a:gd name="T27" fmla="*/ 342 h 606"/>
              <a:gd name="T28" fmla="*/ 1368 w 5516"/>
              <a:gd name="T29" fmla="*/ 188 h 606"/>
              <a:gd name="T30" fmla="*/ 1514 w 5516"/>
              <a:gd name="T31" fmla="*/ 436 h 606"/>
              <a:gd name="T32" fmla="*/ 1564 w 5516"/>
              <a:gd name="T33" fmla="*/ 434 h 606"/>
              <a:gd name="T34" fmla="*/ 1904 w 5516"/>
              <a:gd name="T35" fmla="*/ 184 h 606"/>
              <a:gd name="T36" fmla="*/ 1728 w 5516"/>
              <a:gd name="T37" fmla="*/ 366 h 606"/>
              <a:gd name="T38" fmla="*/ 2102 w 5516"/>
              <a:gd name="T39" fmla="*/ 192 h 606"/>
              <a:gd name="T40" fmla="*/ 1982 w 5516"/>
              <a:gd name="T41" fmla="*/ 320 h 606"/>
              <a:gd name="T42" fmla="*/ 2478 w 5516"/>
              <a:gd name="T43" fmla="*/ 242 h 606"/>
              <a:gd name="T44" fmla="*/ 2406 w 5516"/>
              <a:gd name="T45" fmla="*/ 390 h 606"/>
              <a:gd name="T46" fmla="*/ 2234 w 5516"/>
              <a:gd name="T47" fmla="*/ 192 h 606"/>
              <a:gd name="T48" fmla="*/ 2478 w 5516"/>
              <a:gd name="T49" fmla="*/ 242 h 606"/>
              <a:gd name="T50" fmla="*/ 2928 w 5516"/>
              <a:gd name="T51" fmla="*/ 448 h 606"/>
              <a:gd name="T52" fmla="*/ 2958 w 5516"/>
              <a:gd name="T53" fmla="*/ 230 h 606"/>
              <a:gd name="T54" fmla="*/ 2716 w 5516"/>
              <a:gd name="T55" fmla="*/ 54 h 606"/>
              <a:gd name="T56" fmla="*/ 2714 w 5516"/>
              <a:gd name="T57" fmla="*/ 36 h 606"/>
              <a:gd name="T58" fmla="*/ 2928 w 5516"/>
              <a:gd name="T59" fmla="*/ 448 h 606"/>
              <a:gd name="T60" fmla="*/ 3388 w 5516"/>
              <a:gd name="T61" fmla="*/ 4 h 606"/>
              <a:gd name="T62" fmla="*/ 3396 w 5516"/>
              <a:gd name="T63" fmla="*/ 366 h 606"/>
              <a:gd name="T64" fmla="*/ 3580 w 5516"/>
              <a:gd name="T65" fmla="*/ 190 h 606"/>
              <a:gd name="T66" fmla="*/ 3502 w 5516"/>
              <a:gd name="T67" fmla="*/ 432 h 606"/>
              <a:gd name="T68" fmla="*/ 4232 w 5516"/>
              <a:gd name="T69" fmla="*/ 348 h 606"/>
              <a:gd name="T70" fmla="*/ 3858 w 5516"/>
              <a:gd name="T71" fmla="*/ 176 h 606"/>
              <a:gd name="T72" fmla="*/ 3758 w 5516"/>
              <a:gd name="T73" fmla="*/ 446 h 606"/>
              <a:gd name="T74" fmla="*/ 3990 w 5516"/>
              <a:gd name="T75" fmla="*/ 282 h 606"/>
              <a:gd name="T76" fmla="*/ 4042 w 5516"/>
              <a:gd name="T77" fmla="*/ 342 h 606"/>
              <a:gd name="T78" fmla="*/ 4134 w 5516"/>
              <a:gd name="T79" fmla="*/ 448 h 606"/>
              <a:gd name="T80" fmla="*/ 4454 w 5516"/>
              <a:gd name="T81" fmla="*/ 202 h 606"/>
              <a:gd name="T82" fmla="*/ 4284 w 5516"/>
              <a:gd name="T83" fmla="*/ 174 h 606"/>
              <a:gd name="T84" fmla="*/ 4432 w 5516"/>
              <a:gd name="T85" fmla="*/ 588 h 606"/>
              <a:gd name="T86" fmla="*/ 4792 w 5516"/>
              <a:gd name="T87" fmla="*/ 382 h 606"/>
              <a:gd name="T88" fmla="*/ 5192 w 5516"/>
              <a:gd name="T89" fmla="*/ 340 h 606"/>
              <a:gd name="T90" fmla="*/ 4902 w 5516"/>
              <a:gd name="T91" fmla="*/ 186 h 606"/>
              <a:gd name="T92" fmla="*/ 4850 w 5516"/>
              <a:gd name="T93" fmla="*/ 274 h 606"/>
              <a:gd name="T94" fmla="*/ 4742 w 5516"/>
              <a:gd name="T95" fmla="*/ 194 h 606"/>
              <a:gd name="T96" fmla="*/ 4794 w 5516"/>
              <a:gd name="T97" fmla="*/ 418 h 606"/>
              <a:gd name="T98" fmla="*/ 5004 w 5516"/>
              <a:gd name="T99" fmla="*/ 338 h 606"/>
              <a:gd name="T100" fmla="*/ 5098 w 5516"/>
              <a:gd name="T101" fmla="*/ 446 h 606"/>
              <a:gd name="T102" fmla="*/ 5418 w 5516"/>
              <a:gd name="T103" fmla="*/ 192 h 606"/>
              <a:gd name="T104" fmla="*/ 5348 w 5516"/>
              <a:gd name="T105" fmla="*/ 180 h 606"/>
              <a:gd name="T106" fmla="*/ 5254 w 5516"/>
              <a:gd name="T107" fmla="*/ 606 h 6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516" h="606">
                <a:moveTo>
                  <a:pt x="366" y="448"/>
                </a:moveTo>
                <a:cubicBezTo>
                  <a:pt x="524" y="448"/>
                  <a:pt x="524" y="448"/>
                  <a:pt x="524" y="448"/>
                </a:cubicBezTo>
                <a:cubicBezTo>
                  <a:pt x="524" y="436"/>
                  <a:pt x="524" y="436"/>
                  <a:pt x="524" y="436"/>
                </a:cubicBezTo>
                <a:cubicBezTo>
                  <a:pt x="486" y="432"/>
                  <a:pt x="470" y="414"/>
                  <a:pt x="468" y="362"/>
                </a:cubicBezTo>
                <a:cubicBezTo>
                  <a:pt x="454" y="86"/>
                  <a:pt x="454" y="86"/>
                  <a:pt x="454" y="86"/>
                </a:cubicBezTo>
                <a:cubicBezTo>
                  <a:pt x="452" y="46"/>
                  <a:pt x="470" y="30"/>
                  <a:pt x="504" y="26"/>
                </a:cubicBezTo>
                <a:cubicBezTo>
                  <a:pt x="504" y="12"/>
                  <a:pt x="504" y="12"/>
                  <a:pt x="504" y="12"/>
                </a:cubicBezTo>
                <a:cubicBezTo>
                  <a:pt x="394" y="12"/>
                  <a:pt x="394" y="12"/>
                  <a:pt x="394" y="12"/>
                </a:cubicBezTo>
                <a:cubicBezTo>
                  <a:pt x="264" y="350"/>
                  <a:pt x="264" y="350"/>
                  <a:pt x="264" y="350"/>
                </a:cubicBezTo>
                <a:cubicBezTo>
                  <a:pt x="132" y="10"/>
                  <a:pt x="132" y="10"/>
                  <a:pt x="132" y="10"/>
                </a:cubicBezTo>
                <a:cubicBezTo>
                  <a:pt x="18" y="10"/>
                  <a:pt x="18" y="10"/>
                  <a:pt x="18" y="10"/>
                </a:cubicBezTo>
                <a:cubicBezTo>
                  <a:pt x="18" y="22"/>
                  <a:pt x="18" y="22"/>
                  <a:pt x="18" y="22"/>
                </a:cubicBezTo>
                <a:cubicBezTo>
                  <a:pt x="40" y="26"/>
                  <a:pt x="74" y="32"/>
                  <a:pt x="72" y="84"/>
                </a:cubicBezTo>
                <a:cubicBezTo>
                  <a:pt x="58" y="352"/>
                  <a:pt x="58" y="352"/>
                  <a:pt x="58" y="352"/>
                </a:cubicBezTo>
                <a:cubicBezTo>
                  <a:pt x="54" y="410"/>
                  <a:pt x="38" y="430"/>
                  <a:pt x="0" y="436"/>
                </a:cubicBezTo>
                <a:cubicBezTo>
                  <a:pt x="0" y="448"/>
                  <a:pt x="0" y="448"/>
                  <a:pt x="0" y="448"/>
                </a:cubicBezTo>
                <a:cubicBezTo>
                  <a:pt x="140" y="448"/>
                  <a:pt x="140" y="448"/>
                  <a:pt x="140" y="448"/>
                </a:cubicBezTo>
                <a:cubicBezTo>
                  <a:pt x="140" y="436"/>
                  <a:pt x="140" y="436"/>
                  <a:pt x="140" y="436"/>
                </a:cubicBezTo>
                <a:cubicBezTo>
                  <a:pt x="98" y="428"/>
                  <a:pt x="84" y="414"/>
                  <a:pt x="88" y="356"/>
                </a:cubicBezTo>
                <a:cubicBezTo>
                  <a:pt x="100" y="86"/>
                  <a:pt x="100" y="86"/>
                  <a:pt x="100" y="86"/>
                </a:cubicBezTo>
                <a:cubicBezTo>
                  <a:pt x="240" y="444"/>
                  <a:pt x="240" y="444"/>
                  <a:pt x="240" y="444"/>
                </a:cubicBezTo>
                <a:cubicBezTo>
                  <a:pt x="258" y="444"/>
                  <a:pt x="258" y="444"/>
                  <a:pt x="258" y="444"/>
                </a:cubicBezTo>
                <a:cubicBezTo>
                  <a:pt x="396" y="86"/>
                  <a:pt x="396" y="86"/>
                  <a:pt x="396" y="86"/>
                </a:cubicBezTo>
                <a:cubicBezTo>
                  <a:pt x="408" y="372"/>
                  <a:pt x="408" y="372"/>
                  <a:pt x="408" y="372"/>
                </a:cubicBezTo>
                <a:cubicBezTo>
                  <a:pt x="410" y="416"/>
                  <a:pt x="398" y="430"/>
                  <a:pt x="366" y="434"/>
                </a:cubicBezTo>
                <a:lnTo>
                  <a:pt x="366" y="448"/>
                </a:lnTo>
                <a:close/>
                <a:moveTo>
                  <a:pt x="670" y="456"/>
                </a:moveTo>
                <a:cubicBezTo>
                  <a:pt x="708" y="456"/>
                  <a:pt x="756" y="440"/>
                  <a:pt x="782" y="412"/>
                </a:cubicBezTo>
                <a:cubicBezTo>
                  <a:pt x="776" y="400"/>
                  <a:pt x="776" y="400"/>
                  <a:pt x="776" y="400"/>
                </a:cubicBezTo>
                <a:cubicBezTo>
                  <a:pt x="750" y="416"/>
                  <a:pt x="722" y="422"/>
                  <a:pt x="696" y="422"/>
                </a:cubicBezTo>
                <a:cubicBezTo>
                  <a:pt x="620" y="422"/>
                  <a:pt x="592" y="358"/>
                  <a:pt x="592" y="290"/>
                </a:cubicBezTo>
                <a:cubicBezTo>
                  <a:pt x="592" y="258"/>
                  <a:pt x="600" y="236"/>
                  <a:pt x="614" y="222"/>
                </a:cubicBezTo>
                <a:cubicBezTo>
                  <a:pt x="626" y="210"/>
                  <a:pt x="646" y="204"/>
                  <a:pt x="664" y="204"/>
                </a:cubicBezTo>
                <a:cubicBezTo>
                  <a:pt x="690" y="204"/>
                  <a:pt x="722" y="214"/>
                  <a:pt x="744" y="244"/>
                </a:cubicBezTo>
                <a:cubicBezTo>
                  <a:pt x="750" y="244"/>
                  <a:pt x="750" y="244"/>
                  <a:pt x="750" y="244"/>
                </a:cubicBezTo>
                <a:cubicBezTo>
                  <a:pt x="758" y="234"/>
                  <a:pt x="766" y="212"/>
                  <a:pt x="768" y="196"/>
                </a:cubicBezTo>
                <a:cubicBezTo>
                  <a:pt x="748" y="180"/>
                  <a:pt x="720" y="172"/>
                  <a:pt x="686" y="172"/>
                </a:cubicBezTo>
                <a:cubicBezTo>
                  <a:pt x="604" y="172"/>
                  <a:pt x="544" y="246"/>
                  <a:pt x="544" y="326"/>
                </a:cubicBezTo>
                <a:cubicBezTo>
                  <a:pt x="540" y="390"/>
                  <a:pt x="576" y="456"/>
                  <a:pt x="670" y="456"/>
                </a:cubicBezTo>
                <a:moveTo>
                  <a:pt x="1272" y="98"/>
                </a:moveTo>
                <a:cubicBezTo>
                  <a:pt x="1292" y="98"/>
                  <a:pt x="1308" y="82"/>
                  <a:pt x="1308" y="62"/>
                </a:cubicBezTo>
                <a:cubicBezTo>
                  <a:pt x="1308" y="42"/>
                  <a:pt x="1292" y="26"/>
                  <a:pt x="1272" y="26"/>
                </a:cubicBezTo>
                <a:cubicBezTo>
                  <a:pt x="1252" y="26"/>
                  <a:pt x="1238" y="42"/>
                  <a:pt x="1238" y="62"/>
                </a:cubicBezTo>
                <a:cubicBezTo>
                  <a:pt x="1238" y="82"/>
                  <a:pt x="1252" y="98"/>
                  <a:pt x="1272" y="98"/>
                </a:cubicBezTo>
                <a:moveTo>
                  <a:pt x="1202" y="448"/>
                </a:moveTo>
                <a:cubicBezTo>
                  <a:pt x="1346" y="448"/>
                  <a:pt x="1346" y="448"/>
                  <a:pt x="1346" y="448"/>
                </a:cubicBezTo>
                <a:cubicBezTo>
                  <a:pt x="1346" y="436"/>
                  <a:pt x="1346" y="436"/>
                  <a:pt x="1346" y="436"/>
                </a:cubicBezTo>
                <a:cubicBezTo>
                  <a:pt x="1304" y="432"/>
                  <a:pt x="1302" y="434"/>
                  <a:pt x="1302" y="338"/>
                </a:cubicBezTo>
                <a:cubicBezTo>
                  <a:pt x="1302" y="176"/>
                  <a:pt x="1302" y="176"/>
                  <a:pt x="1302" y="176"/>
                </a:cubicBezTo>
                <a:cubicBezTo>
                  <a:pt x="1200" y="176"/>
                  <a:pt x="1200" y="176"/>
                  <a:pt x="1200" y="176"/>
                </a:cubicBezTo>
                <a:cubicBezTo>
                  <a:pt x="1200" y="188"/>
                  <a:pt x="1200" y="188"/>
                  <a:pt x="1200" y="188"/>
                </a:cubicBezTo>
                <a:cubicBezTo>
                  <a:pt x="1244" y="190"/>
                  <a:pt x="1250" y="192"/>
                  <a:pt x="1250" y="268"/>
                </a:cubicBezTo>
                <a:cubicBezTo>
                  <a:pt x="1250" y="336"/>
                  <a:pt x="1250" y="336"/>
                  <a:pt x="1250" y="336"/>
                </a:cubicBezTo>
                <a:cubicBezTo>
                  <a:pt x="1250" y="432"/>
                  <a:pt x="1248" y="432"/>
                  <a:pt x="1202" y="436"/>
                </a:cubicBezTo>
                <a:cubicBezTo>
                  <a:pt x="1178" y="434"/>
                  <a:pt x="1154" y="426"/>
                  <a:pt x="1076" y="338"/>
                </a:cubicBezTo>
                <a:cubicBezTo>
                  <a:pt x="1046" y="302"/>
                  <a:pt x="996" y="244"/>
                  <a:pt x="968" y="206"/>
                </a:cubicBezTo>
                <a:cubicBezTo>
                  <a:pt x="1062" y="102"/>
                  <a:pt x="1062" y="102"/>
                  <a:pt x="1062" y="102"/>
                </a:cubicBezTo>
                <a:cubicBezTo>
                  <a:pt x="1108" y="52"/>
                  <a:pt x="1132" y="26"/>
                  <a:pt x="1176" y="24"/>
                </a:cubicBezTo>
                <a:cubicBezTo>
                  <a:pt x="1176" y="10"/>
                  <a:pt x="1176" y="10"/>
                  <a:pt x="1176" y="10"/>
                </a:cubicBezTo>
                <a:cubicBezTo>
                  <a:pt x="1030" y="10"/>
                  <a:pt x="1030" y="10"/>
                  <a:pt x="1030" y="10"/>
                </a:cubicBezTo>
                <a:cubicBezTo>
                  <a:pt x="1030" y="22"/>
                  <a:pt x="1030" y="22"/>
                  <a:pt x="1030" y="22"/>
                </a:cubicBezTo>
                <a:cubicBezTo>
                  <a:pt x="1050" y="26"/>
                  <a:pt x="1056" y="32"/>
                  <a:pt x="1056" y="46"/>
                </a:cubicBezTo>
                <a:cubicBezTo>
                  <a:pt x="1056" y="56"/>
                  <a:pt x="1054" y="72"/>
                  <a:pt x="1026" y="102"/>
                </a:cubicBezTo>
                <a:cubicBezTo>
                  <a:pt x="910" y="230"/>
                  <a:pt x="910" y="230"/>
                  <a:pt x="910" y="230"/>
                </a:cubicBezTo>
                <a:cubicBezTo>
                  <a:pt x="910" y="148"/>
                  <a:pt x="910" y="148"/>
                  <a:pt x="910" y="148"/>
                </a:cubicBezTo>
                <a:cubicBezTo>
                  <a:pt x="910" y="36"/>
                  <a:pt x="916" y="28"/>
                  <a:pt x="960" y="22"/>
                </a:cubicBezTo>
                <a:cubicBezTo>
                  <a:pt x="960" y="8"/>
                  <a:pt x="960" y="8"/>
                  <a:pt x="960" y="8"/>
                </a:cubicBezTo>
                <a:cubicBezTo>
                  <a:pt x="804" y="8"/>
                  <a:pt x="804" y="8"/>
                  <a:pt x="804" y="8"/>
                </a:cubicBezTo>
                <a:cubicBezTo>
                  <a:pt x="804" y="22"/>
                  <a:pt x="804" y="22"/>
                  <a:pt x="804" y="22"/>
                </a:cubicBezTo>
                <a:cubicBezTo>
                  <a:pt x="852" y="26"/>
                  <a:pt x="854" y="36"/>
                  <a:pt x="854" y="148"/>
                </a:cubicBezTo>
                <a:cubicBezTo>
                  <a:pt x="854" y="300"/>
                  <a:pt x="854" y="300"/>
                  <a:pt x="854" y="300"/>
                </a:cubicBezTo>
                <a:cubicBezTo>
                  <a:pt x="854" y="422"/>
                  <a:pt x="850" y="430"/>
                  <a:pt x="804" y="434"/>
                </a:cubicBezTo>
                <a:cubicBezTo>
                  <a:pt x="804" y="446"/>
                  <a:pt x="804" y="446"/>
                  <a:pt x="804" y="446"/>
                </a:cubicBezTo>
                <a:cubicBezTo>
                  <a:pt x="960" y="446"/>
                  <a:pt x="960" y="446"/>
                  <a:pt x="960" y="446"/>
                </a:cubicBezTo>
                <a:cubicBezTo>
                  <a:pt x="960" y="434"/>
                  <a:pt x="960" y="434"/>
                  <a:pt x="960" y="434"/>
                </a:cubicBezTo>
                <a:cubicBezTo>
                  <a:pt x="910" y="428"/>
                  <a:pt x="910" y="424"/>
                  <a:pt x="910" y="292"/>
                </a:cubicBezTo>
                <a:cubicBezTo>
                  <a:pt x="910" y="268"/>
                  <a:pt x="910" y="268"/>
                  <a:pt x="910" y="268"/>
                </a:cubicBezTo>
                <a:cubicBezTo>
                  <a:pt x="930" y="246"/>
                  <a:pt x="930" y="246"/>
                  <a:pt x="930" y="246"/>
                </a:cubicBezTo>
                <a:cubicBezTo>
                  <a:pt x="982" y="310"/>
                  <a:pt x="1038" y="380"/>
                  <a:pt x="1098" y="448"/>
                </a:cubicBezTo>
                <a:cubicBezTo>
                  <a:pt x="1202" y="448"/>
                  <a:pt x="1202" y="448"/>
                  <a:pt x="1202" y="448"/>
                </a:cubicBezTo>
                <a:close/>
                <a:moveTo>
                  <a:pt x="1564" y="448"/>
                </a:moveTo>
                <a:cubicBezTo>
                  <a:pt x="1706" y="448"/>
                  <a:pt x="1706" y="448"/>
                  <a:pt x="1706" y="448"/>
                </a:cubicBezTo>
                <a:cubicBezTo>
                  <a:pt x="1706" y="436"/>
                  <a:pt x="1706" y="436"/>
                  <a:pt x="1706" y="436"/>
                </a:cubicBezTo>
                <a:cubicBezTo>
                  <a:pt x="1658" y="434"/>
                  <a:pt x="1658" y="432"/>
                  <a:pt x="1658" y="342"/>
                </a:cubicBezTo>
                <a:cubicBezTo>
                  <a:pt x="1658" y="280"/>
                  <a:pt x="1658" y="280"/>
                  <a:pt x="1658" y="280"/>
                </a:cubicBezTo>
                <a:cubicBezTo>
                  <a:pt x="1658" y="198"/>
                  <a:pt x="1612" y="172"/>
                  <a:pt x="1570" y="172"/>
                </a:cubicBezTo>
                <a:cubicBezTo>
                  <a:pt x="1534" y="172"/>
                  <a:pt x="1498" y="188"/>
                  <a:pt x="1470" y="224"/>
                </a:cubicBezTo>
                <a:cubicBezTo>
                  <a:pt x="1470" y="176"/>
                  <a:pt x="1470" y="176"/>
                  <a:pt x="1470" y="176"/>
                </a:cubicBezTo>
                <a:cubicBezTo>
                  <a:pt x="1368" y="176"/>
                  <a:pt x="1368" y="176"/>
                  <a:pt x="1368" y="176"/>
                </a:cubicBezTo>
                <a:cubicBezTo>
                  <a:pt x="1368" y="188"/>
                  <a:pt x="1368" y="188"/>
                  <a:pt x="1368" y="188"/>
                </a:cubicBezTo>
                <a:cubicBezTo>
                  <a:pt x="1412" y="190"/>
                  <a:pt x="1418" y="192"/>
                  <a:pt x="1418" y="268"/>
                </a:cubicBezTo>
                <a:cubicBezTo>
                  <a:pt x="1418" y="336"/>
                  <a:pt x="1418" y="336"/>
                  <a:pt x="1418" y="336"/>
                </a:cubicBezTo>
                <a:cubicBezTo>
                  <a:pt x="1418" y="434"/>
                  <a:pt x="1418" y="434"/>
                  <a:pt x="1370" y="436"/>
                </a:cubicBezTo>
                <a:cubicBezTo>
                  <a:pt x="1370" y="448"/>
                  <a:pt x="1370" y="448"/>
                  <a:pt x="1370" y="448"/>
                </a:cubicBezTo>
                <a:cubicBezTo>
                  <a:pt x="1514" y="448"/>
                  <a:pt x="1514" y="448"/>
                  <a:pt x="1514" y="448"/>
                </a:cubicBezTo>
                <a:cubicBezTo>
                  <a:pt x="1514" y="436"/>
                  <a:pt x="1514" y="436"/>
                  <a:pt x="1514" y="436"/>
                </a:cubicBezTo>
                <a:cubicBezTo>
                  <a:pt x="1472" y="432"/>
                  <a:pt x="1470" y="434"/>
                  <a:pt x="1470" y="338"/>
                </a:cubicBezTo>
                <a:cubicBezTo>
                  <a:pt x="1470" y="262"/>
                  <a:pt x="1470" y="262"/>
                  <a:pt x="1470" y="262"/>
                </a:cubicBezTo>
                <a:cubicBezTo>
                  <a:pt x="1470" y="236"/>
                  <a:pt x="1504" y="206"/>
                  <a:pt x="1546" y="206"/>
                </a:cubicBezTo>
                <a:cubicBezTo>
                  <a:pt x="1580" y="206"/>
                  <a:pt x="1606" y="220"/>
                  <a:pt x="1606" y="286"/>
                </a:cubicBezTo>
                <a:cubicBezTo>
                  <a:pt x="1606" y="340"/>
                  <a:pt x="1606" y="340"/>
                  <a:pt x="1606" y="340"/>
                </a:cubicBezTo>
                <a:cubicBezTo>
                  <a:pt x="1606" y="432"/>
                  <a:pt x="1602" y="432"/>
                  <a:pt x="1564" y="434"/>
                </a:cubicBezTo>
                <a:lnTo>
                  <a:pt x="1564" y="448"/>
                </a:lnTo>
                <a:close/>
                <a:moveTo>
                  <a:pt x="1776" y="222"/>
                </a:moveTo>
                <a:cubicBezTo>
                  <a:pt x="1776" y="200"/>
                  <a:pt x="1796" y="188"/>
                  <a:pt x="1822" y="188"/>
                </a:cubicBezTo>
                <a:cubicBezTo>
                  <a:pt x="1874" y="188"/>
                  <a:pt x="1896" y="236"/>
                  <a:pt x="1900" y="252"/>
                </a:cubicBezTo>
                <a:cubicBezTo>
                  <a:pt x="1912" y="252"/>
                  <a:pt x="1912" y="252"/>
                  <a:pt x="1912" y="252"/>
                </a:cubicBezTo>
                <a:cubicBezTo>
                  <a:pt x="1912" y="212"/>
                  <a:pt x="1908" y="188"/>
                  <a:pt x="1904" y="184"/>
                </a:cubicBezTo>
                <a:cubicBezTo>
                  <a:pt x="1900" y="180"/>
                  <a:pt x="1862" y="170"/>
                  <a:pt x="1824" y="170"/>
                </a:cubicBezTo>
                <a:cubicBezTo>
                  <a:pt x="1768" y="170"/>
                  <a:pt x="1734" y="206"/>
                  <a:pt x="1734" y="248"/>
                </a:cubicBezTo>
                <a:cubicBezTo>
                  <a:pt x="1734" y="340"/>
                  <a:pt x="1890" y="322"/>
                  <a:pt x="1890" y="396"/>
                </a:cubicBezTo>
                <a:cubicBezTo>
                  <a:pt x="1890" y="422"/>
                  <a:pt x="1866" y="436"/>
                  <a:pt x="1826" y="436"/>
                </a:cubicBezTo>
                <a:cubicBezTo>
                  <a:pt x="1788" y="436"/>
                  <a:pt x="1754" y="416"/>
                  <a:pt x="1744" y="366"/>
                </a:cubicBezTo>
                <a:cubicBezTo>
                  <a:pt x="1728" y="366"/>
                  <a:pt x="1728" y="366"/>
                  <a:pt x="1728" y="366"/>
                </a:cubicBezTo>
                <a:cubicBezTo>
                  <a:pt x="1728" y="386"/>
                  <a:pt x="1732" y="422"/>
                  <a:pt x="1734" y="428"/>
                </a:cubicBezTo>
                <a:cubicBezTo>
                  <a:pt x="1744" y="446"/>
                  <a:pt x="1788" y="454"/>
                  <a:pt x="1824" y="454"/>
                </a:cubicBezTo>
                <a:cubicBezTo>
                  <a:pt x="1888" y="454"/>
                  <a:pt x="1928" y="416"/>
                  <a:pt x="1928" y="372"/>
                </a:cubicBezTo>
                <a:cubicBezTo>
                  <a:pt x="1932" y="270"/>
                  <a:pt x="1776" y="286"/>
                  <a:pt x="1776" y="222"/>
                </a:cubicBezTo>
                <a:moveTo>
                  <a:pt x="2030" y="270"/>
                </a:moveTo>
                <a:cubicBezTo>
                  <a:pt x="2034" y="220"/>
                  <a:pt x="2058" y="192"/>
                  <a:pt x="2102" y="192"/>
                </a:cubicBezTo>
                <a:cubicBezTo>
                  <a:pt x="2144" y="192"/>
                  <a:pt x="2170" y="220"/>
                  <a:pt x="2172" y="270"/>
                </a:cubicBezTo>
                <a:lnTo>
                  <a:pt x="2030" y="270"/>
                </a:lnTo>
                <a:close/>
                <a:moveTo>
                  <a:pt x="2030" y="290"/>
                </a:moveTo>
                <a:cubicBezTo>
                  <a:pt x="2222" y="290"/>
                  <a:pt x="2222" y="290"/>
                  <a:pt x="2222" y="290"/>
                </a:cubicBezTo>
                <a:cubicBezTo>
                  <a:pt x="2226" y="228"/>
                  <a:pt x="2192" y="168"/>
                  <a:pt x="2114" y="168"/>
                </a:cubicBezTo>
                <a:cubicBezTo>
                  <a:pt x="2034" y="168"/>
                  <a:pt x="1982" y="232"/>
                  <a:pt x="1982" y="320"/>
                </a:cubicBezTo>
                <a:cubicBezTo>
                  <a:pt x="1982" y="388"/>
                  <a:pt x="2018" y="456"/>
                  <a:pt x="2112" y="456"/>
                </a:cubicBezTo>
                <a:cubicBezTo>
                  <a:pt x="2150" y="456"/>
                  <a:pt x="2198" y="440"/>
                  <a:pt x="2224" y="412"/>
                </a:cubicBezTo>
                <a:cubicBezTo>
                  <a:pt x="2218" y="400"/>
                  <a:pt x="2218" y="400"/>
                  <a:pt x="2218" y="400"/>
                </a:cubicBezTo>
                <a:cubicBezTo>
                  <a:pt x="2192" y="416"/>
                  <a:pt x="2164" y="422"/>
                  <a:pt x="2138" y="422"/>
                </a:cubicBezTo>
                <a:cubicBezTo>
                  <a:pt x="2058" y="420"/>
                  <a:pt x="2028" y="352"/>
                  <a:pt x="2030" y="290"/>
                </a:cubicBezTo>
                <a:moveTo>
                  <a:pt x="2478" y="242"/>
                </a:moveTo>
                <a:cubicBezTo>
                  <a:pt x="2490" y="206"/>
                  <a:pt x="2510" y="192"/>
                  <a:pt x="2528" y="192"/>
                </a:cubicBezTo>
                <a:cubicBezTo>
                  <a:pt x="2528" y="180"/>
                  <a:pt x="2528" y="180"/>
                  <a:pt x="2528" y="180"/>
                </a:cubicBezTo>
                <a:cubicBezTo>
                  <a:pt x="2430" y="180"/>
                  <a:pt x="2430" y="180"/>
                  <a:pt x="2430" y="180"/>
                </a:cubicBezTo>
                <a:cubicBezTo>
                  <a:pt x="2430" y="192"/>
                  <a:pt x="2430" y="192"/>
                  <a:pt x="2430" y="192"/>
                </a:cubicBezTo>
                <a:cubicBezTo>
                  <a:pt x="2454" y="194"/>
                  <a:pt x="2466" y="206"/>
                  <a:pt x="2458" y="234"/>
                </a:cubicBezTo>
                <a:cubicBezTo>
                  <a:pt x="2406" y="390"/>
                  <a:pt x="2406" y="390"/>
                  <a:pt x="2406" y="390"/>
                </a:cubicBezTo>
                <a:cubicBezTo>
                  <a:pt x="2354" y="270"/>
                  <a:pt x="2354" y="270"/>
                  <a:pt x="2354" y="270"/>
                </a:cubicBezTo>
                <a:cubicBezTo>
                  <a:pt x="2340" y="238"/>
                  <a:pt x="2334" y="224"/>
                  <a:pt x="2334" y="212"/>
                </a:cubicBezTo>
                <a:cubicBezTo>
                  <a:pt x="2334" y="202"/>
                  <a:pt x="2340" y="196"/>
                  <a:pt x="2360" y="192"/>
                </a:cubicBezTo>
                <a:cubicBezTo>
                  <a:pt x="2360" y="180"/>
                  <a:pt x="2360" y="180"/>
                  <a:pt x="2360" y="180"/>
                </a:cubicBezTo>
                <a:cubicBezTo>
                  <a:pt x="2234" y="180"/>
                  <a:pt x="2234" y="180"/>
                  <a:pt x="2234" y="180"/>
                </a:cubicBezTo>
                <a:cubicBezTo>
                  <a:pt x="2234" y="192"/>
                  <a:pt x="2234" y="192"/>
                  <a:pt x="2234" y="192"/>
                </a:cubicBezTo>
                <a:cubicBezTo>
                  <a:pt x="2266" y="194"/>
                  <a:pt x="2268" y="198"/>
                  <a:pt x="2310" y="292"/>
                </a:cubicBezTo>
                <a:cubicBezTo>
                  <a:pt x="2382" y="450"/>
                  <a:pt x="2382" y="450"/>
                  <a:pt x="2382" y="450"/>
                </a:cubicBezTo>
                <a:cubicBezTo>
                  <a:pt x="2358" y="512"/>
                  <a:pt x="2320" y="546"/>
                  <a:pt x="2242" y="564"/>
                </a:cubicBezTo>
                <a:cubicBezTo>
                  <a:pt x="2246" y="576"/>
                  <a:pt x="2260" y="600"/>
                  <a:pt x="2268" y="606"/>
                </a:cubicBezTo>
                <a:cubicBezTo>
                  <a:pt x="2370" y="564"/>
                  <a:pt x="2390" y="498"/>
                  <a:pt x="2426" y="396"/>
                </a:cubicBezTo>
                <a:lnTo>
                  <a:pt x="2478" y="242"/>
                </a:lnTo>
                <a:close/>
                <a:moveTo>
                  <a:pt x="2844" y="394"/>
                </a:moveTo>
                <a:cubicBezTo>
                  <a:pt x="2822" y="412"/>
                  <a:pt x="2782" y="416"/>
                  <a:pt x="2750" y="416"/>
                </a:cubicBezTo>
                <a:cubicBezTo>
                  <a:pt x="2670" y="416"/>
                  <a:pt x="2606" y="360"/>
                  <a:pt x="2606" y="284"/>
                </a:cubicBezTo>
                <a:cubicBezTo>
                  <a:pt x="2606" y="236"/>
                  <a:pt x="2626" y="206"/>
                  <a:pt x="2658" y="198"/>
                </a:cubicBezTo>
                <a:cubicBezTo>
                  <a:pt x="2698" y="266"/>
                  <a:pt x="2770" y="338"/>
                  <a:pt x="2844" y="394"/>
                </a:cubicBezTo>
                <a:moveTo>
                  <a:pt x="2928" y="448"/>
                </a:moveTo>
                <a:cubicBezTo>
                  <a:pt x="3022" y="448"/>
                  <a:pt x="3022" y="448"/>
                  <a:pt x="3022" y="448"/>
                </a:cubicBezTo>
                <a:cubicBezTo>
                  <a:pt x="3022" y="436"/>
                  <a:pt x="3022" y="436"/>
                  <a:pt x="3022" y="436"/>
                </a:cubicBezTo>
                <a:cubicBezTo>
                  <a:pt x="2992" y="432"/>
                  <a:pt x="2946" y="408"/>
                  <a:pt x="2896" y="372"/>
                </a:cubicBezTo>
                <a:cubicBezTo>
                  <a:pt x="2914" y="342"/>
                  <a:pt x="2918" y="300"/>
                  <a:pt x="2922" y="270"/>
                </a:cubicBezTo>
                <a:cubicBezTo>
                  <a:pt x="2926" y="244"/>
                  <a:pt x="2946" y="244"/>
                  <a:pt x="2958" y="242"/>
                </a:cubicBezTo>
                <a:cubicBezTo>
                  <a:pt x="2958" y="230"/>
                  <a:pt x="2958" y="230"/>
                  <a:pt x="2958" y="230"/>
                </a:cubicBezTo>
                <a:cubicBezTo>
                  <a:pt x="2834" y="230"/>
                  <a:pt x="2834" y="230"/>
                  <a:pt x="2834" y="230"/>
                </a:cubicBezTo>
                <a:cubicBezTo>
                  <a:pt x="2834" y="242"/>
                  <a:pt x="2834" y="242"/>
                  <a:pt x="2834" y="242"/>
                </a:cubicBezTo>
                <a:cubicBezTo>
                  <a:pt x="2864" y="246"/>
                  <a:pt x="2892" y="250"/>
                  <a:pt x="2892" y="294"/>
                </a:cubicBezTo>
                <a:cubicBezTo>
                  <a:pt x="2892" y="318"/>
                  <a:pt x="2888" y="342"/>
                  <a:pt x="2878" y="358"/>
                </a:cubicBezTo>
                <a:cubicBezTo>
                  <a:pt x="2770" y="274"/>
                  <a:pt x="2670" y="156"/>
                  <a:pt x="2670" y="96"/>
                </a:cubicBezTo>
                <a:cubicBezTo>
                  <a:pt x="2670" y="66"/>
                  <a:pt x="2688" y="54"/>
                  <a:pt x="2716" y="54"/>
                </a:cubicBezTo>
                <a:cubicBezTo>
                  <a:pt x="2752" y="54"/>
                  <a:pt x="2784" y="78"/>
                  <a:pt x="2800" y="124"/>
                </a:cubicBezTo>
                <a:cubicBezTo>
                  <a:pt x="2812" y="124"/>
                  <a:pt x="2812" y="124"/>
                  <a:pt x="2812" y="124"/>
                </a:cubicBezTo>
                <a:cubicBezTo>
                  <a:pt x="2810" y="42"/>
                  <a:pt x="2810" y="42"/>
                  <a:pt x="2810" y="42"/>
                </a:cubicBezTo>
                <a:cubicBezTo>
                  <a:pt x="2798" y="42"/>
                  <a:pt x="2798" y="42"/>
                  <a:pt x="2798" y="42"/>
                </a:cubicBezTo>
                <a:cubicBezTo>
                  <a:pt x="2798" y="48"/>
                  <a:pt x="2792" y="52"/>
                  <a:pt x="2788" y="52"/>
                </a:cubicBezTo>
                <a:cubicBezTo>
                  <a:pt x="2772" y="52"/>
                  <a:pt x="2752" y="36"/>
                  <a:pt x="2714" y="36"/>
                </a:cubicBezTo>
                <a:cubicBezTo>
                  <a:pt x="2672" y="36"/>
                  <a:pt x="2630" y="62"/>
                  <a:pt x="2630" y="118"/>
                </a:cubicBezTo>
                <a:cubicBezTo>
                  <a:pt x="2630" y="140"/>
                  <a:pt x="2636" y="160"/>
                  <a:pt x="2648" y="182"/>
                </a:cubicBezTo>
                <a:cubicBezTo>
                  <a:pt x="2592" y="200"/>
                  <a:pt x="2562" y="248"/>
                  <a:pt x="2562" y="304"/>
                </a:cubicBezTo>
                <a:cubicBezTo>
                  <a:pt x="2562" y="406"/>
                  <a:pt x="2640" y="460"/>
                  <a:pt x="2726" y="460"/>
                </a:cubicBezTo>
                <a:cubicBezTo>
                  <a:pt x="2780" y="460"/>
                  <a:pt x="2824" y="444"/>
                  <a:pt x="2862" y="410"/>
                </a:cubicBezTo>
                <a:cubicBezTo>
                  <a:pt x="2888" y="424"/>
                  <a:pt x="2912" y="442"/>
                  <a:pt x="2928" y="448"/>
                </a:cubicBezTo>
                <a:moveTo>
                  <a:pt x="3094" y="212"/>
                </a:moveTo>
                <a:cubicBezTo>
                  <a:pt x="3094" y="88"/>
                  <a:pt x="3154" y="20"/>
                  <a:pt x="3252" y="20"/>
                </a:cubicBezTo>
                <a:cubicBezTo>
                  <a:pt x="3328" y="20"/>
                  <a:pt x="3372" y="58"/>
                  <a:pt x="3392" y="134"/>
                </a:cubicBezTo>
                <a:cubicBezTo>
                  <a:pt x="3404" y="134"/>
                  <a:pt x="3404" y="134"/>
                  <a:pt x="3404" y="134"/>
                </a:cubicBezTo>
                <a:cubicBezTo>
                  <a:pt x="3400" y="4"/>
                  <a:pt x="3400" y="4"/>
                  <a:pt x="3400" y="4"/>
                </a:cubicBezTo>
                <a:cubicBezTo>
                  <a:pt x="3388" y="4"/>
                  <a:pt x="3388" y="4"/>
                  <a:pt x="3388" y="4"/>
                </a:cubicBezTo>
                <a:cubicBezTo>
                  <a:pt x="3384" y="14"/>
                  <a:pt x="3376" y="18"/>
                  <a:pt x="3364" y="18"/>
                </a:cubicBezTo>
                <a:cubicBezTo>
                  <a:pt x="3338" y="18"/>
                  <a:pt x="3314" y="0"/>
                  <a:pt x="3248" y="0"/>
                </a:cubicBezTo>
                <a:cubicBezTo>
                  <a:pt x="3118" y="0"/>
                  <a:pt x="3030" y="102"/>
                  <a:pt x="3030" y="242"/>
                </a:cubicBezTo>
                <a:cubicBezTo>
                  <a:pt x="3030" y="376"/>
                  <a:pt x="3110" y="460"/>
                  <a:pt x="3238" y="460"/>
                </a:cubicBezTo>
                <a:cubicBezTo>
                  <a:pt x="3320" y="460"/>
                  <a:pt x="3384" y="420"/>
                  <a:pt x="3408" y="380"/>
                </a:cubicBezTo>
                <a:cubicBezTo>
                  <a:pt x="3396" y="366"/>
                  <a:pt x="3396" y="366"/>
                  <a:pt x="3396" y="366"/>
                </a:cubicBezTo>
                <a:cubicBezTo>
                  <a:pt x="3370" y="402"/>
                  <a:pt x="3314" y="426"/>
                  <a:pt x="3256" y="426"/>
                </a:cubicBezTo>
                <a:cubicBezTo>
                  <a:pt x="3156" y="426"/>
                  <a:pt x="3094" y="340"/>
                  <a:pt x="3094" y="212"/>
                </a:cubicBezTo>
                <a:moveTo>
                  <a:pt x="3678" y="328"/>
                </a:moveTo>
                <a:cubicBezTo>
                  <a:pt x="3678" y="392"/>
                  <a:pt x="3650" y="430"/>
                  <a:pt x="3592" y="430"/>
                </a:cubicBezTo>
                <a:cubicBezTo>
                  <a:pt x="3542" y="430"/>
                  <a:pt x="3496" y="384"/>
                  <a:pt x="3496" y="292"/>
                </a:cubicBezTo>
                <a:cubicBezTo>
                  <a:pt x="3496" y="226"/>
                  <a:pt x="3528" y="190"/>
                  <a:pt x="3580" y="190"/>
                </a:cubicBezTo>
                <a:cubicBezTo>
                  <a:pt x="3628" y="192"/>
                  <a:pt x="3678" y="238"/>
                  <a:pt x="3678" y="328"/>
                </a:cubicBezTo>
                <a:moveTo>
                  <a:pt x="3732" y="312"/>
                </a:moveTo>
                <a:cubicBezTo>
                  <a:pt x="3732" y="260"/>
                  <a:pt x="3710" y="214"/>
                  <a:pt x="3672" y="190"/>
                </a:cubicBezTo>
                <a:cubicBezTo>
                  <a:pt x="3650" y="176"/>
                  <a:pt x="3620" y="168"/>
                  <a:pt x="3588" y="168"/>
                </a:cubicBezTo>
                <a:cubicBezTo>
                  <a:pt x="3502" y="168"/>
                  <a:pt x="3442" y="230"/>
                  <a:pt x="3442" y="310"/>
                </a:cubicBezTo>
                <a:cubicBezTo>
                  <a:pt x="3442" y="364"/>
                  <a:pt x="3464" y="408"/>
                  <a:pt x="3502" y="432"/>
                </a:cubicBezTo>
                <a:cubicBezTo>
                  <a:pt x="3524" y="446"/>
                  <a:pt x="3554" y="452"/>
                  <a:pt x="3586" y="452"/>
                </a:cubicBezTo>
                <a:cubicBezTo>
                  <a:pt x="3672" y="454"/>
                  <a:pt x="3732" y="394"/>
                  <a:pt x="3732" y="312"/>
                </a:cubicBezTo>
                <a:moveTo>
                  <a:pt x="4136" y="448"/>
                </a:moveTo>
                <a:cubicBezTo>
                  <a:pt x="4280" y="448"/>
                  <a:pt x="4280" y="448"/>
                  <a:pt x="4280" y="448"/>
                </a:cubicBezTo>
                <a:cubicBezTo>
                  <a:pt x="4280" y="436"/>
                  <a:pt x="4280" y="436"/>
                  <a:pt x="4280" y="436"/>
                </a:cubicBezTo>
                <a:cubicBezTo>
                  <a:pt x="4230" y="434"/>
                  <a:pt x="4232" y="426"/>
                  <a:pt x="4232" y="348"/>
                </a:cubicBezTo>
                <a:cubicBezTo>
                  <a:pt x="4232" y="276"/>
                  <a:pt x="4232" y="276"/>
                  <a:pt x="4232" y="276"/>
                </a:cubicBezTo>
                <a:cubicBezTo>
                  <a:pt x="4232" y="200"/>
                  <a:pt x="4190" y="172"/>
                  <a:pt x="4142" y="172"/>
                </a:cubicBezTo>
                <a:cubicBezTo>
                  <a:pt x="4098" y="172"/>
                  <a:pt x="4064" y="196"/>
                  <a:pt x="4038" y="232"/>
                </a:cubicBezTo>
                <a:cubicBezTo>
                  <a:pt x="4028" y="194"/>
                  <a:pt x="4000" y="172"/>
                  <a:pt x="3954" y="172"/>
                </a:cubicBezTo>
                <a:cubicBezTo>
                  <a:pt x="3916" y="172"/>
                  <a:pt x="3880" y="196"/>
                  <a:pt x="3858" y="224"/>
                </a:cubicBezTo>
                <a:cubicBezTo>
                  <a:pt x="3858" y="176"/>
                  <a:pt x="3858" y="176"/>
                  <a:pt x="3858" y="176"/>
                </a:cubicBezTo>
                <a:cubicBezTo>
                  <a:pt x="3756" y="176"/>
                  <a:pt x="3756" y="176"/>
                  <a:pt x="3756" y="176"/>
                </a:cubicBezTo>
                <a:cubicBezTo>
                  <a:pt x="3756" y="188"/>
                  <a:pt x="3756" y="188"/>
                  <a:pt x="3756" y="188"/>
                </a:cubicBezTo>
                <a:cubicBezTo>
                  <a:pt x="3800" y="190"/>
                  <a:pt x="3806" y="192"/>
                  <a:pt x="3806" y="268"/>
                </a:cubicBezTo>
                <a:cubicBezTo>
                  <a:pt x="3806" y="346"/>
                  <a:pt x="3806" y="346"/>
                  <a:pt x="3806" y="346"/>
                </a:cubicBezTo>
                <a:cubicBezTo>
                  <a:pt x="3806" y="434"/>
                  <a:pt x="3804" y="434"/>
                  <a:pt x="3758" y="434"/>
                </a:cubicBezTo>
                <a:cubicBezTo>
                  <a:pt x="3758" y="446"/>
                  <a:pt x="3758" y="446"/>
                  <a:pt x="3758" y="446"/>
                </a:cubicBezTo>
                <a:cubicBezTo>
                  <a:pt x="3902" y="446"/>
                  <a:pt x="3902" y="446"/>
                  <a:pt x="3902" y="446"/>
                </a:cubicBezTo>
                <a:cubicBezTo>
                  <a:pt x="3902" y="434"/>
                  <a:pt x="3902" y="434"/>
                  <a:pt x="3902" y="434"/>
                </a:cubicBezTo>
                <a:cubicBezTo>
                  <a:pt x="3862" y="430"/>
                  <a:pt x="3858" y="430"/>
                  <a:pt x="3858" y="342"/>
                </a:cubicBezTo>
                <a:cubicBezTo>
                  <a:pt x="3858" y="262"/>
                  <a:pt x="3858" y="262"/>
                  <a:pt x="3858" y="262"/>
                </a:cubicBezTo>
                <a:cubicBezTo>
                  <a:pt x="3858" y="234"/>
                  <a:pt x="3894" y="204"/>
                  <a:pt x="3932" y="204"/>
                </a:cubicBezTo>
                <a:cubicBezTo>
                  <a:pt x="3974" y="204"/>
                  <a:pt x="3990" y="226"/>
                  <a:pt x="3990" y="282"/>
                </a:cubicBezTo>
                <a:cubicBezTo>
                  <a:pt x="3990" y="338"/>
                  <a:pt x="3990" y="338"/>
                  <a:pt x="3990" y="338"/>
                </a:cubicBezTo>
                <a:cubicBezTo>
                  <a:pt x="3990" y="428"/>
                  <a:pt x="3988" y="432"/>
                  <a:pt x="3950" y="436"/>
                </a:cubicBezTo>
                <a:cubicBezTo>
                  <a:pt x="3950" y="448"/>
                  <a:pt x="3950" y="448"/>
                  <a:pt x="3950" y="448"/>
                </a:cubicBezTo>
                <a:cubicBezTo>
                  <a:pt x="4086" y="448"/>
                  <a:pt x="4086" y="448"/>
                  <a:pt x="4086" y="448"/>
                </a:cubicBezTo>
                <a:cubicBezTo>
                  <a:pt x="4086" y="436"/>
                  <a:pt x="4086" y="436"/>
                  <a:pt x="4086" y="436"/>
                </a:cubicBezTo>
                <a:cubicBezTo>
                  <a:pt x="4040" y="432"/>
                  <a:pt x="4042" y="428"/>
                  <a:pt x="4042" y="342"/>
                </a:cubicBezTo>
                <a:cubicBezTo>
                  <a:pt x="4042" y="264"/>
                  <a:pt x="4042" y="264"/>
                  <a:pt x="4042" y="264"/>
                </a:cubicBezTo>
                <a:cubicBezTo>
                  <a:pt x="4042" y="236"/>
                  <a:pt x="4078" y="206"/>
                  <a:pt x="4118" y="206"/>
                </a:cubicBezTo>
                <a:cubicBezTo>
                  <a:pt x="4152" y="206"/>
                  <a:pt x="4174" y="226"/>
                  <a:pt x="4174" y="284"/>
                </a:cubicBezTo>
                <a:cubicBezTo>
                  <a:pt x="4174" y="346"/>
                  <a:pt x="4174" y="346"/>
                  <a:pt x="4174" y="346"/>
                </a:cubicBezTo>
                <a:cubicBezTo>
                  <a:pt x="4174" y="428"/>
                  <a:pt x="4174" y="432"/>
                  <a:pt x="4134" y="436"/>
                </a:cubicBezTo>
                <a:cubicBezTo>
                  <a:pt x="4134" y="448"/>
                  <a:pt x="4134" y="448"/>
                  <a:pt x="4134" y="448"/>
                </a:cubicBezTo>
                <a:lnTo>
                  <a:pt x="4136" y="448"/>
                </a:lnTo>
                <a:close/>
                <a:moveTo>
                  <a:pt x="4546" y="316"/>
                </a:moveTo>
                <a:cubicBezTo>
                  <a:pt x="4546" y="388"/>
                  <a:pt x="4516" y="432"/>
                  <a:pt x="4460" y="432"/>
                </a:cubicBezTo>
                <a:cubicBezTo>
                  <a:pt x="4424" y="432"/>
                  <a:pt x="4384" y="412"/>
                  <a:pt x="4384" y="384"/>
                </a:cubicBezTo>
                <a:cubicBezTo>
                  <a:pt x="4384" y="248"/>
                  <a:pt x="4384" y="248"/>
                  <a:pt x="4384" y="248"/>
                </a:cubicBezTo>
                <a:cubicBezTo>
                  <a:pt x="4384" y="226"/>
                  <a:pt x="4416" y="202"/>
                  <a:pt x="4454" y="202"/>
                </a:cubicBezTo>
                <a:cubicBezTo>
                  <a:pt x="4510" y="206"/>
                  <a:pt x="4546" y="248"/>
                  <a:pt x="4546" y="316"/>
                </a:cubicBezTo>
                <a:moveTo>
                  <a:pt x="4600" y="310"/>
                </a:moveTo>
                <a:cubicBezTo>
                  <a:pt x="4600" y="230"/>
                  <a:pt x="4548" y="170"/>
                  <a:pt x="4478" y="170"/>
                </a:cubicBezTo>
                <a:cubicBezTo>
                  <a:pt x="4438" y="170"/>
                  <a:pt x="4406" y="188"/>
                  <a:pt x="4384" y="214"/>
                </a:cubicBezTo>
                <a:cubicBezTo>
                  <a:pt x="4384" y="174"/>
                  <a:pt x="4384" y="174"/>
                  <a:pt x="4384" y="174"/>
                </a:cubicBezTo>
                <a:cubicBezTo>
                  <a:pt x="4284" y="174"/>
                  <a:pt x="4284" y="174"/>
                  <a:pt x="4284" y="174"/>
                </a:cubicBezTo>
                <a:cubicBezTo>
                  <a:pt x="4284" y="186"/>
                  <a:pt x="4284" y="186"/>
                  <a:pt x="4284" y="186"/>
                </a:cubicBezTo>
                <a:cubicBezTo>
                  <a:pt x="4326" y="188"/>
                  <a:pt x="4332" y="190"/>
                  <a:pt x="4332" y="280"/>
                </a:cubicBezTo>
                <a:cubicBezTo>
                  <a:pt x="4332" y="466"/>
                  <a:pt x="4332" y="466"/>
                  <a:pt x="4332" y="466"/>
                </a:cubicBezTo>
                <a:cubicBezTo>
                  <a:pt x="4332" y="564"/>
                  <a:pt x="4334" y="570"/>
                  <a:pt x="4286" y="574"/>
                </a:cubicBezTo>
                <a:cubicBezTo>
                  <a:pt x="4286" y="588"/>
                  <a:pt x="4286" y="588"/>
                  <a:pt x="4286" y="588"/>
                </a:cubicBezTo>
                <a:cubicBezTo>
                  <a:pt x="4432" y="588"/>
                  <a:pt x="4432" y="588"/>
                  <a:pt x="4432" y="588"/>
                </a:cubicBezTo>
                <a:cubicBezTo>
                  <a:pt x="4432" y="574"/>
                  <a:pt x="4432" y="574"/>
                  <a:pt x="4432" y="574"/>
                </a:cubicBezTo>
                <a:cubicBezTo>
                  <a:pt x="4380" y="572"/>
                  <a:pt x="4384" y="564"/>
                  <a:pt x="4384" y="462"/>
                </a:cubicBezTo>
                <a:cubicBezTo>
                  <a:pt x="4384" y="424"/>
                  <a:pt x="4384" y="424"/>
                  <a:pt x="4384" y="424"/>
                </a:cubicBezTo>
                <a:cubicBezTo>
                  <a:pt x="4404" y="444"/>
                  <a:pt x="4436" y="454"/>
                  <a:pt x="4466" y="454"/>
                </a:cubicBezTo>
                <a:cubicBezTo>
                  <a:pt x="4548" y="454"/>
                  <a:pt x="4600" y="392"/>
                  <a:pt x="4600" y="310"/>
                </a:cubicBezTo>
                <a:moveTo>
                  <a:pt x="4792" y="382"/>
                </a:moveTo>
                <a:cubicBezTo>
                  <a:pt x="4792" y="404"/>
                  <a:pt x="4762" y="424"/>
                  <a:pt x="4736" y="424"/>
                </a:cubicBezTo>
                <a:cubicBezTo>
                  <a:pt x="4712" y="424"/>
                  <a:pt x="4694" y="410"/>
                  <a:pt x="4694" y="378"/>
                </a:cubicBezTo>
                <a:cubicBezTo>
                  <a:pt x="4694" y="322"/>
                  <a:pt x="4752" y="328"/>
                  <a:pt x="4792" y="306"/>
                </a:cubicBezTo>
                <a:cubicBezTo>
                  <a:pt x="4792" y="382"/>
                  <a:pt x="4792" y="382"/>
                  <a:pt x="4792" y="382"/>
                </a:cubicBezTo>
                <a:close/>
                <a:moveTo>
                  <a:pt x="5240" y="434"/>
                </a:moveTo>
                <a:cubicBezTo>
                  <a:pt x="5192" y="432"/>
                  <a:pt x="5192" y="430"/>
                  <a:pt x="5192" y="340"/>
                </a:cubicBezTo>
                <a:cubicBezTo>
                  <a:pt x="5192" y="278"/>
                  <a:pt x="5192" y="278"/>
                  <a:pt x="5192" y="278"/>
                </a:cubicBezTo>
                <a:cubicBezTo>
                  <a:pt x="5192" y="196"/>
                  <a:pt x="5146" y="170"/>
                  <a:pt x="5104" y="170"/>
                </a:cubicBezTo>
                <a:cubicBezTo>
                  <a:pt x="5068" y="170"/>
                  <a:pt x="5032" y="186"/>
                  <a:pt x="5004" y="222"/>
                </a:cubicBezTo>
                <a:cubicBezTo>
                  <a:pt x="5004" y="174"/>
                  <a:pt x="5004" y="174"/>
                  <a:pt x="5004" y="174"/>
                </a:cubicBezTo>
                <a:cubicBezTo>
                  <a:pt x="4902" y="174"/>
                  <a:pt x="4902" y="174"/>
                  <a:pt x="4902" y="174"/>
                </a:cubicBezTo>
                <a:cubicBezTo>
                  <a:pt x="4902" y="186"/>
                  <a:pt x="4902" y="186"/>
                  <a:pt x="4902" y="186"/>
                </a:cubicBezTo>
                <a:cubicBezTo>
                  <a:pt x="4946" y="188"/>
                  <a:pt x="4952" y="190"/>
                  <a:pt x="4952" y="266"/>
                </a:cubicBezTo>
                <a:cubicBezTo>
                  <a:pt x="4952" y="334"/>
                  <a:pt x="4952" y="334"/>
                  <a:pt x="4952" y="334"/>
                </a:cubicBezTo>
                <a:cubicBezTo>
                  <a:pt x="4952" y="430"/>
                  <a:pt x="4952" y="432"/>
                  <a:pt x="4904" y="434"/>
                </a:cubicBezTo>
                <a:cubicBezTo>
                  <a:pt x="4892" y="434"/>
                  <a:pt x="4892" y="434"/>
                  <a:pt x="4892" y="434"/>
                </a:cubicBezTo>
                <a:cubicBezTo>
                  <a:pt x="4854" y="434"/>
                  <a:pt x="4850" y="422"/>
                  <a:pt x="4850" y="366"/>
                </a:cubicBezTo>
                <a:cubicBezTo>
                  <a:pt x="4850" y="274"/>
                  <a:pt x="4850" y="274"/>
                  <a:pt x="4850" y="274"/>
                </a:cubicBezTo>
                <a:cubicBezTo>
                  <a:pt x="4850" y="256"/>
                  <a:pt x="4848" y="240"/>
                  <a:pt x="4844" y="228"/>
                </a:cubicBezTo>
                <a:cubicBezTo>
                  <a:pt x="4830" y="186"/>
                  <a:pt x="4796" y="170"/>
                  <a:pt x="4748" y="170"/>
                </a:cubicBezTo>
                <a:cubicBezTo>
                  <a:pt x="4718" y="170"/>
                  <a:pt x="4674" y="180"/>
                  <a:pt x="4650" y="202"/>
                </a:cubicBezTo>
                <a:cubicBezTo>
                  <a:pt x="4652" y="214"/>
                  <a:pt x="4664" y="240"/>
                  <a:pt x="4670" y="248"/>
                </a:cubicBezTo>
                <a:cubicBezTo>
                  <a:pt x="4676" y="246"/>
                  <a:pt x="4676" y="246"/>
                  <a:pt x="4676" y="246"/>
                </a:cubicBezTo>
                <a:cubicBezTo>
                  <a:pt x="4688" y="216"/>
                  <a:pt x="4708" y="194"/>
                  <a:pt x="4742" y="194"/>
                </a:cubicBezTo>
                <a:cubicBezTo>
                  <a:pt x="4778" y="194"/>
                  <a:pt x="4794" y="220"/>
                  <a:pt x="4794" y="250"/>
                </a:cubicBezTo>
                <a:cubicBezTo>
                  <a:pt x="4794" y="282"/>
                  <a:pt x="4794" y="282"/>
                  <a:pt x="4794" y="282"/>
                </a:cubicBezTo>
                <a:cubicBezTo>
                  <a:pt x="4794" y="302"/>
                  <a:pt x="4702" y="306"/>
                  <a:pt x="4664" y="338"/>
                </a:cubicBezTo>
                <a:cubicBezTo>
                  <a:pt x="4652" y="350"/>
                  <a:pt x="4642" y="364"/>
                  <a:pt x="4642" y="384"/>
                </a:cubicBezTo>
                <a:cubicBezTo>
                  <a:pt x="4642" y="426"/>
                  <a:pt x="4672" y="456"/>
                  <a:pt x="4716" y="456"/>
                </a:cubicBezTo>
                <a:cubicBezTo>
                  <a:pt x="4744" y="456"/>
                  <a:pt x="4768" y="446"/>
                  <a:pt x="4794" y="418"/>
                </a:cubicBezTo>
                <a:cubicBezTo>
                  <a:pt x="4798" y="438"/>
                  <a:pt x="4814" y="448"/>
                  <a:pt x="4842" y="448"/>
                </a:cubicBezTo>
                <a:cubicBezTo>
                  <a:pt x="4906" y="448"/>
                  <a:pt x="4906" y="448"/>
                  <a:pt x="4906" y="448"/>
                </a:cubicBezTo>
                <a:cubicBezTo>
                  <a:pt x="4906" y="448"/>
                  <a:pt x="4906" y="448"/>
                  <a:pt x="4906" y="448"/>
                </a:cubicBezTo>
                <a:cubicBezTo>
                  <a:pt x="5048" y="448"/>
                  <a:pt x="5048" y="448"/>
                  <a:pt x="5048" y="448"/>
                </a:cubicBezTo>
                <a:cubicBezTo>
                  <a:pt x="5048" y="436"/>
                  <a:pt x="5048" y="436"/>
                  <a:pt x="5048" y="436"/>
                </a:cubicBezTo>
                <a:cubicBezTo>
                  <a:pt x="5006" y="432"/>
                  <a:pt x="5004" y="434"/>
                  <a:pt x="5004" y="338"/>
                </a:cubicBezTo>
                <a:cubicBezTo>
                  <a:pt x="5004" y="262"/>
                  <a:pt x="5004" y="262"/>
                  <a:pt x="5004" y="262"/>
                </a:cubicBezTo>
                <a:cubicBezTo>
                  <a:pt x="5004" y="236"/>
                  <a:pt x="5038" y="206"/>
                  <a:pt x="5080" y="206"/>
                </a:cubicBezTo>
                <a:cubicBezTo>
                  <a:pt x="5114" y="206"/>
                  <a:pt x="5140" y="220"/>
                  <a:pt x="5140" y="286"/>
                </a:cubicBezTo>
                <a:cubicBezTo>
                  <a:pt x="5140" y="340"/>
                  <a:pt x="5140" y="340"/>
                  <a:pt x="5140" y="340"/>
                </a:cubicBezTo>
                <a:cubicBezTo>
                  <a:pt x="5140" y="432"/>
                  <a:pt x="5136" y="432"/>
                  <a:pt x="5098" y="434"/>
                </a:cubicBezTo>
                <a:cubicBezTo>
                  <a:pt x="5098" y="446"/>
                  <a:pt x="5098" y="446"/>
                  <a:pt x="5098" y="446"/>
                </a:cubicBezTo>
                <a:cubicBezTo>
                  <a:pt x="5240" y="446"/>
                  <a:pt x="5240" y="446"/>
                  <a:pt x="5240" y="446"/>
                </a:cubicBezTo>
                <a:lnTo>
                  <a:pt x="5240" y="434"/>
                </a:lnTo>
                <a:close/>
                <a:moveTo>
                  <a:pt x="5516" y="192"/>
                </a:moveTo>
                <a:cubicBezTo>
                  <a:pt x="5516" y="180"/>
                  <a:pt x="5516" y="180"/>
                  <a:pt x="5516" y="180"/>
                </a:cubicBezTo>
                <a:cubicBezTo>
                  <a:pt x="5418" y="180"/>
                  <a:pt x="5418" y="180"/>
                  <a:pt x="5418" y="180"/>
                </a:cubicBezTo>
                <a:cubicBezTo>
                  <a:pt x="5418" y="192"/>
                  <a:pt x="5418" y="192"/>
                  <a:pt x="5418" y="192"/>
                </a:cubicBezTo>
                <a:cubicBezTo>
                  <a:pt x="5442" y="194"/>
                  <a:pt x="5454" y="206"/>
                  <a:pt x="5446" y="234"/>
                </a:cubicBezTo>
                <a:cubicBezTo>
                  <a:pt x="5394" y="390"/>
                  <a:pt x="5394" y="390"/>
                  <a:pt x="5394" y="390"/>
                </a:cubicBezTo>
                <a:cubicBezTo>
                  <a:pt x="5342" y="270"/>
                  <a:pt x="5342" y="270"/>
                  <a:pt x="5342" y="270"/>
                </a:cubicBezTo>
                <a:cubicBezTo>
                  <a:pt x="5328" y="238"/>
                  <a:pt x="5322" y="224"/>
                  <a:pt x="5322" y="212"/>
                </a:cubicBezTo>
                <a:cubicBezTo>
                  <a:pt x="5322" y="202"/>
                  <a:pt x="5328" y="196"/>
                  <a:pt x="5348" y="192"/>
                </a:cubicBezTo>
                <a:cubicBezTo>
                  <a:pt x="5348" y="180"/>
                  <a:pt x="5348" y="180"/>
                  <a:pt x="5348" y="180"/>
                </a:cubicBezTo>
                <a:cubicBezTo>
                  <a:pt x="5220" y="180"/>
                  <a:pt x="5220" y="180"/>
                  <a:pt x="5220" y="180"/>
                </a:cubicBezTo>
                <a:cubicBezTo>
                  <a:pt x="5220" y="192"/>
                  <a:pt x="5220" y="192"/>
                  <a:pt x="5220" y="192"/>
                </a:cubicBezTo>
                <a:cubicBezTo>
                  <a:pt x="5252" y="194"/>
                  <a:pt x="5254" y="198"/>
                  <a:pt x="5296" y="292"/>
                </a:cubicBezTo>
                <a:cubicBezTo>
                  <a:pt x="5368" y="450"/>
                  <a:pt x="5368" y="450"/>
                  <a:pt x="5368" y="450"/>
                </a:cubicBezTo>
                <a:cubicBezTo>
                  <a:pt x="5344" y="512"/>
                  <a:pt x="5306" y="546"/>
                  <a:pt x="5228" y="564"/>
                </a:cubicBezTo>
                <a:cubicBezTo>
                  <a:pt x="5232" y="576"/>
                  <a:pt x="5246" y="600"/>
                  <a:pt x="5254" y="606"/>
                </a:cubicBezTo>
                <a:cubicBezTo>
                  <a:pt x="5356" y="564"/>
                  <a:pt x="5376" y="498"/>
                  <a:pt x="5412" y="396"/>
                </a:cubicBezTo>
                <a:cubicBezTo>
                  <a:pt x="5466" y="242"/>
                  <a:pt x="5466" y="242"/>
                  <a:pt x="5466" y="242"/>
                </a:cubicBezTo>
                <a:cubicBezTo>
                  <a:pt x="5478" y="206"/>
                  <a:pt x="5498" y="192"/>
                  <a:pt x="5516" y="192"/>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600" kern="1200">
                <a:solidFill>
                  <a:schemeClr val="tx1"/>
                </a:solidFill>
                <a:latin typeface="Arial" charset="0"/>
                <a:ea typeface="+mn-ea"/>
                <a:cs typeface="+mn-cs"/>
              </a:defRPr>
            </a:lvl1pPr>
            <a:lvl2pPr marL="457200" algn="l" rtl="0" fontAlgn="base">
              <a:spcBef>
                <a:spcPct val="0"/>
              </a:spcBef>
              <a:spcAft>
                <a:spcPct val="0"/>
              </a:spcAft>
              <a:defRPr sz="1600" kern="1200">
                <a:solidFill>
                  <a:schemeClr val="tx1"/>
                </a:solidFill>
                <a:latin typeface="Arial" charset="0"/>
                <a:ea typeface="+mn-ea"/>
                <a:cs typeface="+mn-cs"/>
              </a:defRPr>
            </a:lvl2pPr>
            <a:lvl3pPr marL="914400" algn="l" rtl="0" fontAlgn="base">
              <a:spcBef>
                <a:spcPct val="0"/>
              </a:spcBef>
              <a:spcAft>
                <a:spcPct val="0"/>
              </a:spcAft>
              <a:defRPr sz="1600" kern="1200">
                <a:solidFill>
                  <a:schemeClr val="tx1"/>
                </a:solidFill>
                <a:latin typeface="Arial" charset="0"/>
                <a:ea typeface="+mn-ea"/>
                <a:cs typeface="+mn-cs"/>
              </a:defRPr>
            </a:lvl3pPr>
            <a:lvl4pPr marL="1371600" algn="l" rtl="0" fontAlgn="base">
              <a:spcBef>
                <a:spcPct val="0"/>
              </a:spcBef>
              <a:spcAft>
                <a:spcPct val="0"/>
              </a:spcAft>
              <a:defRPr sz="1600" kern="1200">
                <a:solidFill>
                  <a:schemeClr val="tx1"/>
                </a:solidFill>
                <a:latin typeface="Arial" charset="0"/>
                <a:ea typeface="+mn-ea"/>
                <a:cs typeface="+mn-cs"/>
              </a:defRPr>
            </a:lvl4pPr>
            <a:lvl5pPr marL="1828800" algn="l" rtl="0" fontAlgn="base">
              <a:spcBef>
                <a:spcPct val="0"/>
              </a:spcBef>
              <a:spcAft>
                <a:spcPct val="0"/>
              </a:spcAft>
              <a:defRPr sz="1600" kern="1200">
                <a:solidFill>
                  <a:schemeClr val="tx1"/>
                </a:solidFill>
                <a:latin typeface="Arial" charset="0"/>
                <a:ea typeface="+mn-ea"/>
                <a:cs typeface="+mn-cs"/>
              </a:defRPr>
            </a:lvl5pPr>
            <a:lvl6pPr marL="2286000" algn="l" defTabSz="914400" rtl="0" eaLnBrk="1" latinLnBrk="0" hangingPunct="1">
              <a:defRPr sz="1600" kern="1200">
                <a:solidFill>
                  <a:schemeClr val="tx1"/>
                </a:solidFill>
                <a:latin typeface="Arial" charset="0"/>
                <a:ea typeface="+mn-ea"/>
                <a:cs typeface="+mn-cs"/>
              </a:defRPr>
            </a:lvl6pPr>
            <a:lvl7pPr marL="2743200" algn="l" defTabSz="914400" rtl="0" eaLnBrk="1" latinLnBrk="0" hangingPunct="1">
              <a:defRPr sz="1600" kern="1200">
                <a:solidFill>
                  <a:schemeClr val="tx1"/>
                </a:solidFill>
                <a:latin typeface="Arial" charset="0"/>
                <a:ea typeface="+mn-ea"/>
                <a:cs typeface="+mn-cs"/>
              </a:defRPr>
            </a:lvl7pPr>
            <a:lvl8pPr marL="3200400" algn="l" defTabSz="914400" rtl="0" eaLnBrk="1" latinLnBrk="0" hangingPunct="1">
              <a:defRPr sz="1600" kern="1200">
                <a:solidFill>
                  <a:schemeClr val="tx1"/>
                </a:solidFill>
                <a:latin typeface="Arial" charset="0"/>
                <a:ea typeface="+mn-ea"/>
                <a:cs typeface="+mn-cs"/>
              </a:defRPr>
            </a:lvl8pPr>
            <a:lvl9pPr marL="3657600" algn="l" defTabSz="914400" rtl="0" eaLnBrk="1" latinLnBrk="0" hangingPunct="1">
              <a:defRPr sz="1600" kern="1200">
                <a:solidFill>
                  <a:schemeClr val="tx1"/>
                </a:solidFill>
                <a:latin typeface="Arial" charset="0"/>
                <a:ea typeface="+mn-ea"/>
                <a:cs typeface="+mn-cs"/>
              </a:defRPr>
            </a:lvl9pPr>
          </a:lstStyle>
          <a:p>
            <a:endParaRPr lang="en-US" baseline="0" dirty="0">
              <a:solidFill>
                <a:srgbClr val="000000"/>
              </a:solidFill>
              <a:latin typeface="+mn-lt"/>
            </a:endParaRPr>
          </a:p>
        </p:txBody>
      </p:sp>
      <p:sp>
        <p:nvSpPr>
          <p:cNvPr id="27" name="Disclaimer-English (United States)" hidden="1"/>
          <p:cNvSpPr>
            <a:spLocks noChangeArrowheads="1"/>
          </p:cNvSpPr>
          <p:nvPr/>
        </p:nvSpPr>
        <p:spPr bwMode="black">
          <a:xfrm>
            <a:off x="2268266" y="6287785"/>
            <a:ext cx="3544453" cy="36908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t" anchorCtr="0">
            <a:noAutofit/>
          </a:bodyPr>
          <a:lstStyle/>
          <a:p>
            <a:pPr defTabSz="804863" eaLnBrk="0" hangingPunct="0"/>
            <a:r>
              <a:rPr lang="en-US" sz="800" baseline="0" dirty="0">
                <a:solidFill>
                  <a:srgbClr val="FFFFFF"/>
                </a:solidFill>
                <a:latin typeface="+mn-lt"/>
              </a:rPr>
              <a:t>CONFIDENTIAL AND PROPRIETARY</a:t>
            </a:r>
          </a:p>
          <a:p>
            <a:pPr defTabSz="804863" eaLnBrk="0" hangingPunct="0"/>
            <a:r>
              <a:rPr lang="en-US" sz="800" baseline="0" dirty="0">
                <a:solidFill>
                  <a:srgbClr val="FFFFFF"/>
                </a:solidFill>
                <a:latin typeface="+mn-lt"/>
              </a:rPr>
              <a:t>Any use of this material without specific permission of McKinsey &amp; Company is strictly prohibited</a:t>
            </a:r>
          </a:p>
        </p:txBody>
      </p:sp>
    </p:spTree>
    <p:extLst>
      <p:ext uri="{BB962C8B-B14F-4D97-AF65-F5344CB8AC3E}">
        <p14:creationId xmlns:p14="http://schemas.microsoft.com/office/powerpoint/2010/main" val="3573298030"/>
      </p:ext>
    </p:extLst>
  </p:cSld>
  <p:clrMapOvr>
    <a:masterClrMapping/>
  </p:clrMapOvr>
  <p:extLst mod="1">
    <p:ext uri="{DCECCB84-F9BA-43D5-87BE-67443E8EF086}">
      <p15:sldGuideLst xmlns:p15="http://schemas.microsoft.com/office/powerpoint/2012/main">
        <p15:guide id="1" orient="horz" pos="2117">
          <p15:clr>
            <a:srgbClr val="FBAE40"/>
          </p15:clr>
        </p15:guide>
        <p15:guide id="2" pos="1416">
          <p15:clr>
            <a:srgbClr val="FBAE4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6E228F5-5CF1-42E1-9748-97D7582A107A}"/>
              </a:ext>
            </a:extLst>
          </p:cNvPr>
          <p:cNvGraphicFramePr>
            <a:graphicFrameLocks noChangeAspect="1"/>
          </p:cNvGraphicFramePr>
          <p:nvPr>
            <p:custDataLst>
              <p:tags r:id="rId2"/>
            </p:custDataLst>
            <p:extLst>
              <p:ext uri="{D42A27DB-BD31-4B8C-83A1-F6EECF244321}">
                <p14:modId xmlns:p14="http://schemas.microsoft.com/office/powerpoint/2010/main" val="175825075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5492" name="think-cell Slide" r:id="rId5" imgW="353" imgH="353" progId="TCLayout.ActiveDocument.1">
                  <p:embed/>
                </p:oleObj>
              </mc:Choice>
              <mc:Fallback>
                <p:oleObj name="think-cell Slide" r:id="rId5" imgW="353" imgH="353" progId="TCLayout.ActiveDocument.1">
                  <p:embed/>
                  <p:pic>
                    <p:nvPicPr>
                      <p:cNvPr id="3" name="Object 2" hidden="1">
                        <a:extLst>
                          <a:ext uri="{FF2B5EF4-FFF2-40B4-BE49-F238E27FC236}">
                            <a16:creationId xmlns:a16="http://schemas.microsoft.com/office/drawing/2014/main" id="{C6E228F5-5CF1-42E1-9748-97D7582A107A}"/>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2. Slide Title"/>
          <p:cNvSpPr>
            <a:spLocks noGrp="1"/>
          </p:cNvSpPr>
          <p:nvPr>
            <p:ph type="title"/>
          </p:nvPr>
        </p:nvSpPr>
        <p:spPr bwMode="auto"/>
        <p:txBody>
          <a:bodyPr/>
          <a:lstStyle/>
          <a:p>
            <a:r>
              <a:rPr lang="en-US"/>
              <a:t>Click to edit Master title style</a:t>
            </a:r>
            <a:endParaRPr lang="en-US" dirty="0"/>
          </a:p>
        </p:txBody>
      </p:sp>
      <p:sp>
        <p:nvSpPr>
          <p:cNvPr id="8" name="Slide Number"/>
          <p:cNvSpPr txBox="1">
            <a:spLocks/>
          </p:cNvSpPr>
          <p:nvPr/>
        </p:nvSpPr>
        <p:spPr bwMode="auto">
          <a:xfrm>
            <a:off x="8564563" y="6508272"/>
            <a:ext cx="125034" cy="123111"/>
          </a:xfrm>
          <a:prstGeom prst="rect">
            <a:avLst/>
          </a:prstGeom>
        </p:spPr>
        <p:txBody>
          <a:bodyPr vert="horz" wrap="none" lIns="0" tIns="0" rIns="0" bIns="0" rtlCol="0" anchor="ctr">
            <a:spAutoFit/>
          </a:bodyPr>
          <a:lstStyle>
            <a:defPPr>
              <a:defRPr lang="en-US"/>
            </a:defPPr>
            <a:lvl1pPr>
              <a:defRPr sz="1000" baseline="0">
                <a:latin typeface="+mn-lt"/>
              </a:defRPr>
            </a:lvl1pPr>
          </a:lstStyle>
          <a:p>
            <a:fld id="{42C328C1-A84F-4A39-A664-DBA00541A8C6}" type="slidenum">
              <a:rPr lang="en-US" sz="800" baseline="0" smtClean="0">
                <a:solidFill>
                  <a:srgbClr val="808080"/>
                </a:solidFill>
                <a:latin typeface="+mn-lt"/>
              </a:rPr>
              <a:pPr/>
              <a:t>‹#›</a:t>
            </a:fld>
            <a:endParaRPr lang="en-US" sz="800" baseline="0" dirty="0">
              <a:solidFill>
                <a:srgbClr val="808080"/>
              </a:solidFill>
              <a:latin typeface="+mn-lt"/>
            </a:endParaRPr>
          </a:p>
        </p:txBody>
      </p:sp>
      <p:sp>
        <p:nvSpPr>
          <p:cNvPr id="9" name="SlideLogoText"/>
          <p:cNvSpPr>
            <a:spLocks noChangeArrowheads="1"/>
          </p:cNvSpPr>
          <p:nvPr>
            <p:custDataLst>
              <p:tags r:id="rId3"/>
            </p:custDataLst>
          </p:nvPr>
        </p:nvSpPr>
        <p:spPr bwMode="auto">
          <a:xfrm>
            <a:off x="7450817" y="6508272"/>
            <a:ext cx="1013098"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algn="r" defTabSz="895350"/>
            <a:r>
              <a:rPr lang="en-US" sz="800" baseline="0" dirty="0">
                <a:solidFill>
                  <a:srgbClr val="808080"/>
                </a:solidFill>
                <a:latin typeface="+mn-lt"/>
              </a:rPr>
              <a:t>McKinsey &amp; Company</a:t>
            </a:r>
          </a:p>
        </p:txBody>
      </p:sp>
      <p:sp>
        <p:nvSpPr>
          <p:cNvPr id="5" name="doc id" hidden="1"/>
          <p:cNvSpPr txBox="1">
            <a:spLocks noChangeArrowheads="1"/>
          </p:cNvSpPr>
          <p:nvPr/>
        </p:nvSpPr>
        <p:spPr bwMode="white">
          <a:xfrm>
            <a:off x="8104473" y="36513"/>
            <a:ext cx="634716" cy="115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hangingPunct="1">
              <a:defRPr/>
            </a:pPr>
            <a:endParaRPr lang="en-US" sz="800" baseline="0" dirty="0">
              <a:solidFill>
                <a:schemeClr val="accent1"/>
              </a:solidFill>
              <a:latin typeface="+mn-lt"/>
              <a:ea typeface="+mn-ea"/>
            </a:endParaRPr>
          </a:p>
        </p:txBody>
      </p:sp>
    </p:spTree>
    <p:extLst>
      <p:ext uri="{BB962C8B-B14F-4D97-AF65-F5344CB8AC3E}">
        <p14:creationId xmlns:p14="http://schemas.microsoft.com/office/powerpoint/2010/main" val="1833938724"/>
      </p:ext>
    </p:extLst>
  </p:cSld>
  <p:clrMapOvr>
    <a:masterClrMapping/>
  </p:clrMapOvr>
  <p:extLst mod="1">
    <p:ext uri="{DCECCB84-F9BA-43D5-87BE-67443E8EF086}">
      <p15:sldGuideLst xmlns:p15="http://schemas.microsoft.com/office/powerpoint/2012/main">
        <p15:guide id="1" pos="5505">
          <p15:clr>
            <a:srgbClr val="F26B43"/>
          </p15:clr>
        </p15:guide>
        <p15:guide id="2" pos="74">
          <p15:clr>
            <a:srgbClr val="F26B43"/>
          </p15:clr>
        </p15:guide>
        <p15:guide id="3" orient="horz" pos="571">
          <p15:clr>
            <a:srgbClr val="F26B43"/>
          </p15:clr>
        </p15:guide>
        <p15:guide id="4" orient="horz" pos="3911">
          <p15:clr>
            <a:srgbClr val="F26B43"/>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p:cSld name="1_Title Only">
    <p:bg>
      <p:bgPr>
        <a:solidFill>
          <a:schemeClr val="accent2"/>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F4AD34F-3B47-47E2-A09C-FFEB949F6A10}"/>
              </a:ext>
            </a:extLst>
          </p:cNvPr>
          <p:cNvGraphicFramePr>
            <a:graphicFrameLocks noChangeAspect="1"/>
          </p:cNvGraphicFramePr>
          <p:nvPr>
            <p:custDataLst>
              <p:tags r:id="rId2"/>
            </p:custDataLst>
            <p:extLst>
              <p:ext uri="{D42A27DB-BD31-4B8C-83A1-F6EECF244321}">
                <p14:modId xmlns:p14="http://schemas.microsoft.com/office/powerpoint/2010/main" val="222921058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6516" name="think-cell Slide" r:id="rId5" imgW="395" imgH="394" progId="TCLayout.ActiveDocument.1">
                  <p:embed/>
                </p:oleObj>
              </mc:Choice>
              <mc:Fallback>
                <p:oleObj name="think-cell Slide" r:id="rId5" imgW="395" imgH="394" progId="TCLayout.ActiveDocument.1">
                  <p:embed/>
                  <p:pic>
                    <p:nvPicPr>
                      <p:cNvPr id="3" name="Object 2" hidden="1">
                        <a:extLst>
                          <a:ext uri="{FF2B5EF4-FFF2-40B4-BE49-F238E27FC236}">
                            <a16:creationId xmlns:a16="http://schemas.microsoft.com/office/drawing/2014/main" id="{EF4AD34F-3B47-47E2-A09C-FFEB949F6A10}"/>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endParaRPr lang="en-US" dirty="0"/>
          </a:p>
        </p:txBody>
      </p:sp>
      <p:sp>
        <p:nvSpPr>
          <p:cNvPr id="15" name="Slide Number"/>
          <p:cNvSpPr txBox="1">
            <a:spLocks/>
          </p:cNvSpPr>
          <p:nvPr/>
        </p:nvSpPr>
        <p:spPr>
          <a:xfrm>
            <a:off x="8564563" y="6508272"/>
            <a:ext cx="125034" cy="123111"/>
          </a:xfrm>
          <a:prstGeom prst="rect">
            <a:avLst/>
          </a:prstGeom>
        </p:spPr>
        <p:txBody>
          <a:bodyPr vert="horz" wrap="none" lIns="0" tIns="0" rIns="0" bIns="0" rtlCol="0" anchor="ctr">
            <a:spAutoFit/>
          </a:bodyPr>
          <a:lstStyle>
            <a:defPPr>
              <a:defRPr lang="en-US"/>
            </a:defPPr>
            <a:lvl1pPr>
              <a:defRPr sz="1000" baseline="0">
                <a:latin typeface="+mn-lt"/>
              </a:defRPr>
            </a:lvl1pPr>
          </a:lstStyle>
          <a:p>
            <a:fld id="{42C328C1-A84F-4A39-A664-DBA00541A8C6}" type="slidenum">
              <a:rPr lang="en-US" sz="800" baseline="0" smtClean="0">
                <a:solidFill>
                  <a:srgbClr val="FFFFFF"/>
                </a:solidFill>
                <a:latin typeface="+mn-lt"/>
              </a:rPr>
              <a:pPr/>
              <a:t>‹#›</a:t>
            </a:fld>
            <a:endParaRPr lang="en-US" sz="800" baseline="0" dirty="0">
              <a:solidFill>
                <a:srgbClr val="FFFFFF"/>
              </a:solidFill>
              <a:latin typeface="+mn-lt"/>
            </a:endParaRPr>
          </a:p>
        </p:txBody>
      </p:sp>
      <p:sp>
        <p:nvSpPr>
          <p:cNvPr id="16" name="SlideLogoText"/>
          <p:cNvSpPr>
            <a:spLocks noChangeArrowheads="1"/>
          </p:cNvSpPr>
          <p:nvPr>
            <p:custDataLst>
              <p:tags r:id="rId3"/>
            </p:custDataLst>
          </p:nvPr>
        </p:nvSpPr>
        <p:spPr bwMode="auto">
          <a:xfrm>
            <a:off x="7450817" y="6508272"/>
            <a:ext cx="1013098"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algn="r" defTabSz="895350"/>
            <a:r>
              <a:rPr lang="en-US" sz="800" baseline="0" dirty="0">
                <a:solidFill>
                  <a:srgbClr val="FFFFFF"/>
                </a:solidFill>
                <a:latin typeface="+mn-lt"/>
              </a:rPr>
              <a:t>McKinsey &amp; Company</a:t>
            </a:r>
          </a:p>
        </p:txBody>
      </p:sp>
      <p:sp>
        <p:nvSpPr>
          <p:cNvPr id="5" name="doc id" hidden="1"/>
          <p:cNvSpPr txBox="1">
            <a:spLocks noChangeArrowheads="1"/>
          </p:cNvSpPr>
          <p:nvPr/>
        </p:nvSpPr>
        <p:spPr bwMode="white">
          <a:xfrm>
            <a:off x="8104473" y="36513"/>
            <a:ext cx="634716" cy="115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hangingPunct="1">
              <a:defRPr/>
            </a:pPr>
            <a:endParaRPr lang="en-US" sz="800" baseline="0" dirty="0">
              <a:solidFill>
                <a:schemeClr val="accent1"/>
              </a:solidFill>
              <a:latin typeface="+mn-lt"/>
              <a:ea typeface="+mn-ea"/>
            </a:endParaRPr>
          </a:p>
        </p:txBody>
      </p:sp>
    </p:spTree>
    <p:extLst>
      <p:ext uri="{BB962C8B-B14F-4D97-AF65-F5344CB8AC3E}">
        <p14:creationId xmlns:p14="http://schemas.microsoft.com/office/powerpoint/2010/main" val="3501618932"/>
      </p:ext>
    </p:extLst>
  </p:cSld>
  <p:clrMapOvr>
    <a:masterClrMapping/>
  </p:clrMapOvr>
  <p:extLst mod="1">
    <p:ext uri="{DCECCB84-F9BA-43D5-87BE-67443E8EF086}">
      <p15:sldGuideLst xmlns:p15="http://schemas.microsoft.com/office/powerpoint/2012/main">
        <p15:guide id="1" pos="3978">
          <p15:clr>
            <a:srgbClr val="000000"/>
          </p15:clr>
        </p15:guide>
        <p15:guide id="2" orient="horz" pos="570">
          <p15:clr>
            <a:srgbClr val="000000"/>
          </p15:clr>
        </p15:guide>
        <p15:guide id="3" orient="horz" pos="3912">
          <p15:clr>
            <a:srgbClr val="000000"/>
          </p15:clr>
        </p15:guide>
        <p15:guide id="4" pos="72">
          <p15:clr>
            <a:srgbClr val="00000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type="titleOnly">
  <p:cSld name="2_Title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ECD524A-1569-4253-8CD8-48D288AD883C}"/>
              </a:ext>
            </a:extLst>
          </p:cNvPr>
          <p:cNvGraphicFramePr>
            <a:graphicFrameLocks noChangeAspect="1"/>
          </p:cNvGraphicFramePr>
          <p:nvPr>
            <p:custDataLst>
              <p:tags r:id="rId2"/>
            </p:custDataLst>
            <p:extLst>
              <p:ext uri="{D42A27DB-BD31-4B8C-83A1-F6EECF244321}">
                <p14:modId xmlns:p14="http://schemas.microsoft.com/office/powerpoint/2010/main" val="313832829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7540" name="think-cell Slide" r:id="rId4" imgW="395" imgH="394" progId="TCLayout.ActiveDocument.1">
                  <p:embed/>
                </p:oleObj>
              </mc:Choice>
              <mc:Fallback>
                <p:oleObj name="think-cell Slide" r:id="rId4" imgW="395" imgH="394" progId="TCLayout.ActiveDocument.1">
                  <p:embed/>
                  <p:pic>
                    <p:nvPicPr>
                      <p:cNvPr id="3" name="Object 2" hidden="1">
                        <a:extLst>
                          <a:ext uri="{FF2B5EF4-FFF2-40B4-BE49-F238E27FC236}">
                            <a16:creationId xmlns:a16="http://schemas.microsoft.com/office/drawing/2014/main" id="{5ECD524A-1569-4253-8CD8-48D288AD883C}"/>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19746643"/>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pic>
        <p:nvPicPr>
          <p:cNvPr id="2" name="background"/>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0" y="198"/>
            <a:ext cx="8961438" cy="6721079"/>
          </a:xfrm>
          <a:prstGeom prst="rect">
            <a:avLst/>
          </a:prstGeom>
        </p:spPr>
      </p:pic>
      <p:sp>
        <p:nvSpPr>
          <p:cNvPr id="28" name="TitleRectangle"/>
          <p:cNvSpPr txBox="1">
            <a:spLocks/>
          </p:cNvSpPr>
          <p:nvPr/>
        </p:nvSpPr>
        <p:spPr>
          <a:xfrm>
            <a:off x="2084388" y="0"/>
            <a:ext cx="6875462" cy="3575976"/>
          </a:xfrm>
          <a:prstGeom prst="rect">
            <a:avLst/>
          </a:prstGeom>
          <a:solidFill>
            <a:srgbClr val="002960">
              <a:alpha val="92000"/>
            </a:srgbClr>
          </a:solidFill>
        </p:spPr>
        <p:txBody>
          <a:bodyPr vert="horz" wrap="square" lIns="216000" tIns="1440000" rIns="216000" bIns="108000" rtlCol="0">
            <a:noAutofit/>
          </a:bodyPr>
          <a:lstStyle>
            <a:lvl1pPr marL="0" indent="0" algn="l" defTabSz="914400" rtl="0" eaLnBrk="1" latinLnBrk="0" hangingPunct="1">
              <a:spcBef>
                <a:spcPct val="20000"/>
              </a:spcBef>
              <a:spcAft>
                <a:spcPts val="6000"/>
              </a:spcAft>
              <a:buFont typeface="Arial" pitchFamily="34" charset="0"/>
              <a:buNone/>
              <a:defRPr sz="3200" kern="1200">
                <a:solidFill>
                  <a:schemeClr val="accent1"/>
                </a:solidFill>
                <a:latin typeface="+mn-lt"/>
                <a:ea typeface="+mn-ea"/>
                <a:cs typeface="+mn-cs"/>
              </a:defRPr>
            </a:lvl1pPr>
            <a:lvl2pPr marL="0" indent="0" algn="l" defTabSz="914400" rtl="0" eaLnBrk="1" latinLnBrk="0" hangingPunct="1">
              <a:spcBef>
                <a:spcPct val="20000"/>
              </a:spcBef>
              <a:buFont typeface="Wingdings" charset="2"/>
              <a:buNone/>
              <a:defRPr sz="1400" kern="1200">
                <a:solidFill>
                  <a:schemeClr val="tx1">
                    <a:lumMod val="50000"/>
                    <a:lumOff val="50000"/>
                  </a:schemeClr>
                </a:solidFill>
                <a:latin typeface="+mn-lt"/>
                <a:ea typeface="+mn-ea"/>
                <a:cs typeface="+mn-cs"/>
              </a:defRPr>
            </a:lvl2pPr>
            <a:lvl3pPr marL="1143000" indent="-228600" algn="l" defTabSz="914400" rtl="0" eaLnBrk="1" latinLnBrk="0" hangingPunct="1">
              <a:spcBef>
                <a:spcPct val="20000"/>
              </a:spcBef>
              <a:buFont typeface="Lucida Grande"/>
              <a:buChar char="–"/>
              <a:defRPr sz="16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fontAlgn="auto">
              <a:defRPr/>
            </a:pPr>
            <a:r>
              <a:rPr lang="en-US" baseline="0" dirty="0">
                <a:solidFill>
                  <a:srgbClr val="00ADEF"/>
                </a:solidFill>
                <a:latin typeface="+mn-lt"/>
              </a:rPr>
              <a:t>
              </a:t>
            </a:r>
            <a:br>
              <a:rPr lang="en-US" baseline="0" dirty="0">
                <a:solidFill>
                  <a:srgbClr val="00ADEF"/>
                </a:solidFill>
                <a:latin typeface="+mn-lt"/>
              </a:rPr>
            </a:br>
            <a:endParaRPr lang="en-US" baseline="0" dirty="0">
              <a:solidFill>
                <a:srgbClr val="00ADEF"/>
              </a:solidFill>
              <a:latin typeface="+mn-lt"/>
            </a:endParaRPr>
          </a:p>
        </p:txBody>
      </p:sp>
      <p:graphicFrame>
        <p:nvGraphicFramePr>
          <p:cNvPr id="3" name="Object 2"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9588"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Working Draft Text" hidden="1"/>
          <p:cNvSpPr txBox="1">
            <a:spLocks noChangeArrowheads="1"/>
          </p:cNvSpPr>
          <p:nvPr/>
        </p:nvSpPr>
        <p:spPr bwMode="black">
          <a:xfrm>
            <a:off x="5992719" y="6287538"/>
            <a:ext cx="2790000"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800" b="1" baseline="0" dirty="0">
                <a:solidFill>
                  <a:srgbClr val="FFFFFF"/>
                </a:solidFill>
                <a:latin typeface="+mn-lt"/>
              </a:rPr>
              <a:t>WORKING DRAFT</a:t>
            </a:r>
          </a:p>
        </p:txBody>
      </p:sp>
      <p:sp>
        <p:nvSpPr>
          <p:cNvPr id="6" name="Working Draft" hidden="1"/>
          <p:cNvSpPr txBox="1">
            <a:spLocks noChangeArrowheads="1"/>
          </p:cNvSpPr>
          <p:nvPr/>
        </p:nvSpPr>
        <p:spPr bwMode="black">
          <a:xfrm>
            <a:off x="5992718" y="6410648"/>
            <a:ext cx="2968719"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800" baseline="0">
                <a:solidFill>
                  <a:srgbClr val="FFFFFF"/>
                </a:solidFill>
                <a:latin typeface="+mn-lt"/>
              </a:rPr>
              <a:t>Last Modified 21/05/2018 17:44 India Standard Time</a:t>
            </a:r>
            <a:endParaRPr lang="en-US" sz="800" baseline="0" dirty="0">
              <a:solidFill>
                <a:srgbClr val="FFFFFF"/>
              </a:solidFill>
              <a:latin typeface="+mn-lt"/>
            </a:endParaRPr>
          </a:p>
        </p:txBody>
      </p:sp>
      <p:sp>
        <p:nvSpPr>
          <p:cNvPr id="7" name="Printed" hidden="1"/>
          <p:cNvSpPr txBox="1">
            <a:spLocks noChangeArrowheads="1"/>
          </p:cNvSpPr>
          <p:nvPr/>
        </p:nvSpPr>
        <p:spPr bwMode="black">
          <a:xfrm>
            <a:off x="5992719" y="6533759"/>
            <a:ext cx="2790000"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800" baseline="0" dirty="0">
                <a:solidFill>
                  <a:srgbClr val="FFFFFF"/>
                </a:solidFill>
                <a:latin typeface="+mn-lt"/>
              </a:rPr>
              <a:t>Printed</a:t>
            </a:r>
          </a:p>
        </p:txBody>
      </p:sp>
      <p:sp>
        <p:nvSpPr>
          <p:cNvPr id="13314" name="Title"/>
          <p:cNvSpPr>
            <a:spLocks noGrp="1" noChangeArrowheads="1"/>
          </p:cNvSpPr>
          <p:nvPr>
            <p:ph type="ctrTitle"/>
          </p:nvPr>
        </p:nvSpPr>
        <p:spPr>
          <a:xfrm>
            <a:off x="2268266" y="1434419"/>
            <a:ext cx="6231663" cy="492443"/>
          </a:xfrm>
          <a:prstGeom prst="rect">
            <a:avLst/>
          </a:prstGeom>
        </p:spPr>
        <p:txBody>
          <a:bodyPr>
            <a:spAutoFit/>
          </a:bodyPr>
          <a:lstStyle>
            <a:lvl1pPr>
              <a:defRPr sz="3200" b="0" baseline="0">
                <a:solidFill>
                  <a:schemeClr val="accent2"/>
                </a:solidFill>
                <a:latin typeface="+mj-lt"/>
                <a:ea typeface="+mj-ea"/>
              </a:defRPr>
            </a:lvl1pPr>
          </a:lstStyle>
          <a:p>
            <a:pPr lvl="0" latinLnBrk="0"/>
            <a:r>
              <a:rPr lang="en-US" noProof="0"/>
              <a:t>Click to edit Master title style</a:t>
            </a:r>
            <a:endParaRPr lang="en-US" noProof="0" dirty="0"/>
          </a:p>
        </p:txBody>
      </p:sp>
      <p:sp>
        <p:nvSpPr>
          <p:cNvPr id="13315" name="Subtitle"/>
          <p:cNvSpPr>
            <a:spLocks noGrp="1" noChangeArrowheads="1"/>
          </p:cNvSpPr>
          <p:nvPr>
            <p:ph type="subTitle" idx="1"/>
          </p:nvPr>
        </p:nvSpPr>
        <p:spPr>
          <a:xfrm>
            <a:off x="2268266" y="2819401"/>
            <a:ext cx="6231663" cy="215444"/>
          </a:xfrm>
          <a:prstGeom prst="rect">
            <a:avLst/>
          </a:prstGeom>
        </p:spPr>
        <p:txBody>
          <a:bodyPr wrap="square">
            <a:spAutoFit/>
          </a:bodyPr>
          <a:lstStyle>
            <a:lvl1pPr>
              <a:defRPr sz="1400" cap="all" baseline="0">
                <a:solidFill>
                  <a:schemeClr val="bg1"/>
                </a:solidFill>
                <a:latin typeface="+mn-lt"/>
                <a:ea typeface="+mn-ea"/>
              </a:defRPr>
            </a:lvl1pPr>
          </a:lstStyle>
          <a:p>
            <a:pPr lvl="0" latinLnBrk="0"/>
            <a:r>
              <a:rPr lang="en-US" noProof="0"/>
              <a:t>Click to edit Master subtitle style</a:t>
            </a:r>
            <a:endParaRPr lang="en-US" noProof="0" dirty="0"/>
          </a:p>
        </p:txBody>
      </p:sp>
      <p:sp>
        <p:nvSpPr>
          <p:cNvPr id="57" name="Document type" hidden="1"/>
          <p:cNvSpPr txBox="1">
            <a:spLocks noChangeArrowheads="1"/>
          </p:cNvSpPr>
          <p:nvPr/>
        </p:nvSpPr>
        <p:spPr bwMode="gray">
          <a:xfrm>
            <a:off x="2268266" y="3227411"/>
            <a:ext cx="6231663"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00" baseline="0" dirty="0">
                <a:solidFill>
                  <a:schemeClr val="bg1"/>
                </a:solidFill>
                <a:latin typeface="+mn-lt"/>
              </a:rPr>
              <a:t>Document type | Date</a:t>
            </a:r>
          </a:p>
        </p:txBody>
      </p:sp>
      <p:sp>
        <p:nvSpPr>
          <p:cNvPr id="5" name="doc id" hidden="1"/>
          <p:cNvSpPr txBox="1">
            <a:spLocks noChangeArrowheads="1"/>
          </p:cNvSpPr>
          <p:nvPr/>
        </p:nvSpPr>
        <p:spPr bwMode="white">
          <a:xfrm>
            <a:off x="8443913" y="36513"/>
            <a:ext cx="295275" cy="1222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hangingPunct="1">
              <a:defRPr/>
            </a:pPr>
            <a:endParaRPr lang="en-US" sz="800" baseline="0" dirty="0">
              <a:solidFill>
                <a:srgbClr val="FFFFFF"/>
              </a:solidFill>
              <a:latin typeface="+mn-lt"/>
            </a:endParaRPr>
          </a:p>
        </p:txBody>
      </p:sp>
      <p:sp>
        <p:nvSpPr>
          <p:cNvPr id="43" name="LogoImage"/>
          <p:cNvSpPr>
            <a:spLocks noEditPoints="1"/>
          </p:cNvSpPr>
          <p:nvPr/>
        </p:nvSpPr>
        <p:spPr bwMode="white">
          <a:xfrm>
            <a:off x="2269098" y="182925"/>
            <a:ext cx="2176978" cy="238073"/>
          </a:xfrm>
          <a:custGeom>
            <a:avLst/>
            <a:gdLst>
              <a:gd name="T0" fmla="*/ 504 w 5516"/>
              <a:gd name="T1" fmla="*/ 26 h 606"/>
              <a:gd name="T2" fmla="*/ 18 w 5516"/>
              <a:gd name="T3" fmla="*/ 22 h 606"/>
              <a:gd name="T4" fmla="*/ 140 w 5516"/>
              <a:gd name="T5" fmla="*/ 436 h 606"/>
              <a:gd name="T6" fmla="*/ 408 w 5516"/>
              <a:gd name="T7" fmla="*/ 372 h 606"/>
              <a:gd name="T8" fmla="*/ 696 w 5516"/>
              <a:gd name="T9" fmla="*/ 422 h 606"/>
              <a:gd name="T10" fmla="*/ 768 w 5516"/>
              <a:gd name="T11" fmla="*/ 196 h 606"/>
              <a:gd name="T12" fmla="*/ 1272 w 5516"/>
              <a:gd name="T13" fmla="*/ 26 h 606"/>
              <a:gd name="T14" fmla="*/ 1302 w 5516"/>
              <a:gd name="T15" fmla="*/ 338 h 606"/>
              <a:gd name="T16" fmla="*/ 1202 w 5516"/>
              <a:gd name="T17" fmla="*/ 436 h 606"/>
              <a:gd name="T18" fmla="*/ 1030 w 5516"/>
              <a:gd name="T19" fmla="*/ 10 h 606"/>
              <a:gd name="T20" fmla="*/ 960 w 5516"/>
              <a:gd name="T21" fmla="*/ 22 h 606"/>
              <a:gd name="T22" fmla="*/ 804 w 5516"/>
              <a:gd name="T23" fmla="*/ 434 h 606"/>
              <a:gd name="T24" fmla="*/ 930 w 5516"/>
              <a:gd name="T25" fmla="*/ 246 h 606"/>
              <a:gd name="T26" fmla="*/ 1658 w 5516"/>
              <a:gd name="T27" fmla="*/ 342 h 606"/>
              <a:gd name="T28" fmla="*/ 1368 w 5516"/>
              <a:gd name="T29" fmla="*/ 188 h 606"/>
              <a:gd name="T30" fmla="*/ 1514 w 5516"/>
              <a:gd name="T31" fmla="*/ 436 h 606"/>
              <a:gd name="T32" fmla="*/ 1564 w 5516"/>
              <a:gd name="T33" fmla="*/ 434 h 606"/>
              <a:gd name="T34" fmla="*/ 1904 w 5516"/>
              <a:gd name="T35" fmla="*/ 184 h 606"/>
              <a:gd name="T36" fmla="*/ 1728 w 5516"/>
              <a:gd name="T37" fmla="*/ 366 h 606"/>
              <a:gd name="T38" fmla="*/ 2102 w 5516"/>
              <a:gd name="T39" fmla="*/ 192 h 606"/>
              <a:gd name="T40" fmla="*/ 1982 w 5516"/>
              <a:gd name="T41" fmla="*/ 320 h 606"/>
              <a:gd name="T42" fmla="*/ 2478 w 5516"/>
              <a:gd name="T43" fmla="*/ 242 h 606"/>
              <a:gd name="T44" fmla="*/ 2406 w 5516"/>
              <a:gd name="T45" fmla="*/ 390 h 606"/>
              <a:gd name="T46" fmla="*/ 2234 w 5516"/>
              <a:gd name="T47" fmla="*/ 192 h 606"/>
              <a:gd name="T48" fmla="*/ 2478 w 5516"/>
              <a:gd name="T49" fmla="*/ 242 h 606"/>
              <a:gd name="T50" fmla="*/ 2928 w 5516"/>
              <a:gd name="T51" fmla="*/ 448 h 606"/>
              <a:gd name="T52" fmla="*/ 2958 w 5516"/>
              <a:gd name="T53" fmla="*/ 230 h 606"/>
              <a:gd name="T54" fmla="*/ 2716 w 5516"/>
              <a:gd name="T55" fmla="*/ 54 h 606"/>
              <a:gd name="T56" fmla="*/ 2714 w 5516"/>
              <a:gd name="T57" fmla="*/ 36 h 606"/>
              <a:gd name="T58" fmla="*/ 2928 w 5516"/>
              <a:gd name="T59" fmla="*/ 448 h 606"/>
              <a:gd name="T60" fmla="*/ 3388 w 5516"/>
              <a:gd name="T61" fmla="*/ 4 h 606"/>
              <a:gd name="T62" fmla="*/ 3396 w 5516"/>
              <a:gd name="T63" fmla="*/ 366 h 606"/>
              <a:gd name="T64" fmla="*/ 3580 w 5516"/>
              <a:gd name="T65" fmla="*/ 190 h 606"/>
              <a:gd name="T66" fmla="*/ 3502 w 5516"/>
              <a:gd name="T67" fmla="*/ 432 h 606"/>
              <a:gd name="T68" fmla="*/ 4232 w 5516"/>
              <a:gd name="T69" fmla="*/ 348 h 606"/>
              <a:gd name="T70" fmla="*/ 3858 w 5516"/>
              <a:gd name="T71" fmla="*/ 176 h 606"/>
              <a:gd name="T72" fmla="*/ 3758 w 5516"/>
              <a:gd name="T73" fmla="*/ 446 h 606"/>
              <a:gd name="T74" fmla="*/ 3990 w 5516"/>
              <a:gd name="T75" fmla="*/ 282 h 606"/>
              <a:gd name="T76" fmla="*/ 4042 w 5516"/>
              <a:gd name="T77" fmla="*/ 342 h 606"/>
              <a:gd name="T78" fmla="*/ 4134 w 5516"/>
              <a:gd name="T79" fmla="*/ 448 h 606"/>
              <a:gd name="T80" fmla="*/ 4454 w 5516"/>
              <a:gd name="T81" fmla="*/ 202 h 606"/>
              <a:gd name="T82" fmla="*/ 4284 w 5516"/>
              <a:gd name="T83" fmla="*/ 174 h 606"/>
              <a:gd name="T84" fmla="*/ 4432 w 5516"/>
              <a:gd name="T85" fmla="*/ 588 h 606"/>
              <a:gd name="T86" fmla="*/ 4792 w 5516"/>
              <a:gd name="T87" fmla="*/ 382 h 606"/>
              <a:gd name="T88" fmla="*/ 5192 w 5516"/>
              <a:gd name="T89" fmla="*/ 340 h 606"/>
              <a:gd name="T90" fmla="*/ 4902 w 5516"/>
              <a:gd name="T91" fmla="*/ 186 h 606"/>
              <a:gd name="T92" fmla="*/ 4850 w 5516"/>
              <a:gd name="T93" fmla="*/ 274 h 606"/>
              <a:gd name="T94" fmla="*/ 4742 w 5516"/>
              <a:gd name="T95" fmla="*/ 194 h 606"/>
              <a:gd name="T96" fmla="*/ 4794 w 5516"/>
              <a:gd name="T97" fmla="*/ 418 h 606"/>
              <a:gd name="T98" fmla="*/ 5004 w 5516"/>
              <a:gd name="T99" fmla="*/ 338 h 606"/>
              <a:gd name="T100" fmla="*/ 5098 w 5516"/>
              <a:gd name="T101" fmla="*/ 446 h 606"/>
              <a:gd name="T102" fmla="*/ 5418 w 5516"/>
              <a:gd name="T103" fmla="*/ 192 h 606"/>
              <a:gd name="T104" fmla="*/ 5348 w 5516"/>
              <a:gd name="T105" fmla="*/ 180 h 606"/>
              <a:gd name="T106" fmla="*/ 5254 w 5516"/>
              <a:gd name="T107" fmla="*/ 606 h 6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516" h="606">
                <a:moveTo>
                  <a:pt x="366" y="448"/>
                </a:moveTo>
                <a:cubicBezTo>
                  <a:pt x="524" y="448"/>
                  <a:pt x="524" y="448"/>
                  <a:pt x="524" y="448"/>
                </a:cubicBezTo>
                <a:cubicBezTo>
                  <a:pt x="524" y="436"/>
                  <a:pt x="524" y="436"/>
                  <a:pt x="524" y="436"/>
                </a:cubicBezTo>
                <a:cubicBezTo>
                  <a:pt x="486" y="432"/>
                  <a:pt x="470" y="414"/>
                  <a:pt x="468" y="362"/>
                </a:cubicBezTo>
                <a:cubicBezTo>
                  <a:pt x="454" y="86"/>
                  <a:pt x="454" y="86"/>
                  <a:pt x="454" y="86"/>
                </a:cubicBezTo>
                <a:cubicBezTo>
                  <a:pt x="452" y="46"/>
                  <a:pt x="470" y="30"/>
                  <a:pt x="504" y="26"/>
                </a:cubicBezTo>
                <a:cubicBezTo>
                  <a:pt x="504" y="12"/>
                  <a:pt x="504" y="12"/>
                  <a:pt x="504" y="12"/>
                </a:cubicBezTo>
                <a:cubicBezTo>
                  <a:pt x="394" y="12"/>
                  <a:pt x="394" y="12"/>
                  <a:pt x="394" y="12"/>
                </a:cubicBezTo>
                <a:cubicBezTo>
                  <a:pt x="264" y="350"/>
                  <a:pt x="264" y="350"/>
                  <a:pt x="264" y="350"/>
                </a:cubicBezTo>
                <a:cubicBezTo>
                  <a:pt x="132" y="10"/>
                  <a:pt x="132" y="10"/>
                  <a:pt x="132" y="10"/>
                </a:cubicBezTo>
                <a:cubicBezTo>
                  <a:pt x="18" y="10"/>
                  <a:pt x="18" y="10"/>
                  <a:pt x="18" y="10"/>
                </a:cubicBezTo>
                <a:cubicBezTo>
                  <a:pt x="18" y="22"/>
                  <a:pt x="18" y="22"/>
                  <a:pt x="18" y="22"/>
                </a:cubicBezTo>
                <a:cubicBezTo>
                  <a:pt x="40" y="26"/>
                  <a:pt x="74" y="32"/>
                  <a:pt x="72" y="84"/>
                </a:cubicBezTo>
                <a:cubicBezTo>
                  <a:pt x="58" y="352"/>
                  <a:pt x="58" y="352"/>
                  <a:pt x="58" y="352"/>
                </a:cubicBezTo>
                <a:cubicBezTo>
                  <a:pt x="54" y="410"/>
                  <a:pt x="38" y="430"/>
                  <a:pt x="0" y="436"/>
                </a:cubicBezTo>
                <a:cubicBezTo>
                  <a:pt x="0" y="448"/>
                  <a:pt x="0" y="448"/>
                  <a:pt x="0" y="448"/>
                </a:cubicBezTo>
                <a:cubicBezTo>
                  <a:pt x="140" y="448"/>
                  <a:pt x="140" y="448"/>
                  <a:pt x="140" y="448"/>
                </a:cubicBezTo>
                <a:cubicBezTo>
                  <a:pt x="140" y="436"/>
                  <a:pt x="140" y="436"/>
                  <a:pt x="140" y="436"/>
                </a:cubicBezTo>
                <a:cubicBezTo>
                  <a:pt x="98" y="428"/>
                  <a:pt x="84" y="414"/>
                  <a:pt x="88" y="356"/>
                </a:cubicBezTo>
                <a:cubicBezTo>
                  <a:pt x="100" y="86"/>
                  <a:pt x="100" y="86"/>
                  <a:pt x="100" y="86"/>
                </a:cubicBezTo>
                <a:cubicBezTo>
                  <a:pt x="240" y="444"/>
                  <a:pt x="240" y="444"/>
                  <a:pt x="240" y="444"/>
                </a:cubicBezTo>
                <a:cubicBezTo>
                  <a:pt x="258" y="444"/>
                  <a:pt x="258" y="444"/>
                  <a:pt x="258" y="444"/>
                </a:cubicBezTo>
                <a:cubicBezTo>
                  <a:pt x="396" y="86"/>
                  <a:pt x="396" y="86"/>
                  <a:pt x="396" y="86"/>
                </a:cubicBezTo>
                <a:cubicBezTo>
                  <a:pt x="408" y="372"/>
                  <a:pt x="408" y="372"/>
                  <a:pt x="408" y="372"/>
                </a:cubicBezTo>
                <a:cubicBezTo>
                  <a:pt x="410" y="416"/>
                  <a:pt x="398" y="430"/>
                  <a:pt x="366" y="434"/>
                </a:cubicBezTo>
                <a:lnTo>
                  <a:pt x="366" y="448"/>
                </a:lnTo>
                <a:close/>
                <a:moveTo>
                  <a:pt x="670" y="456"/>
                </a:moveTo>
                <a:cubicBezTo>
                  <a:pt x="708" y="456"/>
                  <a:pt x="756" y="440"/>
                  <a:pt x="782" y="412"/>
                </a:cubicBezTo>
                <a:cubicBezTo>
                  <a:pt x="776" y="400"/>
                  <a:pt x="776" y="400"/>
                  <a:pt x="776" y="400"/>
                </a:cubicBezTo>
                <a:cubicBezTo>
                  <a:pt x="750" y="416"/>
                  <a:pt x="722" y="422"/>
                  <a:pt x="696" y="422"/>
                </a:cubicBezTo>
                <a:cubicBezTo>
                  <a:pt x="620" y="422"/>
                  <a:pt x="592" y="358"/>
                  <a:pt x="592" y="290"/>
                </a:cubicBezTo>
                <a:cubicBezTo>
                  <a:pt x="592" y="258"/>
                  <a:pt x="600" y="236"/>
                  <a:pt x="614" y="222"/>
                </a:cubicBezTo>
                <a:cubicBezTo>
                  <a:pt x="626" y="210"/>
                  <a:pt x="646" y="204"/>
                  <a:pt x="664" y="204"/>
                </a:cubicBezTo>
                <a:cubicBezTo>
                  <a:pt x="690" y="204"/>
                  <a:pt x="722" y="214"/>
                  <a:pt x="744" y="244"/>
                </a:cubicBezTo>
                <a:cubicBezTo>
                  <a:pt x="750" y="244"/>
                  <a:pt x="750" y="244"/>
                  <a:pt x="750" y="244"/>
                </a:cubicBezTo>
                <a:cubicBezTo>
                  <a:pt x="758" y="234"/>
                  <a:pt x="766" y="212"/>
                  <a:pt x="768" y="196"/>
                </a:cubicBezTo>
                <a:cubicBezTo>
                  <a:pt x="748" y="180"/>
                  <a:pt x="720" y="172"/>
                  <a:pt x="686" y="172"/>
                </a:cubicBezTo>
                <a:cubicBezTo>
                  <a:pt x="604" y="172"/>
                  <a:pt x="544" y="246"/>
                  <a:pt x="544" y="326"/>
                </a:cubicBezTo>
                <a:cubicBezTo>
                  <a:pt x="540" y="390"/>
                  <a:pt x="576" y="456"/>
                  <a:pt x="670" y="456"/>
                </a:cubicBezTo>
                <a:moveTo>
                  <a:pt x="1272" y="98"/>
                </a:moveTo>
                <a:cubicBezTo>
                  <a:pt x="1292" y="98"/>
                  <a:pt x="1308" y="82"/>
                  <a:pt x="1308" y="62"/>
                </a:cubicBezTo>
                <a:cubicBezTo>
                  <a:pt x="1308" y="42"/>
                  <a:pt x="1292" y="26"/>
                  <a:pt x="1272" y="26"/>
                </a:cubicBezTo>
                <a:cubicBezTo>
                  <a:pt x="1252" y="26"/>
                  <a:pt x="1238" y="42"/>
                  <a:pt x="1238" y="62"/>
                </a:cubicBezTo>
                <a:cubicBezTo>
                  <a:pt x="1238" y="82"/>
                  <a:pt x="1252" y="98"/>
                  <a:pt x="1272" y="98"/>
                </a:cubicBezTo>
                <a:moveTo>
                  <a:pt x="1202" y="448"/>
                </a:moveTo>
                <a:cubicBezTo>
                  <a:pt x="1346" y="448"/>
                  <a:pt x="1346" y="448"/>
                  <a:pt x="1346" y="448"/>
                </a:cubicBezTo>
                <a:cubicBezTo>
                  <a:pt x="1346" y="436"/>
                  <a:pt x="1346" y="436"/>
                  <a:pt x="1346" y="436"/>
                </a:cubicBezTo>
                <a:cubicBezTo>
                  <a:pt x="1304" y="432"/>
                  <a:pt x="1302" y="434"/>
                  <a:pt x="1302" y="338"/>
                </a:cubicBezTo>
                <a:cubicBezTo>
                  <a:pt x="1302" y="176"/>
                  <a:pt x="1302" y="176"/>
                  <a:pt x="1302" y="176"/>
                </a:cubicBezTo>
                <a:cubicBezTo>
                  <a:pt x="1200" y="176"/>
                  <a:pt x="1200" y="176"/>
                  <a:pt x="1200" y="176"/>
                </a:cubicBezTo>
                <a:cubicBezTo>
                  <a:pt x="1200" y="188"/>
                  <a:pt x="1200" y="188"/>
                  <a:pt x="1200" y="188"/>
                </a:cubicBezTo>
                <a:cubicBezTo>
                  <a:pt x="1244" y="190"/>
                  <a:pt x="1250" y="192"/>
                  <a:pt x="1250" y="268"/>
                </a:cubicBezTo>
                <a:cubicBezTo>
                  <a:pt x="1250" y="336"/>
                  <a:pt x="1250" y="336"/>
                  <a:pt x="1250" y="336"/>
                </a:cubicBezTo>
                <a:cubicBezTo>
                  <a:pt x="1250" y="432"/>
                  <a:pt x="1248" y="432"/>
                  <a:pt x="1202" y="436"/>
                </a:cubicBezTo>
                <a:cubicBezTo>
                  <a:pt x="1178" y="434"/>
                  <a:pt x="1154" y="426"/>
                  <a:pt x="1076" y="338"/>
                </a:cubicBezTo>
                <a:cubicBezTo>
                  <a:pt x="1046" y="302"/>
                  <a:pt x="996" y="244"/>
                  <a:pt x="968" y="206"/>
                </a:cubicBezTo>
                <a:cubicBezTo>
                  <a:pt x="1062" y="102"/>
                  <a:pt x="1062" y="102"/>
                  <a:pt x="1062" y="102"/>
                </a:cubicBezTo>
                <a:cubicBezTo>
                  <a:pt x="1108" y="52"/>
                  <a:pt x="1132" y="26"/>
                  <a:pt x="1176" y="24"/>
                </a:cubicBezTo>
                <a:cubicBezTo>
                  <a:pt x="1176" y="10"/>
                  <a:pt x="1176" y="10"/>
                  <a:pt x="1176" y="10"/>
                </a:cubicBezTo>
                <a:cubicBezTo>
                  <a:pt x="1030" y="10"/>
                  <a:pt x="1030" y="10"/>
                  <a:pt x="1030" y="10"/>
                </a:cubicBezTo>
                <a:cubicBezTo>
                  <a:pt x="1030" y="22"/>
                  <a:pt x="1030" y="22"/>
                  <a:pt x="1030" y="22"/>
                </a:cubicBezTo>
                <a:cubicBezTo>
                  <a:pt x="1050" y="26"/>
                  <a:pt x="1056" y="32"/>
                  <a:pt x="1056" y="46"/>
                </a:cubicBezTo>
                <a:cubicBezTo>
                  <a:pt x="1056" y="56"/>
                  <a:pt x="1054" y="72"/>
                  <a:pt x="1026" y="102"/>
                </a:cubicBezTo>
                <a:cubicBezTo>
                  <a:pt x="910" y="230"/>
                  <a:pt x="910" y="230"/>
                  <a:pt x="910" y="230"/>
                </a:cubicBezTo>
                <a:cubicBezTo>
                  <a:pt x="910" y="148"/>
                  <a:pt x="910" y="148"/>
                  <a:pt x="910" y="148"/>
                </a:cubicBezTo>
                <a:cubicBezTo>
                  <a:pt x="910" y="36"/>
                  <a:pt x="916" y="28"/>
                  <a:pt x="960" y="22"/>
                </a:cubicBezTo>
                <a:cubicBezTo>
                  <a:pt x="960" y="8"/>
                  <a:pt x="960" y="8"/>
                  <a:pt x="960" y="8"/>
                </a:cubicBezTo>
                <a:cubicBezTo>
                  <a:pt x="804" y="8"/>
                  <a:pt x="804" y="8"/>
                  <a:pt x="804" y="8"/>
                </a:cubicBezTo>
                <a:cubicBezTo>
                  <a:pt x="804" y="22"/>
                  <a:pt x="804" y="22"/>
                  <a:pt x="804" y="22"/>
                </a:cubicBezTo>
                <a:cubicBezTo>
                  <a:pt x="852" y="26"/>
                  <a:pt x="854" y="36"/>
                  <a:pt x="854" y="148"/>
                </a:cubicBezTo>
                <a:cubicBezTo>
                  <a:pt x="854" y="300"/>
                  <a:pt x="854" y="300"/>
                  <a:pt x="854" y="300"/>
                </a:cubicBezTo>
                <a:cubicBezTo>
                  <a:pt x="854" y="422"/>
                  <a:pt x="850" y="430"/>
                  <a:pt x="804" y="434"/>
                </a:cubicBezTo>
                <a:cubicBezTo>
                  <a:pt x="804" y="446"/>
                  <a:pt x="804" y="446"/>
                  <a:pt x="804" y="446"/>
                </a:cubicBezTo>
                <a:cubicBezTo>
                  <a:pt x="960" y="446"/>
                  <a:pt x="960" y="446"/>
                  <a:pt x="960" y="446"/>
                </a:cubicBezTo>
                <a:cubicBezTo>
                  <a:pt x="960" y="434"/>
                  <a:pt x="960" y="434"/>
                  <a:pt x="960" y="434"/>
                </a:cubicBezTo>
                <a:cubicBezTo>
                  <a:pt x="910" y="428"/>
                  <a:pt x="910" y="424"/>
                  <a:pt x="910" y="292"/>
                </a:cubicBezTo>
                <a:cubicBezTo>
                  <a:pt x="910" y="268"/>
                  <a:pt x="910" y="268"/>
                  <a:pt x="910" y="268"/>
                </a:cubicBezTo>
                <a:cubicBezTo>
                  <a:pt x="930" y="246"/>
                  <a:pt x="930" y="246"/>
                  <a:pt x="930" y="246"/>
                </a:cubicBezTo>
                <a:cubicBezTo>
                  <a:pt x="982" y="310"/>
                  <a:pt x="1038" y="380"/>
                  <a:pt x="1098" y="448"/>
                </a:cubicBezTo>
                <a:cubicBezTo>
                  <a:pt x="1202" y="448"/>
                  <a:pt x="1202" y="448"/>
                  <a:pt x="1202" y="448"/>
                </a:cubicBezTo>
                <a:close/>
                <a:moveTo>
                  <a:pt x="1564" y="448"/>
                </a:moveTo>
                <a:cubicBezTo>
                  <a:pt x="1706" y="448"/>
                  <a:pt x="1706" y="448"/>
                  <a:pt x="1706" y="448"/>
                </a:cubicBezTo>
                <a:cubicBezTo>
                  <a:pt x="1706" y="436"/>
                  <a:pt x="1706" y="436"/>
                  <a:pt x="1706" y="436"/>
                </a:cubicBezTo>
                <a:cubicBezTo>
                  <a:pt x="1658" y="434"/>
                  <a:pt x="1658" y="432"/>
                  <a:pt x="1658" y="342"/>
                </a:cubicBezTo>
                <a:cubicBezTo>
                  <a:pt x="1658" y="280"/>
                  <a:pt x="1658" y="280"/>
                  <a:pt x="1658" y="280"/>
                </a:cubicBezTo>
                <a:cubicBezTo>
                  <a:pt x="1658" y="198"/>
                  <a:pt x="1612" y="172"/>
                  <a:pt x="1570" y="172"/>
                </a:cubicBezTo>
                <a:cubicBezTo>
                  <a:pt x="1534" y="172"/>
                  <a:pt x="1498" y="188"/>
                  <a:pt x="1470" y="224"/>
                </a:cubicBezTo>
                <a:cubicBezTo>
                  <a:pt x="1470" y="176"/>
                  <a:pt x="1470" y="176"/>
                  <a:pt x="1470" y="176"/>
                </a:cubicBezTo>
                <a:cubicBezTo>
                  <a:pt x="1368" y="176"/>
                  <a:pt x="1368" y="176"/>
                  <a:pt x="1368" y="176"/>
                </a:cubicBezTo>
                <a:cubicBezTo>
                  <a:pt x="1368" y="188"/>
                  <a:pt x="1368" y="188"/>
                  <a:pt x="1368" y="188"/>
                </a:cubicBezTo>
                <a:cubicBezTo>
                  <a:pt x="1412" y="190"/>
                  <a:pt x="1418" y="192"/>
                  <a:pt x="1418" y="268"/>
                </a:cubicBezTo>
                <a:cubicBezTo>
                  <a:pt x="1418" y="336"/>
                  <a:pt x="1418" y="336"/>
                  <a:pt x="1418" y="336"/>
                </a:cubicBezTo>
                <a:cubicBezTo>
                  <a:pt x="1418" y="434"/>
                  <a:pt x="1418" y="434"/>
                  <a:pt x="1370" y="436"/>
                </a:cubicBezTo>
                <a:cubicBezTo>
                  <a:pt x="1370" y="448"/>
                  <a:pt x="1370" y="448"/>
                  <a:pt x="1370" y="448"/>
                </a:cubicBezTo>
                <a:cubicBezTo>
                  <a:pt x="1514" y="448"/>
                  <a:pt x="1514" y="448"/>
                  <a:pt x="1514" y="448"/>
                </a:cubicBezTo>
                <a:cubicBezTo>
                  <a:pt x="1514" y="436"/>
                  <a:pt x="1514" y="436"/>
                  <a:pt x="1514" y="436"/>
                </a:cubicBezTo>
                <a:cubicBezTo>
                  <a:pt x="1472" y="432"/>
                  <a:pt x="1470" y="434"/>
                  <a:pt x="1470" y="338"/>
                </a:cubicBezTo>
                <a:cubicBezTo>
                  <a:pt x="1470" y="262"/>
                  <a:pt x="1470" y="262"/>
                  <a:pt x="1470" y="262"/>
                </a:cubicBezTo>
                <a:cubicBezTo>
                  <a:pt x="1470" y="236"/>
                  <a:pt x="1504" y="206"/>
                  <a:pt x="1546" y="206"/>
                </a:cubicBezTo>
                <a:cubicBezTo>
                  <a:pt x="1580" y="206"/>
                  <a:pt x="1606" y="220"/>
                  <a:pt x="1606" y="286"/>
                </a:cubicBezTo>
                <a:cubicBezTo>
                  <a:pt x="1606" y="340"/>
                  <a:pt x="1606" y="340"/>
                  <a:pt x="1606" y="340"/>
                </a:cubicBezTo>
                <a:cubicBezTo>
                  <a:pt x="1606" y="432"/>
                  <a:pt x="1602" y="432"/>
                  <a:pt x="1564" y="434"/>
                </a:cubicBezTo>
                <a:lnTo>
                  <a:pt x="1564" y="448"/>
                </a:lnTo>
                <a:close/>
                <a:moveTo>
                  <a:pt x="1776" y="222"/>
                </a:moveTo>
                <a:cubicBezTo>
                  <a:pt x="1776" y="200"/>
                  <a:pt x="1796" y="188"/>
                  <a:pt x="1822" y="188"/>
                </a:cubicBezTo>
                <a:cubicBezTo>
                  <a:pt x="1874" y="188"/>
                  <a:pt x="1896" y="236"/>
                  <a:pt x="1900" y="252"/>
                </a:cubicBezTo>
                <a:cubicBezTo>
                  <a:pt x="1912" y="252"/>
                  <a:pt x="1912" y="252"/>
                  <a:pt x="1912" y="252"/>
                </a:cubicBezTo>
                <a:cubicBezTo>
                  <a:pt x="1912" y="212"/>
                  <a:pt x="1908" y="188"/>
                  <a:pt x="1904" y="184"/>
                </a:cubicBezTo>
                <a:cubicBezTo>
                  <a:pt x="1900" y="180"/>
                  <a:pt x="1862" y="170"/>
                  <a:pt x="1824" y="170"/>
                </a:cubicBezTo>
                <a:cubicBezTo>
                  <a:pt x="1768" y="170"/>
                  <a:pt x="1734" y="206"/>
                  <a:pt x="1734" y="248"/>
                </a:cubicBezTo>
                <a:cubicBezTo>
                  <a:pt x="1734" y="340"/>
                  <a:pt x="1890" y="322"/>
                  <a:pt x="1890" y="396"/>
                </a:cubicBezTo>
                <a:cubicBezTo>
                  <a:pt x="1890" y="422"/>
                  <a:pt x="1866" y="436"/>
                  <a:pt x="1826" y="436"/>
                </a:cubicBezTo>
                <a:cubicBezTo>
                  <a:pt x="1788" y="436"/>
                  <a:pt x="1754" y="416"/>
                  <a:pt x="1744" y="366"/>
                </a:cubicBezTo>
                <a:cubicBezTo>
                  <a:pt x="1728" y="366"/>
                  <a:pt x="1728" y="366"/>
                  <a:pt x="1728" y="366"/>
                </a:cubicBezTo>
                <a:cubicBezTo>
                  <a:pt x="1728" y="386"/>
                  <a:pt x="1732" y="422"/>
                  <a:pt x="1734" y="428"/>
                </a:cubicBezTo>
                <a:cubicBezTo>
                  <a:pt x="1744" y="446"/>
                  <a:pt x="1788" y="454"/>
                  <a:pt x="1824" y="454"/>
                </a:cubicBezTo>
                <a:cubicBezTo>
                  <a:pt x="1888" y="454"/>
                  <a:pt x="1928" y="416"/>
                  <a:pt x="1928" y="372"/>
                </a:cubicBezTo>
                <a:cubicBezTo>
                  <a:pt x="1932" y="270"/>
                  <a:pt x="1776" y="286"/>
                  <a:pt x="1776" y="222"/>
                </a:cubicBezTo>
                <a:moveTo>
                  <a:pt x="2030" y="270"/>
                </a:moveTo>
                <a:cubicBezTo>
                  <a:pt x="2034" y="220"/>
                  <a:pt x="2058" y="192"/>
                  <a:pt x="2102" y="192"/>
                </a:cubicBezTo>
                <a:cubicBezTo>
                  <a:pt x="2144" y="192"/>
                  <a:pt x="2170" y="220"/>
                  <a:pt x="2172" y="270"/>
                </a:cubicBezTo>
                <a:lnTo>
                  <a:pt x="2030" y="270"/>
                </a:lnTo>
                <a:close/>
                <a:moveTo>
                  <a:pt x="2030" y="290"/>
                </a:moveTo>
                <a:cubicBezTo>
                  <a:pt x="2222" y="290"/>
                  <a:pt x="2222" y="290"/>
                  <a:pt x="2222" y="290"/>
                </a:cubicBezTo>
                <a:cubicBezTo>
                  <a:pt x="2226" y="228"/>
                  <a:pt x="2192" y="168"/>
                  <a:pt x="2114" y="168"/>
                </a:cubicBezTo>
                <a:cubicBezTo>
                  <a:pt x="2034" y="168"/>
                  <a:pt x="1982" y="232"/>
                  <a:pt x="1982" y="320"/>
                </a:cubicBezTo>
                <a:cubicBezTo>
                  <a:pt x="1982" y="388"/>
                  <a:pt x="2018" y="456"/>
                  <a:pt x="2112" y="456"/>
                </a:cubicBezTo>
                <a:cubicBezTo>
                  <a:pt x="2150" y="456"/>
                  <a:pt x="2198" y="440"/>
                  <a:pt x="2224" y="412"/>
                </a:cubicBezTo>
                <a:cubicBezTo>
                  <a:pt x="2218" y="400"/>
                  <a:pt x="2218" y="400"/>
                  <a:pt x="2218" y="400"/>
                </a:cubicBezTo>
                <a:cubicBezTo>
                  <a:pt x="2192" y="416"/>
                  <a:pt x="2164" y="422"/>
                  <a:pt x="2138" y="422"/>
                </a:cubicBezTo>
                <a:cubicBezTo>
                  <a:pt x="2058" y="420"/>
                  <a:pt x="2028" y="352"/>
                  <a:pt x="2030" y="290"/>
                </a:cubicBezTo>
                <a:moveTo>
                  <a:pt x="2478" y="242"/>
                </a:moveTo>
                <a:cubicBezTo>
                  <a:pt x="2490" y="206"/>
                  <a:pt x="2510" y="192"/>
                  <a:pt x="2528" y="192"/>
                </a:cubicBezTo>
                <a:cubicBezTo>
                  <a:pt x="2528" y="180"/>
                  <a:pt x="2528" y="180"/>
                  <a:pt x="2528" y="180"/>
                </a:cubicBezTo>
                <a:cubicBezTo>
                  <a:pt x="2430" y="180"/>
                  <a:pt x="2430" y="180"/>
                  <a:pt x="2430" y="180"/>
                </a:cubicBezTo>
                <a:cubicBezTo>
                  <a:pt x="2430" y="192"/>
                  <a:pt x="2430" y="192"/>
                  <a:pt x="2430" y="192"/>
                </a:cubicBezTo>
                <a:cubicBezTo>
                  <a:pt x="2454" y="194"/>
                  <a:pt x="2466" y="206"/>
                  <a:pt x="2458" y="234"/>
                </a:cubicBezTo>
                <a:cubicBezTo>
                  <a:pt x="2406" y="390"/>
                  <a:pt x="2406" y="390"/>
                  <a:pt x="2406" y="390"/>
                </a:cubicBezTo>
                <a:cubicBezTo>
                  <a:pt x="2354" y="270"/>
                  <a:pt x="2354" y="270"/>
                  <a:pt x="2354" y="270"/>
                </a:cubicBezTo>
                <a:cubicBezTo>
                  <a:pt x="2340" y="238"/>
                  <a:pt x="2334" y="224"/>
                  <a:pt x="2334" y="212"/>
                </a:cubicBezTo>
                <a:cubicBezTo>
                  <a:pt x="2334" y="202"/>
                  <a:pt x="2340" y="196"/>
                  <a:pt x="2360" y="192"/>
                </a:cubicBezTo>
                <a:cubicBezTo>
                  <a:pt x="2360" y="180"/>
                  <a:pt x="2360" y="180"/>
                  <a:pt x="2360" y="180"/>
                </a:cubicBezTo>
                <a:cubicBezTo>
                  <a:pt x="2234" y="180"/>
                  <a:pt x="2234" y="180"/>
                  <a:pt x="2234" y="180"/>
                </a:cubicBezTo>
                <a:cubicBezTo>
                  <a:pt x="2234" y="192"/>
                  <a:pt x="2234" y="192"/>
                  <a:pt x="2234" y="192"/>
                </a:cubicBezTo>
                <a:cubicBezTo>
                  <a:pt x="2266" y="194"/>
                  <a:pt x="2268" y="198"/>
                  <a:pt x="2310" y="292"/>
                </a:cubicBezTo>
                <a:cubicBezTo>
                  <a:pt x="2382" y="450"/>
                  <a:pt x="2382" y="450"/>
                  <a:pt x="2382" y="450"/>
                </a:cubicBezTo>
                <a:cubicBezTo>
                  <a:pt x="2358" y="512"/>
                  <a:pt x="2320" y="546"/>
                  <a:pt x="2242" y="564"/>
                </a:cubicBezTo>
                <a:cubicBezTo>
                  <a:pt x="2246" y="576"/>
                  <a:pt x="2260" y="600"/>
                  <a:pt x="2268" y="606"/>
                </a:cubicBezTo>
                <a:cubicBezTo>
                  <a:pt x="2370" y="564"/>
                  <a:pt x="2390" y="498"/>
                  <a:pt x="2426" y="396"/>
                </a:cubicBezTo>
                <a:lnTo>
                  <a:pt x="2478" y="242"/>
                </a:lnTo>
                <a:close/>
                <a:moveTo>
                  <a:pt x="2844" y="394"/>
                </a:moveTo>
                <a:cubicBezTo>
                  <a:pt x="2822" y="412"/>
                  <a:pt x="2782" y="416"/>
                  <a:pt x="2750" y="416"/>
                </a:cubicBezTo>
                <a:cubicBezTo>
                  <a:pt x="2670" y="416"/>
                  <a:pt x="2606" y="360"/>
                  <a:pt x="2606" y="284"/>
                </a:cubicBezTo>
                <a:cubicBezTo>
                  <a:pt x="2606" y="236"/>
                  <a:pt x="2626" y="206"/>
                  <a:pt x="2658" y="198"/>
                </a:cubicBezTo>
                <a:cubicBezTo>
                  <a:pt x="2698" y="266"/>
                  <a:pt x="2770" y="338"/>
                  <a:pt x="2844" y="394"/>
                </a:cubicBezTo>
                <a:moveTo>
                  <a:pt x="2928" y="448"/>
                </a:moveTo>
                <a:cubicBezTo>
                  <a:pt x="3022" y="448"/>
                  <a:pt x="3022" y="448"/>
                  <a:pt x="3022" y="448"/>
                </a:cubicBezTo>
                <a:cubicBezTo>
                  <a:pt x="3022" y="436"/>
                  <a:pt x="3022" y="436"/>
                  <a:pt x="3022" y="436"/>
                </a:cubicBezTo>
                <a:cubicBezTo>
                  <a:pt x="2992" y="432"/>
                  <a:pt x="2946" y="408"/>
                  <a:pt x="2896" y="372"/>
                </a:cubicBezTo>
                <a:cubicBezTo>
                  <a:pt x="2914" y="342"/>
                  <a:pt x="2918" y="300"/>
                  <a:pt x="2922" y="270"/>
                </a:cubicBezTo>
                <a:cubicBezTo>
                  <a:pt x="2926" y="244"/>
                  <a:pt x="2946" y="244"/>
                  <a:pt x="2958" y="242"/>
                </a:cubicBezTo>
                <a:cubicBezTo>
                  <a:pt x="2958" y="230"/>
                  <a:pt x="2958" y="230"/>
                  <a:pt x="2958" y="230"/>
                </a:cubicBezTo>
                <a:cubicBezTo>
                  <a:pt x="2834" y="230"/>
                  <a:pt x="2834" y="230"/>
                  <a:pt x="2834" y="230"/>
                </a:cubicBezTo>
                <a:cubicBezTo>
                  <a:pt x="2834" y="242"/>
                  <a:pt x="2834" y="242"/>
                  <a:pt x="2834" y="242"/>
                </a:cubicBezTo>
                <a:cubicBezTo>
                  <a:pt x="2864" y="246"/>
                  <a:pt x="2892" y="250"/>
                  <a:pt x="2892" y="294"/>
                </a:cubicBezTo>
                <a:cubicBezTo>
                  <a:pt x="2892" y="318"/>
                  <a:pt x="2888" y="342"/>
                  <a:pt x="2878" y="358"/>
                </a:cubicBezTo>
                <a:cubicBezTo>
                  <a:pt x="2770" y="274"/>
                  <a:pt x="2670" y="156"/>
                  <a:pt x="2670" y="96"/>
                </a:cubicBezTo>
                <a:cubicBezTo>
                  <a:pt x="2670" y="66"/>
                  <a:pt x="2688" y="54"/>
                  <a:pt x="2716" y="54"/>
                </a:cubicBezTo>
                <a:cubicBezTo>
                  <a:pt x="2752" y="54"/>
                  <a:pt x="2784" y="78"/>
                  <a:pt x="2800" y="124"/>
                </a:cubicBezTo>
                <a:cubicBezTo>
                  <a:pt x="2812" y="124"/>
                  <a:pt x="2812" y="124"/>
                  <a:pt x="2812" y="124"/>
                </a:cubicBezTo>
                <a:cubicBezTo>
                  <a:pt x="2810" y="42"/>
                  <a:pt x="2810" y="42"/>
                  <a:pt x="2810" y="42"/>
                </a:cubicBezTo>
                <a:cubicBezTo>
                  <a:pt x="2798" y="42"/>
                  <a:pt x="2798" y="42"/>
                  <a:pt x="2798" y="42"/>
                </a:cubicBezTo>
                <a:cubicBezTo>
                  <a:pt x="2798" y="48"/>
                  <a:pt x="2792" y="52"/>
                  <a:pt x="2788" y="52"/>
                </a:cubicBezTo>
                <a:cubicBezTo>
                  <a:pt x="2772" y="52"/>
                  <a:pt x="2752" y="36"/>
                  <a:pt x="2714" y="36"/>
                </a:cubicBezTo>
                <a:cubicBezTo>
                  <a:pt x="2672" y="36"/>
                  <a:pt x="2630" y="62"/>
                  <a:pt x="2630" y="118"/>
                </a:cubicBezTo>
                <a:cubicBezTo>
                  <a:pt x="2630" y="140"/>
                  <a:pt x="2636" y="160"/>
                  <a:pt x="2648" y="182"/>
                </a:cubicBezTo>
                <a:cubicBezTo>
                  <a:pt x="2592" y="200"/>
                  <a:pt x="2562" y="248"/>
                  <a:pt x="2562" y="304"/>
                </a:cubicBezTo>
                <a:cubicBezTo>
                  <a:pt x="2562" y="406"/>
                  <a:pt x="2640" y="460"/>
                  <a:pt x="2726" y="460"/>
                </a:cubicBezTo>
                <a:cubicBezTo>
                  <a:pt x="2780" y="460"/>
                  <a:pt x="2824" y="444"/>
                  <a:pt x="2862" y="410"/>
                </a:cubicBezTo>
                <a:cubicBezTo>
                  <a:pt x="2888" y="424"/>
                  <a:pt x="2912" y="442"/>
                  <a:pt x="2928" y="448"/>
                </a:cubicBezTo>
                <a:moveTo>
                  <a:pt x="3094" y="212"/>
                </a:moveTo>
                <a:cubicBezTo>
                  <a:pt x="3094" y="88"/>
                  <a:pt x="3154" y="20"/>
                  <a:pt x="3252" y="20"/>
                </a:cubicBezTo>
                <a:cubicBezTo>
                  <a:pt x="3328" y="20"/>
                  <a:pt x="3372" y="58"/>
                  <a:pt x="3392" y="134"/>
                </a:cubicBezTo>
                <a:cubicBezTo>
                  <a:pt x="3404" y="134"/>
                  <a:pt x="3404" y="134"/>
                  <a:pt x="3404" y="134"/>
                </a:cubicBezTo>
                <a:cubicBezTo>
                  <a:pt x="3400" y="4"/>
                  <a:pt x="3400" y="4"/>
                  <a:pt x="3400" y="4"/>
                </a:cubicBezTo>
                <a:cubicBezTo>
                  <a:pt x="3388" y="4"/>
                  <a:pt x="3388" y="4"/>
                  <a:pt x="3388" y="4"/>
                </a:cubicBezTo>
                <a:cubicBezTo>
                  <a:pt x="3384" y="14"/>
                  <a:pt x="3376" y="18"/>
                  <a:pt x="3364" y="18"/>
                </a:cubicBezTo>
                <a:cubicBezTo>
                  <a:pt x="3338" y="18"/>
                  <a:pt x="3314" y="0"/>
                  <a:pt x="3248" y="0"/>
                </a:cubicBezTo>
                <a:cubicBezTo>
                  <a:pt x="3118" y="0"/>
                  <a:pt x="3030" y="102"/>
                  <a:pt x="3030" y="242"/>
                </a:cubicBezTo>
                <a:cubicBezTo>
                  <a:pt x="3030" y="376"/>
                  <a:pt x="3110" y="460"/>
                  <a:pt x="3238" y="460"/>
                </a:cubicBezTo>
                <a:cubicBezTo>
                  <a:pt x="3320" y="460"/>
                  <a:pt x="3384" y="420"/>
                  <a:pt x="3408" y="380"/>
                </a:cubicBezTo>
                <a:cubicBezTo>
                  <a:pt x="3396" y="366"/>
                  <a:pt x="3396" y="366"/>
                  <a:pt x="3396" y="366"/>
                </a:cubicBezTo>
                <a:cubicBezTo>
                  <a:pt x="3370" y="402"/>
                  <a:pt x="3314" y="426"/>
                  <a:pt x="3256" y="426"/>
                </a:cubicBezTo>
                <a:cubicBezTo>
                  <a:pt x="3156" y="426"/>
                  <a:pt x="3094" y="340"/>
                  <a:pt x="3094" y="212"/>
                </a:cubicBezTo>
                <a:moveTo>
                  <a:pt x="3678" y="328"/>
                </a:moveTo>
                <a:cubicBezTo>
                  <a:pt x="3678" y="392"/>
                  <a:pt x="3650" y="430"/>
                  <a:pt x="3592" y="430"/>
                </a:cubicBezTo>
                <a:cubicBezTo>
                  <a:pt x="3542" y="430"/>
                  <a:pt x="3496" y="384"/>
                  <a:pt x="3496" y="292"/>
                </a:cubicBezTo>
                <a:cubicBezTo>
                  <a:pt x="3496" y="226"/>
                  <a:pt x="3528" y="190"/>
                  <a:pt x="3580" y="190"/>
                </a:cubicBezTo>
                <a:cubicBezTo>
                  <a:pt x="3628" y="192"/>
                  <a:pt x="3678" y="238"/>
                  <a:pt x="3678" y="328"/>
                </a:cubicBezTo>
                <a:moveTo>
                  <a:pt x="3732" y="312"/>
                </a:moveTo>
                <a:cubicBezTo>
                  <a:pt x="3732" y="260"/>
                  <a:pt x="3710" y="214"/>
                  <a:pt x="3672" y="190"/>
                </a:cubicBezTo>
                <a:cubicBezTo>
                  <a:pt x="3650" y="176"/>
                  <a:pt x="3620" y="168"/>
                  <a:pt x="3588" y="168"/>
                </a:cubicBezTo>
                <a:cubicBezTo>
                  <a:pt x="3502" y="168"/>
                  <a:pt x="3442" y="230"/>
                  <a:pt x="3442" y="310"/>
                </a:cubicBezTo>
                <a:cubicBezTo>
                  <a:pt x="3442" y="364"/>
                  <a:pt x="3464" y="408"/>
                  <a:pt x="3502" y="432"/>
                </a:cubicBezTo>
                <a:cubicBezTo>
                  <a:pt x="3524" y="446"/>
                  <a:pt x="3554" y="452"/>
                  <a:pt x="3586" y="452"/>
                </a:cubicBezTo>
                <a:cubicBezTo>
                  <a:pt x="3672" y="454"/>
                  <a:pt x="3732" y="394"/>
                  <a:pt x="3732" y="312"/>
                </a:cubicBezTo>
                <a:moveTo>
                  <a:pt x="4136" y="448"/>
                </a:moveTo>
                <a:cubicBezTo>
                  <a:pt x="4280" y="448"/>
                  <a:pt x="4280" y="448"/>
                  <a:pt x="4280" y="448"/>
                </a:cubicBezTo>
                <a:cubicBezTo>
                  <a:pt x="4280" y="436"/>
                  <a:pt x="4280" y="436"/>
                  <a:pt x="4280" y="436"/>
                </a:cubicBezTo>
                <a:cubicBezTo>
                  <a:pt x="4230" y="434"/>
                  <a:pt x="4232" y="426"/>
                  <a:pt x="4232" y="348"/>
                </a:cubicBezTo>
                <a:cubicBezTo>
                  <a:pt x="4232" y="276"/>
                  <a:pt x="4232" y="276"/>
                  <a:pt x="4232" y="276"/>
                </a:cubicBezTo>
                <a:cubicBezTo>
                  <a:pt x="4232" y="200"/>
                  <a:pt x="4190" y="172"/>
                  <a:pt x="4142" y="172"/>
                </a:cubicBezTo>
                <a:cubicBezTo>
                  <a:pt x="4098" y="172"/>
                  <a:pt x="4064" y="196"/>
                  <a:pt x="4038" y="232"/>
                </a:cubicBezTo>
                <a:cubicBezTo>
                  <a:pt x="4028" y="194"/>
                  <a:pt x="4000" y="172"/>
                  <a:pt x="3954" y="172"/>
                </a:cubicBezTo>
                <a:cubicBezTo>
                  <a:pt x="3916" y="172"/>
                  <a:pt x="3880" y="196"/>
                  <a:pt x="3858" y="224"/>
                </a:cubicBezTo>
                <a:cubicBezTo>
                  <a:pt x="3858" y="176"/>
                  <a:pt x="3858" y="176"/>
                  <a:pt x="3858" y="176"/>
                </a:cubicBezTo>
                <a:cubicBezTo>
                  <a:pt x="3756" y="176"/>
                  <a:pt x="3756" y="176"/>
                  <a:pt x="3756" y="176"/>
                </a:cubicBezTo>
                <a:cubicBezTo>
                  <a:pt x="3756" y="188"/>
                  <a:pt x="3756" y="188"/>
                  <a:pt x="3756" y="188"/>
                </a:cubicBezTo>
                <a:cubicBezTo>
                  <a:pt x="3800" y="190"/>
                  <a:pt x="3806" y="192"/>
                  <a:pt x="3806" y="268"/>
                </a:cubicBezTo>
                <a:cubicBezTo>
                  <a:pt x="3806" y="346"/>
                  <a:pt x="3806" y="346"/>
                  <a:pt x="3806" y="346"/>
                </a:cubicBezTo>
                <a:cubicBezTo>
                  <a:pt x="3806" y="434"/>
                  <a:pt x="3804" y="434"/>
                  <a:pt x="3758" y="434"/>
                </a:cubicBezTo>
                <a:cubicBezTo>
                  <a:pt x="3758" y="446"/>
                  <a:pt x="3758" y="446"/>
                  <a:pt x="3758" y="446"/>
                </a:cubicBezTo>
                <a:cubicBezTo>
                  <a:pt x="3902" y="446"/>
                  <a:pt x="3902" y="446"/>
                  <a:pt x="3902" y="446"/>
                </a:cubicBezTo>
                <a:cubicBezTo>
                  <a:pt x="3902" y="434"/>
                  <a:pt x="3902" y="434"/>
                  <a:pt x="3902" y="434"/>
                </a:cubicBezTo>
                <a:cubicBezTo>
                  <a:pt x="3862" y="430"/>
                  <a:pt x="3858" y="430"/>
                  <a:pt x="3858" y="342"/>
                </a:cubicBezTo>
                <a:cubicBezTo>
                  <a:pt x="3858" y="262"/>
                  <a:pt x="3858" y="262"/>
                  <a:pt x="3858" y="262"/>
                </a:cubicBezTo>
                <a:cubicBezTo>
                  <a:pt x="3858" y="234"/>
                  <a:pt x="3894" y="204"/>
                  <a:pt x="3932" y="204"/>
                </a:cubicBezTo>
                <a:cubicBezTo>
                  <a:pt x="3974" y="204"/>
                  <a:pt x="3990" y="226"/>
                  <a:pt x="3990" y="282"/>
                </a:cubicBezTo>
                <a:cubicBezTo>
                  <a:pt x="3990" y="338"/>
                  <a:pt x="3990" y="338"/>
                  <a:pt x="3990" y="338"/>
                </a:cubicBezTo>
                <a:cubicBezTo>
                  <a:pt x="3990" y="428"/>
                  <a:pt x="3988" y="432"/>
                  <a:pt x="3950" y="436"/>
                </a:cubicBezTo>
                <a:cubicBezTo>
                  <a:pt x="3950" y="448"/>
                  <a:pt x="3950" y="448"/>
                  <a:pt x="3950" y="448"/>
                </a:cubicBezTo>
                <a:cubicBezTo>
                  <a:pt x="4086" y="448"/>
                  <a:pt x="4086" y="448"/>
                  <a:pt x="4086" y="448"/>
                </a:cubicBezTo>
                <a:cubicBezTo>
                  <a:pt x="4086" y="436"/>
                  <a:pt x="4086" y="436"/>
                  <a:pt x="4086" y="436"/>
                </a:cubicBezTo>
                <a:cubicBezTo>
                  <a:pt x="4040" y="432"/>
                  <a:pt x="4042" y="428"/>
                  <a:pt x="4042" y="342"/>
                </a:cubicBezTo>
                <a:cubicBezTo>
                  <a:pt x="4042" y="264"/>
                  <a:pt x="4042" y="264"/>
                  <a:pt x="4042" y="264"/>
                </a:cubicBezTo>
                <a:cubicBezTo>
                  <a:pt x="4042" y="236"/>
                  <a:pt x="4078" y="206"/>
                  <a:pt x="4118" y="206"/>
                </a:cubicBezTo>
                <a:cubicBezTo>
                  <a:pt x="4152" y="206"/>
                  <a:pt x="4174" y="226"/>
                  <a:pt x="4174" y="284"/>
                </a:cubicBezTo>
                <a:cubicBezTo>
                  <a:pt x="4174" y="346"/>
                  <a:pt x="4174" y="346"/>
                  <a:pt x="4174" y="346"/>
                </a:cubicBezTo>
                <a:cubicBezTo>
                  <a:pt x="4174" y="428"/>
                  <a:pt x="4174" y="432"/>
                  <a:pt x="4134" y="436"/>
                </a:cubicBezTo>
                <a:cubicBezTo>
                  <a:pt x="4134" y="448"/>
                  <a:pt x="4134" y="448"/>
                  <a:pt x="4134" y="448"/>
                </a:cubicBezTo>
                <a:lnTo>
                  <a:pt x="4136" y="448"/>
                </a:lnTo>
                <a:close/>
                <a:moveTo>
                  <a:pt x="4546" y="316"/>
                </a:moveTo>
                <a:cubicBezTo>
                  <a:pt x="4546" y="388"/>
                  <a:pt x="4516" y="432"/>
                  <a:pt x="4460" y="432"/>
                </a:cubicBezTo>
                <a:cubicBezTo>
                  <a:pt x="4424" y="432"/>
                  <a:pt x="4384" y="412"/>
                  <a:pt x="4384" y="384"/>
                </a:cubicBezTo>
                <a:cubicBezTo>
                  <a:pt x="4384" y="248"/>
                  <a:pt x="4384" y="248"/>
                  <a:pt x="4384" y="248"/>
                </a:cubicBezTo>
                <a:cubicBezTo>
                  <a:pt x="4384" y="226"/>
                  <a:pt x="4416" y="202"/>
                  <a:pt x="4454" y="202"/>
                </a:cubicBezTo>
                <a:cubicBezTo>
                  <a:pt x="4510" y="206"/>
                  <a:pt x="4546" y="248"/>
                  <a:pt x="4546" y="316"/>
                </a:cubicBezTo>
                <a:moveTo>
                  <a:pt x="4600" y="310"/>
                </a:moveTo>
                <a:cubicBezTo>
                  <a:pt x="4600" y="230"/>
                  <a:pt x="4548" y="170"/>
                  <a:pt x="4478" y="170"/>
                </a:cubicBezTo>
                <a:cubicBezTo>
                  <a:pt x="4438" y="170"/>
                  <a:pt x="4406" y="188"/>
                  <a:pt x="4384" y="214"/>
                </a:cubicBezTo>
                <a:cubicBezTo>
                  <a:pt x="4384" y="174"/>
                  <a:pt x="4384" y="174"/>
                  <a:pt x="4384" y="174"/>
                </a:cubicBezTo>
                <a:cubicBezTo>
                  <a:pt x="4284" y="174"/>
                  <a:pt x="4284" y="174"/>
                  <a:pt x="4284" y="174"/>
                </a:cubicBezTo>
                <a:cubicBezTo>
                  <a:pt x="4284" y="186"/>
                  <a:pt x="4284" y="186"/>
                  <a:pt x="4284" y="186"/>
                </a:cubicBezTo>
                <a:cubicBezTo>
                  <a:pt x="4326" y="188"/>
                  <a:pt x="4332" y="190"/>
                  <a:pt x="4332" y="280"/>
                </a:cubicBezTo>
                <a:cubicBezTo>
                  <a:pt x="4332" y="466"/>
                  <a:pt x="4332" y="466"/>
                  <a:pt x="4332" y="466"/>
                </a:cubicBezTo>
                <a:cubicBezTo>
                  <a:pt x="4332" y="564"/>
                  <a:pt x="4334" y="570"/>
                  <a:pt x="4286" y="574"/>
                </a:cubicBezTo>
                <a:cubicBezTo>
                  <a:pt x="4286" y="588"/>
                  <a:pt x="4286" y="588"/>
                  <a:pt x="4286" y="588"/>
                </a:cubicBezTo>
                <a:cubicBezTo>
                  <a:pt x="4432" y="588"/>
                  <a:pt x="4432" y="588"/>
                  <a:pt x="4432" y="588"/>
                </a:cubicBezTo>
                <a:cubicBezTo>
                  <a:pt x="4432" y="574"/>
                  <a:pt x="4432" y="574"/>
                  <a:pt x="4432" y="574"/>
                </a:cubicBezTo>
                <a:cubicBezTo>
                  <a:pt x="4380" y="572"/>
                  <a:pt x="4384" y="564"/>
                  <a:pt x="4384" y="462"/>
                </a:cubicBezTo>
                <a:cubicBezTo>
                  <a:pt x="4384" y="424"/>
                  <a:pt x="4384" y="424"/>
                  <a:pt x="4384" y="424"/>
                </a:cubicBezTo>
                <a:cubicBezTo>
                  <a:pt x="4404" y="444"/>
                  <a:pt x="4436" y="454"/>
                  <a:pt x="4466" y="454"/>
                </a:cubicBezTo>
                <a:cubicBezTo>
                  <a:pt x="4548" y="454"/>
                  <a:pt x="4600" y="392"/>
                  <a:pt x="4600" y="310"/>
                </a:cubicBezTo>
                <a:moveTo>
                  <a:pt x="4792" y="382"/>
                </a:moveTo>
                <a:cubicBezTo>
                  <a:pt x="4792" y="404"/>
                  <a:pt x="4762" y="424"/>
                  <a:pt x="4736" y="424"/>
                </a:cubicBezTo>
                <a:cubicBezTo>
                  <a:pt x="4712" y="424"/>
                  <a:pt x="4694" y="410"/>
                  <a:pt x="4694" y="378"/>
                </a:cubicBezTo>
                <a:cubicBezTo>
                  <a:pt x="4694" y="322"/>
                  <a:pt x="4752" y="328"/>
                  <a:pt x="4792" y="306"/>
                </a:cubicBezTo>
                <a:cubicBezTo>
                  <a:pt x="4792" y="382"/>
                  <a:pt x="4792" y="382"/>
                  <a:pt x="4792" y="382"/>
                </a:cubicBezTo>
                <a:close/>
                <a:moveTo>
                  <a:pt x="5240" y="434"/>
                </a:moveTo>
                <a:cubicBezTo>
                  <a:pt x="5192" y="432"/>
                  <a:pt x="5192" y="430"/>
                  <a:pt x="5192" y="340"/>
                </a:cubicBezTo>
                <a:cubicBezTo>
                  <a:pt x="5192" y="278"/>
                  <a:pt x="5192" y="278"/>
                  <a:pt x="5192" y="278"/>
                </a:cubicBezTo>
                <a:cubicBezTo>
                  <a:pt x="5192" y="196"/>
                  <a:pt x="5146" y="170"/>
                  <a:pt x="5104" y="170"/>
                </a:cubicBezTo>
                <a:cubicBezTo>
                  <a:pt x="5068" y="170"/>
                  <a:pt x="5032" y="186"/>
                  <a:pt x="5004" y="222"/>
                </a:cubicBezTo>
                <a:cubicBezTo>
                  <a:pt x="5004" y="174"/>
                  <a:pt x="5004" y="174"/>
                  <a:pt x="5004" y="174"/>
                </a:cubicBezTo>
                <a:cubicBezTo>
                  <a:pt x="4902" y="174"/>
                  <a:pt x="4902" y="174"/>
                  <a:pt x="4902" y="174"/>
                </a:cubicBezTo>
                <a:cubicBezTo>
                  <a:pt x="4902" y="186"/>
                  <a:pt x="4902" y="186"/>
                  <a:pt x="4902" y="186"/>
                </a:cubicBezTo>
                <a:cubicBezTo>
                  <a:pt x="4946" y="188"/>
                  <a:pt x="4952" y="190"/>
                  <a:pt x="4952" y="266"/>
                </a:cubicBezTo>
                <a:cubicBezTo>
                  <a:pt x="4952" y="334"/>
                  <a:pt x="4952" y="334"/>
                  <a:pt x="4952" y="334"/>
                </a:cubicBezTo>
                <a:cubicBezTo>
                  <a:pt x="4952" y="430"/>
                  <a:pt x="4952" y="432"/>
                  <a:pt x="4904" y="434"/>
                </a:cubicBezTo>
                <a:cubicBezTo>
                  <a:pt x="4892" y="434"/>
                  <a:pt x="4892" y="434"/>
                  <a:pt x="4892" y="434"/>
                </a:cubicBezTo>
                <a:cubicBezTo>
                  <a:pt x="4854" y="434"/>
                  <a:pt x="4850" y="422"/>
                  <a:pt x="4850" y="366"/>
                </a:cubicBezTo>
                <a:cubicBezTo>
                  <a:pt x="4850" y="274"/>
                  <a:pt x="4850" y="274"/>
                  <a:pt x="4850" y="274"/>
                </a:cubicBezTo>
                <a:cubicBezTo>
                  <a:pt x="4850" y="256"/>
                  <a:pt x="4848" y="240"/>
                  <a:pt x="4844" y="228"/>
                </a:cubicBezTo>
                <a:cubicBezTo>
                  <a:pt x="4830" y="186"/>
                  <a:pt x="4796" y="170"/>
                  <a:pt x="4748" y="170"/>
                </a:cubicBezTo>
                <a:cubicBezTo>
                  <a:pt x="4718" y="170"/>
                  <a:pt x="4674" y="180"/>
                  <a:pt x="4650" y="202"/>
                </a:cubicBezTo>
                <a:cubicBezTo>
                  <a:pt x="4652" y="214"/>
                  <a:pt x="4664" y="240"/>
                  <a:pt x="4670" y="248"/>
                </a:cubicBezTo>
                <a:cubicBezTo>
                  <a:pt x="4676" y="246"/>
                  <a:pt x="4676" y="246"/>
                  <a:pt x="4676" y="246"/>
                </a:cubicBezTo>
                <a:cubicBezTo>
                  <a:pt x="4688" y="216"/>
                  <a:pt x="4708" y="194"/>
                  <a:pt x="4742" y="194"/>
                </a:cubicBezTo>
                <a:cubicBezTo>
                  <a:pt x="4778" y="194"/>
                  <a:pt x="4794" y="220"/>
                  <a:pt x="4794" y="250"/>
                </a:cubicBezTo>
                <a:cubicBezTo>
                  <a:pt x="4794" y="282"/>
                  <a:pt x="4794" y="282"/>
                  <a:pt x="4794" y="282"/>
                </a:cubicBezTo>
                <a:cubicBezTo>
                  <a:pt x="4794" y="302"/>
                  <a:pt x="4702" y="306"/>
                  <a:pt x="4664" y="338"/>
                </a:cubicBezTo>
                <a:cubicBezTo>
                  <a:pt x="4652" y="350"/>
                  <a:pt x="4642" y="364"/>
                  <a:pt x="4642" y="384"/>
                </a:cubicBezTo>
                <a:cubicBezTo>
                  <a:pt x="4642" y="426"/>
                  <a:pt x="4672" y="456"/>
                  <a:pt x="4716" y="456"/>
                </a:cubicBezTo>
                <a:cubicBezTo>
                  <a:pt x="4744" y="456"/>
                  <a:pt x="4768" y="446"/>
                  <a:pt x="4794" y="418"/>
                </a:cubicBezTo>
                <a:cubicBezTo>
                  <a:pt x="4798" y="438"/>
                  <a:pt x="4814" y="448"/>
                  <a:pt x="4842" y="448"/>
                </a:cubicBezTo>
                <a:cubicBezTo>
                  <a:pt x="4906" y="448"/>
                  <a:pt x="4906" y="448"/>
                  <a:pt x="4906" y="448"/>
                </a:cubicBezTo>
                <a:cubicBezTo>
                  <a:pt x="4906" y="448"/>
                  <a:pt x="4906" y="448"/>
                  <a:pt x="4906" y="448"/>
                </a:cubicBezTo>
                <a:cubicBezTo>
                  <a:pt x="5048" y="448"/>
                  <a:pt x="5048" y="448"/>
                  <a:pt x="5048" y="448"/>
                </a:cubicBezTo>
                <a:cubicBezTo>
                  <a:pt x="5048" y="436"/>
                  <a:pt x="5048" y="436"/>
                  <a:pt x="5048" y="436"/>
                </a:cubicBezTo>
                <a:cubicBezTo>
                  <a:pt x="5006" y="432"/>
                  <a:pt x="5004" y="434"/>
                  <a:pt x="5004" y="338"/>
                </a:cubicBezTo>
                <a:cubicBezTo>
                  <a:pt x="5004" y="262"/>
                  <a:pt x="5004" y="262"/>
                  <a:pt x="5004" y="262"/>
                </a:cubicBezTo>
                <a:cubicBezTo>
                  <a:pt x="5004" y="236"/>
                  <a:pt x="5038" y="206"/>
                  <a:pt x="5080" y="206"/>
                </a:cubicBezTo>
                <a:cubicBezTo>
                  <a:pt x="5114" y="206"/>
                  <a:pt x="5140" y="220"/>
                  <a:pt x="5140" y="286"/>
                </a:cubicBezTo>
                <a:cubicBezTo>
                  <a:pt x="5140" y="340"/>
                  <a:pt x="5140" y="340"/>
                  <a:pt x="5140" y="340"/>
                </a:cubicBezTo>
                <a:cubicBezTo>
                  <a:pt x="5140" y="432"/>
                  <a:pt x="5136" y="432"/>
                  <a:pt x="5098" y="434"/>
                </a:cubicBezTo>
                <a:cubicBezTo>
                  <a:pt x="5098" y="446"/>
                  <a:pt x="5098" y="446"/>
                  <a:pt x="5098" y="446"/>
                </a:cubicBezTo>
                <a:cubicBezTo>
                  <a:pt x="5240" y="446"/>
                  <a:pt x="5240" y="446"/>
                  <a:pt x="5240" y="446"/>
                </a:cubicBezTo>
                <a:lnTo>
                  <a:pt x="5240" y="434"/>
                </a:lnTo>
                <a:close/>
                <a:moveTo>
                  <a:pt x="5516" y="192"/>
                </a:moveTo>
                <a:cubicBezTo>
                  <a:pt x="5516" y="180"/>
                  <a:pt x="5516" y="180"/>
                  <a:pt x="5516" y="180"/>
                </a:cubicBezTo>
                <a:cubicBezTo>
                  <a:pt x="5418" y="180"/>
                  <a:pt x="5418" y="180"/>
                  <a:pt x="5418" y="180"/>
                </a:cubicBezTo>
                <a:cubicBezTo>
                  <a:pt x="5418" y="192"/>
                  <a:pt x="5418" y="192"/>
                  <a:pt x="5418" y="192"/>
                </a:cubicBezTo>
                <a:cubicBezTo>
                  <a:pt x="5442" y="194"/>
                  <a:pt x="5454" y="206"/>
                  <a:pt x="5446" y="234"/>
                </a:cubicBezTo>
                <a:cubicBezTo>
                  <a:pt x="5394" y="390"/>
                  <a:pt x="5394" y="390"/>
                  <a:pt x="5394" y="390"/>
                </a:cubicBezTo>
                <a:cubicBezTo>
                  <a:pt x="5342" y="270"/>
                  <a:pt x="5342" y="270"/>
                  <a:pt x="5342" y="270"/>
                </a:cubicBezTo>
                <a:cubicBezTo>
                  <a:pt x="5328" y="238"/>
                  <a:pt x="5322" y="224"/>
                  <a:pt x="5322" y="212"/>
                </a:cubicBezTo>
                <a:cubicBezTo>
                  <a:pt x="5322" y="202"/>
                  <a:pt x="5328" y="196"/>
                  <a:pt x="5348" y="192"/>
                </a:cubicBezTo>
                <a:cubicBezTo>
                  <a:pt x="5348" y="180"/>
                  <a:pt x="5348" y="180"/>
                  <a:pt x="5348" y="180"/>
                </a:cubicBezTo>
                <a:cubicBezTo>
                  <a:pt x="5220" y="180"/>
                  <a:pt x="5220" y="180"/>
                  <a:pt x="5220" y="180"/>
                </a:cubicBezTo>
                <a:cubicBezTo>
                  <a:pt x="5220" y="192"/>
                  <a:pt x="5220" y="192"/>
                  <a:pt x="5220" y="192"/>
                </a:cubicBezTo>
                <a:cubicBezTo>
                  <a:pt x="5252" y="194"/>
                  <a:pt x="5254" y="198"/>
                  <a:pt x="5296" y="292"/>
                </a:cubicBezTo>
                <a:cubicBezTo>
                  <a:pt x="5368" y="450"/>
                  <a:pt x="5368" y="450"/>
                  <a:pt x="5368" y="450"/>
                </a:cubicBezTo>
                <a:cubicBezTo>
                  <a:pt x="5344" y="512"/>
                  <a:pt x="5306" y="546"/>
                  <a:pt x="5228" y="564"/>
                </a:cubicBezTo>
                <a:cubicBezTo>
                  <a:pt x="5232" y="576"/>
                  <a:pt x="5246" y="600"/>
                  <a:pt x="5254" y="606"/>
                </a:cubicBezTo>
                <a:cubicBezTo>
                  <a:pt x="5356" y="564"/>
                  <a:pt x="5376" y="498"/>
                  <a:pt x="5412" y="396"/>
                </a:cubicBezTo>
                <a:cubicBezTo>
                  <a:pt x="5466" y="242"/>
                  <a:pt x="5466" y="242"/>
                  <a:pt x="5466" y="242"/>
                </a:cubicBezTo>
                <a:cubicBezTo>
                  <a:pt x="5478" y="206"/>
                  <a:pt x="5498" y="192"/>
                  <a:pt x="5516" y="192"/>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600" kern="1200">
                <a:solidFill>
                  <a:schemeClr val="tx1"/>
                </a:solidFill>
                <a:latin typeface="Arial" charset="0"/>
                <a:ea typeface="+mn-ea"/>
                <a:cs typeface="+mn-cs"/>
              </a:defRPr>
            </a:lvl1pPr>
            <a:lvl2pPr marL="457200" algn="l" rtl="0" fontAlgn="base">
              <a:spcBef>
                <a:spcPct val="0"/>
              </a:spcBef>
              <a:spcAft>
                <a:spcPct val="0"/>
              </a:spcAft>
              <a:defRPr sz="1600" kern="1200">
                <a:solidFill>
                  <a:schemeClr val="tx1"/>
                </a:solidFill>
                <a:latin typeface="Arial" charset="0"/>
                <a:ea typeface="+mn-ea"/>
                <a:cs typeface="+mn-cs"/>
              </a:defRPr>
            </a:lvl2pPr>
            <a:lvl3pPr marL="914400" algn="l" rtl="0" fontAlgn="base">
              <a:spcBef>
                <a:spcPct val="0"/>
              </a:spcBef>
              <a:spcAft>
                <a:spcPct val="0"/>
              </a:spcAft>
              <a:defRPr sz="1600" kern="1200">
                <a:solidFill>
                  <a:schemeClr val="tx1"/>
                </a:solidFill>
                <a:latin typeface="Arial" charset="0"/>
                <a:ea typeface="+mn-ea"/>
                <a:cs typeface="+mn-cs"/>
              </a:defRPr>
            </a:lvl3pPr>
            <a:lvl4pPr marL="1371600" algn="l" rtl="0" fontAlgn="base">
              <a:spcBef>
                <a:spcPct val="0"/>
              </a:spcBef>
              <a:spcAft>
                <a:spcPct val="0"/>
              </a:spcAft>
              <a:defRPr sz="1600" kern="1200">
                <a:solidFill>
                  <a:schemeClr val="tx1"/>
                </a:solidFill>
                <a:latin typeface="Arial" charset="0"/>
                <a:ea typeface="+mn-ea"/>
                <a:cs typeface="+mn-cs"/>
              </a:defRPr>
            </a:lvl4pPr>
            <a:lvl5pPr marL="1828800" algn="l" rtl="0" fontAlgn="base">
              <a:spcBef>
                <a:spcPct val="0"/>
              </a:spcBef>
              <a:spcAft>
                <a:spcPct val="0"/>
              </a:spcAft>
              <a:defRPr sz="1600" kern="1200">
                <a:solidFill>
                  <a:schemeClr val="tx1"/>
                </a:solidFill>
                <a:latin typeface="Arial" charset="0"/>
                <a:ea typeface="+mn-ea"/>
                <a:cs typeface="+mn-cs"/>
              </a:defRPr>
            </a:lvl5pPr>
            <a:lvl6pPr marL="2286000" algn="l" defTabSz="914400" rtl="0" eaLnBrk="1" latinLnBrk="0" hangingPunct="1">
              <a:defRPr sz="1600" kern="1200">
                <a:solidFill>
                  <a:schemeClr val="tx1"/>
                </a:solidFill>
                <a:latin typeface="Arial" charset="0"/>
                <a:ea typeface="+mn-ea"/>
                <a:cs typeface="+mn-cs"/>
              </a:defRPr>
            </a:lvl6pPr>
            <a:lvl7pPr marL="2743200" algn="l" defTabSz="914400" rtl="0" eaLnBrk="1" latinLnBrk="0" hangingPunct="1">
              <a:defRPr sz="1600" kern="1200">
                <a:solidFill>
                  <a:schemeClr val="tx1"/>
                </a:solidFill>
                <a:latin typeface="Arial" charset="0"/>
                <a:ea typeface="+mn-ea"/>
                <a:cs typeface="+mn-cs"/>
              </a:defRPr>
            </a:lvl7pPr>
            <a:lvl8pPr marL="3200400" algn="l" defTabSz="914400" rtl="0" eaLnBrk="1" latinLnBrk="0" hangingPunct="1">
              <a:defRPr sz="1600" kern="1200">
                <a:solidFill>
                  <a:schemeClr val="tx1"/>
                </a:solidFill>
                <a:latin typeface="Arial" charset="0"/>
                <a:ea typeface="+mn-ea"/>
                <a:cs typeface="+mn-cs"/>
              </a:defRPr>
            </a:lvl8pPr>
            <a:lvl9pPr marL="3657600" algn="l" defTabSz="914400" rtl="0" eaLnBrk="1" latinLnBrk="0" hangingPunct="1">
              <a:defRPr sz="1600" kern="1200">
                <a:solidFill>
                  <a:schemeClr val="tx1"/>
                </a:solidFill>
                <a:latin typeface="Arial" charset="0"/>
                <a:ea typeface="+mn-ea"/>
                <a:cs typeface="+mn-cs"/>
              </a:defRPr>
            </a:lvl9pPr>
          </a:lstStyle>
          <a:p>
            <a:endParaRPr lang="en-US" baseline="0" dirty="0">
              <a:solidFill>
                <a:srgbClr val="000000"/>
              </a:solidFill>
              <a:latin typeface="+mn-lt"/>
            </a:endParaRPr>
          </a:p>
        </p:txBody>
      </p:sp>
      <p:sp>
        <p:nvSpPr>
          <p:cNvPr id="27" name="Disclaimer-English (United States)" hidden="1"/>
          <p:cNvSpPr>
            <a:spLocks noChangeArrowheads="1"/>
          </p:cNvSpPr>
          <p:nvPr/>
        </p:nvSpPr>
        <p:spPr bwMode="black">
          <a:xfrm>
            <a:off x="2268266" y="6287785"/>
            <a:ext cx="3544453" cy="36908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t" anchorCtr="0">
            <a:noAutofit/>
          </a:bodyPr>
          <a:lstStyle/>
          <a:p>
            <a:pPr defTabSz="804863" eaLnBrk="0" hangingPunct="0"/>
            <a:r>
              <a:rPr lang="en-US" sz="800" baseline="0" dirty="0">
                <a:solidFill>
                  <a:srgbClr val="FFFFFF"/>
                </a:solidFill>
                <a:latin typeface="+mn-lt"/>
              </a:rPr>
              <a:t>CONFIDENTIAL AND PROPRIETARY</a:t>
            </a:r>
          </a:p>
          <a:p>
            <a:pPr defTabSz="804863" eaLnBrk="0" hangingPunct="0"/>
            <a:r>
              <a:rPr lang="en-US" sz="800" baseline="0" dirty="0">
                <a:solidFill>
                  <a:srgbClr val="FFFFFF"/>
                </a:solidFill>
                <a:latin typeface="+mn-lt"/>
              </a:rPr>
              <a:t>Any use of this material without specific permission of McKinsey &amp; Company is strictly prohibited</a:t>
            </a:r>
          </a:p>
        </p:txBody>
      </p:sp>
    </p:spTree>
    <p:extLst>
      <p:ext uri="{BB962C8B-B14F-4D97-AF65-F5344CB8AC3E}">
        <p14:creationId xmlns:p14="http://schemas.microsoft.com/office/powerpoint/2010/main" val="2458348466"/>
      </p:ext>
    </p:extLst>
  </p:cSld>
  <p:clrMapOvr>
    <a:masterClrMapping/>
  </p:clrMapOvr>
  <p:extLst mod="1">
    <p:ext uri="{DCECCB84-F9BA-43D5-87BE-67443E8EF086}">
      <p15:sldGuideLst xmlns:p15="http://schemas.microsoft.com/office/powerpoint/2012/main">
        <p15:guide id="1" orient="horz" pos="2117">
          <p15:clr>
            <a:srgbClr val="FBAE40"/>
          </p15:clr>
        </p15:guide>
        <p15:guide id="2" pos="1416">
          <p15:clr>
            <a:srgbClr val="FBAE40"/>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6E228F5-5CF1-42E1-9748-97D7582A107A}"/>
              </a:ext>
            </a:extLst>
          </p:cNvPr>
          <p:cNvGraphicFramePr>
            <a:graphicFrameLocks noChangeAspect="1"/>
          </p:cNvGraphicFramePr>
          <p:nvPr>
            <p:custDataLst>
              <p:tags r:id="rId2"/>
            </p:custDataLst>
            <p:extLst>
              <p:ext uri="{D42A27DB-BD31-4B8C-83A1-F6EECF244321}">
                <p14:modId xmlns:p14="http://schemas.microsoft.com/office/powerpoint/2010/main" val="272464151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0612" name="think-cell Slide" r:id="rId5" imgW="353" imgH="353" progId="TCLayout.ActiveDocument.1">
                  <p:embed/>
                </p:oleObj>
              </mc:Choice>
              <mc:Fallback>
                <p:oleObj name="think-cell Slide" r:id="rId5" imgW="353" imgH="353" progId="TCLayout.ActiveDocument.1">
                  <p:embed/>
                  <p:pic>
                    <p:nvPicPr>
                      <p:cNvPr id="3" name="Object 2" hidden="1">
                        <a:extLst>
                          <a:ext uri="{FF2B5EF4-FFF2-40B4-BE49-F238E27FC236}">
                            <a16:creationId xmlns:a16="http://schemas.microsoft.com/office/drawing/2014/main" id="{C6E228F5-5CF1-42E1-9748-97D7582A107A}"/>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2. Slide Title"/>
          <p:cNvSpPr>
            <a:spLocks noGrp="1"/>
          </p:cNvSpPr>
          <p:nvPr>
            <p:ph type="title"/>
          </p:nvPr>
        </p:nvSpPr>
        <p:spPr bwMode="auto"/>
        <p:txBody>
          <a:bodyPr/>
          <a:lstStyle/>
          <a:p>
            <a:r>
              <a:rPr lang="en-US"/>
              <a:t>Click to edit Master title style</a:t>
            </a:r>
            <a:endParaRPr lang="en-US" dirty="0"/>
          </a:p>
        </p:txBody>
      </p:sp>
      <p:sp>
        <p:nvSpPr>
          <p:cNvPr id="8" name="Slide Number"/>
          <p:cNvSpPr txBox="1">
            <a:spLocks/>
          </p:cNvSpPr>
          <p:nvPr/>
        </p:nvSpPr>
        <p:spPr bwMode="auto">
          <a:xfrm>
            <a:off x="8564563" y="6508272"/>
            <a:ext cx="125034" cy="123111"/>
          </a:xfrm>
          <a:prstGeom prst="rect">
            <a:avLst/>
          </a:prstGeom>
        </p:spPr>
        <p:txBody>
          <a:bodyPr vert="horz" wrap="none" lIns="0" tIns="0" rIns="0" bIns="0" rtlCol="0" anchor="ctr">
            <a:spAutoFit/>
          </a:bodyPr>
          <a:lstStyle>
            <a:defPPr>
              <a:defRPr lang="en-US"/>
            </a:defPPr>
            <a:lvl1pPr>
              <a:defRPr sz="1000" baseline="0">
                <a:latin typeface="+mn-lt"/>
              </a:defRPr>
            </a:lvl1pPr>
          </a:lstStyle>
          <a:p>
            <a:fld id="{42C328C1-A84F-4A39-A664-DBA00541A8C6}" type="slidenum">
              <a:rPr lang="en-US" sz="800" baseline="0" smtClean="0">
                <a:solidFill>
                  <a:srgbClr val="808080"/>
                </a:solidFill>
                <a:latin typeface="+mn-lt"/>
              </a:rPr>
              <a:pPr/>
              <a:t>‹#›</a:t>
            </a:fld>
            <a:endParaRPr lang="en-US" sz="800" baseline="0" dirty="0">
              <a:solidFill>
                <a:srgbClr val="808080"/>
              </a:solidFill>
              <a:latin typeface="+mn-lt"/>
            </a:endParaRPr>
          </a:p>
        </p:txBody>
      </p:sp>
      <p:sp>
        <p:nvSpPr>
          <p:cNvPr id="9" name="SlideLogoText"/>
          <p:cNvSpPr>
            <a:spLocks noChangeArrowheads="1"/>
          </p:cNvSpPr>
          <p:nvPr>
            <p:custDataLst>
              <p:tags r:id="rId3"/>
            </p:custDataLst>
          </p:nvPr>
        </p:nvSpPr>
        <p:spPr bwMode="auto">
          <a:xfrm>
            <a:off x="7450817" y="6508272"/>
            <a:ext cx="1013098"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algn="r" defTabSz="895350"/>
            <a:r>
              <a:rPr lang="en-US" sz="800" baseline="0" dirty="0">
                <a:solidFill>
                  <a:srgbClr val="808080"/>
                </a:solidFill>
                <a:latin typeface="+mn-lt"/>
              </a:rPr>
              <a:t>McKinsey &amp; Company</a:t>
            </a:r>
          </a:p>
        </p:txBody>
      </p:sp>
      <p:sp>
        <p:nvSpPr>
          <p:cNvPr id="5" name="doc id" hidden="1"/>
          <p:cNvSpPr txBox="1">
            <a:spLocks noChangeArrowheads="1"/>
          </p:cNvSpPr>
          <p:nvPr/>
        </p:nvSpPr>
        <p:spPr bwMode="white">
          <a:xfrm>
            <a:off x="8104473" y="36513"/>
            <a:ext cx="634716" cy="115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hangingPunct="1">
              <a:defRPr/>
            </a:pPr>
            <a:endParaRPr lang="en-US" sz="800" baseline="0" dirty="0">
              <a:solidFill>
                <a:schemeClr val="accent1"/>
              </a:solidFill>
              <a:latin typeface="+mn-lt"/>
              <a:ea typeface="+mn-ea"/>
            </a:endParaRPr>
          </a:p>
        </p:txBody>
      </p:sp>
    </p:spTree>
    <p:extLst>
      <p:ext uri="{BB962C8B-B14F-4D97-AF65-F5344CB8AC3E}">
        <p14:creationId xmlns:p14="http://schemas.microsoft.com/office/powerpoint/2010/main" val="2651912828"/>
      </p:ext>
    </p:extLst>
  </p:cSld>
  <p:clrMapOvr>
    <a:masterClrMapping/>
  </p:clrMapOvr>
  <p:extLst mod="1">
    <p:ext uri="{DCECCB84-F9BA-43D5-87BE-67443E8EF086}">
      <p15:sldGuideLst xmlns:p15="http://schemas.microsoft.com/office/powerpoint/2012/main">
        <p15:guide id="1" pos="5505">
          <p15:clr>
            <a:srgbClr val="F26B43"/>
          </p15:clr>
        </p15:guide>
        <p15:guide id="2" pos="74">
          <p15:clr>
            <a:srgbClr val="F26B43"/>
          </p15:clr>
        </p15:guide>
        <p15:guide id="3" orient="horz" pos="571">
          <p15:clr>
            <a:srgbClr val="F26B43"/>
          </p15:clr>
        </p15:guide>
        <p15:guide id="4" orient="horz" pos="3911">
          <p15:clr>
            <a:srgbClr val="F26B43"/>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p:cSld name="1_Title Only">
    <p:bg>
      <p:bgPr>
        <a:solidFill>
          <a:schemeClr val="accent2"/>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F4AD34F-3B47-47E2-A09C-FFEB949F6A10}"/>
              </a:ext>
            </a:extLst>
          </p:cNvPr>
          <p:cNvGraphicFramePr>
            <a:graphicFrameLocks noChangeAspect="1"/>
          </p:cNvGraphicFramePr>
          <p:nvPr>
            <p:custDataLst>
              <p:tags r:id="rId2"/>
            </p:custDataLst>
            <p:extLst>
              <p:ext uri="{D42A27DB-BD31-4B8C-83A1-F6EECF244321}">
                <p14:modId xmlns:p14="http://schemas.microsoft.com/office/powerpoint/2010/main" val="344735573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1636" name="think-cell Slide" r:id="rId5" imgW="395" imgH="394" progId="TCLayout.ActiveDocument.1">
                  <p:embed/>
                </p:oleObj>
              </mc:Choice>
              <mc:Fallback>
                <p:oleObj name="think-cell Slide" r:id="rId5" imgW="395" imgH="394" progId="TCLayout.ActiveDocument.1">
                  <p:embed/>
                  <p:pic>
                    <p:nvPicPr>
                      <p:cNvPr id="3" name="Object 2" hidden="1">
                        <a:extLst>
                          <a:ext uri="{FF2B5EF4-FFF2-40B4-BE49-F238E27FC236}">
                            <a16:creationId xmlns:a16="http://schemas.microsoft.com/office/drawing/2014/main" id="{EF4AD34F-3B47-47E2-A09C-FFEB949F6A10}"/>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endParaRPr lang="en-US" dirty="0"/>
          </a:p>
        </p:txBody>
      </p:sp>
      <p:sp>
        <p:nvSpPr>
          <p:cNvPr id="15" name="Slide Number"/>
          <p:cNvSpPr txBox="1">
            <a:spLocks/>
          </p:cNvSpPr>
          <p:nvPr/>
        </p:nvSpPr>
        <p:spPr>
          <a:xfrm>
            <a:off x="8564563" y="6508272"/>
            <a:ext cx="125034" cy="123111"/>
          </a:xfrm>
          <a:prstGeom prst="rect">
            <a:avLst/>
          </a:prstGeom>
        </p:spPr>
        <p:txBody>
          <a:bodyPr vert="horz" wrap="none" lIns="0" tIns="0" rIns="0" bIns="0" rtlCol="0" anchor="ctr">
            <a:spAutoFit/>
          </a:bodyPr>
          <a:lstStyle>
            <a:defPPr>
              <a:defRPr lang="en-US"/>
            </a:defPPr>
            <a:lvl1pPr>
              <a:defRPr sz="1000" baseline="0">
                <a:latin typeface="+mn-lt"/>
              </a:defRPr>
            </a:lvl1pPr>
          </a:lstStyle>
          <a:p>
            <a:fld id="{42C328C1-A84F-4A39-A664-DBA00541A8C6}" type="slidenum">
              <a:rPr lang="en-US" sz="800" baseline="0" smtClean="0">
                <a:solidFill>
                  <a:srgbClr val="FFFFFF"/>
                </a:solidFill>
                <a:latin typeface="+mn-lt"/>
              </a:rPr>
              <a:pPr/>
              <a:t>‹#›</a:t>
            </a:fld>
            <a:endParaRPr lang="en-US" sz="800" baseline="0" dirty="0">
              <a:solidFill>
                <a:srgbClr val="FFFFFF"/>
              </a:solidFill>
              <a:latin typeface="+mn-lt"/>
            </a:endParaRPr>
          </a:p>
        </p:txBody>
      </p:sp>
      <p:sp>
        <p:nvSpPr>
          <p:cNvPr id="16" name="SlideLogoText"/>
          <p:cNvSpPr>
            <a:spLocks noChangeArrowheads="1"/>
          </p:cNvSpPr>
          <p:nvPr>
            <p:custDataLst>
              <p:tags r:id="rId3"/>
            </p:custDataLst>
          </p:nvPr>
        </p:nvSpPr>
        <p:spPr bwMode="auto">
          <a:xfrm>
            <a:off x="7450817" y="6508272"/>
            <a:ext cx="1013098"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algn="r" defTabSz="895350"/>
            <a:r>
              <a:rPr lang="en-US" sz="800" baseline="0" dirty="0">
                <a:solidFill>
                  <a:srgbClr val="FFFFFF"/>
                </a:solidFill>
                <a:latin typeface="+mn-lt"/>
              </a:rPr>
              <a:t>McKinsey &amp; Company</a:t>
            </a:r>
          </a:p>
        </p:txBody>
      </p:sp>
      <p:sp>
        <p:nvSpPr>
          <p:cNvPr id="5" name="doc id" hidden="1"/>
          <p:cNvSpPr txBox="1">
            <a:spLocks noChangeArrowheads="1"/>
          </p:cNvSpPr>
          <p:nvPr/>
        </p:nvSpPr>
        <p:spPr bwMode="white">
          <a:xfrm>
            <a:off x="8104473" y="36513"/>
            <a:ext cx="634716" cy="115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hangingPunct="1">
              <a:defRPr/>
            </a:pPr>
            <a:endParaRPr lang="en-US" sz="800" baseline="0" dirty="0">
              <a:solidFill>
                <a:schemeClr val="accent1"/>
              </a:solidFill>
              <a:latin typeface="+mn-lt"/>
              <a:ea typeface="+mn-ea"/>
            </a:endParaRPr>
          </a:p>
        </p:txBody>
      </p:sp>
    </p:spTree>
    <p:extLst>
      <p:ext uri="{BB962C8B-B14F-4D97-AF65-F5344CB8AC3E}">
        <p14:creationId xmlns:p14="http://schemas.microsoft.com/office/powerpoint/2010/main" val="1727170024"/>
      </p:ext>
    </p:extLst>
  </p:cSld>
  <p:clrMapOvr>
    <a:masterClrMapping/>
  </p:clrMapOvr>
  <p:extLst mod="1">
    <p:ext uri="{DCECCB84-F9BA-43D5-87BE-67443E8EF086}">
      <p15:sldGuideLst xmlns:p15="http://schemas.microsoft.com/office/powerpoint/2012/main">
        <p15:guide id="1" pos="3978">
          <p15:clr>
            <a:srgbClr val="000000"/>
          </p15:clr>
        </p15:guide>
        <p15:guide id="2" orient="horz" pos="570">
          <p15:clr>
            <a:srgbClr val="000000"/>
          </p15:clr>
        </p15:guide>
        <p15:guide id="3" orient="horz" pos="3912">
          <p15:clr>
            <a:srgbClr val="000000"/>
          </p15:clr>
        </p15:guide>
        <p15:guide id="4" pos="72">
          <p15:clr>
            <a:srgbClr val="00000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type="titleOnly">
  <p:cSld name="2_Title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ECD524A-1569-4253-8CD8-48D288AD883C}"/>
              </a:ext>
            </a:extLst>
          </p:cNvPr>
          <p:cNvGraphicFramePr>
            <a:graphicFrameLocks noChangeAspect="1"/>
          </p:cNvGraphicFramePr>
          <p:nvPr>
            <p:custDataLst>
              <p:tags r:id="rId2"/>
            </p:custDataLst>
            <p:extLst>
              <p:ext uri="{D42A27DB-BD31-4B8C-83A1-F6EECF244321}">
                <p14:modId xmlns:p14="http://schemas.microsoft.com/office/powerpoint/2010/main" val="316161781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2660" name="think-cell Slide" r:id="rId4" imgW="395" imgH="394" progId="TCLayout.ActiveDocument.1">
                  <p:embed/>
                </p:oleObj>
              </mc:Choice>
              <mc:Fallback>
                <p:oleObj name="think-cell Slide" r:id="rId4" imgW="395" imgH="394" progId="TCLayout.ActiveDocument.1">
                  <p:embed/>
                  <p:pic>
                    <p:nvPicPr>
                      <p:cNvPr id="3" name="Object 2" hidden="1">
                        <a:extLst>
                          <a:ext uri="{FF2B5EF4-FFF2-40B4-BE49-F238E27FC236}">
                            <a16:creationId xmlns:a16="http://schemas.microsoft.com/office/drawing/2014/main" id="{5ECD524A-1569-4253-8CD8-48D288AD883C}"/>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10450297"/>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pic>
        <p:nvPicPr>
          <p:cNvPr id="2" name="background"/>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0" y="198"/>
            <a:ext cx="8961438" cy="6721079"/>
          </a:xfrm>
          <a:prstGeom prst="rect">
            <a:avLst/>
          </a:prstGeom>
        </p:spPr>
      </p:pic>
      <p:sp>
        <p:nvSpPr>
          <p:cNvPr id="28" name="TitleRectangle"/>
          <p:cNvSpPr txBox="1">
            <a:spLocks/>
          </p:cNvSpPr>
          <p:nvPr/>
        </p:nvSpPr>
        <p:spPr>
          <a:xfrm>
            <a:off x="2084388" y="0"/>
            <a:ext cx="6875462" cy="3575976"/>
          </a:xfrm>
          <a:prstGeom prst="rect">
            <a:avLst/>
          </a:prstGeom>
          <a:solidFill>
            <a:srgbClr val="002960">
              <a:alpha val="92000"/>
            </a:srgbClr>
          </a:solidFill>
        </p:spPr>
        <p:txBody>
          <a:bodyPr vert="horz" wrap="square" lIns="216000" tIns="1440000" rIns="216000" bIns="108000" rtlCol="0">
            <a:noAutofit/>
          </a:bodyPr>
          <a:lstStyle>
            <a:lvl1pPr marL="0" indent="0" algn="l" defTabSz="914400" rtl="0" eaLnBrk="1" latinLnBrk="0" hangingPunct="1">
              <a:spcBef>
                <a:spcPct val="20000"/>
              </a:spcBef>
              <a:spcAft>
                <a:spcPts val="6000"/>
              </a:spcAft>
              <a:buFont typeface="Arial" pitchFamily="34" charset="0"/>
              <a:buNone/>
              <a:defRPr sz="3200" kern="1200">
                <a:solidFill>
                  <a:schemeClr val="accent1"/>
                </a:solidFill>
                <a:latin typeface="+mn-lt"/>
                <a:ea typeface="+mn-ea"/>
                <a:cs typeface="+mn-cs"/>
              </a:defRPr>
            </a:lvl1pPr>
            <a:lvl2pPr marL="0" indent="0" algn="l" defTabSz="914400" rtl="0" eaLnBrk="1" latinLnBrk="0" hangingPunct="1">
              <a:spcBef>
                <a:spcPct val="20000"/>
              </a:spcBef>
              <a:buFont typeface="Wingdings" charset="2"/>
              <a:buNone/>
              <a:defRPr sz="1400" kern="1200">
                <a:solidFill>
                  <a:schemeClr val="tx1">
                    <a:lumMod val="50000"/>
                    <a:lumOff val="50000"/>
                  </a:schemeClr>
                </a:solidFill>
                <a:latin typeface="+mn-lt"/>
                <a:ea typeface="+mn-ea"/>
                <a:cs typeface="+mn-cs"/>
              </a:defRPr>
            </a:lvl2pPr>
            <a:lvl3pPr marL="1143000" indent="-228600" algn="l" defTabSz="914400" rtl="0" eaLnBrk="1" latinLnBrk="0" hangingPunct="1">
              <a:spcBef>
                <a:spcPct val="20000"/>
              </a:spcBef>
              <a:buFont typeface="Lucida Grande"/>
              <a:buChar char="–"/>
              <a:defRPr sz="16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fontAlgn="auto">
              <a:defRPr/>
            </a:pPr>
            <a:r>
              <a:rPr lang="en-US" baseline="0" dirty="0">
                <a:solidFill>
                  <a:srgbClr val="00ADEF"/>
                </a:solidFill>
                <a:latin typeface="+mn-lt"/>
              </a:rPr>
              <a:t>
              </a:t>
            </a:r>
            <a:br>
              <a:rPr lang="en-US" baseline="0" dirty="0">
                <a:solidFill>
                  <a:srgbClr val="00ADEF"/>
                </a:solidFill>
                <a:latin typeface="+mn-lt"/>
              </a:rPr>
            </a:br>
            <a:endParaRPr lang="en-US" baseline="0" dirty="0">
              <a:solidFill>
                <a:srgbClr val="00ADEF"/>
              </a:solidFill>
              <a:latin typeface="+mn-lt"/>
            </a:endParaRPr>
          </a:p>
        </p:txBody>
      </p:sp>
      <p:graphicFrame>
        <p:nvGraphicFramePr>
          <p:cNvPr id="3" name="Object 2"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4708"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Working Draft Text" hidden="1"/>
          <p:cNvSpPr txBox="1">
            <a:spLocks noChangeArrowheads="1"/>
          </p:cNvSpPr>
          <p:nvPr/>
        </p:nvSpPr>
        <p:spPr bwMode="black">
          <a:xfrm>
            <a:off x="5992719" y="6287538"/>
            <a:ext cx="2790000"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800" b="1" baseline="0" dirty="0">
                <a:solidFill>
                  <a:srgbClr val="FFFFFF"/>
                </a:solidFill>
                <a:latin typeface="+mn-lt"/>
              </a:rPr>
              <a:t>WORKING DRAFT</a:t>
            </a:r>
          </a:p>
        </p:txBody>
      </p:sp>
      <p:sp>
        <p:nvSpPr>
          <p:cNvPr id="6" name="Working Draft" hidden="1"/>
          <p:cNvSpPr txBox="1">
            <a:spLocks noChangeArrowheads="1"/>
          </p:cNvSpPr>
          <p:nvPr/>
        </p:nvSpPr>
        <p:spPr bwMode="black">
          <a:xfrm>
            <a:off x="5992718" y="6410648"/>
            <a:ext cx="2968719"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800" baseline="0">
                <a:solidFill>
                  <a:srgbClr val="FFFFFF"/>
                </a:solidFill>
                <a:latin typeface="+mn-lt"/>
              </a:rPr>
              <a:t>Last Modified 21/05/2018 17:44 India Standard Time</a:t>
            </a:r>
            <a:endParaRPr lang="en-US" sz="800" baseline="0" dirty="0">
              <a:solidFill>
                <a:srgbClr val="FFFFFF"/>
              </a:solidFill>
              <a:latin typeface="+mn-lt"/>
            </a:endParaRPr>
          </a:p>
        </p:txBody>
      </p:sp>
      <p:sp>
        <p:nvSpPr>
          <p:cNvPr id="7" name="Printed" hidden="1"/>
          <p:cNvSpPr txBox="1">
            <a:spLocks noChangeArrowheads="1"/>
          </p:cNvSpPr>
          <p:nvPr/>
        </p:nvSpPr>
        <p:spPr bwMode="black">
          <a:xfrm>
            <a:off x="5992719" y="6533759"/>
            <a:ext cx="2790000"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800" baseline="0" dirty="0">
                <a:solidFill>
                  <a:srgbClr val="FFFFFF"/>
                </a:solidFill>
                <a:latin typeface="+mn-lt"/>
              </a:rPr>
              <a:t>Printed</a:t>
            </a:r>
          </a:p>
        </p:txBody>
      </p:sp>
      <p:sp>
        <p:nvSpPr>
          <p:cNvPr id="13314" name="Title"/>
          <p:cNvSpPr>
            <a:spLocks noGrp="1" noChangeArrowheads="1"/>
          </p:cNvSpPr>
          <p:nvPr>
            <p:ph type="ctrTitle"/>
          </p:nvPr>
        </p:nvSpPr>
        <p:spPr>
          <a:xfrm>
            <a:off x="2268266" y="1434419"/>
            <a:ext cx="6231663" cy="492443"/>
          </a:xfrm>
          <a:prstGeom prst="rect">
            <a:avLst/>
          </a:prstGeom>
        </p:spPr>
        <p:txBody>
          <a:bodyPr>
            <a:spAutoFit/>
          </a:bodyPr>
          <a:lstStyle>
            <a:lvl1pPr>
              <a:defRPr sz="3200" b="0" baseline="0">
                <a:solidFill>
                  <a:schemeClr val="accent2"/>
                </a:solidFill>
                <a:latin typeface="+mj-lt"/>
                <a:ea typeface="+mj-ea"/>
              </a:defRPr>
            </a:lvl1pPr>
          </a:lstStyle>
          <a:p>
            <a:pPr lvl="0" latinLnBrk="0"/>
            <a:r>
              <a:rPr lang="en-US" noProof="0"/>
              <a:t>Click to edit Master title style</a:t>
            </a:r>
            <a:endParaRPr lang="en-US" noProof="0" dirty="0"/>
          </a:p>
        </p:txBody>
      </p:sp>
      <p:sp>
        <p:nvSpPr>
          <p:cNvPr id="13315" name="Subtitle"/>
          <p:cNvSpPr>
            <a:spLocks noGrp="1" noChangeArrowheads="1"/>
          </p:cNvSpPr>
          <p:nvPr>
            <p:ph type="subTitle" idx="1"/>
          </p:nvPr>
        </p:nvSpPr>
        <p:spPr>
          <a:xfrm>
            <a:off x="2268266" y="2819401"/>
            <a:ext cx="6231663" cy="215444"/>
          </a:xfrm>
          <a:prstGeom prst="rect">
            <a:avLst/>
          </a:prstGeom>
        </p:spPr>
        <p:txBody>
          <a:bodyPr wrap="square">
            <a:spAutoFit/>
          </a:bodyPr>
          <a:lstStyle>
            <a:lvl1pPr>
              <a:defRPr sz="1400" cap="all" baseline="0">
                <a:solidFill>
                  <a:schemeClr val="bg1"/>
                </a:solidFill>
                <a:latin typeface="+mn-lt"/>
                <a:ea typeface="+mn-ea"/>
              </a:defRPr>
            </a:lvl1pPr>
          </a:lstStyle>
          <a:p>
            <a:pPr lvl="0" latinLnBrk="0"/>
            <a:r>
              <a:rPr lang="en-US" noProof="0"/>
              <a:t>Click to edit Master subtitle style</a:t>
            </a:r>
            <a:endParaRPr lang="en-US" noProof="0" dirty="0"/>
          </a:p>
        </p:txBody>
      </p:sp>
      <p:sp>
        <p:nvSpPr>
          <p:cNvPr id="57" name="Document type" hidden="1"/>
          <p:cNvSpPr txBox="1">
            <a:spLocks noChangeArrowheads="1"/>
          </p:cNvSpPr>
          <p:nvPr/>
        </p:nvSpPr>
        <p:spPr bwMode="gray">
          <a:xfrm>
            <a:off x="2268266" y="3227411"/>
            <a:ext cx="6231663"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00" baseline="0" dirty="0">
                <a:solidFill>
                  <a:schemeClr val="bg1"/>
                </a:solidFill>
                <a:latin typeface="+mn-lt"/>
              </a:rPr>
              <a:t>Document type | Date</a:t>
            </a:r>
          </a:p>
        </p:txBody>
      </p:sp>
      <p:sp>
        <p:nvSpPr>
          <p:cNvPr id="5" name="doc id" hidden="1"/>
          <p:cNvSpPr txBox="1">
            <a:spLocks noChangeArrowheads="1"/>
          </p:cNvSpPr>
          <p:nvPr/>
        </p:nvSpPr>
        <p:spPr bwMode="white">
          <a:xfrm>
            <a:off x="8443913" y="36513"/>
            <a:ext cx="295275" cy="1222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hangingPunct="1">
              <a:defRPr/>
            </a:pPr>
            <a:endParaRPr lang="en-US" sz="800" baseline="0" dirty="0">
              <a:solidFill>
                <a:srgbClr val="FFFFFF"/>
              </a:solidFill>
              <a:latin typeface="+mn-lt"/>
            </a:endParaRPr>
          </a:p>
        </p:txBody>
      </p:sp>
      <p:sp>
        <p:nvSpPr>
          <p:cNvPr id="43" name="LogoImage"/>
          <p:cNvSpPr>
            <a:spLocks noEditPoints="1"/>
          </p:cNvSpPr>
          <p:nvPr/>
        </p:nvSpPr>
        <p:spPr bwMode="white">
          <a:xfrm>
            <a:off x="2269098" y="182925"/>
            <a:ext cx="2176978" cy="238073"/>
          </a:xfrm>
          <a:custGeom>
            <a:avLst/>
            <a:gdLst>
              <a:gd name="T0" fmla="*/ 504 w 5516"/>
              <a:gd name="T1" fmla="*/ 26 h 606"/>
              <a:gd name="T2" fmla="*/ 18 w 5516"/>
              <a:gd name="T3" fmla="*/ 22 h 606"/>
              <a:gd name="T4" fmla="*/ 140 w 5516"/>
              <a:gd name="T5" fmla="*/ 436 h 606"/>
              <a:gd name="T6" fmla="*/ 408 w 5516"/>
              <a:gd name="T7" fmla="*/ 372 h 606"/>
              <a:gd name="T8" fmla="*/ 696 w 5516"/>
              <a:gd name="T9" fmla="*/ 422 h 606"/>
              <a:gd name="T10" fmla="*/ 768 w 5516"/>
              <a:gd name="T11" fmla="*/ 196 h 606"/>
              <a:gd name="T12" fmla="*/ 1272 w 5516"/>
              <a:gd name="T13" fmla="*/ 26 h 606"/>
              <a:gd name="T14" fmla="*/ 1302 w 5516"/>
              <a:gd name="T15" fmla="*/ 338 h 606"/>
              <a:gd name="T16" fmla="*/ 1202 w 5516"/>
              <a:gd name="T17" fmla="*/ 436 h 606"/>
              <a:gd name="T18" fmla="*/ 1030 w 5516"/>
              <a:gd name="T19" fmla="*/ 10 h 606"/>
              <a:gd name="T20" fmla="*/ 960 w 5516"/>
              <a:gd name="T21" fmla="*/ 22 h 606"/>
              <a:gd name="T22" fmla="*/ 804 w 5516"/>
              <a:gd name="T23" fmla="*/ 434 h 606"/>
              <a:gd name="T24" fmla="*/ 930 w 5516"/>
              <a:gd name="T25" fmla="*/ 246 h 606"/>
              <a:gd name="T26" fmla="*/ 1658 w 5516"/>
              <a:gd name="T27" fmla="*/ 342 h 606"/>
              <a:gd name="T28" fmla="*/ 1368 w 5516"/>
              <a:gd name="T29" fmla="*/ 188 h 606"/>
              <a:gd name="T30" fmla="*/ 1514 w 5516"/>
              <a:gd name="T31" fmla="*/ 436 h 606"/>
              <a:gd name="T32" fmla="*/ 1564 w 5516"/>
              <a:gd name="T33" fmla="*/ 434 h 606"/>
              <a:gd name="T34" fmla="*/ 1904 w 5516"/>
              <a:gd name="T35" fmla="*/ 184 h 606"/>
              <a:gd name="T36" fmla="*/ 1728 w 5516"/>
              <a:gd name="T37" fmla="*/ 366 h 606"/>
              <a:gd name="T38" fmla="*/ 2102 w 5516"/>
              <a:gd name="T39" fmla="*/ 192 h 606"/>
              <a:gd name="T40" fmla="*/ 1982 w 5516"/>
              <a:gd name="T41" fmla="*/ 320 h 606"/>
              <a:gd name="T42" fmla="*/ 2478 w 5516"/>
              <a:gd name="T43" fmla="*/ 242 h 606"/>
              <a:gd name="T44" fmla="*/ 2406 w 5516"/>
              <a:gd name="T45" fmla="*/ 390 h 606"/>
              <a:gd name="T46" fmla="*/ 2234 w 5516"/>
              <a:gd name="T47" fmla="*/ 192 h 606"/>
              <a:gd name="T48" fmla="*/ 2478 w 5516"/>
              <a:gd name="T49" fmla="*/ 242 h 606"/>
              <a:gd name="T50" fmla="*/ 2928 w 5516"/>
              <a:gd name="T51" fmla="*/ 448 h 606"/>
              <a:gd name="T52" fmla="*/ 2958 w 5516"/>
              <a:gd name="T53" fmla="*/ 230 h 606"/>
              <a:gd name="T54" fmla="*/ 2716 w 5516"/>
              <a:gd name="T55" fmla="*/ 54 h 606"/>
              <a:gd name="T56" fmla="*/ 2714 w 5516"/>
              <a:gd name="T57" fmla="*/ 36 h 606"/>
              <a:gd name="T58" fmla="*/ 2928 w 5516"/>
              <a:gd name="T59" fmla="*/ 448 h 606"/>
              <a:gd name="T60" fmla="*/ 3388 w 5516"/>
              <a:gd name="T61" fmla="*/ 4 h 606"/>
              <a:gd name="T62" fmla="*/ 3396 w 5516"/>
              <a:gd name="T63" fmla="*/ 366 h 606"/>
              <a:gd name="T64" fmla="*/ 3580 w 5516"/>
              <a:gd name="T65" fmla="*/ 190 h 606"/>
              <a:gd name="T66" fmla="*/ 3502 w 5516"/>
              <a:gd name="T67" fmla="*/ 432 h 606"/>
              <a:gd name="T68" fmla="*/ 4232 w 5516"/>
              <a:gd name="T69" fmla="*/ 348 h 606"/>
              <a:gd name="T70" fmla="*/ 3858 w 5516"/>
              <a:gd name="T71" fmla="*/ 176 h 606"/>
              <a:gd name="T72" fmla="*/ 3758 w 5516"/>
              <a:gd name="T73" fmla="*/ 446 h 606"/>
              <a:gd name="T74" fmla="*/ 3990 w 5516"/>
              <a:gd name="T75" fmla="*/ 282 h 606"/>
              <a:gd name="T76" fmla="*/ 4042 w 5516"/>
              <a:gd name="T77" fmla="*/ 342 h 606"/>
              <a:gd name="T78" fmla="*/ 4134 w 5516"/>
              <a:gd name="T79" fmla="*/ 448 h 606"/>
              <a:gd name="T80" fmla="*/ 4454 w 5516"/>
              <a:gd name="T81" fmla="*/ 202 h 606"/>
              <a:gd name="T82" fmla="*/ 4284 w 5516"/>
              <a:gd name="T83" fmla="*/ 174 h 606"/>
              <a:gd name="T84" fmla="*/ 4432 w 5516"/>
              <a:gd name="T85" fmla="*/ 588 h 606"/>
              <a:gd name="T86" fmla="*/ 4792 w 5516"/>
              <a:gd name="T87" fmla="*/ 382 h 606"/>
              <a:gd name="T88" fmla="*/ 5192 w 5516"/>
              <a:gd name="T89" fmla="*/ 340 h 606"/>
              <a:gd name="T90" fmla="*/ 4902 w 5516"/>
              <a:gd name="T91" fmla="*/ 186 h 606"/>
              <a:gd name="T92" fmla="*/ 4850 w 5516"/>
              <a:gd name="T93" fmla="*/ 274 h 606"/>
              <a:gd name="T94" fmla="*/ 4742 w 5516"/>
              <a:gd name="T95" fmla="*/ 194 h 606"/>
              <a:gd name="T96" fmla="*/ 4794 w 5516"/>
              <a:gd name="T97" fmla="*/ 418 h 606"/>
              <a:gd name="T98" fmla="*/ 5004 w 5516"/>
              <a:gd name="T99" fmla="*/ 338 h 606"/>
              <a:gd name="T100" fmla="*/ 5098 w 5516"/>
              <a:gd name="T101" fmla="*/ 446 h 606"/>
              <a:gd name="T102" fmla="*/ 5418 w 5516"/>
              <a:gd name="T103" fmla="*/ 192 h 606"/>
              <a:gd name="T104" fmla="*/ 5348 w 5516"/>
              <a:gd name="T105" fmla="*/ 180 h 606"/>
              <a:gd name="T106" fmla="*/ 5254 w 5516"/>
              <a:gd name="T107" fmla="*/ 606 h 6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516" h="606">
                <a:moveTo>
                  <a:pt x="366" y="448"/>
                </a:moveTo>
                <a:cubicBezTo>
                  <a:pt x="524" y="448"/>
                  <a:pt x="524" y="448"/>
                  <a:pt x="524" y="448"/>
                </a:cubicBezTo>
                <a:cubicBezTo>
                  <a:pt x="524" y="436"/>
                  <a:pt x="524" y="436"/>
                  <a:pt x="524" y="436"/>
                </a:cubicBezTo>
                <a:cubicBezTo>
                  <a:pt x="486" y="432"/>
                  <a:pt x="470" y="414"/>
                  <a:pt x="468" y="362"/>
                </a:cubicBezTo>
                <a:cubicBezTo>
                  <a:pt x="454" y="86"/>
                  <a:pt x="454" y="86"/>
                  <a:pt x="454" y="86"/>
                </a:cubicBezTo>
                <a:cubicBezTo>
                  <a:pt x="452" y="46"/>
                  <a:pt x="470" y="30"/>
                  <a:pt x="504" y="26"/>
                </a:cubicBezTo>
                <a:cubicBezTo>
                  <a:pt x="504" y="12"/>
                  <a:pt x="504" y="12"/>
                  <a:pt x="504" y="12"/>
                </a:cubicBezTo>
                <a:cubicBezTo>
                  <a:pt x="394" y="12"/>
                  <a:pt x="394" y="12"/>
                  <a:pt x="394" y="12"/>
                </a:cubicBezTo>
                <a:cubicBezTo>
                  <a:pt x="264" y="350"/>
                  <a:pt x="264" y="350"/>
                  <a:pt x="264" y="350"/>
                </a:cubicBezTo>
                <a:cubicBezTo>
                  <a:pt x="132" y="10"/>
                  <a:pt x="132" y="10"/>
                  <a:pt x="132" y="10"/>
                </a:cubicBezTo>
                <a:cubicBezTo>
                  <a:pt x="18" y="10"/>
                  <a:pt x="18" y="10"/>
                  <a:pt x="18" y="10"/>
                </a:cubicBezTo>
                <a:cubicBezTo>
                  <a:pt x="18" y="22"/>
                  <a:pt x="18" y="22"/>
                  <a:pt x="18" y="22"/>
                </a:cubicBezTo>
                <a:cubicBezTo>
                  <a:pt x="40" y="26"/>
                  <a:pt x="74" y="32"/>
                  <a:pt x="72" y="84"/>
                </a:cubicBezTo>
                <a:cubicBezTo>
                  <a:pt x="58" y="352"/>
                  <a:pt x="58" y="352"/>
                  <a:pt x="58" y="352"/>
                </a:cubicBezTo>
                <a:cubicBezTo>
                  <a:pt x="54" y="410"/>
                  <a:pt x="38" y="430"/>
                  <a:pt x="0" y="436"/>
                </a:cubicBezTo>
                <a:cubicBezTo>
                  <a:pt x="0" y="448"/>
                  <a:pt x="0" y="448"/>
                  <a:pt x="0" y="448"/>
                </a:cubicBezTo>
                <a:cubicBezTo>
                  <a:pt x="140" y="448"/>
                  <a:pt x="140" y="448"/>
                  <a:pt x="140" y="448"/>
                </a:cubicBezTo>
                <a:cubicBezTo>
                  <a:pt x="140" y="436"/>
                  <a:pt x="140" y="436"/>
                  <a:pt x="140" y="436"/>
                </a:cubicBezTo>
                <a:cubicBezTo>
                  <a:pt x="98" y="428"/>
                  <a:pt x="84" y="414"/>
                  <a:pt x="88" y="356"/>
                </a:cubicBezTo>
                <a:cubicBezTo>
                  <a:pt x="100" y="86"/>
                  <a:pt x="100" y="86"/>
                  <a:pt x="100" y="86"/>
                </a:cubicBezTo>
                <a:cubicBezTo>
                  <a:pt x="240" y="444"/>
                  <a:pt x="240" y="444"/>
                  <a:pt x="240" y="444"/>
                </a:cubicBezTo>
                <a:cubicBezTo>
                  <a:pt x="258" y="444"/>
                  <a:pt x="258" y="444"/>
                  <a:pt x="258" y="444"/>
                </a:cubicBezTo>
                <a:cubicBezTo>
                  <a:pt x="396" y="86"/>
                  <a:pt x="396" y="86"/>
                  <a:pt x="396" y="86"/>
                </a:cubicBezTo>
                <a:cubicBezTo>
                  <a:pt x="408" y="372"/>
                  <a:pt x="408" y="372"/>
                  <a:pt x="408" y="372"/>
                </a:cubicBezTo>
                <a:cubicBezTo>
                  <a:pt x="410" y="416"/>
                  <a:pt x="398" y="430"/>
                  <a:pt x="366" y="434"/>
                </a:cubicBezTo>
                <a:lnTo>
                  <a:pt x="366" y="448"/>
                </a:lnTo>
                <a:close/>
                <a:moveTo>
                  <a:pt x="670" y="456"/>
                </a:moveTo>
                <a:cubicBezTo>
                  <a:pt x="708" y="456"/>
                  <a:pt x="756" y="440"/>
                  <a:pt x="782" y="412"/>
                </a:cubicBezTo>
                <a:cubicBezTo>
                  <a:pt x="776" y="400"/>
                  <a:pt x="776" y="400"/>
                  <a:pt x="776" y="400"/>
                </a:cubicBezTo>
                <a:cubicBezTo>
                  <a:pt x="750" y="416"/>
                  <a:pt x="722" y="422"/>
                  <a:pt x="696" y="422"/>
                </a:cubicBezTo>
                <a:cubicBezTo>
                  <a:pt x="620" y="422"/>
                  <a:pt x="592" y="358"/>
                  <a:pt x="592" y="290"/>
                </a:cubicBezTo>
                <a:cubicBezTo>
                  <a:pt x="592" y="258"/>
                  <a:pt x="600" y="236"/>
                  <a:pt x="614" y="222"/>
                </a:cubicBezTo>
                <a:cubicBezTo>
                  <a:pt x="626" y="210"/>
                  <a:pt x="646" y="204"/>
                  <a:pt x="664" y="204"/>
                </a:cubicBezTo>
                <a:cubicBezTo>
                  <a:pt x="690" y="204"/>
                  <a:pt x="722" y="214"/>
                  <a:pt x="744" y="244"/>
                </a:cubicBezTo>
                <a:cubicBezTo>
                  <a:pt x="750" y="244"/>
                  <a:pt x="750" y="244"/>
                  <a:pt x="750" y="244"/>
                </a:cubicBezTo>
                <a:cubicBezTo>
                  <a:pt x="758" y="234"/>
                  <a:pt x="766" y="212"/>
                  <a:pt x="768" y="196"/>
                </a:cubicBezTo>
                <a:cubicBezTo>
                  <a:pt x="748" y="180"/>
                  <a:pt x="720" y="172"/>
                  <a:pt x="686" y="172"/>
                </a:cubicBezTo>
                <a:cubicBezTo>
                  <a:pt x="604" y="172"/>
                  <a:pt x="544" y="246"/>
                  <a:pt x="544" y="326"/>
                </a:cubicBezTo>
                <a:cubicBezTo>
                  <a:pt x="540" y="390"/>
                  <a:pt x="576" y="456"/>
                  <a:pt x="670" y="456"/>
                </a:cubicBezTo>
                <a:moveTo>
                  <a:pt x="1272" y="98"/>
                </a:moveTo>
                <a:cubicBezTo>
                  <a:pt x="1292" y="98"/>
                  <a:pt x="1308" y="82"/>
                  <a:pt x="1308" y="62"/>
                </a:cubicBezTo>
                <a:cubicBezTo>
                  <a:pt x="1308" y="42"/>
                  <a:pt x="1292" y="26"/>
                  <a:pt x="1272" y="26"/>
                </a:cubicBezTo>
                <a:cubicBezTo>
                  <a:pt x="1252" y="26"/>
                  <a:pt x="1238" y="42"/>
                  <a:pt x="1238" y="62"/>
                </a:cubicBezTo>
                <a:cubicBezTo>
                  <a:pt x="1238" y="82"/>
                  <a:pt x="1252" y="98"/>
                  <a:pt x="1272" y="98"/>
                </a:cubicBezTo>
                <a:moveTo>
                  <a:pt x="1202" y="448"/>
                </a:moveTo>
                <a:cubicBezTo>
                  <a:pt x="1346" y="448"/>
                  <a:pt x="1346" y="448"/>
                  <a:pt x="1346" y="448"/>
                </a:cubicBezTo>
                <a:cubicBezTo>
                  <a:pt x="1346" y="436"/>
                  <a:pt x="1346" y="436"/>
                  <a:pt x="1346" y="436"/>
                </a:cubicBezTo>
                <a:cubicBezTo>
                  <a:pt x="1304" y="432"/>
                  <a:pt x="1302" y="434"/>
                  <a:pt x="1302" y="338"/>
                </a:cubicBezTo>
                <a:cubicBezTo>
                  <a:pt x="1302" y="176"/>
                  <a:pt x="1302" y="176"/>
                  <a:pt x="1302" y="176"/>
                </a:cubicBezTo>
                <a:cubicBezTo>
                  <a:pt x="1200" y="176"/>
                  <a:pt x="1200" y="176"/>
                  <a:pt x="1200" y="176"/>
                </a:cubicBezTo>
                <a:cubicBezTo>
                  <a:pt x="1200" y="188"/>
                  <a:pt x="1200" y="188"/>
                  <a:pt x="1200" y="188"/>
                </a:cubicBezTo>
                <a:cubicBezTo>
                  <a:pt x="1244" y="190"/>
                  <a:pt x="1250" y="192"/>
                  <a:pt x="1250" y="268"/>
                </a:cubicBezTo>
                <a:cubicBezTo>
                  <a:pt x="1250" y="336"/>
                  <a:pt x="1250" y="336"/>
                  <a:pt x="1250" y="336"/>
                </a:cubicBezTo>
                <a:cubicBezTo>
                  <a:pt x="1250" y="432"/>
                  <a:pt x="1248" y="432"/>
                  <a:pt x="1202" y="436"/>
                </a:cubicBezTo>
                <a:cubicBezTo>
                  <a:pt x="1178" y="434"/>
                  <a:pt x="1154" y="426"/>
                  <a:pt x="1076" y="338"/>
                </a:cubicBezTo>
                <a:cubicBezTo>
                  <a:pt x="1046" y="302"/>
                  <a:pt x="996" y="244"/>
                  <a:pt x="968" y="206"/>
                </a:cubicBezTo>
                <a:cubicBezTo>
                  <a:pt x="1062" y="102"/>
                  <a:pt x="1062" y="102"/>
                  <a:pt x="1062" y="102"/>
                </a:cubicBezTo>
                <a:cubicBezTo>
                  <a:pt x="1108" y="52"/>
                  <a:pt x="1132" y="26"/>
                  <a:pt x="1176" y="24"/>
                </a:cubicBezTo>
                <a:cubicBezTo>
                  <a:pt x="1176" y="10"/>
                  <a:pt x="1176" y="10"/>
                  <a:pt x="1176" y="10"/>
                </a:cubicBezTo>
                <a:cubicBezTo>
                  <a:pt x="1030" y="10"/>
                  <a:pt x="1030" y="10"/>
                  <a:pt x="1030" y="10"/>
                </a:cubicBezTo>
                <a:cubicBezTo>
                  <a:pt x="1030" y="22"/>
                  <a:pt x="1030" y="22"/>
                  <a:pt x="1030" y="22"/>
                </a:cubicBezTo>
                <a:cubicBezTo>
                  <a:pt x="1050" y="26"/>
                  <a:pt x="1056" y="32"/>
                  <a:pt x="1056" y="46"/>
                </a:cubicBezTo>
                <a:cubicBezTo>
                  <a:pt x="1056" y="56"/>
                  <a:pt x="1054" y="72"/>
                  <a:pt x="1026" y="102"/>
                </a:cubicBezTo>
                <a:cubicBezTo>
                  <a:pt x="910" y="230"/>
                  <a:pt x="910" y="230"/>
                  <a:pt x="910" y="230"/>
                </a:cubicBezTo>
                <a:cubicBezTo>
                  <a:pt x="910" y="148"/>
                  <a:pt x="910" y="148"/>
                  <a:pt x="910" y="148"/>
                </a:cubicBezTo>
                <a:cubicBezTo>
                  <a:pt x="910" y="36"/>
                  <a:pt x="916" y="28"/>
                  <a:pt x="960" y="22"/>
                </a:cubicBezTo>
                <a:cubicBezTo>
                  <a:pt x="960" y="8"/>
                  <a:pt x="960" y="8"/>
                  <a:pt x="960" y="8"/>
                </a:cubicBezTo>
                <a:cubicBezTo>
                  <a:pt x="804" y="8"/>
                  <a:pt x="804" y="8"/>
                  <a:pt x="804" y="8"/>
                </a:cubicBezTo>
                <a:cubicBezTo>
                  <a:pt x="804" y="22"/>
                  <a:pt x="804" y="22"/>
                  <a:pt x="804" y="22"/>
                </a:cubicBezTo>
                <a:cubicBezTo>
                  <a:pt x="852" y="26"/>
                  <a:pt x="854" y="36"/>
                  <a:pt x="854" y="148"/>
                </a:cubicBezTo>
                <a:cubicBezTo>
                  <a:pt x="854" y="300"/>
                  <a:pt x="854" y="300"/>
                  <a:pt x="854" y="300"/>
                </a:cubicBezTo>
                <a:cubicBezTo>
                  <a:pt x="854" y="422"/>
                  <a:pt x="850" y="430"/>
                  <a:pt x="804" y="434"/>
                </a:cubicBezTo>
                <a:cubicBezTo>
                  <a:pt x="804" y="446"/>
                  <a:pt x="804" y="446"/>
                  <a:pt x="804" y="446"/>
                </a:cubicBezTo>
                <a:cubicBezTo>
                  <a:pt x="960" y="446"/>
                  <a:pt x="960" y="446"/>
                  <a:pt x="960" y="446"/>
                </a:cubicBezTo>
                <a:cubicBezTo>
                  <a:pt x="960" y="434"/>
                  <a:pt x="960" y="434"/>
                  <a:pt x="960" y="434"/>
                </a:cubicBezTo>
                <a:cubicBezTo>
                  <a:pt x="910" y="428"/>
                  <a:pt x="910" y="424"/>
                  <a:pt x="910" y="292"/>
                </a:cubicBezTo>
                <a:cubicBezTo>
                  <a:pt x="910" y="268"/>
                  <a:pt x="910" y="268"/>
                  <a:pt x="910" y="268"/>
                </a:cubicBezTo>
                <a:cubicBezTo>
                  <a:pt x="930" y="246"/>
                  <a:pt x="930" y="246"/>
                  <a:pt x="930" y="246"/>
                </a:cubicBezTo>
                <a:cubicBezTo>
                  <a:pt x="982" y="310"/>
                  <a:pt x="1038" y="380"/>
                  <a:pt x="1098" y="448"/>
                </a:cubicBezTo>
                <a:cubicBezTo>
                  <a:pt x="1202" y="448"/>
                  <a:pt x="1202" y="448"/>
                  <a:pt x="1202" y="448"/>
                </a:cubicBezTo>
                <a:close/>
                <a:moveTo>
                  <a:pt x="1564" y="448"/>
                </a:moveTo>
                <a:cubicBezTo>
                  <a:pt x="1706" y="448"/>
                  <a:pt x="1706" y="448"/>
                  <a:pt x="1706" y="448"/>
                </a:cubicBezTo>
                <a:cubicBezTo>
                  <a:pt x="1706" y="436"/>
                  <a:pt x="1706" y="436"/>
                  <a:pt x="1706" y="436"/>
                </a:cubicBezTo>
                <a:cubicBezTo>
                  <a:pt x="1658" y="434"/>
                  <a:pt x="1658" y="432"/>
                  <a:pt x="1658" y="342"/>
                </a:cubicBezTo>
                <a:cubicBezTo>
                  <a:pt x="1658" y="280"/>
                  <a:pt x="1658" y="280"/>
                  <a:pt x="1658" y="280"/>
                </a:cubicBezTo>
                <a:cubicBezTo>
                  <a:pt x="1658" y="198"/>
                  <a:pt x="1612" y="172"/>
                  <a:pt x="1570" y="172"/>
                </a:cubicBezTo>
                <a:cubicBezTo>
                  <a:pt x="1534" y="172"/>
                  <a:pt x="1498" y="188"/>
                  <a:pt x="1470" y="224"/>
                </a:cubicBezTo>
                <a:cubicBezTo>
                  <a:pt x="1470" y="176"/>
                  <a:pt x="1470" y="176"/>
                  <a:pt x="1470" y="176"/>
                </a:cubicBezTo>
                <a:cubicBezTo>
                  <a:pt x="1368" y="176"/>
                  <a:pt x="1368" y="176"/>
                  <a:pt x="1368" y="176"/>
                </a:cubicBezTo>
                <a:cubicBezTo>
                  <a:pt x="1368" y="188"/>
                  <a:pt x="1368" y="188"/>
                  <a:pt x="1368" y="188"/>
                </a:cubicBezTo>
                <a:cubicBezTo>
                  <a:pt x="1412" y="190"/>
                  <a:pt x="1418" y="192"/>
                  <a:pt x="1418" y="268"/>
                </a:cubicBezTo>
                <a:cubicBezTo>
                  <a:pt x="1418" y="336"/>
                  <a:pt x="1418" y="336"/>
                  <a:pt x="1418" y="336"/>
                </a:cubicBezTo>
                <a:cubicBezTo>
                  <a:pt x="1418" y="434"/>
                  <a:pt x="1418" y="434"/>
                  <a:pt x="1370" y="436"/>
                </a:cubicBezTo>
                <a:cubicBezTo>
                  <a:pt x="1370" y="448"/>
                  <a:pt x="1370" y="448"/>
                  <a:pt x="1370" y="448"/>
                </a:cubicBezTo>
                <a:cubicBezTo>
                  <a:pt x="1514" y="448"/>
                  <a:pt x="1514" y="448"/>
                  <a:pt x="1514" y="448"/>
                </a:cubicBezTo>
                <a:cubicBezTo>
                  <a:pt x="1514" y="436"/>
                  <a:pt x="1514" y="436"/>
                  <a:pt x="1514" y="436"/>
                </a:cubicBezTo>
                <a:cubicBezTo>
                  <a:pt x="1472" y="432"/>
                  <a:pt x="1470" y="434"/>
                  <a:pt x="1470" y="338"/>
                </a:cubicBezTo>
                <a:cubicBezTo>
                  <a:pt x="1470" y="262"/>
                  <a:pt x="1470" y="262"/>
                  <a:pt x="1470" y="262"/>
                </a:cubicBezTo>
                <a:cubicBezTo>
                  <a:pt x="1470" y="236"/>
                  <a:pt x="1504" y="206"/>
                  <a:pt x="1546" y="206"/>
                </a:cubicBezTo>
                <a:cubicBezTo>
                  <a:pt x="1580" y="206"/>
                  <a:pt x="1606" y="220"/>
                  <a:pt x="1606" y="286"/>
                </a:cubicBezTo>
                <a:cubicBezTo>
                  <a:pt x="1606" y="340"/>
                  <a:pt x="1606" y="340"/>
                  <a:pt x="1606" y="340"/>
                </a:cubicBezTo>
                <a:cubicBezTo>
                  <a:pt x="1606" y="432"/>
                  <a:pt x="1602" y="432"/>
                  <a:pt x="1564" y="434"/>
                </a:cubicBezTo>
                <a:lnTo>
                  <a:pt x="1564" y="448"/>
                </a:lnTo>
                <a:close/>
                <a:moveTo>
                  <a:pt x="1776" y="222"/>
                </a:moveTo>
                <a:cubicBezTo>
                  <a:pt x="1776" y="200"/>
                  <a:pt x="1796" y="188"/>
                  <a:pt x="1822" y="188"/>
                </a:cubicBezTo>
                <a:cubicBezTo>
                  <a:pt x="1874" y="188"/>
                  <a:pt x="1896" y="236"/>
                  <a:pt x="1900" y="252"/>
                </a:cubicBezTo>
                <a:cubicBezTo>
                  <a:pt x="1912" y="252"/>
                  <a:pt x="1912" y="252"/>
                  <a:pt x="1912" y="252"/>
                </a:cubicBezTo>
                <a:cubicBezTo>
                  <a:pt x="1912" y="212"/>
                  <a:pt x="1908" y="188"/>
                  <a:pt x="1904" y="184"/>
                </a:cubicBezTo>
                <a:cubicBezTo>
                  <a:pt x="1900" y="180"/>
                  <a:pt x="1862" y="170"/>
                  <a:pt x="1824" y="170"/>
                </a:cubicBezTo>
                <a:cubicBezTo>
                  <a:pt x="1768" y="170"/>
                  <a:pt x="1734" y="206"/>
                  <a:pt x="1734" y="248"/>
                </a:cubicBezTo>
                <a:cubicBezTo>
                  <a:pt x="1734" y="340"/>
                  <a:pt x="1890" y="322"/>
                  <a:pt x="1890" y="396"/>
                </a:cubicBezTo>
                <a:cubicBezTo>
                  <a:pt x="1890" y="422"/>
                  <a:pt x="1866" y="436"/>
                  <a:pt x="1826" y="436"/>
                </a:cubicBezTo>
                <a:cubicBezTo>
                  <a:pt x="1788" y="436"/>
                  <a:pt x="1754" y="416"/>
                  <a:pt x="1744" y="366"/>
                </a:cubicBezTo>
                <a:cubicBezTo>
                  <a:pt x="1728" y="366"/>
                  <a:pt x="1728" y="366"/>
                  <a:pt x="1728" y="366"/>
                </a:cubicBezTo>
                <a:cubicBezTo>
                  <a:pt x="1728" y="386"/>
                  <a:pt x="1732" y="422"/>
                  <a:pt x="1734" y="428"/>
                </a:cubicBezTo>
                <a:cubicBezTo>
                  <a:pt x="1744" y="446"/>
                  <a:pt x="1788" y="454"/>
                  <a:pt x="1824" y="454"/>
                </a:cubicBezTo>
                <a:cubicBezTo>
                  <a:pt x="1888" y="454"/>
                  <a:pt x="1928" y="416"/>
                  <a:pt x="1928" y="372"/>
                </a:cubicBezTo>
                <a:cubicBezTo>
                  <a:pt x="1932" y="270"/>
                  <a:pt x="1776" y="286"/>
                  <a:pt x="1776" y="222"/>
                </a:cubicBezTo>
                <a:moveTo>
                  <a:pt x="2030" y="270"/>
                </a:moveTo>
                <a:cubicBezTo>
                  <a:pt x="2034" y="220"/>
                  <a:pt x="2058" y="192"/>
                  <a:pt x="2102" y="192"/>
                </a:cubicBezTo>
                <a:cubicBezTo>
                  <a:pt x="2144" y="192"/>
                  <a:pt x="2170" y="220"/>
                  <a:pt x="2172" y="270"/>
                </a:cubicBezTo>
                <a:lnTo>
                  <a:pt x="2030" y="270"/>
                </a:lnTo>
                <a:close/>
                <a:moveTo>
                  <a:pt x="2030" y="290"/>
                </a:moveTo>
                <a:cubicBezTo>
                  <a:pt x="2222" y="290"/>
                  <a:pt x="2222" y="290"/>
                  <a:pt x="2222" y="290"/>
                </a:cubicBezTo>
                <a:cubicBezTo>
                  <a:pt x="2226" y="228"/>
                  <a:pt x="2192" y="168"/>
                  <a:pt x="2114" y="168"/>
                </a:cubicBezTo>
                <a:cubicBezTo>
                  <a:pt x="2034" y="168"/>
                  <a:pt x="1982" y="232"/>
                  <a:pt x="1982" y="320"/>
                </a:cubicBezTo>
                <a:cubicBezTo>
                  <a:pt x="1982" y="388"/>
                  <a:pt x="2018" y="456"/>
                  <a:pt x="2112" y="456"/>
                </a:cubicBezTo>
                <a:cubicBezTo>
                  <a:pt x="2150" y="456"/>
                  <a:pt x="2198" y="440"/>
                  <a:pt x="2224" y="412"/>
                </a:cubicBezTo>
                <a:cubicBezTo>
                  <a:pt x="2218" y="400"/>
                  <a:pt x="2218" y="400"/>
                  <a:pt x="2218" y="400"/>
                </a:cubicBezTo>
                <a:cubicBezTo>
                  <a:pt x="2192" y="416"/>
                  <a:pt x="2164" y="422"/>
                  <a:pt x="2138" y="422"/>
                </a:cubicBezTo>
                <a:cubicBezTo>
                  <a:pt x="2058" y="420"/>
                  <a:pt x="2028" y="352"/>
                  <a:pt x="2030" y="290"/>
                </a:cubicBezTo>
                <a:moveTo>
                  <a:pt x="2478" y="242"/>
                </a:moveTo>
                <a:cubicBezTo>
                  <a:pt x="2490" y="206"/>
                  <a:pt x="2510" y="192"/>
                  <a:pt x="2528" y="192"/>
                </a:cubicBezTo>
                <a:cubicBezTo>
                  <a:pt x="2528" y="180"/>
                  <a:pt x="2528" y="180"/>
                  <a:pt x="2528" y="180"/>
                </a:cubicBezTo>
                <a:cubicBezTo>
                  <a:pt x="2430" y="180"/>
                  <a:pt x="2430" y="180"/>
                  <a:pt x="2430" y="180"/>
                </a:cubicBezTo>
                <a:cubicBezTo>
                  <a:pt x="2430" y="192"/>
                  <a:pt x="2430" y="192"/>
                  <a:pt x="2430" y="192"/>
                </a:cubicBezTo>
                <a:cubicBezTo>
                  <a:pt x="2454" y="194"/>
                  <a:pt x="2466" y="206"/>
                  <a:pt x="2458" y="234"/>
                </a:cubicBezTo>
                <a:cubicBezTo>
                  <a:pt x="2406" y="390"/>
                  <a:pt x="2406" y="390"/>
                  <a:pt x="2406" y="390"/>
                </a:cubicBezTo>
                <a:cubicBezTo>
                  <a:pt x="2354" y="270"/>
                  <a:pt x="2354" y="270"/>
                  <a:pt x="2354" y="270"/>
                </a:cubicBezTo>
                <a:cubicBezTo>
                  <a:pt x="2340" y="238"/>
                  <a:pt x="2334" y="224"/>
                  <a:pt x="2334" y="212"/>
                </a:cubicBezTo>
                <a:cubicBezTo>
                  <a:pt x="2334" y="202"/>
                  <a:pt x="2340" y="196"/>
                  <a:pt x="2360" y="192"/>
                </a:cubicBezTo>
                <a:cubicBezTo>
                  <a:pt x="2360" y="180"/>
                  <a:pt x="2360" y="180"/>
                  <a:pt x="2360" y="180"/>
                </a:cubicBezTo>
                <a:cubicBezTo>
                  <a:pt x="2234" y="180"/>
                  <a:pt x="2234" y="180"/>
                  <a:pt x="2234" y="180"/>
                </a:cubicBezTo>
                <a:cubicBezTo>
                  <a:pt x="2234" y="192"/>
                  <a:pt x="2234" y="192"/>
                  <a:pt x="2234" y="192"/>
                </a:cubicBezTo>
                <a:cubicBezTo>
                  <a:pt x="2266" y="194"/>
                  <a:pt x="2268" y="198"/>
                  <a:pt x="2310" y="292"/>
                </a:cubicBezTo>
                <a:cubicBezTo>
                  <a:pt x="2382" y="450"/>
                  <a:pt x="2382" y="450"/>
                  <a:pt x="2382" y="450"/>
                </a:cubicBezTo>
                <a:cubicBezTo>
                  <a:pt x="2358" y="512"/>
                  <a:pt x="2320" y="546"/>
                  <a:pt x="2242" y="564"/>
                </a:cubicBezTo>
                <a:cubicBezTo>
                  <a:pt x="2246" y="576"/>
                  <a:pt x="2260" y="600"/>
                  <a:pt x="2268" y="606"/>
                </a:cubicBezTo>
                <a:cubicBezTo>
                  <a:pt x="2370" y="564"/>
                  <a:pt x="2390" y="498"/>
                  <a:pt x="2426" y="396"/>
                </a:cubicBezTo>
                <a:lnTo>
                  <a:pt x="2478" y="242"/>
                </a:lnTo>
                <a:close/>
                <a:moveTo>
                  <a:pt x="2844" y="394"/>
                </a:moveTo>
                <a:cubicBezTo>
                  <a:pt x="2822" y="412"/>
                  <a:pt x="2782" y="416"/>
                  <a:pt x="2750" y="416"/>
                </a:cubicBezTo>
                <a:cubicBezTo>
                  <a:pt x="2670" y="416"/>
                  <a:pt x="2606" y="360"/>
                  <a:pt x="2606" y="284"/>
                </a:cubicBezTo>
                <a:cubicBezTo>
                  <a:pt x="2606" y="236"/>
                  <a:pt x="2626" y="206"/>
                  <a:pt x="2658" y="198"/>
                </a:cubicBezTo>
                <a:cubicBezTo>
                  <a:pt x="2698" y="266"/>
                  <a:pt x="2770" y="338"/>
                  <a:pt x="2844" y="394"/>
                </a:cubicBezTo>
                <a:moveTo>
                  <a:pt x="2928" y="448"/>
                </a:moveTo>
                <a:cubicBezTo>
                  <a:pt x="3022" y="448"/>
                  <a:pt x="3022" y="448"/>
                  <a:pt x="3022" y="448"/>
                </a:cubicBezTo>
                <a:cubicBezTo>
                  <a:pt x="3022" y="436"/>
                  <a:pt x="3022" y="436"/>
                  <a:pt x="3022" y="436"/>
                </a:cubicBezTo>
                <a:cubicBezTo>
                  <a:pt x="2992" y="432"/>
                  <a:pt x="2946" y="408"/>
                  <a:pt x="2896" y="372"/>
                </a:cubicBezTo>
                <a:cubicBezTo>
                  <a:pt x="2914" y="342"/>
                  <a:pt x="2918" y="300"/>
                  <a:pt x="2922" y="270"/>
                </a:cubicBezTo>
                <a:cubicBezTo>
                  <a:pt x="2926" y="244"/>
                  <a:pt x="2946" y="244"/>
                  <a:pt x="2958" y="242"/>
                </a:cubicBezTo>
                <a:cubicBezTo>
                  <a:pt x="2958" y="230"/>
                  <a:pt x="2958" y="230"/>
                  <a:pt x="2958" y="230"/>
                </a:cubicBezTo>
                <a:cubicBezTo>
                  <a:pt x="2834" y="230"/>
                  <a:pt x="2834" y="230"/>
                  <a:pt x="2834" y="230"/>
                </a:cubicBezTo>
                <a:cubicBezTo>
                  <a:pt x="2834" y="242"/>
                  <a:pt x="2834" y="242"/>
                  <a:pt x="2834" y="242"/>
                </a:cubicBezTo>
                <a:cubicBezTo>
                  <a:pt x="2864" y="246"/>
                  <a:pt x="2892" y="250"/>
                  <a:pt x="2892" y="294"/>
                </a:cubicBezTo>
                <a:cubicBezTo>
                  <a:pt x="2892" y="318"/>
                  <a:pt x="2888" y="342"/>
                  <a:pt x="2878" y="358"/>
                </a:cubicBezTo>
                <a:cubicBezTo>
                  <a:pt x="2770" y="274"/>
                  <a:pt x="2670" y="156"/>
                  <a:pt x="2670" y="96"/>
                </a:cubicBezTo>
                <a:cubicBezTo>
                  <a:pt x="2670" y="66"/>
                  <a:pt x="2688" y="54"/>
                  <a:pt x="2716" y="54"/>
                </a:cubicBezTo>
                <a:cubicBezTo>
                  <a:pt x="2752" y="54"/>
                  <a:pt x="2784" y="78"/>
                  <a:pt x="2800" y="124"/>
                </a:cubicBezTo>
                <a:cubicBezTo>
                  <a:pt x="2812" y="124"/>
                  <a:pt x="2812" y="124"/>
                  <a:pt x="2812" y="124"/>
                </a:cubicBezTo>
                <a:cubicBezTo>
                  <a:pt x="2810" y="42"/>
                  <a:pt x="2810" y="42"/>
                  <a:pt x="2810" y="42"/>
                </a:cubicBezTo>
                <a:cubicBezTo>
                  <a:pt x="2798" y="42"/>
                  <a:pt x="2798" y="42"/>
                  <a:pt x="2798" y="42"/>
                </a:cubicBezTo>
                <a:cubicBezTo>
                  <a:pt x="2798" y="48"/>
                  <a:pt x="2792" y="52"/>
                  <a:pt x="2788" y="52"/>
                </a:cubicBezTo>
                <a:cubicBezTo>
                  <a:pt x="2772" y="52"/>
                  <a:pt x="2752" y="36"/>
                  <a:pt x="2714" y="36"/>
                </a:cubicBezTo>
                <a:cubicBezTo>
                  <a:pt x="2672" y="36"/>
                  <a:pt x="2630" y="62"/>
                  <a:pt x="2630" y="118"/>
                </a:cubicBezTo>
                <a:cubicBezTo>
                  <a:pt x="2630" y="140"/>
                  <a:pt x="2636" y="160"/>
                  <a:pt x="2648" y="182"/>
                </a:cubicBezTo>
                <a:cubicBezTo>
                  <a:pt x="2592" y="200"/>
                  <a:pt x="2562" y="248"/>
                  <a:pt x="2562" y="304"/>
                </a:cubicBezTo>
                <a:cubicBezTo>
                  <a:pt x="2562" y="406"/>
                  <a:pt x="2640" y="460"/>
                  <a:pt x="2726" y="460"/>
                </a:cubicBezTo>
                <a:cubicBezTo>
                  <a:pt x="2780" y="460"/>
                  <a:pt x="2824" y="444"/>
                  <a:pt x="2862" y="410"/>
                </a:cubicBezTo>
                <a:cubicBezTo>
                  <a:pt x="2888" y="424"/>
                  <a:pt x="2912" y="442"/>
                  <a:pt x="2928" y="448"/>
                </a:cubicBezTo>
                <a:moveTo>
                  <a:pt x="3094" y="212"/>
                </a:moveTo>
                <a:cubicBezTo>
                  <a:pt x="3094" y="88"/>
                  <a:pt x="3154" y="20"/>
                  <a:pt x="3252" y="20"/>
                </a:cubicBezTo>
                <a:cubicBezTo>
                  <a:pt x="3328" y="20"/>
                  <a:pt x="3372" y="58"/>
                  <a:pt x="3392" y="134"/>
                </a:cubicBezTo>
                <a:cubicBezTo>
                  <a:pt x="3404" y="134"/>
                  <a:pt x="3404" y="134"/>
                  <a:pt x="3404" y="134"/>
                </a:cubicBezTo>
                <a:cubicBezTo>
                  <a:pt x="3400" y="4"/>
                  <a:pt x="3400" y="4"/>
                  <a:pt x="3400" y="4"/>
                </a:cubicBezTo>
                <a:cubicBezTo>
                  <a:pt x="3388" y="4"/>
                  <a:pt x="3388" y="4"/>
                  <a:pt x="3388" y="4"/>
                </a:cubicBezTo>
                <a:cubicBezTo>
                  <a:pt x="3384" y="14"/>
                  <a:pt x="3376" y="18"/>
                  <a:pt x="3364" y="18"/>
                </a:cubicBezTo>
                <a:cubicBezTo>
                  <a:pt x="3338" y="18"/>
                  <a:pt x="3314" y="0"/>
                  <a:pt x="3248" y="0"/>
                </a:cubicBezTo>
                <a:cubicBezTo>
                  <a:pt x="3118" y="0"/>
                  <a:pt x="3030" y="102"/>
                  <a:pt x="3030" y="242"/>
                </a:cubicBezTo>
                <a:cubicBezTo>
                  <a:pt x="3030" y="376"/>
                  <a:pt x="3110" y="460"/>
                  <a:pt x="3238" y="460"/>
                </a:cubicBezTo>
                <a:cubicBezTo>
                  <a:pt x="3320" y="460"/>
                  <a:pt x="3384" y="420"/>
                  <a:pt x="3408" y="380"/>
                </a:cubicBezTo>
                <a:cubicBezTo>
                  <a:pt x="3396" y="366"/>
                  <a:pt x="3396" y="366"/>
                  <a:pt x="3396" y="366"/>
                </a:cubicBezTo>
                <a:cubicBezTo>
                  <a:pt x="3370" y="402"/>
                  <a:pt x="3314" y="426"/>
                  <a:pt x="3256" y="426"/>
                </a:cubicBezTo>
                <a:cubicBezTo>
                  <a:pt x="3156" y="426"/>
                  <a:pt x="3094" y="340"/>
                  <a:pt x="3094" y="212"/>
                </a:cubicBezTo>
                <a:moveTo>
                  <a:pt x="3678" y="328"/>
                </a:moveTo>
                <a:cubicBezTo>
                  <a:pt x="3678" y="392"/>
                  <a:pt x="3650" y="430"/>
                  <a:pt x="3592" y="430"/>
                </a:cubicBezTo>
                <a:cubicBezTo>
                  <a:pt x="3542" y="430"/>
                  <a:pt x="3496" y="384"/>
                  <a:pt x="3496" y="292"/>
                </a:cubicBezTo>
                <a:cubicBezTo>
                  <a:pt x="3496" y="226"/>
                  <a:pt x="3528" y="190"/>
                  <a:pt x="3580" y="190"/>
                </a:cubicBezTo>
                <a:cubicBezTo>
                  <a:pt x="3628" y="192"/>
                  <a:pt x="3678" y="238"/>
                  <a:pt x="3678" y="328"/>
                </a:cubicBezTo>
                <a:moveTo>
                  <a:pt x="3732" y="312"/>
                </a:moveTo>
                <a:cubicBezTo>
                  <a:pt x="3732" y="260"/>
                  <a:pt x="3710" y="214"/>
                  <a:pt x="3672" y="190"/>
                </a:cubicBezTo>
                <a:cubicBezTo>
                  <a:pt x="3650" y="176"/>
                  <a:pt x="3620" y="168"/>
                  <a:pt x="3588" y="168"/>
                </a:cubicBezTo>
                <a:cubicBezTo>
                  <a:pt x="3502" y="168"/>
                  <a:pt x="3442" y="230"/>
                  <a:pt x="3442" y="310"/>
                </a:cubicBezTo>
                <a:cubicBezTo>
                  <a:pt x="3442" y="364"/>
                  <a:pt x="3464" y="408"/>
                  <a:pt x="3502" y="432"/>
                </a:cubicBezTo>
                <a:cubicBezTo>
                  <a:pt x="3524" y="446"/>
                  <a:pt x="3554" y="452"/>
                  <a:pt x="3586" y="452"/>
                </a:cubicBezTo>
                <a:cubicBezTo>
                  <a:pt x="3672" y="454"/>
                  <a:pt x="3732" y="394"/>
                  <a:pt x="3732" y="312"/>
                </a:cubicBezTo>
                <a:moveTo>
                  <a:pt x="4136" y="448"/>
                </a:moveTo>
                <a:cubicBezTo>
                  <a:pt x="4280" y="448"/>
                  <a:pt x="4280" y="448"/>
                  <a:pt x="4280" y="448"/>
                </a:cubicBezTo>
                <a:cubicBezTo>
                  <a:pt x="4280" y="436"/>
                  <a:pt x="4280" y="436"/>
                  <a:pt x="4280" y="436"/>
                </a:cubicBezTo>
                <a:cubicBezTo>
                  <a:pt x="4230" y="434"/>
                  <a:pt x="4232" y="426"/>
                  <a:pt x="4232" y="348"/>
                </a:cubicBezTo>
                <a:cubicBezTo>
                  <a:pt x="4232" y="276"/>
                  <a:pt x="4232" y="276"/>
                  <a:pt x="4232" y="276"/>
                </a:cubicBezTo>
                <a:cubicBezTo>
                  <a:pt x="4232" y="200"/>
                  <a:pt x="4190" y="172"/>
                  <a:pt x="4142" y="172"/>
                </a:cubicBezTo>
                <a:cubicBezTo>
                  <a:pt x="4098" y="172"/>
                  <a:pt x="4064" y="196"/>
                  <a:pt x="4038" y="232"/>
                </a:cubicBezTo>
                <a:cubicBezTo>
                  <a:pt x="4028" y="194"/>
                  <a:pt x="4000" y="172"/>
                  <a:pt x="3954" y="172"/>
                </a:cubicBezTo>
                <a:cubicBezTo>
                  <a:pt x="3916" y="172"/>
                  <a:pt x="3880" y="196"/>
                  <a:pt x="3858" y="224"/>
                </a:cubicBezTo>
                <a:cubicBezTo>
                  <a:pt x="3858" y="176"/>
                  <a:pt x="3858" y="176"/>
                  <a:pt x="3858" y="176"/>
                </a:cubicBezTo>
                <a:cubicBezTo>
                  <a:pt x="3756" y="176"/>
                  <a:pt x="3756" y="176"/>
                  <a:pt x="3756" y="176"/>
                </a:cubicBezTo>
                <a:cubicBezTo>
                  <a:pt x="3756" y="188"/>
                  <a:pt x="3756" y="188"/>
                  <a:pt x="3756" y="188"/>
                </a:cubicBezTo>
                <a:cubicBezTo>
                  <a:pt x="3800" y="190"/>
                  <a:pt x="3806" y="192"/>
                  <a:pt x="3806" y="268"/>
                </a:cubicBezTo>
                <a:cubicBezTo>
                  <a:pt x="3806" y="346"/>
                  <a:pt x="3806" y="346"/>
                  <a:pt x="3806" y="346"/>
                </a:cubicBezTo>
                <a:cubicBezTo>
                  <a:pt x="3806" y="434"/>
                  <a:pt x="3804" y="434"/>
                  <a:pt x="3758" y="434"/>
                </a:cubicBezTo>
                <a:cubicBezTo>
                  <a:pt x="3758" y="446"/>
                  <a:pt x="3758" y="446"/>
                  <a:pt x="3758" y="446"/>
                </a:cubicBezTo>
                <a:cubicBezTo>
                  <a:pt x="3902" y="446"/>
                  <a:pt x="3902" y="446"/>
                  <a:pt x="3902" y="446"/>
                </a:cubicBezTo>
                <a:cubicBezTo>
                  <a:pt x="3902" y="434"/>
                  <a:pt x="3902" y="434"/>
                  <a:pt x="3902" y="434"/>
                </a:cubicBezTo>
                <a:cubicBezTo>
                  <a:pt x="3862" y="430"/>
                  <a:pt x="3858" y="430"/>
                  <a:pt x="3858" y="342"/>
                </a:cubicBezTo>
                <a:cubicBezTo>
                  <a:pt x="3858" y="262"/>
                  <a:pt x="3858" y="262"/>
                  <a:pt x="3858" y="262"/>
                </a:cubicBezTo>
                <a:cubicBezTo>
                  <a:pt x="3858" y="234"/>
                  <a:pt x="3894" y="204"/>
                  <a:pt x="3932" y="204"/>
                </a:cubicBezTo>
                <a:cubicBezTo>
                  <a:pt x="3974" y="204"/>
                  <a:pt x="3990" y="226"/>
                  <a:pt x="3990" y="282"/>
                </a:cubicBezTo>
                <a:cubicBezTo>
                  <a:pt x="3990" y="338"/>
                  <a:pt x="3990" y="338"/>
                  <a:pt x="3990" y="338"/>
                </a:cubicBezTo>
                <a:cubicBezTo>
                  <a:pt x="3990" y="428"/>
                  <a:pt x="3988" y="432"/>
                  <a:pt x="3950" y="436"/>
                </a:cubicBezTo>
                <a:cubicBezTo>
                  <a:pt x="3950" y="448"/>
                  <a:pt x="3950" y="448"/>
                  <a:pt x="3950" y="448"/>
                </a:cubicBezTo>
                <a:cubicBezTo>
                  <a:pt x="4086" y="448"/>
                  <a:pt x="4086" y="448"/>
                  <a:pt x="4086" y="448"/>
                </a:cubicBezTo>
                <a:cubicBezTo>
                  <a:pt x="4086" y="436"/>
                  <a:pt x="4086" y="436"/>
                  <a:pt x="4086" y="436"/>
                </a:cubicBezTo>
                <a:cubicBezTo>
                  <a:pt x="4040" y="432"/>
                  <a:pt x="4042" y="428"/>
                  <a:pt x="4042" y="342"/>
                </a:cubicBezTo>
                <a:cubicBezTo>
                  <a:pt x="4042" y="264"/>
                  <a:pt x="4042" y="264"/>
                  <a:pt x="4042" y="264"/>
                </a:cubicBezTo>
                <a:cubicBezTo>
                  <a:pt x="4042" y="236"/>
                  <a:pt x="4078" y="206"/>
                  <a:pt x="4118" y="206"/>
                </a:cubicBezTo>
                <a:cubicBezTo>
                  <a:pt x="4152" y="206"/>
                  <a:pt x="4174" y="226"/>
                  <a:pt x="4174" y="284"/>
                </a:cubicBezTo>
                <a:cubicBezTo>
                  <a:pt x="4174" y="346"/>
                  <a:pt x="4174" y="346"/>
                  <a:pt x="4174" y="346"/>
                </a:cubicBezTo>
                <a:cubicBezTo>
                  <a:pt x="4174" y="428"/>
                  <a:pt x="4174" y="432"/>
                  <a:pt x="4134" y="436"/>
                </a:cubicBezTo>
                <a:cubicBezTo>
                  <a:pt x="4134" y="448"/>
                  <a:pt x="4134" y="448"/>
                  <a:pt x="4134" y="448"/>
                </a:cubicBezTo>
                <a:lnTo>
                  <a:pt x="4136" y="448"/>
                </a:lnTo>
                <a:close/>
                <a:moveTo>
                  <a:pt x="4546" y="316"/>
                </a:moveTo>
                <a:cubicBezTo>
                  <a:pt x="4546" y="388"/>
                  <a:pt x="4516" y="432"/>
                  <a:pt x="4460" y="432"/>
                </a:cubicBezTo>
                <a:cubicBezTo>
                  <a:pt x="4424" y="432"/>
                  <a:pt x="4384" y="412"/>
                  <a:pt x="4384" y="384"/>
                </a:cubicBezTo>
                <a:cubicBezTo>
                  <a:pt x="4384" y="248"/>
                  <a:pt x="4384" y="248"/>
                  <a:pt x="4384" y="248"/>
                </a:cubicBezTo>
                <a:cubicBezTo>
                  <a:pt x="4384" y="226"/>
                  <a:pt x="4416" y="202"/>
                  <a:pt x="4454" y="202"/>
                </a:cubicBezTo>
                <a:cubicBezTo>
                  <a:pt x="4510" y="206"/>
                  <a:pt x="4546" y="248"/>
                  <a:pt x="4546" y="316"/>
                </a:cubicBezTo>
                <a:moveTo>
                  <a:pt x="4600" y="310"/>
                </a:moveTo>
                <a:cubicBezTo>
                  <a:pt x="4600" y="230"/>
                  <a:pt x="4548" y="170"/>
                  <a:pt x="4478" y="170"/>
                </a:cubicBezTo>
                <a:cubicBezTo>
                  <a:pt x="4438" y="170"/>
                  <a:pt x="4406" y="188"/>
                  <a:pt x="4384" y="214"/>
                </a:cubicBezTo>
                <a:cubicBezTo>
                  <a:pt x="4384" y="174"/>
                  <a:pt x="4384" y="174"/>
                  <a:pt x="4384" y="174"/>
                </a:cubicBezTo>
                <a:cubicBezTo>
                  <a:pt x="4284" y="174"/>
                  <a:pt x="4284" y="174"/>
                  <a:pt x="4284" y="174"/>
                </a:cubicBezTo>
                <a:cubicBezTo>
                  <a:pt x="4284" y="186"/>
                  <a:pt x="4284" y="186"/>
                  <a:pt x="4284" y="186"/>
                </a:cubicBezTo>
                <a:cubicBezTo>
                  <a:pt x="4326" y="188"/>
                  <a:pt x="4332" y="190"/>
                  <a:pt x="4332" y="280"/>
                </a:cubicBezTo>
                <a:cubicBezTo>
                  <a:pt x="4332" y="466"/>
                  <a:pt x="4332" y="466"/>
                  <a:pt x="4332" y="466"/>
                </a:cubicBezTo>
                <a:cubicBezTo>
                  <a:pt x="4332" y="564"/>
                  <a:pt x="4334" y="570"/>
                  <a:pt x="4286" y="574"/>
                </a:cubicBezTo>
                <a:cubicBezTo>
                  <a:pt x="4286" y="588"/>
                  <a:pt x="4286" y="588"/>
                  <a:pt x="4286" y="588"/>
                </a:cubicBezTo>
                <a:cubicBezTo>
                  <a:pt x="4432" y="588"/>
                  <a:pt x="4432" y="588"/>
                  <a:pt x="4432" y="588"/>
                </a:cubicBezTo>
                <a:cubicBezTo>
                  <a:pt x="4432" y="574"/>
                  <a:pt x="4432" y="574"/>
                  <a:pt x="4432" y="574"/>
                </a:cubicBezTo>
                <a:cubicBezTo>
                  <a:pt x="4380" y="572"/>
                  <a:pt x="4384" y="564"/>
                  <a:pt x="4384" y="462"/>
                </a:cubicBezTo>
                <a:cubicBezTo>
                  <a:pt x="4384" y="424"/>
                  <a:pt x="4384" y="424"/>
                  <a:pt x="4384" y="424"/>
                </a:cubicBezTo>
                <a:cubicBezTo>
                  <a:pt x="4404" y="444"/>
                  <a:pt x="4436" y="454"/>
                  <a:pt x="4466" y="454"/>
                </a:cubicBezTo>
                <a:cubicBezTo>
                  <a:pt x="4548" y="454"/>
                  <a:pt x="4600" y="392"/>
                  <a:pt x="4600" y="310"/>
                </a:cubicBezTo>
                <a:moveTo>
                  <a:pt x="4792" y="382"/>
                </a:moveTo>
                <a:cubicBezTo>
                  <a:pt x="4792" y="404"/>
                  <a:pt x="4762" y="424"/>
                  <a:pt x="4736" y="424"/>
                </a:cubicBezTo>
                <a:cubicBezTo>
                  <a:pt x="4712" y="424"/>
                  <a:pt x="4694" y="410"/>
                  <a:pt x="4694" y="378"/>
                </a:cubicBezTo>
                <a:cubicBezTo>
                  <a:pt x="4694" y="322"/>
                  <a:pt x="4752" y="328"/>
                  <a:pt x="4792" y="306"/>
                </a:cubicBezTo>
                <a:cubicBezTo>
                  <a:pt x="4792" y="382"/>
                  <a:pt x="4792" y="382"/>
                  <a:pt x="4792" y="382"/>
                </a:cubicBezTo>
                <a:close/>
                <a:moveTo>
                  <a:pt x="5240" y="434"/>
                </a:moveTo>
                <a:cubicBezTo>
                  <a:pt x="5192" y="432"/>
                  <a:pt x="5192" y="430"/>
                  <a:pt x="5192" y="340"/>
                </a:cubicBezTo>
                <a:cubicBezTo>
                  <a:pt x="5192" y="278"/>
                  <a:pt x="5192" y="278"/>
                  <a:pt x="5192" y="278"/>
                </a:cubicBezTo>
                <a:cubicBezTo>
                  <a:pt x="5192" y="196"/>
                  <a:pt x="5146" y="170"/>
                  <a:pt x="5104" y="170"/>
                </a:cubicBezTo>
                <a:cubicBezTo>
                  <a:pt x="5068" y="170"/>
                  <a:pt x="5032" y="186"/>
                  <a:pt x="5004" y="222"/>
                </a:cubicBezTo>
                <a:cubicBezTo>
                  <a:pt x="5004" y="174"/>
                  <a:pt x="5004" y="174"/>
                  <a:pt x="5004" y="174"/>
                </a:cubicBezTo>
                <a:cubicBezTo>
                  <a:pt x="4902" y="174"/>
                  <a:pt x="4902" y="174"/>
                  <a:pt x="4902" y="174"/>
                </a:cubicBezTo>
                <a:cubicBezTo>
                  <a:pt x="4902" y="186"/>
                  <a:pt x="4902" y="186"/>
                  <a:pt x="4902" y="186"/>
                </a:cubicBezTo>
                <a:cubicBezTo>
                  <a:pt x="4946" y="188"/>
                  <a:pt x="4952" y="190"/>
                  <a:pt x="4952" y="266"/>
                </a:cubicBezTo>
                <a:cubicBezTo>
                  <a:pt x="4952" y="334"/>
                  <a:pt x="4952" y="334"/>
                  <a:pt x="4952" y="334"/>
                </a:cubicBezTo>
                <a:cubicBezTo>
                  <a:pt x="4952" y="430"/>
                  <a:pt x="4952" y="432"/>
                  <a:pt x="4904" y="434"/>
                </a:cubicBezTo>
                <a:cubicBezTo>
                  <a:pt x="4892" y="434"/>
                  <a:pt x="4892" y="434"/>
                  <a:pt x="4892" y="434"/>
                </a:cubicBezTo>
                <a:cubicBezTo>
                  <a:pt x="4854" y="434"/>
                  <a:pt x="4850" y="422"/>
                  <a:pt x="4850" y="366"/>
                </a:cubicBezTo>
                <a:cubicBezTo>
                  <a:pt x="4850" y="274"/>
                  <a:pt x="4850" y="274"/>
                  <a:pt x="4850" y="274"/>
                </a:cubicBezTo>
                <a:cubicBezTo>
                  <a:pt x="4850" y="256"/>
                  <a:pt x="4848" y="240"/>
                  <a:pt x="4844" y="228"/>
                </a:cubicBezTo>
                <a:cubicBezTo>
                  <a:pt x="4830" y="186"/>
                  <a:pt x="4796" y="170"/>
                  <a:pt x="4748" y="170"/>
                </a:cubicBezTo>
                <a:cubicBezTo>
                  <a:pt x="4718" y="170"/>
                  <a:pt x="4674" y="180"/>
                  <a:pt x="4650" y="202"/>
                </a:cubicBezTo>
                <a:cubicBezTo>
                  <a:pt x="4652" y="214"/>
                  <a:pt x="4664" y="240"/>
                  <a:pt x="4670" y="248"/>
                </a:cubicBezTo>
                <a:cubicBezTo>
                  <a:pt x="4676" y="246"/>
                  <a:pt x="4676" y="246"/>
                  <a:pt x="4676" y="246"/>
                </a:cubicBezTo>
                <a:cubicBezTo>
                  <a:pt x="4688" y="216"/>
                  <a:pt x="4708" y="194"/>
                  <a:pt x="4742" y="194"/>
                </a:cubicBezTo>
                <a:cubicBezTo>
                  <a:pt x="4778" y="194"/>
                  <a:pt x="4794" y="220"/>
                  <a:pt x="4794" y="250"/>
                </a:cubicBezTo>
                <a:cubicBezTo>
                  <a:pt x="4794" y="282"/>
                  <a:pt x="4794" y="282"/>
                  <a:pt x="4794" y="282"/>
                </a:cubicBezTo>
                <a:cubicBezTo>
                  <a:pt x="4794" y="302"/>
                  <a:pt x="4702" y="306"/>
                  <a:pt x="4664" y="338"/>
                </a:cubicBezTo>
                <a:cubicBezTo>
                  <a:pt x="4652" y="350"/>
                  <a:pt x="4642" y="364"/>
                  <a:pt x="4642" y="384"/>
                </a:cubicBezTo>
                <a:cubicBezTo>
                  <a:pt x="4642" y="426"/>
                  <a:pt x="4672" y="456"/>
                  <a:pt x="4716" y="456"/>
                </a:cubicBezTo>
                <a:cubicBezTo>
                  <a:pt x="4744" y="456"/>
                  <a:pt x="4768" y="446"/>
                  <a:pt x="4794" y="418"/>
                </a:cubicBezTo>
                <a:cubicBezTo>
                  <a:pt x="4798" y="438"/>
                  <a:pt x="4814" y="448"/>
                  <a:pt x="4842" y="448"/>
                </a:cubicBezTo>
                <a:cubicBezTo>
                  <a:pt x="4906" y="448"/>
                  <a:pt x="4906" y="448"/>
                  <a:pt x="4906" y="448"/>
                </a:cubicBezTo>
                <a:cubicBezTo>
                  <a:pt x="4906" y="448"/>
                  <a:pt x="4906" y="448"/>
                  <a:pt x="4906" y="448"/>
                </a:cubicBezTo>
                <a:cubicBezTo>
                  <a:pt x="5048" y="448"/>
                  <a:pt x="5048" y="448"/>
                  <a:pt x="5048" y="448"/>
                </a:cubicBezTo>
                <a:cubicBezTo>
                  <a:pt x="5048" y="436"/>
                  <a:pt x="5048" y="436"/>
                  <a:pt x="5048" y="436"/>
                </a:cubicBezTo>
                <a:cubicBezTo>
                  <a:pt x="5006" y="432"/>
                  <a:pt x="5004" y="434"/>
                  <a:pt x="5004" y="338"/>
                </a:cubicBezTo>
                <a:cubicBezTo>
                  <a:pt x="5004" y="262"/>
                  <a:pt x="5004" y="262"/>
                  <a:pt x="5004" y="262"/>
                </a:cubicBezTo>
                <a:cubicBezTo>
                  <a:pt x="5004" y="236"/>
                  <a:pt x="5038" y="206"/>
                  <a:pt x="5080" y="206"/>
                </a:cubicBezTo>
                <a:cubicBezTo>
                  <a:pt x="5114" y="206"/>
                  <a:pt x="5140" y="220"/>
                  <a:pt x="5140" y="286"/>
                </a:cubicBezTo>
                <a:cubicBezTo>
                  <a:pt x="5140" y="340"/>
                  <a:pt x="5140" y="340"/>
                  <a:pt x="5140" y="340"/>
                </a:cubicBezTo>
                <a:cubicBezTo>
                  <a:pt x="5140" y="432"/>
                  <a:pt x="5136" y="432"/>
                  <a:pt x="5098" y="434"/>
                </a:cubicBezTo>
                <a:cubicBezTo>
                  <a:pt x="5098" y="446"/>
                  <a:pt x="5098" y="446"/>
                  <a:pt x="5098" y="446"/>
                </a:cubicBezTo>
                <a:cubicBezTo>
                  <a:pt x="5240" y="446"/>
                  <a:pt x="5240" y="446"/>
                  <a:pt x="5240" y="446"/>
                </a:cubicBezTo>
                <a:lnTo>
                  <a:pt x="5240" y="434"/>
                </a:lnTo>
                <a:close/>
                <a:moveTo>
                  <a:pt x="5516" y="192"/>
                </a:moveTo>
                <a:cubicBezTo>
                  <a:pt x="5516" y="180"/>
                  <a:pt x="5516" y="180"/>
                  <a:pt x="5516" y="180"/>
                </a:cubicBezTo>
                <a:cubicBezTo>
                  <a:pt x="5418" y="180"/>
                  <a:pt x="5418" y="180"/>
                  <a:pt x="5418" y="180"/>
                </a:cubicBezTo>
                <a:cubicBezTo>
                  <a:pt x="5418" y="192"/>
                  <a:pt x="5418" y="192"/>
                  <a:pt x="5418" y="192"/>
                </a:cubicBezTo>
                <a:cubicBezTo>
                  <a:pt x="5442" y="194"/>
                  <a:pt x="5454" y="206"/>
                  <a:pt x="5446" y="234"/>
                </a:cubicBezTo>
                <a:cubicBezTo>
                  <a:pt x="5394" y="390"/>
                  <a:pt x="5394" y="390"/>
                  <a:pt x="5394" y="390"/>
                </a:cubicBezTo>
                <a:cubicBezTo>
                  <a:pt x="5342" y="270"/>
                  <a:pt x="5342" y="270"/>
                  <a:pt x="5342" y="270"/>
                </a:cubicBezTo>
                <a:cubicBezTo>
                  <a:pt x="5328" y="238"/>
                  <a:pt x="5322" y="224"/>
                  <a:pt x="5322" y="212"/>
                </a:cubicBezTo>
                <a:cubicBezTo>
                  <a:pt x="5322" y="202"/>
                  <a:pt x="5328" y="196"/>
                  <a:pt x="5348" y="192"/>
                </a:cubicBezTo>
                <a:cubicBezTo>
                  <a:pt x="5348" y="180"/>
                  <a:pt x="5348" y="180"/>
                  <a:pt x="5348" y="180"/>
                </a:cubicBezTo>
                <a:cubicBezTo>
                  <a:pt x="5220" y="180"/>
                  <a:pt x="5220" y="180"/>
                  <a:pt x="5220" y="180"/>
                </a:cubicBezTo>
                <a:cubicBezTo>
                  <a:pt x="5220" y="192"/>
                  <a:pt x="5220" y="192"/>
                  <a:pt x="5220" y="192"/>
                </a:cubicBezTo>
                <a:cubicBezTo>
                  <a:pt x="5252" y="194"/>
                  <a:pt x="5254" y="198"/>
                  <a:pt x="5296" y="292"/>
                </a:cubicBezTo>
                <a:cubicBezTo>
                  <a:pt x="5368" y="450"/>
                  <a:pt x="5368" y="450"/>
                  <a:pt x="5368" y="450"/>
                </a:cubicBezTo>
                <a:cubicBezTo>
                  <a:pt x="5344" y="512"/>
                  <a:pt x="5306" y="546"/>
                  <a:pt x="5228" y="564"/>
                </a:cubicBezTo>
                <a:cubicBezTo>
                  <a:pt x="5232" y="576"/>
                  <a:pt x="5246" y="600"/>
                  <a:pt x="5254" y="606"/>
                </a:cubicBezTo>
                <a:cubicBezTo>
                  <a:pt x="5356" y="564"/>
                  <a:pt x="5376" y="498"/>
                  <a:pt x="5412" y="396"/>
                </a:cubicBezTo>
                <a:cubicBezTo>
                  <a:pt x="5466" y="242"/>
                  <a:pt x="5466" y="242"/>
                  <a:pt x="5466" y="242"/>
                </a:cubicBezTo>
                <a:cubicBezTo>
                  <a:pt x="5478" y="206"/>
                  <a:pt x="5498" y="192"/>
                  <a:pt x="5516" y="192"/>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600" kern="1200">
                <a:solidFill>
                  <a:schemeClr val="tx1"/>
                </a:solidFill>
                <a:latin typeface="Arial" charset="0"/>
                <a:ea typeface="+mn-ea"/>
                <a:cs typeface="+mn-cs"/>
              </a:defRPr>
            </a:lvl1pPr>
            <a:lvl2pPr marL="457200" algn="l" rtl="0" fontAlgn="base">
              <a:spcBef>
                <a:spcPct val="0"/>
              </a:spcBef>
              <a:spcAft>
                <a:spcPct val="0"/>
              </a:spcAft>
              <a:defRPr sz="1600" kern="1200">
                <a:solidFill>
                  <a:schemeClr val="tx1"/>
                </a:solidFill>
                <a:latin typeface="Arial" charset="0"/>
                <a:ea typeface="+mn-ea"/>
                <a:cs typeface="+mn-cs"/>
              </a:defRPr>
            </a:lvl2pPr>
            <a:lvl3pPr marL="914400" algn="l" rtl="0" fontAlgn="base">
              <a:spcBef>
                <a:spcPct val="0"/>
              </a:spcBef>
              <a:spcAft>
                <a:spcPct val="0"/>
              </a:spcAft>
              <a:defRPr sz="1600" kern="1200">
                <a:solidFill>
                  <a:schemeClr val="tx1"/>
                </a:solidFill>
                <a:latin typeface="Arial" charset="0"/>
                <a:ea typeface="+mn-ea"/>
                <a:cs typeface="+mn-cs"/>
              </a:defRPr>
            </a:lvl3pPr>
            <a:lvl4pPr marL="1371600" algn="l" rtl="0" fontAlgn="base">
              <a:spcBef>
                <a:spcPct val="0"/>
              </a:spcBef>
              <a:spcAft>
                <a:spcPct val="0"/>
              </a:spcAft>
              <a:defRPr sz="1600" kern="1200">
                <a:solidFill>
                  <a:schemeClr val="tx1"/>
                </a:solidFill>
                <a:latin typeface="Arial" charset="0"/>
                <a:ea typeface="+mn-ea"/>
                <a:cs typeface="+mn-cs"/>
              </a:defRPr>
            </a:lvl4pPr>
            <a:lvl5pPr marL="1828800" algn="l" rtl="0" fontAlgn="base">
              <a:spcBef>
                <a:spcPct val="0"/>
              </a:spcBef>
              <a:spcAft>
                <a:spcPct val="0"/>
              </a:spcAft>
              <a:defRPr sz="1600" kern="1200">
                <a:solidFill>
                  <a:schemeClr val="tx1"/>
                </a:solidFill>
                <a:latin typeface="Arial" charset="0"/>
                <a:ea typeface="+mn-ea"/>
                <a:cs typeface="+mn-cs"/>
              </a:defRPr>
            </a:lvl5pPr>
            <a:lvl6pPr marL="2286000" algn="l" defTabSz="914400" rtl="0" eaLnBrk="1" latinLnBrk="0" hangingPunct="1">
              <a:defRPr sz="1600" kern="1200">
                <a:solidFill>
                  <a:schemeClr val="tx1"/>
                </a:solidFill>
                <a:latin typeface="Arial" charset="0"/>
                <a:ea typeface="+mn-ea"/>
                <a:cs typeface="+mn-cs"/>
              </a:defRPr>
            </a:lvl6pPr>
            <a:lvl7pPr marL="2743200" algn="l" defTabSz="914400" rtl="0" eaLnBrk="1" latinLnBrk="0" hangingPunct="1">
              <a:defRPr sz="1600" kern="1200">
                <a:solidFill>
                  <a:schemeClr val="tx1"/>
                </a:solidFill>
                <a:latin typeface="Arial" charset="0"/>
                <a:ea typeface="+mn-ea"/>
                <a:cs typeface="+mn-cs"/>
              </a:defRPr>
            </a:lvl7pPr>
            <a:lvl8pPr marL="3200400" algn="l" defTabSz="914400" rtl="0" eaLnBrk="1" latinLnBrk="0" hangingPunct="1">
              <a:defRPr sz="1600" kern="1200">
                <a:solidFill>
                  <a:schemeClr val="tx1"/>
                </a:solidFill>
                <a:latin typeface="Arial" charset="0"/>
                <a:ea typeface="+mn-ea"/>
                <a:cs typeface="+mn-cs"/>
              </a:defRPr>
            </a:lvl8pPr>
            <a:lvl9pPr marL="3657600" algn="l" defTabSz="914400" rtl="0" eaLnBrk="1" latinLnBrk="0" hangingPunct="1">
              <a:defRPr sz="1600" kern="1200">
                <a:solidFill>
                  <a:schemeClr val="tx1"/>
                </a:solidFill>
                <a:latin typeface="Arial" charset="0"/>
                <a:ea typeface="+mn-ea"/>
                <a:cs typeface="+mn-cs"/>
              </a:defRPr>
            </a:lvl9pPr>
          </a:lstStyle>
          <a:p>
            <a:endParaRPr lang="en-US" baseline="0" dirty="0">
              <a:solidFill>
                <a:srgbClr val="000000"/>
              </a:solidFill>
              <a:latin typeface="+mn-lt"/>
            </a:endParaRPr>
          </a:p>
        </p:txBody>
      </p:sp>
      <p:sp>
        <p:nvSpPr>
          <p:cNvPr id="27" name="Disclaimer-English (United States)" hidden="1"/>
          <p:cNvSpPr>
            <a:spLocks noChangeArrowheads="1"/>
          </p:cNvSpPr>
          <p:nvPr/>
        </p:nvSpPr>
        <p:spPr bwMode="black">
          <a:xfrm>
            <a:off x="2268266" y="6287785"/>
            <a:ext cx="3544453" cy="36908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t" anchorCtr="0">
            <a:noAutofit/>
          </a:bodyPr>
          <a:lstStyle/>
          <a:p>
            <a:pPr defTabSz="804863" eaLnBrk="0" hangingPunct="0"/>
            <a:r>
              <a:rPr lang="en-US" sz="800" baseline="0" dirty="0">
                <a:solidFill>
                  <a:srgbClr val="FFFFFF"/>
                </a:solidFill>
                <a:latin typeface="+mn-lt"/>
              </a:rPr>
              <a:t>CONFIDENTIAL AND PROPRIETARY</a:t>
            </a:r>
          </a:p>
          <a:p>
            <a:pPr defTabSz="804863" eaLnBrk="0" hangingPunct="0"/>
            <a:r>
              <a:rPr lang="en-US" sz="800" baseline="0" dirty="0">
                <a:solidFill>
                  <a:srgbClr val="FFFFFF"/>
                </a:solidFill>
                <a:latin typeface="+mn-lt"/>
              </a:rPr>
              <a:t>Any use of this material without specific permission of McKinsey &amp; Company is strictly prohibited</a:t>
            </a:r>
          </a:p>
        </p:txBody>
      </p:sp>
    </p:spTree>
    <p:extLst>
      <p:ext uri="{BB962C8B-B14F-4D97-AF65-F5344CB8AC3E}">
        <p14:creationId xmlns:p14="http://schemas.microsoft.com/office/powerpoint/2010/main" val="1227071800"/>
      </p:ext>
    </p:extLst>
  </p:cSld>
  <p:clrMapOvr>
    <a:masterClrMapping/>
  </p:clrMapOvr>
  <p:extLst mod="1">
    <p:ext uri="{DCECCB84-F9BA-43D5-87BE-67443E8EF086}">
      <p15:sldGuideLst xmlns:p15="http://schemas.microsoft.com/office/powerpoint/2012/main">
        <p15:guide id="1" orient="horz" pos="2117">
          <p15:clr>
            <a:srgbClr val="FBAE40"/>
          </p15:clr>
        </p15:guide>
        <p15:guide id="2" pos="1416">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pic>
        <p:nvPicPr>
          <p:cNvPr id="2" name="background"/>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0" y="198"/>
            <a:ext cx="8961438" cy="6721079"/>
          </a:xfrm>
          <a:prstGeom prst="rect">
            <a:avLst/>
          </a:prstGeom>
        </p:spPr>
      </p:pic>
      <p:sp>
        <p:nvSpPr>
          <p:cNvPr id="28" name="TitleRectangle"/>
          <p:cNvSpPr txBox="1">
            <a:spLocks/>
          </p:cNvSpPr>
          <p:nvPr/>
        </p:nvSpPr>
        <p:spPr>
          <a:xfrm>
            <a:off x="2084388" y="0"/>
            <a:ext cx="6875462" cy="3575976"/>
          </a:xfrm>
          <a:prstGeom prst="rect">
            <a:avLst/>
          </a:prstGeom>
          <a:solidFill>
            <a:srgbClr val="002960">
              <a:alpha val="92000"/>
            </a:srgbClr>
          </a:solidFill>
        </p:spPr>
        <p:txBody>
          <a:bodyPr vert="horz" wrap="square" lIns="216000" tIns="1440000" rIns="216000" bIns="108000" rtlCol="0">
            <a:noAutofit/>
          </a:bodyPr>
          <a:lstStyle>
            <a:lvl1pPr marL="0" indent="0" algn="l" defTabSz="914400" rtl="0" eaLnBrk="1" latinLnBrk="0" hangingPunct="1">
              <a:spcBef>
                <a:spcPct val="20000"/>
              </a:spcBef>
              <a:spcAft>
                <a:spcPts val="6000"/>
              </a:spcAft>
              <a:buFont typeface="Arial" pitchFamily="34" charset="0"/>
              <a:buNone/>
              <a:defRPr sz="3200" kern="1200">
                <a:solidFill>
                  <a:schemeClr val="accent1"/>
                </a:solidFill>
                <a:latin typeface="+mn-lt"/>
                <a:ea typeface="+mn-ea"/>
                <a:cs typeface="+mn-cs"/>
              </a:defRPr>
            </a:lvl1pPr>
            <a:lvl2pPr marL="0" indent="0" algn="l" defTabSz="914400" rtl="0" eaLnBrk="1" latinLnBrk="0" hangingPunct="1">
              <a:spcBef>
                <a:spcPct val="20000"/>
              </a:spcBef>
              <a:buFont typeface="Wingdings" charset="2"/>
              <a:buNone/>
              <a:defRPr sz="1400" kern="1200">
                <a:solidFill>
                  <a:schemeClr val="tx1">
                    <a:lumMod val="50000"/>
                    <a:lumOff val="50000"/>
                  </a:schemeClr>
                </a:solidFill>
                <a:latin typeface="+mn-lt"/>
                <a:ea typeface="+mn-ea"/>
                <a:cs typeface="+mn-cs"/>
              </a:defRPr>
            </a:lvl2pPr>
            <a:lvl3pPr marL="1143000" indent="-228600" algn="l" defTabSz="914400" rtl="0" eaLnBrk="1" latinLnBrk="0" hangingPunct="1">
              <a:spcBef>
                <a:spcPct val="20000"/>
              </a:spcBef>
              <a:buFont typeface="Lucida Grande"/>
              <a:buChar char="–"/>
              <a:defRPr sz="16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fontAlgn="auto">
              <a:defRPr/>
            </a:pPr>
            <a:r>
              <a:rPr lang="en-US" baseline="0" dirty="0">
                <a:solidFill>
                  <a:srgbClr val="00ADEF"/>
                </a:solidFill>
                <a:latin typeface="+mn-lt"/>
              </a:rPr>
              <a:t>
              </a:t>
            </a:r>
            <a:br>
              <a:rPr lang="en-US" baseline="0" dirty="0">
                <a:solidFill>
                  <a:srgbClr val="00ADEF"/>
                </a:solidFill>
                <a:latin typeface="+mn-lt"/>
              </a:rPr>
            </a:br>
            <a:endParaRPr lang="en-US" baseline="0" dirty="0">
              <a:solidFill>
                <a:srgbClr val="00ADEF"/>
              </a:solidFill>
              <a:latin typeface="+mn-lt"/>
            </a:endParaRPr>
          </a:p>
        </p:txBody>
      </p:sp>
      <p:graphicFrame>
        <p:nvGraphicFramePr>
          <p:cNvPr id="3" name="Object 2"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308"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Working Draft Text" hidden="1"/>
          <p:cNvSpPr txBox="1">
            <a:spLocks noChangeArrowheads="1"/>
          </p:cNvSpPr>
          <p:nvPr/>
        </p:nvSpPr>
        <p:spPr bwMode="black">
          <a:xfrm>
            <a:off x="5992719" y="6287538"/>
            <a:ext cx="2790000"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800" b="1" baseline="0" dirty="0">
                <a:solidFill>
                  <a:srgbClr val="FFFFFF"/>
                </a:solidFill>
                <a:latin typeface="+mn-lt"/>
              </a:rPr>
              <a:t>WORKING DRAFT</a:t>
            </a:r>
          </a:p>
        </p:txBody>
      </p:sp>
      <p:sp>
        <p:nvSpPr>
          <p:cNvPr id="6" name="Working Draft" hidden="1"/>
          <p:cNvSpPr txBox="1">
            <a:spLocks noChangeArrowheads="1"/>
          </p:cNvSpPr>
          <p:nvPr/>
        </p:nvSpPr>
        <p:spPr bwMode="black">
          <a:xfrm>
            <a:off x="5992718" y="6410648"/>
            <a:ext cx="2968719"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800" baseline="0">
                <a:solidFill>
                  <a:srgbClr val="FFFFFF"/>
                </a:solidFill>
                <a:latin typeface="+mn-lt"/>
              </a:rPr>
              <a:t>Last Modified 21/05/2018 17:44 India Standard Time</a:t>
            </a:r>
            <a:endParaRPr lang="en-US" sz="800" baseline="0" dirty="0">
              <a:solidFill>
                <a:srgbClr val="FFFFFF"/>
              </a:solidFill>
              <a:latin typeface="+mn-lt"/>
            </a:endParaRPr>
          </a:p>
        </p:txBody>
      </p:sp>
      <p:sp>
        <p:nvSpPr>
          <p:cNvPr id="7" name="Printed" hidden="1"/>
          <p:cNvSpPr txBox="1">
            <a:spLocks noChangeArrowheads="1"/>
          </p:cNvSpPr>
          <p:nvPr/>
        </p:nvSpPr>
        <p:spPr bwMode="black">
          <a:xfrm>
            <a:off x="5992719" y="6533759"/>
            <a:ext cx="2790000"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800" baseline="0" dirty="0">
                <a:solidFill>
                  <a:srgbClr val="FFFFFF"/>
                </a:solidFill>
                <a:latin typeface="+mn-lt"/>
              </a:rPr>
              <a:t>Printed</a:t>
            </a:r>
          </a:p>
        </p:txBody>
      </p:sp>
      <p:sp>
        <p:nvSpPr>
          <p:cNvPr id="13314" name="Title"/>
          <p:cNvSpPr>
            <a:spLocks noGrp="1" noChangeArrowheads="1"/>
          </p:cNvSpPr>
          <p:nvPr>
            <p:ph type="ctrTitle"/>
          </p:nvPr>
        </p:nvSpPr>
        <p:spPr>
          <a:xfrm>
            <a:off x="2268266" y="1434419"/>
            <a:ext cx="6231663" cy="492443"/>
          </a:xfrm>
          <a:prstGeom prst="rect">
            <a:avLst/>
          </a:prstGeom>
        </p:spPr>
        <p:txBody>
          <a:bodyPr>
            <a:spAutoFit/>
          </a:bodyPr>
          <a:lstStyle>
            <a:lvl1pPr>
              <a:defRPr sz="3200" b="0" baseline="0">
                <a:solidFill>
                  <a:schemeClr val="accent2"/>
                </a:solidFill>
                <a:latin typeface="+mj-lt"/>
                <a:ea typeface="+mj-ea"/>
              </a:defRPr>
            </a:lvl1pPr>
          </a:lstStyle>
          <a:p>
            <a:pPr lvl="0" latinLnBrk="0"/>
            <a:r>
              <a:rPr lang="en-US" noProof="0"/>
              <a:t>Click to edit Master title style</a:t>
            </a:r>
            <a:endParaRPr lang="en-US" noProof="0" dirty="0"/>
          </a:p>
        </p:txBody>
      </p:sp>
      <p:sp>
        <p:nvSpPr>
          <p:cNvPr id="13315" name="Subtitle"/>
          <p:cNvSpPr>
            <a:spLocks noGrp="1" noChangeArrowheads="1"/>
          </p:cNvSpPr>
          <p:nvPr>
            <p:ph type="subTitle" idx="1"/>
          </p:nvPr>
        </p:nvSpPr>
        <p:spPr>
          <a:xfrm>
            <a:off x="2268266" y="2819401"/>
            <a:ext cx="6231663" cy="215444"/>
          </a:xfrm>
          <a:prstGeom prst="rect">
            <a:avLst/>
          </a:prstGeom>
        </p:spPr>
        <p:txBody>
          <a:bodyPr wrap="square">
            <a:spAutoFit/>
          </a:bodyPr>
          <a:lstStyle>
            <a:lvl1pPr>
              <a:defRPr sz="1400" cap="all" baseline="0">
                <a:solidFill>
                  <a:schemeClr val="bg1"/>
                </a:solidFill>
                <a:latin typeface="+mn-lt"/>
                <a:ea typeface="+mn-ea"/>
              </a:defRPr>
            </a:lvl1pPr>
          </a:lstStyle>
          <a:p>
            <a:pPr lvl="0" latinLnBrk="0"/>
            <a:r>
              <a:rPr lang="en-US" noProof="0"/>
              <a:t>Click to edit Master subtitle style</a:t>
            </a:r>
            <a:endParaRPr lang="en-US" noProof="0" dirty="0"/>
          </a:p>
        </p:txBody>
      </p:sp>
      <p:sp>
        <p:nvSpPr>
          <p:cNvPr id="57" name="Document type" hidden="1"/>
          <p:cNvSpPr txBox="1">
            <a:spLocks noChangeArrowheads="1"/>
          </p:cNvSpPr>
          <p:nvPr/>
        </p:nvSpPr>
        <p:spPr bwMode="gray">
          <a:xfrm>
            <a:off x="2268266" y="3227411"/>
            <a:ext cx="6231663"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00" baseline="0" dirty="0">
                <a:solidFill>
                  <a:schemeClr val="bg1"/>
                </a:solidFill>
                <a:latin typeface="+mn-lt"/>
              </a:rPr>
              <a:t>Document type | Date</a:t>
            </a:r>
          </a:p>
        </p:txBody>
      </p:sp>
      <p:sp>
        <p:nvSpPr>
          <p:cNvPr id="5" name="doc id" hidden="1"/>
          <p:cNvSpPr txBox="1">
            <a:spLocks noChangeArrowheads="1"/>
          </p:cNvSpPr>
          <p:nvPr/>
        </p:nvSpPr>
        <p:spPr bwMode="white">
          <a:xfrm>
            <a:off x="8443913" y="36513"/>
            <a:ext cx="295275" cy="1222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hangingPunct="1">
              <a:defRPr/>
            </a:pPr>
            <a:endParaRPr lang="en-US" sz="800" baseline="0" dirty="0">
              <a:solidFill>
                <a:srgbClr val="FFFFFF"/>
              </a:solidFill>
              <a:latin typeface="+mn-lt"/>
            </a:endParaRPr>
          </a:p>
        </p:txBody>
      </p:sp>
      <p:sp>
        <p:nvSpPr>
          <p:cNvPr id="43" name="LogoImage"/>
          <p:cNvSpPr>
            <a:spLocks noEditPoints="1"/>
          </p:cNvSpPr>
          <p:nvPr/>
        </p:nvSpPr>
        <p:spPr bwMode="white">
          <a:xfrm>
            <a:off x="2269098" y="182925"/>
            <a:ext cx="2176978" cy="238073"/>
          </a:xfrm>
          <a:custGeom>
            <a:avLst/>
            <a:gdLst>
              <a:gd name="T0" fmla="*/ 504 w 5516"/>
              <a:gd name="T1" fmla="*/ 26 h 606"/>
              <a:gd name="T2" fmla="*/ 18 w 5516"/>
              <a:gd name="T3" fmla="*/ 22 h 606"/>
              <a:gd name="T4" fmla="*/ 140 w 5516"/>
              <a:gd name="T5" fmla="*/ 436 h 606"/>
              <a:gd name="T6" fmla="*/ 408 w 5516"/>
              <a:gd name="T7" fmla="*/ 372 h 606"/>
              <a:gd name="T8" fmla="*/ 696 w 5516"/>
              <a:gd name="T9" fmla="*/ 422 h 606"/>
              <a:gd name="T10" fmla="*/ 768 w 5516"/>
              <a:gd name="T11" fmla="*/ 196 h 606"/>
              <a:gd name="T12" fmla="*/ 1272 w 5516"/>
              <a:gd name="T13" fmla="*/ 26 h 606"/>
              <a:gd name="T14" fmla="*/ 1302 w 5516"/>
              <a:gd name="T15" fmla="*/ 338 h 606"/>
              <a:gd name="T16" fmla="*/ 1202 w 5516"/>
              <a:gd name="T17" fmla="*/ 436 h 606"/>
              <a:gd name="T18" fmla="*/ 1030 w 5516"/>
              <a:gd name="T19" fmla="*/ 10 h 606"/>
              <a:gd name="T20" fmla="*/ 960 w 5516"/>
              <a:gd name="T21" fmla="*/ 22 h 606"/>
              <a:gd name="T22" fmla="*/ 804 w 5516"/>
              <a:gd name="T23" fmla="*/ 434 h 606"/>
              <a:gd name="T24" fmla="*/ 930 w 5516"/>
              <a:gd name="T25" fmla="*/ 246 h 606"/>
              <a:gd name="T26" fmla="*/ 1658 w 5516"/>
              <a:gd name="T27" fmla="*/ 342 h 606"/>
              <a:gd name="T28" fmla="*/ 1368 w 5516"/>
              <a:gd name="T29" fmla="*/ 188 h 606"/>
              <a:gd name="T30" fmla="*/ 1514 w 5516"/>
              <a:gd name="T31" fmla="*/ 436 h 606"/>
              <a:gd name="T32" fmla="*/ 1564 w 5516"/>
              <a:gd name="T33" fmla="*/ 434 h 606"/>
              <a:gd name="T34" fmla="*/ 1904 w 5516"/>
              <a:gd name="T35" fmla="*/ 184 h 606"/>
              <a:gd name="T36" fmla="*/ 1728 w 5516"/>
              <a:gd name="T37" fmla="*/ 366 h 606"/>
              <a:gd name="T38" fmla="*/ 2102 w 5516"/>
              <a:gd name="T39" fmla="*/ 192 h 606"/>
              <a:gd name="T40" fmla="*/ 1982 w 5516"/>
              <a:gd name="T41" fmla="*/ 320 h 606"/>
              <a:gd name="T42" fmla="*/ 2478 w 5516"/>
              <a:gd name="T43" fmla="*/ 242 h 606"/>
              <a:gd name="T44" fmla="*/ 2406 w 5516"/>
              <a:gd name="T45" fmla="*/ 390 h 606"/>
              <a:gd name="T46" fmla="*/ 2234 w 5516"/>
              <a:gd name="T47" fmla="*/ 192 h 606"/>
              <a:gd name="T48" fmla="*/ 2478 w 5516"/>
              <a:gd name="T49" fmla="*/ 242 h 606"/>
              <a:gd name="T50" fmla="*/ 2928 w 5516"/>
              <a:gd name="T51" fmla="*/ 448 h 606"/>
              <a:gd name="T52" fmla="*/ 2958 w 5516"/>
              <a:gd name="T53" fmla="*/ 230 h 606"/>
              <a:gd name="T54" fmla="*/ 2716 w 5516"/>
              <a:gd name="T55" fmla="*/ 54 h 606"/>
              <a:gd name="T56" fmla="*/ 2714 w 5516"/>
              <a:gd name="T57" fmla="*/ 36 h 606"/>
              <a:gd name="T58" fmla="*/ 2928 w 5516"/>
              <a:gd name="T59" fmla="*/ 448 h 606"/>
              <a:gd name="T60" fmla="*/ 3388 w 5516"/>
              <a:gd name="T61" fmla="*/ 4 h 606"/>
              <a:gd name="T62" fmla="*/ 3396 w 5516"/>
              <a:gd name="T63" fmla="*/ 366 h 606"/>
              <a:gd name="T64" fmla="*/ 3580 w 5516"/>
              <a:gd name="T65" fmla="*/ 190 h 606"/>
              <a:gd name="T66" fmla="*/ 3502 w 5516"/>
              <a:gd name="T67" fmla="*/ 432 h 606"/>
              <a:gd name="T68" fmla="*/ 4232 w 5516"/>
              <a:gd name="T69" fmla="*/ 348 h 606"/>
              <a:gd name="T70" fmla="*/ 3858 w 5516"/>
              <a:gd name="T71" fmla="*/ 176 h 606"/>
              <a:gd name="T72" fmla="*/ 3758 w 5516"/>
              <a:gd name="T73" fmla="*/ 446 h 606"/>
              <a:gd name="T74" fmla="*/ 3990 w 5516"/>
              <a:gd name="T75" fmla="*/ 282 h 606"/>
              <a:gd name="T76" fmla="*/ 4042 w 5516"/>
              <a:gd name="T77" fmla="*/ 342 h 606"/>
              <a:gd name="T78" fmla="*/ 4134 w 5516"/>
              <a:gd name="T79" fmla="*/ 448 h 606"/>
              <a:gd name="T80" fmla="*/ 4454 w 5516"/>
              <a:gd name="T81" fmla="*/ 202 h 606"/>
              <a:gd name="T82" fmla="*/ 4284 w 5516"/>
              <a:gd name="T83" fmla="*/ 174 h 606"/>
              <a:gd name="T84" fmla="*/ 4432 w 5516"/>
              <a:gd name="T85" fmla="*/ 588 h 606"/>
              <a:gd name="T86" fmla="*/ 4792 w 5516"/>
              <a:gd name="T87" fmla="*/ 382 h 606"/>
              <a:gd name="T88" fmla="*/ 5192 w 5516"/>
              <a:gd name="T89" fmla="*/ 340 h 606"/>
              <a:gd name="T90" fmla="*/ 4902 w 5516"/>
              <a:gd name="T91" fmla="*/ 186 h 606"/>
              <a:gd name="T92" fmla="*/ 4850 w 5516"/>
              <a:gd name="T93" fmla="*/ 274 h 606"/>
              <a:gd name="T94" fmla="*/ 4742 w 5516"/>
              <a:gd name="T95" fmla="*/ 194 h 606"/>
              <a:gd name="T96" fmla="*/ 4794 w 5516"/>
              <a:gd name="T97" fmla="*/ 418 h 606"/>
              <a:gd name="T98" fmla="*/ 5004 w 5516"/>
              <a:gd name="T99" fmla="*/ 338 h 606"/>
              <a:gd name="T100" fmla="*/ 5098 w 5516"/>
              <a:gd name="T101" fmla="*/ 446 h 606"/>
              <a:gd name="T102" fmla="*/ 5418 w 5516"/>
              <a:gd name="T103" fmla="*/ 192 h 606"/>
              <a:gd name="T104" fmla="*/ 5348 w 5516"/>
              <a:gd name="T105" fmla="*/ 180 h 606"/>
              <a:gd name="T106" fmla="*/ 5254 w 5516"/>
              <a:gd name="T107" fmla="*/ 606 h 6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516" h="606">
                <a:moveTo>
                  <a:pt x="366" y="448"/>
                </a:moveTo>
                <a:cubicBezTo>
                  <a:pt x="524" y="448"/>
                  <a:pt x="524" y="448"/>
                  <a:pt x="524" y="448"/>
                </a:cubicBezTo>
                <a:cubicBezTo>
                  <a:pt x="524" y="436"/>
                  <a:pt x="524" y="436"/>
                  <a:pt x="524" y="436"/>
                </a:cubicBezTo>
                <a:cubicBezTo>
                  <a:pt x="486" y="432"/>
                  <a:pt x="470" y="414"/>
                  <a:pt x="468" y="362"/>
                </a:cubicBezTo>
                <a:cubicBezTo>
                  <a:pt x="454" y="86"/>
                  <a:pt x="454" y="86"/>
                  <a:pt x="454" y="86"/>
                </a:cubicBezTo>
                <a:cubicBezTo>
                  <a:pt x="452" y="46"/>
                  <a:pt x="470" y="30"/>
                  <a:pt x="504" y="26"/>
                </a:cubicBezTo>
                <a:cubicBezTo>
                  <a:pt x="504" y="12"/>
                  <a:pt x="504" y="12"/>
                  <a:pt x="504" y="12"/>
                </a:cubicBezTo>
                <a:cubicBezTo>
                  <a:pt x="394" y="12"/>
                  <a:pt x="394" y="12"/>
                  <a:pt x="394" y="12"/>
                </a:cubicBezTo>
                <a:cubicBezTo>
                  <a:pt x="264" y="350"/>
                  <a:pt x="264" y="350"/>
                  <a:pt x="264" y="350"/>
                </a:cubicBezTo>
                <a:cubicBezTo>
                  <a:pt x="132" y="10"/>
                  <a:pt x="132" y="10"/>
                  <a:pt x="132" y="10"/>
                </a:cubicBezTo>
                <a:cubicBezTo>
                  <a:pt x="18" y="10"/>
                  <a:pt x="18" y="10"/>
                  <a:pt x="18" y="10"/>
                </a:cubicBezTo>
                <a:cubicBezTo>
                  <a:pt x="18" y="22"/>
                  <a:pt x="18" y="22"/>
                  <a:pt x="18" y="22"/>
                </a:cubicBezTo>
                <a:cubicBezTo>
                  <a:pt x="40" y="26"/>
                  <a:pt x="74" y="32"/>
                  <a:pt x="72" y="84"/>
                </a:cubicBezTo>
                <a:cubicBezTo>
                  <a:pt x="58" y="352"/>
                  <a:pt x="58" y="352"/>
                  <a:pt x="58" y="352"/>
                </a:cubicBezTo>
                <a:cubicBezTo>
                  <a:pt x="54" y="410"/>
                  <a:pt x="38" y="430"/>
                  <a:pt x="0" y="436"/>
                </a:cubicBezTo>
                <a:cubicBezTo>
                  <a:pt x="0" y="448"/>
                  <a:pt x="0" y="448"/>
                  <a:pt x="0" y="448"/>
                </a:cubicBezTo>
                <a:cubicBezTo>
                  <a:pt x="140" y="448"/>
                  <a:pt x="140" y="448"/>
                  <a:pt x="140" y="448"/>
                </a:cubicBezTo>
                <a:cubicBezTo>
                  <a:pt x="140" y="436"/>
                  <a:pt x="140" y="436"/>
                  <a:pt x="140" y="436"/>
                </a:cubicBezTo>
                <a:cubicBezTo>
                  <a:pt x="98" y="428"/>
                  <a:pt x="84" y="414"/>
                  <a:pt x="88" y="356"/>
                </a:cubicBezTo>
                <a:cubicBezTo>
                  <a:pt x="100" y="86"/>
                  <a:pt x="100" y="86"/>
                  <a:pt x="100" y="86"/>
                </a:cubicBezTo>
                <a:cubicBezTo>
                  <a:pt x="240" y="444"/>
                  <a:pt x="240" y="444"/>
                  <a:pt x="240" y="444"/>
                </a:cubicBezTo>
                <a:cubicBezTo>
                  <a:pt x="258" y="444"/>
                  <a:pt x="258" y="444"/>
                  <a:pt x="258" y="444"/>
                </a:cubicBezTo>
                <a:cubicBezTo>
                  <a:pt x="396" y="86"/>
                  <a:pt x="396" y="86"/>
                  <a:pt x="396" y="86"/>
                </a:cubicBezTo>
                <a:cubicBezTo>
                  <a:pt x="408" y="372"/>
                  <a:pt x="408" y="372"/>
                  <a:pt x="408" y="372"/>
                </a:cubicBezTo>
                <a:cubicBezTo>
                  <a:pt x="410" y="416"/>
                  <a:pt x="398" y="430"/>
                  <a:pt x="366" y="434"/>
                </a:cubicBezTo>
                <a:lnTo>
                  <a:pt x="366" y="448"/>
                </a:lnTo>
                <a:close/>
                <a:moveTo>
                  <a:pt x="670" y="456"/>
                </a:moveTo>
                <a:cubicBezTo>
                  <a:pt x="708" y="456"/>
                  <a:pt x="756" y="440"/>
                  <a:pt x="782" y="412"/>
                </a:cubicBezTo>
                <a:cubicBezTo>
                  <a:pt x="776" y="400"/>
                  <a:pt x="776" y="400"/>
                  <a:pt x="776" y="400"/>
                </a:cubicBezTo>
                <a:cubicBezTo>
                  <a:pt x="750" y="416"/>
                  <a:pt x="722" y="422"/>
                  <a:pt x="696" y="422"/>
                </a:cubicBezTo>
                <a:cubicBezTo>
                  <a:pt x="620" y="422"/>
                  <a:pt x="592" y="358"/>
                  <a:pt x="592" y="290"/>
                </a:cubicBezTo>
                <a:cubicBezTo>
                  <a:pt x="592" y="258"/>
                  <a:pt x="600" y="236"/>
                  <a:pt x="614" y="222"/>
                </a:cubicBezTo>
                <a:cubicBezTo>
                  <a:pt x="626" y="210"/>
                  <a:pt x="646" y="204"/>
                  <a:pt x="664" y="204"/>
                </a:cubicBezTo>
                <a:cubicBezTo>
                  <a:pt x="690" y="204"/>
                  <a:pt x="722" y="214"/>
                  <a:pt x="744" y="244"/>
                </a:cubicBezTo>
                <a:cubicBezTo>
                  <a:pt x="750" y="244"/>
                  <a:pt x="750" y="244"/>
                  <a:pt x="750" y="244"/>
                </a:cubicBezTo>
                <a:cubicBezTo>
                  <a:pt x="758" y="234"/>
                  <a:pt x="766" y="212"/>
                  <a:pt x="768" y="196"/>
                </a:cubicBezTo>
                <a:cubicBezTo>
                  <a:pt x="748" y="180"/>
                  <a:pt x="720" y="172"/>
                  <a:pt x="686" y="172"/>
                </a:cubicBezTo>
                <a:cubicBezTo>
                  <a:pt x="604" y="172"/>
                  <a:pt x="544" y="246"/>
                  <a:pt x="544" y="326"/>
                </a:cubicBezTo>
                <a:cubicBezTo>
                  <a:pt x="540" y="390"/>
                  <a:pt x="576" y="456"/>
                  <a:pt x="670" y="456"/>
                </a:cubicBezTo>
                <a:moveTo>
                  <a:pt x="1272" y="98"/>
                </a:moveTo>
                <a:cubicBezTo>
                  <a:pt x="1292" y="98"/>
                  <a:pt x="1308" y="82"/>
                  <a:pt x="1308" y="62"/>
                </a:cubicBezTo>
                <a:cubicBezTo>
                  <a:pt x="1308" y="42"/>
                  <a:pt x="1292" y="26"/>
                  <a:pt x="1272" y="26"/>
                </a:cubicBezTo>
                <a:cubicBezTo>
                  <a:pt x="1252" y="26"/>
                  <a:pt x="1238" y="42"/>
                  <a:pt x="1238" y="62"/>
                </a:cubicBezTo>
                <a:cubicBezTo>
                  <a:pt x="1238" y="82"/>
                  <a:pt x="1252" y="98"/>
                  <a:pt x="1272" y="98"/>
                </a:cubicBezTo>
                <a:moveTo>
                  <a:pt x="1202" y="448"/>
                </a:moveTo>
                <a:cubicBezTo>
                  <a:pt x="1346" y="448"/>
                  <a:pt x="1346" y="448"/>
                  <a:pt x="1346" y="448"/>
                </a:cubicBezTo>
                <a:cubicBezTo>
                  <a:pt x="1346" y="436"/>
                  <a:pt x="1346" y="436"/>
                  <a:pt x="1346" y="436"/>
                </a:cubicBezTo>
                <a:cubicBezTo>
                  <a:pt x="1304" y="432"/>
                  <a:pt x="1302" y="434"/>
                  <a:pt x="1302" y="338"/>
                </a:cubicBezTo>
                <a:cubicBezTo>
                  <a:pt x="1302" y="176"/>
                  <a:pt x="1302" y="176"/>
                  <a:pt x="1302" y="176"/>
                </a:cubicBezTo>
                <a:cubicBezTo>
                  <a:pt x="1200" y="176"/>
                  <a:pt x="1200" y="176"/>
                  <a:pt x="1200" y="176"/>
                </a:cubicBezTo>
                <a:cubicBezTo>
                  <a:pt x="1200" y="188"/>
                  <a:pt x="1200" y="188"/>
                  <a:pt x="1200" y="188"/>
                </a:cubicBezTo>
                <a:cubicBezTo>
                  <a:pt x="1244" y="190"/>
                  <a:pt x="1250" y="192"/>
                  <a:pt x="1250" y="268"/>
                </a:cubicBezTo>
                <a:cubicBezTo>
                  <a:pt x="1250" y="336"/>
                  <a:pt x="1250" y="336"/>
                  <a:pt x="1250" y="336"/>
                </a:cubicBezTo>
                <a:cubicBezTo>
                  <a:pt x="1250" y="432"/>
                  <a:pt x="1248" y="432"/>
                  <a:pt x="1202" y="436"/>
                </a:cubicBezTo>
                <a:cubicBezTo>
                  <a:pt x="1178" y="434"/>
                  <a:pt x="1154" y="426"/>
                  <a:pt x="1076" y="338"/>
                </a:cubicBezTo>
                <a:cubicBezTo>
                  <a:pt x="1046" y="302"/>
                  <a:pt x="996" y="244"/>
                  <a:pt x="968" y="206"/>
                </a:cubicBezTo>
                <a:cubicBezTo>
                  <a:pt x="1062" y="102"/>
                  <a:pt x="1062" y="102"/>
                  <a:pt x="1062" y="102"/>
                </a:cubicBezTo>
                <a:cubicBezTo>
                  <a:pt x="1108" y="52"/>
                  <a:pt x="1132" y="26"/>
                  <a:pt x="1176" y="24"/>
                </a:cubicBezTo>
                <a:cubicBezTo>
                  <a:pt x="1176" y="10"/>
                  <a:pt x="1176" y="10"/>
                  <a:pt x="1176" y="10"/>
                </a:cubicBezTo>
                <a:cubicBezTo>
                  <a:pt x="1030" y="10"/>
                  <a:pt x="1030" y="10"/>
                  <a:pt x="1030" y="10"/>
                </a:cubicBezTo>
                <a:cubicBezTo>
                  <a:pt x="1030" y="22"/>
                  <a:pt x="1030" y="22"/>
                  <a:pt x="1030" y="22"/>
                </a:cubicBezTo>
                <a:cubicBezTo>
                  <a:pt x="1050" y="26"/>
                  <a:pt x="1056" y="32"/>
                  <a:pt x="1056" y="46"/>
                </a:cubicBezTo>
                <a:cubicBezTo>
                  <a:pt x="1056" y="56"/>
                  <a:pt x="1054" y="72"/>
                  <a:pt x="1026" y="102"/>
                </a:cubicBezTo>
                <a:cubicBezTo>
                  <a:pt x="910" y="230"/>
                  <a:pt x="910" y="230"/>
                  <a:pt x="910" y="230"/>
                </a:cubicBezTo>
                <a:cubicBezTo>
                  <a:pt x="910" y="148"/>
                  <a:pt x="910" y="148"/>
                  <a:pt x="910" y="148"/>
                </a:cubicBezTo>
                <a:cubicBezTo>
                  <a:pt x="910" y="36"/>
                  <a:pt x="916" y="28"/>
                  <a:pt x="960" y="22"/>
                </a:cubicBezTo>
                <a:cubicBezTo>
                  <a:pt x="960" y="8"/>
                  <a:pt x="960" y="8"/>
                  <a:pt x="960" y="8"/>
                </a:cubicBezTo>
                <a:cubicBezTo>
                  <a:pt x="804" y="8"/>
                  <a:pt x="804" y="8"/>
                  <a:pt x="804" y="8"/>
                </a:cubicBezTo>
                <a:cubicBezTo>
                  <a:pt x="804" y="22"/>
                  <a:pt x="804" y="22"/>
                  <a:pt x="804" y="22"/>
                </a:cubicBezTo>
                <a:cubicBezTo>
                  <a:pt x="852" y="26"/>
                  <a:pt x="854" y="36"/>
                  <a:pt x="854" y="148"/>
                </a:cubicBezTo>
                <a:cubicBezTo>
                  <a:pt x="854" y="300"/>
                  <a:pt x="854" y="300"/>
                  <a:pt x="854" y="300"/>
                </a:cubicBezTo>
                <a:cubicBezTo>
                  <a:pt x="854" y="422"/>
                  <a:pt x="850" y="430"/>
                  <a:pt x="804" y="434"/>
                </a:cubicBezTo>
                <a:cubicBezTo>
                  <a:pt x="804" y="446"/>
                  <a:pt x="804" y="446"/>
                  <a:pt x="804" y="446"/>
                </a:cubicBezTo>
                <a:cubicBezTo>
                  <a:pt x="960" y="446"/>
                  <a:pt x="960" y="446"/>
                  <a:pt x="960" y="446"/>
                </a:cubicBezTo>
                <a:cubicBezTo>
                  <a:pt x="960" y="434"/>
                  <a:pt x="960" y="434"/>
                  <a:pt x="960" y="434"/>
                </a:cubicBezTo>
                <a:cubicBezTo>
                  <a:pt x="910" y="428"/>
                  <a:pt x="910" y="424"/>
                  <a:pt x="910" y="292"/>
                </a:cubicBezTo>
                <a:cubicBezTo>
                  <a:pt x="910" y="268"/>
                  <a:pt x="910" y="268"/>
                  <a:pt x="910" y="268"/>
                </a:cubicBezTo>
                <a:cubicBezTo>
                  <a:pt x="930" y="246"/>
                  <a:pt x="930" y="246"/>
                  <a:pt x="930" y="246"/>
                </a:cubicBezTo>
                <a:cubicBezTo>
                  <a:pt x="982" y="310"/>
                  <a:pt x="1038" y="380"/>
                  <a:pt x="1098" y="448"/>
                </a:cubicBezTo>
                <a:cubicBezTo>
                  <a:pt x="1202" y="448"/>
                  <a:pt x="1202" y="448"/>
                  <a:pt x="1202" y="448"/>
                </a:cubicBezTo>
                <a:close/>
                <a:moveTo>
                  <a:pt x="1564" y="448"/>
                </a:moveTo>
                <a:cubicBezTo>
                  <a:pt x="1706" y="448"/>
                  <a:pt x="1706" y="448"/>
                  <a:pt x="1706" y="448"/>
                </a:cubicBezTo>
                <a:cubicBezTo>
                  <a:pt x="1706" y="436"/>
                  <a:pt x="1706" y="436"/>
                  <a:pt x="1706" y="436"/>
                </a:cubicBezTo>
                <a:cubicBezTo>
                  <a:pt x="1658" y="434"/>
                  <a:pt x="1658" y="432"/>
                  <a:pt x="1658" y="342"/>
                </a:cubicBezTo>
                <a:cubicBezTo>
                  <a:pt x="1658" y="280"/>
                  <a:pt x="1658" y="280"/>
                  <a:pt x="1658" y="280"/>
                </a:cubicBezTo>
                <a:cubicBezTo>
                  <a:pt x="1658" y="198"/>
                  <a:pt x="1612" y="172"/>
                  <a:pt x="1570" y="172"/>
                </a:cubicBezTo>
                <a:cubicBezTo>
                  <a:pt x="1534" y="172"/>
                  <a:pt x="1498" y="188"/>
                  <a:pt x="1470" y="224"/>
                </a:cubicBezTo>
                <a:cubicBezTo>
                  <a:pt x="1470" y="176"/>
                  <a:pt x="1470" y="176"/>
                  <a:pt x="1470" y="176"/>
                </a:cubicBezTo>
                <a:cubicBezTo>
                  <a:pt x="1368" y="176"/>
                  <a:pt x="1368" y="176"/>
                  <a:pt x="1368" y="176"/>
                </a:cubicBezTo>
                <a:cubicBezTo>
                  <a:pt x="1368" y="188"/>
                  <a:pt x="1368" y="188"/>
                  <a:pt x="1368" y="188"/>
                </a:cubicBezTo>
                <a:cubicBezTo>
                  <a:pt x="1412" y="190"/>
                  <a:pt x="1418" y="192"/>
                  <a:pt x="1418" y="268"/>
                </a:cubicBezTo>
                <a:cubicBezTo>
                  <a:pt x="1418" y="336"/>
                  <a:pt x="1418" y="336"/>
                  <a:pt x="1418" y="336"/>
                </a:cubicBezTo>
                <a:cubicBezTo>
                  <a:pt x="1418" y="434"/>
                  <a:pt x="1418" y="434"/>
                  <a:pt x="1370" y="436"/>
                </a:cubicBezTo>
                <a:cubicBezTo>
                  <a:pt x="1370" y="448"/>
                  <a:pt x="1370" y="448"/>
                  <a:pt x="1370" y="448"/>
                </a:cubicBezTo>
                <a:cubicBezTo>
                  <a:pt x="1514" y="448"/>
                  <a:pt x="1514" y="448"/>
                  <a:pt x="1514" y="448"/>
                </a:cubicBezTo>
                <a:cubicBezTo>
                  <a:pt x="1514" y="436"/>
                  <a:pt x="1514" y="436"/>
                  <a:pt x="1514" y="436"/>
                </a:cubicBezTo>
                <a:cubicBezTo>
                  <a:pt x="1472" y="432"/>
                  <a:pt x="1470" y="434"/>
                  <a:pt x="1470" y="338"/>
                </a:cubicBezTo>
                <a:cubicBezTo>
                  <a:pt x="1470" y="262"/>
                  <a:pt x="1470" y="262"/>
                  <a:pt x="1470" y="262"/>
                </a:cubicBezTo>
                <a:cubicBezTo>
                  <a:pt x="1470" y="236"/>
                  <a:pt x="1504" y="206"/>
                  <a:pt x="1546" y="206"/>
                </a:cubicBezTo>
                <a:cubicBezTo>
                  <a:pt x="1580" y="206"/>
                  <a:pt x="1606" y="220"/>
                  <a:pt x="1606" y="286"/>
                </a:cubicBezTo>
                <a:cubicBezTo>
                  <a:pt x="1606" y="340"/>
                  <a:pt x="1606" y="340"/>
                  <a:pt x="1606" y="340"/>
                </a:cubicBezTo>
                <a:cubicBezTo>
                  <a:pt x="1606" y="432"/>
                  <a:pt x="1602" y="432"/>
                  <a:pt x="1564" y="434"/>
                </a:cubicBezTo>
                <a:lnTo>
                  <a:pt x="1564" y="448"/>
                </a:lnTo>
                <a:close/>
                <a:moveTo>
                  <a:pt x="1776" y="222"/>
                </a:moveTo>
                <a:cubicBezTo>
                  <a:pt x="1776" y="200"/>
                  <a:pt x="1796" y="188"/>
                  <a:pt x="1822" y="188"/>
                </a:cubicBezTo>
                <a:cubicBezTo>
                  <a:pt x="1874" y="188"/>
                  <a:pt x="1896" y="236"/>
                  <a:pt x="1900" y="252"/>
                </a:cubicBezTo>
                <a:cubicBezTo>
                  <a:pt x="1912" y="252"/>
                  <a:pt x="1912" y="252"/>
                  <a:pt x="1912" y="252"/>
                </a:cubicBezTo>
                <a:cubicBezTo>
                  <a:pt x="1912" y="212"/>
                  <a:pt x="1908" y="188"/>
                  <a:pt x="1904" y="184"/>
                </a:cubicBezTo>
                <a:cubicBezTo>
                  <a:pt x="1900" y="180"/>
                  <a:pt x="1862" y="170"/>
                  <a:pt x="1824" y="170"/>
                </a:cubicBezTo>
                <a:cubicBezTo>
                  <a:pt x="1768" y="170"/>
                  <a:pt x="1734" y="206"/>
                  <a:pt x="1734" y="248"/>
                </a:cubicBezTo>
                <a:cubicBezTo>
                  <a:pt x="1734" y="340"/>
                  <a:pt x="1890" y="322"/>
                  <a:pt x="1890" y="396"/>
                </a:cubicBezTo>
                <a:cubicBezTo>
                  <a:pt x="1890" y="422"/>
                  <a:pt x="1866" y="436"/>
                  <a:pt x="1826" y="436"/>
                </a:cubicBezTo>
                <a:cubicBezTo>
                  <a:pt x="1788" y="436"/>
                  <a:pt x="1754" y="416"/>
                  <a:pt x="1744" y="366"/>
                </a:cubicBezTo>
                <a:cubicBezTo>
                  <a:pt x="1728" y="366"/>
                  <a:pt x="1728" y="366"/>
                  <a:pt x="1728" y="366"/>
                </a:cubicBezTo>
                <a:cubicBezTo>
                  <a:pt x="1728" y="386"/>
                  <a:pt x="1732" y="422"/>
                  <a:pt x="1734" y="428"/>
                </a:cubicBezTo>
                <a:cubicBezTo>
                  <a:pt x="1744" y="446"/>
                  <a:pt x="1788" y="454"/>
                  <a:pt x="1824" y="454"/>
                </a:cubicBezTo>
                <a:cubicBezTo>
                  <a:pt x="1888" y="454"/>
                  <a:pt x="1928" y="416"/>
                  <a:pt x="1928" y="372"/>
                </a:cubicBezTo>
                <a:cubicBezTo>
                  <a:pt x="1932" y="270"/>
                  <a:pt x="1776" y="286"/>
                  <a:pt x="1776" y="222"/>
                </a:cubicBezTo>
                <a:moveTo>
                  <a:pt x="2030" y="270"/>
                </a:moveTo>
                <a:cubicBezTo>
                  <a:pt x="2034" y="220"/>
                  <a:pt x="2058" y="192"/>
                  <a:pt x="2102" y="192"/>
                </a:cubicBezTo>
                <a:cubicBezTo>
                  <a:pt x="2144" y="192"/>
                  <a:pt x="2170" y="220"/>
                  <a:pt x="2172" y="270"/>
                </a:cubicBezTo>
                <a:lnTo>
                  <a:pt x="2030" y="270"/>
                </a:lnTo>
                <a:close/>
                <a:moveTo>
                  <a:pt x="2030" y="290"/>
                </a:moveTo>
                <a:cubicBezTo>
                  <a:pt x="2222" y="290"/>
                  <a:pt x="2222" y="290"/>
                  <a:pt x="2222" y="290"/>
                </a:cubicBezTo>
                <a:cubicBezTo>
                  <a:pt x="2226" y="228"/>
                  <a:pt x="2192" y="168"/>
                  <a:pt x="2114" y="168"/>
                </a:cubicBezTo>
                <a:cubicBezTo>
                  <a:pt x="2034" y="168"/>
                  <a:pt x="1982" y="232"/>
                  <a:pt x="1982" y="320"/>
                </a:cubicBezTo>
                <a:cubicBezTo>
                  <a:pt x="1982" y="388"/>
                  <a:pt x="2018" y="456"/>
                  <a:pt x="2112" y="456"/>
                </a:cubicBezTo>
                <a:cubicBezTo>
                  <a:pt x="2150" y="456"/>
                  <a:pt x="2198" y="440"/>
                  <a:pt x="2224" y="412"/>
                </a:cubicBezTo>
                <a:cubicBezTo>
                  <a:pt x="2218" y="400"/>
                  <a:pt x="2218" y="400"/>
                  <a:pt x="2218" y="400"/>
                </a:cubicBezTo>
                <a:cubicBezTo>
                  <a:pt x="2192" y="416"/>
                  <a:pt x="2164" y="422"/>
                  <a:pt x="2138" y="422"/>
                </a:cubicBezTo>
                <a:cubicBezTo>
                  <a:pt x="2058" y="420"/>
                  <a:pt x="2028" y="352"/>
                  <a:pt x="2030" y="290"/>
                </a:cubicBezTo>
                <a:moveTo>
                  <a:pt x="2478" y="242"/>
                </a:moveTo>
                <a:cubicBezTo>
                  <a:pt x="2490" y="206"/>
                  <a:pt x="2510" y="192"/>
                  <a:pt x="2528" y="192"/>
                </a:cubicBezTo>
                <a:cubicBezTo>
                  <a:pt x="2528" y="180"/>
                  <a:pt x="2528" y="180"/>
                  <a:pt x="2528" y="180"/>
                </a:cubicBezTo>
                <a:cubicBezTo>
                  <a:pt x="2430" y="180"/>
                  <a:pt x="2430" y="180"/>
                  <a:pt x="2430" y="180"/>
                </a:cubicBezTo>
                <a:cubicBezTo>
                  <a:pt x="2430" y="192"/>
                  <a:pt x="2430" y="192"/>
                  <a:pt x="2430" y="192"/>
                </a:cubicBezTo>
                <a:cubicBezTo>
                  <a:pt x="2454" y="194"/>
                  <a:pt x="2466" y="206"/>
                  <a:pt x="2458" y="234"/>
                </a:cubicBezTo>
                <a:cubicBezTo>
                  <a:pt x="2406" y="390"/>
                  <a:pt x="2406" y="390"/>
                  <a:pt x="2406" y="390"/>
                </a:cubicBezTo>
                <a:cubicBezTo>
                  <a:pt x="2354" y="270"/>
                  <a:pt x="2354" y="270"/>
                  <a:pt x="2354" y="270"/>
                </a:cubicBezTo>
                <a:cubicBezTo>
                  <a:pt x="2340" y="238"/>
                  <a:pt x="2334" y="224"/>
                  <a:pt x="2334" y="212"/>
                </a:cubicBezTo>
                <a:cubicBezTo>
                  <a:pt x="2334" y="202"/>
                  <a:pt x="2340" y="196"/>
                  <a:pt x="2360" y="192"/>
                </a:cubicBezTo>
                <a:cubicBezTo>
                  <a:pt x="2360" y="180"/>
                  <a:pt x="2360" y="180"/>
                  <a:pt x="2360" y="180"/>
                </a:cubicBezTo>
                <a:cubicBezTo>
                  <a:pt x="2234" y="180"/>
                  <a:pt x="2234" y="180"/>
                  <a:pt x="2234" y="180"/>
                </a:cubicBezTo>
                <a:cubicBezTo>
                  <a:pt x="2234" y="192"/>
                  <a:pt x="2234" y="192"/>
                  <a:pt x="2234" y="192"/>
                </a:cubicBezTo>
                <a:cubicBezTo>
                  <a:pt x="2266" y="194"/>
                  <a:pt x="2268" y="198"/>
                  <a:pt x="2310" y="292"/>
                </a:cubicBezTo>
                <a:cubicBezTo>
                  <a:pt x="2382" y="450"/>
                  <a:pt x="2382" y="450"/>
                  <a:pt x="2382" y="450"/>
                </a:cubicBezTo>
                <a:cubicBezTo>
                  <a:pt x="2358" y="512"/>
                  <a:pt x="2320" y="546"/>
                  <a:pt x="2242" y="564"/>
                </a:cubicBezTo>
                <a:cubicBezTo>
                  <a:pt x="2246" y="576"/>
                  <a:pt x="2260" y="600"/>
                  <a:pt x="2268" y="606"/>
                </a:cubicBezTo>
                <a:cubicBezTo>
                  <a:pt x="2370" y="564"/>
                  <a:pt x="2390" y="498"/>
                  <a:pt x="2426" y="396"/>
                </a:cubicBezTo>
                <a:lnTo>
                  <a:pt x="2478" y="242"/>
                </a:lnTo>
                <a:close/>
                <a:moveTo>
                  <a:pt x="2844" y="394"/>
                </a:moveTo>
                <a:cubicBezTo>
                  <a:pt x="2822" y="412"/>
                  <a:pt x="2782" y="416"/>
                  <a:pt x="2750" y="416"/>
                </a:cubicBezTo>
                <a:cubicBezTo>
                  <a:pt x="2670" y="416"/>
                  <a:pt x="2606" y="360"/>
                  <a:pt x="2606" y="284"/>
                </a:cubicBezTo>
                <a:cubicBezTo>
                  <a:pt x="2606" y="236"/>
                  <a:pt x="2626" y="206"/>
                  <a:pt x="2658" y="198"/>
                </a:cubicBezTo>
                <a:cubicBezTo>
                  <a:pt x="2698" y="266"/>
                  <a:pt x="2770" y="338"/>
                  <a:pt x="2844" y="394"/>
                </a:cubicBezTo>
                <a:moveTo>
                  <a:pt x="2928" y="448"/>
                </a:moveTo>
                <a:cubicBezTo>
                  <a:pt x="3022" y="448"/>
                  <a:pt x="3022" y="448"/>
                  <a:pt x="3022" y="448"/>
                </a:cubicBezTo>
                <a:cubicBezTo>
                  <a:pt x="3022" y="436"/>
                  <a:pt x="3022" y="436"/>
                  <a:pt x="3022" y="436"/>
                </a:cubicBezTo>
                <a:cubicBezTo>
                  <a:pt x="2992" y="432"/>
                  <a:pt x="2946" y="408"/>
                  <a:pt x="2896" y="372"/>
                </a:cubicBezTo>
                <a:cubicBezTo>
                  <a:pt x="2914" y="342"/>
                  <a:pt x="2918" y="300"/>
                  <a:pt x="2922" y="270"/>
                </a:cubicBezTo>
                <a:cubicBezTo>
                  <a:pt x="2926" y="244"/>
                  <a:pt x="2946" y="244"/>
                  <a:pt x="2958" y="242"/>
                </a:cubicBezTo>
                <a:cubicBezTo>
                  <a:pt x="2958" y="230"/>
                  <a:pt x="2958" y="230"/>
                  <a:pt x="2958" y="230"/>
                </a:cubicBezTo>
                <a:cubicBezTo>
                  <a:pt x="2834" y="230"/>
                  <a:pt x="2834" y="230"/>
                  <a:pt x="2834" y="230"/>
                </a:cubicBezTo>
                <a:cubicBezTo>
                  <a:pt x="2834" y="242"/>
                  <a:pt x="2834" y="242"/>
                  <a:pt x="2834" y="242"/>
                </a:cubicBezTo>
                <a:cubicBezTo>
                  <a:pt x="2864" y="246"/>
                  <a:pt x="2892" y="250"/>
                  <a:pt x="2892" y="294"/>
                </a:cubicBezTo>
                <a:cubicBezTo>
                  <a:pt x="2892" y="318"/>
                  <a:pt x="2888" y="342"/>
                  <a:pt x="2878" y="358"/>
                </a:cubicBezTo>
                <a:cubicBezTo>
                  <a:pt x="2770" y="274"/>
                  <a:pt x="2670" y="156"/>
                  <a:pt x="2670" y="96"/>
                </a:cubicBezTo>
                <a:cubicBezTo>
                  <a:pt x="2670" y="66"/>
                  <a:pt x="2688" y="54"/>
                  <a:pt x="2716" y="54"/>
                </a:cubicBezTo>
                <a:cubicBezTo>
                  <a:pt x="2752" y="54"/>
                  <a:pt x="2784" y="78"/>
                  <a:pt x="2800" y="124"/>
                </a:cubicBezTo>
                <a:cubicBezTo>
                  <a:pt x="2812" y="124"/>
                  <a:pt x="2812" y="124"/>
                  <a:pt x="2812" y="124"/>
                </a:cubicBezTo>
                <a:cubicBezTo>
                  <a:pt x="2810" y="42"/>
                  <a:pt x="2810" y="42"/>
                  <a:pt x="2810" y="42"/>
                </a:cubicBezTo>
                <a:cubicBezTo>
                  <a:pt x="2798" y="42"/>
                  <a:pt x="2798" y="42"/>
                  <a:pt x="2798" y="42"/>
                </a:cubicBezTo>
                <a:cubicBezTo>
                  <a:pt x="2798" y="48"/>
                  <a:pt x="2792" y="52"/>
                  <a:pt x="2788" y="52"/>
                </a:cubicBezTo>
                <a:cubicBezTo>
                  <a:pt x="2772" y="52"/>
                  <a:pt x="2752" y="36"/>
                  <a:pt x="2714" y="36"/>
                </a:cubicBezTo>
                <a:cubicBezTo>
                  <a:pt x="2672" y="36"/>
                  <a:pt x="2630" y="62"/>
                  <a:pt x="2630" y="118"/>
                </a:cubicBezTo>
                <a:cubicBezTo>
                  <a:pt x="2630" y="140"/>
                  <a:pt x="2636" y="160"/>
                  <a:pt x="2648" y="182"/>
                </a:cubicBezTo>
                <a:cubicBezTo>
                  <a:pt x="2592" y="200"/>
                  <a:pt x="2562" y="248"/>
                  <a:pt x="2562" y="304"/>
                </a:cubicBezTo>
                <a:cubicBezTo>
                  <a:pt x="2562" y="406"/>
                  <a:pt x="2640" y="460"/>
                  <a:pt x="2726" y="460"/>
                </a:cubicBezTo>
                <a:cubicBezTo>
                  <a:pt x="2780" y="460"/>
                  <a:pt x="2824" y="444"/>
                  <a:pt x="2862" y="410"/>
                </a:cubicBezTo>
                <a:cubicBezTo>
                  <a:pt x="2888" y="424"/>
                  <a:pt x="2912" y="442"/>
                  <a:pt x="2928" y="448"/>
                </a:cubicBezTo>
                <a:moveTo>
                  <a:pt x="3094" y="212"/>
                </a:moveTo>
                <a:cubicBezTo>
                  <a:pt x="3094" y="88"/>
                  <a:pt x="3154" y="20"/>
                  <a:pt x="3252" y="20"/>
                </a:cubicBezTo>
                <a:cubicBezTo>
                  <a:pt x="3328" y="20"/>
                  <a:pt x="3372" y="58"/>
                  <a:pt x="3392" y="134"/>
                </a:cubicBezTo>
                <a:cubicBezTo>
                  <a:pt x="3404" y="134"/>
                  <a:pt x="3404" y="134"/>
                  <a:pt x="3404" y="134"/>
                </a:cubicBezTo>
                <a:cubicBezTo>
                  <a:pt x="3400" y="4"/>
                  <a:pt x="3400" y="4"/>
                  <a:pt x="3400" y="4"/>
                </a:cubicBezTo>
                <a:cubicBezTo>
                  <a:pt x="3388" y="4"/>
                  <a:pt x="3388" y="4"/>
                  <a:pt x="3388" y="4"/>
                </a:cubicBezTo>
                <a:cubicBezTo>
                  <a:pt x="3384" y="14"/>
                  <a:pt x="3376" y="18"/>
                  <a:pt x="3364" y="18"/>
                </a:cubicBezTo>
                <a:cubicBezTo>
                  <a:pt x="3338" y="18"/>
                  <a:pt x="3314" y="0"/>
                  <a:pt x="3248" y="0"/>
                </a:cubicBezTo>
                <a:cubicBezTo>
                  <a:pt x="3118" y="0"/>
                  <a:pt x="3030" y="102"/>
                  <a:pt x="3030" y="242"/>
                </a:cubicBezTo>
                <a:cubicBezTo>
                  <a:pt x="3030" y="376"/>
                  <a:pt x="3110" y="460"/>
                  <a:pt x="3238" y="460"/>
                </a:cubicBezTo>
                <a:cubicBezTo>
                  <a:pt x="3320" y="460"/>
                  <a:pt x="3384" y="420"/>
                  <a:pt x="3408" y="380"/>
                </a:cubicBezTo>
                <a:cubicBezTo>
                  <a:pt x="3396" y="366"/>
                  <a:pt x="3396" y="366"/>
                  <a:pt x="3396" y="366"/>
                </a:cubicBezTo>
                <a:cubicBezTo>
                  <a:pt x="3370" y="402"/>
                  <a:pt x="3314" y="426"/>
                  <a:pt x="3256" y="426"/>
                </a:cubicBezTo>
                <a:cubicBezTo>
                  <a:pt x="3156" y="426"/>
                  <a:pt x="3094" y="340"/>
                  <a:pt x="3094" y="212"/>
                </a:cubicBezTo>
                <a:moveTo>
                  <a:pt x="3678" y="328"/>
                </a:moveTo>
                <a:cubicBezTo>
                  <a:pt x="3678" y="392"/>
                  <a:pt x="3650" y="430"/>
                  <a:pt x="3592" y="430"/>
                </a:cubicBezTo>
                <a:cubicBezTo>
                  <a:pt x="3542" y="430"/>
                  <a:pt x="3496" y="384"/>
                  <a:pt x="3496" y="292"/>
                </a:cubicBezTo>
                <a:cubicBezTo>
                  <a:pt x="3496" y="226"/>
                  <a:pt x="3528" y="190"/>
                  <a:pt x="3580" y="190"/>
                </a:cubicBezTo>
                <a:cubicBezTo>
                  <a:pt x="3628" y="192"/>
                  <a:pt x="3678" y="238"/>
                  <a:pt x="3678" y="328"/>
                </a:cubicBezTo>
                <a:moveTo>
                  <a:pt x="3732" y="312"/>
                </a:moveTo>
                <a:cubicBezTo>
                  <a:pt x="3732" y="260"/>
                  <a:pt x="3710" y="214"/>
                  <a:pt x="3672" y="190"/>
                </a:cubicBezTo>
                <a:cubicBezTo>
                  <a:pt x="3650" y="176"/>
                  <a:pt x="3620" y="168"/>
                  <a:pt x="3588" y="168"/>
                </a:cubicBezTo>
                <a:cubicBezTo>
                  <a:pt x="3502" y="168"/>
                  <a:pt x="3442" y="230"/>
                  <a:pt x="3442" y="310"/>
                </a:cubicBezTo>
                <a:cubicBezTo>
                  <a:pt x="3442" y="364"/>
                  <a:pt x="3464" y="408"/>
                  <a:pt x="3502" y="432"/>
                </a:cubicBezTo>
                <a:cubicBezTo>
                  <a:pt x="3524" y="446"/>
                  <a:pt x="3554" y="452"/>
                  <a:pt x="3586" y="452"/>
                </a:cubicBezTo>
                <a:cubicBezTo>
                  <a:pt x="3672" y="454"/>
                  <a:pt x="3732" y="394"/>
                  <a:pt x="3732" y="312"/>
                </a:cubicBezTo>
                <a:moveTo>
                  <a:pt x="4136" y="448"/>
                </a:moveTo>
                <a:cubicBezTo>
                  <a:pt x="4280" y="448"/>
                  <a:pt x="4280" y="448"/>
                  <a:pt x="4280" y="448"/>
                </a:cubicBezTo>
                <a:cubicBezTo>
                  <a:pt x="4280" y="436"/>
                  <a:pt x="4280" y="436"/>
                  <a:pt x="4280" y="436"/>
                </a:cubicBezTo>
                <a:cubicBezTo>
                  <a:pt x="4230" y="434"/>
                  <a:pt x="4232" y="426"/>
                  <a:pt x="4232" y="348"/>
                </a:cubicBezTo>
                <a:cubicBezTo>
                  <a:pt x="4232" y="276"/>
                  <a:pt x="4232" y="276"/>
                  <a:pt x="4232" y="276"/>
                </a:cubicBezTo>
                <a:cubicBezTo>
                  <a:pt x="4232" y="200"/>
                  <a:pt x="4190" y="172"/>
                  <a:pt x="4142" y="172"/>
                </a:cubicBezTo>
                <a:cubicBezTo>
                  <a:pt x="4098" y="172"/>
                  <a:pt x="4064" y="196"/>
                  <a:pt x="4038" y="232"/>
                </a:cubicBezTo>
                <a:cubicBezTo>
                  <a:pt x="4028" y="194"/>
                  <a:pt x="4000" y="172"/>
                  <a:pt x="3954" y="172"/>
                </a:cubicBezTo>
                <a:cubicBezTo>
                  <a:pt x="3916" y="172"/>
                  <a:pt x="3880" y="196"/>
                  <a:pt x="3858" y="224"/>
                </a:cubicBezTo>
                <a:cubicBezTo>
                  <a:pt x="3858" y="176"/>
                  <a:pt x="3858" y="176"/>
                  <a:pt x="3858" y="176"/>
                </a:cubicBezTo>
                <a:cubicBezTo>
                  <a:pt x="3756" y="176"/>
                  <a:pt x="3756" y="176"/>
                  <a:pt x="3756" y="176"/>
                </a:cubicBezTo>
                <a:cubicBezTo>
                  <a:pt x="3756" y="188"/>
                  <a:pt x="3756" y="188"/>
                  <a:pt x="3756" y="188"/>
                </a:cubicBezTo>
                <a:cubicBezTo>
                  <a:pt x="3800" y="190"/>
                  <a:pt x="3806" y="192"/>
                  <a:pt x="3806" y="268"/>
                </a:cubicBezTo>
                <a:cubicBezTo>
                  <a:pt x="3806" y="346"/>
                  <a:pt x="3806" y="346"/>
                  <a:pt x="3806" y="346"/>
                </a:cubicBezTo>
                <a:cubicBezTo>
                  <a:pt x="3806" y="434"/>
                  <a:pt x="3804" y="434"/>
                  <a:pt x="3758" y="434"/>
                </a:cubicBezTo>
                <a:cubicBezTo>
                  <a:pt x="3758" y="446"/>
                  <a:pt x="3758" y="446"/>
                  <a:pt x="3758" y="446"/>
                </a:cubicBezTo>
                <a:cubicBezTo>
                  <a:pt x="3902" y="446"/>
                  <a:pt x="3902" y="446"/>
                  <a:pt x="3902" y="446"/>
                </a:cubicBezTo>
                <a:cubicBezTo>
                  <a:pt x="3902" y="434"/>
                  <a:pt x="3902" y="434"/>
                  <a:pt x="3902" y="434"/>
                </a:cubicBezTo>
                <a:cubicBezTo>
                  <a:pt x="3862" y="430"/>
                  <a:pt x="3858" y="430"/>
                  <a:pt x="3858" y="342"/>
                </a:cubicBezTo>
                <a:cubicBezTo>
                  <a:pt x="3858" y="262"/>
                  <a:pt x="3858" y="262"/>
                  <a:pt x="3858" y="262"/>
                </a:cubicBezTo>
                <a:cubicBezTo>
                  <a:pt x="3858" y="234"/>
                  <a:pt x="3894" y="204"/>
                  <a:pt x="3932" y="204"/>
                </a:cubicBezTo>
                <a:cubicBezTo>
                  <a:pt x="3974" y="204"/>
                  <a:pt x="3990" y="226"/>
                  <a:pt x="3990" y="282"/>
                </a:cubicBezTo>
                <a:cubicBezTo>
                  <a:pt x="3990" y="338"/>
                  <a:pt x="3990" y="338"/>
                  <a:pt x="3990" y="338"/>
                </a:cubicBezTo>
                <a:cubicBezTo>
                  <a:pt x="3990" y="428"/>
                  <a:pt x="3988" y="432"/>
                  <a:pt x="3950" y="436"/>
                </a:cubicBezTo>
                <a:cubicBezTo>
                  <a:pt x="3950" y="448"/>
                  <a:pt x="3950" y="448"/>
                  <a:pt x="3950" y="448"/>
                </a:cubicBezTo>
                <a:cubicBezTo>
                  <a:pt x="4086" y="448"/>
                  <a:pt x="4086" y="448"/>
                  <a:pt x="4086" y="448"/>
                </a:cubicBezTo>
                <a:cubicBezTo>
                  <a:pt x="4086" y="436"/>
                  <a:pt x="4086" y="436"/>
                  <a:pt x="4086" y="436"/>
                </a:cubicBezTo>
                <a:cubicBezTo>
                  <a:pt x="4040" y="432"/>
                  <a:pt x="4042" y="428"/>
                  <a:pt x="4042" y="342"/>
                </a:cubicBezTo>
                <a:cubicBezTo>
                  <a:pt x="4042" y="264"/>
                  <a:pt x="4042" y="264"/>
                  <a:pt x="4042" y="264"/>
                </a:cubicBezTo>
                <a:cubicBezTo>
                  <a:pt x="4042" y="236"/>
                  <a:pt x="4078" y="206"/>
                  <a:pt x="4118" y="206"/>
                </a:cubicBezTo>
                <a:cubicBezTo>
                  <a:pt x="4152" y="206"/>
                  <a:pt x="4174" y="226"/>
                  <a:pt x="4174" y="284"/>
                </a:cubicBezTo>
                <a:cubicBezTo>
                  <a:pt x="4174" y="346"/>
                  <a:pt x="4174" y="346"/>
                  <a:pt x="4174" y="346"/>
                </a:cubicBezTo>
                <a:cubicBezTo>
                  <a:pt x="4174" y="428"/>
                  <a:pt x="4174" y="432"/>
                  <a:pt x="4134" y="436"/>
                </a:cubicBezTo>
                <a:cubicBezTo>
                  <a:pt x="4134" y="448"/>
                  <a:pt x="4134" y="448"/>
                  <a:pt x="4134" y="448"/>
                </a:cubicBezTo>
                <a:lnTo>
                  <a:pt x="4136" y="448"/>
                </a:lnTo>
                <a:close/>
                <a:moveTo>
                  <a:pt x="4546" y="316"/>
                </a:moveTo>
                <a:cubicBezTo>
                  <a:pt x="4546" y="388"/>
                  <a:pt x="4516" y="432"/>
                  <a:pt x="4460" y="432"/>
                </a:cubicBezTo>
                <a:cubicBezTo>
                  <a:pt x="4424" y="432"/>
                  <a:pt x="4384" y="412"/>
                  <a:pt x="4384" y="384"/>
                </a:cubicBezTo>
                <a:cubicBezTo>
                  <a:pt x="4384" y="248"/>
                  <a:pt x="4384" y="248"/>
                  <a:pt x="4384" y="248"/>
                </a:cubicBezTo>
                <a:cubicBezTo>
                  <a:pt x="4384" y="226"/>
                  <a:pt x="4416" y="202"/>
                  <a:pt x="4454" y="202"/>
                </a:cubicBezTo>
                <a:cubicBezTo>
                  <a:pt x="4510" y="206"/>
                  <a:pt x="4546" y="248"/>
                  <a:pt x="4546" y="316"/>
                </a:cubicBezTo>
                <a:moveTo>
                  <a:pt x="4600" y="310"/>
                </a:moveTo>
                <a:cubicBezTo>
                  <a:pt x="4600" y="230"/>
                  <a:pt x="4548" y="170"/>
                  <a:pt x="4478" y="170"/>
                </a:cubicBezTo>
                <a:cubicBezTo>
                  <a:pt x="4438" y="170"/>
                  <a:pt x="4406" y="188"/>
                  <a:pt x="4384" y="214"/>
                </a:cubicBezTo>
                <a:cubicBezTo>
                  <a:pt x="4384" y="174"/>
                  <a:pt x="4384" y="174"/>
                  <a:pt x="4384" y="174"/>
                </a:cubicBezTo>
                <a:cubicBezTo>
                  <a:pt x="4284" y="174"/>
                  <a:pt x="4284" y="174"/>
                  <a:pt x="4284" y="174"/>
                </a:cubicBezTo>
                <a:cubicBezTo>
                  <a:pt x="4284" y="186"/>
                  <a:pt x="4284" y="186"/>
                  <a:pt x="4284" y="186"/>
                </a:cubicBezTo>
                <a:cubicBezTo>
                  <a:pt x="4326" y="188"/>
                  <a:pt x="4332" y="190"/>
                  <a:pt x="4332" y="280"/>
                </a:cubicBezTo>
                <a:cubicBezTo>
                  <a:pt x="4332" y="466"/>
                  <a:pt x="4332" y="466"/>
                  <a:pt x="4332" y="466"/>
                </a:cubicBezTo>
                <a:cubicBezTo>
                  <a:pt x="4332" y="564"/>
                  <a:pt x="4334" y="570"/>
                  <a:pt x="4286" y="574"/>
                </a:cubicBezTo>
                <a:cubicBezTo>
                  <a:pt x="4286" y="588"/>
                  <a:pt x="4286" y="588"/>
                  <a:pt x="4286" y="588"/>
                </a:cubicBezTo>
                <a:cubicBezTo>
                  <a:pt x="4432" y="588"/>
                  <a:pt x="4432" y="588"/>
                  <a:pt x="4432" y="588"/>
                </a:cubicBezTo>
                <a:cubicBezTo>
                  <a:pt x="4432" y="574"/>
                  <a:pt x="4432" y="574"/>
                  <a:pt x="4432" y="574"/>
                </a:cubicBezTo>
                <a:cubicBezTo>
                  <a:pt x="4380" y="572"/>
                  <a:pt x="4384" y="564"/>
                  <a:pt x="4384" y="462"/>
                </a:cubicBezTo>
                <a:cubicBezTo>
                  <a:pt x="4384" y="424"/>
                  <a:pt x="4384" y="424"/>
                  <a:pt x="4384" y="424"/>
                </a:cubicBezTo>
                <a:cubicBezTo>
                  <a:pt x="4404" y="444"/>
                  <a:pt x="4436" y="454"/>
                  <a:pt x="4466" y="454"/>
                </a:cubicBezTo>
                <a:cubicBezTo>
                  <a:pt x="4548" y="454"/>
                  <a:pt x="4600" y="392"/>
                  <a:pt x="4600" y="310"/>
                </a:cubicBezTo>
                <a:moveTo>
                  <a:pt x="4792" y="382"/>
                </a:moveTo>
                <a:cubicBezTo>
                  <a:pt x="4792" y="404"/>
                  <a:pt x="4762" y="424"/>
                  <a:pt x="4736" y="424"/>
                </a:cubicBezTo>
                <a:cubicBezTo>
                  <a:pt x="4712" y="424"/>
                  <a:pt x="4694" y="410"/>
                  <a:pt x="4694" y="378"/>
                </a:cubicBezTo>
                <a:cubicBezTo>
                  <a:pt x="4694" y="322"/>
                  <a:pt x="4752" y="328"/>
                  <a:pt x="4792" y="306"/>
                </a:cubicBezTo>
                <a:cubicBezTo>
                  <a:pt x="4792" y="382"/>
                  <a:pt x="4792" y="382"/>
                  <a:pt x="4792" y="382"/>
                </a:cubicBezTo>
                <a:close/>
                <a:moveTo>
                  <a:pt x="5240" y="434"/>
                </a:moveTo>
                <a:cubicBezTo>
                  <a:pt x="5192" y="432"/>
                  <a:pt x="5192" y="430"/>
                  <a:pt x="5192" y="340"/>
                </a:cubicBezTo>
                <a:cubicBezTo>
                  <a:pt x="5192" y="278"/>
                  <a:pt x="5192" y="278"/>
                  <a:pt x="5192" y="278"/>
                </a:cubicBezTo>
                <a:cubicBezTo>
                  <a:pt x="5192" y="196"/>
                  <a:pt x="5146" y="170"/>
                  <a:pt x="5104" y="170"/>
                </a:cubicBezTo>
                <a:cubicBezTo>
                  <a:pt x="5068" y="170"/>
                  <a:pt x="5032" y="186"/>
                  <a:pt x="5004" y="222"/>
                </a:cubicBezTo>
                <a:cubicBezTo>
                  <a:pt x="5004" y="174"/>
                  <a:pt x="5004" y="174"/>
                  <a:pt x="5004" y="174"/>
                </a:cubicBezTo>
                <a:cubicBezTo>
                  <a:pt x="4902" y="174"/>
                  <a:pt x="4902" y="174"/>
                  <a:pt x="4902" y="174"/>
                </a:cubicBezTo>
                <a:cubicBezTo>
                  <a:pt x="4902" y="186"/>
                  <a:pt x="4902" y="186"/>
                  <a:pt x="4902" y="186"/>
                </a:cubicBezTo>
                <a:cubicBezTo>
                  <a:pt x="4946" y="188"/>
                  <a:pt x="4952" y="190"/>
                  <a:pt x="4952" y="266"/>
                </a:cubicBezTo>
                <a:cubicBezTo>
                  <a:pt x="4952" y="334"/>
                  <a:pt x="4952" y="334"/>
                  <a:pt x="4952" y="334"/>
                </a:cubicBezTo>
                <a:cubicBezTo>
                  <a:pt x="4952" y="430"/>
                  <a:pt x="4952" y="432"/>
                  <a:pt x="4904" y="434"/>
                </a:cubicBezTo>
                <a:cubicBezTo>
                  <a:pt x="4892" y="434"/>
                  <a:pt x="4892" y="434"/>
                  <a:pt x="4892" y="434"/>
                </a:cubicBezTo>
                <a:cubicBezTo>
                  <a:pt x="4854" y="434"/>
                  <a:pt x="4850" y="422"/>
                  <a:pt x="4850" y="366"/>
                </a:cubicBezTo>
                <a:cubicBezTo>
                  <a:pt x="4850" y="274"/>
                  <a:pt x="4850" y="274"/>
                  <a:pt x="4850" y="274"/>
                </a:cubicBezTo>
                <a:cubicBezTo>
                  <a:pt x="4850" y="256"/>
                  <a:pt x="4848" y="240"/>
                  <a:pt x="4844" y="228"/>
                </a:cubicBezTo>
                <a:cubicBezTo>
                  <a:pt x="4830" y="186"/>
                  <a:pt x="4796" y="170"/>
                  <a:pt x="4748" y="170"/>
                </a:cubicBezTo>
                <a:cubicBezTo>
                  <a:pt x="4718" y="170"/>
                  <a:pt x="4674" y="180"/>
                  <a:pt x="4650" y="202"/>
                </a:cubicBezTo>
                <a:cubicBezTo>
                  <a:pt x="4652" y="214"/>
                  <a:pt x="4664" y="240"/>
                  <a:pt x="4670" y="248"/>
                </a:cubicBezTo>
                <a:cubicBezTo>
                  <a:pt x="4676" y="246"/>
                  <a:pt x="4676" y="246"/>
                  <a:pt x="4676" y="246"/>
                </a:cubicBezTo>
                <a:cubicBezTo>
                  <a:pt x="4688" y="216"/>
                  <a:pt x="4708" y="194"/>
                  <a:pt x="4742" y="194"/>
                </a:cubicBezTo>
                <a:cubicBezTo>
                  <a:pt x="4778" y="194"/>
                  <a:pt x="4794" y="220"/>
                  <a:pt x="4794" y="250"/>
                </a:cubicBezTo>
                <a:cubicBezTo>
                  <a:pt x="4794" y="282"/>
                  <a:pt x="4794" y="282"/>
                  <a:pt x="4794" y="282"/>
                </a:cubicBezTo>
                <a:cubicBezTo>
                  <a:pt x="4794" y="302"/>
                  <a:pt x="4702" y="306"/>
                  <a:pt x="4664" y="338"/>
                </a:cubicBezTo>
                <a:cubicBezTo>
                  <a:pt x="4652" y="350"/>
                  <a:pt x="4642" y="364"/>
                  <a:pt x="4642" y="384"/>
                </a:cubicBezTo>
                <a:cubicBezTo>
                  <a:pt x="4642" y="426"/>
                  <a:pt x="4672" y="456"/>
                  <a:pt x="4716" y="456"/>
                </a:cubicBezTo>
                <a:cubicBezTo>
                  <a:pt x="4744" y="456"/>
                  <a:pt x="4768" y="446"/>
                  <a:pt x="4794" y="418"/>
                </a:cubicBezTo>
                <a:cubicBezTo>
                  <a:pt x="4798" y="438"/>
                  <a:pt x="4814" y="448"/>
                  <a:pt x="4842" y="448"/>
                </a:cubicBezTo>
                <a:cubicBezTo>
                  <a:pt x="4906" y="448"/>
                  <a:pt x="4906" y="448"/>
                  <a:pt x="4906" y="448"/>
                </a:cubicBezTo>
                <a:cubicBezTo>
                  <a:pt x="4906" y="448"/>
                  <a:pt x="4906" y="448"/>
                  <a:pt x="4906" y="448"/>
                </a:cubicBezTo>
                <a:cubicBezTo>
                  <a:pt x="5048" y="448"/>
                  <a:pt x="5048" y="448"/>
                  <a:pt x="5048" y="448"/>
                </a:cubicBezTo>
                <a:cubicBezTo>
                  <a:pt x="5048" y="436"/>
                  <a:pt x="5048" y="436"/>
                  <a:pt x="5048" y="436"/>
                </a:cubicBezTo>
                <a:cubicBezTo>
                  <a:pt x="5006" y="432"/>
                  <a:pt x="5004" y="434"/>
                  <a:pt x="5004" y="338"/>
                </a:cubicBezTo>
                <a:cubicBezTo>
                  <a:pt x="5004" y="262"/>
                  <a:pt x="5004" y="262"/>
                  <a:pt x="5004" y="262"/>
                </a:cubicBezTo>
                <a:cubicBezTo>
                  <a:pt x="5004" y="236"/>
                  <a:pt x="5038" y="206"/>
                  <a:pt x="5080" y="206"/>
                </a:cubicBezTo>
                <a:cubicBezTo>
                  <a:pt x="5114" y="206"/>
                  <a:pt x="5140" y="220"/>
                  <a:pt x="5140" y="286"/>
                </a:cubicBezTo>
                <a:cubicBezTo>
                  <a:pt x="5140" y="340"/>
                  <a:pt x="5140" y="340"/>
                  <a:pt x="5140" y="340"/>
                </a:cubicBezTo>
                <a:cubicBezTo>
                  <a:pt x="5140" y="432"/>
                  <a:pt x="5136" y="432"/>
                  <a:pt x="5098" y="434"/>
                </a:cubicBezTo>
                <a:cubicBezTo>
                  <a:pt x="5098" y="446"/>
                  <a:pt x="5098" y="446"/>
                  <a:pt x="5098" y="446"/>
                </a:cubicBezTo>
                <a:cubicBezTo>
                  <a:pt x="5240" y="446"/>
                  <a:pt x="5240" y="446"/>
                  <a:pt x="5240" y="446"/>
                </a:cubicBezTo>
                <a:lnTo>
                  <a:pt x="5240" y="434"/>
                </a:lnTo>
                <a:close/>
                <a:moveTo>
                  <a:pt x="5516" y="192"/>
                </a:moveTo>
                <a:cubicBezTo>
                  <a:pt x="5516" y="180"/>
                  <a:pt x="5516" y="180"/>
                  <a:pt x="5516" y="180"/>
                </a:cubicBezTo>
                <a:cubicBezTo>
                  <a:pt x="5418" y="180"/>
                  <a:pt x="5418" y="180"/>
                  <a:pt x="5418" y="180"/>
                </a:cubicBezTo>
                <a:cubicBezTo>
                  <a:pt x="5418" y="192"/>
                  <a:pt x="5418" y="192"/>
                  <a:pt x="5418" y="192"/>
                </a:cubicBezTo>
                <a:cubicBezTo>
                  <a:pt x="5442" y="194"/>
                  <a:pt x="5454" y="206"/>
                  <a:pt x="5446" y="234"/>
                </a:cubicBezTo>
                <a:cubicBezTo>
                  <a:pt x="5394" y="390"/>
                  <a:pt x="5394" y="390"/>
                  <a:pt x="5394" y="390"/>
                </a:cubicBezTo>
                <a:cubicBezTo>
                  <a:pt x="5342" y="270"/>
                  <a:pt x="5342" y="270"/>
                  <a:pt x="5342" y="270"/>
                </a:cubicBezTo>
                <a:cubicBezTo>
                  <a:pt x="5328" y="238"/>
                  <a:pt x="5322" y="224"/>
                  <a:pt x="5322" y="212"/>
                </a:cubicBezTo>
                <a:cubicBezTo>
                  <a:pt x="5322" y="202"/>
                  <a:pt x="5328" y="196"/>
                  <a:pt x="5348" y="192"/>
                </a:cubicBezTo>
                <a:cubicBezTo>
                  <a:pt x="5348" y="180"/>
                  <a:pt x="5348" y="180"/>
                  <a:pt x="5348" y="180"/>
                </a:cubicBezTo>
                <a:cubicBezTo>
                  <a:pt x="5220" y="180"/>
                  <a:pt x="5220" y="180"/>
                  <a:pt x="5220" y="180"/>
                </a:cubicBezTo>
                <a:cubicBezTo>
                  <a:pt x="5220" y="192"/>
                  <a:pt x="5220" y="192"/>
                  <a:pt x="5220" y="192"/>
                </a:cubicBezTo>
                <a:cubicBezTo>
                  <a:pt x="5252" y="194"/>
                  <a:pt x="5254" y="198"/>
                  <a:pt x="5296" y="292"/>
                </a:cubicBezTo>
                <a:cubicBezTo>
                  <a:pt x="5368" y="450"/>
                  <a:pt x="5368" y="450"/>
                  <a:pt x="5368" y="450"/>
                </a:cubicBezTo>
                <a:cubicBezTo>
                  <a:pt x="5344" y="512"/>
                  <a:pt x="5306" y="546"/>
                  <a:pt x="5228" y="564"/>
                </a:cubicBezTo>
                <a:cubicBezTo>
                  <a:pt x="5232" y="576"/>
                  <a:pt x="5246" y="600"/>
                  <a:pt x="5254" y="606"/>
                </a:cubicBezTo>
                <a:cubicBezTo>
                  <a:pt x="5356" y="564"/>
                  <a:pt x="5376" y="498"/>
                  <a:pt x="5412" y="396"/>
                </a:cubicBezTo>
                <a:cubicBezTo>
                  <a:pt x="5466" y="242"/>
                  <a:pt x="5466" y="242"/>
                  <a:pt x="5466" y="242"/>
                </a:cubicBezTo>
                <a:cubicBezTo>
                  <a:pt x="5478" y="206"/>
                  <a:pt x="5498" y="192"/>
                  <a:pt x="5516" y="192"/>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600" kern="1200">
                <a:solidFill>
                  <a:schemeClr val="tx1"/>
                </a:solidFill>
                <a:latin typeface="Arial" charset="0"/>
                <a:ea typeface="+mn-ea"/>
                <a:cs typeface="+mn-cs"/>
              </a:defRPr>
            </a:lvl1pPr>
            <a:lvl2pPr marL="457200" algn="l" rtl="0" fontAlgn="base">
              <a:spcBef>
                <a:spcPct val="0"/>
              </a:spcBef>
              <a:spcAft>
                <a:spcPct val="0"/>
              </a:spcAft>
              <a:defRPr sz="1600" kern="1200">
                <a:solidFill>
                  <a:schemeClr val="tx1"/>
                </a:solidFill>
                <a:latin typeface="Arial" charset="0"/>
                <a:ea typeface="+mn-ea"/>
                <a:cs typeface="+mn-cs"/>
              </a:defRPr>
            </a:lvl2pPr>
            <a:lvl3pPr marL="914400" algn="l" rtl="0" fontAlgn="base">
              <a:spcBef>
                <a:spcPct val="0"/>
              </a:spcBef>
              <a:spcAft>
                <a:spcPct val="0"/>
              </a:spcAft>
              <a:defRPr sz="1600" kern="1200">
                <a:solidFill>
                  <a:schemeClr val="tx1"/>
                </a:solidFill>
                <a:latin typeface="Arial" charset="0"/>
                <a:ea typeface="+mn-ea"/>
                <a:cs typeface="+mn-cs"/>
              </a:defRPr>
            </a:lvl3pPr>
            <a:lvl4pPr marL="1371600" algn="l" rtl="0" fontAlgn="base">
              <a:spcBef>
                <a:spcPct val="0"/>
              </a:spcBef>
              <a:spcAft>
                <a:spcPct val="0"/>
              </a:spcAft>
              <a:defRPr sz="1600" kern="1200">
                <a:solidFill>
                  <a:schemeClr val="tx1"/>
                </a:solidFill>
                <a:latin typeface="Arial" charset="0"/>
                <a:ea typeface="+mn-ea"/>
                <a:cs typeface="+mn-cs"/>
              </a:defRPr>
            </a:lvl4pPr>
            <a:lvl5pPr marL="1828800" algn="l" rtl="0" fontAlgn="base">
              <a:spcBef>
                <a:spcPct val="0"/>
              </a:spcBef>
              <a:spcAft>
                <a:spcPct val="0"/>
              </a:spcAft>
              <a:defRPr sz="1600" kern="1200">
                <a:solidFill>
                  <a:schemeClr val="tx1"/>
                </a:solidFill>
                <a:latin typeface="Arial" charset="0"/>
                <a:ea typeface="+mn-ea"/>
                <a:cs typeface="+mn-cs"/>
              </a:defRPr>
            </a:lvl5pPr>
            <a:lvl6pPr marL="2286000" algn="l" defTabSz="914400" rtl="0" eaLnBrk="1" latinLnBrk="0" hangingPunct="1">
              <a:defRPr sz="1600" kern="1200">
                <a:solidFill>
                  <a:schemeClr val="tx1"/>
                </a:solidFill>
                <a:latin typeface="Arial" charset="0"/>
                <a:ea typeface="+mn-ea"/>
                <a:cs typeface="+mn-cs"/>
              </a:defRPr>
            </a:lvl6pPr>
            <a:lvl7pPr marL="2743200" algn="l" defTabSz="914400" rtl="0" eaLnBrk="1" latinLnBrk="0" hangingPunct="1">
              <a:defRPr sz="1600" kern="1200">
                <a:solidFill>
                  <a:schemeClr val="tx1"/>
                </a:solidFill>
                <a:latin typeface="Arial" charset="0"/>
                <a:ea typeface="+mn-ea"/>
                <a:cs typeface="+mn-cs"/>
              </a:defRPr>
            </a:lvl7pPr>
            <a:lvl8pPr marL="3200400" algn="l" defTabSz="914400" rtl="0" eaLnBrk="1" latinLnBrk="0" hangingPunct="1">
              <a:defRPr sz="1600" kern="1200">
                <a:solidFill>
                  <a:schemeClr val="tx1"/>
                </a:solidFill>
                <a:latin typeface="Arial" charset="0"/>
                <a:ea typeface="+mn-ea"/>
                <a:cs typeface="+mn-cs"/>
              </a:defRPr>
            </a:lvl8pPr>
            <a:lvl9pPr marL="3657600" algn="l" defTabSz="914400" rtl="0" eaLnBrk="1" latinLnBrk="0" hangingPunct="1">
              <a:defRPr sz="1600" kern="1200">
                <a:solidFill>
                  <a:schemeClr val="tx1"/>
                </a:solidFill>
                <a:latin typeface="Arial" charset="0"/>
                <a:ea typeface="+mn-ea"/>
                <a:cs typeface="+mn-cs"/>
              </a:defRPr>
            </a:lvl9pPr>
          </a:lstStyle>
          <a:p>
            <a:endParaRPr lang="en-US" baseline="0" dirty="0">
              <a:solidFill>
                <a:srgbClr val="000000"/>
              </a:solidFill>
              <a:latin typeface="+mn-lt"/>
            </a:endParaRPr>
          </a:p>
        </p:txBody>
      </p:sp>
      <p:sp>
        <p:nvSpPr>
          <p:cNvPr id="27" name="Disclaimer-English (United States)" hidden="1"/>
          <p:cNvSpPr>
            <a:spLocks noChangeArrowheads="1"/>
          </p:cNvSpPr>
          <p:nvPr/>
        </p:nvSpPr>
        <p:spPr bwMode="black">
          <a:xfrm>
            <a:off x="2268266" y="6287785"/>
            <a:ext cx="3544453" cy="36908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t" anchorCtr="0">
            <a:noAutofit/>
          </a:bodyPr>
          <a:lstStyle/>
          <a:p>
            <a:pPr defTabSz="804863" eaLnBrk="0" hangingPunct="0"/>
            <a:r>
              <a:rPr lang="en-US" sz="800" baseline="0" dirty="0">
                <a:solidFill>
                  <a:srgbClr val="FFFFFF"/>
                </a:solidFill>
                <a:latin typeface="+mn-lt"/>
              </a:rPr>
              <a:t>CONFIDENTIAL AND PROPRIETARY</a:t>
            </a:r>
          </a:p>
          <a:p>
            <a:pPr defTabSz="804863" eaLnBrk="0" hangingPunct="0"/>
            <a:r>
              <a:rPr lang="en-US" sz="800" baseline="0" dirty="0">
                <a:solidFill>
                  <a:srgbClr val="FFFFFF"/>
                </a:solidFill>
                <a:latin typeface="+mn-lt"/>
              </a:rPr>
              <a:t>Any use of this material without specific permission of McKinsey &amp; Company is strictly prohibited</a:t>
            </a:r>
          </a:p>
        </p:txBody>
      </p:sp>
    </p:spTree>
    <p:extLst>
      <p:ext uri="{BB962C8B-B14F-4D97-AF65-F5344CB8AC3E}">
        <p14:creationId xmlns:p14="http://schemas.microsoft.com/office/powerpoint/2010/main" val="577910772"/>
      </p:ext>
    </p:extLst>
  </p:cSld>
  <p:clrMapOvr>
    <a:masterClrMapping/>
  </p:clrMapOvr>
  <p:extLst mod="1">
    <p:ext uri="{DCECCB84-F9BA-43D5-87BE-67443E8EF086}">
      <p15:sldGuideLst xmlns:p15="http://schemas.microsoft.com/office/powerpoint/2012/main">
        <p15:guide id="1" orient="horz" pos="2117">
          <p15:clr>
            <a:srgbClr val="FBAE40"/>
          </p15:clr>
        </p15:guide>
        <p15:guide id="2" pos="1416">
          <p15:clr>
            <a:srgbClr val="FBAE4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6E228F5-5CF1-42E1-9748-97D7582A107A}"/>
              </a:ext>
            </a:extLst>
          </p:cNvPr>
          <p:cNvGraphicFramePr>
            <a:graphicFrameLocks noChangeAspect="1"/>
          </p:cNvGraphicFramePr>
          <p:nvPr>
            <p:custDataLst>
              <p:tags r:id="rId2"/>
            </p:custDataLst>
            <p:extLst>
              <p:ext uri="{D42A27DB-BD31-4B8C-83A1-F6EECF244321}">
                <p14:modId xmlns:p14="http://schemas.microsoft.com/office/powerpoint/2010/main" val="161372107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5732" name="think-cell Slide" r:id="rId5" imgW="353" imgH="353" progId="TCLayout.ActiveDocument.1">
                  <p:embed/>
                </p:oleObj>
              </mc:Choice>
              <mc:Fallback>
                <p:oleObj name="think-cell Slide" r:id="rId5" imgW="353" imgH="353" progId="TCLayout.ActiveDocument.1">
                  <p:embed/>
                  <p:pic>
                    <p:nvPicPr>
                      <p:cNvPr id="3" name="Object 2" hidden="1">
                        <a:extLst>
                          <a:ext uri="{FF2B5EF4-FFF2-40B4-BE49-F238E27FC236}">
                            <a16:creationId xmlns:a16="http://schemas.microsoft.com/office/drawing/2014/main" id="{C6E228F5-5CF1-42E1-9748-97D7582A107A}"/>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2. Slide Title"/>
          <p:cNvSpPr>
            <a:spLocks noGrp="1"/>
          </p:cNvSpPr>
          <p:nvPr>
            <p:ph type="title"/>
          </p:nvPr>
        </p:nvSpPr>
        <p:spPr bwMode="auto"/>
        <p:txBody>
          <a:bodyPr/>
          <a:lstStyle/>
          <a:p>
            <a:r>
              <a:rPr lang="en-US"/>
              <a:t>Click to edit Master title style</a:t>
            </a:r>
            <a:endParaRPr lang="en-US" dirty="0"/>
          </a:p>
        </p:txBody>
      </p:sp>
      <p:sp>
        <p:nvSpPr>
          <p:cNvPr id="8" name="Slide Number"/>
          <p:cNvSpPr txBox="1">
            <a:spLocks/>
          </p:cNvSpPr>
          <p:nvPr/>
        </p:nvSpPr>
        <p:spPr bwMode="auto">
          <a:xfrm>
            <a:off x="8564563" y="6508272"/>
            <a:ext cx="125034" cy="123111"/>
          </a:xfrm>
          <a:prstGeom prst="rect">
            <a:avLst/>
          </a:prstGeom>
        </p:spPr>
        <p:txBody>
          <a:bodyPr vert="horz" wrap="none" lIns="0" tIns="0" rIns="0" bIns="0" rtlCol="0" anchor="ctr">
            <a:spAutoFit/>
          </a:bodyPr>
          <a:lstStyle>
            <a:defPPr>
              <a:defRPr lang="en-US"/>
            </a:defPPr>
            <a:lvl1pPr>
              <a:defRPr sz="1000" baseline="0">
                <a:latin typeface="+mn-lt"/>
              </a:defRPr>
            </a:lvl1pPr>
          </a:lstStyle>
          <a:p>
            <a:fld id="{42C328C1-A84F-4A39-A664-DBA00541A8C6}" type="slidenum">
              <a:rPr lang="en-US" sz="800" baseline="0" smtClean="0">
                <a:solidFill>
                  <a:srgbClr val="808080"/>
                </a:solidFill>
                <a:latin typeface="+mn-lt"/>
              </a:rPr>
              <a:pPr/>
              <a:t>‹#›</a:t>
            </a:fld>
            <a:endParaRPr lang="en-US" sz="800" baseline="0" dirty="0">
              <a:solidFill>
                <a:srgbClr val="808080"/>
              </a:solidFill>
              <a:latin typeface="+mn-lt"/>
            </a:endParaRPr>
          </a:p>
        </p:txBody>
      </p:sp>
      <p:sp>
        <p:nvSpPr>
          <p:cNvPr id="9" name="SlideLogoText"/>
          <p:cNvSpPr>
            <a:spLocks noChangeArrowheads="1"/>
          </p:cNvSpPr>
          <p:nvPr>
            <p:custDataLst>
              <p:tags r:id="rId3"/>
            </p:custDataLst>
          </p:nvPr>
        </p:nvSpPr>
        <p:spPr bwMode="auto">
          <a:xfrm>
            <a:off x="7450817" y="6508272"/>
            <a:ext cx="1013098"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algn="r" defTabSz="895350"/>
            <a:r>
              <a:rPr lang="en-US" sz="800" baseline="0" dirty="0">
                <a:solidFill>
                  <a:srgbClr val="808080"/>
                </a:solidFill>
                <a:latin typeface="+mn-lt"/>
              </a:rPr>
              <a:t>McKinsey &amp; Company</a:t>
            </a:r>
          </a:p>
        </p:txBody>
      </p:sp>
      <p:sp>
        <p:nvSpPr>
          <p:cNvPr id="5" name="doc id" hidden="1"/>
          <p:cNvSpPr txBox="1">
            <a:spLocks noChangeArrowheads="1"/>
          </p:cNvSpPr>
          <p:nvPr/>
        </p:nvSpPr>
        <p:spPr bwMode="white">
          <a:xfrm>
            <a:off x="8104473" y="36513"/>
            <a:ext cx="634716" cy="115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hangingPunct="1">
              <a:defRPr/>
            </a:pPr>
            <a:endParaRPr lang="en-US" sz="800" baseline="0" dirty="0">
              <a:solidFill>
                <a:schemeClr val="accent1"/>
              </a:solidFill>
              <a:latin typeface="+mn-lt"/>
              <a:ea typeface="+mn-ea"/>
            </a:endParaRPr>
          </a:p>
        </p:txBody>
      </p:sp>
    </p:spTree>
    <p:extLst>
      <p:ext uri="{BB962C8B-B14F-4D97-AF65-F5344CB8AC3E}">
        <p14:creationId xmlns:p14="http://schemas.microsoft.com/office/powerpoint/2010/main" val="1907132759"/>
      </p:ext>
    </p:extLst>
  </p:cSld>
  <p:clrMapOvr>
    <a:masterClrMapping/>
  </p:clrMapOvr>
  <p:extLst mod="1">
    <p:ext uri="{DCECCB84-F9BA-43D5-87BE-67443E8EF086}">
      <p15:sldGuideLst xmlns:p15="http://schemas.microsoft.com/office/powerpoint/2012/main">
        <p15:guide id="1" pos="5505">
          <p15:clr>
            <a:srgbClr val="F26B43"/>
          </p15:clr>
        </p15:guide>
        <p15:guide id="2" pos="74">
          <p15:clr>
            <a:srgbClr val="F26B43"/>
          </p15:clr>
        </p15:guide>
        <p15:guide id="3" orient="horz" pos="571">
          <p15:clr>
            <a:srgbClr val="F26B43"/>
          </p15:clr>
        </p15:guide>
        <p15:guide id="4" orient="horz" pos="3911">
          <p15:clr>
            <a:srgbClr val="F26B43"/>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p:cSld name="1_Title Only">
    <p:bg>
      <p:bgPr>
        <a:solidFill>
          <a:schemeClr val="accent2"/>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F4AD34F-3B47-47E2-A09C-FFEB949F6A10}"/>
              </a:ext>
            </a:extLst>
          </p:cNvPr>
          <p:cNvGraphicFramePr>
            <a:graphicFrameLocks noChangeAspect="1"/>
          </p:cNvGraphicFramePr>
          <p:nvPr>
            <p:custDataLst>
              <p:tags r:id="rId2"/>
            </p:custDataLst>
            <p:extLst>
              <p:ext uri="{D42A27DB-BD31-4B8C-83A1-F6EECF244321}">
                <p14:modId xmlns:p14="http://schemas.microsoft.com/office/powerpoint/2010/main" val="191508725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6756" name="think-cell Slide" r:id="rId5" imgW="395" imgH="394" progId="TCLayout.ActiveDocument.1">
                  <p:embed/>
                </p:oleObj>
              </mc:Choice>
              <mc:Fallback>
                <p:oleObj name="think-cell Slide" r:id="rId5" imgW="395" imgH="394" progId="TCLayout.ActiveDocument.1">
                  <p:embed/>
                  <p:pic>
                    <p:nvPicPr>
                      <p:cNvPr id="3" name="Object 2" hidden="1">
                        <a:extLst>
                          <a:ext uri="{FF2B5EF4-FFF2-40B4-BE49-F238E27FC236}">
                            <a16:creationId xmlns:a16="http://schemas.microsoft.com/office/drawing/2014/main" id="{EF4AD34F-3B47-47E2-A09C-FFEB949F6A10}"/>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endParaRPr lang="en-US" dirty="0"/>
          </a:p>
        </p:txBody>
      </p:sp>
      <p:sp>
        <p:nvSpPr>
          <p:cNvPr id="15" name="Slide Number"/>
          <p:cNvSpPr txBox="1">
            <a:spLocks/>
          </p:cNvSpPr>
          <p:nvPr/>
        </p:nvSpPr>
        <p:spPr>
          <a:xfrm>
            <a:off x="8564563" y="6508272"/>
            <a:ext cx="125034" cy="123111"/>
          </a:xfrm>
          <a:prstGeom prst="rect">
            <a:avLst/>
          </a:prstGeom>
        </p:spPr>
        <p:txBody>
          <a:bodyPr vert="horz" wrap="none" lIns="0" tIns="0" rIns="0" bIns="0" rtlCol="0" anchor="ctr">
            <a:spAutoFit/>
          </a:bodyPr>
          <a:lstStyle>
            <a:defPPr>
              <a:defRPr lang="en-US"/>
            </a:defPPr>
            <a:lvl1pPr>
              <a:defRPr sz="1000" baseline="0">
                <a:latin typeface="+mn-lt"/>
              </a:defRPr>
            </a:lvl1pPr>
          </a:lstStyle>
          <a:p>
            <a:fld id="{42C328C1-A84F-4A39-A664-DBA00541A8C6}" type="slidenum">
              <a:rPr lang="en-US" sz="800" baseline="0" smtClean="0">
                <a:solidFill>
                  <a:srgbClr val="FFFFFF"/>
                </a:solidFill>
                <a:latin typeface="+mn-lt"/>
              </a:rPr>
              <a:pPr/>
              <a:t>‹#›</a:t>
            </a:fld>
            <a:endParaRPr lang="en-US" sz="800" baseline="0" dirty="0">
              <a:solidFill>
                <a:srgbClr val="FFFFFF"/>
              </a:solidFill>
              <a:latin typeface="+mn-lt"/>
            </a:endParaRPr>
          </a:p>
        </p:txBody>
      </p:sp>
      <p:sp>
        <p:nvSpPr>
          <p:cNvPr id="16" name="SlideLogoText"/>
          <p:cNvSpPr>
            <a:spLocks noChangeArrowheads="1"/>
          </p:cNvSpPr>
          <p:nvPr>
            <p:custDataLst>
              <p:tags r:id="rId3"/>
            </p:custDataLst>
          </p:nvPr>
        </p:nvSpPr>
        <p:spPr bwMode="auto">
          <a:xfrm>
            <a:off x="7450817" y="6508272"/>
            <a:ext cx="1013098"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algn="r" defTabSz="895350"/>
            <a:r>
              <a:rPr lang="en-US" sz="800" baseline="0" dirty="0">
                <a:solidFill>
                  <a:srgbClr val="FFFFFF"/>
                </a:solidFill>
                <a:latin typeface="+mn-lt"/>
              </a:rPr>
              <a:t>McKinsey &amp; Company</a:t>
            </a:r>
          </a:p>
        </p:txBody>
      </p:sp>
      <p:sp>
        <p:nvSpPr>
          <p:cNvPr id="5" name="doc id" hidden="1"/>
          <p:cNvSpPr txBox="1">
            <a:spLocks noChangeArrowheads="1"/>
          </p:cNvSpPr>
          <p:nvPr/>
        </p:nvSpPr>
        <p:spPr bwMode="white">
          <a:xfrm>
            <a:off x="8104473" y="36513"/>
            <a:ext cx="634716" cy="115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hangingPunct="1">
              <a:defRPr/>
            </a:pPr>
            <a:endParaRPr lang="en-US" sz="800" baseline="0" dirty="0">
              <a:solidFill>
                <a:schemeClr val="accent1"/>
              </a:solidFill>
              <a:latin typeface="+mn-lt"/>
              <a:ea typeface="+mn-ea"/>
            </a:endParaRPr>
          </a:p>
        </p:txBody>
      </p:sp>
    </p:spTree>
    <p:extLst>
      <p:ext uri="{BB962C8B-B14F-4D97-AF65-F5344CB8AC3E}">
        <p14:creationId xmlns:p14="http://schemas.microsoft.com/office/powerpoint/2010/main" val="1116456902"/>
      </p:ext>
    </p:extLst>
  </p:cSld>
  <p:clrMapOvr>
    <a:masterClrMapping/>
  </p:clrMapOvr>
  <p:extLst mod="1">
    <p:ext uri="{DCECCB84-F9BA-43D5-87BE-67443E8EF086}">
      <p15:sldGuideLst xmlns:p15="http://schemas.microsoft.com/office/powerpoint/2012/main">
        <p15:guide id="1" pos="3978">
          <p15:clr>
            <a:srgbClr val="000000"/>
          </p15:clr>
        </p15:guide>
        <p15:guide id="2" orient="horz" pos="570">
          <p15:clr>
            <a:srgbClr val="000000"/>
          </p15:clr>
        </p15:guide>
        <p15:guide id="3" orient="horz" pos="3912">
          <p15:clr>
            <a:srgbClr val="000000"/>
          </p15:clr>
        </p15:guide>
        <p15:guide id="4" pos="72">
          <p15:clr>
            <a:srgbClr val="00000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type="titleOnly">
  <p:cSld name="2_Title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ECD524A-1569-4253-8CD8-48D288AD883C}"/>
              </a:ext>
            </a:extLst>
          </p:cNvPr>
          <p:cNvGraphicFramePr>
            <a:graphicFrameLocks noChangeAspect="1"/>
          </p:cNvGraphicFramePr>
          <p:nvPr>
            <p:custDataLst>
              <p:tags r:id="rId2"/>
            </p:custDataLst>
            <p:extLst>
              <p:ext uri="{D42A27DB-BD31-4B8C-83A1-F6EECF244321}">
                <p14:modId xmlns:p14="http://schemas.microsoft.com/office/powerpoint/2010/main" val="306034100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7780" name="think-cell Slide" r:id="rId4" imgW="395" imgH="394" progId="TCLayout.ActiveDocument.1">
                  <p:embed/>
                </p:oleObj>
              </mc:Choice>
              <mc:Fallback>
                <p:oleObj name="think-cell Slide" r:id="rId4" imgW="395" imgH="394" progId="TCLayout.ActiveDocument.1">
                  <p:embed/>
                  <p:pic>
                    <p:nvPicPr>
                      <p:cNvPr id="3" name="Object 2" hidden="1">
                        <a:extLst>
                          <a:ext uri="{FF2B5EF4-FFF2-40B4-BE49-F238E27FC236}">
                            <a16:creationId xmlns:a16="http://schemas.microsoft.com/office/drawing/2014/main" id="{5ECD524A-1569-4253-8CD8-48D288AD883C}"/>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42066776"/>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pic>
        <p:nvPicPr>
          <p:cNvPr id="2" name="background"/>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0" y="198"/>
            <a:ext cx="8961438" cy="6721079"/>
          </a:xfrm>
          <a:prstGeom prst="rect">
            <a:avLst/>
          </a:prstGeom>
        </p:spPr>
      </p:pic>
      <p:sp>
        <p:nvSpPr>
          <p:cNvPr id="28" name="TitleRectangle"/>
          <p:cNvSpPr txBox="1">
            <a:spLocks/>
          </p:cNvSpPr>
          <p:nvPr/>
        </p:nvSpPr>
        <p:spPr>
          <a:xfrm>
            <a:off x="2084388" y="0"/>
            <a:ext cx="6875462" cy="3575976"/>
          </a:xfrm>
          <a:prstGeom prst="rect">
            <a:avLst/>
          </a:prstGeom>
          <a:solidFill>
            <a:srgbClr val="002960">
              <a:alpha val="92000"/>
            </a:srgbClr>
          </a:solidFill>
        </p:spPr>
        <p:txBody>
          <a:bodyPr vert="horz" wrap="square" lIns="216000" tIns="1440000" rIns="216000" bIns="108000" rtlCol="0">
            <a:noAutofit/>
          </a:bodyPr>
          <a:lstStyle>
            <a:lvl1pPr marL="0" indent="0" algn="l" defTabSz="914400" rtl="0" eaLnBrk="1" latinLnBrk="0" hangingPunct="1">
              <a:spcBef>
                <a:spcPct val="20000"/>
              </a:spcBef>
              <a:spcAft>
                <a:spcPts val="6000"/>
              </a:spcAft>
              <a:buFont typeface="Arial" pitchFamily="34" charset="0"/>
              <a:buNone/>
              <a:defRPr sz="3200" kern="1200">
                <a:solidFill>
                  <a:schemeClr val="accent1"/>
                </a:solidFill>
                <a:latin typeface="+mn-lt"/>
                <a:ea typeface="+mn-ea"/>
                <a:cs typeface="+mn-cs"/>
              </a:defRPr>
            </a:lvl1pPr>
            <a:lvl2pPr marL="0" indent="0" algn="l" defTabSz="914400" rtl="0" eaLnBrk="1" latinLnBrk="0" hangingPunct="1">
              <a:spcBef>
                <a:spcPct val="20000"/>
              </a:spcBef>
              <a:buFont typeface="Wingdings" charset="2"/>
              <a:buNone/>
              <a:defRPr sz="1400" kern="1200">
                <a:solidFill>
                  <a:schemeClr val="tx1">
                    <a:lumMod val="50000"/>
                    <a:lumOff val="50000"/>
                  </a:schemeClr>
                </a:solidFill>
                <a:latin typeface="+mn-lt"/>
                <a:ea typeface="+mn-ea"/>
                <a:cs typeface="+mn-cs"/>
              </a:defRPr>
            </a:lvl2pPr>
            <a:lvl3pPr marL="1143000" indent="-228600" algn="l" defTabSz="914400" rtl="0" eaLnBrk="1" latinLnBrk="0" hangingPunct="1">
              <a:spcBef>
                <a:spcPct val="20000"/>
              </a:spcBef>
              <a:buFont typeface="Lucida Grande"/>
              <a:buChar char="–"/>
              <a:defRPr sz="16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fontAlgn="auto">
              <a:defRPr/>
            </a:pPr>
            <a:r>
              <a:rPr lang="en-US" baseline="0" dirty="0">
                <a:solidFill>
                  <a:srgbClr val="00ADEF"/>
                </a:solidFill>
                <a:latin typeface="+mn-lt"/>
              </a:rPr>
              <a:t>
              </a:t>
            </a:r>
            <a:br>
              <a:rPr lang="en-US" baseline="0" dirty="0">
                <a:solidFill>
                  <a:srgbClr val="00ADEF"/>
                </a:solidFill>
                <a:latin typeface="+mn-lt"/>
              </a:rPr>
            </a:br>
            <a:endParaRPr lang="en-US" baseline="0" dirty="0">
              <a:solidFill>
                <a:srgbClr val="00ADEF"/>
              </a:solidFill>
              <a:latin typeface="+mn-lt"/>
            </a:endParaRPr>
          </a:p>
        </p:txBody>
      </p:sp>
      <p:graphicFrame>
        <p:nvGraphicFramePr>
          <p:cNvPr id="3" name="Object 2"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9828"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Working Draft Text" hidden="1"/>
          <p:cNvSpPr txBox="1">
            <a:spLocks noChangeArrowheads="1"/>
          </p:cNvSpPr>
          <p:nvPr/>
        </p:nvSpPr>
        <p:spPr bwMode="black">
          <a:xfrm>
            <a:off x="5992719" y="6287538"/>
            <a:ext cx="2790000"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800" b="1" baseline="0" dirty="0">
                <a:solidFill>
                  <a:srgbClr val="FFFFFF"/>
                </a:solidFill>
                <a:latin typeface="+mn-lt"/>
              </a:rPr>
              <a:t>WORKING DRAFT</a:t>
            </a:r>
          </a:p>
        </p:txBody>
      </p:sp>
      <p:sp>
        <p:nvSpPr>
          <p:cNvPr id="6" name="Working Draft" hidden="1"/>
          <p:cNvSpPr txBox="1">
            <a:spLocks noChangeArrowheads="1"/>
          </p:cNvSpPr>
          <p:nvPr/>
        </p:nvSpPr>
        <p:spPr bwMode="black">
          <a:xfrm>
            <a:off x="5992718" y="6410648"/>
            <a:ext cx="2968719"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800" baseline="0">
                <a:solidFill>
                  <a:srgbClr val="FFFFFF"/>
                </a:solidFill>
                <a:latin typeface="+mn-lt"/>
              </a:rPr>
              <a:t>Last Modified 21/05/2018 17:44 India Standard Time</a:t>
            </a:r>
            <a:endParaRPr lang="en-US" sz="800" baseline="0" dirty="0">
              <a:solidFill>
                <a:srgbClr val="FFFFFF"/>
              </a:solidFill>
              <a:latin typeface="+mn-lt"/>
            </a:endParaRPr>
          </a:p>
        </p:txBody>
      </p:sp>
      <p:sp>
        <p:nvSpPr>
          <p:cNvPr id="7" name="Printed" hidden="1"/>
          <p:cNvSpPr txBox="1">
            <a:spLocks noChangeArrowheads="1"/>
          </p:cNvSpPr>
          <p:nvPr/>
        </p:nvSpPr>
        <p:spPr bwMode="black">
          <a:xfrm>
            <a:off x="5992719" y="6533759"/>
            <a:ext cx="2790000"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800" baseline="0" dirty="0">
                <a:solidFill>
                  <a:srgbClr val="FFFFFF"/>
                </a:solidFill>
                <a:latin typeface="+mn-lt"/>
              </a:rPr>
              <a:t>Printed</a:t>
            </a:r>
          </a:p>
        </p:txBody>
      </p:sp>
      <p:sp>
        <p:nvSpPr>
          <p:cNvPr id="13314" name="Title"/>
          <p:cNvSpPr>
            <a:spLocks noGrp="1" noChangeArrowheads="1"/>
          </p:cNvSpPr>
          <p:nvPr>
            <p:ph type="ctrTitle"/>
          </p:nvPr>
        </p:nvSpPr>
        <p:spPr>
          <a:xfrm>
            <a:off x="2268266" y="1434419"/>
            <a:ext cx="6231663" cy="492443"/>
          </a:xfrm>
          <a:prstGeom prst="rect">
            <a:avLst/>
          </a:prstGeom>
        </p:spPr>
        <p:txBody>
          <a:bodyPr>
            <a:spAutoFit/>
          </a:bodyPr>
          <a:lstStyle>
            <a:lvl1pPr>
              <a:defRPr sz="3200" b="0" baseline="0">
                <a:solidFill>
                  <a:schemeClr val="accent2"/>
                </a:solidFill>
                <a:latin typeface="+mj-lt"/>
                <a:ea typeface="+mj-ea"/>
              </a:defRPr>
            </a:lvl1pPr>
          </a:lstStyle>
          <a:p>
            <a:pPr lvl="0" latinLnBrk="0"/>
            <a:r>
              <a:rPr lang="en-US" noProof="0"/>
              <a:t>Click to edit Master title style</a:t>
            </a:r>
            <a:endParaRPr lang="en-US" noProof="0" dirty="0"/>
          </a:p>
        </p:txBody>
      </p:sp>
      <p:sp>
        <p:nvSpPr>
          <p:cNvPr id="13315" name="Subtitle"/>
          <p:cNvSpPr>
            <a:spLocks noGrp="1" noChangeArrowheads="1"/>
          </p:cNvSpPr>
          <p:nvPr>
            <p:ph type="subTitle" idx="1"/>
          </p:nvPr>
        </p:nvSpPr>
        <p:spPr>
          <a:xfrm>
            <a:off x="2268266" y="2819401"/>
            <a:ext cx="6231663" cy="215444"/>
          </a:xfrm>
          <a:prstGeom prst="rect">
            <a:avLst/>
          </a:prstGeom>
        </p:spPr>
        <p:txBody>
          <a:bodyPr wrap="square">
            <a:spAutoFit/>
          </a:bodyPr>
          <a:lstStyle>
            <a:lvl1pPr>
              <a:defRPr sz="1400" cap="all" baseline="0">
                <a:solidFill>
                  <a:schemeClr val="bg1"/>
                </a:solidFill>
                <a:latin typeface="+mn-lt"/>
                <a:ea typeface="+mn-ea"/>
              </a:defRPr>
            </a:lvl1pPr>
          </a:lstStyle>
          <a:p>
            <a:pPr lvl="0" latinLnBrk="0"/>
            <a:r>
              <a:rPr lang="en-US" noProof="0"/>
              <a:t>Click to edit Master subtitle style</a:t>
            </a:r>
            <a:endParaRPr lang="en-US" noProof="0" dirty="0"/>
          </a:p>
        </p:txBody>
      </p:sp>
      <p:sp>
        <p:nvSpPr>
          <p:cNvPr id="57" name="Document type" hidden="1"/>
          <p:cNvSpPr txBox="1">
            <a:spLocks noChangeArrowheads="1"/>
          </p:cNvSpPr>
          <p:nvPr/>
        </p:nvSpPr>
        <p:spPr bwMode="gray">
          <a:xfrm>
            <a:off x="2268266" y="3227411"/>
            <a:ext cx="6231663"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00" baseline="0" dirty="0">
                <a:solidFill>
                  <a:schemeClr val="bg1"/>
                </a:solidFill>
                <a:latin typeface="+mn-lt"/>
              </a:rPr>
              <a:t>Document type | Date</a:t>
            </a:r>
          </a:p>
        </p:txBody>
      </p:sp>
      <p:sp>
        <p:nvSpPr>
          <p:cNvPr id="5" name="doc id" hidden="1"/>
          <p:cNvSpPr txBox="1">
            <a:spLocks noChangeArrowheads="1"/>
          </p:cNvSpPr>
          <p:nvPr/>
        </p:nvSpPr>
        <p:spPr bwMode="white">
          <a:xfrm>
            <a:off x="8443913" y="36513"/>
            <a:ext cx="295275" cy="1222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hangingPunct="1">
              <a:defRPr/>
            </a:pPr>
            <a:endParaRPr lang="en-US" sz="800" baseline="0" dirty="0">
              <a:solidFill>
                <a:srgbClr val="FFFFFF"/>
              </a:solidFill>
              <a:latin typeface="+mn-lt"/>
            </a:endParaRPr>
          </a:p>
        </p:txBody>
      </p:sp>
      <p:sp>
        <p:nvSpPr>
          <p:cNvPr id="43" name="LogoImage"/>
          <p:cNvSpPr>
            <a:spLocks noEditPoints="1"/>
          </p:cNvSpPr>
          <p:nvPr/>
        </p:nvSpPr>
        <p:spPr bwMode="white">
          <a:xfrm>
            <a:off x="2269098" y="182925"/>
            <a:ext cx="2176978" cy="238073"/>
          </a:xfrm>
          <a:custGeom>
            <a:avLst/>
            <a:gdLst>
              <a:gd name="T0" fmla="*/ 504 w 5516"/>
              <a:gd name="T1" fmla="*/ 26 h 606"/>
              <a:gd name="T2" fmla="*/ 18 w 5516"/>
              <a:gd name="T3" fmla="*/ 22 h 606"/>
              <a:gd name="T4" fmla="*/ 140 w 5516"/>
              <a:gd name="T5" fmla="*/ 436 h 606"/>
              <a:gd name="T6" fmla="*/ 408 w 5516"/>
              <a:gd name="T7" fmla="*/ 372 h 606"/>
              <a:gd name="T8" fmla="*/ 696 w 5516"/>
              <a:gd name="T9" fmla="*/ 422 h 606"/>
              <a:gd name="T10" fmla="*/ 768 w 5516"/>
              <a:gd name="T11" fmla="*/ 196 h 606"/>
              <a:gd name="T12" fmla="*/ 1272 w 5516"/>
              <a:gd name="T13" fmla="*/ 26 h 606"/>
              <a:gd name="T14" fmla="*/ 1302 w 5516"/>
              <a:gd name="T15" fmla="*/ 338 h 606"/>
              <a:gd name="T16" fmla="*/ 1202 w 5516"/>
              <a:gd name="T17" fmla="*/ 436 h 606"/>
              <a:gd name="T18" fmla="*/ 1030 w 5516"/>
              <a:gd name="T19" fmla="*/ 10 h 606"/>
              <a:gd name="T20" fmla="*/ 960 w 5516"/>
              <a:gd name="T21" fmla="*/ 22 h 606"/>
              <a:gd name="T22" fmla="*/ 804 w 5516"/>
              <a:gd name="T23" fmla="*/ 434 h 606"/>
              <a:gd name="T24" fmla="*/ 930 w 5516"/>
              <a:gd name="T25" fmla="*/ 246 h 606"/>
              <a:gd name="T26" fmla="*/ 1658 w 5516"/>
              <a:gd name="T27" fmla="*/ 342 h 606"/>
              <a:gd name="T28" fmla="*/ 1368 w 5516"/>
              <a:gd name="T29" fmla="*/ 188 h 606"/>
              <a:gd name="T30" fmla="*/ 1514 w 5516"/>
              <a:gd name="T31" fmla="*/ 436 h 606"/>
              <a:gd name="T32" fmla="*/ 1564 w 5516"/>
              <a:gd name="T33" fmla="*/ 434 h 606"/>
              <a:gd name="T34" fmla="*/ 1904 w 5516"/>
              <a:gd name="T35" fmla="*/ 184 h 606"/>
              <a:gd name="T36" fmla="*/ 1728 w 5516"/>
              <a:gd name="T37" fmla="*/ 366 h 606"/>
              <a:gd name="T38" fmla="*/ 2102 w 5516"/>
              <a:gd name="T39" fmla="*/ 192 h 606"/>
              <a:gd name="T40" fmla="*/ 1982 w 5516"/>
              <a:gd name="T41" fmla="*/ 320 h 606"/>
              <a:gd name="T42" fmla="*/ 2478 w 5516"/>
              <a:gd name="T43" fmla="*/ 242 h 606"/>
              <a:gd name="T44" fmla="*/ 2406 w 5516"/>
              <a:gd name="T45" fmla="*/ 390 h 606"/>
              <a:gd name="T46" fmla="*/ 2234 w 5516"/>
              <a:gd name="T47" fmla="*/ 192 h 606"/>
              <a:gd name="T48" fmla="*/ 2478 w 5516"/>
              <a:gd name="T49" fmla="*/ 242 h 606"/>
              <a:gd name="T50" fmla="*/ 2928 w 5516"/>
              <a:gd name="T51" fmla="*/ 448 h 606"/>
              <a:gd name="T52" fmla="*/ 2958 w 5516"/>
              <a:gd name="T53" fmla="*/ 230 h 606"/>
              <a:gd name="T54" fmla="*/ 2716 w 5516"/>
              <a:gd name="T55" fmla="*/ 54 h 606"/>
              <a:gd name="T56" fmla="*/ 2714 w 5516"/>
              <a:gd name="T57" fmla="*/ 36 h 606"/>
              <a:gd name="T58" fmla="*/ 2928 w 5516"/>
              <a:gd name="T59" fmla="*/ 448 h 606"/>
              <a:gd name="T60" fmla="*/ 3388 w 5516"/>
              <a:gd name="T61" fmla="*/ 4 h 606"/>
              <a:gd name="T62" fmla="*/ 3396 w 5516"/>
              <a:gd name="T63" fmla="*/ 366 h 606"/>
              <a:gd name="T64" fmla="*/ 3580 w 5516"/>
              <a:gd name="T65" fmla="*/ 190 h 606"/>
              <a:gd name="T66" fmla="*/ 3502 w 5516"/>
              <a:gd name="T67" fmla="*/ 432 h 606"/>
              <a:gd name="T68" fmla="*/ 4232 w 5516"/>
              <a:gd name="T69" fmla="*/ 348 h 606"/>
              <a:gd name="T70" fmla="*/ 3858 w 5516"/>
              <a:gd name="T71" fmla="*/ 176 h 606"/>
              <a:gd name="T72" fmla="*/ 3758 w 5516"/>
              <a:gd name="T73" fmla="*/ 446 h 606"/>
              <a:gd name="T74" fmla="*/ 3990 w 5516"/>
              <a:gd name="T75" fmla="*/ 282 h 606"/>
              <a:gd name="T76" fmla="*/ 4042 w 5516"/>
              <a:gd name="T77" fmla="*/ 342 h 606"/>
              <a:gd name="T78" fmla="*/ 4134 w 5516"/>
              <a:gd name="T79" fmla="*/ 448 h 606"/>
              <a:gd name="T80" fmla="*/ 4454 w 5516"/>
              <a:gd name="T81" fmla="*/ 202 h 606"/>
              <a:gd name="T82" fmla="*/ 4284 w 5516"/>
              <a:gd name="T83" fmla="*/ 174 h 606"/>
              <a:gd name="T84" fmla="*/ 4432 w 5516"/>
              <a:gd name="T85" fmla="*/ 588 h 606"/>
              <a:gd name="T86" fmla="*/ 4792 w 5516"/>
              <a:gd name="T87" fmla="*/ 382 h 606"/>
              <a:gd name="T88" fmla="*/ 5192 w 5516"/>
              <a:gd name="T89" fmla="*/ 340 h 606"/>
              <a:gd name="T90" fmla="*/ 4902 w 5516"/>
              <a:gd name="T91" fmla="*/ 186 h 606"/>
              <a:gd name="T92" fmla="*/ 4850 w 5516"/>
              <a:gd name="T93" fmla="*/ 274 h 606"/>
              <a:gd name="T94" fmla="*/ 4742 w 5516"/>
              <a:gd name="T95" fmla="*/ 194 h 606"/>
              <a:gd name="T96" fmla="*/ 4794 w 5516"/>
              <a:gd name="T97" fmla="*/ 418 h 606"/>
              <a:gd name="T98" fmla="*/ 5004 w 5516"/>
              <a:gd name="T99" fmla="*/ 338 h 606"/>
              <a:gd name="T100" fmla="*/ 5098 w 5516"/>
              <a:gd name="T101" fmla="*/ 446 h 606"/>
              <a:gd name="T102" fmla="*/ 5418 w 5516"/>
              <a:gd name="T103" fmla="*/ 192 h 606"/>
              <a:gd name="T104" fmla="*/ 5348 w 5516"/>
              <a:gd name="T105" fmla="*/ 180 h 606"/>
              <a:gd name="T106" fmla="*/ 5254 w 5516"/>
              <a:gd name="T107" fmla="*/ 606 h 6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516" h="606">
                <a:moveTo>
                  <a:pt x="366" y="448"/>
                </a:moveTo>
                <a:cubicBezTo>
                  <a:pt x="524" y="448"/>
                  <a:pt x="524" y="448"/>
                  <a:pt x="524" y="448"/>
                </a:cubicBezTo>
                <a:cubicBezTo>
                  <a:pt x="524" y="436"/>
                  <a:pt x="524" y="436"/>
                  <a:pt x="524" y="436"/>
                </a:cubicBezTo>
                <a:cubicBezTo>
                  <a:pt x="486" y="432"/>
                  <a:pt x="470" y="414"/>
                  <a:pt x="468" y="362"/>
                </a:cubicBezTo>
                <a:cubicBezTo>
                  <a:pt x="454" y="86"/>
                  <a:pt x="454" y="86"/>
                  <a:pt x="454" y="86"/>
                </a:cubicBezTo>
                <a:cubicBezTo>
                  <a:pt x="452" y="46"/>
                  <a:pt x="470" y="30"/>
                  <a:pt x="504" y="26"/>
                </a:cubicBezTo>
                <a:cubicBezTo>
                  <a:pt x="504" y="12"/>
                  <a:pt x="504" y="12"/>
                  <a:pt x="504" y="12"/>
                </a:cubicBezTo>
                <a:cubicBezTo>
                  <a:pt x="394" y="12"/>
                  <a:pt x="394" y="12"/>
                  <a:pt x="394" y="12"/>
                </a:cubicBezTo>
                <a:cubicBezTo>
                  <a:pt x="264" y="350"/>
                  <a:pt x="264" y="350"/>
                  <a:pt x="264" y="350"/>
                </a:cubicBezTo>
                <a:cubicBezTo>
                  <a:pt x="132" y="10"/>
                  <a:pt x="132" y="10"/>
                  <a:pt x="132" y="10"/>
                </a:cubicBezTo>
                <a:cubicBezTo>
                  <a:pt x="18" y="10"/>
                  <a:pt x="18" y="10"/>
                  <a:pt x="18" y="10"/>
                </a:cubicBezTo>
                <a:cubicBezTo>
                  <a:pt x="18" y="22"/>
                  <a:pt x="18" y="22"/>
                  <a:pt x="18" y="22"/>
                </a:cubicBezTo>
                <a:cubicBezTo>
                  <a:pt x="40" y="26"/>
                  <a:pt x="74" y="32"/>
                  <a:pt x="72" y="84"/>
                </a:cubicBezTo>
                <a:cubicBezTo>
                  <a:pt x="58" y="352"/>
                  <a:pt x="58" y="352"/>
                  <a:pt x="58" y="352"/>
                </a:cubicBezTo>
                <a:cubicBezTo>
                  <a:pt x="54" y="410"/>
                  <a:pt x="38" y="430"/>
                  <a:pt x="0" y="436"/>
                </a:cubicBezTo>
                <a:cubicBezTo>
                  <a:pt x="0" y="448"/>
                  <a:pt x="0" y="448"/>
                  <a:pt x="0" y="448"/>
                </a:cubicBezTo>
                <a:cubicBezTo>
                  <a:pt x="140" y="448"/>
                  <a:pt x="140" y="448"/>
                  <a:pt x="140" y="448"/>
                </a:cubicBezTo>
                <a:cubicBezTo>
                  <a:pt x="140" y="436"/>
                  <a:pt x="140" y="436"/>
                  <a:pt x="140" y="436"/>
                </a:cubicBezTo>
                <a:cubicBezTo>
                  <a:pt x="98" y="428"/>
                  <a:pt x="84" y="414"/>
                  <a:pt x="88" y="356"/>
                </a:cubicBezTo>
                <a:cubicBezTo>
                  <a:pt x="100" y="86"/>
                  <a:pt x="100" y="86"/>
                  <a:pt x="100" y="86"/>
                </a:cubicBezTo>
                <a:cubicBezTo>
                  <a:pt x="240" y="444"/>
                  <a:pt x="240" y="444"/>
                  <a:pt x="240" y="444"/>
                </a:cubicBezTo>
                <a:cubicBezTo>
                  <a:pt x="258" y="444"/>
                  <a:pt x="258" y="444"/>
                  <a:pt x="258" y="444"/>
                </a:cubicBezTo>
                <a:cubicBezTo>
                  <a:pt x="396" y="86"/>
                  <a:pt x="396" y="86"/>
                  <a:pt x="396" y="86"/>
                </a:cubicBezTo>
                <a:cubicBezTo>
                  <a:pt x="408" y="372"/>
                  <a:pt x="408" y="372"/>
                  <a:pt x="408" y="372"/>
                </a:cubicBezTo>
                <a:cubicBezTo>
                  <a:pt x="410" y="416"/>
                  <a:pt x="398" y="430"/>
                  <a:pt x="366" y="434"/>
                </a:cubicBezTo>
                <a:lnTo>
                  <a:pt x="366" y="448"/>
                </a:lnTo>
                <a:close/>
                <a:moveTo>
                  <a:pt x="670" y="456"/>
                </a:moveTo>
                <a:cubicBezTo>
                  <a:pt x="708" y="456"/>
                  <a:pt x="756" y="440"/>
                  <a:pt x="782" y="412"/>
                </a:cubicBezTo>
                <a:cubicBezTo>
                  <a:pt x="776" y="400"/>
                  <a:pt x="776" y="400"/>
                  <a:pt x="776" y="400"/>
                </a:cubicBezTo>
                <a:cubicBezTo>
                  <a:pt x="750" y="416"/>
                  <a:pt x="722" y="422"/>
                  <a:pt x="696" y="422"/>
                </a:cubicBezTo>
                <a:cubicBezTo>
                  <a:pt x="620" y="422"/>
                  <a:pt x="592" y="358"/>
                  <a:pt x="592" y="290"/>
                </a:cubicBezTo>
                <a:cubicBezTo>
                  <a:pt x="592" y="258"/>
                  <a:pt x="600" y="236"/>
                  <a:pt x="614" y="222"/>
                </a:cubicBezTo>
                <a:cubicBezTo>
                  <a:pt x="626" y="210"/>
                  <a:pt x="646" y="204"/>
                  <a:pt x="664" y="204"/>
                </a:cubicBezTo>
                <a:cubicBezTo>
                  <a:pt x="690" y="204"/>
                  <a:pt x="722" y="214"/>
                  <a:pt x="744" y="244"/>
                </a:cubicBezTo>
                <a:cubicBezTo>
                  <a:pt x="750" y="244"/>
                  <a:pt x="750" y="244"/>
                  <a:pt x="750" y="244"/>
                </a:cubicBezTo>
                <a:cubicBezTo>
                  <a:pt x="758" y="234"/>
                  <a:pt x="766" y="212"/>
                  <a:pt x="768" y="196"/>
                </a:cubicBezTo>
                <a:cubicBezTo>
                  <a:pt x="748" y="180"/>
                  <a:pt x="720" y="172"/>
                  <a:pt x="686" y="172"/>
                </a:cubicBezTo>
                <a:cubicBezTo>
                  <a:pt x="604" y="172"/>
                  <a:pt x="544" y="246"/>
                  <a:pt x="544" y="326"/>
                </a:cubicBezTo>
                <a:cubicBezTo>
                  <a:pt x="540" y="390"/>
                  <a:pt x="576" y="456"/>
                  <a:pt x="670" y="456"/>
                </a:cubicBezTo>
                <a:moveTo>
                  <a:pt x="1272" y="98"/>
                </a:moveTo>
                <a:cubicBezTo>
                  <a:pt x="1292" y="98"/>
                  <a:pt x="1308" y="82"/>
                  <a:pt x="1308" y="62"/>
                </a:cubicBezTo>
                <a:cubicBezTo>
                  <a:pt x="1308" y="42"/>
                  <a:pt x="1292" y="26"/>
                  <a:pt x="1272" y="26"/>
                </a:cubicBezTo>
                <a:cubicBezTo>
                  <a:pt x="1252" y="26"/>
                  <a:pt x="1238" y="42"/>
                  <a:pt x="1238" y="62"/>
                </a:cubicBezTo>
                <a:cubicBezTo>
                  <a:pt x="1238" y="82"/>
                  <a:pt x="1252" y="98"/>
                  <a:pt x="1272" y="98"/>
                </a:cubicBezTo>
                <a:moveTo>
                  <a:pt x="1202" y="448"/>
                </a:moveTo>
                <a:cubicBezTo>
                  <a:pt x="1346" y="448"/>
                  <a:pt x="1346" y="448"/>
                  <a:pt x="1346" y="448"/>
                </a:cubicBezTo>
                <a:cubicBezTo>
                  <a:pt x="1346" y="436"/>
                  <a:pt x="1346" y="436"/>
                  <a:pt x="1346" y="436"/>
                </a:cubicBezTo>
                <a:cubicBezTo>
                  <a:pt x="1304" y="432"/>
                  <a:pt x="1302" y="434"/>
                  <a:pt x="1302" y="338"/>
                </a:cubicBezTo>
                <a:cubicBezTo>
                  <a:pt x="1302" y="176"/>
                  <a:pt x="1302" y="176"/>
                  <a:pt x="1302" y="176"/>
                </a:cubicBezTo>
                <a:cubicBezTo>
                  <a:pt x="1200" y="176"/>
                  <a:pt x="1200" y="176"/>
                  <a:pt x="1200" y="176"/>
                </a:cubicBezTo>
                <a:cubicBezTo>
                  <a:pt x="1200" y="188"/>
                  <a:pt x="1200" y="188"/>
                  <a:pt x="1200" y="188"/>
                </a:cubicBezTo>
                <a:cubicBezTo>
                  <a:pt x="1244" y="190"/>
                  <a:pt x="1250" y="192"/>
                  <a:pt x="1250" y="268"/>
                </a:cubicBezTo>
                <a:cubicBezTo>
                  <a:pt x="1250" y="336"/>
                  <a:pt x="1250" y="336"/>
                  <a:pt x="1250" y="336"/>
                </a:cubicBezTo>
                <a:cubicBezTo>
                  <a:pt x="1250" y="432"/>
                  <a:pt x="1248" y="432"/>
                  <a:pt x="1202" y="436"/>
                </a:cubicBezTo>
                <a:cubicBezTo>
                  <a:pt x="1178" y="434"/>
                  <a:pt x="1154" y="426"/>
                  <a:pt x="1076" y="338"/>
                </a:cubicBezTo>
                <a:cubicBezTo>
                  <a:pt x="1046" y="302"/>
                  <a:pt x="996" y="244"/>
                  <a:pt x="968" y="206"/>
                </a:cubicBezTo>
                <a:cubicBezTo>
                  <a:pt x="1062" y="102"/>
                  <a:pt x="1062" y="102"/>
                  <a:pt x="1062" y="102"/>
                </a:cubicBezTo>
                <a:cubicBezTo>
                  <a:pt x="1108" y="52"/>
                  <a:pt x="1132" y="26"/>
                  <a:pt x="1176" y="24"/>
                </a:cubicBezTo>
                <a:cubicBezTo>
                  <a:pt x="1176" y="10"/>
                  <a:pt x="1176" y="10"/>
                  <a:pt x="1176" y="10"/>
                </a:cubicBezTo>
                <a:cubicBezTo>
                  <a:pt x="1030" y="10"/>
                  <a:pt x="1030" y="10"/>
                  <a:pt x="1030" y="10"/>
                </a:cubicBezTo>
                <a:cubicBezTo>
                  <a:pt x="1030" y="22"/>
                  <a:pt x="1030" y="22"/>
                  <a:pt x="1030" y="22"/>
                </a:cubicBezTo>
                <a:cubicBezTo>
                  <a:pt x="1050" y="26"/>
                  <a:pt x="1056" y="32"/>
                  <a:pt x="1056" y="46"/>
                </a:cubicBezTo>
                <a:cubicBezTo>
                  <a:pt x="1056" y="56"/>
                  <a:pt x="1054" y="72"/>
                  <a:pt x="1026" y="102"/>
                </a:cubicBezTo>
                <a:cubicBezTo>
                  <a:pt x="910" y="230"/>
                  <a:pt x="910" y="230"/>
                  <a:pt x="910" y="230"/>
                </a:cubicBezTo>
                <a:cubicBezTo>
                  <a:pt x="910" y="148"/>
                  <a:pt x="910" y="148"/>
                  <a:pt x="910" y="148"/>
                </a:cubicBezTo>
                <a:cubicBezTo>
                  <a:pt x="910" y="36"/>
                  <a:pt x="916" y="28"/>
                  <a:pt x="960" y="22"/>
                </a:cubicBezTo>
                <a:cubicBezTo>
                  <a:pt x="960" y="8"/>
                  <a:pt x="960" y="8"/>
                  <a:pt x="960" y="8"/>
                </a:cubicBezTo>
                <a:cubicBezTo>
                  <a:pt x="804" y="8"/>
                  <a:pt x="804" y="8"/>
                  <a:pt x="804" y="8"/>
                </a:cubicBezTo>
                <a:cubicBezTo>
                  <a:pt x="804" y="22"/>
                  <a:pt x="804" y="22"/>
                  <a:pt x="804" y="22"/>
                </a:cubicBezTo>
                <a:cubicBezTo>
                  <a:pt x="852" y="26"/>
                  <a:pt x="854" y="36"/>
                  <a:pt x="854" y="148"/>
                </a:cubicBezTo>
                <a:cubicBezTo>
                  <a:pt x="854" y="300"/>
                  <a:pt x="854" y="300"/>
                  <a:pt x="854" y="300"/>
                </a:cubicBezTo>
                <a:cubicBezTo>
                  <a:pt x="854" y="422"/>
                  <a:pt x="850" y="430"/>
                  <a:pt x="804" y="434"/>
                </a:cubicBezTo>
                <a:cubicBezTo>
                  <a:pt x="804" y="446"/>
                  <a:pt x="804" y="446"/>
                  <a:pt x="804" y="446"/>
                </a:cubicBezTo>
                <a:cubicBezTo>
                  <a:pt x="960" y="446"/>
                  <a:pt x="960" y="446"/>
                  <a:pt x="960" y="446"/>
                </a:cubicBezTo>
                <a:cubicBezTo>
                  <a:pt x="960" y="434"/>
                  <a:pt x="960" y="434"/>
                  <a:pt x="960" y="434"/>
                </a:cubicBezTo>
                <a:cubicBezTo>
                  <a:pt x="910" y="428"/>
                  <a:pt x="910" y="424"/>
                  <a:pt x="910" y="292"/>
                </a:cubicBezTo>
                <a:cubicBezTo>
                  <a:pt x="910" y="268"/>
                  <a:pt x="910" y="268"/>
                  <a:pt x="910" y="268"/>
                </a:cubicBezTo>
                <a:cubicBezTo>
                  <a:pt x="930" y="246"/>
                  <a:pt x="930" y="246"/>
                  <a:pt x="930" y="246"/>
                </a:cubicBezTo>
                <a:cubicBezTo>
                  <a:pt x="982" y="310"/>
                  <a:pt x="1038" y="380"/>
                  <a:pt x="1098" y="448"/>
                </a:cubicBezTo>
                <a:cubicBezTo>
                  <a:pt x="1202" y="448"/>
                  <a:pt x="1202" y="448"/>
                  <a:pt x="1202" y="448"/>
                </a:cubicBezTo>
                <a:close/>
                <a:moveTo>
                  <a:pt x="1564" y="448"/>
                </a:moveTo>
                <a:cubicBezTo>
                  <a:pt x="1706" y="448"/>
                  <a:pt x="1706" y="448"/>
                  <a:pt x="1706" y="448"/>
                </a:cubicBezTo>
                <a:cubicBezTo>
                  <a:pt x="1706" y="436"/>
                  <a:pt x="1706" y="436"/>
                  <a:pt x="1706" y="436"/>
                </a:cubicBezTo>
                <a:cubicBezTo>
                  <a:pt x="1658" y="434"/>
                  <a:pt x="1658" y="432"/>
                  <a:pt x="1658" y="342"/>
                </a:cubicBezTo>
                <a:cubicBezTo>
                  <a:pt x="1658" y="280"/>
                  <a:pt x="1658" y="280"/>
                  <a:pt x="1658" y="280"/>
                </a:cubicBezTo>
                <a:cubicBezTo>
                  <a:pt x="1658" y="198"/>
                  <a:pt x="1612" y="172"/>
                  <a:pt x="1570" y="172"/>
                </a:cubicBezTo>
                <a:cubicBezTo>
                  <a:pt x="1534" y="172"/>
                  <a:pt x="1498" y="188"/>
                  <a:pt x="1470" y="224"/>
                </a:cubicBezTo>
                <a:cubicBezTo>
                  <a:pt x="1470" y="176"/>
                  <a:pt x="1470" y="176"/>
                  <a:pt x="1470" y="176"/>
                </a:cubicBezTo>
                <a:cubicBezTo>
                  <a:pt x="1368" y="176"/>
                  <a:pt x="1368" y="176"/>
                  <a:pt x="1368" y="176"/>
                </a:cubicBezTo>
                <a:cubicBezTo>
                  <a:pt x="1368" y="188"/>
                  <a:pt x="1368" y="188"/>
                  <a:pt x="1368" y="188"/>
                </a:cubicBezTo>
                <a:cubicBezTo>
                  <a:pt x="1412" y="190"/>
                  <a:pt x="1418" y="192"/>
                  <a:pt x="1418" y="268"/>
                </a:cubicBezTo>
                <a:cubicBezTo>
                  <a:pt x="1418" y="336"/>
                  <a:pt x="1418" y="336"/>
                  <a:pt x="1418" y="336"/>
                </a:cubicBezTo>
                <a:cubicBezTo>
                  <a:pt x="1418" y="434"/>
                  <a:pt x="1418" y="434"/>
                  <a:pt x="1370" y="436"/>
                </a:cubicBezTo>
                <a:cubicBezTo>
                  <a:pt x="1370" y="448"/>
                  <a:pt x="1370" y="448"/>
                  <a:pt x="1370" y="448"/>
                </a:cubicBezTo>
                <a:cubicBezTo>
                  <a:pt x="1514" y="448"/>
                  <a:pt x="1514" y="448"/>
                  <a:pt x="1514" y="448"/>
                </a:cubicBezTo>
                <a:cubicBezTo>
                  <a:pt x="1514" y="436"/>
                  <a:pt x="1514" y="436"/>
                  <a:pt x="1514" y="436"/>
                </a:cubicBezTo>
                <a:cubicBezTo>
                  <a:pt x="1472" y="432"/>
                  <a:pt x="1470" y="434"/>
                  <a:pt x="1470" y="338"/>
                </a:cubicBezTo>
                <a:cubicBezTo>
                  <a:pt x="1470" y="262"/>
                  <a:pt x="1470" y="262"/>
                  <a:pt x="1470" y="262"/>
                </a:cubicBezTo>
                <a:cubicBezTo>
                  <a:pt x="1470" y="236"/>
                  <a:pt x="1504" y="206"/>
                  <a:pt x="1546" y="206"/>
                </a:cubicBezTo>
                <a:cubicBezTo>
                  <a:pt x="1580" y="206"/>
                  <a:pt x="1606" y="220"/>
                  <a:pt x="1606" y="286"/>
                </a:cubicBezTo>
                <a:cubicBezTo>
                  <a:pt x="1606" y="340"/>
                  <a:pt x="1606" y="340"/>
                  <a:pt x="1606" y="340"/>
                </a:cubicBezTo>
                <a:cubicBezTo>
                  <a:pt x="1606" y="432"/>
                  <a:pt x="1602" y="432"/>
                  <a:pt x="1564" y="434"/>
                </a:cubicBezTo>
                <a:lnTo>
                  <a:pt x="1564" y="448"/>
                </a:lnTo>
                <a:close/>
                <a:moveTo>
                  <a:pt x="1776" y="222"/>
                </a:moveTo>
                <a:cubicBezTo>
                  <a:pt x="1776" y="200"/>
                  <a:pt x="1796" y="188"/>
                  <a:pt x="1822" y="188"/>
                </a:cubicBezTo>
                <a:cubicBezTo>
                  <a:pt x="1874" y="188"/>
                  <a:pt x="1896" y="236"/>
                  <a:pt x="1900" y="252"/>
                </a:cubicBezTo>
                <a:cubicBezTo>
                  <a:pt x="1912" y="252"/>
                  <a:pt x="1912" y="252"/>
                  <a:pt x="1912" y="252"/>
                </a:cubicBezTo>
                <a:cubicBezTo>
                  <a:pt x="1912" y="212"/>
                  <a:pt x="1908" y="188"/>
                  <a:pt x="1904" y="184"/>
                </a:cubicBezTo>
                <a:cubicBezTo>
                  <a:pt x="1900" y="180"/>
                  <a:pt x="1862" y="170"/>
                  <a:pt x="1824" y="170"/>
                </a:cubicBezTo>
                <a:cubicBezTo>
                  <a:pt x="1768" y="170"/>
                  <a:pt x="1734" y="206"/>
                  <a:pt x="1734" y="248"/>
                </a:cubicBezTo>
                <a:cubicBezTo>
                  <a:pt x="1734" y="340"/>
                  <a:pt x="1890" y="322"/>
                  <a:pt x="1890" y="396"/>
                </a:cubicBezTo>
                <a:cubicBezTo>
                  <a:pt x="1890" y="422"/>
                  <a:pt x="1866" y="436"/>
                  <a:pt x="1826" y="436"/>
                </a:cubicBezTo>
                <a:cubicBezTo>
                  <a:pt x="1788" y="436"/>
                  <a:pt x="1754" y="416"/>
                  <a:pt x="1744" y="366"/>
                </a:cubicBezTo>
                <a:cubicBezTo>
                  <a:pt x="1728" y="366"/>
                  <a:pt x="1728" y="366"/>
                  <a:pt x="1728" y="366"/>
                </a:cubicBezTo>
                <a:cubicBezTo>
                  <a:pt x="1728" y="386"/>
                  <a:pt x="1732" y="422"/>
                  <a:pt x="1734" y="428"/>
                </a:cubicBezTo>
                <a:cubicBezTo>
                  <a:pt x="1744" y="446"/>
                  <a:pt x="1788" y="454"/>
                  <a:pt x="1824" y="454"/>
                </a:cubicBezTo>
                <a:cubicBezTo>
                  <a:pt x="1888" y="454"/>
                  <a:pt x="1928" y="416"/>
                  <a:pt x="1928" y="372"/>
                </a:cubicBezTo>
                <a:cubicBezTo>
                  <a:pt x="1932" y="270"/>
                  <a:pt x="1776" y="286"/>
                  <a:pt x="1776" y="222"/>
                </a:cubicBezTo>
                <a:moveTo>
                  <a:pt x="2030" y="270"/>
                </a:moveTo>
                <a:cubicBezTo>
                  <a:pt x="2034" y="220"/>
                  <a:pt x="2058" y="192"/>
                  <a:pt x="2102" y="192"/>
                </a:cubicBezTo>
                <a:cubicBezTo>
                  <a:pt x="2144" y="192"/>
                  <a:pt x="2170" y="220"/>
                  <a:pt x="2172" y="270"/>
                </a:cubicBezTo>
                <a:lnTo>
                  <a:pt x="2030" y="270"/>
                </a:lnTo>
                <a:close/>
                <a:moveTo>
                  <a:pt x="2030" y="290"/>
                </a:moveTo>
                <a:cubicBezTo>
                  <a:pt x="2222" y="290"/>
                  <a:pt x="2222" y="290"/>
                  <a:pt x="2222" y="290"/>
                </a:cubicBezTo>
                <a:cubicBezTo>
                  <a:pt x="2226" y="228"/>
                  <a:pt x="2192" y="168"/>
                  <a:pt x="2114" y="168"/>
                </a:cubicBezTo>
                <a:cubicBezTo>
                  <a:pt x="2034" y="168"/>
                  <a:pt x="1982" y="232"/>
                  <a:pt x="1982" y="320"/>
                </a:cubicBezTo>
                <a:cubicBezTo>
                  <a:pt x="1982" y="388"/>
                  <a:pt x="2018" y="456"/>
                  <a:pt x="2112" y="456"/>
                </a:cubicBezTo>
                <a:cubicBezTo>
                  <a:pt x="2150" y="456"/>
                  <a:pt x="2198" y="440"/>
                  <a:pt x="2224" y="412"/>
                </a:cubicBezTo>
                <a:cubicBezTo>
                  <a:pt x="2218" y="400"/>
                  <a:pt x="2218" y="400"/>
                  <a:pt x="2218" y="400"/>
                </a:cubicBezTo>
                <a:cubicBezTo>
                  <a:pt x="2192" y="416"/>
                  <a:pt x="2164" y="422"/>
                  <a:pt x="2138" y="422"/>
                </a:cubicBezTo>
                <a:cubicBezTo>
                  <a:pt x="2058" y="420"/>
                  <a:pt x="2028" y="352"/>
                  <a:pt x="2030" y="290"/>
                </a:cubicBezTo>
                <a:moveTo>
                  <a:pt x="2478" y="242"/>
                </a:moveTo>
                <a:cubicBezTo>
                  <a:pt x="2490" y="206"/>
                  <a:pt x="2510" y="192"/>
                  <a:pt x="2528" y="192"/>
                </a:cubicBezTo>
                <a:cubicBezTo>
                  <a:pt x="2528" y="180"/>
                  <a:pt x="2528" y="180"/>
                  <a:pt x="2528" y="180"/>
                </a:cubicBezTo>
                <a:cubicBezTo>
                  <a:pt x="2430" y="180"/>
                  <a:pt x="2430" y="180"/>
                  <a:pt x="2430" y="180"/>
                </a:cubicBezTo>
                <a:cubicBezTo>
                  <a:pt x="2430" y="192"/>
                  <a:pt x="2430" y="192"/>
                  <a:pt x="2430" y="192"/>
                </a:cubicBezTo>
                <a:cubicBezTo>
                  <a:pt x="2454" y="194"/>
                  <a:pt x="2466" y="206"/>
                  <a:pt x="2458" y="234"/>
                </a:cubicBezTo>
                <a:cubicBezTo>
                  <a:pt x="2406" y="390"/>
                  <a:pt x="2406" y="390"/>
                  <a:pt x="2406" y="390"/>
                </a:cubicBezTo>
                <a:cubicBezTo>
                  <a:pt x="2354" y="270"/>
                  <a:pt x="2354" y="270"/>
                  <a:pt x="2354" y="270"/>
                </a:cubicBezTo>
                <a:cubicBezTo>
                  <a:pt x="2340" y="238"/>
                  <a:pt x="2334" y="224"/>
                  <a:pt x="2334" y="212"/>
                </a:cubicBezTo>
                <a:cubicBezTo>
                  <a:pt x="2334" y="202"/>
                  <a:pt x="2340" y="196"/>
                  <a:pt x="2360" y="192"/>
                </a:cubicBezTo>
                <a:cubicBezTo>
                  <a:pt x="2360" y="180"/>
                  <a:pt x="2360" y="180"/>
                  <a:pt x="2360" y="180"/>
                </a:cubicBezTo>
                <a:cubicBezTo>
                  <a:pt x="2234" y="180"/>
                  <a:pt x="2234" y="180"/>
                  <a:pt x="2234" y="180"/>
                </a:cubicBezTo>
                <a:cubicBezTo>
                  <a:pt x="2234" y="192"/>
                  <a:pt x="2234" y="192"/>
                  <a:pt x="2234" y="192"/>
                </a:cubicBezTo>
                <a:cubicBezTo>
                  <a:pt x="2266" y="194"/>
                  <a:pt x="2268" y="198"/>
                  <a:pt x="2310" y="292"/>
                </a:cubicBezTo>
                <a:cubicBezTo>
                  <a:pt x="2382" y="450"/>
                  <a:pt x="2382" y="450"/>
                  <a:pt x="2382" y="450"/>
                </a:cubicBezTo>
                <a:cubicBezTo>
                  <a:pt x="2358" y="512"/>
                  <a:pt x="2320" y="546"/>
                  <a:pt x="2242" y="564"/>
                </a:cubicBezTo>
                <a:cubicBezTo>
                  <a:pt x="2246" y="576"/>
                  <a:pt x="2260" y="600"/>
                  <a:pt x="2268" y="606"/>
                </a:cubicBezTo>
                <a:cubicBezTo>
                  <a:pt x="2370" y="564"/>
                  <a:pt x="2390" y="498"/>
                  <a:pt x="2426" y="396"/>
                </a:cubicBezTo>
                <a:lnTo>
                  <a:pt x="2478" y="242"/>
                </a:lnTo>
                <a:close/>
                <a:moveTo>
                  <a:pt x="2844" y="394"/>
                </a:moveTo>
                <a:cubicBezTo>
                  <a:pt x="2822" y="412"/>
                  <a:pt x="2782" y="416"/>
                  <a:pt x="2750" y="416"/>
                </a:cubicBezTo>
                <a:cubicBezTo>
                  <a:pt x="2670" y="416"/>
                  <a:pt x="2606" y="360"/>
                  <a:pt x="2606" y="284"/>
                </a:cubicBezTo>
                <a:cubicBezTo>
                  <a:pt x="2606" y="236"/>
                  <a:pt x="2626" y="206"/>
                  <a:pt x="2658" y="198"/>
                </a:cubicBezTo>
                <a:cubicBezTo>
                  <a:pt x="2698" y="266"/>
                  <a:pt x="2770" y="338"/>
                  <a:pt x="2844" y="394"/>
                </a:cubicBezTo>
                <a:moveTo>
                  <a:pt x="2928" y="448"/>
                </a:moveTo>
                <a:cubicBezTo>
                  <a:pt x="3022" y="448"/>
                  <a:pt x="3022" y="448"/>
                  <a:pt x="3022" y="448"/>
                </a:cubicBezTo>
                <a:cubicBezTo>
                  <a:pt x="3022" y="436"/>
                  <a:pt x="3022" y="436"/>
                  <a:pt x="3022" y="436"/>
                </a:cubicBezTo>
                <a:cubicBezTo>
                  <a:pt x="2992" y="432"/>
                  <a:pt x="2946" y="408"/>
                  <a:pt x="2896" y="372"/>
                </a:cubicBezTo>
                <a:cubicBezTo>
                  <a:pt x="2914" y="342"/>
                  <a:pt x="2918" y="300"/>
                  <a:pt x="2922" y="270"/>
                </a:cubicBezTo>
                <a:cubicBezTo>
                  <a:pt x="2926" y="244"/>
                  <a:pt x="2946" y="244"/>
                  <a:pt x="2958" y="242"/>
                </a:cubicBezTo>
                <a:cubicBezTo>
                  <a:pt x="2958" y="230"/>
                  <a:pt x="2958" y="230"/>
                  <a:pt x="2958" y="230"/>
                </a:cubicBezTo>
                <a:cubicBezTo>
                  <a:pt x="2834" y="230"/>
                  <a:pt x="2834" y="230"/>
                  <a:pt x="2834" y="230"/>
                </a:cubicBezTo>
                <a:cubicBezTo>
                  <a:pt x="2834" y="242"/>
                  <a:pt x="2834" y="242"/>
                  <a:pt x="2834" y="242"/>
                </a:cubicBezTo>
                <a:cubicBezTo>
                  <a:pt x="2864" y="246"/>
                  <a:pt x="2892" y="250"/>
                  <a:pt x="2892" y="294"/>
                </a:cubicBezTo>
                <a:cubicBezTo>
                  <a:pt x="2892" y="318"/>
                  <a:pt x="2888" y="342"/>
                  <a:pt x="2878" y="358"/>
                </a:cubicBezTo>
                <a:cubicBezTo>
                  <a:pt x="2770" y="274"/>
                  <a:pt x="2670" y="156"/>
                  <a:pt x="2670" y="96"/>
                </a:cubicBezTo>
                <a:cubicBezTo>
                  <a:pt x="2670" y="66"/>
                  <a:pt x="2688" y="54"/>
                  <a:pt x="2716" y="54"/>
                </a:cubicBezTo>
                <a:cubicBezTo>
                  <a:pt x="2752" y="54"/>
                  <a:pt x="2784" y="78"/>
                  <a:pt x="2800" y="124"/>
                </a:cubicBezTo>
                <a:cubicBezTo>
                  <a:pt x="2812" y="124"/>
                  <a:pt x="2812" y="124"/>
                  <a:pt x="2812" y="124"/>
                </a:cubicBezTo>
                <a:cubicBezTo>
                  <a:pt x="2810" y="42"/>
                  <a:pt x="2810" y="42"/>
                  <a:pt x="2810" y="42"/>
                </a:cubicBezTo>
                <a:cubicBezTo>
                  <a:pt x="2798" y="42"/>
                  <a:pt x="2798" y="42"/>
                  <a:pt x="2798" y="42"/>
                </a:cubicBezTo>
                <a:cubicBezTo>
                  <a:pt x="2798" y="48"/>
                  <a:pt x="2792" y="52"/>
                  <a:pt x="2788" y="52"/>
                </a:cubicBezTo>
                <a:cubicBezTo>
                  <a:pt x="2772" y="52"/>
                  <a:pt x="2752" y="36"/>
                  <a:pt x="2714" y="36"/>
                </a:cubicBezTo>
                <a:cubicBezTo>
                  <a:pt x="2672" y="36"/>
                  <a:pt x="2630" y="62"/>
                  <a:pt x="2630" y="118"/>
                </a:cubicBezTo>
                <a:cubicBezTo>
                  <a:pt x="2630" y="140"/>
                  <a:pt x="2636" y="160"/>
                  <a:pt x="2648" y="182"/>
                </a:cubicBezTo>
                <a:cubicBezTo>
                  <a:pt x="2592" y="200"/>
                  <a:pt x="2562" y="248"/>
                  <a:pt x="2562" y="304"/>
                </a:cubicBezTo>
                <a:cubicBezTo>
                  <a:pt x="2562" y="406"/>
                  <a:pt x="2640" y="460"/>
                  <a:pt x="2726" y="460"/>
                </a:cubicBezTo>
                <a:cubicBezTo>
                  <a:pt x="2780" y="460"/>
                  <a:pt x="2824" y="444"/>
                  <a:pt x="2862" y="410"/>
                </a:cubicBezTo>
                <a:cubicBezTo>
                  <a:pt x="2888" y="424"/>
                  <a:pt x="2912" y="442"/>
                  <a:pt x="2928" y="448"/>
                </a:cubicBezTo>
                <a:moveTo>
                  <a:pt x="3094" y="212"/>
                </a:moveTo>
                <a:cubicBezTo>
                  <a:pt x="3094" y="88"/>
                  <a:pt x="3154" y="20"/>
                  <a:pt x="3252" y="20"/>
                </a:cubicBezTo>
                <a:cubicBezTo>
                  <a:pt x="3328" y="20"/>
                  <a:pt x="3372" y="58"/>
                  <a:pt x="3392" y="134"/>
                </a:cubicBezTo>
                <a:cubicBezTo>
                  <a:pt x="3404" y="134"/>
                  <a:pt x="3404" y="134"/>
                  <a:pt x="3404" y="134"/>
                </a:cubicBezTo>
                <a:cubicBezTo>
                  <a:pt x="3400" y="4"/>
                  <a:pt x="3400" y="4"/>
                  <a:pt x="3400" y="4"/>
                </a:cubicBezTo>
                <a:cubicBezTo>
                  <a:pt x="3388" y="4"/>
                  <a:pt x="3388" y="4"/>
                  <a:pt x="3388" y="4"/>
                </a:cubicBezTo>
                <a:cubicBezTo>
                  <a:pt x="3384" y="14"/>
                  <a:pt x="3376" y="18"/>
                  <a:pt x="3364" y="18"/>
                </a:cubicBezTo>
                <a:cubicBezTo>
                  <a:pt x="3338" y="18"/>
                  <a:pt x="3314" y="0"/>
                  <a:pt x="3248" y="0"/>
                </a:cubicBezTo>
                <a:cubicBezTo>
                  <a:pt x="3118" y="0"/>
                  <a:pt x="3030" y="102"/>
                  <a:pt x="3030" y="242"/>
                </a:cubicBezTo>
                <a:cubicBezTo>
                  <a:pt x="3030" y="376"/>
                  <a:pt x="3110" y="460"/>
                  <a:pt x="3238" y="460"/>
                </a:cubicBezTo>
                <a:cubicBezTo>
                  <a:pt x="3320" y="460"/>
                  <a:pt x="3384" y="420"/>
                  <a:pt x="3408" y="380"/>
                </a:cubicBezTo>
                <a:cubicBezTo>
                  <a:pt x="3396" y="366"/>
                  <a:pt x="3396" y="366"/>
                  <a:pt x="3396" y="366"/>
                </a:cubicBezTo>
                <a:cubicBezTo>
                  <a:pt x="3370" y="402"/>
                  <a:pt x="3314" y="426"/>
                  <a:pt x="3256" y="426"/>
                </a:cubicBezTo>
                <a:cubicBezTo>
                  <a:pt x="3156" y="426"/>
                  <a:pt x="3094" y="340"/>
                  <a:pt x="3094" y="212"/>
                </a:cubicBezTo>
                <a:moveTo>
                  <a:pt x="3678" y="328"/>
                </a:moveTo>
                <a:cubicBezTo>
                  <a:pt x="3678" y="392"/>
                  <a:pt x="3650" y="430"/>
                  <a:pt x="3592" y="430"/>
                </a:cubicBezTo>
                <a:cubicBezTo>
                  <a:pt x="3542" y="430"/>
                  <a:pt x="3496" y="384"/>
                  <a:pt x="3496" y="292"/>
                </a:cubicBezTo>
                <a:cubicBezTo>
                  <a:pt x="3496" y="226"/>
                  <a:pt x="3528" y="190"/>
                  <a:pt x="3580" y="190"/>
                </a:cubicBezTo>
                <a:cubicBezTo>
                  <a:pt x="3628" y="192"/>
                  <a:pt x="3678" y="238"/>
                  <a:pt x="3678" y="328"/>
                </a:cubicBezTo>
                <a:moveTo>
                  <a:pt x="3732" y="312"/>
                </a:moveTo>
                <a:cubicBezTo>
                  <a:pt x="3732" y="260"/>
                  <a:pt x="3710" y="214"/>
                  <a:pt x="3672" y="190"/>
                </a:cubicBezTo>
                <a:cubicBezTo>
                  <a:pt x="3650" y="176"/>
                  <a:pt x="3620" y="168"/>
                  <a:pt x="3588" y="168"/>
                </a:cubicBezTo>
                <a:cubicBezTo>
                  <a:pt x="3502" y="168"/>
                  <a:pt x="3442" y="230"/>
                  <a:pt x="3442" y="310"/>
                </a:cubicBezTo>
                <a:cubicBezTo>
                  <a:pt x="3442" y="364"/>
                  <a:pt x="3464" y="408"/>
                  <a:pt x="3502" y="432"/>
                </a:cubicBezTo>
                <a:cubicBezTo>
                  <a:pt x="3524" y="446"/>
                  <a:pt x="3554" y="452"/>
                  <a:pt x="3586" y="452"/>
                </a:cubicBezTo>
                <a:cubicBezTo>
                  <a:pt x="3672" y="454"/>
                  <a:pt x="3732" y="394"/>
                  <a:pt x="3732" y="312"/>
                </a:cubicBezTo>
                <a:moveTo>
                  <a:pt x="4136" y="448"/>
                </a:moveTo>
                <a:cubicBezTo>
                  <a:pt x="4280" y="448"/>
                  <a:pt x="4280" y="448"/>
                  <a:pt x="4280" y="448"/>
                </a:cubicBezTo>
                <a:cubicBezTo>
                  <a:pt x="4280" y="436"/>
                  <a:pt x="4280" y="436"/>
                  <a:pt x="4280" y="436"/>
                </a:cubicBezTo>
                <a:cubicBezTo>
                  <a:pt x="4230" y="434"/>
                  <a:pt x="4232" y="426"/>
                  <a:pt x="4232" y="348"/>
                </a:cubicBezTo>
                <a:cubicBezTo>
                  <a:pt x="4232" y="276"/>
                  <a:pt x="4232" y="276"/>
                  <a:pt x="4232" y="276"/>
                </a:cubicBezTo>
                <a:cubicBezTo>
                  <a:pt x="4232" y="200"/>
                  <a:pt x="4190" y="172"/>
                  <a:pt x="4142" y="172"/>
                </a:cubicBezTo>
                <a:cubicBezTo>
                  <a:pt x="4098" y="172"/>
                  <a:pt x="4064" y="196"/>
                  <a:pt x="4038" y="232"/>
                </a:cubicBezTo>
                <a:cubicBezTo>
                  <a:pt x="4028" y="194"/>
                  <a:pt x="4000" y="172"/>
                  <a:pt x="3954" y="172"/>
                </a:cubicBezTo>
                <a:cubicBezTo>
                  <a:pt x="3916" y="172"/>
                  <a:pt x="3880" y="196"/>
                  <a:pt x="3858" y="224"/>
                </a:cubicBezTo>
                <a:cubicBezTo>
                  <a:pt x="3858" y="176"/>
                  <a:pt x="3858" y="176"/>
                  <a:pt x="3858" y="176"/>
                </a:cubicBezTo>
                <a:cubicBezTo>
                  <a:pt x="3756" y="176"/>
                  <a:pt x="3756" y="176"/>
                  <a:pt x="3756" y="176"/>
                </a:cubicBezTo>
                <a:cubicBezTo>
                  <a:pt x="3756" y="188"/>
                  <a:pt x="3756" y="188"/>
                  <a:pt x="3756" y="188"/>
                </a:cubicBezTo>
                <a:cubicBezTo>
                  <a:pt x="3800" y="190"/>
                  <a:pt x="3806" y="192"/>
                  <a:pt x="3806" y="268"/>
                </a:cubicBezTo>
                <a:cubicBezTo>
                  <a:pt x="3806" y="346"/>
                  <a:pt x="3806" y="346"/>
                  <a:pt x="3806" y="346"/>
                </a:cubicBezTo>
                <a:cubicBezTo>
                  <a:pt x="3806" y="434"/>
                  <a:pt x="3804" y="434"/>
                  <a:pt x="3758" y="434"/>
                </a:cubicBezTo>
                <a:cubicBezTo>
                  <a:pt x="3758" y="446"/>
                  <a:pt x="3758" y="446"/>
                  <a:pt x="3758" y="446"/>
                </a:cubicBezTo>
                <a:cubicBezTo>
                  <a:pt x="3902" y="446"/>
                  <a:pt x="3902" y="446"/>
                  <a:pt x="3902" y="446"/>
                </a:cubicBezTo>
                <a:cubicBezTo>
                  <a:pt x="3902" y="434"/>
                  <a:pt x="3902" y="434"/>
                  <a:pt x="3902" y="434"/>
                </a:cubicBezTo>
                <a:cubicBezTo>
                  <a:pt x="3862" y="430"/>
                  <a:pt x="3858" y="430"/>
                  <a:pt x="3858" y="342"/>
                </a:cubicBezTo>
                <a:cubicBezTo>
                  <a:pt x="3858" y="262"/>
                  <a:pt x="3858" y="262"/>
                  <a:pt x="3858" y="262"/>
                </a:cubicBezTo>
                <a:cubicBezTo>
                  <a:pt x="3858" y="234"/>
                  <a:pt x="3894" y="204"/>
                  <a:pt x="3932" y="204"/>
                </a:cubicBezTo>
                <a:cubicBezTo>
                  <a:pt x="3974" y="204"/>
                  <a:pt x="3990" y="226"/>
                  <a:pt x="3990" y="282"/>
                </a:cubicBezTo>
                <a:cubicBezTo>
                  <a:pt x="3990" y="338"/>
                  <a:pt x="3990" y="338"/>
                  <a:pt x="3990" y="338"/>
                </a:cubicBezTo>
                <a:cubicBezTo>
                  <a:pt x="3990" y="428"/>
                  <a:pt x="3988" y="432"/>
                  <a:pt x="3950" y="436"/>
                </a:cubicBezTo>
                <a:cubicBezTo>
                  <a:pt x="3950" y="448"/>
                  <a:pt x="3950" y="448"/>
                  <a:pt x="3950" y="448"/>
                </a:cubicBezTo>
                <a:cubicBezTo>
                  <a:pt x="4086" y="448"/>
                  <a:pt x="4086" y="448"/>
                  <a:pt x="4086" y="448"/>
                </a:cubicBezTo>
                <a:cubicBezTo>
                  <a:pt x="4086" y="436"/>
                  <a:pt x="4086" y="436"/>
                  <a:pt x="4086" y="436"/>
                </a:cubicBezTo>
                <a:cubicBezTo>
                  <a:pt x="4040" y="432"/>
                  <a:pt x="4042" y="428"/>
                  <a:pt x="4042" y="342"/>
                </a:cubicBezTo>
                <a:cubicBezTo>
                  <a:pt x="4042" y="264"/>
                  <a:pt x="4042" y="264"/>
                  <a:pt x="4042" y="264"/>
                </a:cubicBezTo>
                <a:cubicBezTo>
                  <a:pt x="4042" y="236"/>
                  <a:pt x="4078" y="206"/>
                  <a:pt x="4118" y="206"/>
                </a:cubicBezTo>
                <a:cubicBezTo>
                  <a:pt x="4152" y="206"/>
                  <a:pt x="4174" y="226"/>
                  <a:pt x="4174" y="284"/>
                </a:cubicBezTo>
                <a:cubicBezTo>
                  <a:pt x="4174" y="346"/>
                  <a:pt x="4174" y="346"/>
                  <a:pt x="4174" y="346"/>
                </a:cubicBezTo>
                <a:cubicBezTo>
                  <a:pt x="4174" y="428"/>
                  <a:pt x="4174" y="432"/>
                  <a:pt x="4134" y="436"/>
                </a:cubicBezTo>
                <a:cubicBezTo>
                  <a:pt x="4134" y="448"/>
                  <a:pt x="4134" y="448"/>
                  <a:pt x="4134" y="448"/>
                </a:cubicBezTo>
                <a:lnTo>
                  <a:pt x="4136" y="448"/>
                </a:lnTo>
                <a:close/>
                <a:moveTo>
                  <a:pt x="4546" y="316"/>
                </a:moveTo>
                <a:cubicBezTo>
                  <a:pt x="4546" y="388"/>
                  <a:pt x="4516" y="432"/>
                  <a:pt x="4460" y="432"/>
                </a:cubicBezTo>
                <a:cubicBezTo>
                  <a:pt x="4424" y="432"/>
                  <a:pt x="4384" y="412"/>
                  <a:pt x="4384" y="384"/>
                </a:cubicBezTo>
                <a:cubicBezTo>
                  <a:pt x="4384" y="248"/>
                  <a:pt x="4384" y="248"/>
                  <a:pt x="4384" y="248"/>
                </a:cubicBezTo>
                <a:cubicBezTo>
                  <a:pt x="4384" y="226"/>
                  <a:pt x="4416" y="202"/>
                  <a:pt x="4454" y="202"/>
                </a:cubicBezTo>
                <a:cubicBezTo>
                  <a:pt x="4510" y="206"/>
                  <a:pt x="4546" y="248"/>
                  <a:pt x="4546" y="316"/>
                </a:cubicBezTo>
                <a:moveTo>
                  <a:pt x="4600" y="310"/>
                </a:moveTo>
                <a:cubicBezTo>
                  <a:pt x="4600" y="230"/>
                  <a:pt x="4548" y="170"/>
                  <a:pt x="4478" y="170"/>
                </a:cubicBezTo>
                <a:cubicBezTo>
                  <a:pt x="4438" y="170"/>
                  <a:pt x="4406" y="188"/>
                  <a:pt x="4384" y="214"/>
                </a:cubicBezTo>
                <a:cubicBezTo>
                  <a:pt x="4384" y="174"/>
                  <a:pt x="4384" y="174"/>
                  <a:pt x="4384" y="174"/>
                </a:cubicBezTo>
                <a:cubicBezTo>
                  <a:pt x="4284" y="174"/>
                  <a:pt x="4284" y="174"/>
                  <a:pt x="4284" y="174"/>
                </a:cubicBezTo>
                <a:cubicBezTo>
                  <a:pt x="4284" y="186"/>
                  <a:pt x="4284" y="186"/>
                  <a:pt x="4284" y="186"/>
                </a:cubicBezTo>
                <a:cubicBezTo>
                  <a:pt x="4326" y="188"/>
                  <a:pt x="4332" y="190"/>
                  <a:pt x="4332" y="280"/>
                </a:cubicBezTo>
                <a:cubicBezTo>
                  <a:pt x="4332" y="466"/>
                  <a:pt x="4332" y="466"/>
                  <a:pt x="4332" y="466"/>
                </a:cubicBezTo>
                <a:cubicBezTo>
                  <a:pt x="4332" y="564"/>
                  <a:pt x="4334" y="570"/>
                  <a:pt x="4286" y="574"/>
                </a:cubicBezTo>
                <a:cubicBezTo>
                  <a:pt x="4286" y="588"/>
                  <a:pt x="4286" y="588"/>
                  <a:pt x="4286" y="588"/>
                </a:cubicBezTo>
                <a:cubicBezTo>
                  <a:pt x="4432" y="588"/>
                  <a:pt x="4432" y="588"/>
                  <a:pt x="4432" y="588"/>
                </a:cubicBezTo>
                <a:cubicBezTo>
                  <a:pt x="4432" y="574"/>
                  <a:pt x="4432" y="574"/>
                  <a:pt x="4432" y="574"/>
                </a:cubicBezTo>
                <a:cubicBezTo>
                  <a:pt x="4380" y="572"/>
                  <a:pt x="4384" y="564"/>
                  <a:pt x="4384" y="462"/>
                </a:cubicBezTo>
                <a:cubicBezTo>
                  <a:pt x="4384" y="424"/>
                  <a:pt x="4384" y="424"/>
                  <a:pt x="4384" y="424"/>
                </a:cubicBezTo>
                <a:cubicBezTo>
                  <a:pt x="4404" y="444"/>
                  <a:pt x="4436" y="454"/>
                  <a:pt x="4466" y="454"/>
                </a:cubicBezTo>
                <a:cubicBezTo>
                  <a:pt x="4548" y="454"/>
                  <a:pt x="4600" y="392"/>
                  <a:pt x="4600" y="310"/>
                </a:cubicBezTo>
                <a:moveTo>
                  <a:pt x="4792" y="382"/>
                </a:moveTo>
                <a:cubicBezTo>
                  <a:pt x="4792" y="404"/>
                  <a:pt x="4762" y="424"/>
                  <a:pt x="4736" y="424"/>
                </a:cubicBezTo>
                <a:cubicBezTo>
                  <a:pt x="4712" y="424"/>
                  <a:pt x="4694" y="410"/>
                  <a:pt x="4694" y="378"/>
                </a:cubicBezTo>
                <a:cubicBezTo>
                  <a:pt x="4694" y="322"/>
                  <a:pt x="4752" y="328"/>
                  <a:pt x="4792" y="306"/>
                </a:cubicBezTo>
                <a:cubicBezTo>
                  <a:pt x="4792" y="382"/>
                  <a:pt x="4792" y="382"/>
                  <a:pt x="4792" y="382"/>
                </a:cubicBezTo>
                <a:close/>
                <a:moveTo>
                  <a:pt x="5240" y="434"/>
                </a:moveTo>
                <a:cubicBezTo>
                  <a:pt x="5192" y="432"/>
                  <a:pt x="5192" y="430"/>
                  <a:pt x="5192" y="340"/>
                </a:cubicBezTo>
                <a:cubicBezTo>
                  <a:pt x="5192" y="278"/>
                  <a:pt x="5192" y="278"/>
                  <a:pt x="5192" y="278"/>
                </a:cubicBezTo>
                <a:cubicBezTo>
                  <a:pt x="5192" y="196"/>
                  <a:pt x="5146" y="170"/>
                  <a:pt x="5104" y="170"/>
                </a:cubicBezTo>
                <a:cubicBezTo>
                  <a:pt x="5068" y="170"/>
                  <a:pt x="5032" y="186"/>
                  <a:pt x="5004" y="222"/>
                </a:cubicBezTo>
                <a:cubicBezTo>
                  <a:pt x="5004" y="174"/>
                  <a:pt x="5004" y="174"/>
                  <a:pt x="5004" y="174"/>
                </a:cubicBezTo>
                <a:cubicBezTo>
                  <a:pt x="4902" y="174"/>
                  <a:pt x="4902" y="174"/>
                  <a:pt x="4902" y="174"/>
                </a:cubicBezTo>
                <a:cubicBezTo>
                  <a:pt x="4902" y="186"/>
                  <a:pt x="4902" y="186"/>
                  <a:pt x="4902" y="186"/>
                </a:cubicBezTo>
                <a:cubicBezTo>
                  <a:pt x="4946" y="188"/>
                  <a:pt x="4952" y="190"/>
                  <a:pt x="4952" y="266"/>
                </a:cubicBezTo>
                <a:cubicBezTo>
                  <a:pt x="4952" y="334"/>
                  <a:pt x="4952" y="334"/>
                  <a:pt x="4952" y="334"/>
                </a:cubicBezTo>
                <a:cubicBezTo>
                  <a:pt x="4952" y="430"/>
                  <a:pt x="4952" y="432"/>
                  <a:pt x="4904" y="434"/>
                </a:cubicBezTo>
                <a:cubicBezTo>
                  <a:pt x="4892" y="434"/>
                  <a:pt x="4892" y="434"/>
                  <a:pt x="4892" y="434"/>
                </a:cubicBezTo>
                <a:cubicBezTo>
                  <a:pt x="4854" y="434"/>
                  <a:pt x="4850" y="422"/>
                  <a:pt x="4850" y="366"/>
                </a:cubicBezTo>
                <a:cubicBezTo>
                  <a:pt x="4850" y="274"/>
                  <a:pt x="4850" y="274"/>
                  <a:pt x="4850" y="274"/>
                </a:cubicBezTo>
                <a:cubicBezTo>
                  <a:pt x="4850" y="256"/>
                  <a:pt x="4848" y="240"/>
                  <a:pt x="4844" y="228"/>
                </a:cubicBezTo>
                <a:cubicBezTo>
                  <a:pt x="4830" y="186"/>
                  <a:pt x="4796" y="170"/>
                  <a:pt x="4748" y="170"/>
                </a:cubicBezTo>
                <a:cubicBezTo>
                  <a:pt x="4718" y="170"/>
                  <a:pt x="4674" y="180"/>
                  <a:pt x="4650" y="202"/>
                </a:cubicBezTo>
                <a:cubicBezTo>
                  <a:pt x="4652" y="214"/>
                  <a:pt x="4664" y="240"/>
                  <a:pt x="4670" y="248"/>
                </a:cubicBezTo>
                <a:cubicBezTo>
                  <a:pt x="4676" y="246"/>
                  <a:pt x="4676" y="246"/>
                  <a:pt x="4676" y="246"/>
                </a:cubicBezTo>
                <a:cubicBezTo>
                  <a:pt x="4688" y="216"/>
                  <a:pt x="4708" y="194"/>
                  <a:pt x="4742" y="194"/>
                </a:cubicBezTo>
                <a:cubicBezTo>
                  <a:pt x="4778" y="194"/>
                  <a:pt x="4794" y="220"/>
                  <a:pt x="4794" y="250"/>
                </a:cubicBezTo>
                <a:cubicBezTo>
                  <a:pt x="4794" y="282"/>
                  <a:pt x="4794" y="282"/>
                  <a:pt x="4794" y="282"/>
                </a:cubicBezTo>
                <a:cubicBezTo>
                  <a:pt x="4794" y="302"/>
                  <a:pt x="4702" y="306"/>
                  <a:pt x="4664" y="338"/>
                </a:cubicBezTo>
                <a:cubicBezTo>
                  <a:pt x="4652" y="350"/>
                  <a:pt x="4642" y="364"/>
                  <a:pt x="4642" y="384"/>
                </a:cubicBezTo>
                <a:cubicBezTo>
                  <a:pt x="4642" y="426"/>
                  <a:pt x="4672" y="456"/>
                  <a:pt x="4716" y="456"/>
                </a:cubicBezTo>
                <a:cubicBezTo>
                  <a:pt x="4744" y="456"/>
                  <a:pt x="4768" y="446"/>
                  <a:pt x="4794" y="418"/>
                </a:cubicBezTo>
                <a:cubicBezTo>
                  <a:pt x="4798" y="438"/>
                  <a:pt x="4814" y="448"/>
                  <a:pt x="4842" y="448"/>
                </a:cubicBezTo>
                <a:cubicBezTo>
                  <a:pt x="4906" y="448"/>
                  <a:pt x="4906" y="448"/>
                  <a:pt x="4906" y="448"/>
                </a:cubicBezTo>
                <a:cubicBezTo>
                  <a:pt x="4906" y="448"/>
                  <a:pt x="4906" y="448"/>
                  <a:pt x="4906" y="448"/>
                </a:cubicBezTo>
                <a:cubicBezTo>
                  <a:pt x="5048" y="448"/>
                  <a:pt x="5048" y="448"/>
                  <a:pt x="5048" y="448"/>
                </a:cubicBezTo>
                <a:cubicBezTo>
                  <a:pt x="5048" y="436"/>
                  <a:pt x="5048" y="436"/>
                  <a:pt x="5048" y="436"/>
                </a:cubicBezTo>
                <a:cubicBezTo>
                  <a:pt x="5006" y="432"/>
                  <a:pt x="5004" y="434"/>
                  <a:pt x="5004" y="338"/>
                </a:cubicBezTo>
                <a:cubicBezTo>
                  <a:pt x="5004" y="262"/>
                  <a:pt x="5004" y="262"/>
                  <a:pt x="5004" y="262"/>
                </a:cubicBezTo>
                <a:cubicBezTo>
                  <a:pt x="5004" y="236"/>
                  <a:pt x="5038" y="206"/>
                  <a:pt x="5080" y="206"/>
                </a:cubicBezTo>
                <a:cubicBezTo>
                  <a:pt x="5114" y="206"/>
                  <a:pt x="5140" y="220"/>
                  <a:pt x="5140" y="286"/>
                </a:cubicBezTo>
                <a:cubicBezTo>
                  <a:pt x="5140" y="340"/>
                  <a:pt x="5140" y="340"/>
                  <a:pt x="5140" y="340"/>
                </a:cubicBezTo>
                <a:cubicBezTo>
                  <a:pt x="5140" y="432"/>
                  <a:pt x="5136" y="432"/>
                  <a:pt x="5098" y="434"/>
                </a:cubicBezTo>
                <a:cubicBezTo>
                  <a:pt x="5098" y="446"/>
                  <a:pt x="5098" y="446"/>
                  <a:pt x="5098" y="446"/>
                </a:cubicBezTo>
                <a:cubicBezTo>
                  <a:pt x="5240" y="446"/>
                  <a:pt x="5240" y="446"/>
                  <a:pt x="5240" y="446"/>
                </a:cubicBezTo>
                <a:lnTo>
                  <a:pt x="5240" y="434"/>
                </a:lnTo>
                <a:close/>
                <a:moveTo>
                  <a:pt x="5516" y="192"/>
                </a:moveTo>
                <a:cubicBezTo>
                  <a:pt x="5516" y="180"/>
                  <a:pt x="5516" y="180"/>
                  <a:pt x="5516" y="180"/>
                </a:cubicBezTo>
                <a:cubicBezTo>
                  <a:pt x="5418" y="180"/>
                  <a:pt x="5418" y="180"/>
                  <a:pt x="5418" y="180"/>
                </a:cubicBezTo>
                <a:cubicBezTo>
                  <a:pt x="5418" y="192"/>
                  <a:pt x="5418" y="192"/>
                  <a:pt x="5418" y="192"/>
                </a:cubicBezTo>
                <a:cubicBezTo>
                  <a:pt x="5442" y="194"/>
                  <a:pt x="5454" y="206"/>
                  <a:pt x="5446" y="234"/>
                </a:cubicBezTo>
                <a:cubicBezTo>
                  <a:pt x="5394" y="390"/>
                  <a:pt x="5394" y="390"/>
                  <a:pt x="5394" y="390"/>
                </a:cubicBezTo>
                <a:cubicBezTo>
                  <a:pt x="5342" y="270"/>
                  <a:pt x="5342" y="270"/>
                  <a:pt x="5342" y="270"/>
                </a:cubicBezTo>
                <a:cubicBezTo>
                  <a:pt x="5328" y="238"/>
                  <a:pt x="5322" y="224"/>
                  <a:pt x="5322" y="212"/>
                </a:cubicBezTo>
                <a:cubicBezTo>
                  <a:pt x="5322" y="202"/>
                  <a:pt x="5328" y="196"/>
                  <a:pt x="5348" y="192"/>
                </a:cubicBezTo>
                <a:cubicBezTo>
                  <a:pt x="5348" y="180"/>
                  <a:pt x="5348" y="180"/>
                  <a:pt x="5348" y="180"/>
                </a:cubicBezTo>
                <a:cubicBezTo>
                  <a:pt x="5220" y="180"/>
                  <a:pt x="5220" y="180"/>
                  <a:pt x="5220" y="180"/>
                </a:cubicBezTo>
                <a:cubicBezTo>
                  <a:pt x="5220" y="192"/>
                  <a:pt x="5220" y="192"/>
                  <a:pt x="5220" y="192"/>
                </a:cubicBezTo>
                <a:cubicBezTo>
                  <a:pt x="5252" y="194"/>
                  <a:pt x="5254" y="198"/>
                  <a:pt x="5296" y="292"/>
                </a:cubicBezTo>
                <a:cubicBezTo>
                  <a:pt x="5368" y="450"/>
                  <a:pt x="5368" y="450"/>
                  <a:pt x="5368" y="450"/>
                </a:cubicBezTo>
                <a:cubicBezTo>
                  <a:pt x="5344" y="512"/>
                  <a:pt x="5306" y="546"/>
                  <a:pt x="5228" y="564"/>
                </a:cubicBezTo>
                <a:cubicBezTo>
                  <a:pt x="5232" y="576"/>
                  <a:pt x="5246" y="600"/>
                  <a:pt x="5254" y="606"/>
                </a:cubicBezTo>
                <a:cubicBezTo>
                  <a:pt x="5356" y="564"/>
                  <a:pt x="5376" y="498"/>
                  <a:pt x="5412" y="396"/>
                </a:cubicBezTo>
                <a:cubicBezTo>
                  <a:pt x="5466" y="242"/>
                  <a:pt x="5466" y="242"/>
                  <a:pt x="5466" y="242"/>
                </a:cubicBezTo>
                <a:cubicBezTo>
                  <a:pt x="5478" y="206"/>
                  <a:pt x="5498" y="192"/>
                  <a:pt x="5516" y="192"/>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600" kern="1200">
                <a:solidFill>
                  <a:schemeClr val="tx1"/>
                </a:solidFill>
                <a:latin typeface="Arial" charset="0"/>
                <a:ea typeface="+mn-ea"/>
                <a:cs typeface="+mn-cs"/>
              </a:defRPr>
            </a:lvl1pPr>
            <a:lvl2pPr marL="457200" algn="l" rtl="0" fontAlgn="base">
              <a:spcBef>
                <a:spcPct val="0"/>
              </a:spcBef>
              <a:spcAft>
                <a:spcPct val="0"/>
              </a:spcAft>
              <a:defRPr sz="1600" kern="1200">
                <a:solidFill>
                  <a:schemeClr val="tx1"/>
                </a:solidFill>
                <a:latin typeface="Arial" charset="0"/>
                <a:ea typeface="+mn-ea"/>
                <a:cs typeface="+mn-cs"/>
              </a:defRPr>
            </a:lvl2pPr>
            <a:lvl3pPr marL="914400" algn="l" rtl="0" fontAlgn="base">
              <a:spcBef>
                <a:spcPct val="0"/>
              </a:spcBef>
              <a:spcAft>
                <a:spcPct val="0"/>
              </a:spcAft>
              <a:defRPr sz="1600" kern="1200">
                <a:solidFill>
                  <a:schemeClr val="tx1"/>
                </a:solidFill>
                <a:latin typeface="Arial" charset="0"/>
                <a:ea typeface="+mn-ea"/>
                <a:cs typeface="+mn-cs"/>
              </a:defRPr>
            </a:lvl3pPr>
            <a:lvl4pPr marL="1371600" algn="l" rtl="0" fontAlgn="base">
              <a:spcBef>
                <a:spcPct val="0"/>
              </a:spcBef>
              <a:spcAft>
                <a:spcPct val="0"/>
              </a:spcAft>
              <a:defRPr sz="1600" kern="1200">
                <a:solidFill>
                  <a:schemeClr val="tx1"/>
                </a:solidFill>
                <a:latin typeface="Arial" charset="0"/>
                <a:ea typeface="+mn-ea"/>
                <a:cs typeface="+mn-cs"/>
              </a:defRPr>
            </a:lvl4pPr>
            <a:lvl5pPr marL="1828800" algn="l" rtl="0" fontAlgn="base">
              <a:spcBef>
                <a:spcPct val="0"/>
              </a:spcBef>
              <a:spcAft>
                <a:spcPct val="0"/>
              </a:spcAft>
              <a:defRPr sz="1600" kern="1200">
                <a:solidFill>
                  <a:schemeClr val="tx1"/>
                </a:solidFill>
                <a:latin typeface="Arial" charset="0"/>
                <a:ea typeface="+mn-ea"/>
                <a:cs typeface="+mn-cs"/>
              </a:defRPr>
            </a:lvl5pPr>
            <a:lvl6pPr marL="2286000" algn="l" defTabSz="914400" rtl="0" eaLnBrk="1" latinLnBrk="0" hangingPunct="1">
              <a:defRPr sz="1600" kern="1200">
                <a:solidFill>
                  <a:schemeClr val="tx1"/>
                </a:solidFill>
                <a:latin typeface="Arial" charset="0"/>
                <a:ea typeface="+mn-ea"/>
                <a:cs typeface="+mn-cs"/>
              </a:defRPr>
            </a:lvl6pPr>
            <a:lvl7pPr marL="2743200" algn="l" defTabSz="914400" rtl="0" eaLnBrk="1" latinLnBrk="0" hangingPunct="1">
              <a:defRPr sz="1600" kern="1200">
                <a:solidFill>
                  <a:schemeClr val="tx1"/>
                </a:solidFill>
                <a:latin typeface="Arial" charset="0"/>
                <a:ea typeface="+mn-ea"/>
                <a:cs typeface="+mn-cs"/>
              </a:defRPr>
            </a:lvl7pPr>
            <a:lvl8pPr marL="3200400" algn="l" defTabSz="914400" rtl="0" eaLnBrk="1" latinLnBrk="0" hangingPunct="1">
              <a:defRPr sz="1600" kern="1200">
                <a:solidFill>
                  <a:schemeClr val="tx1"/>
                </a:solidFill>
                <a:latin typeface="Arial" charset="0"/>
                <a:ea typeface="+mn-ea"/>
                <a:cs typeface="+mn-cs"/>
              </a:defRPr>
            </a:lvl8pPr>
            <a:lvl9pPr marL="3657600" algn="l" defTabSz="914400" rtl="0" eaLnBrk="1" latinLnBrk="0" hangingPunct="1">
              <a:defRPr sz="1600" kern="1200">
                <a:solidFill>
                  <a:schemeClr val="tx1"/>
                </a:solidFill>
                <a:latin typeface="Arial" charset="0"/>
                <a:ea typeface="+mn-ea"/>
                <a:cs typeface="+mn-cs"/>
              </a:defRPr>
            </a:lvl9pPr>
          </a:lstStyle>
          <a:p>
            <a:endParaRPr lang="en-US" baseline="0" dirty="0">
              <a:solidFill>
                <a:srgbClr val="000000"/>
              </a:solidFill>
              <a:latin typeface="+mn-lt"/>
            </a:endParaRPr>
          </a:p>
        </p:txBody>
      </p:sp>
      <p:sp>
        <p:nvSpPr>
          <p:cNvPr id="27" name="Disclaimer-English (United States)" hidden="1"/>
          <p:cNvSpPr>
            <a:spLocks noChangeArrowheads="1"/>
          </p:cNvSpPr>
          <p:nvPr/>
        </p:nvSpPr>
        <p:spPr bwMode="black">
          <a:xfrm>
            <a:off x="2268266" y="6287785"/>
            <a:ext cx="3544453" cy="36908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t" anchorCtr="0">
            <a:noAutofit/>
          </a:bodyPr>
          <a:lstStyle/>
          <a:p>
            <a:pPr defTabSz="804863" eaLnBrk="0" hangingPunct="0"/>
            <a:r>
              <a:rPr lang="en-US" sz="800" baseline="0" dirty="0">
                <a:solidFill>
                  <a:srgbClr val="FFFFFF"/>
                </a:solidFill>
                <a:latin typeface="+mn-lt"/>
              </a:rPr>
              <a:t>CONFIDENTIAL AND PROPRIETARY</a:t>
            </a:r>
          </a:p>
          <a:p>
            <a:pPr defTabSz="804863" eaLnBrk="0" hangingPunct="0"/>
            <a:r>
              <a:rPr lang="en-US" sz="800" baseline="0" dirty="0">
                <a:solidFill>
                  <a:srgbClr val="FFFFFF"/>
                </a:solidFill>
                <a:latin typeface="+mn-lt"/>
              </a:rPr>
              <a:t>Any use of this material without specific permission of McKinsey &amp; Company is strictly prohibited</a:t>
            </a:r>
          </a:p>
        </p:txBody>
      </p:sp>
    </p:spTree>
    <p:extLst>
      <p:ext uri="{BB962C8B-B14F-4D97-AF65-F5344CB8AC3E}">
        <p14:creationId xmlns:p14="http://schemas.microsoft.com/office/powerpoint/2010/main" val="886538731"/>
      </p:ext>
    </p:extLst>
  </p:cSld>
  <p:clrMapOvr>
    <a:masterClrMapping/>
  </p:clrMapOvr>
  <p:extLst mod="1">
    <p:ext uri="{DCECCB84-F9BA-43D5-87BE-67443E8EF086}">
      <p15:sldGuideLst xmlns:p15="http://schemas.microsoft.com/office/powerpoint/2012/main">
        <p15:guide id="1" orient="horz" pos="2117">
          <p15:clr>
            <a:srgbClr val="FBAE40"/>
          </p15:clr>
        </p15:guide>
        <p15:guide id="2" pos="1416">
          <p15:clr>
            <a:srgbClr val="FBAE4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6E228F5-5CF1-42E1-9748-97D7582A107A}"/>
              </a:ext>
            </a:extLst>
          </p:cNvPr>
          <p:cNvGraphicFramePr>
            <a:graphicFrameLocks noChangeAspect="1"/>
          </p:cNvGraphicFramePr>
          <p:nvPr>
            <p:custDataLst>
              <p:tags r:id="rId2"/>
            </p:custDataLst>
            <p:extLst>
              <p:ext uri="{D42A27DB-BD31-4B8C-83A1-F6EECF244321}">
                <p14:modId xmlns:p14="http://schemas.microsoft.com/office/powerpoint/2010/main" val="76666644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0852" name="think-cell Slide" r:id="rId5" imgW="353" imgH="353" progId="TCLayout.ActiveDocument.1">
                  <p:embed/>
                </p:oleObj>
              </mc:Choice>
              <mc:Fallback>
                <p:oleObj name="think-cell Slide" r:id="rId5" imgW="353" imgH="353" progId="TCLayout.ActiveDocument.1">
                  <p:embed/>
                  <p:pic>
                    <p:nvPicPr>
                      <p:cNvPr id="3" name="Object 2" hidden="1">
                        <a:extLst>
                          <a:ext uri="{FF2B5EF4-FFF2-40B4-BE49-F238E27FC236}">
                            <a16:creationId xmlns:a16="http://schemas.microsoft.com/office/drawing/2014/main" id="{C6E228F5-5CF1-42E1-9748-97D7582A107A}"/>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2. Slide Title"/>
          <p:cNvSpPr>
            <a:spLocks noGrp="1"/>
          </p:cNvSpPr>
          <p:nvPr>
            <p:ph type="title"/>
          </p:nvPr>
        </p:nvSpPr>
        <p:spPr bwMode="auto"/>
        <p:txBody>
          <a:bodyPr/>
          <a:lstStyle/>
          <a:p>
            <a:r>
              <a:rPr lang="en-US"/>
              <a:t>Click to edit Master title style</a:t>
            </a:r>
            <a:endParaRPr lang="en-US" dirty="0"/>
          </a:p>
        </p:txBody>
      </p:sp>
      <p:sp>
        <p:nvSpPr>
          <p:cNvPr id="8" name="Slide Number"/>
          <p:cNvSpPr txBox="1">
            <a:spLocks/>
          </p:cNvSpPr>
          <p:nvPr/>
        </p:nvSpPr>
        <p:spPr bwMode="auto">
          <a:xfrm>
            <a:off x="8564563" y="6508272"/>
            <a:ext cx="125034" cy="123111"/>
          </a:xfrm>
          <a:prstGeom prst="rect">
            <a:avLst/>
          </a:prstGeom>
        </p:spPr>
        <p:txBody>
          <a:bodyPr vert="horz" wrap="none" lIns="0" tIns="0" rIns="0" bIns="0" rtlCol="0" anchor="ctr">
            <a:spAutoFit/>
          </a:bodyPr>
          <a:lstStyle>
            <a:defPPr>
              <a:defRPr lang="en-US"/>
            </a:defPPr>
            <a:lvl1pPr>
              <a:defRPr sz="1000" baseline="0">
                <a:latin typeface="+mn-lt"/>
              </a:defRPr>
            </a:lvl1pPr>
          </a:lstStyle>
          <a:p>
            <a:fld id="{42C328C1-A84F-4A39-A664-DBA00541A8C6}" type="slidenum">
              <a:rPr lang="en-US" sz="800" baseline="0" smtClean="0">
                <a:solidFill>
                  <a:srgbClr val="808080"/>
                </a:solidFill>
                <a:latin typeface="+mn-lt"/>
              </a:rPr>
              <a:pPr/>
              <a:t>‹#›</a:t>
            </a:fld>
            <a:endParaRPr lang="en-US" sz="800" baseline="0" dirty="0">
              <a:solidFill>
                <a:srgbClr val="808080"/>
              </a:solidFill>
              <a:latin typeface="+mn-lt"/>
            </a:endParaRPr>
          </a:p>
        </p:txBody>
      </p:sp>
      <p:sp>
        <p:nvSpPr>
          <p:cNvPr id="9" name="SlideLogoText"/>
          <p:cNvSpPr>
            <a:spLocks noChangeArrowheads="1"/>
          </p:cNvSpPr>
          <p:nvPr>
            <p:custDataLst>
              <p:tags r:id="rId3"/>
            </p:custDataLst>
          </p:nvPr>
        </p:nvSpPr>
        <p:spPr bwMode="auto">
          <a:xfrm>
            <a:off x="7450817" y="6508272"/>
            <a:ext cx="1013098"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algn="r" defTabSz="895350"/>
            <a:r>
              <a:rPr lang="en-US" sz="800" baseline="0" dirty="0">
                <a:solidFill>
                  <a:srgbClr val="808080"/>
                </a:solidFill>
                <a:latin typeface="+mn-lt"/>
              </a:rPr>
              <a:t>McKinsey &amp; Company</a:t>
            </a:r>
          </a:p>
        </p:txBody>
      </p:sp>
      <p:sp>
        <p:nvSpPr>
          <p:cNvPr id="5" name="doc id" hidden="1"/>
          <p:cNvSpPr txBox="1">
            <a:spLocks noChangeArrowheads="1"/>
          </p:cNvSpPr>
          <p:nvPr/>
        </p:nvSpPr>
        <p:spPr bwMode="white">
          <a:xfrm>
            <a:off x="8104473" y="36513"/>
            <a:ext cx="634716" cy="115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hangingPunct="1">
              <a:defRPr/>
            </a:pPr>
            <a:endParaRPr lang="en-US" sz="800" baseline="0" dirty="0">
              <a:solidFill>
                <a:schemeClr val="accent1"/>
              </a:solidFill>
              <a:latin typeface="+mn-lt"/>
              <a:ea typeface="+mn-ea"/>
            </a:endParaRPr>
          </a:p>
        </p:txBody>
      </p:sp>
    </p:spTree>
    <p:extLst>
      <p:ext uri="{BB962C8B-B14F-4D97-AF65-F5344CB8AC3E}">
        <p14:creationId xmlns:p14="http://schemas.microsoft.com/office/powerpoint/2010/main" val="3684264544"/>
      </p:ext>
    </p:extLst>
  </p:cSld>
  <p:clrMapOvr>
    <a:masterClrMapping/>
  </p:clrMapOvr>
  <p:extLst mod="1">
    <p:ext uri="{DCECCB84-F9BA-43D5-87BE-67443E8EF086}">
      <p15:sldGuideLst xmlns:p15="http://schemas.microsoft.com/office/powerpoint/2012/main">
        <p15:guide id="1" pos="5505">
          <p15:clr>
            <a:srgbClr val="F26B43"/>
          </p15:clr>
        </p15:guide>
        <p15:guide id="2" pos="74">
          <p15:clr>
            <a:srgbClr val="F26B43"/>
          </p15:clr>
        </p15:guide>
        <p15:guide id="3" orient="horz" pos="571">
          <p15:clr>
            <a:srgbClr val="F26B43"/>
          </p15:clr>
        </p15:guide>
        <p15:guide id="4" orient="horz" pos="3911">
          <p15:clr>
            <a:srgbClr val="F26B43"/>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p:cSld name="1_Title Only">
    <p:bg>
      <p:bgPr>
        <a:solidFill>
          <a:schemeClr val="accent2"/>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F4AD34F-3B47-47E2-A09C-FFEB949F6A10}"/>
              </a:ext>
            </a:extLst>
          </p:cNvPr>
          <p:cNvGraphicFramePr>
            <a:graphicFrameLocks noChangeAspect="1"/>
          </p:cNvGraphicFramePr>
          <p:nvPr>
            <p:custDataLst>
              <p:tags r:id="rId2"/>
            </p:custDataLst>
            <p:extLst>
              <p:ext uri="{D42A27DB-BD31-4B8C-83A1-F6EECF244321}">
                <p14:modId xmlns:p14="http://schemas.microsoft.com/office/powerpoint/2010/main" val="318455783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1876" name="think-cell Slide" r:id="rId5" imgW="395" imgH="394" progId="TCLayout.ActiveDocument.1">
                  <p:embed/>
                </p:oleObj>
              </mc:Choice>
              <mc:Fallback>
                <p:oleObj name="think-cell Slide" r:id="rId5" imgW="395" imgH="394" progId="TCLayout.ActiveDocument.1">
                  <p:embed/>
                  <p:pic>
                    <p:nvPicPr>
                      <p:cNvPr id="3" name="Object 2" hidden="1">
                        <a:extLst>
                          <a:ext uri="{FF2B5EF4-FFF2-40B4-BE49-F238E27FC236}">
                            <a16:creationId xmlns:a16="http://schemas.microsoft.com/office/drawing/2014/main" id="{EF4AD34F-3B47-47E2-A09C-FFEB949F6A10}"/>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endParaRPr lang="en-US" dirty="0"/>
          </a:p>
        </p:txBody>
      </p:sp>
      <p:sp>
        <p:nvSpPr>
          <p:cNvPr id="15" name="Slide Number"/>
          <p:cNvSpPr txBox="1">
            <a:spLocks/>
          </p:cNvSpPr>
          <p:nvPr/>
        </p:nvSpPr>
        <p:spPr>
          <a:xfrm>
            <a:off x="8564563" y="6508272"/>
            <a:ext cx="125034" cy="123111"/>
          </a:xfrm>
          <a:prstGeom prst="rect">
            <a:avLst/>
          </a:prstGeom>
        </p:spPr>
        <p:txBody>
          <a:bodyPr vert="horz" wrap="none" lIns="0" tIns="0" rIns="0" bIns="0" rtlCol="0" anchor="ctr">
            <a:spAutoFit/>
          </a:bodyPr>
          <a:lstStyle>
            <a:defPPr>
              <a:defRPr lang="en-US"/>
            </a:defPPr>
            <a:lvl1pPr>
              <a:defRPr sz="1000" baseline="0">
                <a:latin typeface="+mn-lt"/>
              </a:defRPr>
            </a:lvl1pPr>
          </a:lstStyle>
          <a:p>
            <a:fld id="{42C328C1-A84F-4A39-A664-DBA00541A8C6}" type="slidenum">
              <a:rPr lang="en-US" sz="800" baseline="0" smtClean="0">
                <a:solidFill>
                  <a:srgbClr val="FFFFFF"/>
                </a:solidFill>
                <a:latin typeface="+mn-lt"/>
              </a:rPr>
              <a:pPr/>
              <a:t>‹#›</a:t>
            </a:fld>
            <a:endParaRPr lang="en-US" sz="800" baseline="0" dirty="0">
              <a:solidFill>
                <a:srgbClr val="FFFFFF"/>
              </a:solidFill>
              <a:latin typeface="+mn-lt"/>
            </a:endParaRPr>
          </a:p>
        </p:txBody>
      </p:sp>
      <p:sp>
        <p:nvSpPr>
          <p:cNvPr id="16" name="SlideLogoText"/>
          <p:cNvSpPr>
            <a:spLocks noChangeArrowheads="1"/>
          </p:cNvSpPr>
          <p:nvPr>
            <p:custDataLst>
              <p:tags r:id="rId3"/>
            </p:custDataLst>
          </p:nvPr>
        </p:nvSpPr>
        <p:spPr bwMode="auto">
          <a:xfrm>
            <a:off x="7450817" y="6508272"/>
            <a:ext cx="1013098"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algn="r" defTabSz="895350"/>
            <a:r>
              <a:rPr lang="en-US" sz="800" baseline="0" dirty="0">
                <a:solidFill>
                  <a:srgbClr val="FFFFFF"/>
                </a:solidFill>
                <a:latin typeface="+mn-lt"/>
              </a:rPr>
              <a:t>McKinsey &amp; Company</a:t>
            </a:r>
          </a:p>
        </p:txBody>
      </p:sp>
      <p:sp>
        <p:nvSpPr>
          <p:cNvPr id="5" name="doc id" hidden="1"/>
          <p:cNvSpPr txBox="1">
            <a:spLocks noChangeArrowheads="1"/>
          </p:cNvSpPr>
          <p:nvPr/>
        </p:nvSpPr>
        <p:spPr bwMode="white">
          <a:xfrm>
            <a:off x="8104473" y="36513"/>
            <a:ext cx="634716" cy="115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hangingPunct="1">
              <a:defRPr/>
            </a:pPr>
            <a:endParaRPr lang="en-US" sz="800" baseline="0" dirty="0">
              <a:solidFill>
                <a:schemeClr val="accent1"/>
              </a:solidFill>
              <a:latin typeface="+mn-lt"/>
              <a:ea typeface="+mn-ea"/>
            </a:endParaRPr>
          </a:p>
        </p:txBody>
      </p:sp>
    </p:spTree>
    <p:extLst>
      <p:ext uri="{BB962C8B-B14F-4D97-AF65-F5344CB8AC3E}">
        <p14:creationId xmlns:p14="http://schemas.microsoft.com/office/powerpoint/2010/main" val="2917492001"/>
      </p:ext>
    </p:extLst>
  </p:cSld>
  <p:clrMapOvr>
    <a:masterClrMapping/>
  </p:clrMapOvr>
  <p:extLst mod="1">
    <p:ext uri="{DCECCB84-F9BA-43D5-87BE-67443E8EF086}">
      <p15:sldGuideLst xmlns:p15="http://schemas.microsoft.com/office/powerpoint/2012/main">
        <p15:guide id="1" pos="3978">
          <p15:clr>
            <a:srgbClr val="000000"/>
          </p15:clr>
        </p15:guide>
        <p15:guide id="2" orient="horz" pos="570">
          <p15:clr>
            <a:srgbClr val="000000"/>
          </p15:clr>
        </p15:guide>
        <p15:guide id="3" orient="horz" pos="3912">
          <p15:clr>
            <a:srgbClr val="000000"/>
          </p15:clr>
        </p15:guide>
        <p15:guide id="4" pos="72">
          <p15:clr>
            <a:srgbClr val="000000"/>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type="titleOnly">
  <p:cSld name="2_Title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ECD524A-1569-4253-8CD8-48D288AD883C}"/>
              </a:ext>
            </a:extLst>
          </p:cNvPr>
          <p:cNvGraphicFramePr>
            <a:graphicFrameLocks noChangeAspect="1"/>
          </p:cNvGraphicFramePr>
          <p:nvPr>
            <p:custDataLst>
              <p:tags r:id="rId2"/>
            </p:custDataLst>
            <p:extLst>
              <p:ext uri="{D42A27DB-BD31-4B8C-83A1-F6EECF244321}">
                <p14:modId xmlns:p14="http://schemas.microsoft.com/office/powerpoint/2010/main" val="78515867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2900" name="think-cell Slide" r:id="rId4" imgW="395" imgH="394" progId="TCLayout.ActiveDocument.1">
                  <p:embed/>
                </p:oleObj>
              </mc:Choice>
              <mc:Fallback>
                <p:oleObj name="think-cell Slide" r:id="rId4" imgW="395" imgH="394" progId="TCLayout.ActiveDocument.1">
                  <p:embed/>
                  <p:pic>
                    <p:nvPicPr>
                      <p:cNvPr id="3" name="Object 2" hidden="1">
                        <a:extLst>
                          <a:ext uri="{FF2B5EF4-FFF2-40B4-BE49-F238E27FC236}">
                            <a16:creationId xmlns:a16="http://schemas.microsoft.com/office/drawing/2014/main" id="{5ECD524A-1569-4253-8CD8-48D288AD883C}"/>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25020681"/>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pic>
        <p:nvPicPr>
          <p:cNvPr id="2" name="background"/>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0" y="198"/>
            <a:ext cx="8961438" cy="6721079"/>
          </a:xfrm>
          <a:prstGeom prst="rect">
            <a:avLst/>
          </a:prstGeom>
        </p:spPr>
      </p:pic>
      <p:sp>
        <p:nvSpPr>
          <p:cNvPr id="28" name="TitleRectangle"/>
          <p:cNvSpPr txBox="1">
            <a:spLocks/>
          </p:cNvSpPr>
          <p:nvPr/>
        </p:nvSpPr>
        <p:spPr>
          <a:xfrm>
            <a:off x="2084388" y="0"/>
            <a:ext cx="6875462" cy="3575976"/>
          </a:xfrm>
          <a:prstGeom prst="rect">
            <a:avLst/>
          </a:prstGeom>
          <a:solidFill>
            <a:srgbClr val="002960">
              <a:alpha val="92000"/>
            </a:srgbClr>
          </a:solidFill>
        </p:spPr>
        <p:txBody>
          <a:bodyPr vert="horz" wrap="square" lIns="216000" tIns="1440000" rIns="216000" bIns="108000" rtlCol="0">
            <a:noAutofit/>
          </a:bodyPr>
          <a:lstStyle>
            <a:lvl1pPr marL="0" indent="0" algn="l" defTabSz="914400" rtl="0" eaLnBrk="1" latinLnBrk="0" hangingPunct="1">
              <a:spcBef>
                <a:spcPct val="20000"/>
              </a:spcBef>
              <a:spcAft>
                <a:spcPts val="6000"/>
              </a:spcAft>
              <a:buFont typeface="Arial" pitchFamily="34" charset="0"/>
              <a:buNone/>
              <a:defRPr sz="3200" kern="1200">
                <a:solidFill>
                  <a:schemeClr val="accent1"/>
                </a:solidFill>
                <a:latin typeface="+mn-lt"/>
                <a:ea typeface="+mn-ea"/>
                <a:cs typeface="+mn-cs"/>
              </a:defRPr>
            </a:lvl1pPr>
            <a:lvl2pPr marL="0" indent="0" algn="l" defTabSz="914400" rtl="0" eaLnBrk="1" latinLnBrk="0" hangingPunct="1">
              <a:spcBef>
                <a:spcPct val="20000"/>
              </a:spcBef>
              <a:buFont typeface="Wingdings" charset="2"/>
              <a:buNone/>
              <a:defRPr sz="1400" kern="1200">
                <a:solidFill>
                  <a:schemeClr val="tx1">
                    <a:lumMod val="50000"/>
                    <a:lumOff val="50000"/>
                  </a:schemeClr>
                </a:solidFill>
                <a:latin typeface="+mn-lt"/>
                <a:ea typeface="+mn-ea"/>
                <a:cs typeface="+mn-cs"/>
              </a:defRPr>
            </a:lvl2pPr>
            <a:lvl3pPr marL="1143000" indent="-228600" algn="l" defTabSz="914400" rtl="0" eaLnBrk="1" latinLnBrk="0" hangingPunct="1">
              <a:spcBef>
                <a:spcPct val="20000"/>
              </a:spcBef>
              <a:buFont typeface="Lucida Grande"/>
              <a:buChar char="–"/>
              <a:defRPr sz="16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fontAlgn="auto">
              <a:defRPr/>
            </a:pPr>
            <a:r>
              <a:rPr lang="en-US" baseline="0" dirty="0">
                <a:solidFill>
                  <a:srgbClr val="00ADEF"/>
                </a:solidFill>
                <a:latin typeface="+mn-lt"/>
              </a:rPr>
              <a:t>
              </a:t>
            </a:r>
            <a:br>
              <a:rPr lang="en-US" baseline="0" dirty="0">
                <a:solidFill>
                  <a:srgbClr val="00ADEF"/>
                </a:solidFill>
                <a:latin typeface="+mn-lt"/>
              </a:rPr>
            </a:br>
            <a:endParaRPr lang="en-US" baseline="0" dirty="0">
              <a:solidFill>
                <a:srgbClr val="00ADEF"/>
              </a:solidFill>
              <a:latin typeface="+mn-lt"/>
            </a:endParaRPr>
          </a:p>
        </p:txBody>
      </p:sp>
      <p:graphicFrame>
        <p:nvGraphicFramePr>
          <p:cNvPr id="3" name="Object 2"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4948"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Working Draft Text" hidden="1"/>
          <p:cNvSpPr txBox="1">
            <a:spLocks noChangeArrowheads="1"/>
          </p:cNvSpPr>
          <p:nvPr/>
        </p:nvSpPr>
        <p:spPr bwMode="black">
          <a:xfrm>
            <a:off x="5992719" y="6287538"/>
            <a:ext cx="2790000"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800" b="1" baseline="0" dirty="0">
                <a:solidFill>
                  <a:srgbClr val="FFFFFF"/>
                </a:solidFill>
                <a:latin typeface="+mn-lt"/>
              </a:rPr>
              <a:t>WORKING DRAFT</a:t>
            </a:r>
          </a:p>
        </p:txBody>
      </p:sp>
      <p:sp>
        <p:nvSpPr>
          <p:cNvPr id="6" name="Working Draft" hidden="1"/>
          <p:cNvSpPr txBox="1">
            <a:spLocks noChangeArrowheads="1"/>
          </p:cNvSpPr>
          <p:nvPr/>
        </p:nvSpPr>
        <p:spPr bwMode="black">
          <a:xfrm>
            <a:off x="5992718" y="6410648"/>
            <a:ext cx="2968719"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800" baseline="0">
                <a:solidFill>
                  <a:srgbClr val="FFFFFF"/>
                </a:solidFill>
                <a:latin typeface="+mn-lt"/>
              </a:rPr>
              <a:t>Last Modified 21/05/2018 17:44 India Standard Time</a:t>
            </a:r>
            <a:endParaRPr lang="en-US" sz="800" baseline="0" dirty="0">
              <a:solidFill>
                <a:srgbClr val="FFFFFF"/>
              </a:solidFill>
              <a:latin typeface="+mn-lt"/>
            </a:endParaRPr>
          </a:p>
        </p:txBody>
      </p:sp>
      <p:sp>
        <p:nvSpPr>
          <p:cNvPr id="7" name="Printed" hidden="1"/>
          <p:cNvSpPr txBox="1">
            <a:spLocks noChangeArrowheads="1"/>
          </p:cNvSpPr>
          <p:nvPr/>
        </p:nvSpPr>
        <p:spPr bwMode="black">
          <a:xfrm>
            <a:off x="5992719" y="6533759"/>
            <a:ext cx="2790000"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800" baseline="0" dirty="0">
                <a:solidFill>
                  <a:srgbClr val="FFFFFF"/>
                </a:solidFill>
                <a:latin typeface="+mn-lt"/>
              </a:rPr>
              <a:t>Printed</a:t>
            </a:r>
          </a:p>
        </p:txBody>
      </p:sp>
      <p:sp>
        <p:nvSpPr>
          <p:cNvPr id="13314" name="Title"/>
          <p:cNvSpPr>
            <a:spLocks noGrp="1" noChangeArrowheads="1"/>
          </p:cNvSpPr>
          <p:nvPr>
            <p:ph type="ctrTitle"/>
          </p:nvPr>
        </p:nvSpPr>
        <p:spPr>
          <a:xfrm>
            <a:off x="2268266" y="1434419"/>
            <a:ext cx="6231663" cy="492443"/>
          </a:xfrm>
          <a:prstGeom prst="rect">
            <a:avLst/>
          </a:prstGeom>
        </p:spPr>
        <p:txBody>
          <a:bodyPr>
            <a:spAutoFit/>
          </a:bodyPr>
          <a:lstStyle>
            <a:lvl1pPr>
              <a:defRPr sz="3200" b="0" baseline="0">
                <a:solidFill>
                  <a:schemeClr val="accent2"/>
                </a:solidFill>
                <a:latin typeface="+mj-lt"/>
                <a:ea typeface="+mj-ea"/>
              </a:defRPr>
            </a:lvl1pPr>
          </a:lstStyle>
          <a:p>
            <a:pPr lvl="0" latinLnBrk="0"/>
            <a:r>
              <a:rPr lang="en-US" noProof="0"/>
              <a:t>Click to edit Master title style</a:t>
            </a:r>
            <a:endParaRPr lang="en-US" noProof="0" dirty="0"/>
          </a:p>
        </p:txBody>
      </p:sp>
      <p:sp>
        <p:nvSpPr>
          <p:cNvPr id="13315" name="Subtitle"/>
          <p:cNvSpPr>
            <a:spLocks noGrp="1" noChangeArrowheads="1"/>
          </p:cNvSpPr>
          <p:nvPr>
            <p:ph type="subTitle" idx="1"/>
          </p:nvPr>
        </p:nvSpPr>
        <p:spPr>
          <a:xfrm>
            <a:off x="2268266" y="2819401"/>
            <a:ext cx="6231663" cy="215444"/>
          </a:xfrm>
          <a:prstGeom prst="rect">
            <a:avLst/>
          </a:prstGeom>
        </p:spPr>
        <p:txBody>
          <a:bodyPr wrap="square">
            <a:spAutoFit/>
          </a:bodyPr>
          <a:lstStyle>
            <a:lvl1pPr>
              <a:defRPr sz="1400" cap="all" baseline="0">
                <a:solidFill>
                  <a:schemeClr val="bg1"/>
                </a:solidFill>
                <a:latin typeface="+mn-lt"/>
                <a:ea typeface="+mn-ea"/>
              </a:defRPr>
            </a:lvl1pPr>
          </a:lstStyle>
          <a:p>
            <a:pPr lvl="0" latinLnBrk="0"/>
            <a:r>
              <a:rPr lang="en-US" noProof="0"/>
              <a:t>Click to edit Master subtitle style</a:t>
            </a:r>
            <a:endParaRPr lang="en-US" noProof="0" dirty="0"/>
          </a:p>
        </p:txBody>
      </p:sp>
      <p:sp>
        <p:nvSpPr>
          <p:cNvPr id="57" name="Document type" hidden="1"/>
          <p:cNvSpPr txBox="1">
            <a:spLocks noChangeArrowheads="1"/>
          </p:cNvSpPr>
          <p:nvPr/>
        </p:nvSpPr>
        <p:spPr bwMode="gray">
          <a:xfrm>
            <a:off x="2268266" y="3227411"/>
            <a:ext cx="6231663"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00" baseline="0" dirty="0">
                <a:solidFill>
                  <a:schemeClr val="bg1"/>
                </a:solidFill>
                <a:latin typeface="+mn-lt"/>
              </a:rPr>
              <a:t>Document type | Date</a:t>
            </a:r>
          </a:p>
        </p:txBody>
      </p:sp>
      <p:sp>
        <p:nvSpPr>
          <p:cNvPr id="5" name="doc id" hidden="1"/>
          <p:cNvSpPr txBox="1">
            <a:spLocks noChangeArrowheads="1"/>
          </p:cNvSpPr>
          <p:nvPr/>
        </p:nvSpPr>
        <p:spPr bwMode="white">
          <a:xfrm>
            <a:off x="8443913" y="36513"/>
            <a:ext cx="295275" cy="1222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hangingPunct="1">
              <a:defRPr/>
            </a:pPr>
            <a:endParaRPr lang="en-US" sz="800" baseline="0" dirty="0">
              <a:solidFill>
                <a:srgbClr val="FFFFFF"/>
              </a:solidFill>
              <a:latin typeface="+mn-lt"/>
            </a:endParaRPr>
          </a:p>
        </p:txBody>
      </p:sp>
      <p:sp>
        <p:nvSpPr>
          <p:cNvPr id="43" name="LogoImage"/>
          <p:cNvSpPr>
            <a:spLocks noEditPoints="1"/>
          </p:cNvSpPr>
          <p:nvPr/>
        </p:nvSpPr>
        <p:spPr bwMode="white">
          <a:xfrm>
            <a:off x="2269098" y="182925"/>
            <a:ext cx="2176978" cy="238073"/>
          </a:xfrm>
          <a:custGeom>
            <a:avLst/>
            <a:gdLst>
              <a:gd name="T0" fmla="*/ 504 w 5516"/>
              <a:gd name="T1" fmla="*/ 26 h 606"/>
              <a:gd name="T2" fmla="*/ 18 w 5516"/>
              <a:gd name="T3" fmla="*/ 22 h 606"/>
              <a:gd name="T4" fmla="*/ 140 w 5516"/>
              <a:gd name="T5" fmla="*/ 436 h 606"/>
              <a:gd name="T6" fmla="*/ 408 w 5516"/>
              <a:gd name="T7" fmla="*/ 372 h 606"/>
              <a:gd name="T8" fmla="*/ 696 w 5516"/>
              <a:gd name="T9" fmla="*/ 422 h 606"/>
              <a:gd name="T10" fmla="*/ 768 w 5516"/>
              <a:gd name="T11" fmla="*/ 196 h 606"/>
              <a:gd name="T12" fmla="*/ 1272 w 5516"/>
              <a:gd name="T13" fmla="*/ 26 h 606"/>
              <a:gd name="T14" fmla="*/ 1302 w 5516"/>
              <a:gd name="T15" fmla="*/ 338 h 606"/>
              <a:gd name="T16" fmla="*/ 1202 w 5516"/>
              <a:gd name="T17" fmla="*/ 436 h 606"/>
              <a:gd name="T18" fmla="*/ 1030 w 5516"/>
              <a:gd name="T19" fmla="*/ 10 h 606"/>
              <a:gd name="T20" fmla="*/ 960 w 5516"/>
              <a:gd name="T21" fmla="*/ 22 h 606"/>
              <a:gd name="T22" fmla="*/ 804 w 5516"/>
              <a:gd name="T23" fmla="*/ 434 h 606"/>
              <a:gd name="T24" fmla="*/ 930 w 5516"/>
              <a:gd name="T25" fmla="*/ 246 h 606"/>
              <a:gd name="T26" fmla="*/ 1658 w 5516"/>
              <a:gd name="T27" fmla="*/ 342 h 606"/>
              <a:gd name="T28" fmla="*/ 1368 w 5516"/>
              <a:gd name="T29" fmla="*/ 188 h 606"/>
              <a:gd name="T30" fmla="*/ 1514 w 5516"/>
              <a:gd name="T31" fmla="*/ 436 h 606"/>
              <a:gd name="T32" fmla="*/ 1564 w 5516"/>
              <a:gd name="T33" fmla="*/ 434 h 606"/>
              <a:gd name="T34" fmla="*/ 1904 w 5516"/>
              <a:gd name="T35" fmla="*/ 184 h 606"/>
              <a:gd name="T36" fmla="*/ 1728 w 5516"/>
              <a:gd name="T37" fmla="*/ 366 h 606"/>
              <a:gd name="T38" fmla="*/ 2102 w 5516"/>
              <a:gd name="T39" fmla="*/ 192 h 606"/>
              <a:gd name="T40" fmla="*/ 1982 w 5516"/>
              <a:gd name="T41" fmla="*/ 320 h 606"/>
              <a:gd name="T42" fmla="*/ 2478 w 5516"/>
              <a:gd name="T43" fmla="*/ 242 h 606"/>
              <a:gd name="T44" fmla="*/ 2406 w 5516"/>
              <a:gd name="T45" fmla="*/ 390 h 606"/>
              <a:gd name="T46" fmla="*/ 2234 w 5516"/>
              <a:gd name="T47" fmla="*/ 192 h 606"/>
              <a:gd name="T48" fmla="*/ 2478 w 5516"/>
              <a:gd name="T49" fmla="*/ 242 h 606"/>
              <a:gd name="T50" fmla="*/ 2928 w 5516"/>
              <a:gd name="T51" fmla="*/ 448 h 606"/>
              <a:gd name="T52" fmla="*/ 2958 w 5516"/>
              <a:gd name="T53" fmla="*/ 230 h 606"/>
              <a:gd name="T54" fmla="*/ 2716 w 5516"/>
              <a:gd name="T55" fmla="*/ 54 h 606"/>
              <a:gd name="T56" fmla="*/ 2714 w 5516"/>
              <a:gd name="T57" fmla="*/ 36 h 606"/>
              <a:gd name="T58" fmla="*/ 2928 w 5516"/>
              <a:gd name="T59" fmla="*/ 448 h 606"/>
              <a:gd name="T60" fmla="*/ 3388 w 5516"/>
              <a:gd name="T61" fmla="*/ 4 h 606"/>
              <a:gd name="T62" fmla="*/ 3396 w 5516"/>
              <a:gd name="T63" fmla="*/ 366 h 606"/>
              <a:gd name="T64" fmla="*/ 3580 w 5516"/>
              <a:gd name="T65" fmla="*/ 190 h 606"/>
              <a:gd name="T66" fmla="*/ 3502 w 5516"/>
              <a:gd name="T67" fmla="*/ 432 h 606"/>
              <a:gd name="T68" fmla="*/ 4232 w 5516"/>
              <a:gd name="T69" fmla="*/ 348 h 606"/>
              <a:gd name="T70" fmla="*/ 3858 w 5516"/>
              <a:gd name="T71" fmla="*/ 176 h 606"/>
              <a:gd name="T72" fmla="*/ 3758 w 5516"/>
              <a:gd name="T73" fmla="*/ 446 h 606"/>
              <a:gd name="T74" fmla="*/ 3990 w 5516"/>
              <a:gd name="T75" fmla="*/ 282 h 606"/>
              <a:gd name="T76" fmla="*/ 4042 w 5516"/>
              <a:gd name="T77" fmla="*/ 342 h 606"/>
              <a:gd name="T78" fmla="*/ 4134 w 5516"/>
              <a:gd name="T79" fmla="*/ 448 h 606"/>
              <a:gd name="T80" fmla="*/ 4454 w 5516"/>
              <a:gd name="T81" fmla="*/ 202 h 606"/>
              <a:gd name="T82" fmla="*/ 4284 w 5516"/>
              <a:gd name="T83" fmla="*/ 174 h 606"/>
              <a:gd name="T84" fmla="*/ 4432 w 5516"/>
              <a:gd name="T85" fmla="*/ 588 h 606"/>
              <a:gd name="T86" fmla="*/ 4792 w 5516"/>
              <a:gd name="T87" fmla="*/ 382 h 606"/>
              <a:gd name="T88" fmla="*/ 5192 w 5516"/>
              <a:gd name="T89" fmla="*/ 340 h 606"/>
              <a:gd name="T90" fmla="*/ 4902 w 5516"/>
              <a:gd name="T91" fmla="*/ 186 h 606"/>
              <a:gd name="T92" fmla="*/ 4850 w 5516"/>
              <a:gd name="T93" fmla="*/ 274 h 606"/>
              <a:gd name="T94" fmla="*/ 4742 w 5516"/>
              <a:gd name="T95" fmla="*/ 194 h 606"/>
              <a:gd name="T96" fmla="*/ 4794 w 5516"/>
              <a:gd name="T97" fmla="*/ 418 h 606"/>
              <a:gd name="T98" fmla="*/ 5004 w 5516"/>
              <a:gd name="T99" fmla="*/ 338 h 606"/>
              <a:gd name="T100" fmla="*/ 5098 w 5516"/>
              <a:gd name="T101" fmla="*/ 446 h 606"/>
              <a:gd name="T102" fmla="*/ 5418 w 5516"/>
              <a:gd name="T103" fmla="*/ 192 h 606"/>
              <a:gd name="T104" fmla="*/ 5348 w 5516"/>
              <a:gd name="T105" fmla="*/ 180 h 606"/>
              <a:gd name="T106" fmla="*/ 5254 w 5516"/>
              <a:gd name="T107" fmla="*/ 606 h 6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516" h="606">
                <a:moveTo>
                  <a:pt x="366" y="448"/>
                </a:moveTo>
                <a:cubicBezTo>
                  <a:pt x="524" y="448"/>
                  <a:pt x="524" y="448"/>
                  <a:pt x="524" y="448"/>
                </a:cubicBezTo>
                <a:cubicBezTo>
                  <a:pt x="524" y="436"/>
                  <a:pt x="524" y="436"/>
                  <a:pt x="524" y="436"/>
                </a:cubicBezTo>
                <a:cubicBezTo>
                  <a:pt x="486" y="432"/>
                  <a:pt x="470" y="414"/>
                  <a:pt x="468" y="362"/>
                </a:cubicBezTo>
                <a:cubicBezTo>
                  <a:pt x="454" y="86"/>
                  <a:pt x="454" y="86"/>
                  <a:pt x="454" y="86"/>
                </a:cubicBezTo>
                <a:cubicBezTo>
                  <a:pt x="452" y="46"/>
                  <a:pt x="470" y="30"/>
                  <a:pt x="504" y="26"/>
                </a:cubicBezTo>
                <a:cubicBezTo>
                  <a:pt x="504" y="12"/>
                  <a:pt x="504" y="12"/>
                  <a:pt x="504" y="12"/>
                </a:cubicBezTo>
                <a:cubicBezTo>
                  <a:pt x="394" y="12"/>
                  <a:pt x="394" y="12"/>
                  <a:pt x="394" y="12"/>
                </a:cubicBezTo>
                <a:cubicBezTo>
                  <a:pt x="264" y="350"/>
                  <a:pt x="264" y="350"/>
                  <a:pt x="264" y="350"/>
                </a:cubicBezTo>
                <a:cubicBezTo>
                  <a:pt x="132" y="10"/>
                  <a:pt x="132" y="10"/>
                  <a:pt x="132" y="10"/>
                </a:cubicBezTo>
                <a:cubicBezTo>
                  <a:pt x="18" y="10"/>
                  <a:pt x="18" y="10"/>
                  <a:pt x="18" y="10"/>
                </a:cubicBezTo>
                <a:cubicBezTo>
                  <a:pt x="18" y="22"/>
                  <a:pt x="18" y="22"/>
                  <a:pt x="18" y="22"/>
                </a:cubicBezTo>
                <a:cubicBezTo>
                  <a:pt x="40" y="26"/>
                  <a:pt x="74" y="32"/>
                  <a:pt x="72" y="84"/>
                </a:cubicBezTo>
                <a:cubicBezTo>
                  <a:pt x="58" y="352"/>
                  <a:pt x="58" y="352"/>
                  <a:pt x="58" y="352"/>
                </a:cubicBezTo>
                <a:cubicBezTo>
                  <a:pt x="54" y="410"/>
                  <a:pt x="38" y="430"/>
                  <a:pt x="0" y="436"/>
                </a:cubicBezTo>
                <a:cubicBezTo>
                  <a:pt x="0" y="448"/>
                  <a:pt x="0" y="448"/>
                  <a:pt x="0" y="448"/>
                </a:cubicBezTo>
                <a:cubicBezTo>
                  <a:pt x="140" y="448"/>
                  <a:pt x="140" y="448"/>
                  <a:pt x="140" y="448"/>
                </a:cubicBezTo>
                <a:cubicBezTo>
                  <a:pt x="140" y="436"/>
                  <a:pt x="140" y="436"/>
                  <a:pt x="140" y="436"/>
                </a:cubicBezTo>
                <a:cubicBezTo>
                  <a:pt x="98" y="428"/>
                  <a:pt x="84" y="414"/>
                  <a:pt x="88" y="356"/>
                </a:cubicBezTo>
                <a:cubicBezTo>
                  <a:pt x="100" y="86"/>
                  <a:pt x="100" y="86"/>
                  <a:pt x="100" y="86"/>
                </a:cubicBezTo>
                <a:cubicBezTo>
                  <a:pt x="240" y="444"/>
                  <a:pt x="240" y="444"/>
                  <a:pt x="240" y="444"/>
                </a:cubicBezTo>
                <a:cubicBezTo>
                  <a:pt x="258" y="444"/>
                  <a:pt x="258" y="444"/>
                  <a:pt x="258" y="444"/>
                </a:cubicBezTo>
                <a:cubicBezTo>
                  <a:pt x="396" y="86"/>
                  <a:pt x="396" y="86"/>
                  <a:pt x="396" y="86"/>
                </a:cubicBezTo>
                <a:cubicBezTo>
                  <a:pt x="408" y="372"/>
                  <a:pt x="408" y="372"/>
                  <a:pt x="408" y="372"/>
                </a:cubicBezTo>
                <a:cubicBezTo>
                  <a:pt x="410" y="416"/>
                  <a:pt x="398" y="430"/>
                  <a:pt x="366" y="434"/>
                </a:cubicBezTo>
                <a:lnTo>
                  <a:pt x="366" y="448"/>
                </a:lnTo>
                <a:close/>
                <a:moveTo>
                  <a:pt x="670" y="456"/>
                </a:moveTo>
                <a:cubicBezTo>
                  <a:pt x="708" y="456"/>
                  <a:pt x="756" y="440"/>
                  <a:pt x="782" y="412"/>
                </a:cubicBezTo>
                <a:cubicBezTo>
                  <a:pt x="776" y="400"/>
                  <a:pt x="776" y="400"/>
                  <a:pt x="776" y="400"/>
                </a:cubicBezTo>
                <a:cubicBezTo>
                  <a:pt x="750" y="416"/>
                  <a:pt x="722" y="422"/>
                  <a:pt x="696" y="422"/>
                </a:cubicBezTo>
                <a:cubicBezTo>
                  <a:pt x="620" y="422"/>
                  <a:pt x="592" y="358"/>
                  <a:pt x="592" y="290"/>
                </a:cubicBezTo>
                <a:cubicBezTo>
                  <a:pt x="592" y="258"/>
                  <a:pt x="600" y="236"/>
                  <a:pt x="614" y="222"/>
                </a:cubicBezTo>
                <a:cubicBezTo>
                  <a:pt x="626" y="210"/>
                  <a:pt x="646" y="204"/>
                  <a:pt x="664" y="204"/>
                </a:cubicBezTo>
                <a:cubicBezTo>
                  <a:pt x="690" y="204"/>
                  <a:pt x="722" y="214"/>
                  <a:pt x="744" y="244"/>
                </a:cubicBezTo>
                <a:cubicBezTo>
                  <a:pt x="750" y="244"/>
                  <a:pt x="750" y="244"/>
                  <a:pt x="750" y="244"/>
                </a:cubicBezTo>
                <a:cubicBezTo>
                  <a:pt x="758" y="234"/>
                  <a:pt x="766" y="212"/>
                  <a:pt x="768" y="196"/>
                </a:cubicBezTo>
                <a:cubicBezTo>
                  <a:pt x="748" y="180"/>
                  <a:pt x="720" y="172"/>
                  <a:pt x="686" y="172"/>
                </a:cubicBezTo>
                <a:cubicBezTo>
                  <a:pt x="604" y="172"/>
                  <a:pt x="544" y="246"/>
                  <a:pt x="544" y="326"/>
                </a:cubicBezTo>
                <a:cubicBezTo>
                  <a:pt x="540" y="390"/>
                  <a:pt x="576" y="456"/>
                  <a:pt x="670" y="456"/>
                </a:cubicBezTo>
                <a:moveTo>
                  <a:pt x="1272" y="98"/>
                </a:moveTo>
                <a:cubicBezTo>
                  <a:pt x="1292" y="98"/>
                  <a:pt x="1308" y="82"/>
                  <a:pt x="1308" y="62"/>
                </a:cubicBezTo>
                <a:cubicBezTo>
                  <a:pt x="1308" y="42"/>
                  <a:pt x="1292" y="26"/>
                  <a:pt x="1272" y="26"/>
                </a:cubicBezTo>
                <a:cubicBezTo>
                  <a:pt x="1252" y="26"/>
                  <a:pt x="1238" y="42"/>
                  <a:pt x="1238" y="62"/>
                </a:cubicBezTo>
                <a:cubicBezTo>
                  <a:pt x="1238" y="82"/>
                  <a:pt x="1252" y="98"/>
                  <a:pt x="1272" y="98"/>
                </a:cubicBezTo>
                <a:moveTo>
                  <a:pt x="1202" y="448"/>
                </a:moveTo>
                <a:cubicBezTo>
                  <a:pt x="1346" y="448"/>
                  <a:pt x="1346" y="448"/>
                  <a:pt x="1346" y="448"/>
                </a:cubicBezTo>
                <a:cubicBezTo>
                  <a:pt x="1346" y="436"/>
                  <a:pt x="1346" y="436"/>
                  <a:pt x="1346" y="436"/>
                </a:cubicBezTo>
                <a:cubicBezTo>
                  <a:pt x="1304" y="432"/>
                  <a:pt x="1302" y="434"/>
                  <a:pt x="1302" y="338"/>
                </a:cubicBezTo>
                <a:cubicBezTo>
                  <a:pt x="1302" y="176"/>
                  <a:pt x="1302" y="176"/>
                  <a:pt x="1302" y="176"/>
                </a:cubicBezTo>
                <a:cubicBezTo>
                  <a:pt x="1200" y="176"/>
                  <a:pt x="1200" y="176"/>
                  <a:pt x="1200" y="176"/>
                </a:cubicBezTo>
                <a:cubicBezTo>
                  <a:pt x="1200" y="188"/>
                  <a:pt x="1200" y="188"/>
                  <a:pt x="1200" y="188"/>
                </a:cubicBezTo>
                <a:cubicBezTo>
                  <a:pt x="1244" y="190"/>
                  <a:pt x="1250" y="192"/>
                  <a:pt x="1250" y="268"/>
                </a:cubicBezTo>
                <a:cubicBezTo>
                  <a:pt x="1250" y="336"/>
                  <a:pt x="1250" y="336"/>
                  <a:pt x="1250" y="336"/>
                </a:cubicBezTo>
                <a:cubicBezTo>
                  <a:pt x="1250" y="432"/>
                  <a:pt x="1248" y="432"/>
                  <a:pt x="1202" y="436"/>
                </a:cubicBezTo>
                <a:cubicBezTo>
                  <a:pt x="1178" y="434"/>
                  <a:pt x="1154" y="426"/>
                  <a:pt x="1076" y="338"/>
                </a:cubicBezTo>
                <a:cubicBezTo>
                  <a:pt x="1046" y="302"/>
                  <a:pt x="996" y="244"/>
                  <a:pt x="968" y="206"/>
                </a:cubicBezTo>
                <a:cubicBezTo>
                  <a:pt x="1062" y="102"/>
                  <a:pt x="1062" y="102"/>
                  <a:pt x="1062" y="102"/>
                </a:cubicBezTo>
                <a:cubicBezTo>
                  <a:pt x="1108" y="52"/>
                  <a:pt x="1132" y="26"/>
                  <a:pt x="1176" y="24"/>
                </a:cubicBezTo>
                <a:cubicBezTo>
                  <a:pt x="1176" y="10"/>
                  <a:pt x="1176" y="10"/>
                  <a:pt x="1176" y="10"/>
                </a:cubicBezTo>
                <a:cubicBezTo>
                  <a:pt x="1030" y="10"/>
                  <a:pt x="1030" y="10"/>
                  <a:pt x="1030" y="10"/>
                </a:cubicBezTo>
                <a:cubicBezTo>
                  <a:pt x="1030" y="22"/>
                  <a:pt x="1030" y="22"/>
                  <a:pt x="1030" y="22"/>
                </a:cubicBezTo>
                <a:cubicBezTo>
                  <a:pt x="1050" y="26"/>
                  <a:pt x="1056" y="32"/>
                  <a:pt x="1056" y="46"/>
                </a:cubicBezTo>
                <a:cubicBezTo>
                  <a:pt x="1056" y="56"/>
                  <a:pt x="1054" y="72"/>
                  <a:pt x="1026" y="102"/>
                </a:cubicBezTo>
                <a:cubicBezTo>
                  <a:pt x="910" y="230"/>
                  <a:pt x="910" y="230"/>
                  <a:pt x="910" y="230"/>
                </a:cubicBezTo>
                <a:cubicBezTo>
                  <a:pt x="910" y="148"/>
                  <a:pt x="910" y="148"/>
                  <a:pt x="910" y="148"/>
                </a:cubicBezTo>
                <a:cubicBezTo>
                  <a:pt x="910" y="36"/>
                  <a:pt x="916" y="28"/>
                  <a:pt x="960" y="22"/>
                </a:cubicBezTo>
                <a:cubicBezTo>
                  <a:pt x="960" y="8"/>
                  <a:pt x="960" y="8"/>
                  <a:pt x="960" y="8"/>
                </a:cubicBezTo>
                <a:cubicBezTo>
                  <a:pt x="804" y="8"/>
                  <a:pt x="804" y="8"/>
                  <a:pt x="804" y="8"/>
                </a:cubicBezTo>
                <a:cubicBezTo>
                  <a:pt x="804" y="22"/>
                  <a:pt x="804" y="22"/>
                  <a:pt x="804" y="22"/>
                </a:cubicBezTo>
                <a:cubicBezTo>
                  <a:pt x="852" y="26"/>
                  <a:pt x="854" y="36"/>
                  <a:pt x="854" y="148"/>
                </a:cubicBezTo>
                <a:cubicBezTo>
                  <a:pt x="854" y="300"/>
                  <a:pt x="854" y="300"/>
                  <a:pt x="854" y="300"/>
                </a:cubicBezTo>
                <a:cubicBezTo>
                  <a:pt x="854" y="422"/>
                  <a:pt x="850" y="430"/>
                  <a:pt x="804" y="434"/>
                </a:cubicBezTo>
                <a:cubicBezTo>
                  <a:pt x="804" y="446"/>
                  <a:pt x="804" y="446"/>
                  <a:pt x="804" y="446"/>
                </a:cubicBezTo>
                <a:cubicBezTo>
                  <a:pt x="960" y="446"/>
                  <a:pt x="960" y="446"/>
                  <a:pt x="960" y="446"/>
                </a:cubicBezTo>
                <a:cubicBezTo>
                  <a:pt x="960" y="434"/>
                  <a:pt x="960" y="434"/>
                  <a:pt x="960" y="434"/>
                </a:cubicBezTo>
                <a:cubicBezTo>
                  <a:pt x="910" y="428"/>
                  <a:pt x="910" y="424"/>
                  <a:pt x="910" y="292"/>
                </a:cubicBezTo>
                <a:cubicBezTo>
                  <a:pt x="910" y="268"/>
                  <a:pt x="910" y="268"/>
                  <a:pt x="910" y="268"/>
                </a:cubicBezTo>
                <a:cubicBezTo>
                  <a:pt x="930" y="246"/>
                  <a:pt x="930" y="246"/>
                  <a:pt x="930" y="246"/>
                </a:cubicBezTo>
                <a:cubicBezTo>
                  <a:pt x="982" y="310"/>
                  <a:pt x="1038" y="380"/>
                  <a:pt x="1098" y="448"/>
                </a:cubicBezTo>
                <a:cubicBezTo>
                  <a:pt x="1202" y="448"/>
                  <a:pt x="1202" y="448"/>
                  <a:pt x="1202" y="448"/>
                </a:cubicBezTo>
                <a:close/>
                <a:moveTo>
                  <a:pt x="1564" y="448"/>
                </a:moveTo>
                <a:cubicBezTo>
                  <a:pt x="1706" y="448"/>
                  <a:pt x="1706" y="448"/>
                  <a:pt x="1706" y="448"/>
                </a:cubicBezTo>
                <a:cubicBezTo>
                  <a:pt x="1706" y="436"/>
                  <a:pt x="1706" y="436"/>
                  <a:pt x="1706" y="436"/>
                </a:cubicBezTo>
                <a:cubicBezTo>
                  <a:pt x="1658" y="434"/>
                  <a:pt x="1658" y="432"/>
                  <a:pt x="1658" y="342"/>
                </a:cubicBezTo>
                <a:cubicBezTo>
                  <a:pt x="1658" y="280"/>
                  <a:pt x="1658" y="280"/>
                  <a:pt x="1658" y="280"/>
                </a:cubicBezTo>
                <a:cubicBezTo>
                  <a:pt x="1658" y="198"/>
                  <a:pt x="1612" y="172"/>
                  <a:pt x="1570" y="172"/>
                </a:cubicBezTo>
                <a:cubicBezTo>
                  <a:pt x="1534" y="172"/>
                  <a:pt x="1498" y="188"/>
                  <a:pt x="1470" y="224"/>
                </a:cubicBezTo>
                <a:cubicBezTo>
                  <a:pt x="1470" y="176"/>
                  <a:pt x="1470" y="176"/>
                  <a:pt x="1470" y="176"/>
                </a:cubicBezTo>
                <a:cubicBezTo>
                  <a:pt x="1368" y="176"/>
                  <a:pt x="1368" y="176"/>
                  <a:pt x="1368" y="176"/>
                </a:cubicBezTo>
                <a:cubicBezTo>
                  <a:pt x="1368" y="188"/>
                  <a:pt x="1368" y="188"/>
                  <a:pt x="1368" y="188"/>
                </a:cubicBezTo>
                <a:cubicBezTo>
                  <a:pt x="1412" y="190"/>
                  <a:pt x="1418" y="192"/>
                  <a:pt x="1418" y="268"/>
                </a:cubicBezTo>
                <a:cubicBezTo>
                  <a:pt x="1418" y="336"/>
                  <a:pt x="1418" y="336"/>
                  <a:pt x="1418" y="336"/>
                </a:cubicBezTo>
                <a:cubicBezTo>
                  <a:pt x="1418" y="434"/>
                  <a:pt x="1418" y="434"/>
                  <a:pt x="1370" y="436"/>
                </a:cubicBezTo>
                <a:cubicBezTo>
                  <a:pt x="1370" y="448"/>
                  <a:pt x="1370" y="448"/>
                  <a:pt x="1370" y="448"/>
                </a:cubicBezTo>
                <a:cubicBezTo>
                  <a:pt x="1514" y="448"/>
                  <a:pt x="1514" y="448"/>
                  <a:pt x="1514" y="448"/>
                </a:cubicBezTo>
                <a:cubicBezTo>
                  <a:pt x="1514" y="436"/>
                  <a:pt x="1514" y="436"/>
                  <a:pt x="1514" y="436"/>
                </a:cubicBezTo>
                <a:cubicBezTo>
                  <a:pt x="1472" y="432"/>
                  <a:pt x="1470" y="434"/>
                  <a:pt x="1470" y="338"/>
                </a:cubicBezTo>
                <a:cubicBezTo>
                  <a:pt x="1470" y="262"/>
                  <a:pt x="1470" y="262"/>
                  <a:pt x="1470" y="262"/>
                </a:cubicBezTo>
                <a:cubicBezTo>
                  <a:pt x="1470" y="236"/>
                  <a:pt x="1504" y="206"/>
                  <a:pt x="1546" y="206"/>
                </a:cubicBezTo>
                <a:cubicBezTo>
                  <a:pt x="1580" y="206"/>
                  <a:pt x="1606" y="220"/>
                  <a:pt x="1606" y="286"/>
                </a:cubicBezTo>
                <a:cubicBezTo>
                  <a:pt x="1606" y="340"/>
                  <a:pt x="1606" y="340"/>
                  <a:pt x="1606" y="340"/>
                </a:cubicBezTo>
                <a:cubicBezTo>
                  <a:pt x="1606" y="432"/>
                  <a:pt x="1602" y="432"/>
                  <a:pt x="1564" y="434"/>
                </a:cubicBezTo>
                <a:lnTo>
                  <a:pt x="1564" y="448"/>
                </a:lnTo>
                <a:close/>
                <a:moveTo>
                  <a:pt x="1776" y="222"/>
                </a:moveTo>
                <a:cubicBezTo>
                  <a:pt x="1776" y="200"/>
                  <a:pt x="1796" y="188"/>
                  <a:pt x="1822" y="188"/>
                </a:cubicBezTo>
                <a:cubicBezTo>
                  <a:pt x="1874" y="188"/>
                  <a:pt x="1896" y="236"/>
                  <a:pt x="1900" y="252"/>
                </a:cubicBezTo>
                <a:cubicBezTo>
                  <a:pt x="1912" y="252"/>
                  <a:pt x="1912" y="252"/>
                  <a:pt x="1912" y="252"/>
                </a:cubicBezTo>
                <a:cubicBezTo>
                  <a:pt x="1912" y="212"/>
                  <a:pt x="1908" y="188"/>
                  <a:pt x="1904" y="184"/>
                </a:cubicBezTo>
                <a:cubicBezTo>
                  <a:pt x="1900" y="180"/>
                  <a:pt x="1862" y="170"/>
                  <a:pt x="1824" y="170"/>
                </a:cubicBezTo>
                <a:cubicBezTo>
                  <a:pt x="1768" y="170"/>
                  <a:pt x="1734" y="206"/>
                  <a:pt x="1734" y="248"/>
                </a:cubicBezTo>
                <a:cubicBezTo>
                  <a:pt x="1734" y="340"/>
                  <a:pt x="1890" y="322"/>
                  <a:pt x="1890" y="396"/>
                </a:cubicBezTo>
                <a:cubicBezTo>
                  <a:pt x="1890" y="422"/>
                  <a:pt x="1866" y="436"/>
                  <a:pt x="1826" y="436"/>
                </a:cubicBezTo>
                <a:cubicBezTo>
                  <a:pt x="1788" y="436"/>
                  <a:pt x="1754" y="416"/>
                  <a:pt x="1744" y="366"/>
                </a:cubicBezTo>
                <a:cubicBezTo>
                  <a:pt x="1728" y="366"/>
                  <a:pt x="1728" y="366"/>
                  <a:pt x="1728" y="366"/>
                </a:cubicBezTo>
                <a:cubicBezTo>
                  <a:pt x="1728" y="386"/>
                  <a:pt x="1732" y="422"/>
                  <a:pt x="1734" y="428"/>
                </a:cubicBezTo>
                <a:cubicBezTo>
                  <a:pt x="1744" y="446"/>
                  <a:pt x="1788" y="454"/>
                  <a:pt x="1824" y="454"/>
                </a:cubicBezTo>
                <a:cubicBezTo>
                  <a:pt x="1888" y="454"/>
                  <a:pt x="1928" y="416"/>
                  <a:pt x="1928" y="372"/>
                </a:cubicBezTo>
                <a:cubicBezTo>
                  <a:pt x="1932" y="270"/>
                  <a:pt x="1776" y="286"/>
                  <a:pt x="1776" y="222"/>
                </a:cubicBezTo>
                <a:moveTo>
                  <a:pt x="2030" y="270"/>
                </a:moveTo>
                <a:cubicBezTo>
                  <a:pt x="2034" y="220"/>
                  <a:pt x="2058" y="192"/>
                  <a:pt x="2102" y="192"/>
                </a:cubicBezTo>
                <a:cubicBezTo>
                  <a:pt x="2144" y="192"/>
                  <a:pt x="2170" y="220"/>
                  <a:pt x="2172" y="270"/>
                </a:cubicBezTo>
                <a:lnTo>
                  <a:pt x="2030" y="270"/>
                </a:lnTo>
                <a:close/>
                <a:moveTo>
                  <a:pt x="2030" y="290"/>
                </a:moveTo>
                <a:cubicBezTo>
                  <a:pt x="2222" y="290"/>
                  <a:pt x="2222" y="290"/>
                  <a:pt x="2222" y="290"/>
                </a:cubicBezTo>
                <a:cubicBezTo>
                  <a:pt x="2226" y="228"/>
                  <a:pt x="2192" y="168"/>
                  <a:pt x="2114" y="168"/>
                </a:cubicBezTo>
                <a:cubicBezTo>
                  <a:pt x="2034" y="168"/>
                  <a:pt x="1982" y="232"/>
                  <a:pt x="1982" y="320"/>
                </a:cubicBezTo>
                <a:cubicBezTo>
                  <a:pt x="1982" y="388"/>
                  <a:pt x="2018" y="456"/>
                  <a:pt x="2112" y="456"/>
                </a:cubicBezTo>
                <a:cubicBezTo>
                  <a:pt x="2150" y="456"/>
                  <a:pt x="2198" y="440"/>
                  <a:pt x="2224" y="412"/>
                </a:cubicBezTo>
                <a:cubicBezTo>
                  <a:pt x="2218" y="400"/>
                  <a:pt x="2218" y="400"/>
                  <a:pt x="2218" y="400"/>
                </a:cubicBezTo>
                <a:cubicBezTo>
                  <a:pt x="2192" y="416"/>
                  <a:pt x="2164" y="422"/>
                  <a:pt x="2138" y="422"/>
                </a:cubicBezTo>
                <a:cubicBezTo>
                  <a:pt x="2058" y="420"/>
                  <a:pt x="2028" y="352"/>
                  <a:pt x="2030" y="290"/>
                </a:cubicBezTo>
                <a:moveTo>
                  <a:pt x="2478" y="242"/>
                </a:moveTo>
                <a:cubicBezTo>
                  <a:pt x="2490" y="206"/>
                  <a:pt x="2510" y="192"/>
                  <a:pt x="2528" y="192"/>
                </a:cubicBezTo>
                <a:cubicBezTo>
                  <a:pt x="2528" y="180"/>
                  <a:pt x="2528" y="180"/>
                  <a:pt x="2528" y="180"/>
                </a:cubicBezTo>
                <a:cubicBezTo>
                  <a:pt x="2430" y="180"/>
                  <a:pt x="2430" y="180"/>
                  <a:pt x="2430" y="180"/>
                </a:cubicBezTo>
                <a:cubicBezTo>
                  <a:pt x="2430" y="192"/>
                  <a:pt x="2430" y="192"/>
                  <a:pt x="2430" y="192"/>
                </a:cubicBezTo>
                <a:cubicBezTo>
                  <a:pt x="2454" y="194"/>
                  <a:pt x="2466" y="206"/>
                  <a:pt x="2458" y="234"/>
                </a:cubicBezTo>
                <a:cubicBezTo>
                  <a:pt x="2406" y="390"/>
                  <a:pt x="2406" y="390"/>
                  <a:pt x="2406" y="390"/>
                </a:cubicBezTo>
                <a:cubicBezTo>
                  <a:pt x="2354" y="270"/>
                  <a:pt x="2354" y="270"/>
                  <a:pt x="2354" y="270"/>
                </a:cubicBezTo>
                <a:cubicBezTo>
                  <a:pt x="2340" y="238"/>
                  <a:pt x="2334" y="224"/>
                  <a:pt x="2334" y="212"/>
                </a:cubicBezTo>
                <a:cubicBezTo>
                  <a:pt x="2334" y="202"/>
                  <a:pt x="2340" y="196"/>
                  <a:pt x="2360" y="192"/>
                </a:cubicBezTo>
                <a:cubicBezTo>
                  <a:pt x="2360" y="180"/>
                  <a:pt x="2360" y="180"/>
                  <a:pt x="2360" y="180"/>
                </a:cubicBezTo>
                <a:cubicBezTo>
                  <a:pt x="2234" y="180"/>
                  <a:pt x="2234" y="180"/>
                  <a:pt x="2234" y="180"/>
                </a:cubicBezTo>
                <a:cubicBezTo>
                  <a:pt x="2234" y="192"/>
                  <a:pt x="2234" y="192"/>
                  <a:pt x="2234" y="192"/>
                </a:cubicBezTo>
                <a:cubicBezTo>
                  <a:pt x="2266" y="194"/>
                  <a:pt x="2268" y="198"/>
                  <a:pt x="2310" y="292"/>
                </a:cubicBezTo>
                <a:cubicBezTo>
                  <a:pt x="2382" y="450"/>
                  <a:pt x="2382" y="450"/>
                  <a:pt x="2382" y="450"/>
                </a:cubicBezTo>
                <a:cubicBezTo>
                  <a:pt x="2358" y="512"/>
                  <a:pt x="2320" y="546"/>
                  <a:pt x="2242" y="564"/>
                </a:cubicBezTo>
                <a:cubicBezTo>
                  <a:pt x="2246" y="576"/>
                  <a:pt x="2260" y="600"/>
                  <a:pt x="2268" y="606"/>
                </a:cubicBezTo>
                <a:cubicBezTo>
                  <a:pt x="2370" y="564"/>
                  <a:pt x="2390" y="498"/>
                  <a:pt x="2426" y="396"/>
                </a:cubicBezTo>
                <a:lnTo>
                  <a:pt x="2478" y="242"/>
                </a:lnTo>
                <a:close/>
                <a:moveTo>
                  <a:pt x="2844" y="394"/>
                </a:moveTo>
                <a:cubicBezTo>
                  <a:pt x="2822" y="412"/>
                  <a:pt x="2782" y="416"/>
                  <a:pt x="2750" y="416"/>
                </a:cubicBezTo>
                <a:cubicBezTo>
                  <a:pt x="2670" y="416"/>
                  <a:pt x="2606" y="360"/>
                  <a:pt x="2606" y="284"/>
                </a:cubicBezTo>
                <a:cubicBezTo>
                  <a:pt x="2606" y="236"/>
                  <a:pt x="2626" y="206"/>
                  <a:pt x="2658" y="198"/>
                </a:cubicBezTo>
                <a:cubicBezTo>
                  <a:pt x="2698" y="266"/>
                  <a:pt x="2770" y="338"/>
                  <a:pt x="2844" y="394"/>
                </a:cubicBezTo>
                <a:moveTo>
                  <a:pt x="2928" y="448"/>
                </a:moveTo>
                <a:cubicBezTo>
                  <a:pt x="3022" y="448"/>
                  <a:pt x="3022" y="448"/>
                  <a:pt x="3022" y="448"/>
                </a:cubicBezTo>
                <a:cubicBezTo>
                  <a:pt x="3022" y="436"/>
                  <a:pt x="3022" y="436"/>
                  <a:pt x="3022" y="436"/>
                </a:cubicBezTo>
                <a:cubicBezTo>
                  <a:pt x="2992" y="432"/>
                  <a:pt x="2946" y="408"/>
                  <a:pt x="2896" y="372"/>
                </a:cubicBezTo>
                <a:cubicBezTo>
                  <a:pt x="2914" y="342"/>
                  <a:pt x="2918" y="300"/>
                  <a:pt x="2922" y="270"/>
                </a:cubicBezTo>
                <a:cubicBezTo>
                  <a:pt x="2926" y="244"/>
                  <a:pt x="2946" y="244"/>
                  <a:pt x="2958" y="242"/>
                </a:cubicBezTo>
                <a:cubicBezTo>
                  <a:pt x="2958" y="230"/>
                  <a:pt x="2958" y="230"/>
                  <a:pt x="2958" y="230"/>
                </a:cubicBezTo>
                <a:cubicBezTo>
                  <a:pt x="2834" y="230"/>
                  <a:pt x="2834" y="230"/>
                  <a:pt x="2834" y="230"/>
                </a:cubicBezTo>
                <a:cubicBezTo>
                  <a:pt x="2834" y="242"/>
                  <a:pt x="2834" y="242"/>
                  <a:pt x="2834" y="242"/>
                </a:cubicBezTo>
                <a:cubicBezTo>
                  <a:pt x="2864" y="246"/>
                  <a:pt x="2892" y="250"/>
                  <a:pt x="2892" y="294"/>
                </a:cubicBezTo>
                <a:cubicBezTo>
                  <a:pt x="2892" y="318"/>
                  <a:pt x="2888" y="342"/>
                  <a:pt x="2878" y="358"/>
                </a:cubicBezTo>
                <a:cubicBezTo>
                  <a:pt x="2770" y="274"/>
                  <a:pt x="2670" y="156"/>
                  <a:pt x="2670" y="96"/>
                </a:cubicBezTo>
                <a:cubicBezTo>
                  <a:pt x="2670" y="66"/>
                  <a:pt x="2688" y="54"/>
                  <a:pt x="2716" y="54"/>
                </a:cubicBezTo>
                <a:cubicBezTo>
                  <a:pt x="2752" y="54"/>
                  <a:pt x="2784" y="78"/>
                  <a:pt x="2800" y="124"/>
                </a:cubicBezTo>
                <a:cubicBezTo>
                  <a:pt x="2812" y="124"/>
                  <a:pt x="2812" y="124"/>
                  <a:pt x="2812" y="124"/>
                </a:cubicBezTo>
                <a:cubicBezTo>
                  <a:pt x="2810" y="42"/>
                  <a:pt x="2810" y="42"/>
                  <a:pt x="2810" y="42"/>
                </a:cubicBezTo>
                <a:cubicBezTo>
                  <a:pt x="2798" y="42"/>
                  <a:pt x="2798" y="42"/>
                  <a:pt x="2798" y="42"/>
                </a:cubicBezTo>
                <a:cubicBezTo>
                  <a:pt x="2798" y="48"/>
                  <a:pt x="2792" y="52"/>
                  <a:pt x="2788" y="52"/>
                </a:cubicBezTo>
                <a:cubicBezTo>
                  <a:pt x="2772" y="52"/>
                  <a:pt x="2752" y="36"/>
                  <a:pt x="2714" y="36"/>
                </a:cubicBezTo>
                <a:cubicBezTo>
                  <a:pt x="2672" y="36"/>
                  <a:pt x="2630" y="62"/>
                  <a:pt x="2630" y="118"/>
                </a:cubicBezTo>
                <a:cubicBezTo>
                  <a:pt x="2630" y="140"/>
                  <a:pt x="2636" y="160"/>
                  <a:pt x="2648" y="182"/>
                </a:cubicBezTo>
                <a:cubicBezTo>
                  <a:pt x="2592" y="200"/>
                  <a:pt x="2562" y="248"/>
                  <a:pt x="2562" y="304"/>
                </a:cubicBezTo>
                <a:cubicBezTo>
                  <a:pt x="2562" y="406"/>
                  <a:pt x="2640" y="460"/>
                  <a:pt x="2726" y="460"/>
                </a:cubicBezTo>
                <a:cubicBezTo>
                  <a:pt x="2780" y="460"/>
                  <a:pt x="2824" y="444"/>
                  <a:pt x="2862" y="410"/>
                </a:cubicBezTo>
                <a:cubicBezTo>
                  <a:pt x="2888" y="424"/>
                  <a:pt x="2912" y="442"/>
                  <a:pt x="2928" y="448"/>
                </a:cubicBezTo>
                <a:moveTo>
                  <a:pt x="3094" y="212"/>
                </a:moveTo>
                <a:cubicBezTo>
                  <a:pt x="3094" y="88"/>
                  <a:pt x="3154" y="20"/>
                  <a:pt x="3252" y="20"/>
                </a:cubicBezTo>
                <a:cubicBezTo>
                  <a:pt x="3328" y="20"/>
                  <a:pt x="3372" y="58"/>
                  <a:pt x="3392" y="134"/>
                </a:cubicBezTo>
                <a:cubicBezTo>
                  <a:pt x="3404" y="134"/>
                  <a:pt x="3404" y="134"/>
                  <a:pt x="3404" y="134"/>
                </a:cubicBezTo>
                <a:cubicBezTo>
                  <a:pt x="3400" y="4"/>
                  <a:pt x="3400" y="4"/>
                  <a:pt x="3400" y="4"/>
                </a:cubicBezTo>
                <a:cubicBezTo>
                  <a:pt x="3388" y="4"/>
                  <a:pt x="3388" y="4"/>
                  <a:pt x="3388" y="4"/>
                </a:cubicBezTo>
                <a:cubicBezTo>
                  <a:pt x="3384" y="14"/>
                  <a:pt x="3376" y="18"/>
                  <a:pt x="3364" y="18"/>
                </a:cubicBezTo>
                <a:cubicBezTo>
                  <a:pt x="3338" y="18"/>
                  <a:pt x="3314" y="0"/>
                  <a:pt x="3248" y="0"/>
                </a:cubicBezTo>
                <a:cubicBezTo>
                  <a:pt x="3118" y="0"/>
                  <a:pt x="3030" y="102"/>
                  <a:pt x="3030" y="242"/>
                </a:cubicBezTo>
                <a:cubicBezTo>
                  <a:pt x="3030" y="376"/>
                  <a:pt x="3110" y="460"/>
                  <a:pt x="3238" y="460"/>
                </a:cubicBezTo>
                <a:cubicBezTo>
                  <a:pt x="3320" y="460"/>
                  <a:pt x="3384" y="420"/>
                  <a:pt x="3408" y="380"/>
                </a:cubicBezTo>
                <a:cubicBezTo>
                  <a:pt x="3396" y="366"/>
                  <a:pt x="3396" y="366"/>
                  <a:pt x="3396" y="366"/>
                </a:cubicBezTo>
                <a:cubicBezTo>
                  <a:pt x="3370" y="402"/>
                  <a:pt x="3314" y="426"/>
                  <a:pt x="3256" y="426"/>
                </a:cubicBezTo>
                <a:cubicBezTo>
                  <a:pt x="3156" y="426"/>
                  <a:pt x="3094" y="340"/>
                  <a:pt x="3094" y="212"/>
                </a:cubicBezTo>
                <a:moveTo>
                  <a:pt x="3678" y="328"/>
                </a:moveTo>
                <a:cubicBezTo>
                  <a:pt x="3678" y="392"/>
                  <a:pt x="3650" y="430"/>
                  <a:pt x="3592" y="430"/>
                </a:cubicBezTo>
                <a:cubicBezTo>
                  <a:pt x="3542" y="430"/>
                  <a:pt x="3496" y="384"/>
                  <a:pt x="3496" y="292"/>
                </a:cubicBezTo>
                <a:cubicBezTo>
                  <a:pt x="3496" y="226"/>
                  <a:pt x="3528" y="190"/>
                  <a:pt x="3580" y="190"/>
                </a:cubicBezTo>
                <a:cubicBezTo>
                  <a:pt x="3628" y="192"/>
                  <a:pt x="3678" y="238"/>
                  <a:pt x="3678" y="328"/>
                </a:cubicBezTo>
                <a:moveTo>
                  <a:pt x="3732" y="312"/>
                </a:moveTo>
                <a:cubicBezTo>
                  <a:pt x="3732" y="260"/>
                  <a:pt x="3710" y="214"/>
                  <a:pt x="3672" y="190"/>
                </a:cubicBezTo>
                <a:cubicBezTo>
                  <a:pt x="3650" y="176"/>
                  <a:pt x="3620" y="168"/>
                  <a:pt x="3588" y="168"/>
                </a:cubicBezTo>
                <a:cubicBezTo>
                  <a:pt x="3502" y="168"/>
                  <a:pt x="3442" y="230"/>
                  <a:pt x="3442" y="310"/>
                </a:cubicBezTo>
                <a:cubicBezTo>
                  <a:pt x="3442" y="364"/>
                  <a:pt x="3464" y="408"/>
                  <a:pt x="3502" y="432"/>
                </a:cubicBezTo>
                <a:cubicBezTo>
                  <a:pt x="3524" y="446"/>
                  <a:pt x="3554" y="452"/>
                  <a:pt x="3586" y="452"/>
                </a:cubicBezTo>
                <a:cubicBezTo>
                  <a:pt x="3672" y="454"/>
                  <a:pt x="3732" y="394"/>
                  <a:pt x="3732" y="312"/>
                </a:cubicBezTo>
                <a:moveTo>
                  <a:pt x="4136" y="448"/>
                </a:moveTo>
                <a:cubicBezTo>
                  <a:pt x="4280" y="448"/>
                  <a:pt x="4280" y="448"/>
                  <a:pt x="4280" y="448"/>
                </a:cubicBezTo>
                <a:cubicBezTo>
                  <a:pt x="4280" y="436"/>
                  <a:pt x="4280" y="436"/>
                  <a:pt x="4280" y="436"/>
                </a:cubicBezTo>
                <a:cubicBezTo>
                  <a:pt x="4230" y="434"/>
                  <a:pt x="4232" y="426"/>
                  <a:pt x="4232" y="348"/>
                </a:cubicBezTo>
                <a:cubicBezTo>
                  <a:pt x="4232" y="276"/>
                  <a:pt x="4232" y="276"/>
                  <a:pt x="4232" y="276"/>
                </a:cubicBezTo>
                <a:cubicBezTo>
                  <a:pt x="4232" y="200"/>
                  <a:pt x="4190" y="172"/>
                  <a:pt x="4142" y="172"/>
                </a:cubicBezTo>
                <a:cubicBezTo>
                  <a:pt x="4098" y="172"/>
                  <a:pt x="4064" y="196"/>
                  <a:pt x="4038" y="232"/>
                </a:cubicBezTo>
                <a:cubicBezTo>
                  <a:pt x="4028" y="194"/>
                  <a:pt x="4000" y="172"/>
                  <a:pt x="3954" y="172"/>
                </a:cubicBezTo>
                <a:cubicBezTo>
                  <a:pt x="3916" y="172"/>
                  <a:pt x="3880" y="196"/>
                  <a:pt x="3858" y="224"/>
                </a:cubicBezTo>
                <a:cubicBezTo>
                  <a:pt x="3858" y="176"/>
                  <a:pt x="3858" y="176"/>
                  <a:pt x="3858" y="176"/>
                </a:cubicBezTo>
                <a:cubicBezTo>
                  <a:pt x="3756" y="176"/>
                  <a:pt x="3756" y="176"/>
                  <a:pt x="3756" y="176"/>
                </a:cubicBezTo>
                <a:cubicBezTo>
                  <a:pt x="3756" y="188"/>
                  <a:pt x="3756" y="188"/>
                  <a:pt x="3756" y="188"/>
                </a:cubicBezTo>
                <a:cubicBezTo>
                  <a:pt x="3800" y="190"/>
                  <a:pt x="3806" y="192"/>
                  <a:pt x="3806" y="268"/>
                </a:cubicBezTo>
                <a:cubicBezTo>
                  <a:pt x="3806" y="346"/>
                  <a:pt x="3806" y="346"/>
                  <a:pt x="3806" y="346"/>
                </a:cubicBezTo>
                <a:cubicBezTo>
                  <a:pt x="3806" y="434"/>
                  <a:pt x="3804" y="434"/>
                  <a:pt x="3758" y="434"/>
                </a:cubicBezTo>
                <a:cubicBezTo>
                  <a:pt x="3758" y="446"/>
                  <a:pt x="3758" y="446"/>
                  <a:pt x="3758" y="446"/>
                </a:cubicBezTo>
                <a:cubicBezTo>
                  <a:pt x="3902" y="446"/>
                  <a:pt x="3902" y="446"/>
                  <a:pt x="3902" y="446"/>
                </a:cubicBezTo>
                <a:cubicBezTo>
                  <a:pt x="3902" y="434"/>
                  <a:pt x="3902" y="434"/>
                  <a:pt x="3902" y="434"/>
                </a:cubicBezTo>
                <a:cubicBezTo>
                  <a:pt x="3862" y="430"/>
                  <a:pt x="3858" y="430"/>
                  <a:pt x="3858" y="342"/>
                </a:cubicBezTo>
                <a:cubicBezTo>
                  <a:pt x="3858" y="262"/>
                  <a:pt x="3858" y="262"/>
                  <a:pt x="3858" y="262"/>
                </a:cubicBezTo>
                <a:cubicBezTo>
                  <a:pt x="3858" y="234"/>
                  <a:pt x="3894" y="204"/>
                  <a:pt x="3932" y="204"/>
                </a:cubicBezTo>
                <a:cubicBezTo>
                  <a:pt x="3974" y="204"/>
                  <a:pt x="3990" y="226"/>
                  <a:pt x="3990" y="282"/>
                </a:cubicBezTo>
                <a:cubicBezTo>
                  <a:pt x="3990" y="338"/>
                  <a:pt x="3990" y="338"/>
                  <a:pt x="3990" y="338"/>
                </a:cubicBezTo>
                <a:cubicBezTo>
                  <a:pt x="3990" y="428"/>
                  <a:pt x="3988" y="432"/>
                  <a:pt x="3950" y="436"/>
                </a:cubicBezTo>
                <a:cubicBezTo>
                  <a:pt x="3950" y="448"/>
                  <a:pt x="3950" y="448"/>
                  <a:pt x="3950" y="448"/>
                </a:cubicBezTo>
                <a:cubicBezTo>
                  <a:pt x="4086" y="448"/>
                  <a:pt x="4086" y="448"/>
                  <a:pt x="4086" y="448"/>
                </a:cubicBezTo>
                <a:cubicBezTo>
                  <a:pt x="4086" y="436"/>
                  <a:pt x="4086" y="436"/>
                  <a:pt x="4086" y="436"/>
                </a:cubicBezTo>
                <a:cubicBezTo>
                  <a:pt x="4040" y="432"/>
                  <a:pt x="4042" y="428"/>
                  <a:pt x="4042" y="342"/>
                </a:cubicBezTo>
                <a:cubicBezTo>
                  <a:pt x="4042" y="264"/>
                  <a:pt x="4042" y="264"/>
                  <a:pt x="4042" y="264"/>
                </a:cubicBezTo>
                <a:cubicBezTo>
                  <a:pt x="4042" y="236"/>
                  <a:pt x="4078" y="206"/>
                  <a:pt x="4118" y="206"/>
                </a:cubicBezTo>
                <a:cubicBezTo>
                  <a:pt x="4152" y="206"/>
                  <a:pt x="4174" y="226"/>
                  <a:pt x="4174" y="284"/>
                </a:cubicBezTo>
                <a:cubicBezTo>
                  <a:pt x="4174" y="346"/>
                  <a:pt x="4174" y="346"/>
                  <a:pt x="4174" y="346"/>
                </a:cubicBezTo>
                <a:cubicBezTo>
                  <a:pt x="4174" y="428"/>
                  <a:pt x="4174" y="432"/>
                  <a:pt x="4134" y="436"/>
                </a:cubicBezTo>
                <a:cubicBezTo>
                  <a:pt x="4134" y="448"/>
                  <a:pt x="4134" y="448"/>
                  <a:pt x="4134" y="448"/>
                </a:cubicBezTo>
                <a:lnTo>
                  <a:pt x="4136" y="448"/>
                </a:lnTo>
                <a:close/>
                <a:moveTo>
                  <a:pt x="4546" y="316"/>
                </a:moveTo>
                <a:cubicBezTo>
                  <a:pt x="4546" y="388"/>
                  <a:pt x="4516" y="432"/>
                  <a:pt x="4460" y="432"/>
                </a:cubicBezTo>
                <a:cubicBezTo>
                  <a:pt x="4424" y="432"/>
                  <a:pt x="4384" y="412"/>
                  <a:pt x="4384" y="384"/>
                </a:cubicBezTo>
                <a:cubicBezTo>
                  <a:pt x="4384" y="248"/>
                  <a:pt x="4384" y="248"/>
                  <a:pt x="4384" y="248"/>
                </a:cubicBezTo>
                <a:cubicBezTo>
                  <a:pt x="4384" y="226"/>
                  <a:pt x="4416" y="202"/>
                  <a:pt x="4454" y="202"/>
                </a:cubicBezTo>
                <a:cubicBezTo>
                  <a:pt x="4510" y="206"/>
                  <a:pt x="4546" y="248"/>
                  <a:pt x="4546" y="316"/>
                </a:cubicBezTo>
                <a:moveTo>
                  <a:pt x="4600" y="310"/>
                </a:moveTo>
                <a:cubicBezTo>
                  <a:pt x="4600" y="230"/>
                  <a:pt x="4548" y="170"/>
                  <a:pt x="4478" y="170"/>
                </a:cubicBezTo>
                <a:cubicBezTo>
                  <a:pt x="4438" y="170"/>
                  <a:pt x="4406" y="188"/>
                  <a:pt x="4384" y="214"/>
                </a:cubicBezTo>
                <a:cubicBezTo>
                  <a:pt x="4384" y="174"/>
                  <a:pt x="4384" y="174"/>
                  <a:pt x="4384" y="174"/>
                </a:cubicBezTo>
                <a:cubicBezTo>
                  <a:pt x="4284" y="174"/>
                  <a:pt x="4284" y="174"/>
                  <a:pt x="4284" y="174"/>
                </a:cubicBezTo>
                <a:cubicBezTo>
                  <a:pt x="4284" y="186"/>
                  <a:pt x="4284" y="186"/>
                  <a:pt x="4284" y="186"/>
                </a:cubicBezTo>
                <a:cubicBezTo>
                  <a:pt x="4326" y="188"/>
                  <a:pt x="4332" y="190"/>
                  <a:pt x="4332" y="280"/>
                </a:cubicBezTo>
                <a:cubicBezTo>
                  <a:pt x="4332" y="466"/>
                  <a:pt x="4332" y="466"/>
                  <a:pt x="4332" y="466"/>
                </a:cubicBezTo>
                <a:cubicBezTo>
                  <a:pt x="4332" y="564"/>
                  <a:pt x="4334" y="570"/>
                  <a:pt x="4286" y="574"/>
                </a:cubicBezTo>
                <a:cubicBezTo>
                  <a:pt x="4286" y="588"/>
                  <a:pt x="4286" y="588"/>
                  <a:pt x="4286" y="588"/>
                </a:cubicBezTo>
                <a:cubicBezTo>
                  <a:pt x="4432" y="588"/>
                  <a:pt x="4432" y="588"/>
                  <a:pt x="4432" y="588"/>
                </a:cubicBezTo>
                <a:cubicBezTo>
                  <a:pt x="4432" y="574"/>
                  <a:pt x="4432" y="574"/>
                  <a:pt x="4432" y="574"/>
                </a:cubicBezTo>
                <a:cubicBezTo>
                  <a:pt x="4380" y="572"/>
                  <a:pt x="4384" y="564"/>
                  <a:pt x="4384" y="462"/>
                </a:cubicBezTo>
                <a:cubicBezTo>
                  <a:pt x="4384" y="424"/>
                  <a:pt x="4384" y="424"/>
                  <a:pt x="4384" y="424"/>
                </a:cubicBezTo>
                <a:cubicBezTo>
                  <a:pt x="4404" y="444"/>
                  <a:pt x="4436" y="454"/>
                  <a:pt x="4466" y="454"/>
                </a:cubicBezTo>
                <a:cubicBezTo>
                  <a:pt x="4548" y="454"/>
                  <a:pt x="4600" y="392"/>
                  <a:pt x="4600" y="310"/>
                </a:cubicBezTo>
                <a:moveTo>
                  <a:pt x="4792" y="382"/>
                </a:moveTo>
                <a:cubicBezTo>
                  <a:pt x="4792" y="404"/>
                  <a:pt x="4762" y="424"/>
                  <a:pt x="4736" y="424"/>
                </a:cubicBezTo>
                <a:cubicBezTo>
                  <a:pt x="4712" y="424"/>
                  <a:pt x="4694" y="410"/>
                  <a:pt x="4694" y="378"/>
                </a:cubicBezTo>
                <a:cubicBezTo>
                  <a:pt x="4694" y="322"/>
                  <a:pt x="4752" y="328"/>
                  <a:pt x="4792" y="306"/>
                </a:cubicBezTo>
                <a:cubicBezTo>
                  <a:pt x="4792" y="382"/>
                  <a:pt x="4792" y="382"/>
                  <a:pt x="4792" y="382"/>
                </a:cubicBezTo>
                <a:close/>
                <a:moveTo>
                  <a:pt x="5240" y="434"/>
                </a:moveTo>
                <a:cubicBezTo>
                  <a:pt x="5192" y="432"/>
                  <a:pt x="5192" y="430"/>
                  <a:pt x="5192" y="340"/>
                </a:cubicBezTo>
                <a:cubicBezTo>
                  <a:pt x="5192" y="278"/>
                  <a:pt x="5192" y="278"/>
                  <a:pt x="5192" y="278"/>
                </a:cubicBezTo>
                <a:cubicBezTo>
                  <a:pt x="5192" y="196"/>
                  <a:pt x="5146" y="170"/>
                  <a:pt x="5104" y="170"/>
                </a:cubicBezTo>
                <a:cubicBezTo>
                  <a:pt x="5068" y="170"/>
                  <a:pt x="5032" y="186"/>
                  <a:pt x="5004" y="222"/>
                </a:cubicBezTo>
                <a:cubicBezTo>
                  <a:pt x="5004" y="174"/>
                  <a:pt x="5004" y="174"/>
                  <a:pt x="5004" y="174"/>
                </a:cubicBezTo>
                <a:cubicBezTo>
                  <a:pt x="4902" y="174"/>
                  <a:pt x="4902" y="174"/>
                  <a:pt x="4902" y="174"/>
                </a:cubicBezTo>
                <a:cubicBezTo>
                  <a:pt x="4902" y="186"/>
                  <a:pt x="4902" y="186"/>
                  <a:pt x="4902" y="186"/>
                </a:cubicBezTo>
                <a:cubicBezTo>
                  <a:pt x="4946" y="188"/>
                  <a:pt x="4952" y="190"/>
                  <a:pt x="4952" y="266"/>
                </a:cubicBezTo>
                <a:cubicBezTo>
                  <a:pt x="4952" y="334"/>
                  <a:pt x="4952" y="334"/>
                  <a:pt x="4952" y="334"/>
                </a:cubicBezTo>
                <a:cubicBezTo>
                  <a:pt x="4952" y="430"/>
                  <a:pt x="4952" y="432"/>
                  <a:pt x="4904" y="434"/>
                </a:cubicBezTo>
                <a:cubicBezTo>
                  <a:pt x="4892" y="434"/>
                  <a:pt x="4892" y="434"/>
                  <a:pt x="4892" y="434"/>
                </a:cubicBezTo>
                <a:cubicBezTo>
                  <a:pt x="4854" y="434"/>
                  <a:pt x="4850" y="422"/>
                  <a:pt x="4850" y="366"/>
                </a:cubicBezTo>
                <a:cubicBezTo>
                  <a:pt x="4850" y="274"/>
                  <a:pt x="4850" y="274"/>
                  <a:pt x="4850" y="274"/>
                </a:cubicBezTo>
                <a:cubicBezTo>
                  <a:pt x="4850" y="256"/>
                  <a:pt x="4848" y="240"/>
                  <a:pt x="4844" y="228"/>
                </a:cubicBezTo>
                <a:cubicBezTo>
                  <a:pt x="4830" y="186"/>
                  <a:pt x="4796" y="170"/>
                  <a:pt x="4748" y="170"/>
                </a:cubicBezTo>
                <a:cubicBezTo>
                  <a:pt x="4718" y="170"/>
                  <a:pt x="4674" y="180"/>
                  <a:pt x="4650" y="202"/>
                </a:cubicBezTo>
                <a:cubicBezTo>
                  <a:pt x="4652" y="214"/>
                  <a:pt x="4664" y="240"/>
                  <a:pt x="4670" y="248"/>
                </a:cubicBezTo>
                <a:cubicBezTo>
                  <a:pt x="4676" y="246"/>
                  <a:pt x="4676" y="246"/>
                  <a:pt x="4676" y="246"/>
                </a:cubicBezTo>
                <a:cubicBezTo>
                  <a:pt x="4688" y="216"/>
                  <a:pt x="4708" y="194"/>
                  <a:pt x="4742" y="194"/>
                </a:cubicBezTo>
                <a:cubicBezTo>
                  <a:pt x="4778" y="194"/>
                  <a:pt x="4794" y="220"/>
                  <a:pt x="4794" y="250"/>
                </a:cubicBezTo>
                <a:cubicBezTo>
                  <a:pt x="4794" y="282"/>
                  <a:pt x="4794" y="282"/>
                  <a:pt x="4794" y="282"/>
                </a:cubicBezTo>
                <a:cubicBezTo>
                  <a:pt x="4794" y="302"/>
                  <a:pt x="4702" y="306"/>
                  <a:pt x="4664" y="338"/>
                </a:cubicBezTo>
                <a:cubicBezTo>
                  <a:pt x="4652" y="350"/>
                  <a:pt x="4642" y="364"/>
                  <a:pt x="4642" y="384"/>
                </a:cubicBezTo>
                <a:cubicBezTo>
                  <a:pt x="4642" y="426"/>
                  <a:pt x="4672" y="456"/>
                  <a:pt x="4716" y="456"/>
                </a:cubicBezTo>
                <a:cubicBezTo>
                  <a:pt x="4744" y="456"/>
                  <a:pt x="4768" y="446"/>
                  <a:pt x="4794" y="418"/>
                </a:cubicBezTo>
                <a:cubicBezTo>
                  <a:pt x="4798" y="438"/>
                  <a:pt x="4814" y="448"/>
                  <a:pt x="4842" y="448"/>
                </a:cubicBezTo>
                <a:cubicBezTo>
                  <a:pt x="4906" y="448"/>
                  <a:pt x="4906" y="448"/>
                  <a:pt x="4906" y="448"/>
                </a:cubicBezTo>
                <a:cubicBezTo>
                  <a:pt x="4906" y="448"/>
                  <a:pt x="4906" y="448"/>
                  <a:pt x="4906" y="448"/>
                </a:cubicBezTo>
                <a:cubicBezTo>
                  <a:pt x="5048" y="448"/>
                  <a:pt x="5048" y="448"/>
                  <a:pt x="5048" y="448"/>
                </a:cubicBezTo>
                <a:cubicBezTo>
                  <a:pt x="5048" y="436"/>
                  <a:pt x="5048" y="436"/>
                  <a:pt x="5048" y="436"/>
                </a:cubicBezTo>
                <a:cubicBezTo>
                  <a:pt x="5006" y="432"/>
                  <a:pt x="5004" y="434"/>
                  <a:pt x="5004" y="338"/>
                </a:cubicBezTo>
                <a:cubicBezTo>
                  <a:pt x="5004" y="262"/>
                  <a:pt x="5004" y="262"/>
                  <a:pt x="5004" y="262"/>
                </a:cubicBezTo>
                <a:cubicBezTo>
                  <a:pt x="5004" y="236"/>
                  <a:pt x="5038" y="206"/>
                  <a:pt x="5080" y="206"/>
                </a:cubicBezTo>
                <a:cubicBezTo>
                  <a:pt x="5114" y="206"/>
                  <a:pt x="5140" y="220"/>
                  <a:pt x="5140" y="286"/>
                </a:cubicBezTo>
                <a:cubicBezTo>
                  <a:pt x="5140" y="340"/>
                  <a:pt x="5140" y="340"/>
                  <a:pt x="5140" y="340"/>
                </a:cubicBezTo>
                <a:cubicBezTo>
                  <a:pt x="5140" y="432"/>
                  <a:pt x="5136" y="432"/>
                  <a:pt x="5098" y="434"/>
                </a:cubicBezTo>
                <a:cubicBezTo>
                  <a:pt x="5098" y="446"/>
                  <a:pt x="5098" y="446"/>
                  <a:pt x="5098" y="446"/>
                </a:cubicBezTo>
                <a:cubicBezTo>
                  <a:pt x="5240" y="446"/>
                  <a:pt x="5240" y="446"/>
                  <a:pt x="5240" y="446"/>
                </a:cubicBezTo>
                <a:lnTo>
                  <a:pt x="5240" y="434"/>
                </a:lnTo>
                <a:close/>
                <a:moveTo>
                  <a:pt x="5516" y="192"/>
                </a:moveTo>
                <a:cubicBezTo>
                  <a:pt x="5516" y="180"/>
                  <a:pt x="5516" y="180"/>
                  <a:pt x="5516" y="180"/>
                </a:cubicBezTo>
                <a:cubicBezTo>
                  <a:pt x="5418" y="180"/>
                  <a:pt x="5418" y="180"/>
                  <a:pt x="5418" y="180"/>
                </a:cubicBezTo>
                <a:cubicBezTo>
                  <a:pt x="5418" y="192"/>
                  <a:pt x="5418" y="192"/>
                  <a:pt x="5418" y="192"/>
                </a:cubicBezTo>
                <a:cubicBezTo>
                  <a:pt x="5442" y="194"/>
                  <a:pt x="5454" y="206"/>
                  <a:pt x="5446" y="234"/>
                </a:cubicBezTo>
                <a:cubicBezTo>
                  <a:pt x="5394" y="390"/>
                  <a:pt x="5394" y="390"/>
                  <a:pt x="5394" y="390"/>
                </a:cubicBezTo>
                <a:cubicBezTo>
                  <a:pt x="5342" y="270"/>
                  <a:pt x="5342" y="270"/>
                  <a:pt x="5342" y="270"/>
                </a:cubicBezTo>
                <a:cubicBezTo>
                  <a:pt x="5328" y="238"/>
                  <a:pt x="5322" y="224"/>
                  <a:pt x="5322" y="212"/>
                </a:cubicBezTo>
                <a:cubicBezTo>
                  <a:pt x="5322" y="202"/>
                  <a:pt x="5328" y="196"/>
                  <a:pt x="5348" y="192"/>
                </a:cubicBezTo>
                <a:cubicBezTo>
                  <a:pt x="5348" y="180"/>
                  <a:pt x="5348" y="180"/>
                  <a:pt x="5348" y="180"/>
                </a:cubicBezTo>
                <a:cubicBezTo>
                  <a:pt x="5220" y="180"/>
                  <a:pt x="5220" y="180"/>
                  <a:pt x="5220" y="180"/>
                </a:cubicBezTo>
                <a:cubicBezTo>
                  <a:pt x="5220" y="192"/>
                  <a:pt x="5220" y="192"/>
                  <a:pt x="5220" y="192"/>
                </a:cubicBezTo>
                <a:cubicBezTo>
                  <a:pt x="5252" y="194"/>
                  <a:pt x="5254" y="198"/>
                  <a:pt x="5296" y="292"/>
                </a:cubicBezTo>
                <a:cubicBezTo>
                  <a:pt x="5368" y="450"/>
                  <a:pt x="5368" y="450"/>
                  <a:pt x="5368" y="450"/>
                </a:cubicBezTo>
                <a:cubicBezTo>
                  <a:pt x="5344" y="512"/>
                  <a:pt x="5306" y="546"/>
                  <a:pt x="5228" y="564"/>
                </a:cubicBezTo>
                <a:cubicBezTo>
                  <a:pt x="5232" y="576"/>
                  <a:pt x="5246" y="600"/>
                  <a:pt x="5254" y="606"/>
                </a:cubicBezTo>
                <a:cubicBezTo>
                  <a:pt x="5356" y="564"/>
                  <a:pt x="5376" y="498"/>
                  <a:pt x="5412" y="396"/>
                </a:cubicBezTo>
                <a:cubicBezTo>
                  <a:pt x="5466" y="242"/>
                  <a:pt x="5466" y="242"/>
                  <a:pt x="5466" y="242"/>
                </a:cubicBezTo>
                <a:cubicBezTo>
                  <a:pt x="5478" y="206"/>
                  <a:pt x="5498" y="192"/>
                  <a:pt x="5516" y="192"/>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600" kern="1200">
                <a:solidFill>
                  <a:schemeClr val="tx1"/>
                </a:solidFill>
                <a:latin typeface="Arial" charset="0"/>
                <a:ea typeface="+mn-ea"/>
                <a:cs typeface="+mn-cs"/>
              </a:defRPr>
            </a:lvl1pPr>
            <a:lvl2pPr marL="457200" algn="l" rtl="0" fontAlgn="base">
              <a:spcBef>
                <a:spcPct val="0"/>
              </a:spcBef>
              <a:spcAft>
                <a:spcPct val="0"/>
              </a:spcAft>
              <a:defRPr sz="1600" kern="1200">
                <a:solidFill>
                  <a:schemeClr val="tx1"/>
                </a:solidFill>
                <a:latin typeface="Arial" charset="0"/>
                <a:ea typeface="+mn-ea"/>
                <a:cs typeface="+mn-cs"/>
              </a:defRPr>
            </a:lvl2pPr>
            <a:lvl3pPr marL="914400" algn="l" rtl="0" fontAlgn="base">
              <a:spcBef>
                <a:spcPct val="0"/>
              </a:spcBef>
              <a:spcAft>
                <a:spcPct val="0"/>
              </a:spcAft>
              <a:defRPr sz="1600" kern="1200">
                <a:solidFill>
                  <a:schemeClr val="tx1"/>
                </a:solidFill>
                <a:latin typeface="Arial" charset="0"/>
                <a:ea typeface="+mn-ea"/>
                <a:cs typeface="+mn-cs"/>
              </a:defRPr>
            </a:lvl3pPr>
            <a:lvl4pPr marL="1371600" algn="l" rtl="0" fontAlgn="base">
              <a:spcBef>
                <a:spcPct val="0"/>
              </a:spcBef>
              <a:spcAft>
                <a:spcPct val="0"/>
              </a:spcAft>
              <a:defRPr sz="1600" kern="1200">
                <a:solidFill>
                  <a:schemeClr val="tx1"/>
                </a:solidFill>
                <a:latin typeface="Arial" charset="0"/>
                <a:ea typeface="+mn-ea"/>
                <a:cs typeface="+mn-cs"/>
              </a:defRPr>
            </a:lvl4pPr>
            <a:lvl5pPr marL="1828800" algn="l" rtl="0" fontAlgn="base">
              <a:spcBef>
                <a:spcPct val="0"/>
              </a:spcBef>
              <a:spcAft>
                <a:spcPct val="0"/>
              </a:spcAft>
              <a:defRPr sz="1600" kern="1200">
                <a:solidFill>
                  <a:schemeClr val="tx1"/>
                </a:solidFill>
                <a:latin typeface="Arial" charset="0"/>
                <a:ea typeface="+mn-ea"/>
                <a:cs typeface="+mn-cs"/>
              </a:defRPr>
            </a:lvl5pPr>
            <a:lvl6pPr marL="2286000" algn="l" defTabSz="914400" rtl="0" eaLnBrk="1" latinLnBrk="0" hangingPunct="1">
              <a:defRPr sz="1600" kern="1200">
                <a:solidFill>
                  <a:schemeClr val="tx1"/>
                </a:solidFill>
                <a:latin typeface="Arial" charset="0"/>
                <a:ea typeface="+mn-ea"/>
                <a:cs typeface="+mn-cs"/>
              </a:defRPr>
            </a:lvl6pPr>
            <a:lvl7pPr marL="2743200" algn="l" defTabSz="914400" rtl="0" eaLnBrk="1" latinLnBrk="0" hangingPunct="1">
              <a:defRPr sz="1600" kern="1200">
                <a:solidFill>
                  <a:schemeClr val="tx1"/>
                </a:solidFill>
                <a:latin typeface="Arial" charset="0"/>
                <a:ea typeface="+mn-ea"/>
                <a:cs typeface="+mn-cs"/>
              </a:defRPr>
            </a:lvl7pPr>
            <a:lvl8pPr marL="3200400" algn="l" defTabSz="914400" rtl="0" eaLnBrk="1" latinLnBrk="0" hangingPunct="1">
              <a:defRPr sz="1600" kern="1200">
                <a:solidFill>
                  <a:schemeClr val="tx1"/>
                </a:solidFill>
                <a:latin typeface="Arial" charset="0"/>
                <a:ea typeface="+mn-ea"/>
                <a:cs typeface="+mn-cs"/>
              </a:defRPr>
            </a:lvl8pPr>
            <a:lvl9pPr marL="3657600" algn="l" defTabSz="914400" rtl="0" eaLnBrk="1" latinLnBrk="0" hangingPunct="1">
              <a:defRPr sz="1600" kern="1200">
                <a:solidFill>
                  <a:schemeClr val="tx1"/>
                </a:solidFill>
                <a:latin typeface="Arial" charset="0"/>
                <a:ea typeface="+mn-ea"/>
                <a:cs typeface="+mn-cs"/>
              </a:defRPr>
            </a:lvl9pPr>
          </a:lstStyle>
          <a:p>
            <a:endParaRPr lang="en-US" baseline="0" dirty="0">
              <a:solidFill>
                <a:srgbClr val="000000"/>
              </a:solidFill>
              <a:latin typeface="+mn-lt"/>
            </a:endParaRPr>
          </a:p>
        </p:txBody>
      </p:sp>
      <p:sp>
        <p:nvSpPr>
          <p:cNvPr id="27" name="Disclaimer-English (United States)" hidden="1"/>
          <p:cNvSpPr>
            <a:spLocks noChangeArrowheads="1"/>
          </p:cNvSpPr>
          <p:nvPr/>
        </p:nvSpPr>
        <p:spPr bwMode="black">
          <a:xfrm>
            <a:off x="2268266" y="6287785"/>
            <a:ext cx="3544453" cy="36908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t" anchorCtr="0">
            <a:noAutofit/>
          </a:bodyPr>
          <a:lstStyle/>
          <a:p>
            <a:pPr defTabSz="804863" eaLnBrk="0" hangingPunct="0"/>
            <a:r>
              <a:rPr lang="en-US" sz="800" baseline="0" dirty="0">
                <a:solidFill>
                  <a:srgbClr val="FFFFFF"/>
                </a:solidFill>
                <a:latin typeface="+mn-lt"/>
              </a:rPr>
              <a:t>CONFIDENTIAL AND PROPRIETARY</a:t>
            </a:r>
          </a:p>
          <a:p>
            <a:pPr defTabSz="804863" eaLnBrk="0" hangingPunct="0"/>
            <a:r>
              <a:rPr lang="en-US" sz="800" baseline="0" dirty="0">
                <a:solidFill>
                  <a:srgbClr val="FFFFFF"/>
                </a:solidFill>
                <a:latin typeface="+mn-lt"/>
              </a:rPr>
              <a:t>Any use of this material without specific permission of McKinsey &amp; Company is strictly prohibited</a:t>
            </a:r>
          </a:p>
        </p:txBody>
      </p:sp>
    </p:spTree>
    <p:extLst>
      <p:ext uri="{BB962C8B-B14F-4D97-AF65-F5344CB8AC3E}">
        <p14:creationId xmlns:p14="http://schemas.microsoft.com/office/powerpoint/2010/main" val="2955428145"/>
      </p:ext>
    </p:extLst>
  </p:cSld>
  <p:clrMapOvr>
    <a:masterClrMapping/>
  </p:clrMapOvr>
  <p:extLst mod="1">
    <p:ext uri="{DCECCB84-F9BA-43D5-87BE-67443E8EF086}">
      <p15:sldGuideLst xmlns:p15="http://schemas.microsoft.com/office/powerpoint/2012/main">
        <p15:guide id="1" orient="horz" pos="2117">
          <p15:clr>
            <a:srgbClr val="FBAE40"/>
          </p15:clr>
        </p15:guide>
        <p15:guide id="2" pos="1416">
          <p15:clr>
            <a:srgbClr val="FBAE40"/>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6E228F5-5CF1-42E1-9748-97D7582A107A}"/>
              </a:ext>
            </a:extLst>
          </p:cNvPr>
          <p:cNvGraphicFramePr>
            <a:graphicFrameLocks noChangeAspect="1"/>
          </p:cNvGraphicFramePr>
          <p:nvPr>
            <p:custDataLst>
              <p:tags r:id="rId2"/>
            </p:custDataLst>
            <p:extLst>
              <p:ext uri="{D42A27DB-BD31-4B8C-83A1-F6EECF244321}">
                <p14:modId xmlns:p14="http://schemas.microsoft.com/office/powerpoint/2010/main" val="169510694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5972" name="think-cell Slide" r:id="rId5" imgW="353" imgH="353" progId="TCLayout.ActiveDocument.1">
                  <p:embed/>
                </p:oleObj>
              </mc:Choice>
              <mc:Fallback>
                <p:oleObj name="think-cell Slide" r:id="rId5" imgW="353" imgH="353" progId="TCLayout.ActiveDocument.1">
                  <p:embed/>
                  <p:pic>
                    <p:nvPicPr>
                      <p:cNvPr id="3" name="Object 2" hidden="1">
                        <a:extLst>
                          <a:ext uri="{FF2B5EF4-FFF2-40B4-BE49-F238E27FC236}">
                            <a16:creationId xmlns:a16="http://schemas.microsoft.com/office/drawing/2014/main" id="{C6E228F5-5CF1-42E1-9748-97D7582A107A}"/>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2. Slide Title"/>
          <p:cNvSpPr>
            <a:spLocks noGrp="1"/>
          </p:cNvSpPr>
          <p:nvPr>
            <p:ph type="title"/>
          </p:nvPr>
        </p:nvSpPr>
        <p:spPr bwMode="auto"/>
        <p:txBody>
          <a:bodyPr/>
          <a:lstStyle/>
          <a:p>
            <a:r>
              <a:rPr lang="en-US"/>
              <a:t>Click to edit Master title style</a:t>
            </a:r>
            <a:endParaRPr lang="en-US" dirty="0"/>
          </a:p>
        </p:txBody>
      </p:sp>
      <p:sp>
        <p:nvSpPr>
          <p:cNvPr id="8" name="Slide Number"/>
          <p:cNvSpPr txBox="1">
            <a:spLocks/>
          </p:cNvSpPr>
          <p:nvPr/>
        </p:nvSpPr>
        <p:spPr bwMode="auto">
          <a:xfrm>
            <a:off x="8564563" y="6508272"/>
            <a:ext cx="125034" cy="123111"/>
          </a:xfrm>
          <a:prstGeom prst="rect">
            <a:avLst/>
          </a:prstGeom>
        </p:spPr>
        <p:txBody>
          <a:bodyPr vert="horz" wrap="none" lIns="0" tIns="0" rIns="0" bIns="0" rtlCol="0" anchor="ctr">
            <a:spAutoFit/>
          </a:bodyPr>
          <a:lstStyle>
            <a:defPPr>
              <a:defRPr lang="en-US"/>
            </a:defPPr>
            <a:lvl1pPr>
              <a:defRPr sz="1000" baseline="0">
                <a:latin typeface="+mn-lt"/>
              </a:defRPr>
            </a:lvl1pPr>
          </a:lstStyle>
          <a:p>
            <a:fld id="{42C328C1-A84F-4A39-A664-DBA00541A8C6}" type="slidenum">
              <a:rPr lang="en-US" sz="800" baseline="0" smtClean="0">
                <a:solidFill>
                  <a:srgbClr val="808080"/>
                </a:solidFill>
                <a:latin typeface="+mn-lt"/>
              </a:rPr>
              <a:pPr/>
              <a:t>‹#›</a:t>
            </a:fld>
            <a:endParaRPr lang="en-US" sz="800" baseline="0" dirty="0">
              <a:solidFill>
                <a:srgbClr val="808080"/>
              </a:solidFill>
              <a:latin typeface="+mn-lt"/>
            </a:endParaRPr>
          </a:p>
        </p:txBody>
      </p:sp>
      <p:sp>
        <p:nvSpPr>
          <p:cNvPr id="9" name="SlideLogoText"/>
          <p:cNvSpPr>
            <a:spLocks noChangeArrowheads="1"/>
          </p:cNvSpPr>
          <p:nvPr>
            <p:custDataLst>
              <p:tags r:id="rId3"/>
            </p:custDataLst>
          </p:nvPr>
        </p:nvSpPr>
        <p:spPr bwMode="auto">
          <a:xfrm>
            <a:off x="7450817" y="6508272"/>
            <a:ext cx="1013098"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algn="r" defTabSz="895350"/>
            <a:r>
              <a:rPr lang="en-US" sz="800" baseline="0" dirty="0">
                <a:solidFill>
                  <a:srgbClr val="808080"/>
                </a:solidFill>
                <a:latin typeface="+mn-lt"/>
              </a:rPr>
              <a:t>McKinsey &amp; Company</a:t>
            </a:r>
          </a:p>
        </p:txBody>
      </p:sp>
      <p:sp>
        <p:nvSpPr>
          <p:cNvPr id="5" name="doc id" hidden="1"/>
          <p:cNvSpPr txBox="1">
            <a:spLocks noChangeArrowheads="1"/>
          </p:cNvSpPr>
          <p:nvPr/>
        </p:nvSpPr>
        <p:spPr bwMode="white">
          <a:xfrm>
            <a:off x="8104473" y="36513"/>
            <a:ext cx="634716" cy="115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hangingPunct="1">
              <a:defRPr/>
            </a:pPr>
            <a:endParaRPr lang="en-US" sz="800" baseline="0" dirty="0">
              <a:solidFill>
                <a:schemeClr val="accent1"/>
              </a:solidFill>
              <a:latin typeface="+mn-lt"/>
              <a:ea typeface="+mn-ea"/>
            </a:endParaRPr>
          </a:p>
        </p:txBody>
      </p:sp>
    </p:spTree>
    <p:extLst>
      <p:ext uri="{BB962C8B-B14F-4D97-AF65-F5344CB8AC3E}">
        <p14:creationId xmlns:p14="http://schemas.microsoft.com/office/powerpoint/2010/main" val="1011739678"/>
      </p:ext>
    </p:extLst>
  </p:cSld>
  <p:clrMapOvr>
    <a:masterClrMapping/>
  </p:clrMapOvr>
  <p:extLst mod="1">
    <p:ext uri="{DCECCB84-F9BA-43D5-87BE-67443E8EF086}">
      <p15:sldGuideLst xmlns:p15="http://schemas.microsoft.com/office/powerpoint/2012/main">
        <p15:guide id="1" pos="5505">
          <p15:clr>
            <a:srgbClr val="F26B43"/>
          </p15:clr>
        </p15:guide>
        <p15:guide id="2" pos="74">
          <p15:clr>
            <a:srgbClr val="F26B43"/>
          </p15:clr>
        </p15:guide>
        <p15:guide id="3" orient="horz" pos="571">
          <p15:clr>
            <a:srgbClr val="F26B43"/>
          </p15:clr>
        </p15:guide>
        <p15:guide id="4" orient="horz" pos="3911">
          <p15:clr>
            <a:srgbClr val="F26B43"/>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p:cSld name="1_Title Only">
    <p:bg>
      <p:bgPr>
        <a:solidFill>
          <a:schemeClr val="accent2"/>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F4AD34F-3B47-47E2-A09C-FFEB949F6A10}"/>
              </a:ext>
            </a:extLst>
          </p:cNvPr>
          <p:cNvGraphicFramePr>
            <a:graphicFrameLocks noChangeAspect="1"/>
          </p:cNvGraphicFramePr>
          <p:nvPr>
            <p:custDataLst>
              <p:tags r:id="rId2"/>
            </p:custDataLst>
            <p:extLst>
              <p:ext uri="{D42A27DB-BD31-4B8C-83A1-F6EECF244321}">
                <p14:modId xmlns:p14="http://schemas.microsoft.com/office/powerpoint/2010/main" val="342470329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6996" name="think-cell Slide" r:id="rId5" imgW="395" imgH="394" progId="TCLayout.ActiveDocument.1">
                  <p:embed/>
                </p:oleObj>
              </mc:Choice>
              <mc:Fallback>
                <p:oleObj name="think-cell Slide" r:id="rId5" imgW="395" imgH="394" progId="TCLayout.ActiveDocument.1">
                  <p:embed/>
                  <p:pic>
                    <p:nvPicPr>
                      <p:cNvPr id="3" name="Object 2" hidden="1">
                        <a:extLst>
                          <a:ext uri="{FF2B5EF4-FFF2-40B4-BE49-F238E27FC236}">
                            <a16:creationId xmlns:a16="http://schemas.microsoft.com/office/drawing/2014/main" id="{EF4AD34F-3B47-47E2-A09C-FFEB949F6A10}"/>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endParaRPr lang="en-US" dirty="0"/>
          </a:p>
        </p:txBody>
      </p:sp>
      <p:sp>
        <p:nvSpPr>
          <p:cNvPr id="15" name="Slide Number"/>
          <p:cNvSpPr txBox="1">
            <a:spLocks/>
          </p:cNvSpPr>
          <p:nvPr/>
        </p:nvSpPr>
        <p:spPr>
          <a:xfrm>
            <a:off x="8564563" y="6508272"/>
            <a:ext cx="125034" cy="123111"/>
          </a:xfrm>
          <a:prstGeom prst="rect">
            <a:avLst/>
          </a:prstGeom>
        </p:spPr>
        <p:txBody>
          <a:bodyPr vert="horz" wrap="none" lIns="0" tIns="0" rIns="0" bIns="0" rtlCol="0" anchor="ctr">
            <a:spAutoFit/>
          </a:bodyPr>
          <a:lstStyle>
            <a:defPPr>
              <a:defRPr lang="en-US"/>
            </a:defPPr>
            <a:lvl1pPr>
              <a:defRPr sz="1000" baseline="0">
                <a:latin typeface="+mn-lt"/>
              </a:defRPr>
            </a:lvl1pPr>
          </a:lstStyle>
          <a:p>
            <a:fld id="{42C328C1-A84F-4A39-A664-DBA00541A8C6}" type="slidenum">
              <a:rPr lang="en-US" sz="800" baseline="0" smtClean="0">
                <a:solidFill>
                  <a:srgbClr val="FFFFFF"/>
                </a:solidFill>
                <a:latin typeface="+mn-lt"/>
              </a:rPr>
              <a:pPr/>
              <a:t>‹#›</a:t>
            </a:fld>
            <a:endParaRPr lang="en-US" sz="800" baseline="0" dirty="0">
              <a:solidFill>
                <a:srgbClr val="FFFFFF"/>
              </a:solidFill>
              <a:latin typeface="+mn-lt"/>
            </a:endParaRPr>
          </a:p>
        </p:txBody>
      </p:sp>
      <p:sp>
        <p:nvSpPr>
          <p:cNvPr id="16" name="SlideLogoText"/>
          <p:cNvSpPr>
            <a:spLocks noChangeArrowheads="1"/>
          </p:cNvSpPr>
          <p:nvPr>
            <p:custDataLst>
              <p:tags r:id="rId3"/>
            </p:custDataLst>
          </p:nvPr>
        </p:nvSpPr>
        <p:spPr bwMode="auto">
          <a:xfrm>
            <a:off x="7450817" y="6508272"/>
            <a:ext cx="1013098"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algn="r" defTabSz="895350"/>
            <a:r>
              <a:rPr lang="en-US" sz="800" baseline="0" dirty="0">
                <a:solidFill>
                  <a:srgbClr val="FFFFFF"/>
                </a:solidFill>
                <a:latin typeface="+mn-lt"/>
              </a:rPr>
              <a:t>McKinsey &amp; Company</a:t>
            </a:r>
          </a:p>
        </p:txBody>
      </p:sp>
      <p:sp>
        <p:nvSpPr>
          <p:cNvPr id="5" name="doc id" hidden="1"/>
          <p:cNvSpPr txBox="1">
            <a:spLocks noChangeArrowheads="1"/>
          </p:cNvSpPr>
          <p:nvPr/>
        </p:nvSpPr>
        <p:spPr bwMode="white">
          <a:xfrm>
            <a:off x="8104473" y="36513"/>
            <a:ext cx="634716" cy="115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hangingPunct="1">
              <a:defRPr/>
            </a:pPr>
            <a:endParaRPr lang="en-US" sz="800" baseline="0" dirty="0">
              <a:solidFill>
                <a:schemeClr val="accent1"/>
              </a:solidFill>
              <a:latin typeface="+mn-lt"/>
              <a:ea typeface="+mn-ea"/>
            </a:endParaRPr>
          </a:p>
        </p:txBody>
      </p:sp>
    </p:spTree>
    <p:extLst>
      <p:ext uri="{BB962C8B-B14F-4D97-AF65-F5344CB8AC3E}">
        <p14:creationId xmlns:p14="http://schemas.microsoft.com/office/powerpoint/2010/main" val="1237612710"/>
      </p:ext>
    </p:extLst>
  </p:cSld>
  <p:clrMapOvr>
    <a:masterClrMapping/>
  </p:clrMapOvr>
  <p:extLst mod="1">
    <p:ext uri="{DCECCB84-F9BA-43D5-87BE-67443E8EF086}">
      <p15:sldGuideLst xmlns:p15="http://schemas.microsoft.com/office/powerpoint/2012/main">
        <p15:guide id="1" pos="3978">
          <p15:clr>
            <a:srgbClr val="000000"/>
          </p15:clr>
        </p15:guide>
        <p15:guide id="2" orient="horz" pos="570">
          <p15:clr>
            <a:srgbClr val="000000"/>
          </p15:clr>
        </p15:guide>
        <p15:guide id="3" orient="horz" pos="3912">
          <p15:clr>
            <a:srgbClr val="000000"/>
          </p15:clr>
        </p15:guide>
        <p15:guide id="4" pos="72">
          <p15:clr>
            <a:srgbClr val="000000"/>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tags" Target="../tags/tag8.xml"/><Relationship Id="rId18" Type="http://schemas.openxmlformats.org/officeDocument/2006/relationships/tags" Target="../tags/tag13.xml"/><Relationship Id="rId26" Type="http://schemas.openxmlformats.org/officeDocument/2006/relationships/tags" Target="../tags/tag21.xml"/><Relationship Id="rId21" Type="http://schemas.openxmlformats.org/officeDocument/2006/relationships/tags" Target="../tags/tag16.xml"/><Relationship Id="rId34" Type="http://schemas.openxmlformats.org/officeDocument/2006/relationships/tags" Target="../tags/tag29.xml"/><Relationship Id="rId7" Type="http://schemas.openxmlformats.org/officeDocument/2006/relationships/tags" Target="../tags/tag2.xml"/><Relationship Id="rId12" Type="http://schemas.openxmlformats.org/officeDocument/2006/relationships/tags" Target="../tags/tag7.xml"/><Relationship Id="rId17" Type="http://schemas.openxmlformats.org/officeDocument/2006/relationships/tags" Target="../tags/tag12.xml"/><Relationship Id="rId25" Type="http://schemas.openxmlformats.org/officeDocument/2006/relationships/tags" Target="../tags/tag20.xml"/><Relationship Id="rId33" Type="http://schemas.openxmlformats.org/officeDocument/2006/relationships/tags" Target="../tags/tag28.xml"/><Relationship Id="rId2" Type="http://schemas.openxmlformats.org/officeDocument/2006/relationships/slideLayout" Target="../slideLayouts/slideLayout2.xml"/><Relationship Id="rId16" Type="http://schemas.openxmlformats.org/officeDocument/2006/relationships/tags" Target="../tags/tag11.xml"/><Relationship Id="rId20" Type="http://schemas.openxmlformats.org/officeDocument/2006/relationships/tags" Target="../tags/tag15.xml"/><Relationship Id="rId29" Type="http://schemas.openxmlformats.org/officeDocument/2006/relationships/tags" Target="../tags/tag24.xml"/><Relationship Id="rId1" Type="http://schemas.openxmlformats.org/officeDocument/2006/relationships/slideLayout" Target="../slideLayouts/slideLayout1.xml"/><Relationship Id="rId6" Type="http://schemas.openxmlformats.org/officeDocument/2006/relationships/vmlDrawing" Target="../drawings/vmlDrawing1.vml"/><Relationship Id="rId11" Type="http://schemas.openxmlformats.org/officeDocument/2006/relationships/tags" Target="../tags/tag6.xml"/><Relationship Id="rId24" Type="http://schemas.openxmlformats.org/officeDocument/2006/relationships/tags" Target="../tags/tag19.xml"/><Relationship Id="rId32" Type="http://schemas.openxmlformats.org/officeDocument/2006/relationships/tags" Target="../tags/tag27.xml"/><Relationship Id="rId37" Type="http://schemas.openxmlformats.org/officeDocument/2006/relationships/image" Target="../media/image1.emf"/><Relationship Id="rId5" Type="http://schemas.openxmlformats.org/officeDocument/2006/relationships/theme" Target="../theme/theme1.xml"/><Relationship Id="rId15" Type="http://schemas.openxmlformats.org/officeDocument/2006/relationships/tags" Target="../tags/tag10.xml"/><Relationship Id="rId23" Type="http://schemas.openxmlformats.org/officeDocument/2006/relationships/tags" Target="../tags/tag18.xml"/><Relationship Id="rId28" Type="http://schemas.openxmlformats.org/officeDocument/2006/relationships/tags" Target="../tags/tag23.xml"/><Relationship Id="rId36" Type="http://schemas.openxmlformats.org/officeDocument/2006/relationships/oleObject" Target="../embeddings/oleObject1.bin"/><Relationship Id="rId10" Type="http://schemas.openxmlformats.org/officeDocument/2006/relationships/tags" Target="../tags/tag5.xml"/><Relationship Id="rId19" Type="http://schemas.openxmlformats.org/officeDocument/2006/relationships/tags" Target="../tags/tag14.xml"/><Relationship Id="rId31" Type="http://schemas.openxmlformats.org/officeDocument/2006/relationships/tags" Target="../tags/tag26.xml"/><Relationship Id="rId4" Type="http://schemas.openxmlformats.org/officeDocument/2006/relationships/slideLayout" Target="../slideLayouts/slideLayout4.xml"/><Relationship Id="rId9" Type="http://schemas.openxmlformats.org/officeDocument/2006/relationships/tags" Target="../tags/tag4.xml"/><Relationship Id="rId14" Type="http://schemas.openxmlformats.org/officeDocument/2006/relationships/tags" Target="../tags/tag9.xml"/><Relationship Id="rId22" Type="http://schemas.openxmlformats.org/officeDocument/2006/relationships/tags" Target="../tags/tag17.xml"/><Relationship Id="rId27" Type="http://schemas.openxmlformats.org/officeDocument/2006/relationships/tags" Target="../tags/tag22.xml"/><Relationship Id="rId30" Type="http://schemas.openxmlformats.org/officeDocument/2006/relationships/tags" Target="../tags/tag25.xml"/><Relationship Id="rId35" Type="http://schemas.openxmlformats.org/officeDocument/2006/relationships/tags" Target="../tags/tag30.xml"/><Relationship Id="rId8" Type="http://schemas.openxmlformats.org/officeDocument/2006/relationships/tags" Target="../tags/tag3.xml"/><Relationship Id="rId3" Type="http://schemas.openxmlformats.org/officeDocument/2006/relationships/slideLayout" Target="../slideLayouts/slideLayout3.xml"/></Relationships>
</file>

<file path=ppt/slideMasters/_rels/slideMaster10.xml.rels><?xml version="1.0" encoding="UTF-8" standalone="yes"?>
<Relationships xmlns="http://schemas.openxmlformats.org/package/2006/relationships"><Relationship Id="rId13" Type="http://schemas.openxmlformats.org/officeDocument/2006/relationships/tags" Target="../tags/tag323.xml"/><Relationship Id="rId18" Type="http://schemas.openxmlformats.org/officeDocument/2006/relationships/tags" Target="../tags/tag328.xml"/><Relationship Id="rId26" Type="http://schemas.openxmlformats.org/officeDocument/2006/relationships/tags" Target="../tags/tag336.xml"/><Relationship Id="rId21" Type="http://schemas.openxmlformats.org/officeDocument/2006/relationships/tags" Target="../tags/tag331.xml"/><Relationship Id="rId34" Type="http://schemas.openxmlformats.org/officeDocument/2006/relationships/tags" Target="../tags/tag344.xml"/><Relationship Id="rId7" Type="http://schemas.openxmlformats.org/officeDocument/2006/relationships/tags" Target="../tags/tag317.xml"/><Relationship Id="rId12" Type="http://schemas.openxmlformats.org/officeDocument/2006/relationships/tags" Target="../tags/tag322.xml"/><Relationship Id="rId17" Type="http://schemas.openxmlformats.org/officeDocument/2006/relationships/tags" Target="../tags/tag327.xml"/><Relationship Id="rId25" Type="http://schemas.openxmlformats.org/officeDocument/2006/relationships/tags" Target="../tags/tag335.xml"/><Relationship Id="rId33" Type="http://schemas.openxmlformats.org/officeDocument/2006/relationships/tags" Target="../tags/tag343.xml"/><Relationship Id="rId2" Type="http://schemas.openxmlformats.org/officeDocument/2006/relationships/slideLayout" Target="../slideLayouts/slideLayout38.xml"/><Relationship Id="rId16" Type="http://schemas.openxmlformats.org/officeDocument/2006/relationships/tags" Target="../tags/tag326.xml"/><Relationship Id="rId20" Type="http://schemas.openxmlformats.org/officeDocument/2006/relationships/tags" Target="../tags/tag330.xml"/><Relationship Id="rId29" Type="http://schemas.openxmlformats.org/officeDocument/2006/relationships/tags" Target="../tags/tag339.xml"/><Relationship Id="rId1" Type="http://schemas.openxmlformats.org/officeDocument/2006/relationships/slideLayout" Target="../slideLayouts/slideLayout37.xml"/><Relationship Id="rId6" Type="http://schemas.openxmlformats.org/officeDocument/2006/relationships/vmlDrawing" Target="../drawings/vmlDrawing46.vml"/><Relationship Id="rId11" Type="http://schemas.openxmlformats.org/officeDocument/2006/relationships/tags" Target="../tags/tag321.xml"/><Relationship Id="rId24" Type="http://schemas.openxmlformats.org/officeDocument/2006/relationships/tags" Target="../tags/tag334.xml"/><Relationship Id="rId32" Type="http://schemas.openxmlformats.org/officeDocument/2006/relationships/tags" Target="../tags/tag342.xml"/><Relationship Id="rId37" Type="http://schemas.openxmlformats.org/officeDocument/2006/relationships/image" Target="../media/image1.emf"/><Relationship Id="rId5" Type="http://schemas.openxmlformats.org/officeDocument/2006/relationships/theme" Target="../theme/theme10.xml"/><Relationship Id="rId15" Type="http://schemas.openxmlformats.org/officeDocument/2006/relationships/tags" Target="../tags/tag325.xml"/><Relationship Id="rId23" Type="http://schemas.openxmlformats.org/officeDocument/2006/relationships/tags" Target="../tags/tag333.xml"/><Relationship Id="rId28" Type="http://schemas.openxmlformats.org/officeDocument/2006/relationships/tags" Target="../tags/tag338.xml"/><Relationship Id="rId36" Type="http://schemas.openxmlformats.org/officeDocument/2006/relationships/oleObject" Target="../embeddings/oleObject46.bin"/><Relationship Id="rId10" Type="http://schemas.openxmlformats.org/officeDocument/2006/relationships/tags" Target="../tags/tag320.xml"/><Relationship Id="rId19" Type="http://schemas.openxmlformats.org/officeDocument/2006/relationships/tags" Target="../tags/tag329.xml"/><Relationship Id="rId31" Type="http://schemas.openxmlformats.org/officeDocument/2006/relationships/tags" Target="../tags/tag341.xml"/><Relationship Id="rId4" Type="http://schemas.openxmlformats.org/officeDocument/2006/relationships/slideLayout" Target="../slideLayouts/slideLayout40.xml"/><Relationship Id="rId9" Type="http://schemas.openxmlformats.org/officeDocument/2006/relationships/tags" Target="../tags/tag319.xml"/><Relationship Id="rId14" Type="http://schemas.openxmlformats.org/officeDocument/2006/relationships/tags" Target="../tags/tag324.xml"/><Relationship Id="rId22" Type="http://schemas.openxmlformats.org/officeDocument/2006/relationships/tags" Target="../tags/tag332.xml"/><Relationship Id="rId27" Type="http://schemas.openxmlformats.org/officeDocument/2006/relationships/tags" Target="../tags/tag337.xml"/><Relationship Id="rId30" Type="http://schemas.openxmlformats.org/officeDocument/2006/relationships/tags" Target="../tags/tag340.xml"/><Relationship Id="rId35" Type="http://schemas.openxmlformats.org/officeDocument/2006/relationships/tags" Target="../tags/tag345.xml"/><Relationship Id="rId8" Type="http://schemas.openxmlformats.org/officeDocument/2006/relationships/tags" Target="../tags/tag318.xml"/><Relationship Id="rId3" Type="http://schemas.openxmlformats.org/officeDocument/2006/relationships/slideLayout" Target="../slideLayouts/slideLayout39.xml"/></Relationships>
</file>

<file path=ppt/slideMasters/_rels/slideMaster11.xml.rels><?xml version="1.0" encoding="UTF-8" standalone="yes"?>
<Relationships xmlns="http://schemas.openxmlformats.org/package/2006/relationships"><Relationship Id="rId13" Type="http://schemas.openxmlformats.org/officeDocument/2006/relationships/tags" Target="../tags/tag358.xml"/><Relationship Id="rId18" Type="http://schemas.openxmlformats.org/officeDocument/2006/relationships/tags" Target="../tags/tag363.xml"/><Relationship Id="rId26" Type="http://schemas.openxmlformats.org/officeDocument/2006/relationships/tags" Target="../tags/tag371.xml"/><Relationship Id="rId21" Type="http://schemas.openxmlformats.org/officeDocument/2006/relationships/tags" Target="../tags/tag366.xml"/><Relationship Id="rId34" Type="http://schemas.openxmlformats.org/officeDocument/2006/relationships/tags" Target="../tags/tag379.xml"/><Relationship Id="rId7" Type="http://schemas.openxmlformats.org/officeDocument/2006/relationships/tags" Target="../tags/tag352.xml"/><Relationship Id="rId12" Type="http://schemas.openxmlformats.org/officeDocument/2006/relationships/tags" Target="../tags/tag357.xml"/><Relationship Id="rId17" Type="http://schemas.openxmlformats.org/officeDocument/2006/relationships/tags" Target="../tags/tag362.xml"/><Relationship Id="rId25" Type="http://schemas.openxmlformats.org/officeDocument/2006/relationships/tags" Target="../tags/tag370.xml"/><Relationship Id="rId33" Type="http://schemas.openxmlformats.org/officeDocument/2006/relationships/tags" Target="../tags/tag378.xml"/><Relationship Id="rId2" Type="http://schemas.openxmlformats.org/officeDocument/2006/relationships/slideLayout" Target="../slideLayouts/slideLayout42.xml"/><Relationship Id="rId16" Type="http://schemas.openxmlformats.org/officeDocument/2006/relationships/tags" Target="../tags/tag361.xml"/><Relationship Id="rId20" Type="http://schemas.openxmlformats.org/officeDocument/2006/relationships/tags" Target="../tags/tag365.xml"/><Relationship Id="rId29" Type="http://schemas.openxmlformats.org/officeDocument/2006/relationships/tags" Target="../tags/tag374.xml"/><Relationship Id="rId1" Type="http://schemas.openxmlformats.org/officeDocument/2006/relationships/slideLayout" Target="../slideLayouts/slideLayout41.xml"/><Relationship Id="rId6" Type="http://schemas.openxmlformats.org/officeDocument/2006/relationships/vmlDrawing" Target="../drawings/vmlDrawing51.vml"/><Relationship Id="rId11" Type="http://schemas.openxmlformats.org/officeDocument/2006/relationships/tags" Target="../tags/tag356.xml"/><Relationship Id="rId24" Type="http://schemas.openxmlformats.org/officeDocument/2006/relationships/tags" Target="../tags/tag369.xml"/><Relationship Id="rId32" Type="http://schemas.openxmlformats.org/officeDocument/2006/relationships/tags" Target="../tags/tag377.xml"/><Relationship Id="rId37" Type="http://schemas.openxmlformats.org/officeDocument/2006/relationships/image" Target="../media/image1.emf"/><Relationship Id="rId5" Type="http://schemas.openxmlformats.org/officeDocument/2006/relationships/theme" Target="../theme/theme11.xml"/><Relationship Id="rId15" Type="http://schemas.openxmlformats.org/officeDocument/2006/relationships/tags" Target="../tags/tag360.xml"/><Relationship Id="rId23" Type="http://schemas.openxmlformats.org/officeDocument/2006/relationships/tags" Target="../tags/tag368.xml"/><Relationship Id="rId28" Type="http://schemas.openxmlformats.org/officeDocument/2006/relationships/tags" Target="../tags/tag373.xml"/><Relationship Id="rId36" Type="http://schemas.openxmlformats.org/officeDocument/2006/relationships/oleObject" Target="../embeddings/oleObject51.bin"/><Relationship Id="rId10" Type="http://schemas.openxmlformats.org/officeDocument/2006/relationships/tags" Target="../tags/tag355.xml"/><Relationship Id="rId19" Type="http://schemas.openxmlformats.org/officeDocument/2006/relationships/tags" Target="../tags/tag364.xml"/><Relationship Id="rId31" Type="http://schemas.openxmlformats.org/officeDocument/2006/relationships/tags" Target="../tags/tag376.xml"/><Relationship Id="rId4" Type="http://schemas.openxmlformats.org/officeDocument/2006/relationships/slideLayout" Target="../slideLayouts/slideLayout44.xml"/><Relationship Id="rId9" Type="http://schemas.openxmlformats.org/officeDocument/2006/relationships/tags" Target="../tags/tag354.xml"/><Relationship Id="rId14" Type="http://schemas.openxmlformats.org/officeDocument/2006/relationships/tags" Target="../tags/tag359.xml"/><Relationship Id="rId22" Type="http://schemas.openxmlformats.org/officeDocument/2006/relationships/tags" Target="../tags/tag367.xml"/><Relationship Id="rId27" Type="http://schemas.openxmlformats.org/officeDocument/2006/relationships/tags" Target="../tags/tag372.xml"/><Relationship Id="rId30" Type="http://schemas.openxmlformats.org/officeDocument/2006/relationships/tags" Target="../tags/tag375.xml"/><Relationship Id="rId35" Type="http://schemas.openxmlformats.org/officeDocument/2006/relationships/tags" Target="../tags/tag380.xml"/><Relationship Id="rId8" Type="http://schemas.openxmlformats.org/officeDocument/2006/relationships/tags" Target="../tags/tag353.xml"/><Relationship Id="rId3" Type="http://schemas.openxmlformats.org/officeDocument/2006/relationships/slideLayout" Target="../slideLayouts/slideLayout43.xml"/></Relationships>
</file>

<file path=ppt/slideMasters/_rels/slideMaster12.xml.rels><?xml version="1.0" encoding="UTF-8" standalone="yes"?>
<Relationships xmlns="http://schemas.openxmlformats.org/package/2006/relationships"><Relationship Id="rId13" Type="http://schemas.openxmlformats.org/officeDocument/2006/relationships/tags" Target="../tags/tag393.xml"/><Relationship Id="rId18" Type="http://schemas.openxmlformats.org/officeDocument/2006/relationships/tags" Target="../tags/tag398.xml"/><Relationship Id="rId26" Type="http://schemas.openxmlformats.org/officeDocument/2006/relationships/tags" Target="../tags/tag406.xml"/><Relationship Id="rId21" Type="http://schemas.openxmlformats.org/officeDocument/2006/relationships/tags" Target="../tags/tag401.xml"/><Relationship Id="rId34" Type="http://schemas.openxmlformats.org/officeDocument/2006/relationships/tags" Target="../tags/tag414.xml"/><Relationship Id="rId7" Type="http://schemas.openxmlformats.org/officeDocument/2006/relationships/tags" Target="../tags/tag387.xml"/><Relationship Id="rId12" Type="http://schemas.openxmlformats.org/officeDocument/2006/relationships/tags" Target="../tags/tag392.xml"/><Relationship Id="rId17" Type="http://schemas.openxmlformats.org/officeDocument/2006/relationships/tags" Target="../tags/tag397.xml"/><Relationship Id="rId25" Type="http://schemas.openxmlformats.org/officeDocument/2006/relationships/tags" Target="../tags/tag405.xml"/><Relationship Id="rId33" Type="http://schemas.openxmlformats.org/officeDocument/2006/relationships/tags" Target="../tags/tag413.xml"/><Relationship Id="rId2" Type="http://schemas.openxmlformats.org/officeDocument/2006/relationships/slideLayout" Target="../slideLayouts/slideLayout46.xml"/><Relationship Id="rId16" Type="http://schemas.openxmlformats.org/officeDocument/2006/relationships/tags" Target="../tags/tag396.xml"/><Relationship Id="rId20" Type="http://schemas.openxmlformats.org/officeDocument/2006/relationships/tags" Target="../tags/tag400.xml"/><Relationship Id="rId29" Type="http://schemas.openxmlformats.org/officeDocument/2006/relationships/tags" Target="../tags/tag409.xml"/><Relationship Id="rId1" Type="http://schemas.openxmlformats.org/officeDocument/2006/relationships/slideLayout" Target="../slideLayouts/slideLayout45.xml"/><Relationship Id="rId6" Type="http://schemas.openxmlformats.org/officeDocument/2006/relationships/vmlDrawing" Target="../drawings/vmlDrawing56.vml"/><Relationship Id="rId11" Type="http://schemas.openxmlformats.org/officeDocument/2006/relationships/tags" Target="../tags/tag391.xml"/><Relationship Id="rId24" Type="http://schemas.openxmlformats.org/officeDocument/2006/relationships/tags" Target="../tags/tag404.xml"/><Relationship Id="rId32" Type="http://schemas.openxmlformats.org/officeDocument/2006/relationships/tags" Target="../tags/tag412.xml"/><Relationship Id="rId37" Type="http://schemas.openxmlformats.org/officeDocument/2006/relationships/image" Target="../media/image1.emf"/><Relationship Id="rId5" Type="http://schemas.openxmlformats.org/officeDocument/2006/relationships/theme" Target="../theme/theme12.xml"/><Relationship Id="rId15" Type="http://schemas.openxmlformats.org/officeDocument/2006/relationships/tags" Target="../tags/tag395.xml"/><Relationship Id="rId23" Type="http://schemas.openxmlformats.org/officeDocument/2006/relationships/tags" Target="../tags/tag403.xml"/><Relationship Id="rId28" Type="http://schemas.openxmlformats.org/officeDocument/2006/relationships/tags" Target="../tags/tag408.xml"/><Relationship Id="rId36" Type="http://schemas.openxmlformats.org/officeDocument/2006/relationships/oleObject" Target="../embeddings/oleObject56.bin"/><Relationship Id="rId10" Type="http://schemas.openxmlformats.org/officeDocument/2006/relationships/tags" Target="../tags/tag390.xml"/><Relationship Id="rId19" Type="http://schemas.openxmlformats.org/officeDocument/2006/relationships/tags" Target="../tags/tag399.xml"/><Relationship Id="rId31" Type="http://schemas.openxmlformats.org/officeDocument/2006/relationships/tags" Target="../tags/tag411.xml"/><Relationship Id="rId4" Type="http://schemas.openxmlformats.org/officeDocument/2006/relationships/slideLayout" Target="../slideLayouts/slideLayout48.xml"/><Relationship Id="rId9" Type="http://schemas.openxmlformats.org/officeDocument/2006/relationships/tags" Target="../tags/tag389.xml"/><Relationship Id="rId14" Type="http://schemas.openxmlformats.org/officeDocument/2006/relationships/tags" Target="../tags/tag394.xml"/><Relationship Id="rId22" Type="http://schemas.openxmlformats.org/officeDocument/2006/relationships/tags" Target="../tags/tag402.xml"/><Relationship Id="rId27" Type="http://schemas.openxmlformats.org/officeDocument/2006/relationships/tags" Target="../tags/tag407.xml"/><Relationship Id="rId30" Type="http://schemas.openxmlformats.org/officeDocument/2006/relationships/tags" Target="../tags/tag410.xml"/><Relationship Id="rId35" Type="http://schemas.openxmlformats.org/officeDocument/2006/relationships/tags" Target="../tags/tag415.xml"/><Relationship Id="rId8" Type="http://schemas.openxmlformats.org/officeDocument/2006/relationships/tags" Target="../tags/tag388.xml"/><Relationship Id="rId3" Type="http://schemas.openxmlformats.org/officeDocument/2006/relationships/slideLayout" Target="../slideLayouts/slideLayout47.xml"/></Relationships>
</file>

<file path=ppt/slideMasters/_rels/slideMaster13.xml.rels><?xml version="1.0" encoding="UTF-8" standalone="yes"?>
<Relationships xmlns="http://schemas.openxmlformats.org/package/2006/relationships"><Relationship Id="rId13" Type="http://schemas.openxmlformats.org/officeDocument/2006/relationships/tags" Target="../tags/tag428.xml"/><Relationship Id="rId18" Type="http://schemas.openxmlformats.org/officeDocument/2006/relationships/tags" Target="../tags/tag433.xml"/><Relationship Id="rId26" Type="http://schemas.openxmlformats.org/officeDocument/2006/relationships/tags" Target="../tags/tag441.xml"/><Relationship Id="rId21" Type="http://schemas.openxmlformats.org/officeDocument/2006/relationships/tags" Target="../tags/tag436.xml"/><Relationship Id="rId34" Type="http://schemas.openxmlformats.org/officeDocument/2006/relationships/tags" Target="../tags/tag449.xml"/><Relationship Id="rId7" Type="http://schemas.openxmlformats.org/officeDocument/2006/relationships/tags" Target="../tags/tag422.xml"/><Relationship Id="rId12" Type="http://schemas.openxmlformats.org/officeDocument/2006/relationships/tags" Target="../tags/tag427.xml"/><Relationship Id="rId17" Type="http://schemas.openxmlformats.org/officeDocument/2006/relationships/tags" Target="../tags/tag432.xml"/><Relationship Id="rId25" Type="http://schemas.openxmlformats.org/officeDocument/2006/relationships/tags" Target="../tags/tag440.xml"/><Relationship Id="rId33" Type="http://schemas.openxmlformats.org/officeDocument/2006/relationships/tags" Target="../tags/tag448.xml"/><Relationship Id="rId2" Type="http://schemas.openxmlformats.org/officeDocument/2006/relationships/slideLayout" Target="../slideLayouts/slideLayout50.xml"/><Relationship Id="rId16" Type="http://schemas.openxmlformats.org/officeDocument/2006/relationships/tags" Target="../tags/tag431.xml"/><Relationship Id="rId20" Type="http://schemas.openxmlformats.org/officeDocument/2006/relationships/tags" Target="../tags/tag435.xml"/><Relationship Id="rId29" Type="http://schemas.openxmlformats.org/officeDocument/2006/relationships/tags" Target="../tags/tag444.xml"/><Relationship Id="rId1" Type="http://schemas.openxmlformats.org/officeDocument/2006/relationships/slideLayout" Target="../slideLayouts/slideLayout49.xml"/><Relationship Id="rId6" Type="http://schemas.openxmlformats.org/officeDocument/2006/relationships/vmlDrawing" Target="../drawings/vmlDrawing61.vml"/><Relationship Id="rId11" Type="http://schemas.openxmlformats.org/officeDocument/2006/relationships/tags" Target="../tags/tag426.xml"/><Relationship Id="rId24" Type="http://schemas.openxmlformats.org/officeDocument/2006/relationships/tags" Target="../tags/tag439.xml"/><Relationship Id="rId32" Type="http://schemas.openxmlformats.org/officeDocument/2006/relationships/tags" Target="../tags/tag447.xml"/><Relationship Id="rId37" Type="http://schemas.openxmlformats.org/officeDocument/2006/relationships/image" Target="../media/image1.emf"/><Relationship Id="rId5" Type="http://schemas.openxmlformats.org/officeDocument/2006/relationships/theme" Target="../theme/theme13.xml"/><Relationship Id="rId15" Type="http://schemas.openxmlformats.org/officeDocument/2006/relationships/tags" Target="../tags/tag430.xml"/><Relationship Id="rId23" Type="http://schemas.openxmlformats.org/officeDocument/2006/relationships/tags" Target="../tags/tag438.xml"/><Relationship Id="rId28" Type="http://schemas.openxmlformats.org/officeDocument/2006/relationships/tags" Target="../tags/tag443.xml"/><Relationship Id="rId36" Type="http://schemas.openxmlformats.org/officeDocument/2006/relationships/oleObject" Target="../embeddings/oleObject61.bin"/><Relationship Id="rId10" Type="http://schemas.openxmlformats.org/officeDocument/2006/relationships/tags" Target="../tags/tag425.xml"/><Relationship Id="rId19" Type="http://schemas.openxmlformats.org/officeDocument/2006/relationships/tags" Target="../tags/tag434.xml"/><Relationship Id="rId31" Type="http://schemas.openxmlformats.org/officeDocument/2006/relationships/tags" Target="../tags/tag446.xml"/><Relationship Id="rId4" Type="http://schemas.openxmlformats.org/officeDocument/2006/relationships/slideLayout" Target="../slideLayouts/slideLayout52.xml"/><Relationship Id="rId9" Type="http://schemas.openxmlformats.org/officeDocument/2006/relationships/tags" Target="../tags/tag424.xml"/><Relationship Id="rId14" Type="http://schemas.openxmlformats.org/officeDocument/2006/relationships/tags" Target="../tags/tag429.xml"/><Relationship Id="rId22" Type="http://schemas.openxmlformats.org/officeDocument/2006/relationships/tags" Target="../tags/tag437.xml"/><Relationship Id="rId27" Type="http://schemas.openxmlformats.org/officeDocument/2006/relationships/tags" Target="../tags/tag442.xml"/><Relationship Id="rId30" Type="http://schemas.openxmlformats.org/officeDocument/2006/relationships/tags" Target="../tags/tag445.xml"/><Relationship Id="rId35" Type="http://schemas.openxmlformats.org/officeDocument/2006/relationships/tags" Target="../tags/tag450.xml"/><Relationship Id="rId8" Type="http://schemas.openxmlformats.org/officeDocument/2006/relationships/tags" Target="../tags/tag423.xml"/><Relationship Id="rId3" Type="http://schemas.openxmlformats.org/officeDocument/2006/relationships/slideLayout" Target="../slideLayouts/slideLayout51.xml"/></Relationships>
</file>

<file path=ppt/slideMasters/_rels/slideMaster14.xml.rels><?xml version="1.0" encoding="UTF-8" standalone="yes"?>
<Relationships xmlns="http://schemas.openxmlformats.org/package/2006/relationships"><Relationship Id="rId13" Type="http://schemas.openxmlformats.org/officeDocument/2006/relationships/tags" Target="../tags/tag463.xml"/><Relationship Id="rId18" Type="http://schemas.openxmlformats.org/officeDocument/2006/relationships/tags" Target="../tags/tag468.xml"/><Relationship Id="rId26" Type="http://schemas.openxmlformats.org/officeDocument/2006/relationships/tags" Target="../tags/tag476.xml"/><Relationship Id="rId21" Type="http://schemas.openxmlformats.org/officeDocument/2006/relationships/tags" Target="../tags/tag471.xml"/><Relationship Id="rId34" Type="http://schemas.openxmlformats.org/officeDocument/2006/relationships/tags" Target="../tags/tag484.xml"/><Relationship Id="rId7" Type="http://schemas.openxmlformats.org/officeDocument/2006/relationships/tags" Target="../tags/tag457.xml"/><Relationship Id="rId12" Type="http://schemas.openxmlformats.org/officeDocument/2006/relationships/tags" Target="../tags/tag462.xml"/><Relationship Id="rId17" Type="http://schemas.openxmlformats.org/officeDocument/2006/relationships/tags" Target="../tags/tag467.xml"/><Relationship Id="rId25" Type="http://schemas.openxmlformats.org/officeDocument/2006/relationships/tags" Target="../tags/tag475.xml"/><Relationship Id="rId33" Type="http://schemas.openxmlformats.org/officeDocument/2006/relationships/tags" Target="../tags/tag483.xml"/><Relationship Id="rId2" Type="http://schemas.openxmlformats.org/officeDocument/2006/relationships/slideLayout" Target="../slideLayouts/slideLayout54.xml"/><Relationship Id="rId16" Type="http://schemas.openxmlformats.org/officeDocument/2006/relationships/tags" Target="../tags/tag466.xml"/><Relationship Id="rId20" Type="http://schemas.openxmlformats.org/officeDocument/2006/relationships/tags" Target="../tags/tag470.xml"/><Relationship Id="rId29" Type="http://schemas.openxmlformats.org/officeDocument/2006/relationships/tags" Target="../tags/tag479.xml"/><Relationship Id="rId1" Type="http://schemas.openxmlformats.org/officeDocument/2006/relationships/slideLayout" Target="../slideLayouts/slideLayout53.xml"/><Relationship Id="rId6" Type="http://schemas.openxmlformats.org/officeDocument/2006/relationships/vmlDrawing" Target="../drawings/vmlDrawing66.vml"/><Relationship Id="rId11" Type="http://schemas.openxmlformats.org/officeDocument/2006/relationships/tags" Target="../tags/tag461.xml"/><Relationship Id="rId24" Type="http://schemas.openxmlformats.org/officeDocument/2006/relationships/tags" Target="../tags/tag474.xml"/><Relationship Id="rId32" Type="http://schemas.openxmlformats.org/officeDocument/2006/relationships/tags" Target="../tags/tag482.xml"/><Relationship Id="rId37" Type="http://schemas.openxmlformats.org/officeDocument/2006/relationships/image" Target="../media/image1.emf"/><Relationship Id="rId5" Type="http://schemas.openxmlformats.org/officeDocument/2006/relationships/theme" Target="../theme/theme14.xml"/><Relationship Id="rId15" Type="http://schemas.openxmlformats.org/officeDocument/2006/relationships/tags" Target="../tags/tag465.xml"/><Relationship Id="rId23" Type="http://schemas.openxmlformats.org/officeDocument/2006/relationships/tags" Target="../tags/tag473.xml"/><Relationship Id="rId28" Type="http://schemas.openxmlformats.org/officeDocument/2006/relationships/tags" Target="../tags/tag478.xml"/><Relationship Id="rId36" Type="http://schemas.openxmlformats.org/officeDocument/2006/relationships/oleObject" Target="../embeddings/oleObject66.bin"/><Relationship Id="rId10" Type="http://schemas.openxmlformats.org/officeDocument/2006/relationships/tags" Target="../tags/tag460.xml"/><Relationship Id="rId19" Type="http://schemas.openxmlformats.org/officeDocument/2006/relationships/tags" Target="../tags/tag469.xml"/><Relationship Id="rId31" Type="http://schemas.openxmlformats.org/officeDocument/2006/relationships/tags" Target="../tags/tag481.xml"/><Relationship Id="rId4" Type="http://schemas.openxmlformats.org/officeDocument/2006/relationships/slideLayout" Target="../slideLayouts/slideLayout56.xml"/><Relationship Id="rId9" Type="http://schemas.openxmlformats.org/officeDocument/2006/relationships/tags" Target="../tags/tag459.xml"/><Relationship Id="rId14" Type="http://schemas.openxmlformats.org/officeDocument/2006/relationships/tags" Target="../tags/tag464.xml"/><Relationship Id="rId22" Type="http://schemas.openxmlformats.org/officeDocument/2006/relationships/tags" Target="../tags/tag472.xml"/><Relationship Id="rId27" Type="http://schemas.openxmlformats.org/officeDocument/2006/relationships/tags" Target="../tags/tag477.xml"/><Relationship Id="rId30" Type="http://schemas.openxmlformats.org/officeDocument/2006/relationships/tags" Target="../tags/tag480.xml"/><Relationship Id="rId35" Type="http://schemas.openxmlformats.org/officeDocument/2006/relationships/tags" Target="../tags/tag485.xml"/><Relationship Id="rId8" Type="http://schemas.openxmlformats.org/officeDocument/2006/relationships/tags" Target="../tags/tag458.xml"/><Relationship Id="rId3" Type="http://schemas.openxmlformats.org/officeDocument/2006/relationships/slideLayout" Target="../slideLayouts/slideLayout55.xml"/></Relationships>
</file>

<file path=ppt/slideMasters/_rels/slideMaster15.xml.rels><?xml version="1.0" encoding="UTF-8" standalone="yes"?>
<Relationships xmlns="http://schemas.openxmlformats.org/package/2006/relationships"><Relationship Id="rId13" Type="http://schemas.openxmlformats.org/officeDocument/2006/relationships/tags" Target="../tags/tag498.xml"/><Relationship Id="rId18" Type="http://schemas.openxmlformats.org/officeDocument/2006/relationships/tags" Target="../tags/tag503.xml"/><Relationship Id="rId26" Type="http://schemas.openxmlformats.org/officeDocument/2006/relationships/tags" Target="../tags/tag511.xml"/><Relationship Id="rId21" Type="http://schemas.openxmlformats.org/officeDocument/2006/relationships/tags" Target="../tags/tag506.xml"/><Relationship Id="rId34" Type="http://schemas.openxmlformats.org/officeDocument/2006/relationships/tags" Target="../tags/tag519.xml"/><Relationship Id="rId7" Type="http://schemas.openxmlformats.org/officeDocument/2006/relationships/tags" Target="../tags/tag492.xml"/><Relationship Id="rId12" Type="http://schemas.openxmlformats.org/officeDocument/2006/relationships/tags" Target="../tags/tag497.xml"/><Relationship Id="rId17" Type="http://schemas.openxmlformats.org/officeDocument/2006/relationships/tags" Target="../tags/tag502.xml"/><Relationship Id="rId25" Type="http://schemas.openxmlformats.org/officeDocument/2006/relationships/tags" Target="../tags/tag510.xml"/><Relationship Id="rId33" Type="http://schemas.openxmlformats.org/officeDocument/2006/relationships/tags" Target="../tags/tag518.xml"/><Relationship Id="rId2" Type="http://schemas.openxmlformats.org/officeDocument/2006/relationships/slideLayout" Target="../slideLayouts/slideLayout58.xml"/><Relationship Id="rId16" Type="http://schemas.openxmlformats.org/officeDocument/2006/relationships/tags" Target="../tags/tag501.xml"/><Relationship Id="rId20" Type="http://schemas.openxmlformats.org/officeDocument/2006/relationships/tags" Target="../tags/tag505.xml"/><Relationship Id="rId29" Type="http://schemas.openxmlformats.org/officeDocument/2006/relationships/tags" Target="../tags/tag514.xml"/><Relationship Id="rId1" Type="http://schemas.openxmlformats.org/officeDocument/2006/relationships/slideLayout" Target="../slideLayouts/slideLayout57.xml"/><Relationship Id="rId6" Type="http://schemas.openxmlformats.org/officeDocument/2006/relationships/vmlDrawing" Target="../drawings/vmlDrawing71.vml"/><Relationship Id="rId11" Type="http://schemas.openxmlformats.org/officeDocument/2006/relationships/tags" Target="../tags/tag496.xml"/><Relationship Id="rId24" Type="http://schemas.openxmlformats.org/officeDocument/2006/relationships/tags" Target="../tags/tag509.xml"/><Relationship Id="rId32" Type="http://schemas.openxmlformats.org/officeDocument/2006/relationships/tags" Target="../tags/tag517.xml"/><Relationship Id="rId37" Type="http://schemas.openxmlformats.org/officeDocument/2006/relationships/image" Target="../media/image1.emf"/><Relationship Id="rId5" Type="http://schemas.openxmlformats.org/officeDocument/2006/relationships/theme" Target="../theme/theme15.xml"/><Relationship Id="rId15" Type="http://schemas.openxmlformats.org/officeDocument/2006/relationships/tags" Target="../tags/tag500.xml"/><Relationship Id="rId23" Type="http://schemas.openxmlformats.org/officeDocument/2006/relationships/tags" Target="../tags/tag508.xml"/><Relationship Id="rId28" Type="http://schemas.openxmlformats.org/officeDocument/2006/relationships/tags" Target="../tags/tag513.xml"/><Relationship Id="rId36" Type="http://schemas.openxmlformats.org/officeDocument/2006/relationships/oleObject" Target="../embeddings/oleObject71.bin"/><Relationship Id="rId10" Type="http://schemas.openxmlformats.org/officeDocument/2006/relationships/tags" Target="../tags/tag495.xml"/><Relationship Id="rId19" Type="http://schemas.openxmlformats.org/officeDocument/2006/relationships/tags" Target="../tags/tag504.xml"/><Relationship Id="rId31" Type="http://schemas.openxmlformats.org/officeDocument/2006/relationships/tags" Target="../tags/tag516.xml"/><Relationship Id="rId4" Type="http://schemas.openxmlformats.org/officeDocument/2006/relationships/slideLayout" Target="../slideLayouts/slideLayout60.xml"/><Relationship Id="rId9" Type="http://schemas.openxmlformats.org/officeDocument/2006/relationships/tags" Target="../tags/tag494.xml"/><Relationship Id="rId14" Type="http://schemas.openxmlformats.org/officeDocument/2006/relationships/tags" Target="../tags/tag499.xml"/><Relationship Id="rId22" Type="http://schemas.openxmlformats.org/officeDocument/2006/relationships/tags" Target="../tags/tag507.xml"/><Relationship Id="rId27" Type="http://schemas.openxmlformats.org/officeDocument/2006/relationships/tags" Target="../tags/tag512.xml"/><Relationship Id="rId30" Type="http://schemas.openxmlformats.org/officeDocument/2006/relationships/tags" Target="../tags/tag515.xml"/><Relationship Id="rId35" Type="http://schemas.openxmlformats.org/officeDocument/2006/relationships/tags" Target="../tags/tag520.xml"/><Relationship Id="rId8" Type="http://schemas.openxmlformats.org/officeDocument/2006/relationships/tags" Target="../tags/tag493.xml"/><Relationship Id="rId3" Type="http://schemas.openxmlformats.org/officeDocument/2006/relationships/slideLayout" Target="../slideLayouts/slideLayout59.xml"/></Relationships>
</file>

<file path=ppt/slideMasters/_rels/slideMaster16.xml.rels><?xml version="1.0" encoding="UTF-8" standalone="yes"?>
<Relationships xmlns="http://schemas.openxmlformats.org/package/2006/relationships"><Relationship Id="rId13" Type="http://schemas.openxmlformats.org/officeDocument/2006/relationships/tags" Target="../tags/tag533.xml"/><Relationship Id="rId18" Type="http://schemas.openxmlformats.org/officeDocument/2006/relationships/tags" Target="../tags/tag538.xml"/><Relationship Id="rId26" Type="http://schemas.openxmlformats.org/officeDocument/2006/relationships/tags" Target="../tags/tag546.xml"/><Relationship Id="rId21" Type="http://schemas.openxmlformats.org/officeDocument/2006/relationships/tags" Target="../tags/tag541.xml"/><Relationship Id="rId34" Type="http://schemas.openxmlformats.org/officeDocument/2006/relationships/tags" Target="../tags/tag554.xml"/><Relationship Id="rId7" Type="http://schemas.openxmlformats.org/officeDocument/2006/relationships/tags" Target="../tags/tag527.xml"/><Relationship Id="rId12" Type="http://schemas.openxmlformats.org/officeDocument/2006/relationships/tags" Target="../tags/tag532.xml"/><Relationship Id="rId17" Type="http://schemas.openxmlformats.org/officeDocument/2006/relationships/tags" Target="../tags/tag537.xml"/><Relationship Id="rId25" Type="http://schemas.openxmlformats.org/officeDocument/2006/relationships/tags" Target="../tags/tag545.xml"/><Relationship Id="rId33" Type="http://schemas.openxmlformats.org/officeDocument/2006/relationships/tags" Target="../tags/tag553.xml"/><Relationship Id="rId2" Type="http://schemas.openxmlformats.org/officeDocument/2006/relationships/slideLayout" Target="../slideLayouts/slideLayout62.xml"/><Relationship Id="rId16" Type="http://schemas.openxmlformats.org/officeDocument/2006/relationships/tags" Target="../tags/tag536.xml"/><Relationship Id="rId20" Type="http://schemas.openxmlformats.org/officeDocument/2006/relationships/tags" Target="../tags/tag540.xml"/><Relationship Id="rId29" Type="http://schemas.openxmlformats.org/officeDocument/2006/relationships/tags" Target="../tags/tag549.xml"/><Relationship Id="rId1" Type="http://schemas.openxmlformats.org/officeDocument/2006/relationships/slideLayout" Target="../slideLayouts/slideLayout61.xml"/><Relationship Id="rId6" Type="http://schemas.openxmlformats.org/officeDocument/2006/relationships/vmlDrawing" Target="../drawings/vmlDrawing76.vml"/><Relationship Id="rId11" Type="http://schemas.openxmlformats.org/officeDocument/2006/relationships/tags" Target="../tags/tag531.xml"/><Relationship Id="rId24" Type="http://schemas.openxmlformats.org/officeDocument/2006/relationships/tags" Target="../tags/tag544.xml"/><Relationship Id="rId32" Type="http://schemas.openxmlformats.org/officeDocument/2006/relationships/tags" Target="../tags/tag552.xml"/><Relationship Id="rId37" Type="http://schemas.openxmlformats.org/officeDocument/2006/relationships/image" Target="../media/image1.emf"/><Relationship Id="rId5" Type="http://schemas.openxmlformats.org/officeDocument/2006/relationships/theme" Target="../theme/theme16.xml"/><Relationship Id="rId15" Type="http://schemas.openxmlformats.org/officeDocument/2006/relationships/tags" Target="../tags/tag535.xml"/><Relationship Id="rId23" Type="http://schemas.openxmlformats.org/officeDocument/2006/relationships/tags" Target="../tags/tag543.xml"/><Relationship Id="rId28" Type="http://schemas.openxmlformats.org/officeDocument/2006/relationships/tags" Target="../tags/tag548.xml"/><Relationship Id="rId36" Type="http://schemas.openxmlformats.org/officeDocument/2006/relationships/oleObject" Target="../embeddings/oleObject76.bin"/><Relationship Id="rId10" Type="http://schemas.openxmlformats.org/officeDocument/2006/relationships/tags" Target="../tags/tag530.xml"/><Relationship Id="rId19" Type="http://schemas.openxmlformats.org/officeDocument/2006/relationships/tags" Target="../tags/tag539.xml"/><Relationship Id="rId31" Type="http://schemas.openxmlformats.org/officeDocument/2006/relationships/tags" Target="../tags/tag551.xml"/><Relationship Id="rId4" Type="http://schemas.openxmlformats.org/officeDocument/2006/relationships/slideLayout" Target="../slideLayouts/slideLayout64.xml"/><Relationship Id="rId9" Type="http://schemas.openxmlformats.org/officeDocument/2006/relationships/tags" Target="../tags/tag529.xml"/><Relationship Id="rId14" Type="http://schemas.openxmlformats.org/officeDocument/2006/relationships/tags" Target="../tags/tag534.xml"/><Relationship Id="rId22" Type="http://schemas.openxmlformats.org/officeDocument/2006/relationships/tags" Target="../tags/tag542.xml"/><Relationship Id="rId27" Type="http://schemas.openxmlformats.org/officeDocument/2006/relationships/tags" Target="../tags/tag547.xml"/><Relationship Id="rId30" Type="http://schemas.openxmlformats.org/officeDocument/2006/relationships/tags" Target="../tags/tag550.xml"/><Relationship Id="rId35" Type="http://schemas.openxmlformats.org/officeDocument/2006/relationships/tags" Target="../tags/tag555.xml"/><Relationship Id="rId8" Type="http://schemas.openxmlformats.org/officeDocument/2006/relationships/tags" Target="../tags/tag528.xml"/><Relationship Id="rId3" Type="http://schemas.openxmlformats.org/officeDocument/2006/relationships/slideLayout" Target="../slideLayouts/slideLayout63.xml"/></Relationships>
</file>

<file path=ppt/slideMasters/_rels/slideMaster17.xml.rels><?xml version="1.0" encoding="UTF-8" standalone="yes"?>
<Relationships xmlns="http://schemas.openxmlformats.org/package/2006/relationships"><Relationship Id="rId13" Type="http://schemas.openxmlformats.org/officeDocument/2006/relationships/tags" Target="../tags/tag568.xml"/><Relationship Id="rId18" Type="http://schemas.openxmlformats.org/officeDocument/2006/relationships/tags" Target="../tags/tag573.xml"/><Relationship Id="rId26" Type="http://schemas.openxmlformats.org/officeDocument/2006/relationships/tags" Target="../tags/tag581.xml"/><Relationship Id="rId21" Type="http://schemas.openxmlformats.org/officeDocument/2006/relationships/tags" Target="../tags/tag576.xml"/><Relationship Id="rId34" Type="http://schemas.openxmlformats.org/officeDocument/2006/relationships/tags" Target="../tags/tag589.xml"/><Relationship Id="rId7" Type="http://schemas.openxmlformats.org/officeDocument/2006/relationships/tags" Target="../tags/tag562.xml"/><Relationship Id="rId12" Type="http://schemas.openxmlformats.org/officeDocument/2006/relationships/tags" Target="../tags/tag567.xml"/><Relationship Id="rId17" Type="http://schemas.openxmlformats.org/officeDocument/2006/relationships/tags" Target="../tags/tag572.xml"/><Relationship Id="rId25" Type="http://schemas.openxmlformats.org/officeDocument/2006/relationships/tags" Target="../tags/tag580.xml"/><Relationship Id="rId33" Type="http://schemas.openxmlformats.org/officeDocument/2006/relationships/tags" Target="../tags/tag588.xml"/><Relationship Id="rId2" Type="http://schemas.openxmlformats.org/officeDocument/2006/relationships/slideLayout" Target="../slideLayouts/slideLayout66.xml"/><Relationship Id="rId16" Type="http://schemas.openxmlformats.org/officeDocument/2006/relationships/tags" Target="../tags/tag571.xml"/><Relationship Id="rId20" Type="http://schemas.openxmlformats.org/officeDocument/2006/relationships/tags" Target="../tags/tag575.xml"/><Relationship Id="rId29" Type="http://schemas.openxmlformats.org/officeDocument/2006/relationships/tags" Target="../tags/tag584.xml"/><Relationship Id="rId1" Type="http://schemas.openxmlformats.org/officeDocument/2006/relationships/slideLayout" Target="../slideLayouts/slideLayout65.xml"/><Relationship Id="rId6" Type="http://schemas.openxmlformats.org/officeDocument/2006/relationships/vmlDrawing" Target="../drawings/vmlDrawing81.vml"/><Relationship Id="rId11" Type="http://schemas.openxmlformats.org/officeDocument/2006/relationships/tags" Target="../tags/tag566.xml"/><Relationship Id="rId24" Type="http://schemas.openxmlformats.org/officeDocument/2006/relationships/tags" Target="../tags/tag579.xml"/><Relationship Id="rId32" Type="http://schemas.openxmlformats.org/officeDocument/2006/relationships/tags" Target="../tags/tag587.xml"/><Relationship Id="rId37" Type="http://schemas.openxmlformats.org/officeDocument/2006/relationships/image" Target="../media/image1.emf"/><Relationship Id="rId5" Type="http://schemas.openxmlformats.org/officeDocument/2006/relationships/theme" Target="../theme/theme17.xml"/><Relationship Id="rId15" Type="http://schemas.openxmlformats.org/officeDocument/2006/relationships/tags" Target="../tags/tag570.xml"/><Relationship Id="rId23" Type="http://schemas.openxmlformats.org/officeDocument/2006/relationships/tags" Target="../tags/tag578.xml"/><Relationship Id="rId28" Type="http://schemas.openxmlformats.org/officeDocument/2006/relationships/tags" Target="../tags/tag583.xml"/><Relationship Id="rId36" Type="http://schemas.openxmlformats.org/officeDocument/2006/relationships/oleObject" Target="../embeddings/oleObject81.bin"/><Relationship Id="rId10" Type="http://schemas.openxmlformats.org/officeDocument/2006/relationships/tags" Target="../tags/tag565.xml"/><Relationship Id="rId19" Type="http://schemas.openxmlformats.org/officeDocument/2006/relationships/tags" Target="../tags/tag574.xml"/><Relationship Id="rId31" Type="http://schemas.openxmlformats.org/officeDocument/2006/relationships/tags" Target="../tags/tag586.xml"/><Relationship Id="rId4" Type="http://schemas.openxmlformats.org/officeDocument/2006/relationships/slideLayout" Target="../slideLayouts/slideLayout68.xml"/><Relationship Id="rId9" Type="http://schemas.openxmlformats.org/officeDocument/2006/relationships/tags" Target="../tags/tag564.xml"/><Relationship Id="rId14" Type="http://schemas.openxmlformats.org/officeDocument/2006/relationships/tags" Target="../tags/tag569.xml"/><Relationship Id="rId22" Type="http://schemas.openxmlformats.org/officeDocument/2006/relationships/tags" Target="../tags/tag577.xml"/><Relationship Id="rId27" Type="http://schemas.openxmlformats.org/officeDocument/2006/relationships/tags" Target="../tags/tag582.xml"/><Relationship Id="rId30" Type="http://schemas.openxmlformats.org/officeDocument/2006/relationships/tags" Target="../tags/tag585.xml"/><Relationship Id="rId35" Type="http://schemas.openxmlformats.org/officeDocument/2006/relationships/tags" Target="../tags/tag590.xml"/><Relationship Id="rId8" Type="http://schemas.openxmlformats.org/officeDocument/2006/relationships/tags" Target="../tags/tag563.xml"/><Relationship Id="rId3" Type="http://schemas.openxmlformats.org/officeDocument/2006/relationships/slideLayout" Target="../slideLayouts/slideLayout67.xml"/></Relationships>
</file>

<file path=ppt/slideMasters/_rels/slideMaster18.xml.rels><?xml version="1.0" encoding="UTF-8" standalone="yes"?>
<Relationships xmlns="http://schemas.openxmlformats.org/package/2006/relationships"><Relationship Id="rId13" Type="http://schemas.openxmlformats.org/officeDocument/2006/relationships/tags" Target="../tags/tag603.xml"/><Relationship Id="rId18" Type="http://schemas.openxmlformats.org/officeDocument/2006/relationships/tags" Target="../tags/tag608.xml"/><Relationship Id="rId26" Type="http://schemas.openxmlformats.org/officeDocument/2006/relationships/tags" Target="../tags/tag616.xml"/><Relationship Id="rId21" Type="http://schemas.openxmlformats.org/officeDocument/2006/relationships/tags" Target="../tags/tag611.xml"/><Relationship Id="rId34" Type="http://schemas.openxmlformats.org/officeDocument/2006/relationships/tags" Target="../tags/tag624.xml"/><Relationship Id="rId7" Type="http://schemas.openxmlformats.org/officeDocument/2006/relationships/tags" Target="../tags/tag597.xml"/><Relationship Id="rId12" Type="http://schemas.openxmlformats.org/officeDocument/2006/relationships/tags" Target="../tags/tag602.xml"/><Relationship Id="rId17" Type="http://schemas.openxmlformats.org/officeDocument/2006/relationships/tags" Target="../tags/tag607.xml"/><Relationship Id="rId25" Type="http://schemas.openxmlformats.org/officeDocument/2006/relationships/tags" Target="../tags/tag615.xml"/><Relationship Id="rId33" Type="http://schemas.openxmlformats.org/officeDocument/2006/relationships/tags" Target="../tags/tag623.xml"/><Relationship Id="rId2" Type="http://schemas.openxmlformats.org/officeDocument/2006/relationships/slideLayout" Target="../slideLayouts/slideLayout70.xml"/><Relationship Id="rId16" Type="http://schemas.openxmlformats.org/officeDocument/2006/relationships/tags" Target="../tags/tag606.xml"/><Relationship Id="rId20" Type="http://schemas.openxmlformats.org/officeDocument/2006/relationships/tags" Target="../tags/tag610.xml"/><Relationship Id="rId29" Type="http://schemas.openxmlformats.org/officeDocument/2006/relationships/tags" Target="../tags/tag619.xml"/><Relationship Id="rId1" Type="http://schemas.openxmlformats.org/officeDocument/2006/relationships/slideLayout" Target="../slideLayouts/slideLayout69.xml"/><Relationship Id="rId6" Type="http://schemas.openxmlformats.org/officeDocument/2006/relationships/vmlDrawing" Target="../drawings/vmlDrawing86.vml"/><Relationship Id="rId11" Type="http://schemas.openxmlformats.org/officeDocument/2006/relationships/tags" Target="../tags/tag601.xml"/><Relationship Id="rId24" Type="http://schemas.openxmlformats.org/officeDocument/2006/relationships/tags" Target="../tags/tag614.xml"/><Relationship Id="rId32" Type="http://schemas.openxmlformats.org/officeDocument/2006/relationships/tags" Target="../tags/tag622.xml"/><Relationship Id="rId37" Type="http://schemas.openxmlformats.org/officeDocument/2006/relationships/image" Target="../media/image1.emf"/><Relationship Id="rId5" Type="http://schemas.openxmlformats.org/officeDocument/2006/relationships/theme" Target="../theme/theme18.xml"/><Relationship Id="rId15" Type="http://schemas.openxmlformats.org/officeDocument/2006/relationships/tags" Target="../tags/tag605.xml"/><Relationship Id="rId23" Type="http://schemas.openxmlformats.org/officeDocument/2006/relationships/tags" Target="../tags/tag613.xml"/><Relationship Id="rId28" Type="http://schemas.openxmlformats.org/officeDocument/2006/relationships/tags" Target="../tags/tag618.xml"/><Relationship Id="rId36" Type="http://schemas.openxmlformats.org/officeDocument/2006/relationships/oleObject" Target="../embeddings/oleObject86.bin"/><Relationship Id="rId10" Type="http://schemas.openxmlformats.org/officeDocument/2006/relationships/tags" Target="../tags/tag600.xml"/><Relationship Id="rId19" Type="http://schemas.openxmlformats.org/officeDocument/2006/relationships/tags" Target="../tags/tag609.xml"/><Relationship Id="rId31" Type="http://schemas.openxmlformats.org/officeDocument/2006/relationships/tags" Target="../tags/tag621.xml"/><Relationship Id="rId4" Type="http://schemas.openxmlformats.org/officeDocument/2006/relationships/slideLayout" Target="../slideLayouts/slideLayout72.xml"/><Relationship Id="rId9" Type="http://schemas.openxmlformats.org/officeDocument/2006/relationships/tags" Target="../tags/tag599.xml"/><Relationship Id="rId14" Type="http://schemas.openxmlformats.org/officeDocument/2006/relationships/tags" Target="../tags/tag604.xml"/><Relationship Id="rId22" Type="http://schemas.openxmlformats.org/officeDocument/2006/relationships/tags" Target="../tags/tag612.xml"/><Relationship Id="rId27" Type="http://schemas.openxmlformats.org/officeDocument/2006/relationships/tags" Target="../tags/tag617.xml"/><Relationship Id="rId30" Type="http://schemas.openxmlformats.org/officeDocument/2006/relationships/tags" Target="../tags/tag620.xml"/><Relationship Id="rId35" Type="http://schemas.openxmlformats.org/officeDocument/2006/relationships/tags" Target="../tags/tag625.xml"/><Relationship Id="rId8" Type="http://schemas.openxmlformats.org/officeDocument/2006/relationships/tags" Target="../tags/tag598.xml"/><Relationship Id="rId3" Type="http://schemas.openxmlformats.org/officeDocument/2006/relationships/slideLayout" Target="../slideLayouts/slideLayout71.xml"/></Relationships>
</file>

<file path=ppt/slideMasters/_rels/slideMaster19.xml.rels><?xml version="1.0" encoding="UTF-8" standalone="yes"?>
<Relationships xmlns="http://schemas.openxmlformats.org/package/2006/relationships"><Relationship Id="rId13" Type="http://schemas.openxmlformats.org/officeDocument/2006/relationships/tags" Target="../tags/tag638.xml"/><Relationship Id="rId18" Type="http://schemas.openxmlformats.org/officeDocument/2006/relationships/tags" Target="../tags/tag643.xml"/><Relationship Id="rId26" Type="http://schemas.openxmlformats.org/officeDocument/2006/relationships/tags" Target="../tags/tag651.xml"/><Relationship Id="rId21" Type="http://schemas.openxmlformats.org/officeDocument/2006/relationships/tags" Target="../tags/tag646.xml"/><Relationship Id="rId34" Type="http://schemas.openxmlformats.org/officeDocument/2006/relationships/tags" Target="../tags/tag659.xml"/><Relationship Id="rId7" Type="http://schemas.openxmlformats.org/officeDocument/2006/relationships/tags" Target="../tags/tag632.xml"/><Relationship Id="rId12" Type="http://schemas.openxmlformats.org/officeDocument/2006/relationships/tags" Target="../tags/tag637.xml"/><Relationship Id="rId17" Type="http://schemas.openxmlformats.org/officeDocument/2006/relationships/tags" Target="../tags/tag642.xml"/><Relationship Id="rId25" Type="http://schemas.openxmlformats.org/officeDocument/2006/relationships/tags" Target="../tags/tag650.xml"/><Relationship Id="rId33" Type="http://schemas.openxmlformats.org/officeDocument/2006/relationships/tags" Target="../tags/tag658.xml"/><Relationship Id="rId2" Type="http://schemas.openxmlformats.org/officeDocument/2006/relationships/slideLayout" Target="../slideLayouts/slideLayout74.xml"/><Relationship Id="rId16" Type="http://schemas.openxmlformats.org/officeDocument/2006/relationships/tags" Target="../tags/tag641.xml"/><Relationship Id="rId20" Type="http://schemas.openxmlformats.org/officeDocument/2006/relationships/tags" Target="../tags/tag645.xml"/><Relationship Id="rId29" Type="http://schemas.openxmlformats.org/officeDocument/2006/relationships/tags" Target="../tags/tag654.xml"/><Relationship Id="rId1" Type="http://schemas.openxmlformats.org/officeDocument/2006/relationships/slideLayout" Target="../slideLayouts/slideLayout73.xml"/><Relationship Id="rId6" Type="http://schemas.openxmlformats.org/officeDocument/2006/relationships/vmlDrawing" Target="../drawings/vmlDrawing91.vml"/><Relationship Id="rId11" Type="http://schemas.openxmlformats.org/officeDocument/2006/relationships/tags" Target="../tags/tag636.xml"/><Relationship Id="rId24" Type="http://schemas.openxmlformats.org/officeDocument/2006/relationships/tags" Target="../tags/tag649.xml"/><Relationship Id="rId32" Type="http://schemas.openxmlformats.org/officeDocument/2006/relationships/tags" Target="../tags/tag657.xml"/><Relationship Id="rId37" Type="http://schemas.openxmlformats.org/officeDocument/2006/relationships/image" Target="../media/image1.emf"/><Relationship Id="rId5" Type="http://schemas.openxmlformats.org/officeDocument/2006/relationships/theme" Target="../theme/theme19.xml"/><Relationship Id="rId15" Type="http://schemas.openxmlformats.org/officeDocument/2006/relationships/tags" Target="../tags/tag640.xml"/><Relationship Id="rId23" Type="http://schemas.openxmlformats.org/officeDocument/2006/relationships/tags" Target="../tags/tag648.xml"/><Relationship Id="rId28" Type="http://schemas.openxmlformats.org/officeDocument/2006/relationships/tags" Target="../tags/tag653.xml"/><Relationship Id="rId36" Type="http://schemas.openxmlformats.org/officeDocument/2006/relationships/oleObject" Target="../embeddings/oleObject91.bin"/><Relationship Id="rId10" Type="http://schemas.openxmlformats.org/officeDocument/2006/relationships/tags" Target="../tags/tag635.xml"/><Relationship Id="rId19" Type="http://schemas.openxmlformats.org/officeDocument/2006/relationships/tags" Target="../tags/tag644.xml"/><Relationship Id="rId31" Type="http://schemas.openxmlformats.org/officeDocument/2006/relationships/tags" Target="../tags/tag656.xml"/><Relationship Id="rId4" Type="http://schemas.openxmlformats.org/officeDocument/2006/relationships/slideLayout" Target="../slideLayouts/slideLayout76.xml"/><Relationship Id="rId9" Type="http://schemas.openxmlformats.org/officeDocument/2006/relationships/tags" Target="../tags/tag634.xml"/><Relationship Id="rId14" Type="http://schemas.openxmlformats.org/officeDocument/2006/relationships/tags" Target="../tags/tag639.xml"/><Relationship Id="rId22" Type="http://schemas.openxmlformats.org/officeDocument/2006/relationships/tags" Target="../tags/tag647.xml"/><Relationship Id="rId27" Type="http://schemas.openxmlformats.org/officeDocument/2006/relationships/tags" Target="../tags/tag652.xml"/><Relationship Id="rId30" Type="http://schemas.openxmlformats.org/officeDocument/2006/relationships/tags" Target="../tags/tag655.xml"/><Relationship Id="rId35" Type="http://schemas.openxmlformats.org/officeDocument/2006/relationships/tags" Target="../tags/tag660.xml"/><Relationship Id="rId8" Type="http://schemas.openxmlformats.org/officeDocument/2006/relationships/tags" Target="../tags/tag633.xml"/><Relationship Id="rId3" Type="http://schemas.openxmlformats.org/officeDocument/2006/relationships/slideLayout" Target="../slideLayouts/slideLayout75.xml"/></Relationships>
</file>

<file path=ppt/slideMasters/_rels/slideMaster2.xml.rels><?xml version="1.0" encoding="UTF-8" standalone="yes"?>
<Relationships xmlns="http://schemas.openxmlformats.org/package/2006/relationships"><Relationship Id="rId13" Type="http://schemas.openxmlformats.org/officeDocument/2006/relationships/tags" Target="../tags/tag43.xml"/><Relationship Id="rId18" Type="http://schemas.openxmlformats.org/officeDocument/2006/relationships/tags" Target="../tags/tag48.xml"/><Relationship Id="rId26" Type="http://schemas.openxmlformats.org/officeDocument/2006/relationships/tags" Target="../tags/tag56.xml"/><Relationship Id="rId21" Type="http://schemas.openxmlformats.org/officeDocument/2006/relationships/tags" Target="../tags/tag51.xml"/><Relationship Id="rId34" Type="http://schemas.openxmlformats.org/officeDocument/2006/relationships/tags" Target="../tags/tag64.xml"/><Relationship Id="rId7" Type="http://schemas.openxmlformats.org/officeDocument/2006/relationships/tags" Target="../tags/tag37.xml"/><Relationship Id="rId12" Type="http://schemas.openxmlformats.org/officeDocument/2006/relationships/tags" Target="../tags/tag42.xml"/><Relationship Id="rId17" Type="http://schemas.openxmlformats.org/officeDocument/2006/relationships/tags" Target="../tags/tag47.xml"/><Relationship Id="rId25" Type="http://schemas.openxmlformats.org/officeDocument/2006/relationships/tags" Target="../tags/tag55.xml"/><Relationship Id="rId33" Type="http://schemas.openxmlformats.org/officeDocument/2006/relationships/tags" Target="../tags/tag63.xml"/><Relationship Id="rId2" Type="http://schemas.openxmlformats.org/officeDocument/2006/relationships/slideLayout" Target="../slideLayouts/slideLayout6.xml"/><Relationship Id="rId16" Type="http://schemas.openxmlformats.org/officeDocument/2006/relationships/tags" Target="../tags/tag46.xml"/><Relationship Id="rId20" Type="http://schemas.openxmlformats.org/officeDocument/2006/relationships/tags" Target="../tags/tag50.xml"/><Relationship Id="rId29" Type="http://schemas.openxmlformats.org/officeDocument/2006/relationships/tags" Target="../tags/tag59.xml"/><Relationship Id="rId1" Type="http://schemas.openxmlformats.org/officeDocument/2006/relationships/slideLayout" Target="../slideLayouts/slideLayout5.xml"/><Relationship Id="rId6" Type="http://schemas.openxmlformats.org/officeDocument/2006/relationships/vmlDrawing" Target="../drawings/vmlDrawing6.vml"/><Relationship Id="rId11" Type="http://schemas.openxmlformats.org/officeDocument/2006/relationships/tags" Target="../tags/tag41.xml"/><Relationship Id="rId24" Type="http://schemas.openxmlformats.org/officeDocument/2006/relationships/tags" Target="../tags/tag54.xml"/><Relationship Id="rId32" Type="http://schemas.openxmlformats.org/officeDocument/2006/relationships/tags" Target="../tags/tag62.xml"/><Relationship Id="rId37" Type="http://schemas.openxmlformats.org/officeDocument/2006/relationships/image" Target="../media/image1.emf"/><Relationship Id="rId5" Type="http://schemas.openxmlformats.org/officeDocument/2006/relationships/theme" Target="../theme/theme2.xml"/><Relationship Id="rId15" Type="http://schemas.openxmlformats.org/officeDocument/2006/relationships/tags" Target="../tags/tag45.xml"/><Relationship Id="rId23" Type="http://schemas.openxmlformats.org/officeDocument/2006/relationships/tags" Target="../tags/tag53.xml"/><Relationship Id="rId28" Type="http://schemas.openxmlformats.org/officeDocument/2006/relationships/tags" Target="../tags/tag58.xml"/><Relationship Id="rId36" Type="http://schemas.openxmlformats.org/officeDocument/2006/relationships/oleObject" Target="../embeddings/oleObject6.bin"/><Relationship Id="rId10" Type="http://schemas.openxmlformats.org/officeDocument/2006/relationships/tags" Target="../tags/tag40.xml"/><Relationship Id="rId19" Type="http://schemas.openxmlformats.org/officeDocument/2006/relationships/tags" Target="../tags/tag49.xml"/><Relationship Id="rId31" Type="http://schemas.openxmlformats.org/officeDocument/2006/relationships/tags" Target="../tags/tag61.xml"/><Relationship Id="rId4" Type="http://schemas.openxmlformats.org/officeDocument/2006/relationships/slideLayout" Target="../slideLayouts/slideLayout8.xml"/><Relationship Id="rId9" Type="http://schemas.openxmlformats.org/officeDocument/2006/relationships/tags" Target="../tags/tag39.xml"/><Relationship Id="rId14" Type="http://schemas.openxmlformats.org/officeDocument/2006/relationships/tags" Target="../tags/tag44.xml"/><Relationship Id="rId22" Type="http://schemas.openxmlformats.org/officeDocument/2006/relationships/tags" Target="../tags/tag52.xml"/><Relationship Id="rId27" Type="http://schemas.openxmlformats.org/officeDocument/2006/relationships/tags" Target="../tags/tag57.xml"/><Relationship Id="rId30" Type="http://schemas.openxmlformats.org/officeDocument/2006/relationships/tags" Target="../tags/tag60.xml"/><Relationship Id="rId35" Type="http://schemas.openxmlformats.org/officeDocument/2006/relationships/tags" Target="../tags/tag65.xml"/><Relationship Id="rId8" Type="http://schemas.openxmlformats.org/officeDocument/2006/relationships/tags" Target="../tags/tag38.xml"/><Relationship Id="rId3" Type="http://schemas.openxmlformats.org/officeDocument/2006/relationships/slideLayout" Target="../slideLayouts/slideLayout7.xml"/></Relationships>
</file>

<file path=ppt/slideMasters/_rels/slideMaster20.xml.rels><?xml version="1.0" encoding="UTF-8" standalone="yes"?>
<Relationships xmlns="http://schemas.openxmlformats.org/package/2006/relationships"><Relationship Id="rId13" Type="http://schemas.openxmlformats.org/officeDocument/2006/relationships/tags" Target="../tags/tag673.xml"/><Relationship Id="rId18" Type="http://schemas.openxmlformats.org/officeDocument/2006/relationships/tags" Target="../tags/tag678.xml"/><Relationship Id="rId26" Type="http://schemas.openxmlformats.org/officeDocument/2006/relationships/tags" Target="../tags/tag686.xml"/><Relationship Id="rId21" Type="http://schemas.openxmlformats.org/officeDocument/2006/relationships/tags" Target="../tags/tag681.xml"/><Relationship Id="rId34" Type="http://schemas.openxmlformats.org/officeDocument/2006/relationships/tags" Target="../tags/tag694.xml"/><Relationship Id="rId7" Type="http://schemas.openxmlformats.org/officeDocument/2006/relationships/tags" Target="../tags/tag667.xml"/><Relationship Id="rId12" Type="http://schemas.openxmlformats.org/officeDocument/2006/relationships/tags" Target="../tags/tag672.xml"/><Relationship Id="rId17" Type="http://schemas.openxmlformats.org/officeDocument/2006/relationships/tags" Target="../tags/tag677.xml"/><Relationship Id="rId25" Type="http://schemas.openxmlformats.org/officeDocument/2006/relationships/tags" Target="../tags/tag685.xml"/><Relationship Id="rId33" Type="http://schemas.openxmlformats.org/officeDocument/2006/relationships/tags" Target="../tags/tag693.xml"/><Relationship Id="rId2" Type="http://schemas.openxmlformats.org/officeDocument/2006/relationships/slideLayout" Target="../slideLayouts/slideLayout78.xml"/><Relationship Id="rId16" Type="http://schemas.openxmlformats.org/officeDocument/2006/relationships/tags" Target="../tags/tag676.xml"/><Relationship Id="rId20" Type="http://schemas.openxmlformats.org/officeDocument/2006/relationships/tags" Target="../tags/tag680.xml"/><Relationship Id="rId29" Type="http://schemas.openxmlformats.org/officeDocument/2006/relationships/tags" Target="../tags/tag689.xml"/><Relationship Id="rId1" Type="http://schemas.openxmlformats.org/officeDocument/2006/relationships/slideLayout" Target="../slideLayouts/slideLayout77.xml"/><Relationship Id="rId6" Type="http://schemas.openxmlformats.org/officeDocument/2006/relationships/vmlDrawing" Target="../drawings/vmlDrawing96.vml"/><Relationship Id="rId11" Type="http://schemas.openxmlformats.org/officeDocument/2006/relationships/tags" Target="../tags/tag671.xml"/><Relationship Id="rId24" Type="http://schemas.openxmlformats.org/officeDocument/2006/relationships/tags" Target="../tags/tag684.xml"/><Relationship Id="rId32" Type="http://schemas.openxmlformats.org/officeDocument/2006/relationships/tags" Target="../tags/tag692.xml"/><Relationship Id="rId37" Type="http://schemas.openxmlformats.org/officeDocument/2006/relationships/image" Target="../media/image1.emf"/><Relationship Id="rId5" Type="http://schemas.openxmlformats.org/officeDocument/2006/relationships/theme" Target="../theme/theme20.xml"/><Relationship Id="rId15" Type="http://schemas.openxmlformats.org/officeDocument/2006/relationships/tags" Target="../tags/tag675.xml"/><Relationship Id="rId23" Type="http://schemas.openxmlformats.org/officeDocument/2006/relationships/tags" Target="../tags/tag683.xml"/><Relationship Id="rId28" Type="http://schemas.openxmlformats.org/officeDocument/2006/relationships/tags" Target="../tags/tag688.xml"/><Relationship Id="rId36" Type="http://schemas.openxmlformats.org/officeDocument/2006/relationships/oleObject" Target="../embeddings/oleObject96.bin"/><Relationship Id="rId10" Type="http://schemas.openxmlformats.org/officeDocument/2006/relationships/tags" Target="../tags/tag670.xml"/><Relationship Id="rId19" Type="http://schemas.openxmlformats.org/officeDocument/2006/relationships/tags" Target="../tags/tag679.xml"/><Relationship Id="rId31" Type="http://schemas.openxmlformats.org/officeDocument/2006/relationships/tags" Target="../tags/tag691.xml"/><Relationship Id="rId4" Type="http://schemas.openxmlformats.org/officeDocument/2006/relationships/slideLayout" Target="../slideLayouts/slideLayout80.xml"/><Relationship Id="rId9" Type="http://schemas.openxmlformats.org/officeDocument/2006/relationships/tags" Target="../tags/tag669.xml"/><Relationship Id="rId14" Type="http://schemas.openxmlformats.org/officeDocument/2006/relationships/tags" Target="../tags/tag674.xml"/><Relationship Id="rId22" Type="http://schemas.openxmlformats.org/officeDocument/2006/relationships/tags" Target="../tags/tag682.xml"/><Relationship Id="rId27" Type="http://schemas.openxmlformats.org/officeDocument/2006/relationships/tags" Target="../tags/tag687.xml"/><Relationship Id="rId30" Type="http://schemas.openxmlformats.org/officeDocument/2006/relationships/tags" Target="../tags/tag690.xml"/><Relationship Id="rId35" Type="http://schemas.openxmlformats.org/officeDocument/2006/relationships/tags" Target="../tags/tag695.xml"/><Relationship Id="rId8" Type="http://schemas.openxmlformats.org/officeDocument/2006/relationships/tags" Target="../tags/tag668.xml"/><Relationship Id="rId3" Type="http://schemas.openxmlformats.org/officeDocument/2006/relationships/slideLayout" Target="../slideLayouts/slideLayout79.xml"/></Relationships>
</file>

<file path=ppt/slideMasters/_rels/slideMaster21.xml.rels><?xml version="1.0" encoding="UTF-8" standalone="yes"?>
<Relationships xmlns="http://schemas.openxmlformats.org/package/2006/relationships"><Relationship Id="rId13" Type="http://schemas.openxmlformats.org/officeDocument/2006/relationships/tags" Target="../tags/tag708.xml"/><Relationship Id="rId18" Type="http://schemas.openxmlformats.org/officeDocument/2006/relationships/tags" Target="../tags/tag713.xml"/><Relationship Id="rId26" Type="http://schemas.openxmlformats.org/officeDocument/2006/relationships/tags" Target="../tags/tag721.xml"/><Relationship Id="rId21" Type="http://schemas.openxmlformats.org/officeDocument/2006/relationships/tags" Target="../tags/tag716.xml"/><Relationship Id="rId34" Type="http://schemas.openxmlformats.org/officeDocument/2006/relationships/tags" Target="../tags/tag729.xml"/><Relationship Id="rId7" Type="http://schemas.openxmlformats.org/officeDocument/2006/relationships/tags" Target="../tags/tag702.xml"/><Relationship Id="rId12" Type="http://schemas.openxmlformats.org/officeDocument/2006/relationships/tags" Target="../tags/tag707.xml"/><Relationship Id="rId17" Type="http://schemas.openxmlformats.org/officeDocument/2006/relationships/tags" Target="../tags/tag712.xml"/><Relationship Id="rId25" Type="http://schemas.openxmlformats.org/officeDocument/2006/relationships/tags" Target="../tags/tag720.xml"/><Relationship Id="rId33" Type="http://schemas.openxmlformats.org/officeDocument/2006/relationships/tags" Target="../tags/tag728.xml"/><Relationship Id="rId2" Type="http://schemas.openxmlformats.org/officeDocument/2006/relationships/slideLayout" Target="../slideLayouts/slideLayout82.xml"/><Relationship Id="rId16" Type="http://schemas.openxmlformats.org/officeDocument/2006/relationships/tags" Target="../tags/tag711.xml"/><Relationship Id="rId20" Type="http://schemas.openxmlformats.org/officeDocument/2006/relationships/tags" Target="../tags/tag715.xml"/><Relationship Id="rId29" Type="http://schemas.openxmlformats.org/officeDocument/2006/relationships/tags" Target="../tags/tag724.xml"/><Relationship Id="rId1" Type="http://schemas.openxmlformats.org/officeDocument/2006/relationships/slideLayout" Target="../slideLayouts/slideLayout81.xml"/><Relationship Id="rId6" Type="http://schemas.openxmlformats.org/officeDocument/2006/relationships/vmlDrawing" Target="../drawings/vmlDrawing101.vml"/><Relationship Id="rId11" Type="http://schemas.openxmlformats.org/officeDocument/2006/relationships/tags" Target="../tags/tag706.xml"/><Relationship Id="rId24" Type="http://schemas.openxmlformats.org/officeDocument/2006/relationships/tags" Target="../tags/tag719.xml"/><Relationship Id="rId32" Type="http://schemas.openxmlformats.org/officeDocument/2006/relationships/tags" Target="../tags/tag727.xml"/><Relationship Id="rId37" Type="http://schemas.openxmlformats.org/officeDocument/2006/relationships/image" Target="../media/image1.emf"/><Relationship Id="rId5" Type="http://schemas.openxmlformats.org/officeDocument/2006/relationships/theme" Target="../theme/theme21.xml"/><Relationship Id="rId15" Type="http://schemas.openxmlformats.org/officeDocument/2006/relationships/tags" Target="../tags/tag710.xml"/><Relationship Id="rId23" Type="http://schemas.openxmlformats.org/officeDocument/2006/relationships/tags" Target="../tags/tag718.xml"/><Relationship Id="rId28" Type="http://schemas.openxmlformats.org/officeDocument/2006/relationships/tags" Target="../tags/tag723.xml"/><Relationship Id="rId36" Type="http://schemas.openxmlformats.org/officeDocument/2006/relationships/oleObject" Target="../embeddings/oleObject101.bin"/><Relationship Id="rId10" Type="http://schemas.openxmlformats.org/officeDocument/2006/relationships/tags" Target="../tags/tag705.xml"/><Relationship Id="rId19" Type="http://schemas.openxmlformats.org/officeDocument/2006/relationships/tags" Target="../tags/tag714.xml"/><Relationship Id="rId31" Type="http://schemas.openxmlformats.org/officeDocument/2006/relationships/tags" Target="../tags/tag726.xml"/><Relationship Id="rId4" Type="http://schemas.openxmlformats.org/officeDocument/2006/relationships/slideLayout" Target="../slideLayouts/slideLayout84.xml"/><Relationship Id="rId9" Type="http://schemas.openxmlformats.org/officeDocument/2006/relationships/tags" Target="../tags/tag704.xml"/><Relationship Id="rId14" Type="http://schemas.openxmlformats.org/officeDocument/2006/relationships/tags" Target="../tags/tag709.xml"/><Relationship Id="rId22" Type="http://schemas.openxmlformats.org/officeDocument/2006/relationships/tags" Target="../tags/tag717.xml"/><Relationship Id="rId27" Type="http://schemas.openxmlformats.org/officeDocument/2006/relationships/tags" Target="../tags/tag722.xml"/><Relationship Id="rId30" Type="http://schemas.openxmlformats.org/officeDocument/2006/relationships/tags" Target="../tags/tag725.xml"/><Relationship Id="rId35" Type="http://schemas.openxmlformats.org/officeDocument/2006/relationships/tags" Target="../tags/tag730.xml"/><Relationship Id="rId8" Type="http://schemas.openxmlformats.org/officeDocument/2006/relationships/tags" Target="../tags/tag703.xml"/><Relationship Id="rId3" Type="http://schemas.openxmlformats.org/officeDocument/2006/relationships/slideLayout" Target="../slideLayouts/slideLayout83.xml"/></Relationships>
</file>

<file path=ppt/slideMasters/_rels/slideMaster22.xml.rels><?xml version="1.0" encoding="UTF-8" standalone="yes"?>
<Relationships xmlns="http://schemas.openxmlformats.org/package/2006/relationships"><Relationship Id="rId13" Type="http://schemas.openxmlformats.org/officeDocument/2006/relationships/tags" Target="../tags/tag743.xml"/><Relationship Id="rId18" Type="http://schemas.openxmlformats.org/officeDocument/2006/relationships/tags" Target="../tags/tag748.xml"/><Relationship Id="rId26" Type="http://schemas.openxmlformats.org/officeDocument/2006/relationships/tags" Target="../tags/tag756.xml"/><Relationship Id="rId21" Type="http://schemas.openxmlformats.org/officeDocument/2006/relationships/tags" Target="../tags/tag751.xml"/><Relationship Id="rId34" Type="http://schemas.openxmlformats.org/officeDocument/2006/relationships/tags" Target="../tags/tag764.xml"/><Relationship Id="rId7" Type="http://schemas.openxmlformats.org/officeDocument/2006/relationships/tags" Target="../tags/tag737.xml"/><Relationship Id="rId12" Type="http://schemas.openxmlformats.org/officeDocument/2006/relationships/tags" Target="../tags/tag742.xml"/><Relationship Id="rId17" Type="http://schemas.openxmlformats.org/officeDocument/2006/relationships/tags" Target="../tags/tag747.xml"/><Relationship Id="rId25" Type="http://schemas.openxmlformats.org/officeDocument/2006/relationships/tags" Target="../tags/tag755.xml"/><Relationship Id="rId33" Type="http://schemas.openxmlformats.org/officeDocument/2006/relationships/tags" Target="../tags/tag763.xml"/><Relationship Id="rId2" Type="http://schemas.openxmlformats.org/officeDocument/2006/relationships/slideLayout" Target="../slideLayouts/slideLayout86.xml"/><Relationship Id="rId16" Type="http://schemas.openxmlformats.org/officeDocument/2006/relationships/tags" Target="../tags/tag746.xml"/><Relationship Id="rId20" Type="http://schemas.openxmlformats.org/officeDocument/2006/relationships/tags" Target="../tags/tag750.xml"/><Relationship Id="rId29" Type="http://schemas.openxmlformats.org/officeDocument/2006/relationships/tags" Target="../tags/tag759.xml"/><Relationship Id="rId1" Type="http://schemas.openxmlformats.org/officeDocument/2006/relationships/slideLayout" Target="../slideLayouts/slideLayout85.xml"/><Relationship Id="rId6" Type="http://schemas.openxmlformats.org/officeDocument/2006/relationships/vmlDrawing" Target="../drawings/vmlDrawing106.vml"/><Relationship Id="rId11" Type="http://schemas.openxmlformats.org/officeDocument/2006/relationships/tags" Target="../tags/tag741.xml"/><Relationship Id="rId24" Type="http://schemas.openxmlformats.org/officeDocument/2006/relationships/tags" Target="../tags/tag754.xml"/><Relationship Id="rId32" Type="http://schemas.openxmlformats.org/officeDocument/2006/relationships/tags" Target="../tags/tag762.xml"/><Relationship Id="rId37" Type="http://schemas.openxmlformats.org/officeDocument/2006/relationships/image" Target="../media/image1.emf"/><Relationship Id="rId5" Type="http://schemas.openxmlformats.org/officeDocument/2006/relationships/theme" Target="../theme/theme22.xml"/><Relationship Id="rId15" Type="http://schemas.openxmlformats.org/officeDocument/2006/relationships/tags" Target="../tags/tag745.xml"/><Relationship Id="rId23" Type="http://schemas.openxmlformats.org/officeDocument/2006/relationships/tags" Target="../tags/tag753.xml"/><Relationship Id="rId28" Type="http://schemas.openxmlformats.org/officeDocument/2006/relationships/tags" Target="../tags/tag758.xml"/><Relationship Id="rId36" Type="http://schemas.openxmlformats.org/officeDocument/2006/relationships/oleObject" Target="../embeddings/oleObject106.bin"/><Relationship Id="rId10" Type="http://schemas.openxmlformats.org/officeDocument/2006/relationships/tags" Target="../tags/tag740.xml"/><Relationship Id="rId19" Type="http://schemas.openxmlformats.org/officeDocument/2006/relationships/tags" Target="../tags/tag749.xml"/><Relationship Id="rId31" Type="http://schemas.openxmlformats.org/officeDocument/2006/relationships/tags" Target="../tags/tag761.xml"/><Relationship Id="rId4" Type="http://schemas.openxmlformats.org/officeDocument/2006/relationships/slideLayout" Target="../slideLayouts/slideLayout88.xml"/><Relationship Id="rId9" Type="http://schemas.openxmlformats.org/officeDocument/2006/relationships/tags" Target="../tags/tag739.xml"/><Relationship Id="rId14" Type="http://schemas.openxmlformats.org/officeDocument/2006/relationships/tags" Target="../tags/tag744.xml"/><Relationship Id="rId22" Type="http://schemas.openxmlformats.org/officeDocument/2006/relationships/tags" Target="../tags/tag752.xml"/><Relationship Id="rId27" Type="http://schemas.openxmlformats.org/officeDocument/2006/relationships/tags" Target="../tags/tag757.xml"/><Relationship Id="rId30" Type="http://schemas.openxmlformats.org/officeDocument/2006/relationships/tags" Target="../tags/tag760.xml"/><Relationship Id="rId35" Type="http://schemas.openxmlformats.org/officeDocument/2006/relationships/tags" Target="../tags/tag765.xml"/><Relationship Id="rId8" Type="http://schemas.openxmlformats.org/officeDocument/2006/relationships/tags" Target="../tags/tag738.xml"/><Relationship Id="rId3" Type="http://schemas.openxmlformats.org/officeDocument/2006/relationships/slideLayout" Target="../slideLayouts/slideLayout87.xml"/></Relationships>
</file>

<file path=ppt/slideMasters/_rels/slideMaster23.xml.rels><?xml version="1.0" encoding="UTF-8" standalone="yes"?>
<Relationships xmlns="http://schemas.openxmlformats.org/package/2006/relationships"><Relationship Id="rId13" Type="http://schemas.openxmlformats.org/officeDocument/2006/relationships/tags" Target="../tags/tag778.xml"/><Relationship Id="rId18" Type="http://schemas.openxmlformats.org/officeDocument/2006/relationships/tags" Target="../tags/tag783.xml"/><Relationship Id="rId26" Type="http://schemas.openxmlformats.org/officeDocument/2006/relationships/tags" Target="../tags/tag791.xml"/><Relationship Id="rId21" Type="http://schemas.openxmlformats.org/officeDocument/2006/relationships/tags" Target="../tags/tag786.xml"/><Relationship Id="rId34" Type="http://schemas.openxmlformats.org/officeDocument/2006/relationships/tags" Target="../tags/tag799.xml"/><Relationship Id="rId7" Type="http://schemas.openxmlformats.org/officeDocument/2006/relationships/tags" Target="../tags/tag772.xml"/><Relationship Id="rId12" Type="http://schemas.openxmlformats.org/officeDocument/2006/relationships/tags" Target="../tags/tag777.xml"/><Relationship Id="rId17" Type="http://schemas.openxmlformats.org/officeDocument/2006/relationships/tags" Target="../tags/tag782.xml"/><Relationship Id="rId25" Type="http://schemas.openxmlformats.org/officeDocument/2006/relationships/tags" Target="../tags/tag790.xml"/><Relationship Id="rId33" Type="http://schemas.openxmlformats.org/officeDocument/2006/relationships/tags" Target="../tags/tag798.xml"/><Relationship Id="rId2" Type="http://schemas.openxmlformats.org/officeDocument/2006/relationships/slideLayout" Target="../slideLayouts/slideLayout90.xml"/><Relationship Id="rId16" Type="http://schemas.openxmlformats.org/officeDocument/2006/relationships/tags" Target="../tags/tag781.xml"/><Relationship Id="rId20" Type="http://schemas.openxmlformats.org/officeDocument/2006/relationships/tags" Target="../tags/tag785.xml"/><Relationship Id="rId29" Type="http://schemas.openxmlformats.org/officeDocument/2006/relationships/tags" Target="../tags/tag794.xml"/><Relationship Id="rId1" Type="http://schemas.openxmlformats.org/officeDocument/2006/relationships/slideLayout" Target="../slideLayouts/slideLayout89.xml"/><Relationship Id="rId6" Type="http://schemas.openxmlformats.org/officeDocument/2006/relationships/vmlDrawing" Target="../drawings/vmlDrawing111.vml"/><Relationship Id="rId11" Type="http://schemas.openxmlformats.org/officeDocument/2006/relationships/tags" Target="../tags/tag776.xml"/><Relationship Id="rId24" Type="http://schemas.openxmlformats.org/officeDocument/2006/relationships/tags" Target="../tags/tag789.xml"/><Relationship Id="rId32" Type="http://schemas.openxmlformats.org/officeDocument/2006/relationships/tags" Target="../tags/tag797.xml"/><Relationship Id="rId37" Type="http://schemas.openxmlformats.org/officeDocument/2006/relationships/image" Target="../media/image1.emf"/><Relationship Id="rId5" Type="http://schemas.openxmlformats.org/officeDocument/2006/relationships/theme" Target="../theme/theme23.xml"/><Relationship Id="rId15" Type="http://schemas.openxmlformats.org/officeDocument/2006/relationships/tags" Target="../tags/tag780.xml"/><Relationship Id="rId23" Type="http://schemas.openxmlformats.org/officeDocument/2006/relationships/tags" Target="../tags/tag788.xml"/><Relationship Id="rId28" Type="http://schemas.openxmlformats.org/officeDocument/2006/relationships/tags" Target="../tags/tag793.xml"/><Relationship Id="rId36" Type="http://schemas.openxmlformats.org/officeDocument/2006/relationships/oleObject" Target="../embeddings/oleObject111.bin"/><Relationship Id="rId10" Type="http://schemas.openxmlformats.org/officeDocument/2006/relationships/tags" Target="../tags/tag775.xml"/><Relationship Id="rId19" Type="http://schemas.openxmlformats.org/officeDocument/2006/relationships/tags" Target="../tags/tag784.xml"/><Relationship Id="rId31" Type="http://schemas.openxmlformats.org/officeDocument/2006/relationships/tags" Target="../tags/tag796.xml"/><Relationship Id="rId4" Type="http://schemas.openxmlformats.org/officeDocument/2006/relationships/slideLayout" Target="../slideLayouts/slideLayout92.xml"/><Relationship Id="rId9" Type="http://schemas.openxmlformats.org/officeDocument/2006/relationships/tags" Target="../tags/tag774.xml"/><Relationship Id="rId14" Type="http://schemas.openxmlformats.org/officeDocument/2006/relationships/tags" Target="../tags/tag779.xml"/><Relationship Id="rId22" Type="http://schemas.openxmlformats.org/officeDocument/2006/relationships/tags" Target="../tags/tag787.xml"/><Relationship Id="rId27" Type="http://schemas.openxmlformats.org/officeDocument/2006/relationships/tags" Target="../tags/tag792.xml"/><Relationship Id="rId30" Type="http://schemas.openxmlformats.org/officeDocument/2006/relationships/tags" Target="../tags/tag795.xml"/><Relationship Id="rId35" Type="http://schemas.openxmlformats.org/officeDocument/2006/relationships/tags" Target="../tags/tag800.xml"/><Relationship Id="rId8" Type="http://schemas.openxmlformats.org/officeDocument/2006/relationships/tags" Target="../tags/tag773.xml"/><Relationship Id="rId3" Type="http://schemas.openxmlformats.org/officeDocument/2006/relationships/slideLayout" Target="../slideLayouts/slideLayout91.xml"/></Relationships>
</file>

<file path=ppt/slideMasters/_rels/slideMaster24.xml.rels><?xml version="1.0" encoding="UTF-8" standalone="yes"?>
<Relationships xmlns="http://schemas.openxmlformats.org/package/2006/relationships"><Relationship Id="rId13" Type="http://schemas.openxmlformats.org/officeDocument/2006/relationships/tags" Target="../tags/tag813.xml"/><Relationship Id="rId18" Type="http://schemas.openxmlformats.org/officeDocument/2006/relationships/tags" Target="../tags/tag818.xml"/><Relationship Id="rId26" Type="http://schemas.openxmlformats.org/officeDocument/2006/relationships/tags" Target="../tags/tag826.xml"/><Relationship Id="rId21" Type="http://schemas.openxmlformats.org/officeDocument/2006/relationships/tags" Target="../tags/tag821.xml"/><Relationship Id="rId34" Type="http://schemas.openxmlformats.org/officeDocument/2006/relationships/tags" Target="../tags/tag834.xml"/><Relationship Id="rId7" Type="http://schemas.openxmlformats.org/officeDocument/2006/relationships/tags" Target="../tags/tag807.xml"/><Relationship Id="rId12" Type="http://schemas.openxmlformats.org/officeDocument/2006/relationships/tags" Target="../tags/tag812.xml"/><Relationship Id="rId17" Type="http://schemas.openxmlformats.org/officeDocument/2006/relationships/tags" Target="../tags/tag817.xml"/><Relationship Id="rId25" Type="http://schemas.openxmlformats.org/officeDocument/2006/relationships/tags" Target="../tags/tag825.xml"/><Relationship Id="rId33" Type="http://schemas.openxmlformats.org/officeDocument/2006/relationships/tags" Target="../tags/tag833.xml"/><Relationship Id="rId2" Type="http://schemas.openxmlformats.org/officeDocument/2006/relationships/slideLayout" Target="../slideLayouts/slideLayout94.xml"/><Relationship Id="rId16" Type="http://schemas.openxmlformats.org/officeDocument/2006/relationships/tags" Target="../tags/tag816.xml"/><Relationship Id="rId20" Type="http://schemas.openxmlformats.org/officeDocument/2006/relationships/tags" Target="../tags/tag820.xml"/><Relationship Id="rId29" Type="http://schemas.openxmlformats.org/officeDocument/2006/relationships/tags" Target="../tags/tag829.xml"/><Relationship Id="rId1" Type="http://schemas.openxmlformats.org/officeDocument/2006/relationships/slideLayout" Target="../slideLayouts/slideLayout93.xml"/><Relationship Id="rId6" Type="http://schemas.openxmlformats.org/officeDocument/2006/relationships/vmlDrawing" Target="../drawings/vmlDrawing116.vml"/><Relationship Id="rId11" Type="http://schemas.openxmlformats.org/officeDocument/2006/relationships/tags" Target="../tags/tag811.xml"/><Relationship Id="rId24" Type="http://schemas.openxmlformats.org/officeDocument/2006/relationships/tags" Target="../tags/tag824.xml"/><Relationship Id="rId32" Type="http://schemas.openxmlformats.org/officeDocument/2006/relationships/tags" Target="../tags/tag832.xml"/><Relationship Id="rId37" Type="http://schemas.openxmlformats.org/officeDocument/2006/relationships/image" Target="../media/image1.emf"/><Relationship Id="rId5" Type="http://schemas.openxmlformats.org/officeDocument/2006/relationships/theme" Target="../theme/theme24.xml"/><Relationship Id="rId15" Type="http://schemas.openxmlformats.org/officeDocument/2006/relationships/tags" Target="../tags/tag815.xml"/><Relationship Id="rId23" Type="http://schemas.openxmlformats.org/officeDocument/2006/relationships/tags" Target="../tags/tag823.xml"/><Relationship Id="rId28" Type="http://schemas.openxmlformats.org/officeDocument/2006/relationships/tags" Target="../tags/tag828.xml"/><Relationship Id="rId36" Type="http://schemas.openxmlformats.org/officeDocument/2006/relationships/oleObject" Target="../embeddings/oleObject116.bin"/><Relationship Id="rId10" Type="http://schemas.openxmlformats.org/officeDocument/2006/relationships/tags" Target="../tags/tag810.xml"/><Relationship Id="rId19" Type="http://schemas.openxmlformats.org/officeDocument/2006/relationships/tags" Target="../tags/tag819.xml"/><Relationship Id="rId31" Type="http://schemas.openxmlformats.org/officeDocument/2006/relationships/tags" Target="../tags/tag831.xml"/><Relationship Id="rId4" Type="http://schemas.openxmlformats.org/officeDocument/2006/relationships/slideLayout" Target="../slideLayouts/slideLayout96.xml"/><Relationship Id="rId9" Type="http://schemas.openxmlformats.org/officeDocument/2006/relationships/tags" Target="../tags/tag809.xml"/><Relationship Id="rId14" Type="http://schemas.openxmlformats.org/officeDocument/2006/relationships/tags" Target="../tags/tag814.xml"/><Relationship Id="rId22" Type="http://schemas.openxmlformats.org/officeDocument/2006/relationships/tags" Target="../tags/tag822.xml"/><Relationship Id="rId27" Type="http://schemas.openxmlformats.org/officeDocument/2006/relationships/tags" Target="../tags/tag827.xml"/><Relationship Id="rId30" Type="http://schemas.openxmlformats.org/officeDocument/2006/relationships/tags" Target="../tags/tag830.xml"/><Relationship Id="rId35" Type="http://schemas.openxmlformats.org/officeDocument/2006/relationships/tags" Target="../tags/tag835.xml"/><Relationship Id="rId8" Type="http://schemas.openxmlformats.org/officeDocument/2006/relationships/tags" Target="../tags/tag808.xml"/><Relationship Id="rId3" Type="http://schemas.openxmlformats.org/officeDocument/2006/relationships/slideLayout" Target="../slideLayouts/slideLayout95.xml"/></Relationships>
</file>

<file path=ppt/slideMasters/_rels/slideMaster25.xml.rels><?xml version="1.0" encoding="UTF-8" standalone="yes"?>
<Relationships xmlns="http://schemas.openxmlformats.org/package/2006/relationships"><Relationship Id="rId13" Type="http://schemas.openxmlformats.org/officeDocument/2006/relationships/tags" Target="../tags/tag848.xml"/><Relationship Id="rId18" Type="http://schemas.openxmlformats.org/officeDocument/2006/relationships/tags" Target="../tags/tag853.xml"/><Relationship Id="rId26" Type="http://schemas.openxmlformats.org/officeDocument/2006/relationships/tags" Target="../tags/tag861.xml"/><Relationship Id="rId21" Type="http://schemas.openxmlformats.org/officeDocument/2006/relationships/tags" Target="../tags/tag856.xml"/><Relationship Id="rId34" Type="http://schemas.openxmlformats.org/officeDocument/2006/relationships/tags" Target="../tags/tag869.xml"/><Relationship Id="rId7" Type="http://schemas.openxmlformats.org/officeDocument/2006/relationships/tags" Target="../tags/tag842.xml"/><Relationship Id="rId12" Type="http://schemas.openxmlformats.org/officeDocument/2006/relationships/tags" Target="../tags/tag847.xml"/><Relationship Id="rId17" Type="http://schemas.openxmlformats.org/officeDocument/2006/relationships/tags" Target="../tags/tag852.xml"/><Relationship Id="rId25" Type="http://schemas.openxmlformats.org/officeDocument/2006/relationships/tags" Target="../tags/tag860.xml"/><Relationship Id="rId33" Type="http://schemas.openxmlformats.org/officeDocument/2006/relationships/tags" Target="../tags/tag868.xml"/><Relationship Id="rId2" Type="http://schemas.openxmlformats.org/officeDocument/2006/relationships/slideLayout" Target="../slideLayouts/slideLayout98.xml"/><Relationship Id="rId16" Type="http://schemas.openxmlformats.org/officeDocument/2006/relationships/tags" Target="../tags/tag851.xml"/><Relationship Id="rId20" Type="http://schemas.openxmlformats.org/officeDocument/2006/relationships/tags" Target="../tags/tag855.xml"/><Relationship Id="rId29" Type="http://schemas.openxmlformats.org/officeDocument/2006/relationships/tags" Target="../tags/tag864.xml"/><Relationship Id="rId1" Type="http://schemas.openxmlformats.org/officeDocument/2006/relationships/slideLayout" Target="../slideLayouts/slideLayout97.xml"/><Relationship Id="rId6" Type="http://schemas.openxmlformats.org/officeDocument/2006/relationships/vmlDrawing" Target="../drawings/vmlDrawing121.vml"/><Relationship Id="rId11" Type="http://schemas.openxmlformats.org/officeDocument/2006/relationships/tags" Target="../tags/tag846.xml"/><Relationship Id="rId24" Type="http://schemas.openxmlformats.org/officeDocument/2006/relationships/tags" Target="../tags/tag859.xml"/><Relationship Id="rId32" Type="http://schemas.openxmlformats.org/officeDocument/2006/relationships/tags" Target="../tags/tag867.xml"/><Relationship Id="rId37" Type="http://schemas.openxmlformats.org/officeDocument/2006/relationships/image" Target="../media/image1.emf"/><Relationship Id="rId5" Type="http://schemas.openxmlformats.org/officeDocument/2006/relationships/theme" Target="../theme/theme25.xml"/><Relationship Id="rId15" Type="http://schemas.openxmlformats.org/officeDocument/2006/relationships/tags" Target="../tags/tag850.xml"/><Relationship Id="rId23" Type="http://schemas.openxmlformats.org/officeDocument/2006/relationships/tags" Target="../tags/tag858.xml"/><Relationship Id="rId28" Type="http://schemas.openxmlformats.org/officeDocument/2006/relationships/tags" Target="../tags/tag863.xml"/><Relationship Id="rId36" Type="http://schemas.openxmlformats.org/officeDocument/2006/relationships/oleObject" Target="../embeddings/oleObject121.bin"/><Relationship Id="rId10" Type="http://schemas.openxmlformats.org/officeDocument/2006/relationships/tags" Target="../tags/tag845.xml"/><Relationship Id="rId19" Type="http://schemas.openxmlformats.org/officeDocument/2006/relationships/tags" Target="../tags/tag854.xml"/><Relationship Id="rId31" Type="http://schemas.openxmlformats.org/officeDocument/2006/relationships/tags" Target="../tags/tag866.xml"/><Relationship Id="rId4" Type="http://schemas.openxmlformats.org/officeDocument/2006/relationships/slideLayout" Target="../slideLayouts/slideLayout100.xml"/><Relationship Id="rId9" Type="http://schemas.openxmlformats.org/officeDocument/2006/relationships/tags" Target="../tags/tag844.xml"/><Relationship Id="rId14" Type="http://schemas.openxmlformats.org/officeDocument/2006/relationships/tags" Target="../tags/tag849.xml"/><Relationship Id="rId22" Type="http://schemas.openxmlformats.org/officeDocument/2006/relationships/tags" Target="../tags/tag857.xml"/><Relationship Id="rId27" Type="http://schemas.openxmlformats.org/officeDocument/2006/relationships/tags" Target="../tags/tag862.xml"/><Relationship Id="rId30" Type="http://schemas.openxmlformats.org/officeDocument/2006/relationships/tags" Target="../tags/tag865.xml"/><Relationship Id="rId35" Type="http://schemas.openxmlformats.org/officeDocument/2006/relationships/tags" Target="../tags/tag870.xml"/><Relationship Id="rId8" Type="http://schemas.openxmlformats.org/officeDocument/2006/relationships/tags" Target="../tags/tag843.xml"/><Relationship Id="rId3" Type="http://schemas.openxmlformats.org/officeDocument/2006/relationships/slideLayout" Target="../slideLayouts/slideLayout99.xml"/></Relationships>
</file>

<file path=ppt/slideMasters/_rels/slideMaster26.xml.rels><?xml version="1.0" encoding="UTF-8" standalone="yes"?>
<Relationships xmlns="http://schemas.openxmlformats.org/package/2006/relationships"><Relationship Id="rId13" Type="http://schemas.openxmlformats.org/officeDocument/2006/relationships/tags" Target="../tags/tag883.xml"/><Relationship Id="rId18" Type="http://schemas.openxmlformats.org/officeDocument/2006/relationships/tags" Target="../tags/tag888.xml"/><Relationship Id="rId26" Type="http://schemas.openxmlformats.org/officeDocument/2006/relationships/tags" Target="../tags/tag896.xml"/><Relationship Id="rId21" Type="http://schemas.openxmlformats.org/officeDocument/2006/relationships/tags" Target="../tags/tag891.xml"/><Relationship Id="rId34" Type="http://schemas.openxmlformats.org/officeDocument/2006/relationships/tags" Target="../tags/tag904.xml"/><Relationship Id="rId7" Type="http://schemas.openxmlformats.org/officeDocument/2006/relationships/tags" Target="../tags/tag877.xml"/><Relationship Id="rId12" Type="http://schemas.openxmlformats.org/officeDocument/2006/relationships/tags" Target="../tags/tag882.xml"/><Relationship Id="rId17" Type="http://schemas.openxmlformats.org/officeDocument/2006/relationships/tags" Target="../tags/tag887.xml"/><Relationship Id="rId25" Type="http://schemas.openxmlformats.org/officeDocument/2006/relationships/tags" Target="../tags/tag895.xml"/><Relationship Id="rId33" Type="http://schemas.openxmlformats.org/officeDocument/2006/relationships/tags" Target="../tags/tag903.xml"/><Relationship Id="rId2" Type="http://schemas.openxmlformats.org/officeDocument/2006/relationships/slideLayout" Target="../slideLayouts/slideLayout102.xml"/><Relationship Id="rId16" Type="http://schemas.openxmlformats.org/officeDocument/2006/relationships/tags" Target="../tags/tag886.xml"/><Relationship Id="rId20" Type="http://schemas.openxmlformats.org/officeDocument/2006/relationships/tags" Target="../tags/tag890.xml"/><Relationship Id="rId29" Type="http://schemas.openxmlformats.org/officeDocument/2006/relationships/tags" Target="../tags/tag899.xml"/><Relationship Id="rId1" Type="http://schemas.openxmlformats.org/officeDocument/2006/relationships/slideLayout" Target="../slideLayouts/slideLayout101.xml"/><Relationship Id="rId6" Type="http://schemas.openxmlformats.org/officeDocument/2006/relationships/vmlDrawing" Target="../drawings/vmlDrawing126.vml"/><Relationship Id="rId11" Type="http://schemas.openxmlformats.org/officeDocument/2006/relationships/tags" Target="../tags/tag881.xml"/><Relationship Id="rId24" Type="http://schemas.openxmlformats.org/officeDocument/2006/relationships/tags" Target="../tags/tag894.xml"/><Relationship Id="rId32" Type="http://schemas.openxmlformats.org/officeDocument/2006/relationships/tags" Target="../tags/tag902.xml"/><Relationship Id="rId37" Type="http://schemas.openxmlformats.org/officeDocument/2006/relationships/image" Target="../media/image1.emf"/><Relationship Id="rId5" Type="http://schemas.openxmlformats.org/officeDocument/2006/relationships/theme" Target="../theme/theme26.xml"/><Relationship Id="rId15" Type="http://schemas.openxmlformats.org/officeDocument/2006/relationships/tags" Target="../tags/tag885.xml"/><Relationship Id="rId23" Type="http://schemas.openxmlformats.org/officeDocument/2006/relationships/tags" Target="../tags/tag893.xml"/><Relationship Id="rId28" Type="http://schemas.openxmlformats.org/officeDocument/2006/relationships/tags" Target="../tags/tag898.xml"/><Relationship Id="rId36" Type="http://schemas.openxmlformats.org/officeDocument/2006/relationships/oleObject" Target="../embeddings/oleObject126.bin"/><Relationship Id="rId10" Type="http://schemas.openxmlformats.org/officeDocument/2006/relationships/tags" Target="../tags/tag880.xml"/><Relationship Id="rId19" Type="http://schemas.openxmlformats.org/officeDocument/2006/relationships/tags" Target="../tags/tag889.xml"/><Relationship Id="rId31" Type="http://schemas.openxmlformats.org/officeDocument/2006/relationships/tags" Target="../tags/tag901.xml"/><Relationship Id="rId4" Type="http://schemas.openxmlformats.org/officeDocument/2006/relationships/slideLayout" Target="../slideLayouts/slideLayout104.xml"/><Relationship Id="rId9" Type="http://schemas.openxmlformats.org/officeDocument/2006/relationships/tags" Target="../tags/tag879.xml"/><Relationship Id="rId14" Type="http://schemas.openxmlformats.org/officeDocument/2006/relationships/tags" Target="../tags/tag884.xml"/><Relationship Id="rId22" Type="http://schemas.openxmlformats.org/officeDocument/2006/relationships/tags" Target="../tags/tag892.xml"/><Relationship Id="rId27" Type="http://schemas.openxmlformats.org/officeDocument/2006/relationships/tags" Target="../tags/tag897.xml"/><Relationship Id="rId30" Type="http://schemas.openxmlformats.org/officeDocument/2006/relationships/tags" Target="../tags/tag900.xml"/><Relationship Id="rId35" Type="http://schemas.openxmlformats.org/officeDocument/2006/relationships/tags" Target="../tags/tag905.xml"/><Relationship Id="rId8" Type="http://schemas.openxmlformats.org/officeDocument/2006/relationships/tags" Target="../tags/tag878.xml"/><Relationship Id="rId3" Type="http://schemas.openxmlformats.org/officeDocument/2006/relationships/slideLayout" Target="../slideLayouts/slideLayout103.xml"/></Relationships>
</file>

<file path=ppt/slideMasters/_rels/slideMaster27.xml.rels><?xml version="1.0" encoding="UTF-8" standalone="yes"?>
<Relationships xmlns="http://schemas.openxmlformats.org/package/2006/relationships"><Relationship Id="rId13" Type="http://schemas.openxmlformats.org/officeDocument/2006/relationships/tags" Target="../tags/tag918.xml"/><Relationship Id="rId18" Type="http://schemas.openxmlformats.org/officeDocument/2006/relationships/tags" Target="../tags/tag923.xml"/><Relationship Id="rId26" Type="http://schemas.openxmlformats.org/officeDocument/2006/relationships/tags" Target="../tags/tag931.xml"/><Relationship Id="rId21" Type="http://schemas.openxmlformats.org/officeDocument/2006/relationships/tags" Target="../tags/tag926.xml"/><Relationship Id="rId34" Type="http://schemas.openxmlformats.org/officeDocument/2006/relationships/tags" Target="../tags/tag939.xml"/><Relationship Id="rId7" Type="http://schemas.openxmlformats.org/officeDocument/2006/relationships/tags" Target="../tags/tag912.xml"/><Relationship Id="rId12" Type="http://schemas.openxmlformats.org/officeDocument/2006/relationships/tags" Target="../tags/tag917.xml"/><Relationship Id="rId17" Type="http://schemas.openxmlformats.org/officeDocument/2006/relationships/tags" Target="../tags/tag922.xml"/><Relationship Id="rId25" Type="http://schemas.openxmlformats.org/officeDocument/2006/relationships/tags" Target="../tags/tag930.xml"/><Relationship Id="rId33" Type="http://schemas.openxmlformats.org/officeDocument/2006/relationships/tags" Target="../tags/tag938.xml"/><Relationship Id="rId2" Type="http://schemas.openxmlformats.org/officeDocument/2006/relationships/slideLayout" Target="../slideLayouts/slideLayout106.xml"/><Relationship Id="rId16" Type="http://schemas.openxmlformats.org/officeDocument/2006/relationships/tags" Target="../tags/tag921.xml"/><Relationship Id="rId20" Type="http://schemas.openxmlformats.org/officeDocument/2006/relationships/tags" Target="../tags/tag925.xml"/><Relationship Id="rId29" Type="http://schemas.openxmlformats.org/officeDocument/2006/relationships/tags" Target="../tags/tag934.xml"/><Relationship Id="rId1" Type="http://schemas.openxmlformats.org/officeDocument/2006/relationships/slideLayout" Target="../slideLayouts/slideLayout105.xml"/><Relationship Id="rId6" Type="http://schemas.openxmlformats.org/officeDocument/2006/relationships/vmlDrawing" Target="../drawings/vmlDrawing131.vml"/><Relationship Id="rId11" Type="http://schemas.openxmlformats.org/officeDocument/2006/relationships/tags" Target="../tags/tag916.xml"/><Relationship Id="rId24" Type="http://schemas.openxmlformats.org/officeDocument/2006/relationships/tags" Target="../tags/tag929.xml"/><Relationship Id="rId32" Type="http://schemas.openxmlformats.org/officeDocument/2006/relationships/tags" Target="../tags/tag937.xml"/><Relationship Id="rId37" Type="http://schemas.openxmlformats.org/officeDocument/2006/relationships/image" Target="../media/image1.emf"/><Relationship Id="rId5" Type="http://schemas.openxmlformats.org/officeDocument/2006/relationships/theme" Target="../theme/theme27.xml"/><Relationship Id="rId15" Type="http://schemas.openxmlformats.org/officeDocument/2006/relationships/tags" Target="../tags/tag920.xml"/><Relationship Id="rId23" Type="http://schemas.openxmlformats.org/officeDocument/2006/relationships/tags" Target="../tags/tag928.xml"/><Relationship Id="rId28" Type="http://schemas.openxmlformats.org/officeDocument/2006/relationships/tags" Target="../tags/tag933.xml"/><Relationship Id="rId36" Type="http://schemas.openxmlformats.org/officeDocument/2006/relationships/oleObject" Target="../embeddings/oleObject131.bin"/><Relationship Id="rId10" Type="http://schemas.openxmlformats.org/officeDocument/2006/relationships/tags" Target="../tags/tag915.xml"/><Relationship Id="rId19" Type="http://schemas.openxmlformats.org/officeDocument/2006/relationships/tags" Target="../tags/tag924.xml"/><Relationship Id="rId31" Type="http://schemas.openxmlformats.org/officeDocument/2006/relationships/tags" Target="../tags/tag936.xml"/><Relationship Id="rId4" Type="http://schemas.openxmlformats.org/officeDocument/2006/relationships/slideLayout" Target="../slideLayouts/slideLayout108.xml"/><Relationship Id="rId9" Type="http://schemas.openxmlformats.org/officeDocument/2006/relationships/tags" Target="../tags/tag914.xml"/><Relationship Id="rId14" Type="http://schemas.openxmlformats.org/officeDocument/2006/relationships/tags" Target="../tags/tag919.xml"/><Relationship Id="rId22" Type="http://schemas.openxmlformats.org/officeDocument/2006/relationships/tags" Target="../tags/tag927.xml"/><Relationship Id="rId27" Type="http://schemas.openxmlformats.org/officeDocument/2006/relationships/tags" Target="../tags/tag932.xml"/><Relationship Id="rId30" Type="http://schemas.openxmlformats.org/officeDocument/2006/relationships/tags" Target="../tags/tag935.xml"/><Relationship Id="rId35" Type="http://schemas.openxmlformats.org/officeDocument/2006/relationships/tags" Target="../tags/tag940.xml"/><Relationship Id="rId8" Type="http://schemas.openxmlformats.org/officeDocument/2006/relationships/tags" Target="../tags/tag913.xml"/><Relationship Id="rId3" Type="http://schemas.openxmlformats.org/officeDocument/2006/relationships/slideLayout" Target="../slideLayouts/slideLayout107.xml"/></Relationships>
</file>

<file path=ppt/slideMasters/_rels/slideMaster28.xml.rels><?xml version="1.0" encoding="UTF-8" standalone="yes"?>
<Relationships xmlns="http://schemas.openxmlformats.org/package/2006/relationships"><Relationship Id="rId13" Type="http://schemas.openxmlformats.org/officeDocument/2006/relationships/tags" Target="../tags/tag953.xml"/><Relationship Id="rId18" Type="http://schemas.openxmlformats.org/officeDocument/2006/relationships/tags" Target="../tags/tag958.xml"/><Relationship Id="rId26" Type="http://schemas.openxmlformats.org/officeDocument/2006/relationships/tags" Target="../tags/tag966.xml"/><Relationship Id="rId21" Type="http://schemas.openxmlformats.org/officeDocument/2006/relationships/tags" Target="../tags/tag961.xml"/><Relationship Id="rId34" Type="http://schemas.openxmlformats.org/officeDocument/2006/relationships/tags" Target="../tags/tag974.xml"/><Relationship Id="rId7" Type="http://schemas.openxmlformats.org/officeDocument/2006/relationships/tags" Target="../tags/tag947.xml"/><Relationship Id="rId12" Type="http://schemas.openxmlformats.org/officeDocument/2006/relationships/tags" Target="../tags/tag952.xml"/><Relationship Id="rId17" Type="http://schemas.openxmlformats.org/officeDocument/2006/relationships/tags" Target="../tags/tag957.xml"/><Relationship Id="rId25" Type="http://schemas.openxmlformats.org/officeDocument/2006/relationships/tags" Target="../tags/tag965.xml"/><Relationship Id="rId33" Type="http://schemas.openxmlformats.org/officeDocument/2006/relationships/tags" Target="../tags/tag973.xml"/><Relationship Id="rId2" Type="http://schemas.openxmlformats.org/officeDocument/2006/relationships/slideLayout" Target="../slideLayouts/slideLayout110.xml"/><Relationship Id="rId16" Type="http://schemas.openxmlformats.org/officeDocument/2006/relationships/tags" Target="../tags/tag956.xml"/><Relationship Id="rId20" Type="http://schemas.openxmlformats.org/officeDocument/2006/relationships/tags" Target="../tags/tag960.xml"/><Relationship Id="rId29" Type="http://schemas.openxmlformats.org/officeDocument/2006/relationships/tags" Target="../tags/tag969.xml"/><Relationship Id="rId1" Type="http://schemas.openxmlformats.org/officeDocument/2006/relationships/slideLayout" Target="../slideLayouts/slideLayout109.xml"/><Relationship Id="rId6" Type="http://schemas.openxmlformats.org/officeDocument/2006/relationships/vmlDrawing" Target="../drawings/vmlDrawing136.vml"/><Relationship Id="rId11" Type="http://schemas.openxmlformats.org/officeDocument/2006/relationships/tags" Target="../tags/tag951.xml"/><Relationship Id="rId24" Type="http://schemas.openxmlformats.org/officeDocument/2006/relationships/tags" Target="../tags/tag964.xml"/><Relationship Id="rId32" Type="http://schemas.openxmlformats.org/officeDocument/2006/relationships/tags" Target="../tags/tag972.xml"/><Relationship Id="rId37" Type="http://schemas.openxmlformats.org/officeDocument/2006/relationships/image" Target="../media/image1.emf"/><Relationship Id="rId5" Type="http://schemas.openxmlformats.org/officeDocument/2006/relationships/theme" Target="../theme/theme28.xml"/><Relationship Id="rId15" Type="http://schemas.openxmlformats.org/officeDocument/2006/relationships/tags" Target="../tags/tag955.xml"/><Relationship Id="rId23" Type="http://schemas.openxmlformats.org/officeDocument/2006/relationships/tags" Target="../tags/tag963.xml"/><Relationship Id="rId28" Type="http://schemas.openxmlformats.org/officeDocument/2006/relationships/tags" Target="../tags/tag968.xml"/><Relationship Id="rId36" Type="http://schemas.openxmlformats.org/officeDocument/2006/relationships/oleObject" Target="../embeddings/oleObject136.bin"/><Relationship Id="rId10" Type="http://schemas.openxmlformats.org/officeDocument/2006/relationships/tags" Target="../tags/tag950.xml"/><Relationship Id="rId19" Type="http://schemas.openxmlformats.org/officeDocument/2006/relationships/tags" Target="../tags/tag959.xml"/><Relationship Id="rId31" Type="http://schemas.openxmlformats.org/officeDocument/2006/relationships/tags" Target="../tags/tag971.xml"/><Relationship Id="rId4" Type="http://schemas.openxmlformats.org/officeDocument/2006/relationships/slideLayout" Target="../slideLayouts/slideLayout112.xml"/><Relationship Id="rId9" Type="http://schemas.openxmlformats.org/officeDocument/2006/relationships/tags" Target="../tags/tag949.xml"/><Relationship Id="rId14" Type="http://schemas.openxmlformats.org/officeDocument/2006/relationships/tags" Target="../tags/tag954.xml"/><Relationship Id="rId22" Type="http://schemas.openxmlformats.org/officeDocument/2006/relationships/tags" Target="../tags/tag962.xml"/><Relationship Id="rId27" Type="http://schemas.openxmlformats.org/officeDocument/2006/relationships/tags" Target="../tags/tag967.xml"/><Relationship Id="rId30" Type="http://schemas.openxmlformats.org/officeDocument/2006/relationships/tags" Target="../tags/tag970.xml"/><Relationship Id="rId35" Type="http://schemas.openxmlformats.org/officeDocument/2006/relationships/tags" Target="../tags/tag975.xml"/><Relationship Id="rId8" Type="http://schemas.openxmlformats.org/officeDocument/2006/relationships/tags" Target="../tags/tag948.xml"/><Relationship Id="rId3" Type="http://schemas.openxmlformats.org/officeDocument/2006/relationships/slideLayout" Target="../slideLayouts/slideLayout111.xml"/></Relationships>
</file>

<file path=ppt/slideMasters/_rels/slideMaster29.xml.rels><?xml version="1.0" encoding="UTF-8" standalone="yes"?>
<Relationships xmlns="http://schemas.openxmlformats.org/package/2006/relationships"><Relationship Id="rId13" Type="http://schemas.openxmlformats.org/officeDocument/2006/relationships/tags" Target="../tags/tag988.xml"/><Relationship Id="rId18" Type="http://schemas.openxmlformats.org/officeDocument/2006/relationships/tags" Target="../tags/tag993.xml"/><Relationship Id="rId26" Type="http://schemas.openxmlformats.org/officeDocument/2006/relationships/tags" Target="../tags/tag1001.xml"/><Relationship Id="rId21" Type="http://schemas.openxmlformats.org/officeDocument/2006/relationships/tags" Target="../tags/tag996.xml"/><Relationship Id="rId34" Type="http://schemas.openxmlformats.org/officeDocument/2006/relationships/tags" Target="../tags/tag1009.xml"/><Relationship Id="rId7" Type="http://schemas.openxmlformats.org/officeDocument/2006/relationships/tags" Target="../tags/tag982.xml"/><Relationship Id="rId12" Type="http://schemas.openxmlformats.org/officeDocument/2006/relationships/tags" Target="../tags/tag987.xml"/><Relationship Id="rId17" Type="http://schemas.openxmlformats.org/officeDocument/2006/relationships/tags" Target="../tags/tag992.xml"/><Relationship Id="rId25" Type="http://schemas.openxmlformats.org/officeDocument/2006/relationships/tags" Target="../tags/tag1000.xml"/><Relationship Id="rId33" Type="http://schemas.openxmlformats.org/officeDocument/2006/relationships/tags" Target="../tags/tag1008.xml"/><Relationship Id="rId2" Type="http://schemas.openxmlformats.org/officeDocument/2006/relationships/slideLayout" Target="../slideLayouts/slideLayout114.xml"/><Relationship Id="rId16" Type="http://schemas.openxmlformats.org/officeDocument/2006/relationships/tags" Target="../tags/tag991.xml"/><Relationship Id="rId20" Type="http://schemas.openxmlformats.org/officeDocument/2006/relationships/tags" Target="../tags/tag995.xml"/><Relationship Id="rId29" Type="http://schemas.openxmlformats.org/officeDocument/2006/relationships/tags" Target="../tags/tag1004.xml"/><Relationship Id="rId1" Type="http://schemas.openxmlformats.org/officeDocument/2006/relationships/slideLayout" Target="../slideLayouts/slideLayout113.xml"/><Relationship Id="rId6" Type="http://schemas.openxmlformats.org/officeDocument/2006/relationships/vmlDrawing" Target="../drawings/vmlDrawing141.vml"/><Relationship Id="rId11" Type="http://schemas.openxmlformats.org/officeDocument/2006/relationships/tags" Target="../tags/tag986.xml"/><Relationship Id="rId24" Type="http://schemas.openxmlformats.org/officeDocument/2006/relationships/tags" Target="../tags/tag999.xml"/><Relationship Id="rId32" Type="http://schemas.openxmlformats.org/officeDocument/2006/relationships/tags" Target="../tags/tag1007.xml"/><Relationship Id="rId37" Type="http://schemas.openxmlformats.org/officeDocument/2006/relationships/image" Target="../media/image1.emf"/><Relationship Id="rId5" Type="http://schemas.openxmlformats.org/officeDocument/2006/relationships/theme" Target="../theme/theme29.xml"/><Relationship Id="rId15" Type="http://schemas.openxmlformats.org/officeDocument/2006/relationships/tags" Target="../tags/tag990.xml"/><Relationship Id="rId23" Type="http://schemas.openxmlformats.org/officeDocument/2006/relationships/tags" Target="../tags/tag998.xml"/><Relationship Id="rId28" Type="http://schemas.openxmlformats.org/officeDocument/2006/relationships/tags" Target="../tags/tag1003.xml"/><Relationship Id="rId36" Type="http://schemas.openxmlformats.org/officeDocument/2006/relationships/oleObject" Target="../embeddings/oleObject141.bin"/><Relationship Id="rId10" Type="http://schemas.openxmlformats.org/officeDocument/2006/relationships/tags" Target="../tags/tag985.xml"/><Relationship Id="rId19" Type="http://schemas.openxmlformats.org/officeDocument/2006/relationships/tags" Target="../tags/tag994.xml"/><Relationship Id="rId31" Type="http://schemas.openxmlformats.org/officeDocument/2006/relationships/tags" Target="../tags/tag1006.xml"/><Relationship Id="rId4" Type="http://schemas.openxmlformats.org/officeDocument/2006/relationships/slideLayout" Target="../slideLayouts/slideLayout116.xml"/><Relationship Id="rId9" Type="http://schemas.openxmlformats.org/officeDocument/2006/relationships/tags" Target="../tags/tag984.xml"/><Relationship Id="rId14" Type="http://schemas.openxmlformats.org/officeDocument/2006/relationships/tags" Target="../tags/tag989.xml"/><Relationship Id="rId22" Type="http://schemas.openxmlformats.org/officeDocument/2006/relationships/tags" Target="../tags/tag997.xml"/><Relationship Id="rId27" Type="http://schemas.openxmlformats.org/officeDocument/2006/relationships/tags" Target="../tags/tag1002.xml"/><Relationship Id="rId30" Type="http://schemas.openxmlformats.org/officeDocument/2006/relationships/tags" Target="../tags/tag1005.xml"/><Relationship Id="rId35" Type="http://schemas.openxmlformats.org/officeDocument/2006/relationships/tags" Target="../tags/tag1010.xml"/><Relationship Id="rId8" Type="http://schemas.openxmlformats.org/officeDocument/2006/relationships/tags" Target="../tags/tag983.xml"/><Relationship Id="rId3" Type="http://schemas.openxmlformats.org/officeDocument/2006/relationships/slideLayout" Target="../slideLayouts/slideLayout115.xml"/></Relationships>
</file>

<file path=ppt/slideMasters/_rels/slideMaster3.xml.rels><?xml version="1.0" encoding="UTF-8" standalone="yes"?>
<Relationships xmlns="http://schemas.openxmlformats.org/package/2006/relationships"><Relationship Id="rId13" Type="http://schemas.openxmlformats.org/officeDocument/2006/relationships/tags" Target="../tags/tag78.xml"/><Relationship Id="rId18" Type="http://schemas.openxmlformats.org/officeDocument/2006/relationships/tags" Target="../tags/tag83.xml"/><Relationship Id="rId26" Type="http://schemas.openxmlformats.org/officeDocument/2006/relationships/tags" Target="../tags/tag91.xml"/><Relationship Id="rId21" Type="http://schemas.openxmlformats.org/officeDocument/2006/relationships/tags" Target="../tags/tag86.xml"/><Relationship Id="rId34" Type="http://schemas.openxmlformats.org/officeDocument/2006/relationships/tags" Target="../tags/tag99.xml"/><Relationship Id="rId7" Type="http://schemas.openxmlformats.org/officeDocument/2006/relationships/tags" Target="../tags/tag72.xml"/><Relationship Id="rId12" Type="http://schemas.openxmlformats.org/officeDocument/2006/relationships/tags" Target="../tags/tag77.xml"/><Relationship Id="rId17" Type="http://schemas.openxmlformats.org/officeDocument/2006/relationships/tags" Target="../tags/tag82.xml"/><Relationship Id="rId25" Type="http://schemas.openxmlformats.org/officeDocument/2006/relationships/tags" Target="../tags/tag90.xml"/><Relationship Id="rId33" Type="http://schemas.openxmlformats.org/officeDocument/2006/relationships/tags" Target="../tags/tag98.xml"/><Relationship Id="rId2" Type="http://schemas.openxmlformats.org/officeDocument/2006/relationships/slideLayout" Target="../slideLayouts/slideLayout10.xml"/><Relationship Id="rId16" Type="http://schemas.openxmlformats.org/officeDocument/2006/relationships/tags" Target="../tags/tag81.xml"/><Relationship Id="rId20" Type="http://schemas.openxmlformats.org/officeDocument/2006/relationships/tags" Target="../tags/tag85.xml"/><Relationship Id="rId29" Type="http://schemas.openxmlformats.org/officeDocument/2006/relationships/tags" Target="../tags/tag94.xml"/><Relationship Id="rId1" Type="http://schemas.openxmlformats.org/officeDocument/2006/relationships/slideLayout" Target="../slideLayouts/slideLayout9.xml"/><Relationship Id="rId6" Type="http://schemas.openxmlformats.org/officeDocument/2006/relationships/vmlDrawing" Target="../drawings/vmlDrawing11.vml"/><Relationship Id="rId11" Type="http://schemas.openxmlformats.org/officeDocument/2006/relationships/tags" Target="../tags/tag76.xml"/><Relationship Id="rId24" Type="http://schemas.openxmlformats.org/officeDocument/2006/relationships/tags" Target="../tags/tag89.xml"/><Relationship Id="rId32" Type="http://schemas.openxmlformats.org/officeDocument/2006/relationships/tags" Target="../tags/tag97.xml"/><Relationship Id="rId37" Type="http://schemas.openxmlformats.org/officeDocument/2006/relationships/image" Target="../media/image1.emf"/><Relationship Id="rId5" Type="http://schemas.openxmlformats.org/officeDocument/2006/relationships/theme" Target="../theme/theme3.xml"/><Relationship Id="rId15" Type="http://schemas.openxmlformats.org/officeDocument/2006/relationships/tags" Target="../tags/tag80.xml"/><Relationship Id="rId23" Type="http://schemas.openxmlformats.org/officeDocument/2006/relationships/tags" Target="../tags/tag88.xml"/><Relationship Id="rId28" Type="http://schemas.openxmlformats.org/officeDocument/2006/relationships/tags" Target="../tags/tag93.xml"/><Relationship Id="rId36" Type="http://schemas.openxmlformats.org/officeDocument/2006/relationships/oleObject" Target="../embeddings/oleObject11.bin"/><Relationship Id="rId10" Type="http://schemas.openxmlformats.org/officeDocument/2006/relationships/tags" Target="../tags/tag75.xml"/><Relationship Id="rId19" Type="http://schemas.openxmlformats.org/officeDocument/2006/relationships/tags" Target="../tags/tag84.xml"/><Relationship Id="rId31" Type="http://schemas.openxmlformats.org/officeDocument/2006/relationships/tags" Target="../tags/tag96.xml"/><Relationship Id="rId4" Type="http://schemas.openxmlformats.org/officeDocument/2006/relationships/slideLayout" Target="../slideLayouts/slideLayout12.xml"/><Relationship Id="rId9" Type="http://schemas.openxmlformats.org/officeDocument/2006/relationships/tags" Target="../tags/tag74.xml"/><Relationship Id="rId14" Type="http://schemas.openxmlformats.org/officeDocument/2006/relationships/tags" Target="../tags/tag79.xml"/><Relationship Id="rId22" Type="http://schemas.openxmlformats.org/officeDocument/2006/relationships/tags" Target="../tags/tag87.xml"/><Relationship Id="rId27" Type="http://schemas.openxmlformats.org/officeDocument/2006/relationships/tags" Target="../tags/tag92.xml"/><Relationship Id="rId30" Type="http://schemas.openxmlformats.org/officeDocument/2006/relationships/tags" Target="../tags/tag95.xml"/><Relationship Id="rId35" Type="http://schemas.openxmlformats.org/officeDocument/2006/relationships/tags" Target="../tags/tag100.xml"/><Relationship Id="rId8" Type="http://schemas.openxmlformats.org/officeDocument/2006/relationships/tags" Target="../tags/tag73.xml"/><Relationship Id="rId3" Type="http://schemas.openxmlformats.org/officeDocument/2006/relationships/slideLayout" Target="../slideLayouts/slideLayout11.xml"/></Relationships>
</file>

<file path=ppt/slideMasters/_rels/slideMaster30.xml.rels><?xml version="1.0" encoding="UTF-8" standalone="yes"?>
<Relationships xmlns="http://schemas.openxmlformats.org/package/2006/relationships"><Relationship Id="rId13" Type="http://schemas.openxmlformats.org/officeDocument/2006/relationships/tags" Target="../tags/tag1023.xml"/><Relationship Id="rId18" Type="http://schemas.openxmlformats.org/officeDocument/2006/relationships/tags" Target="../tags/tag1028.xml"/><Relationship Id="rId26" Type="http://schemas.openxmlformats.org/officeDocument/2006/relationships/tags" Target="../tags/tag1036.xml"/><Relationship Id="rId21" Type="http://schemas.openxmlformats.org/officeDocument/2006/relationships/tags" Target="../tags/tag1031.xml"/><Relationship Id="rId34" Type="http://schemas.openxmlformats.org/officeDocument/2006/relationships/tags" Target="../tags/tag1044.xml"/><Relationship Id="rId7" Type="http://schemas.openxmlformats.org/officeDocument/2006/relationships/tags" Target="../tags/tag1017.xml"/><Relationship Id="rId12" Type="http://schemas.openxmlformats.org/officeDocument/2006/relationships/tags" Target="../tags/tag1022.xml"/><Relationship Id="rId17" Type="http://schemas.openxmlformats.org/officeDocument/2006/relationships/tags" Target="../tags/tag1027.xml"/><Relationship Id="rId25" Type="http://schemas.openxmlformats.org/officeDocument/2006/relationships/tags" Target="../tags/tag1035.xml"/><Relationship Id="rId33" Type="http://schemas.openxmlformats.org/officeDocument/2006/relationships/tags" Target="../tags/tag1043.xml"/><Relationship Id="rId2" Type="http://schemas.openxmlformats.org/officeDocument/2006/relationships/slideLayout" Target="../slideLayouts/slideLayout118.xml"/><Relationship Id="rId16" Type="http://schemas.openxmlformats.org/officeDocument/2006/relationships/tags" Target="../tags/tag1026.xml"/><Relationship Id="rId20" Type="http://schemas.openxmlformats.org/officeDocument/2006/relationships/tags" Target="../tags/tag1030.xml"/><Relationship Id="rId29" Type="http://schemas.openxmlformats.org/officeDocument/2006/relationships/tags" Target="../tags/tag1039.xml"/><Relationship Id="rId1" Type="http://schemas.openxmlformats.org/officeDocument/2006/relationships/slideLayout" Target="../slideLayouts/slideLayout117.xml"/><Relationship Id="rId6" Type="http://schemas.openxmlformats.org/officeDocument/2006/relationships/vmlDrawing" Target="../drawings/vmlDrawing146.vml"/><Relationship Id="rId11" Type="http://schemas.openxmlformats.org/officeDocument/2006/relationships/tags" Target="../tags/tag1021.xml"/><Relationship Id="rId24" Type="http://schemas.openxmlformats.org/officeDocument/2006/relationships/tags" Target="../tags/tag1034.xml"/><Relationship Id="rId32" Type="http://schemas.openxmlformats.org/officeDocument/2006/relationships/tags" Target="../tags/tag1042.xml"/><Relationship Id="rId37" Type="http://schemas.openxmlformats.org/officeDocument/2006/relationships/image" Target="../media/image1.emf"/><Relationship Id="rId5" Type="http://schemas.openxmlformats.org/officeDocument/2006/relationships/theme" Target="../theme/theme30.xml"/><Relationship Id="rId15" Type="http://schemas.openxmlformats.org/officeDocument/2006/relationships/tags" Target="../tags/tag1025.xml"/><Relationship Id="rId23" Type="http://schemas.openxmlformats.org/officeDocument/2006/relationships/tags" Target="../tags/tag1033.xml"/><Relationship Id="rId28" Type="http://schemas.openxmlformats.org/officeDocument/2006/relationships/tags" Target="../tags/tag1038.xml"/><Relationship Id="rId36" Type="http://schemas.openxmlformats.org/officeDocument/2006/relationships/oleObject" Target="../embeddings/oleObject146.bin"/><Relationship Id="rId10" Type="http://schemas.openxmlformats.org/officeDocument/2006/relationships/tags" Target="../tags/tag1020.xml"/><Relationship Id="rId19" Type="http://schemas.openxmlformats.org/officeDocument/2006/relationships/tags" Target="../tags/tag1029.xml"/><Relationship Id="rId31" Type="http://schemas.openxmlformats.org/officeDocument/2006/relationships/tags" Target="../tags/tag1041.xml"/><Relationship Id="rId4" Type="http://schemas.openxmlformats.org/officeDocument/2006/relationships/slideLayout" Target="../slideLayouts/slideLayout120.xml"/><Relationship Id="rId9" Type="http://schemas.openxmlformats.org/officeDocument/2006/relationships/tags" Target="../tags/tag1019.xml"/><Relationship Id="rId14" Type="http://schemas.openxmlformats.org/officeDocument/2006/relationships/tags" Target="../tags/tag1024.xml"/><Relationship Id="rId22" Type="http://schemas.openxmlformats.org/officeDocument/2006/relationships/tags" Target="../tags/tag1032.xml"/><Relationship Id="rId27" Type="http://schemas.openxmlformats.org/officeDocument/2006/relationships/tags" Target="../tags/tag1037.xml"/><Relationship Id="rId30" Type="http://schemas.openxmlformats.org/officeDocument/2006/relationships/tags" Target="../tags/tag1040.xml"/><Relationship Id="rId35" Type="http://schemas.openxmlformats.org/officeDocument/2006/relationships/tags" Target="../tags/tag1045.xml"/><Relationship Id="rId8" Type="http://schemas.openxmlformats.org/officeDocument/2006/relationships/tags" Target="../tags/tag1018.xml"/><Relationship Id="rId3" Type="http://schemas.openxmlformats.org/officeDocument/2006/relationships/slideLayout" Target="../slideLayouts/slideLayout119.xml"/></Relationships>
</file>

<file path=ppt/slideMasters/_rels/slideMaster31.xml.rels><?xml version="1.0" encoding="UTF-8" standalone="yes"?>
<Relationships xmlns="http://schemas.openxmlformats.org/package/2006/relationships"><Relationship Id="rId13" Type="http://schemas.openxmlformats.org/officeDocument/2006/relationships/tags" Target="../tags/tag1058.xml"/><Relationship Id="rId18" Type="http://schemas.openxmlformats.org/officeDocument/2006/relationships/tags" Target="../tags/tag1063.xml"/><Relationship Id="rId26" Type="http://schemas.openxmlformats.org/officeDocument/2006/relationships/tags" Target="../tags/tag1071.xml"/><Relationship Id="rId21" Type="http://schemas.openxmlformats.org/officeDocument/2006/relationships/tags" Target="../tags/tag1066.xml"/><Relationship Id="rId34" Type="http://schemas.openxmlformats.org/officeDocument/2006/relationships/tags" Target="../tags/tag1079.xml"/><Relationship Id="rId7" Type="http://schemas.openxmlformats.org/officeDocument/2006/relationships/tags" Target="../tags/tag1052.xml"/><Relationship Id="rId12" Type="http://schemas.openxmlformats.org/officeDocument/2006/relationships/tags" Target="../tags/tag1057.xml"/><Relationship Id="rId17" Type="http://schemas.openxmlformats.org/officeDocument/2006/relationships/tags" Target="../tags/tag1062.xml"/><Relationship Id="rId25" Type="http://schemas.openxmlformats.org/officeDocument/2006/relationships/tags" Target="../tags/tag1070.xml"/><Relationship Id="rId33" Type="http://schemas.openxmlformats.org/officeDocument/2006/relationships/tags" Target="../tags/tag1078.xml"/><Relationship Id="rId2" Type="http://schemas.openxmlformats.org/officeDocument/2006/relationships/slideLayout" Target="../slideLayouts/slideLayout122.xml"/><Relationship Id="rId16" Type="http://schemas.openxmlformats.org/officeDocument/2006/relationships/tags" Target="../tags/tag1061.xml"/><Relationship Id="rId20" Type="http://schemas.openxmlformats.org/officeDocument/2006/relationships/tags" Target="../tags/tag1065.xml"/><Relationship Id="rId29" Type="http://schemas.openxmlformats.org/officeDocument/2006/relationships/tags" Target="../tags/tag1074.xml"/><Relationship Id="rId1" Type="http://schemas.openxmlformats.org/officeDocument/2006/relationships/slideLayout" Target="../slideLayouts/slideLayout121.xml"/><Relationship Id="rId6" Type="http://schemas.openxmlformats.org/officeDocument/2006/relationships/vmlDrawing" Target="../drawings/vmlDrawing151.vml"/><Relationship Id="rId11" Type="http://schemas.openxmlformats.org/officeDocument/2006/relationships/tags" Target="../tags/tag1056.xml"/><Relationship Id="rId24" Type="http://schemas.openxmlformats.org/officeDocument/2006/relationships/tags" Target="../tags/tag1069.xml"/><Relationship Id="rId32" Type="http://schemas.openxmlformats.org/officeDocument/2006/relationships/tags" Target="../tags/tag1077.xml"/><Relationship Id="rId37" Type="http://schemas.openxmlformats.org/officeDocument/2006/relationships/image" Target="../media/image1.emf"/><Relationship Id="rId5" Type="http://schemas.openxmlformats.org/officeDocument/2006/relationships/theme" Target="../theme/theme31.xml"/><Relationship Id="rId15" Type="http://schemas.openxmlformats.org/officeDocument/2006/relationships/tags" Target="../tags/tag1060.xml"/><Relationship Id="rId23" Type="http://schemas.openxmlformats.org/officeDocument/2006/relationships/tags" Target="../tags/tag1068.xml"/><Relationship Id="rId28" Type="http://schemas.openxmlformats.org/officeDocument/2006/relationships/tags" Target="../tags/tag1073.xml"/><Relationship Id="rId36" Type="http://schemas.openxmlformats.org/officeDocument/2006/relationships/oleObject" Target="../embeddings/oleObject151.bin"/><Relationship Id="rId10" Type="http://schemas.openxmlformats.org/officeDocument/2006/relationships/tags" Target="../tags/tag1055.xml"/><Relationship Id="rId19" Type="http://schemas.openxmlformats.org/officeDocument/2006/relationships/tags" Target="../tags/tag1064.xml"/><Relationship Id="rId31" Type="http://schemas.openxmlformats.org/officeDocument/2006/relationships/tags" Target="../tags/tag1076.xml"/><Relationship Id="rId4" Type="http://schemas.openxmlformats.org/officeDocument/2006/relationships/slideLayout" Target="../slideLayouts/slideLayout124.xml"/><Relationship Id="rId9" Type="http://schemas.openxmlformats.org/officeDocument/2006/relationships/tags" Target="../tags/tag1054.xml"/><Relationship Id="rId14" Type="http://schemas.openxmlformats.org/officeDocument/2006/relationships/tags" Target="../tags/tag1059.xml"/><Relationship Id="rId22" Type="http://schemas.openxmlformats.org/officeDocument/2006/relationships/tags" Target="../tags/tag1067.xml"/><Relationship Id="rId27" Type="http://schemas.openxmlformats.org/officeDocument/2006/relationships/tags" Target="../tags/tag1072.xml"/><Relationship Id="rId30" Type="http://schemas.openxmlformats.org/officeDocument/2006/relationships/tags" Target="../tags/tag1075.xml"/><Relationship Id="rId35" Type="http://schemas.openxmlformats.org/officeDocument/2006/relationships/tags" Target="../tags/tag1080.xml"/><Relationship Id="rId8" Type="http://schemas.openxmlformats.org/officeDocument/2006/relationships/tags" Target="../tags/tag1053.xml"/><Relationship Id="rId3" Type="http://schemas.openxmlformats.org/officeDocument/2006/relationships/slideLayout" Target="../slideLayouts/slideLayout123.xml"/></Relationships>
</file>

<file path=ppt/slideMasters/_rels/slideMaster32.xml.rels><?xml version="1.0" encoding="UTF-8" standalone="yes"?>
<Relationships xmlns="http://schemas.openxmlformats.org/package/2006/relationships"><Relationship Id="rId13" Type="http://schemas.openxmlformats.org/officeDocument/2006/relationships/tags" Target="../tags/tag1093.xml"/><Relationship Id="rId18" Type="http://schemas.openxmlformats.org/officeDocument/2006/relationships/tags" Target="../tags/tag1098.xml"/><Relationship Id="rId26" Type="http://schemas.openxmlformats.org/officeDocument/2006/relationships/tags" Target="../tags/tag1106.xml"/><Relationship Id="rId21" Type="http://schemas.openxmlformats.org/officeDocument/2006/relationships/tags" Target="../tags/tag1101.xml"/><Relationship Id="rId34" Type="http://schemas.openxmlformats.org/officeDocument/2006/relationships/tags" Target="../tags/tag1114.xml"/><Relationship Id="rId7" Type="http://schemas.openxmlformats.org/officeDocument/2006/relationships/tags" Target="../tags/tag1087.xml"/><Relationship Id="rId12" Type="http://schemas.openxmlformats.org/officeDocument/2006/relationships/tags" Target="../tags/tag1092.xml"/><Relationship Id="rId17" Type="http://schemas.openxmlformats.org/officeDocument/2006/relationships/tags" Target="../tags/tag1097.xml"/><Relationship Id="rId25" Type="http://schemas.openxmlformats.org/officeDocument/2006/relationships/tags" Target="../tags/tag1105.xml"/><Relationship Id="rId33" Type="http://schemas.openxmlformats.org/officeDocument/2006/relationships/tags" Target="../tags/tag1113.xml"/><Relationship Id="rId2" Type="http://schemas.openxmlformats.org/officeDocument/2006/relationships/slideLayout" Target="../slideLayouts/slideLayout126.xml"/><Relationship Id="rId16" Type="http://schemas.openxmlformats.org/officeDocument/2006/relationships/tags" Target="../tags/tag1096.xml"/><Relationship Id="rId20" Type="http://schemas.openxmlformats.org/officeDocument/2006/relationships/tags" Target="../tags/tag1100.xml"/><Relationship Id="rId29" Type="http://schemas.openxmlformats.org/officeDocument/2006/relationships/tags" Target="../tags/tag1109.xml"/><Relationship Id="rId1" Type="http://schemas.openxmlformats.org/officeDocument/2006/relationships/slideLayout" Target="../slideLayouts/slideLayout125.xml"/><Relationship Id="rId6" Type="http://schemas.openxmlformats.org/officeDocument/2006/relationships/vmlDrawing" Target="../drawings/vmlDrawing156.vml"/><Relationship Id="rId11" Type="http://schemas.openxmlformats.org/officeDocument/2006/relationships/tags" Target="../tags/tag1091.xml"/><Relationship Id="rId24" Type="http://schemas.openxmlformats.org/officeDocument/2006/relationships/tags" Target="../tags/tag1104.xml"/><Relationship Id="rId32" Type="http://schemas.openxmlformats.org/officeDocument/2006/relationships/tags" Target="../tags/tag1112.xml"/><Relationship Id="rId37" Type="http://schemas.openxmlformats.org/officeDocument/2006/relationships/image" Target="../media/image1.emf"/><Relationship Id="rId5" Type="http://schemas.openxmlformats.org/officeDocument/2006/relationships/theme" Target="../theme/theme32.xml"/><Relationship Id="rId15" Type="http://schemas.openxmlformats.org/officeDocument/2006/relationships/tags" Target="../tags/tag1095.xml"/><Relationship Id="rId23" Type="http://schemas.openxmlformats.org/officeDocument/2006/relationships/tags" Target="../tags/tag1103.xml"/><Relationship Id="rId28" Type="http://schemas.openxmlformats.org/officeDocument/2006/relationships/tags" Target="../tags/tag1108.xml"/><Relationship Id="rId36" Type="http://schemas.openxmlformats.org/officeDocument/2006/relationships/oleObject" Target="../embeddings/oleObject156.bin"/><Relationship Id="rId10" Type="http://schemas.openxmlformats.org/officeDocument/2006/relationships/tags" Target="../tags/tag1090.xml"/><Relationship Id="rId19" Type="http://schemas.openxmlformats.org/officeDocument/2006/relationships/tags" Target="../tags/tag1099.xml"/><Relationship Id="rId31" Type="http://schemas.openxmlformats.org/officeDocument/2006/relationships/tags" Target="../tags/tag1111.xml"/><Relationship Id="rId4" Type="http://schemas.openxmlformats.org/officeDocument/2006/relationships/slideLayout" Target="../slideLayouts/slideLayout128.xml"/><Relationship Id="rId9" Type="http://schemas.openxmlformats.org/officeDocument/2006/relationships/tags" Target="../tags/tag1089.xml"/><Relationship Id="rId14" Type="http://schemas.openxmlformats.org/officeDocument/2006/relationships/tags" Target="../tags/tag1094.xml"/><Relationship Id="rId22" Type="http://schemas.openxmlformats.org/officeDocument/2006/relationships/tags" Target="../tags/tag1102.xml"/><Relationship Id="rId27" Type="http://schemas.openxmlformats.org/officeDocument/2006/relationships/tags" Target="../tags/tag1107.xml"/><Relationship Id="rId30" Type="http://schemas.openxmlformats.org/officeDocument/2006/relationships/tags" Target="../tags/tag1110.xml"/><Relationship Id="rId35" Type="http://schemas.openxmlformats.org/officeDocument/2006/relationships/tags" Target="../tags/tag1115.xml"/><Relationship Id="rId8" Type="http://schemas.openxmlformats.org/officeDocument/2006/relationships/tags" Target="../tags/tag1088.xml"/><Relationship Id="rId3" Type="http://schemas.openxmlformats.org/officeDocument/2006/relationships/slideLayout" Target="../slideLayouts/slideLayout127.xml"/></Relationships>
</file>

<file path=ppt/slideMasters/_rels/slideMaster33.xml.rels><?xml version="1.0" encoding="UTF-8" standalone="yes"?>
<Relationships xmlns="http://schemas.openxmlformats.org/package/2006/relationships"><Relationship Id="rId13" Type="http://schemas.openxmlformats.org/officeDocument/2006/relationships/tags" Target="../tags/tag1129.xml"/><Relationship Id="rId18" Type="http://schemas.openxmlformats.org/officeDocument/2006/relationships/tags" Target="../tags/tag1134.xml"/><Relationship Id="rId26" Type="http://schemas.openxmlformats.org/officeDocument/2006/relationships/tags" Target="../tags/tag1142.xml"/><Relationship Id="rId3" Type="http://schemas.openxmlformats.org/officeDocument/2006/relationships/slideLayout" Target="../slideLayouts/slideLayout131.xml"/><Relationship Id="rId21" Type="http://schemas.openxmlformats.org/officeDocument/2006/relationships/tags" Target="../tags/tag1137.xml"/><Relationship Id="rId34" Type="http://schemas.openxmlformats.org/officeDocument/2006/relationships/tags" Target="../tags/tag1150.xml"/><Relationship Id="rId7" Type="http://schemas.openxmlformats.org/officeDocument/2006/relationships/tags" Target="../tags/tag1123.xml"/><Relationship Id="rId12" Type="http://schemas.openxmlformats.org/officeDocument/2006/relationships/tags" Target="../tags/tag1128.xml"/><Relationship Id="rId17" Type="http://schemas.openxmlformats.org/officeDocument/2006/relationships/tags" Target="../tags/tag1133.xml"/><Relationship Id="rId25" Type="http://schemas.openxmlformats.org/officeDocument/2006/relationships/tags" Target="../tags/tag1141.xml"/><Relationship Id="rId33" Type="http://schemas.openxmlformats.org/officeDocument/2006/relationships/tags" Target="../tags/tag1149.xml"/><Relationship Id="rId2" Type="http://schemas.openxmlformats.org/officeDocument/2006/relationships/slideLayout" Target="../slideLayouts/slideLayout130.xml"/><Relationship Id="rId16" Type="http://schemas.openxmlformats.org/officeDocument/2006/relationships/tags" Target="../tags/tag1132.xml"/><Relationship Id="rId20" Type="http://schemas.openxmlformats.org/officeDocument/2006/relationships/tags" Target="../tags/tag1136.xml"/><Relationship Id="rId29" Type="http://schemas.openxmlformats.org/officeDocument/2006/relationships/tags" Target="../tags/tag1145.xml"/><Relationship Id="rId1" Type="http://schemas.openxmlformats.org/officeDocument/2006/relationships/slideLayout" Target="../slideLayouts/slideLayout129.xml"/><Relationship Id="rId6" Type="http://schemas.openxmlformats.org/officeDocument/2006/relationships/tags" Target="../tags/tag1122.xml"/><Relationship Id="rId11" Type="http://schemas.openxmlformats.org/officeDocument/2006/relationships/tags" Target="../tags/tag1127.xml"/><Relationship Id="rId24" Type="http://schemas.openxmlformats.org/officeDocument/2006/relationships/tags" Target="../tags/tag1140.xml"/><Relationship Id="rId32" Type="http://schemas.openxmlformats.org/officeDocument/2006/relationships/tags" Target="../tags/tag1148.xml"/><Relationship Id="rId5" Type="http://schemas.openxmlformats.org/officeDocument/2006/relationships/vmlDrawing" Target="../drawings/vmlDrawing161.vml"/><Relationship Id="rId15" Type="http://schemas.openxmlformats.org/officeDocument/2006/relationships/tags" Target="../tags/tag1131.xml"/><Relationship Id="rId23" Type="http://schemas.openxmlformats.org/officeDocument/2006/relationships/tags" Target="../tags/tag1139.xml"/><Relationship Id="rId28" Type="http://schemas.openxmlformats.org/officeDocument/2006/relationships/tags" Target="../tags/tag1144.xml"/><Relationship Id="rId36" Type="http://schemas.openxmlformats.org/officeDocument/2006/relationships/image" Target="../media/image1.emf"/><Relationship Id="rId10" Type="http://schemas.openxmlformats.org/officeDocument/2006/relationships/tags" Target="../tags/tag1126.xml"/><Relationship Id="rId19" Type="http://schemas.openxmlformats.org/officeDocument/2006/relationships/tags" Target="../tags/tag1135.xml"/><Relationship Id="rId31" Type="http://schemas.openxmlformats.org/officeDocument/2006/relationships/tags" Target="../tags/tag1147.xml"/><Relationship Id="rId4" Type="http://schemas.openxmlformats.org/officeDocument/2006/relationships/theme" Target="../theme/theme33.xml"/><Relationship Id="rId9" Type="http://schemas.openxmlformats.org/officeDocument/2006/relationships/tags" Target="../tags/tag1125.xml"/><Relationship Id="rId14" Type="http://schemas.openxmlformats.org/officeDocument/2006/relationships/tags" Target="../tags/tag1130.xml"/><Relationship Id="rId22" Type="http://schemas.openxmlformats.org/officeDocument/2006/relationships/tags" Target="../tags/tag1138.xml"/><Relationship Id="rId27" Type="http://schemas.openxmlformats.org/officeDocument/2006/relationships/tags" Target="../tags/tag1143.xml"/><Relationship Id="rId30" Type="http://schemas.openxmlformats.org/officeDocument/2006/relationships/tags" Target="../tags/tag1146.xml"/><Relationship Id="rId35" Type="http://schemas.openxmlformats.org/officeDocument/2006/relationships/oleObject" Target="../embeddings/oleObject161.bin"/><Relationship Id="rId8" Type="http://schemas.openxmlformats.org/officeDocument/2006/relationships/tags" Target="../tags/tag1124.xml"/></Relationships>
</file>

<file path=ppt/slideMasters/_rels/slideMaster34.xml.rels><?xml version="1.0" encoding="UTF-8" standalone="yes"?>
<Relationships xmlns="http://schemas.openxmlformats.org/package/2006/relationships"><Relationship Id="rId13" Type="http://schemas.openxmlformats.org/officeDocument/2006/relationships/tags" Target="../tags/tag1162.xml"/><Relationship Id="rId18" Type="http://schemas.openxmlformats.org/officeDocument/2006/relationships/tags" Target="../tags/tag1167.xml"/><Relationship Id="rId26" Type="http://schemas.openxmlformats.org/officeDocument/2006/relationships/tags" Target="../tags/tag1175.xml"/><Relationship Id="rId21" Type="http://schemas.openxmlformats.org/officeDocument/2006/relationships/tags" Target="../tags/tag1170.xml"/><Relationship Id="rId34" Type="http://schemas.openxmlformats.org/officeDocument/2006/relationships/tags" Target="../tags/tag1183.xml"/><Relationship Id="rId7" Type="http://schemas.openxmlformats.org/officeDocument/2006/relationships/tags" Target="../tags/tag1156.xml"/><Relationship Id="rId12" Type="http://schemas.openxmlformats.org/officeDocument/2006/relationships/tags" Target="../tags/tag1161.xml"/><Relationship Id="rId17" Type="http://schemas.openxmlformats.org/officeDocument/2006/relationships/tags" Target="../tags/tag1166.xml"/><Relationship Id="rId25" Type="http://schemas.openxmlformats.org/officeDocument/2006/relationships/tags" Target="../tags/tag1174.xml"/><Relationship Id="rId33" Type="http://schemas.openxmlformats.org/officeDocument/2006/relationships/tags" Target="../tags/tag1182.xml"/><Relationship Id="rId2" Type="http://schemas.openxmlformats.org/officeDocument/2006/relationships/slideLayout" Target="../slideLayouts/slideLayout133.xml"/><Relationship Id="rId16" Type="http://schemas.openxmlformats.org/officeDocument/2006/relationships/tags" Target="../tags/tag1165.xml"/><Relationship Id="rId20" Type="http://schemas.openxmlformats.org/officeDocument/2006/relationships/tags" Target="../tags/tag1169.xml"/><Relationship Id="rId29" Type="http://schemas.openxmlformats.org/officeDocument/2006/relationships/tags" Target="../tags/tag1178.xml"/><Relationship Id="rId1" Type="http://schemas.openxmlformats.org/officeDocument/2006/relationships/slideLayout" Target="../slideLayouts/slideLayout132.xml"/><Relationship Id="rId6" Type="http://schemas.openxmlformats.org/officeDocument/2006/relationships/vmlDrawing" Target="../drawings/vmlDrawing165.vml"/><Relationship Id="rId11" Type="http://schemas.openxmlformats.org/officeDocument/2006/relationships/tags" Target="../tags/tag1160.xml"/><Relationship Id="rId24" Type="http://schemas.openxmlformats.org/officeDocument/2006/relationships/tags" Target="../tags/tag1173.xml"/><Relationship Id="rId32" Type="http://schemas.openxmlformats.org/officeDocument/2006/relationships/tags" Target="../tags/tag1181.xml"/><Relationship Id="rId37" Type="http://schemas.openxmlformats.org/officeDocument/2006/relationships/image" Target="../media/image1.emf"/><Relationship Id="rId5" Type="http://schemas.openxmlformats.org/officeDocument/2006/relationships/theme" Target="../theme/theme34.xml"/><Relationship Id="rId15" Type="http://schemas.openxmlformats.org/officeDocument/2006/relationships/tags" Target="../tags/tag1164.xml"/><Relationship Id="rId23" Type="http://schemas.openxmlformats.org/officeDocument/2006/relationships/tags" Target="../tags/tag1172.xml"/><Relationship Id="rId28" Type="http://schemas.openxmlformats.org/officeDocument/2006/relationships/tags" Target="../tags/tag1177.xml"/><Relationship Id="rId36" Type="http://schemas.openxmlformats.org/officeDocument/2006/relationships/oleObject" Target="../embeddings/oleObject165.bin"/><Relationship Id="rId10" Type="http://schemas.openxmlformats.org/officeDocument/2006/relationships/tags" Target="../tags/tag1159.xml"/><Relationship Id="rId19" Type="http://schemas.openxmlformats.org/officeDocument/2006/relationships/tags" Target="../tags/tag1168.xml"/><Relationship Id="rId31" Type="http://schemas.openxmlformats.org/officeDocument/2006/relationships/tags" Target="../tags/tag1180.xml"/><Relationship Id="rId4" Type="http://schemas.openxmlformats.org/officeDocument/2006/relationships/slideLayout" Target="../slideLayouts/slideLayout135.xml"/><Relationship Id="rId9" Type="http://schemas.openxmlformats.org/officeDocument/2006/relationships/tags" Target="../tags/tag1158.xml"/><Relationship Id="rId14" Type="http://schemas.openxmlformats.org/officeDocument/2006/relationships/tags" Target="../tags/tag1163.xml"/><Relationship Id="rId22" Type="http://schemas.openxmlformats.org/officeDocument/2006/relationships/tags" Target="../tags/tag1171.xml"/><Relationship Id="rId27" Type="http://schemas.openxmlformats.org/officeDocument/2006/relationships/tags" Target="../tags/tag1176.xml"/><Relationship Id="rId30" Type="http://schemas.openxmlformats.org/officeDocument/2006/relationships/tags" Target="../tags/tag1179.xml"/><Relationship Id="rId35" Type="http://schemas.openxmlformats.org/officeDocument/2006/relationships/tags" Target="../tags/tag1184.xml"/><Relationship Id="rId8" Type="http://schemas.openxmlformats.org/officeDocument/2006/relationships/tags" Target="../tags/tag1157.xml"/><Relationship Id="rId3" Type="http://schemas.openxmlformats.org/officeDocument/2006/relationships/slideLayout" Target="../slideLayouts/slideLayout134.xml"/></Relationships>
</file>

<file path=ppt/slideMasters/_rels/slideMaster35.xml.rels><?xml version="1.0" encoding="UTF-8" standalone="yes"?>
<Relationships xmlns="http://schemas.openxmlformats.org/package/2006/relationships"><Relationship Id="rId13" Type="http://schemas.openxmlformats.org/officeDocument/2006/relationships/tags" Target="../tags/tag1197.xml"/><Relationship Id="rId18" Type="http://schemas.openxmlformats.org/officeDocument/2006/relationships/tags" Target="../tags/tag1202.xml"/><Relationship Id="rId26" Type="http://schemas.openxmlformats.org/officeDocument/2006/relationships/tags" Target="../tags/tag1210.xml"/><Relationship Id="rId21" Type="http://schemas.openxmlformats.org/officeDocument/2006/relationships/tags" Target="../tags/tag1205.xml"/><Relationship Id="rId34" Type="http://schemas.openxmlformats.org/officeDocument/2006/relationships/tags" Target="../tags/tag1218.xml"/><Relationship Id="rId7" Type="http://schemas.openxmlformats.org/officeDocument/2006/relationships/tags" Target="../tags/tag1191.xml"/><Relationship Id="rId12" Type="http://schemas.openxmlformats.org/officeDocument/2006/relationships/tags" Target="../tags/tag1196.xml"/><Relationship Id="rId17" Type="http://schemas.openxmlformats.org/officeDocument/2006/relationships/tags" Target="../tags/tag1201.xml"/><Relationship Id="rId25" Type="http://schemas.openxmlformats.org/officeDocument/2006/relationships/tags" Target="../tags/tag1209.xml"/><Relationship Id="rId33" Type="http://schemas.openxmlformats.org/officeDocument/2006/relationships/tags" Target="../tags/tag1217.xml"/><Relationship Id="rId2" Type="http://schemas.openxmlformats.org/officeDocument/2006/relationships/slideLayout" Target="../slideLayouts/slideLayout137.xml"/><Relationship Id="rId16" Type="http://schemas.openxmlformats.org/officeDocument/2006/relationships/tags" Target="../tags/tag1200.xml"/><Relationship Id="rId20" Type="http://schemas.openxmlformats.org/officeDocument/2006/relationships/tags" Target="../tags/tag1204.xml"/><Relationship Id="rId29" Type="http://schemas.openxmlformats.org/officeDocument/2006/relationships/tags" Target="../tags/tag1213.xml"/><Relationship Id="rId1" Type="http://schemas.openxmlformats.org/officeDocument/2006/relationships/slideLayout" Target="../slideLayouts/slideLayout136.xml"/><Relationship Id="rId6" Type="http://schemas.openxmlformats.org/officeDocument/2006/relationships/vmlDrawing" Target="../drawings/vmlDrawing170.vml"/><Relationship Id="rId11" Type="http://schemas.openxmlformats.org/officeDocument/2006/relationships/tags" Target="../tags/tag1195.xml"/><Relationship Id="rId24" Type="http://schemas.openxmlformats.org/officeDocument/2006/relationships/tags" Target="../tags/tag1208.xml"/><Relationship Id="rId32" Type="http://schemas.openxmlformats.org/officeDocument/2006/relationships/tags" Target="../tags/tag1216.xml"/><Relationship Id="rId37" Type="http://schemas.openxmlformats.org/officeDocument/2006/relationships/image" Target="../media/image1.emf"/><Relationship Id="rId5" Type="http://schemas.openxmlformats.org/officeDocument/2006/relationships/theme" Target="../theme/theme35.xml"/><Relationship Id="rId15" Type="http://schemas.openxmlformats.org/officeDocument/2006/relationships/tags" Target="../tags/tag1199.xml"/><Relationship Id="rId23" Type="http://schemas.openxmlformats.org/officeDocument/2006/relationships/tags" Target="../tags/tag1207.xml"/><Relationship Id="rId28" Type="http://schemas.openxmlformats.org/officeDocument/2006/relationships/tags" Target="../tags/tag1212.xml"/><Relationship Id="rId36" Type="http://schemas.openxmlformats.org/officeDocument/2006/relationships/oleObject" Target="../embeddings/oleObject170.bin"/><Relationship Id="rId10" Type="http://schemas.openxmlformats.org/officeDocument/2006/relationships/tags" Target="../tags/tag1194.xml"/><Relationship Id="rId19" Type="http://schemas.openxmlformats.org/officeDocument/2006/relationships/tags" Target="../tags/tag1203.xml"/><Relationship Id="rId31" Type="http://schemas.openxmlformats.org/officeDocument/2006/relationships/tags" Target="../tags/tag1215.xml"/><Relationship Id="rId4" Type="http://schemas.openxmlformats.org/officeDocument/2006/relationships/slideLayout" Target="../slideLayouts/slideLayout139.xml"/><Relationship Id="rId9" Type="http://schemas.openxmlformats.org/officeDocument/2006/relationships/tags" Target="../tags/tag1193.xml"/><Relationship Id="rId14" Type="http://schemas.openxmlformats.org/officeDocument/2006/relationships/tags" Target="../tags/tag1198.xml"/><Relationship Id="rId22" Type="http://schemas.openxmlformats.org/officeDocument/2006/relationships/tags" Target="../tags/tag1206.xml"/><Relationship Id="rId27" Type="http://schemas.openxmlformats.org/officeDocument/2006/relationships/tags" Target="../tags/tag1211.xml"/><Relationship Id="rId30" Type="http://schemas.openxmlformats.org/officeDocument/2006/relationships/tags" Target="../tags/tag1214.xml"/><Relationship Id="rId35" Type="http://schemas.openxmlformats.org/officeDocument/2006/relationships/tags" Target="../tags/tag1219.xml"/><Relationship Id="rId8" Type="http://schemas.openxmlformats.org/officeDocument/2006/relationships/tags" Target="../tags/tag1192.xml"/><Relationship Id="rId3" Type="http://schemas.openxmlformats.org/officeDocument/2006/relationships/slideLayout" Target="../slideLayouts/slideLayout138.xml"/></Relationships>
</file>

<file path=ppt/slideMasters/_rels/slideMaster36.xml.rels><?xml version="1.0" encoding="UTF-8" standalone="yes"?>
<Relationships xmlns="http://schemas.openxmlformats.org/package/2006/relationships"><Relationship Id="rId13" Type="http://schemas.openxmlformats.org/officeDocument/2006/relationships/tags" Target="../tags/tag1232.xml"/><Relationship Id="rId18" Type="http://schemas.openxmlformats.org/officeDocument/2006/relationships/tags" Target="../tags/tag1237.xml"/><Relationship Id="rId26" Type="http://schemas.openxmlformats.org/officeDocument/2006/relationships/tags" Target="../tags/tag1245.xml"/><Relationship Id="rId21" Type="http://schemas.openxmlformats.org/officeDocument/2006/relationships/tags" Target="../tags/tag1240.xml"/><Relationship Id="rId34" Type="http://schemas.openxmlformats.org/officeDocument/2006/relationships/tags" Target="../tags/tag1253.xml"/><Relationship Id="rId7" Type="http://schemas.openxmlformats.org/officeDocument/2006/relationships/tags" Target="../tags/tag1226.xml"/><Relationship Id="rId12" Type="http://schemas.openxmlformats.org/officeDocument/2006/relationships/tags" Target="../tags/tag1231.xml"/><Relationship Id="rId17" Type="http://schemas.openxmlformats.org/officeDocument/2006/relationships/tags" Target="../tags/tag1236.xml"/><Relationship Id="rId25" Type="http://schemas.openxmlformats.org/officeDocument/2006/relationships/tags" Target="../tags/tag1244.xml"/><Relationship Id="rId33" Type="http://schemas.openxmlformats.org/officeDocument/2006/relationships/tags" Target="../tags/tag1252.xml"/><Relationship Id="rId2" Type="http://schemas.openxmlformats.org/officeDocument/2006/relationships/slideLayout" Target="../slideLayouts/slideLayout141.xml"/><Relationship Id="rId16" Type="http://schemas.openxmlformats.org/officeDocument/2006/relationships/tags" Target="../tags/tag1235.xml"/><Relationship Id="rId20" Type="http://schemas.openxmlformats.org/officeDocument/2006/relationships/tags" Target="../tags/tag1239.xml"/><Relationship Id="rId29" Type="http://schemas.openxmlformats.org/officeDocument/2006/relationships/tags" Target="../tags/tag1248.xml"/><Relationship Id="rId1" Type="http://schemas.openxmlformats.org/officeDocument/2006/relationships/slideLayout" Target="../slideLayouts/slideLayout140.xml"/><Relationship Id="rId6" Type="http://schemas.openxmlformats.org/officeDocument/2006/relationships/vmlDrawing" Target="../drawings/vmlDrawing175.vml"/><Relationship Id="rId11" Type="http://schemas.openxmlformats.org/officeDocument/2006/relationships/tags" Target="../tags/tag1230.xml"/><Relationship Id="rId24" Type="http://schemas.openxmlformats.org/officeDocument/2006/relationships/tags" Target="../tags/tag1243.xml"/><Relationship Id="rId32" Type="http://schemas.openxmlformats.org/officeDocument/2006/relationships/tags" Target="../tags/tag1251.xml"/><Relationship Id="rId37" Type="http://schemas.openxmlformats.org/officeDocument/2006/relationships/image" Target="../media/image1.emf"/><Relationship Id="rId5" Type="http://schemas.openxmlformats.org/officeDocument/2006/relationships/theme" Target="../theme/theme36.xml"/><Relationship Id="rId15" Type="http://schemas.openxmlformats.org/officeDocument/2006/relationships/tags" Target="../tags/tag1234.xml"/><Relationship Id="rId23" Type="http://schemas.openxmlformats.org/officeDocument/2006/relationships/tags" Target="../tags/tag1242.xml"/><Relationship Id="rId28" Type="http://schemas.openxmlformats.org/officeDocument/2006/relationships/tags" Target="../tags/tag1247.xml"/><Relationship Id="rId36" Type="http://schemas.openxmlformats.org/officeDocument/2006/relationships/oleObject" Target="../embeddings/oleObject175.bin"/><Relationship Id="rId10" Type="http://schemas.openxmlformats.org/officeDocument/2006/relationships/tags" Target="../tags/tag1229.xml"/><Relationship Id="rId19" Type="http://schemas.openxmlformats.org/officeDocument/2006/relationships/tags" Target="../tags/tag1238.xml"/><Relationship Id="rId31" Type="http://schemas.openxmlformats.org/officeDocument/2006/relationships/tags" Target="../tags/tag1250.xml"/><Relationship Id="rId4" Type="http://schemas.openxmlformats.org/officeDocument/2006/relationships/slideLayout" Target="../slideLayouts/slideLayout143.xml"/><Relationship Id="rId9" Type="http://schemas.openxmlformats.org/officeDocument/2006/relationships/tags" Target="../tags/tag1228.xml"/><Relationship Id="rId14" Type="http://schemas.openxmlformats.org/officeDocument/2006/relationships/tags" Target="../tags/tag1233.xml"/><Relationship Id="rId22" Type="http://schemas.openxmlformats.org/officeDocument/2006/relationships/tags" Target="../tags/tag1241.xml"/><Relationship Id="rId27" Type="http://schemas.openxmlformats.org/officeDocument/2006/relationships/tags" Target="../tags/tag1246.xml"/><Relationship Id="rId30" Type="http://schemas.openxmlformats.org/officeDocument/2006/relationships/tags" Target="../tags/tag1249.xml"/><Relationship Id="rId35" Type="http://schemas.openxmlformats.org/officeDocument/2006/relationships/tags" Target="../tags/tag1254.xml"/><Relationship Id="rId8" Type="http://schemas.openxmlformats.org/officeDocument/2006/relationships/tags" Target="../tags/tag1227.xml"/><Relationship Id="rId3" Type="http://schemas.openxmlformats.org/officeDocument/2006/relationships/slideLayout" Target="../slideLayouts/slideLayout142.xml"/></Relationships>
</file>

<file path=ppt/slideMasters/_rels/slideMaster37.xml.rels><?xml version="1.0" encoding="UTF-8" standalone="yes"?>
<Relationships xmlns="http://schemas.openxmlformats.org/package/2006/relationships"><Relationship Id="rId13" Type="http://schemas.openxmlformats.org/officeDocument/2006/relationships/tags" Target="../tags/tag1267.xml"/><Relationship Id="rId18" Type="http://schemas.openxmlformats.org/officeDocument/2006/relationships/tags" Target="../tags/tag1272.xml"/><Relationship Id="rId26" Type="http://schemas.openxmlformats.org/officeDocument/2006/relationships/tags" Target="../tags/tag1280.xml"/><Relationship Id="rId21" Type="http://schemas.openxmlformats.org/officeDocument/2006/relationships/tags" Target="../tags/tag1275.xml"/><Relationship Id="rId34" Type="http://schemas.openxmlformats.org/officeDocument/2006/relationships/tags" Target="../tags/tag1288.xml"/><Relationship Id="rId7" Type="http://schemas.openxmlformats.org/officeDocument/2006/relationships/tags" Target="../tags/tag1261.xml"/><Relationship Id="rId12" Type="http://schemas.openxmlformats.org/officeDocument/2006/relationships/tags" Target="../tags/tag1266.xml"/><Relationship Id="rId17" Type="http://schemas.openxmlformats.org/officeDocument/2006/relationships/tags" Target="../tags/tag1271.xml"/><Relationship Id="rId25" Type="http://schemas.openxmlformats.org/officeDocument/2006/relationships/tags" Target="../tags/tag1279.xml"/><Relationship Id="rId33" Type="http://schemas.openxmlformats.org/officeDocument/2006/relationships/tags" Target="../tags/tag1287.xml"/><Relationship Id="rId2" Type="http://schemas.openxmlformats.org/officeDocument/2006/relationships/slideLayout" Target="../slideLayouts/slideLayout145.xml"/><Relationship Id="rId16" Type="http://schemas.openxmlformats.org/officeDocument/2006/relationships/tags" Target="../tags/tag1270.xml"/><Relationship Id="rId20" Type="http://schemas.openxmlformats.org/officeDocument/2006/relationships/tags" Target="../tags/tag1274.xml"/><Relationship Id="rId29" Type="http://schemas.openxmlformats.org/officeDocument/2006/relationships/tags" Target="../tags/tag1283.xml"/><Relationship Id="rId1" Type="http://schemas.openxmlformats.org/officeDocument/2006/relationships/slideLayout" Target="../slideLayouts/slideLayout144.xml"/><Relationship Id="rId6" Type="http://schemas.openxmlformats.org/officeDocument/2006/relationships/vmlDrawing" Target="../drawings/vmlDrawing180.vml"/><Relationship Id="rId11" Type="http://schemas.openxmlformats.org/officeDocument/2006/relationships/tags" Target="../tags/tag1265.xml"/><Relationship Id="rId24" Type="http://schemas.openxmlformats.org/officeDocument/2006/relationships/tags" Target="../tags/tag1278.xml"/><Relationship Id="rId32" Type="http://schemas.openxmlformats.org/officeDocument/2006/relationships/tags" Target="../tags/tag1286.xml"/><Relationship Id="rId37" Type="http://schemas.openxmlformats.org/officeDocument/2006/relationships/image" Target="../media/image1.emf"/><Relationship Id="rId5" Type="http://schemas.openxmlformats.org/officeDocument/2006/relationships/theme" Target="../theme/theme37.xml"/><Relationship Id="rId15" Type="http://schemas.openxmlformats.org/officeDocument/2006/relationships/tags" Target="../tags/tag1269.xml"/><Relationship Id="rId23" Type="http://schemas.openxmlformats.org/officeDocument/2006/relationships/tags" Target="../tags/tag1277.xml"/><Relationship Id="rId28" Type="http://schemas.openxmlformats.org/officeDocument/2006/relationships/tags" Target="../tags/tag1282.xml"/><Relationship Id="rId36" Type="http://schemas.openxmlformats.org/officeDocument/2006/relationships/oleObject" Target="../embeddings/oleObject180.bin"/><Relationship Id="rId10" Type="http://schemas.openxmlformats.org/officeDocument/2006/relationships/tags" Target="../tags/tag1264.xml"/><Relationship Id="rId19" Type="http://schemas.openxmlformats.org/officeDocument/2006/relationships/tags" Target="../tags/tag1273.xml"/><Relationship Id="rId31" Type="http://schemas.openxmlformats.org/officeDocument/2006/relationships/tags" Target="../tags/tag1285.xml"/><Relationship Id="rId4" Type="http://schemas.openxmlformats.org/officeDocument/2006/relationships/slideLayout" Target="../slideLayouts/slideLayout147.xml"/><Relationship Id="rId9" Type="http://schemas.openxmlformats.org/officeDocument/2006/relationships/tags" Target="../tags/tag1263.xml"/><Relationship Id="rId14" Type="http://schemas.openxmlformats.org/officeDocument/2006/relationships/tags" Target="../tags/tag1268.xml"/><Relationship Id="rId22" Type="http://schemas.openxmlformats.org/officeDocument/2006/relationships/tags" Target="../tags/tag1276.xml"/><Relationship Id="rId27" Type="http://schemas.openxmlformats.org/officeDocument/2006/relationships/tags" Target="../tags/tag1281.xml"/><Relationship Id="rId30" Type="http://schemas.openxmlformats.org/officeDocument/2006/relationships/tags" Target="../tags/tag1284.xml"/><Relationship Id="rId35" Type="http://schemas.openxmlformats.org/officeDocument/2006/relationships/tags" Target="../tags/tag1289.xml"/><Relationship Id="rId8" Type="http://schemas.openxmlformats.org/officeDocument/2006/relationships/tags" Target="../tags/tag1262.xml"/><Relationship Id="rId3" Type="http://schemas.openxmlformats.org/officeDocument/2006/relationships/slideLayout" Target="../slideLayouts/slideLayout146.xml"/></Relationships>
</file>

<file path=ppt/slideMasters/_rels/slideMaster38.xml.rels><?xml version="1.0" encoding="UTF-8" standalone="yes"?>
<Relationships xmlns="http://schemas.openxmlformats.org/package/2006/relationships"><Relationship Id="rId13" Type="http://schemas.openxmlformats.org/officeDocument/2006/relationships/tags" Target="../tags/tag1302.xml"/><Relationship Id="rId18" Type="http://schemas.openxmlformats.org/officeDocument/2006/relationships/tags" Target="../tags/tag1307.xml"/><Relationship Id="rId26" Type="http://schemas.openxmlformats.org/officeDocument/2006/relationships/tags" Target="../tags/tag1315.xml"/><Relationship Id="rId21" Type="http://schemas.openxmlformats.org/officeDocument/2006/relationships/tags" Target="../tags/tag1310.xml"/><Relationship Id="rId34" Type="http://schemas.openxmlformats.org/officeDocument/2006/relationships/tags" Target="../tags/tag1323.xml"/><Relationship Id="rId7" Type="http://schemas.openxmlformats.org/officeDocument/2006/relationships/tags" Target="../tags/tag1296.xml"/><Relationship Id="rId12" Type="http://schemas.openxmlformats.org/officeDocument/2006/relationships/tags" Target="../tags/tag1301.xml"/><Relationship Id="rId17" Type="http://schemas.openxmlformats.org/officeDocument/2006/relationships/tags" Target="../tags/tag1306.xml"/><Relationship Id="rId25" Type="http://schemas.openxmlformats.org/officeDocument/2006/relationships/tags" Target="../tags/tag1314.xml"/><Relationship Id="rId33" Type="http://schemas.openxmlformats.org/officeDocument/2006/relationships/tags" Target="../tags/tag1322.xml"/><Relationship Id="rId2" Type="http://schemas.openxmlformats.org/officeDocument/2006/relationships/slideLayout" Target="../slideLayouts/slideLayout149.xml"/><Relationship Id="rId16" Type="http://schemas.openxmlformats.org/officeDocument/2006/relationships/tags" Target="../tags/tag1305.xml"/><Relationship Id="rId20" Type="http://schemas.openxmlformats.org/officeDocument/2006/relationships/tags" Target="../tags/tag1309.xml"/><Relationship Id="rId29" Type="http://schemas.openxmlformats.org/officeDocument/2006/relationships/tags" Target="../tags/tag1318.xml"/><Relationship Id="rId1" Type="http://schemas.openxmlformats.org/officeDocument/2006/relationships/slideLayout" Target="../slideLayouts/slideLayout148.xml"/><Relationship Id="rId6" Type="http://schemas.openxmlformats.org/officeDocument/2006/relationships/vmlDrawing" Target="../drawings/vmlDrawing185.vml"/><Relationship Id="rId11" Type="http://schemas.openxmlformats.org/officeDocument/2006/relationships/tags" Target="../tags/tag1300.xml"/><Relationship Id="rId24" Type="http://schemas.openxmlformats.org/officeDocument/2006/relationships/tags" Target="../tags/tag1313.xml"/><Relationship Id="rId32" Type="http://schemas.openxmlformats.org/officeDocument/2006/relationships/tags" Target="../tags/tag1321.xml"/><Relationship Id="rId37" Type="http://schemas.openxmlformats.org/officeDocument/2006/relationships/image" Target="../media/image1.emf"/><Relationship Id="rId5" Type="http://schemas.openxmlformats.org/officeDocument/2006/relationships/theme" Target="../theme/theme38.xml"/><Relationship Id="rId15" Type="http://schemas.openxmlformats.org/officeDocument/2006/relationships/tags" Target="../tags/tag1304.xml"/><Relationship Id="rId23" Type="http://schemas.openxmlformats.org/officeDocument/2006/relationships/tags" Target="../tags/tag1312.xml"/><Relationship Id="rId28" Type="http://schemas.openxmlformats.org/officeDocument/2006/relationships/tags" Target="../tags/tag1317.xml"/><Relationship Id="rId36" Type="http://schemas.openxmlformats.org/officeDocument/2006/relationships/oleObject" Target="../embeddings/oleObject185.bin"/><Relationship Id="rId10" Type="http://schemas.openxmlformats.org/officeDocument/2006/relationships/tags" Target="../tags/tag1299.xml"/><Relationship Id="rId19" Type="http://schemas.openxmlformats.org/officeDocument/2006/relationships/tags" Target="../tags/tag1308.xml"/><Relationship Id="rId31" Type="http://schemas.openxmlformats.org/officeDocument/2006/relationships/tags" Target="../tags/tag1320.xml"/><Relationship Id="rId4" Type="http://schemas.openxmlformats.org/officeDocument/2006/relationships/slideLayout" Target="../slideLayouts/slideLayout151.xml"/><Relationship Id="rId9" Type="http://schemas.openxmlformats.org/officeDocument/2006/relationships/tags" Target="../tags/tag1298.xml"/><Relationship Id="rId14" Type="http://schemas.openxmlformats.org/officeDocument/2006/relationships/tags" Target="../tags/tag1303.xml"/><Relationship Id="rId22" Type="http://schemas.openxmlformats.org/officeDocument/2006/relationships/tags" Target="../tags/tag1311.xml"/><Relationship Id="rId27" Type="http://schemas.openxmlformats.org/officeDocument/2006/relationships/tags" Target="../tags/tag1316.xml"/><Relationship Id="rId30" Type="http://schemas.openxmlformats.org/officeDocument/2006/relationships/tags" Target="../tags/tag1319.xml"/><Relationship Id="rId35" Type="http://schemas.openxmlformats.org/officeDocument/2006/relationships/tags" Target="../tags/tag1324.xml"/><Relationship Id="rId8" Type="http://schemas.openxmlformats.org/officeDocument/2006/relationships/tags" Target="../tags/tag1297.xml"/><Relationship Id="rId3" Type="http://schemas.openxmlformats.org/officeDocument/2006/relationships/slideLayout" Target="../slideLayouts/slideLayout150.xml"/></Relationships>
</file>

<file path=ppt/slideMasters/_rels/slideMaster39.xml.rels><?xml version="1.0" encoding="UTF-8" standalone="yes"?>
<Relationships xmlns="http://schemas.openxmlformats.org/package/2006/relationships"><Relationship Id="rId13" Type="http://schemas.openxmlformats.org/officeDocument/2006/relationships/tags" Target="../tags/tag1337.xml"/><Relationship Id="rId18" Type="http://schemas.openxmlformats.org/officeDocument/2006/relationships/tags" Target="../tags/tag1342.xml"/><Relationship Id="rId26" Type="http://schemas.openxmlformats.org/officeDocument/2006/relationships/tags" Target="../tags/tag1350.xml"/><Relationship Id="rId21" Type="http://schemas.openxmlformats.org/officeDocument/2006/relationships/tags" Target="../tags/tag1345.xml"/><Relationship Id="rId34" Type="http://schemas.openxmlformats.org/officeDocument/2006/relationships/tags" Target="../tags/tag1358.xml"/><Relationship Id="rId7" Type="http://schemas.openxmlformats.org/officeDocument/2006/relationships/tags" Target="../tags/tag1331.xml"/><Relationship Id="rId12" Type="http://schemas.openxmlformats.org/officeDocument/2006/relationships/tags" Target="../tags/tag1336.xml"/><Relationship Id="rId17" Type="http://schemas.openxmlformats.org/officeDocument/2006/relationships/tags" Target="../tags/tag1341.xml"/><Relationship Id="rId25" Type="http://schemas.openxmlformats.org/officeDocument/2006/relationships/tags" Target="../tags/tag1349.xml"/><Relationship Id="rId33" Type="http://schemas.openxmlformats.org/officeDocument/2006/relationships/tags" Target="../tags/tag1357.xml"/><Relationship Id="rId2" Type="http://schemas.openxmlformats.org/officeDocument/2006/relationships/slideLayout" Target="../slideLayouts/slideLayout153.xml"/><Relationship Id="rId16" Type="http://schemas.openxmlformats.org/officeDocument/2006/relationships/tags" Target="../tags/tag1340.xml"/><Relationship Id="rId20" Type="http://schemas.openxmlformats.org/officeDocument/2006/relationships/tags" Target="../tags/tag1344.xml"/><Relationship Id="rId29" Type="http://schemas.openxmlformats.org/officeDocument/2006/relationships/tags" Target="../tags/tag1353.xml"/><Relationship Id="rId1" Type="http://schemas.openxmlformats.org/officeDocument/2006/relationships/slideLayout" Target="../slideLayouts/slideLayout152.xml"/><Relationship Id="rId6" Type="http://schemas.openxmlformats.org/officeDocument/2006/relationships/vmlDrawing" Target="../drawings/vmlDrawing190.vml"/><Relationship Id="rId11" Type="http://schemas.openxmlformats.org/officeDocument/2006/relationships/tags" Target="../tags/tag1335.xml"/><Relationship Id="rId24" Type="http://schemas.openxmlformats.org/officeDocument/2006/relationships/tags" Target="../tags/tag1348.xml"/><Relationship Id="rId32" Type="http://schemas.openxmlformats.org/officeDocument/2006/relationships/tags" Target="../tags/tag1356.xml"/><Relationship Id="rId37" Type="http://schemas.openxmlformats.org/officeDocument/2006/relationships/image" Target="../media/image1.emf"/><Relationship Id="rId5" Type="http://schemas.openxmlformats.org/officeDocument/2006/relationships/theme" Target="../theme/theme39.xml"/><Relationship Id="rId15" Type="http://schemas.openxmlformats.org/officeDocument/2006/relationships/tags" Target="../tags/tag1339.xml"/><Relationship Id="rId23" Type="http://schemas.openxmlformats.org/officeDocument/2006/relationships/tags" Target="../tags/tag1347.xml"/><Relationship Id="rId28" Type="http://schemas.openxmlformats.org/officeDocument/2006/relationships/tags" Target="../tags/tag1352.xml"/><Relationship Id="rId36" Type="http://schemas.openxmlformats.org/officeDocument/2006/relationships/oleObject" Target="../embeddings/oleObject190.bin"/><Relationship Id="rId10" Type="http://schemas.openxmlformats.org/officeDocument/2006/relationships/tags" Target="../tags/tag1334.xml"/><Relationship Id="rId19" Type="http://schemas.openxmlformats.org/officeDocument/2006/relationships/tags" Target="../tags/tag1343.xml"/><Relationship Id="rId31" Type="http://schemas.openxmlformats.org/officeDocument/2006/relationships/tags" Target="../tags/tag1355.xml"/><Relationship Id="rId4" Type="http://schemas.openxmlformats.org/officeDocument/2006/relationships/slideLayout" Target="../slideLayouts/slideLayout155.xml"/><Relationship Id="rId9" Type="http://schemas.openxmlformats.org/officeDocument/2006/relationships/tags" Target="../tags/tag1333.xml"/><Relationship Id="rId14" Type="http://schemas.openxmlformats.org/officeDocument/2006/relationships/tags" Target="../tags/tag1338.xml"/><Relationship Id="rId22" Type="http://schemas.openxmlformats.org/officeDocument/2006/relationships/tags" Target="../tags/tag1346.xml"/><Relationship Id="rId27" Type="http://schemas.openxmlformats.org/officeDocument/2006/relationships/tags" Target="../tags/tag1351.xml"/><Relationship Id="rId30" Type="http://schemas.openxmlformats.org/officeDocument/2006/relationships/tags" Target="../tags/tag1354.xml"/><Relationship Id="rId35" Type="http://schemas.openxmlformats.org/officeDocument/2006/relationships/tags" Target="../tags/tag1359.xml"/><Relationship Id="rId8" Type="http://schemas.openxmlformats.org/officeDocument/2006/relationships/tags" Target="../tags/tag1332.xml"/><Relationship Id="rId3" Type="http://schemas.openxmlformats.org/officeDocument/2006/relationships/slideLayout" Target="../slideLayouts/slideLayout154.xml"/></Relationships>
</file>

<file path=ppt/slideMasters/_rels/slideMaster4.xml.rels><?xml version="1.0" encoding="UTF-8" standalone="yes"?>
<Relationships xmlns="http://schemas.openxmlformats.org/package/2006/relationships"><Relationship Id="rId13" Type="http://schemas.openxmlformats.org/officeDocument/2006/relationships/tags" Target="../tags/tag113.xml"/><Relationship Id="rId18" Type="http://schemas.openxmlformats.org/officeDocument/2006/relationships/tags" Target="../tags/tag118.xml"/><Relationship Id="rId26" Type="http://schemas.openxmlformats.org/officeDocument/2006/relationships/tags" Target="../tags/tag126.xml"/><Relationship Id="rId21" Type="http://schemas.openxmlformats.org/officeDocument/2006/relationships/tags" Target="../tags/tag121.xml"/><Relationship Id="rId34" Type="http://schemas.openxmlformats.org/officeDocument/2006/relationships/tags" Target="../tags/tag134.xml"/><Relationship Id="rId7" Type="http://schemas.openxmlformats.org/officeDocument/2006/relationships/tags" Target="../tags/tag107.xml"/><Relationship Id="rId12" Type="http://schemas.openxmlformats.org/officeDocument/2006/relationships/tags" Target="../tags/tag112.xml"/><Relationship Id="rId17" Type="http://schemas.openxmlformats.org/officeDocument/2006/relationships/tags" Target="../tags/tag117.xml"/><Relationship Id="rId25" Type="http://schemas.openxmlformats.org/officeDocument/2006/relationships/tags" Target="../tags/tag125.xml"/><Relationship Id="rId33" Type="http://schemas.openxmlformats.org/officeDocument/2006/relationships/tags" Target="../tags/tag133.xml"/><Relationship Id="rId2" Type="http://schemas.openxmlformats.org/officeDocument/2006/relationships/slideLayout" Target="../slideLayouts/slideLayout14.xml"/><Relationship Id="rId16" Type="http://schemas.openxmlformats.org/officeDocument/2006/relationships/tags" Target="../tags/tag116.xml"/><Relationship Id="rId20" Type="http://schemas.openxmlformats.org/officeDocument/2006/relationships/tags" Target="../tags/tag120.xml"/><Relationship Id="rId29" Type="http://schemas.openxmlformats.org/officeDocument/2006/relationships/tags" Target="../tags/tag129.xml"/><Relationship Id="rId1" Type="http://schemas.openxmlformats.org/officeDocument/2006/relationships/slideLayout" Target="../slideLayouts/slideLayout13.xml"/><Relationship Id="rId6" Type="http://schemas.openxmlformats.org/officeDocument/2006/relationships/vmlDrawing" Target="../drawings/vmlDrawing16.vml"/><Relationship Id="rId11" Type="http://schemas.openxmlformats.org/officeDocument/2006/relationships/tags" Target="../tags/tag111.xml"/><Relationship Id="rId24" Type="http://schemas.openxmlformats.org/officeDocument/2006/relationships/tags" Target="../tags/tag124.xml"/><Relationship Id="rId32" Type="http://schemas.openxmlformats.org/officeDocument/2006/relationships/tags" Target="../tags/tag132.xml"/><Relationship Id="rId37" Type="http://schemas.openxmlformats.org/officeDocument/2006/relationships/image" Target="../media/image1.emf"/><Relationship Id="rId5" Type="http://schemas.openxmlformats.org/officeDocument/2006/relationships/theme" Target="../theme/theme4.xml"/><Relationship Id="rId15" Type="http://schemas.openxmlformats.org/officeDocument/2006/relationships/tags" Target="../tags/tag115.xml"/><Relationship Id="rId23" Type="http://schemas.openxmlformats.org/officeDocument/2006/relationships/tags" Target="../tags/tag123.xml"/><Relationship Id="rId28" Type="http://schemas.openxmlformats.org/officeDocument/2006/relationships/tags" Target="../tags/tag128.xml"/><Relationship Id="rId36" Type="http://schemas.openxmlformats.org/officeDocument/2006/relationships/oleObject" Target="../embeddings/oleObject16.bin"/><Relationship Id="rId10" Type="http://schemas.openxmlformats.org/officeDocument/2006/relationships/tags" Target="../tags/tag110.xml"/><Relationship Id="rId19" Type="http://schemas.openxmlformats.org/officeDocument/2006/relationships/tags" Target="../tags/tag119.xml"/><Relationship Id="rId31" Type="http://schemas.openxmlformats.org/officeDocument/2006/relationships/tags" Target="../tags/tag131.xml"/><Relationship Id="rId4" Type="http://schemas.openxmlformats.org/officeDocument/2006/relationships/slideLayout" Target="../slideLayouts/slideLayout16.xml"/><Relationship Id="rId9" Type="http://schemas.openxmlformats.org/officeDocument/2006/relationships/tags" Target="../tags/tag109.xml"/><Relationship Id="rId14" Type="http://schemas.openxmlformats.org/officeDocument/2006/relationships/tags" Target="../tags/tag114.xml"/><Relationship Id="rId22" Type="http://schemas.openxmlformats.org/officeDocument/2006/relationships/tags" Target="../tags/tag122.xml"/><Relationship Id="rId27" Type="http://schemas.openxmlformats.org/officeDocument/2006/relationships/tags" Target="../tags/tag127.xml"/><Relationship Id="rId30" Type="http://schemas.openxmlformats.org/officeDocument/2006/relationships/tags" Target="../tags/tag130.xml"/><Relationship Id="rId35" Type="http://schemas.openxmlformats.org/officeDocument/2006/relationships/tags" Target="../tags/tag135.xml"/><Relationship Id="rId8" Type="http://schemas.openxmlformats.org/officeDocument/2006/relationships/tags" Target="../tags/tag108.xml"/><Relationship Id="rId3" Type="http://schemas.openxmlformats.org/officeDocument/2006/relationships/slideLayout" Target="../slideLayouts/slideLayout15.xml"/></Relationships>
</file>

<file path=ppt/slideMasters/_rels/slideMaster40.xml.rels><?xml version="1.0" encoding="UTF-8" standalone="yes"?>
<Relationships xmlns="http://schemas.openxmlformats.org/package/2006/relationships"><Relationship Id="rId13" Type="http://schemas.openxmlformats.org/officeDocument/2006/relationships/tags" Target="../tags/tag1372.xml"/><Relationship Id="rId18" Type="http://schemas.openxmlformats.org/officeDocument/2006/relationships/tags" Target="../tags/tag1377.xml"/><Relationship Id="rId26" Type="http://schemas.openxmlformats.org/officeDocument/2006/relationships/tags" Target="../tags/tag1385.xml"/><Relationship Id="rId21" Type="http://schemas.openxmlformats.org/officeDocument/2006/relationships/tags" Target="../tags/tag1380.xml"/><Relationship Id="rId34" Type="http://schemas.openxmlformats.org/officeDocument/2006/relationships/tags" Target="../tags/tag1393.xml"/><Relationship Id="rId7" Type="http://schemas.openxmlformats.org/officeDocument/2006/relationships/tags" Target="../tags/tag1366.xml"/><Relationship Id="rId12" Type="http://schemas.openxmlformats.org/officeDocument/2006/relationships/tags" Target="../tags/tag1371.xml"/><Relationship Id="rId17" Type="http://schemas.openxmlformats.org/officeDocument/2006/relationships/tags" Target="../tags/tag1376.xml"/><Relationship Id="rId25" Type="http://schemas.openxmlformats.org/officeDocument/2006/relationships/tags" Target="../tags/tag1384.xml"/><Relationship Id="rId33" Type="http://schemas.openxmlformats.org/officeDocument/2006/relationships/tags" Target="../tags/tag1392.xml"/><Relationship Id="rId2" Type="http://schemas.openxmlformats.org/officeDocument/2006/relationships/slideLayout" Target="../slideLayouts/slideLayout157.xml"/><Relationship Id="rId16" Type="http://schemas.openxmlformats.org/officeDocument/2006/relationships/tags" Target="../tags/tag1375.xml"/><Relationship Id="rId20" Type="http://schemas.openxmlformats.org/officeDocument/2006/relationships/tags" Target="../tags/tag1379.xml"/><Relationship Id="rId29" Type="http://schemas.openxmlformats.org/officeDocument/2006/relationships/tags" Target="../tags/tag1388.xml"/><Relationship Id="rId1" Type="http://schemas.openxmlformats.org/officeDocument/2006/relationships/slideLayout" Target="../slideLayouts/slideLayout156.xml"/><Relationship Id="rId6" Type="http://schemas.openxmlformats.org/officeDocument/2006/relationships/vmlDrawing" Target="../drawings/vmlDrawing195.vml"/><Relationship Id="rId11" Type="http://schemas.openxmlformats.org/officeDocument/2006/relationships/tags" Target="../tags/tag1370.xml"/><Relationship Id="rId24" Type="http://schemas.openxmlformats.org/officeDocument/2006/relationships/tags" Target="../tags/tag1383.xml"/><Relationship Id="rId32" Type="http://schemas.openxmlformats.org/officeDocument/2006/relationships/tags" Target="../tags/tag1391.xml"/><Relationship Id="rId37" Type="http://schemas.openxmlformats.org/officeDocument/2006/relationships/image" Target="../media/image1.emf"/><Relationship Id="rId5" Type="http://schemas.openxmlformats.org/officeDocument/2006/relationships/theme" Target="../theme/theme40.xml"/><Relationship Id="rId15" Type="http://schemas.openxmlformats.org/officeDocument/2006/relationships/tags" Target="../tags/tag1374.xml"/><Relationship Id="rId23" Type="http://schemas.openxmlformats.org/officeDocument/2006/relationships/tags" Target="../tags/tag1382.xml"/><Relationship Id="rId28" Type="http://schemas.openxmlformats.org/officeDocument/2006/relationships/tags" Target="../tags/tag1387.xml"/><Relationship Id="rId36" Type="http://schemas.openxmlformats.org/officeDocument/2006/relationships/oleObject" Target="../embeddings/oleObject195.bin"/><Relationship Id="rId10" Type="http://schemas.openxmlformats.org/officeDocument/2006/relationships/tags" Target="../tags/tag1369.xml"/><Relationship Id="rId19" Type="http://schemas.openxmlformats.org/officeDocument/2006/relationships/tags" Target="../tags/tag1378.xml"/><Relationship Id="rId31" Type="http://schemas.openxmlformats.org/officeDocument/2006/relationships/tags" Target="../tags/tag1390.xml"/><Relationship Id="rId4" Type="http://schemas.openxmlformats.org/officeDocument/2006/relationships/slideLayout" Target="../slideLayouts/slideLayout159.xml"/><Relationship Id="rId9" Type="http://schemas.openxmlformats.org/officeDocument/2006/relationships/tags" Target="../tags/tag1368.xml"/><Relationship Id="rId14" Type="http://schemas.openxmlformats.org/officeDocument/2006/relationships/tags" Target="../tags/tag1373.xml"/><Relationship Id="rId22" Type="http://schemas.openxmlformats.org/officeDocument/2006/relationships/tags" Target="../tags/tag1381.xml"/><Relationship Id="rId27" Type="http://schemas.openxmlformats.org/officeDocument/2006/relationships/tags" Target="../tags/tag1386.xml"/><Relationship Id="rId30" Type="http://schemas.openxmlformats.org/officeDocument/2006/relationships/tags" Target="../tags/tag1389.xml"/><Relationship Id="rId35" Type="http://schemas.openxmlformats.org/officeDocument/2006/relationships/tags" Target="../tags/tag1394.xml"/><Relationship Id="rId8" Type="http://schemas.openxmlformats.org/officeDocument/2006/relationships/tags" Target="../tags/tag1367.xml"/><Relationship Id="rId3" Type="http://schemas.openxmlformats.org/officeDocument/2006/relationships/slideLayout" Target="../slideLayouts/slideLayout158.xml"/></Relationships>
</file>

<file path=ppt/slideMasters/_rels/slideMaster41.xml.rels><?xml version="1.0" encoding="UTF-8" standalone="yes"?>
<Relationships xmlns="http://schemas.openxmlformats.org/package/2006/relationships"><Relationship Id="rId13" Type="http://schemas.openxmlformats.org/officeDocument/2006/relationships/tags" Target="../tags/tag1407.xml"/><Relationship Id="rId18" Type="http://schemas.openxmlformats.org/officeDocument/2006/relationships/tags" Target="../tags/tag1412.xml"/><Relationship Id="rId26" Type="http://schemas.openxmlformats.org/officeDocument/2006/relationships/tags" Target="../tags/tag1420.xml"/><Relationship Id="rId21" Type="http://schemas.openxmlformats.org/officeDocument/2006/relationships/tags" Target="../tags/tag1415.xml"/><Relationship Id="rId34" Type="http://schemas.openxmlformats.org/officeDocument/2006/relationships/tags" Target="../tags/tag1428.xml"/><Relationship Id="rId7" Type="http://schemas.openxmlformats.org/officeDocument/2006/relationships/tags" Target="../tags/tag1401.xml"/><Relationship Id="rId12" Type="http://schemas.openxmlformats.org/officeDocument/2006/relationships/tags" Target="../tags/tag1406.xml"/><Relationship Id="rId17" Type="http://schemas.openxmlformats.org/officeDocument/2006/relationships/tags" Target="../tags/tag1411.xml"/><Relationship Id="rId25" Type="http://schemas.openxmlformats.org/officeDocument/2006/relationships/tags" Target="../tags/tag1419.xml"/><Relationship Id="rId33" Type="http://schemas.openxmlformats.org/officeDocument/2006/relationships/tags" Target="../tags/tag1427.xml"/><Relationship Id="rId2" Type="http://schemas.openxmlformats.org/officeDocument/2006/relationships/slideLayout" Target="../slideLayouts/slideLayout161.xml"/><Relationship Id="rId16" Type="http://schemas.openxmlformats.org/officeDocument/2006/relationships/tags" Target="../tags/tag1410.xml"/><Relationship Id="rId20" Type="http://schemas.openxmlformats.org/officeDocument/2006/relationships/tags" Target="../tags/tag1414.xml"/><Relationship Id="rId29" Type="http://schemas.openxmlformats.org/officeDocument/2006/relationships/tags" Target="../tags/tag1423.xml"/><Relationship Id="rId1" Type="http://schemas.openxmlformats.org/officeDocument/2006/relationships/slideLayout" Target="../slideLayouts/slideLayout160.xml"/><Relationship Id="rId6" Type="http://schemas.openxmlformats.org/officeDocument/2006/relationships/vmlDrawing" Target="../drawings/vmlDrawing200.vml"/><Relationship Id="rId11" Type="http://schemas.openxmlformats.org/officeDocument/2006/relationships/tags" Target="../tags/tag1405.xml"/><Relationship Id="rId24" Type="http://schemas.openxmlformats.org/officeDocument/2006/relationships/tags" Target="../tags/tag1418.xml"/><Relationship Id="rId32" Type="http://schemas.openxmlformats.org/officeDocument/2006/relationships/tags" Target="../tags/tag1426.xml"/><Relationship Id="rId37" Type="http://schemas.openxmlformats.org/officeDocument/2006/relationships/image" Target="../media/image1.emf"/><Relationship Id="rId5" Type="http://schemas.openxmlformats.org/officeDocument/2006/relationships/theme" Target="../theme/theme41.xml"/><Relationship Id="rId15" Type="http://schemas.openxmlformats.org/officeDocument/2006/relationships/tags" Target="../tags/tag1409.xml"/><Relationship Id="rId23" Type="http://schemas.openxmlformats.org/officeDocument/2006/relationships/tags" Target="../tags/tag1417.xml"/><Relationship Id="rId28" Type="http://schemas.openxmlformats.org/officeDocument/2006/relationships/tags" Target="../tags/tag1422.xml"/><Relationship Id="rId36" Type="http://schemas.openxmlformats.org/officeDocument/2006/relationships/oleObject" Target="../embeddings/oleObject200.bin"/><Relationship Id="rId10" Type="http://schemas.openxmlformats.org/officeDocument/2006/relationships/tags" Target="../tags/tag1404.xml"/><Relationship Id="rId19" Type="http://schemas.openxmlformats.org/officeDocument/2006/relationships/tags" Target="../tags/tag1413.xml"/><Relationship Id="rId31" Type="http://schemas.openxmlformats.org/officeDocument/2006/relationships/tags" Target="../tags/tag1425.xml"/><Relationship Id="rId4" Type="http://schemas.openxmlformats.org/officeDocument/2006/relationships/slideLayout" Target="../slideLayouts/slideLayout163.xml"/><Relationship Id="rId9" Type="http://schemas.openxmlformats.org/officeDocument/2006/relationships/tags" Target="../tags/tag1403.xml"/><Relationship Id="rId14" Type="http://schemas.openxmlformats.org/officeDocument/2006/relationships/tags" Target="../tags/tag1408.xml"/><Relationship Id="rId22" Type="http://schemas.openxmlformats.org/officeDocument/2006/relationships/tags" Target="../tags/tag1416.xml"/><Relationship Id="rId27" Type="http://schemas.openxmlformats.org/officeDocument/2006/relationships/tags" Target="../tags/tag1421.xml"/><Relationship Id="rId30" Type="http://schemas.openxmlformats.org/officeDocument/2006/relationships/tags" Target="../tags/tag1424.xml"/><Relationship Id="rId35" Type="http://schemas.openxmlformats.org/officeDocument/2006/relationships/tags" Target="../tags/tag1429.xml"/><Relationship Id="rId8" Type="http://schemas.openxmlformats.org/officeDocument/2006/relationships/tags" Target="../tags/tag1402.xml"/><Relationship Id="rId3" Type="http://schemas.openxmlformats.org/officeDocument/2006/relationships/slideLayout" Target="../slideLayouts/slideLayout162.xml"/></Relationships>
</file>

<file path=ppt/slideMasters/_rels/slideMaster42.xml.rels><?xml version="1.0" encoding="UTF-8" standalone="yes"?>
<Relationships xmlns="http://schemas.openxmlformats.org/package/2006/relationships"><Relationship Id="rId13" Type="http://schemas.openxmlformats.org/officeDocument/2006/relationships/tags" Target="../tags/tag1442.xml"/><Relationship Id="rId18" Type="http://schemas.openxmlformats.org/officeDocument/2006/relationships/tags" Target="../tags/tag1447.xml"/><Relationship Id="rId26" Type="http://schemas.openxmlformats.org/officeDocument/2006/relationships/tags" Target="../tags/tag1455.xml"/><Relationship Id="rId21" Type="http://schemas.openxmlformats.org/officeDocument/2006/relationships/tags" Target="../tags/tag1450.xml"/><Relationship Id="rId34" Type="http://schemas.openxmlformats.org/officeDocument/2006/relationships/tags" Target="../tags/tag1463.xml"/><Relationship Id="rId7" Type="http://schemas.openxmlformats.org/officeDocument/2006/relationships/tags" Target="../tags/tag1436.xml"/><Relationship Id="rId12" Type="http://schemas.openxmlformats.org/officeDocument/2006/relationships/tags" Target="../tags/tag1441.xml"/><Relationship Id="rId17" Type="http://schemas.openxmlformats.org/officeDocument/2006/relationships/tags" Target="../tags/tag1446.xml"/><Relationship Id="rId25" Type="http://schemas.openxmlformats.org/officeDocument/2006/relationships/tags" Target="../tags/tag1454.xml"/><Relationship Id="rId33" Type="http://schemas.openxmlformats.org/officeDocument/2006/relationships/tags" Target="../tags/tag1462.xml"/><Relationship Id="rId2" Type="http://schemas.openxmlformats.org/officeDocument/2006/relationships/slideLayout" Target="../slideLayouts/slideLayout165.xml"/><Relationship Id="rId16" Type="http://schemas.openxmlformats.org/officeDocument/2006/relationships/tags" Target="../tags/tag1445.xml"/><Relationship Id="rId20" Type="http://schemas.openxmlformats.org/officeDocument/2006/relationships/tags" Target="../tags/tag1449.xml"/><Relationship Id="rId29" Type="http://schemas.openxmlformats.org/officeDocument/2006/relationships/tags" Target="../tags/tag1458.xml"/><Relationship Id="rId1" Type="http://schemas.openxmlformats.org/officeDocument/2006/relationships/slideLayout" Target="../slideLayouts/slideLayout164.xml"/><Relationship Id="rId6" Type="http://schemas.openxmlformats.org/officeDocument/2006/relationships/vmlDrawing" Target="../drawings/vmlDrawing205.vml"/><Relationship Id="rId11" Type="http://schemas.openxmlformats.org/officeDocument/2006/relationships/tags" Target="../tags/tag1440.xml"/><Relationship Id="rId24" Type="http://schemas.openxmlformats.org/officeDocument/2006/relationships/tags" Target="../tags/tag1453.xml"/><Relationship Id="rId32" Type="http://schemas.openxmlformats.org/officeDocument/2006/relationships/tags" Target="../tags/tag1461.xml"/><Relationship Id="rId37" Type="http://schemas.openxmlformats.org/officeDocument/2006/relationships/image" Target="../media/image1.emf"/><Relationship Id="rId5" Type="http://schemas.openxmlformats.org/officeDocument/2006/relationships/theme" Target="../theme/theme42.xml"/><Relationship Id="rId15" Type="http://schemas.openxmlformats.org/officeDocument/2006/relationships/tags" Target="../tags/tag1444.xml"/><Relationship Id="rId23" Type="http://schemas.openxmlformats.org/officeDocument/2006/relationships/tags" Target="../tags/tag1452.xml"/><Relationship Id="rId28" Type="http://schemas.openxmlformats.org/officeDocument/2006/relationships/tags" Target="../tags/tag1457.xml"/><Relationship Id="rId36" Type="http://schemas.openxmlformats.org/officeDocument/2006/relationships/oleObject" Target="../embeddings/oleObject205.bin"/><Relationship Id="rId10" Type="http://schemas.openxmlformats.org/officeDocument/2006/relationships/tags" Target="../tags/tag1439.xml"/><Relationship Id="rId19" Type="http://schemas.openxmlformats.org/officeDocument/2006/relationships/tags" Target="../tags/tag1448.xml"/><Relationship Id="rId31" Type="http://schemas.openxmlformats.org/officeDocument/2006/relationships/tags" Target="../tags/tag1460.xml"/><Relationship Id="rId4" Type="http://schemas.openxmlformats.org/officeDocument/2006/relationships/slideLayout" Target="../slideLayouts/slideLayout167.xml"/><Relationship Id="rId9" Type="http://schemas.openxmlformats.org/officeDocument/2006/relationships/tags" Target="../tags/tag1438.xml"/><Relationship Id="rId14" Type="http://schemas.openxmlformats.org/officeDocument/2006/relationships/tags" Target="../tags/tag1443.xml"/><Relationship Id="rId22" Type="http://schemas.openxmlformats.org/officeDocument/2006/relationships/tags" Target="../tags/tag1451.xml"/><Relationship Id="rId27" Type="http://schemas.openxmlformats.org/officeDocument/2006/relationships/tags" Target="../tags/tag1456.xml"/><Relationship Id="rId30" Type="http://schemas.openxmlformats.org/officeDocument/2006/relationships/tags" Target="../tags/tag1459.xml"/><Relationship Id="rId35" Type="http://schemas.openxmlformats.org/officeDocument/2006/relationships/tags" Target="../tags/tag1464.xml"/><Relationship Id="rId8" Type="http://schemas.openxmlformats.org/officeDocument/2006/relationships/tags" Target="../tags/tag1437.xml"/><Relationship Id="rId3" Type="http://schemas.openxmlformats.org/officeDocument/2006/relationships/slideLayout" Target="../slideLayouts/slideLayout166.xml"/></Relationships>
</file>

<file path=ppt/slideMasters/_rels/slideMaster43.xml.rels><?xml version="1.0" encoding="UTF-8" standalone="yes"?>
<Relationships xmlns="http://schemas.openxmlformats.org/package/2006/relationships"><Relationship Id="rId13" Type="http://schemas.openxmlformats.org/officeDocument/2006/relationships/tags" Target="../tags/tag1477.xml"/><Relationship Id="rId18" Type="http://schemas.openxmlformats.org/officeDocument/2006/relationships/tags" Target="../tags/tag1482.xml"/><Relationship Id="rId26" Type="http://schemas.openxmlformats.org/officeDocument/2006/relationships/tags" Target="../tags/tag1490.xml"/><Relationship Id="rId21" Type="http://schemas.openxmlformats.org/officeDocument/2006/relationships/tags" Target="../tags/tag1485.xml"/><Relationship Id="rId34" Type="http://schemas.openxmlformats.org/officeDocument/2006/relationships/tags" Target="../tags/tag1498.xml"/><Relationship Id="rId7" Type="http://schemas.openxmlformats.org/officeDocument/2006/relationships/tags" Target="../tags/tag1471.xml"/><Relationship Id="rId12" Type="http://schemas.openxmlformats.org/officeDocument/2006/relationships/tags" Target="../tags/tag1476.xml"/><Relationship Id="rId17" Type="http://schemas.openxmlformats.org/officeDocument/2006/relationships/tags" Target="../tags/tag1481.xml"/><Relationship Id="rId25" Type="http://schemas.openxmlformats.org/officeDocument/2006/relationships/tags" Target="../tags/tag1489.xml"/><Relationship Id="rId33" Type="http://schemas.openxmlformats.org/officeDocument/2006/relationships/tags" Target="../tags/tag1497.xml"/><Relationship Id="rId2" Type="http://schemas.openxmlformats.org/officeDocument/2006/relationships/slideLayout" Target="../slideLayouts/slideLayout169.xml"/><Relationship Id="rId16" Type="http://schemas.openxmlformats.org/officeDocument/2006/relationships/tags" Target="../tags/tag1480.xml"/><Relationship Id="rId20" Type="http://schemas.openxmlformats.org/officeDocument/2006/relationships/tags" Target="../tags/tag1484.xml"/><Relationship Id="rId29" Type="http://schemas.openxmlformats.org/officeDocument/2006/relationships/tags" Target="../tags/tag1493.xml"/><Relationship Id="rId1" Type="http://schemas.openxmlformats.org/officeDocument/2006/relationships/slideLayout" Target="../slideLayouts/slideLayout168.xml"/><Relationship Id="rId6" Type="http://schemas.openxmlformats.org/officeDocument/2006/relationships/vmlDrawing" Target="../drawings/vmlDrawing210.vml"/><Relationship Id="rId11" Type="http://schemas.openxmlformats.org/officeDocument/2006/relationships/tags" Target="../tags/tag1475.xml"/><Relationship Id="rId24" Type="http://schemas.openxmlformats.org/officeDocument/2006/relationships/tags" Target="../tags/tag1488.xml"/><Relationship Id="rId32" Type="http://schemas.openxmlformats.org/officeDocument/2006/relationships/tags" Target="../tags/tag1496.xml"/><Relationship Id="rId37" Type="http://schemas.openxmlformats.org/officeDocument/2006/relationships/image" Target="../media/image1.emf"/><Relationship Id="rId5" Type="http://schemas.openxmlformats.org/officeDocument/2006/relationships/theme" Target="../theme/theme43.xml"/><Relationship Id="rId15" Type="http://schemas.openxmlformats.org/officeDocument/2006/relationships/tags" Target="../tags/tag1479.xml"/><Relationship Id="rId23" Type="http://schemas.openxmlformats.org/officeDocument/2006/relationships/tags" Target="../tags/tag1487.xml"/><Relationship Id="rId28" Type="http://schemas.openxmlformats.org/officeDocument/2006/relationships/tags" Target="../tags/tag1492.xml"/><Relationship Id="rId36" Type="http://schemas.openxmlformats.org/officeDocument/2006/relationships/oleObject" Target="../embeddings/oleObject210.bin"/><Relationship Id="rId10" Type="http://schemas.openxmlformats.org/officeDocument/2006/relationships/tags" Target="../tags/tag1474.xml"/><Relationship Id="rId19" Type="http://schemas.openxmlformats.org/officeDocument/2006/relationships/tags" Target="../tags/tag1483.xml"/><Relationship Id="rId31" Type="http://schemas.openxmlformats.org/officeDocument/2006/relationships/tags" Target="../tags/tag1495.xml"/><Relationship Id="rId4" Type="http://schemas.openxmlformats.org/officeDocument/2006/relationships/slideLayout" Target="../slideLayouts/slideLayout171.xml"/><Relationship Id="rId9" Type="http://schemas.openxmlformats.org/officeDocument/2006/relationships/tags" Target="../tags/tag1473.xml"/><Relationship Id="rId14" Type="http://schemas.openxmlformats.org/officeDocument/2006/relationships/tags" Target="../tags/tag1478.xml"/><Relationship Id="rId22" Type="http://schemas.openxmlformats.org/officeDocument/2006/relationships/tags" Target="../tags/tag1486.xml"/><Relationship Id="rId27" Type="http://schemas.openxmlformats.org/officeDocument/2006/relationships/tags" Target="../tags/tag1491.xml"/><Relationship Id="rId30" Type="http://schemas.openxmlformats.org/officeDocument/2006/relationships/tags" Target="../tags/tag1494.xml"/><Relationship Id="rId35" Type="http://schemas.openxmlformats.org/officeDocument/2006/relationships/tags" Target="../tags/tag1499.xml"/><Relationship Id="rId8" Type="http://schemas.openxmlformats.org/officeDocument/2006/relationships/tags" Target="../tags/tag1472.xml"/><Relationship Id="rId3" Type="http://schemas.openxmlformats.org/officeDocument/2006/relationships/slideLayout" Target="../slideLayouts/slideLayout170.xml"/></Relationships>
</file>

<file path=ppt/slideMasters/_rels/slideMaster44.xml.rels><?xml version="1.0" encoding="UTF-8" standalone="yes"?>
<Relationships xmlns="http://schemas.openxmlformats.org/package/2006/relationships"><Relationship Id="rId13" Type="http://schemas.openxmlformats.org/officeDocument/2006/relationships/tags" Target="../tags/tag1512.xml"/><Relationship Id="rId18" Type="http://schemas.openxmlformats.org/officeDocument/2006/relationships/tags" Target="../tags/tag1517.xml"/><Relationship Id="rId26" Type="http://schemas.openxmlformats.org/officeDocument/2006/relationships/tags" Target="../tags/tag1525.xml"/><Relationship Id="rId21" Type="http://schemas.openxmlformats.org/officeDocument/2006/relationships/tags" Target="../tags/tag1520.xml"/><Relationship Id="rId34" Type="http://schemas.openxmlformats.org/officeDocument/2006/relationships/tags" Target="../tags/tag1533.xml"/><Relationship Id="rId7" Type="http://schemas.openxmlformats.org/officeDocument/2006/relationships/tags" Target="../tags/tag1506.xml"/><Relationship Id="rId12" Type="http://schemas.openxmlformats.org/officeDocument/2006/relationships/tags" Target="../tags/tag1511.xml"/><Relationship Id="rId17" Type="http://schemas.openxmlformats.org/officeDocument/2006/relationships/tags" Target="../tags/tag1516.xml"/><Relationship Id="rId25" Type="http://schemas.openxmlformats.org/officeDocument/2006/relationships/tags" Target="../tags/tag1524.xml"/><Relationship Id="rId33" Type="http://schemas.openxmlformats.org/officeDocument/2006/relationships/tags" Target="../tags/tag1532.xml"/><Relationship Id="rId2" Type="http://schemas.openxmlformats.org/officeDocument/2006/relationships/slideLayout" Target="../slideLayouts/slideLayout173.xml"/><Relationship Id="rId16" Type="http://schemas.openxmlformats.org/officeDocument/2006/relationships/tags" Target="../tags/tag1515.xml"/><Relationship Id="rId20" Type="http://schemas.openxmlformats.org/officeDocument/2006/relationships/tags" Target="../tags/tag1519.xml"/><Relationship Id="rId29" Type="http://schemas.openxmlformats.org/officeDocument/2006/relationships/tags" Target="../tags/tag1528.xml"/><Relationship Id="rId1" Type="http://schemas.openxmlformats.org/officeDocument/2006/relationships/slideLayout" Target="../slideLayouts/slideLayout172.xml"/><Relationship Id="rId6" Type="http://schemas.openxmlformats.org/officeDocument/2006/relationships/vmlDrawing" Target="../drawings/vmlDrawing215.vml"/><Relationship Id="rId11" Type="http://schemas.openxmlformats.org/officeDocument/2006/relationships/tags" Target="../tags/tag1510.xml"/><Relationship Id="rId24" Type="http://schemas.openxmlformats.org/officeDocument/2006/relationships/tags" Target="../tags/tag1523.xml"/><Relationship Id="rId32" Type="http://schemas.openxmlformats.org/officeDocument/2006/relationships/tags" Target="../tags/tag1531.xml"/><Relationship Id="rId37" Type="http://schemas.openxmlformats.org/officeDocument/2006/relationships/image" Target="../media/image1.emf"/><Relationship Id="rId5" Type="http://schemas.openxmlformats.org/officeDocument/2006/relationships/theme" Target="../theme/theme44.xml"/><Relationship Id="rId15" Type="http://schemas.openxmlformats.org/officeDocument/2006/relationships/tags" Target="../tags/tag1514.xml"/><Relationship Id="rId23" Type="http://schemas.openxmlformats.org/officeDocument/2006/relationships/tags" Target="../tags/tag1522.xml"/><Relationship Id="rId28" Type="http://schemas.openxmlformats.org/officeDocument/2006/relationships/tags" Target="../tags/tag1527.xml"/><Relationship Id="rId36" Type="http://schemas.openxmlformats.org/officeDocument/2006/relationships/oleObject" Target="../embeddings/oleObject215.bin"/><Relationship Id="rId10" Type="http://schemas.openxmlformats.org/officeDocument/2006/relationships/tags" Target="../tags/tag1509.xml"/><Relationship Id="rId19" Type="http://schemas.openxmlformats.org/officeDocument/2006/relationships/tags" Target="../tags/tag1518.xml"/><Relationship Id="rId31" Type="http://schemas.openxmlformats.org/officeDocument/2006/relationships/tags" Target="../tags/tag1530.xml"/><Relationship Id="rId4" Type="http://schemas.openxmlformats.org/officeDocument/2006/relationships/slideLayout" Target="../slideLayouts/slideLayout175.xml"/><Relationship Id="rId9" Type="http://schemas.openxmlformats.org/officeDocument/2006/relationships/tags" Target="../tags/tag1508.xml"/><Relationship Id="rId14" Type="http://schemas.openxmlformats.org/officeDocument/2006/relationships/tags" Target="../tags/tag1513.xml"/><Relationship Id="rId22" Type="http://schemas.openxmlformats.org/officeDocument/2006/relationships/tags" Target="../tags/tag1521.xml"/><Relationship Id="rId27" Type="http://schemas.openxmlformats.org/officeDocument/2006/relationships/tags" Target="../tags/tag1526.xml"/><Relationship Id="rId30" Type="http://schemas.openxmlformats.org/officeDocument/2006/relationships/tags" Target="../tags/tag1529.xml"/><Relationship Id="rId35" Type="http://schemas.openxmlformats.org/officeDocument/2006/relationships/tags" Target="../tags/tag1534.xml"/><Relationship Id="rId8" Type="http://schemas.openxmlformats.org/officeDocument/2006/relationships/tags" Target="../tags/tag1507.xml"/><Relationship Id="rId3" Type="http://schemas.openxmlformats.org/officeDocument/2006/relationships/slideLayout" Target="../slideLayouts/slideLayout174.xml"/></Relationships>
</file>

<file path=ppt/slideMasters/_rels/slideMaster45.xml.rels><?xml version="1.0" encoding="UTF-8" standalone="yes"?>
<Relationships xmlns="http://schemas.openxmlformats.org/package/2006/relationships"><Relationship Id="rId13" Type="http://schemas.openxmlformats.org/officeDocument/2006/relationships/tags" Target="../tags/tag1547.xml"/><Relationship Id="rId18" Type="http://schemas.openxmlformats.org/officeDocument/2006/relationships/tags" Target="../tags/tag1552.xml"/><Relationship Id="rId26" Type="http://schemas.openxmlformats.org/officeDocument/2006/relationships/tags" Target="../tags/tag1560.xml"/><Relationship Id="rId21" Type="http://schemas.openxmlformats.org/officeDocument/2006/relationships/tags" Target="../tags/tag1555.xml"/><Relationship Id="rId34" Type="http://schemas.openxmlformats.org/officeDocument/2006/relationships/tags" Target="../tags/tag1568.xml"/><Relationship Id="rId7" Type="http://schemas.openxmlformats.org/officeDocument/2006/relationships/tags" Target="../tags/tag1541.xml"/><Relationship Id="rId12" Type="http://schemas.openxmlformats.org/officeDocument/2006/relationships/tags" Target="../tags/tag1546.xml"/><Relationship Id="rId17" Type="http://schemas.openxmlformats.org/officeDocument/2006/relationships/tags" Target="../tags/tag1551.xml"/><Relationship Id="rId25" Type="http://schemas.openxmlformats.org/officeDocument/2006/relationships/tags" Target="../tags/tag1559.xml"/><Relationship Id="rId33" Type="http://schemas.openxmlformats.org/officeDocument/2006/relationships/tags" Target="../tags/tag1567.xml"/><Relationship Id="rId2" Type="http://schemas.openxmlformats.org/officeDocument/2006/relationships/slideLayout" Target="../slideLayouts/slideLayout177.xml"/><Relationship Id="rId16" Type="http://schemas.openxmlformats.org/officeDocument/2006/relationships/tags" Target="../tags/tag1550.xml"/><Relationship Id="rId20" Type="http://schemas.openxmlformats.org/officeDocument/2006/relationships/tags" Target="../tags/tag1554.xml"/><Relationship Id="rId29" Type="http://schemas.openxmlformats.org/officeDocument/2006/relationships/tags" Target="../tags/tag1563.xml"/><Relationship Id="rId1" Type="http://schemas.openxmlformats.org/officeDocument/2006/relationships/slideLayout" Target="../slideLayouts/slideLayout176.xml"/><Relationship Id="rId6" Type="http://schemas.openxmlformats.org/officeDocument/2006/relationships/vmlDrawing" Target="../drawings/vmlDrawing220.vml"/><Relationship Id="rId11" Type="http://schemas.openxmlformats.org/officeDocument/2006/relationships/tags" Target="../tags/tag1545.xml"/><Relationship Id="rId24" Type="http://schemas.openxmlformats.org/officeDocument/2006/relationships/tags" Target="../tags/tag1558.xml"/><Relationship Id="rId32" Type="http://schemas.openxmlformats.org/officeDocument/2006/relationships/tags" Target="../tags/tag1566.xml"/><Relationship Id="rId37" Type="http://schemas.openxmlformats.org/officeDocument/2006/relationships/image" Target="../media/image1.emf"/><Relationship Id="rId5" Type="http://schemas.openxmlformats.org/officeDocument/2006/relationships/theme" Target="../theme/theme45.xml"/><Relationship Id="rId15" Type="http://schemas.openxmlformats.org/officeDocument/2006/relationships/tags" Target="../tags/tag1549.xml"/><Relationship Id="rId23" Type="http://schemas.openxmlformats.org/officeDocument/2006/relationships/tags" Target="../tags/tag1557.xml"/><Relationship Id="rId28" Type="http://schemas.openxmlformats.org/officeDocument/2006/relationships/tags" Target="../tags/tag1562.xml"/><Relationship Id="rId36" Type="http://schemas.openxmlformats.org/officeDocument/2006/relationships/oleObject" Target="../embeddings/oleObject220.bin"/><Relationship Id="rId10" Type="http://schemas.openxmlformats.org/officeDocument/2006/relationships/tags" Target="../tags/tag1544.xml"/><Relationship Id="rId19" Type="http://schemas.openxmlformats.org/officeDocument/2006/relationships/tags" Target="../tags/tag1553.xml"/><Relationship Id="rId31" Type="http://schemas.openxmlformats.org/officeDocument/2006/relationships/tags" Target="../tags/tag1565.xml"/><Relationship Id="rId4" Type="http://schemas.openxmlformats.org/officeDocument/2006/relationships/slideLayout" Target="../slideLayouts/slideLayout179.xml"/><Relationship Id="rId9" Type="http://schemas.openxmlformats.org/officeDocument/2006/relationships/tags" Target="../tags/tag1543.xml"/><Relationship Id="rId14" Type="http://schemas.openxmlformats.org/officeDocument/2006/relationships/tags" Target="../tags/tag1548.xml"/><Relationship Id="rId22" Type="http://schemas.openxmlformats.org/officeDocument/2006/relationships/tags" Target="../tags/tag1556.xml"/><Relationship Id="rId27" Type="http://schemas.openxmlformats.org/officeDocument/2006/relationships/tags" Target="../tags/tag1561.xml"/><Relationship Id="rId30" Type="http://schemas.openxmlformats.org/officeDocument/2006/relationships/tags" Target="../tags/tag1564.xml"/><Relationship Id="rId35" Type="http://schemas.openxmlformats.org/officeDocument/2006/relationships/tags" Target="../tags/tag1569.xml"/><Relationship Id="rId8" Type="http://schemas.openxmlformats.org/officeDocument/2006/relationships/tags" Target="../tags/tag1542.xml"/><Relationship Id="rId3" Type="http://schemas.openxmlformats.org/officeDocument/2006/relationships/slideLayout" Target="../slideLayouts/slideLayout178.xml"/></Relationships>
</file>

<file path=ppt/slideMasters/_rels/slideMaster46.xml.rels><?xml version="1.0" encoding="UTF-8" standalone="yes"?>
<Relationships xmlns="http://schemas.openxmlformats.org/package/2006/relationships"><Relationship Id="rId13" Type="http://schemas.openxmlformats.org/officeDocument/2006/relationships/tags" Target="../tags/tag1582.xml"/><Relationship Id="rId18" Type="http://schemas.openxmlformats.org/officeDocument/2006/relationships/tags" Target="../tags/tag1587.xml"/><Relationship Id="rId26" Type="http://schemas.openxmlformats.org/officeDocument/2006/relationships/tags" Target="../tags/tag1595.xml"/><Relationship Id="rId21" Type="http://schemas.openxmlformats.org/officeDocument/2006/relationships/tags" Target="../tags/tag1590.xml"/><Relationship Id="rId34" Type="http://schemas.openxmlformats.org/officeDocument/2006/relationships/tags" Target="../tags/tag1603.xml"/><Relationship Id="rId7" Type="http://schemas.openxmlformats.org/officeDocument/2006/relationships/tags" Target="../tags/tag1576.xml"/><Relationship Id="rId12" Type="http://schemas.openxmlformats.org/officeDocument/2006/relationships/tags" Target="../tags/tag1581.xml"/><Relationship Id="rId17" Type="http://schemas.openxmlformats.org/officeDocument/2006/relationships/tags" Target="../tags/tag1586.xml"/><Relationship Id="rId25" Type="http://schemas.openxmlformats.org/officeDocument/2006/relationships/tags" Target="../tags/tag1594.xml"/><Relationship Id="rId33" Type="http://schemas.openxmlformats.org/officeDocument/2006/relationships/tags" Target="../tags/tag1602.xml"/><Relationship Id="rId2" Type="http://schemas.openxmlformats.org/officeDocument/2006/relationships/slideLayout" Target="../slideLayouts/slideLayout181.xml"/><Relationship Id="rId16" Type="http://schemas.openxmlformats.org/officeDocument/2006/relationships/tags" Target="../tags/tag1585.xml"/><Relationship Id="rId20" Type="http://schemas.openxmlformats.org/officeDocument/2006/relationships/tags" Target="../tags/tag1589.xml"/><Relationship Id="rId29" Type="http://schemas.openxmlformats.org/officeDocument/2006/relationships/tags" Target="../tags/tag1598.xml"/><Relationship Id="rId1" Type="http://schemas.openxmlformats.org/officeDocument/2006/relationships/slideLayout" Target="../slideLayouts/slideLayout180.xml"/><Relationship Id="rId6" Type="http://schemas.openxmlformats.org/officeDocument/2006/relationships/vmlDrawing" Target="../drawings/vmlDrawing225.vml"/><Relationship Id="rId11" Type="http://schemas.openxmlformats.org/officeDocument/2006/relationships/tags" Target="../tags/tag1580.xml"/><Relationship Id="rId24" Type="http://schemas.openxmlformats.org/officeDocument/2006/relationships/tags" Target="../tags/tag1593.xml"/><Relationship Id="rId32" Type="http://schemas.openxmlformats.org/officeDocument/2006/relationships/tags" Target="../tags/tag1601.xml"/><Relationship Id="rId37" Type="http://schemas.openxmlformats.org/officeDocument/2006/relationships/image" Target="../media/image1.emf"/><Relationship Id="rId5" Type="http://schemas.openxmlformats.org/officeDocument/2006/relationships/theme" Target="../theme/theme46.xml"/><Relationship Id="rId15" Type="http://schemas.openxmlformats.org/officeDocument/2006/relationships/tags" Target="../tags/tag1584.xml"/><Relationship Id="rId23" Type="http://schemas.openxmlformats.org/officeDocument/2006/relationships/tags" Target="../tags/tag1592.xml"/><Relationship Id="rId28" Type="http://schemas.openxmlformats.org/officeDocument/2006/relationships/tags" Target="../tags/tag1597.xml"/><Relationship Id="rId36" Type="http://schemas.openxmlformats.org/officeDocument/2006/relationships/oleObject" Target="../embeddings/oleObject225.bin"/><Relationship Id="rId10" Type="http://schemas.openxmlformats.org/officeDocument/2006/relationships/tags" Target="../tags/tag1579.xml"/><Relationship Id="rId19" Type="http://schemas.openxmlformats.org/officeDocument/2006/relationships/tags" Target="../tags/tag1588.xml"/><Relationship Id="rId31" Type="http://schemas.openxmlformats.org/officeDocument/2006/relationships/tags" Target="../tags/tag1600.xml"/><Relationship Id="rId4" Type="http://schemas.openxmlformats.org/officeDocument/2006/relationships/slideLayout" Target="../slideLayouts/slideLayout183.xml"/><Relationship Id="rId9" Type="http://schemas.openxmlformats.org/officeDocument/2006/relationships/tags" Target="../tags/tag1578.xml"/><Relationship Id="rId14" Type="http://schemas.openxmlformats.org/officeDocument/2006/relationships/tags" Target="../tags/tag1583.xml"/><Relationship Id="rId22" Type="http://schemas.openxmlformats.org/officeDocument/2006/relationships/tags" Target="../tags/tag1591.xml"/><Relationship Id="rId27" Type="http://schemas.openxmlformats.org/officeDocument/2006/relationships/tags" Target="../tags/tag1596.xml"/><Relationship Id="rId30" Type="http://schemas.openxmlformats.org/officeDocument/2006/relationships/tags" Target="../tags/tag1599.xml"/><Relationship Id="rId35" Type="http://schemas.openxmlformats.org/officeDocument/2006/relationships/tags" Target="../tags/tag1604.xml"/><Relationship Id="rId8" Type="http://schemas.openxmlformats.org/officeDocument/2006/relationships/tags" Target="../tags/tag1577.xml"/><Relationship Id="rId3" Type="http://schemas.openxmlformats.org/officeDocument/2006/relationships/slideLayout" Target="../slideLayouts/slideLayout182.xml"/></Relationships>
</file>

<file path=ppt/slideMasters/_rels/slideMaster47.xml.rels><?xml version="1.0" encoding="UTF-8" standalone="yes"?>
<Relationships xmlns="http://schemas.openxmlformats.org/package/2006/relationships"><Relationship Id="rId13" Type="http://schemas.openxmlformats.org/officeDocument/2006/relationships/tags" Target="../tags/tag1617.xml"/><Relationship Id="rId18" Type="http://schemas.openxmlformats.org/officeDocument/2006/relationships/tags" Target="../tags/tag1622.xml"/><Relationship Id="rId26" Type="http://schemas.openxmlformats.org/officeDocument/2006/relationships/tags" Target="../tags/tag1630.xml"/><Relationship Id="rId21" Type="http://schemas.openxmlformats.org/officeDocument/2006/relationships/tags" Target="../tags/tag1625.xml"/><Relationship Id="rId34" Type="http://schemas.openxmlformats.org/officeDocument/2006/relationships/tags" Target="../tags/tag1638.xml"/><Relationship Id="rId7" Type="http://schemas.openxmlformats.org/officeDocument/2006/relationships/tags" Target="../tags/tag1611.xml"/><Relationship Id="rId12" Type="http://schemas.openxmlformats.org/officeDocument/2006/relationships/tags" Target="../tags/tag1616.xml"/><Relationship Id="rId17" Type="http://schemas.openxmlformats.org/officeDocument/2006/relationships/tags" Target="../tags/tag1621.xml"/><Relationship Id="rId25" Type="http://schemas.openxmlformats.org/officeDocument/2006/relationships/tags" Target="../tags/tag1629.xml"/><Relationship Id="rId33" Type="http://schemas.openxmlformats.org/officeDocument/2006/relationships/tags" Target="../tags/tag1637.xml"/><Relationship Id="rId2" Type="http://schemas.openxmlformats.org/officeDocument/2006/relationships/slideLayout" Target="../slideLayouts/slideLayout185.xml"/><Relationship Id="rId16" Type="http://schemas.openxmlformats.org/officeDocument/2006/relationships/tags" Target="../tags/tag1620.xml"/><Relationship Id="rId20" Type="http://schemas.openxmlformats.org/officeDocument/2006/relationships/tags" Target="../tags/tag1624.xml"/><Relationship Id="rId29" Type="http://schemas.openxmlformats.org/officeDocument/2006/relationships/tags" Target="../tags/tag1633.xml"/><Relationship Id="rId1" Type="http://schemas.openxmlformats.org/officeDocument/2006/relationships/slideLayout" Target="../slideLayouts/slideLayout184.xml"/><Relationship Id="rId6" Type="http://schemas.openxmlformats.org/officeDocument/2006/relationships/vmlDrawing" Target="../drawings/vmlDrawing230.vml"/><Relationship Id="rId11" Type="http://schemas.openxmlformats.org/officeDocument/2006/relationships/tags" Target="../tags/tag1615.xml"/><Relationship Id="rId24" Type="http://schemas.openxmlformats.org/officeDocument/2006/relationships/tags" Target="../tags/tag1628.xml"/><Relationship Id="rId32" Type="http://schemas.openxmlformats.org/officeDocument/2006/relationships/tags" Target="../tags/tag1636.xml"/><Relationship Id="rId37" Type="http://schemas.openxmlformats.org/officeDocument/2006/relationships/image" Target="../media/image1.emf"/><Relationship Id="rId5" Type="http://schemas.openxmlformats.org/officeDocument/2006/relationships/theme" Target="../theme/theme47.xml"/><Relationship Id="rId15" Type="http://schemas.openxmlformats.org/officeDocument/2006/relationships/tags" Target="../tags/tag1619.xml"/><Relationship Id="rId23" Type="http://schemas.openxmlformats.org/officeDocument/2006/relationships/tags" Target="../tags/tag1627.xml"/><Relationship Id="rId28" Type="http://schemas.openxmlformats.org/officeDocument/2006/relationships/tags" Target="../tags/tag1632.xml"/><Relationship Id="rId36" Type="http://schemas.openxmlformats.org/officeDocument/2006/relationships/oleObject" Target="../embeddings/oleObject230.bin"/><Relationship Id="rId10" Type="http://schemas.openxmlformats.org/officeDocument/2006/relationships/tags" Target="../tags/tag1614.xml"/><Relationship Id="rId19" Type="http://schemas.openxmlformats.org/officeDocument/2006/relationships/tags" Target="../tags/tag1623.xml"/><Relationship Id="rId31" Type="http://schemas.openxmlformats.org/officeDocument/2006/relationships/tags" Target="../tags/tag1635.xml"/><Relationship Id="rId4" Type="http://schemas.openxmlformats.org/officeDocument/2006/relationships/slideLayout" Target="../slideLayouts/slideLayout187.xml"/><Relationship Id="rId9" Type="http://schemas.openxmlformats.org/officeDocument/2006/relationships/tags" Target="../tags/tag1613.xml"/><Relationship Id="rId14" Type="http://schemas.openxmlformats.org/officeDocument/2006/relationships/tags" Target="../tags/tag1618.xml"/><Relationship Id="rId22" Type="http://schemas.openxmlformats.org/officeDocument/2006/relationships/tags" Target="../tags/tag1626.xml"/><Relationship Id="rId27" Type="http://schemas.openxmlformats.org/officeDocument/2006/relationships/tags" Target="../tags/tag1631.xml"/><Relationship Id="rId30" Type="http://schemas.openxmlformats.org/officeDocument/2006/relationships/tags" Target="../tags/tag1634.xml"/><Relationship Id="rId35" Type="http://schemas.openxmlformats.org/officeDocument/2006/relationships/tags" Target="../tags/tag1639.xml"/><Relationship Id="rId8" Type="http://schemas.openxmlformats.org/officeDocument/2006/relationships/tags" Target="../tags/tag1612.xml"/><Relationship Id="rId3" Type="http://schemas.openxmlformats.org/officeDocument/2006/relationships/slideLayout" Target="../slideLayouts/slideLayout186.xml"/></Relationships>
</file>

<file path=ppt/slideMasters/_rels/slideMaster48.xml.rels><?xml version="1.0" encoding="UTF-8" standalone="yes"?>
<Relationships xmlns="http://schemas.openxmlformats.org/package/2006/relationships"><Relationship Id="rId13" Type="http://schemas.openxmlformats.org/officeDocument/2006/relationships/tags" Target="../tags/tag1652.xml"/><Relationship Id="rId18" Type="http://schemas.openxmlformats.org/officeDocument/2006/relationships/tags" Target="../tags/tag1657.xml"/><Relationship Id="rId26" Type="http://schemas.openxmlformats.org/officeDocument/2006/relationships/tags" Target="../tags/tag1665.xml"/><Relationship Id="rId21" Type="http://schemas.openxmlformats.org/officeDocument/2006/relationships/tags" Target="../tags/tag1660.xml"/><Relationship Id="rId34" Type="http://schemas.openxmlformats.org/officeDocument/2006/relationships/tags" Target="../tags/tag1673.xml"/><Relationship Id="rId7" Type="http://schemas.openxmlformats.org/officeDocument/2006/relationships/tags" Target="../tags/tag1646.xml"/><Relationship Id="rId12" Type="http://schemas.openxmlformats.org/officeDocument/2006/relationships/tags" Target="../tags/tag1651.xml"/><Relationship Id="rId17" Type="http://schemas.openxmlformats.org/officeDocument/2006/relationships/tags" Target="../tags/tag1656.xml"/><Relationship Id="rId25" Type="http://schemas.openxmlformats.org/officeDocument/2006/relationships/tags" Target="../tags/tag1664.xml"/><Relationship Id="rId33" Type="http://schemas.openxmlformats.org/officeDocument/2006/relationships/tags" Target="../tags/tag1672.xml"/><Relationship Id="rId2" Type="http://schemas.openxmlformats.org/officeDocument/2006/relationships/slideLayout" Target="../slideLayouts/slideLayout189.xml"/><Relationship Id="rId16" Type="http://schemas.openxmlformats.org/officeDocument/2006/relationships/tags" Target="../tags/tag1655.xml"/><Relationship Id="rId20" Type="http://schemas.openxmlformats.org/officeDocument/2006/relationships/tags" Target="../tags/tag1659.xml"/><Relationship Id="rId29" Type="http://schemas.openxmlformats.org/officeDocument/2006/relationships/tags" Target="../tags/tag1668.xml"/><Relationship Id="rId1" Type="http://schemas.openxmlformats.org/officeDocument/2006/relationships/slideLayout" Target="../slideLayouts/slideLayout188.xml"/><Relationship Id="rId6" Type="http://schemas.openxmlformats.org/officeDocument/2006/relationships/vmlDrawing" Target="../drawings/vmlDrawing235.vml"/><Relationship Id="rId11" Type="http://schemas.openxmlformats.org/officeDocument/2006/relationships/tags" Target="../tags/tag1650.xml"/><Relationship Id="rId24" Type="http://schemas.openxmlformats.org/officeDocument/2006/relationships/tags" Target="../tags/tag1663.xml"/><Relationship Id="rId32" Type="http://schemas.openxmlformats.org/officeDocument/2006/relationships/tags" Target="../tags/tag1671.xml"/><Relationship Id="rId37" Type="http://schemas.openxmlformats.org/officeDocument/2006/relationships/image" Target="../media/image1.emf"/><Relationship Id="rId5" Type="http://schemas.openxmlformats.org/officeDocument/2006/relationships/theme" Target="../theme/theme48.xml"/><Relationship Id="rId15" Type="http://schemas.openxmlformats.org/officeDocument/2006/relationships/tags" Target="../tags/tag1654.xml"/><Relationship Id="rId23" Type="http://schemas.openxmlformats.org/officeDocument/2006/relationships/tags" Target="../tags/tag1662.xml"/><Relationship Id="rId28" Type="http://schemas.openxmlformats.org/officeDocument/2006/relationships/tags" Target="../tags/tag1667.xml"/><Relationship Id="rId36" Type="http://schemas.openxmlformats.org/officeDocument/2006/relationships/oleObject" Target="../embeddings/oleObject235.bin"/><Relationship Id="rId10" Type="http://schemas.openxmlformats.org/officeDocument/2006/relationships/tags" Target="../tags/tag1649.xml"/><Relationship Id="rId19" Type="http://schemas.openxmlformats.org/officeDocument/2006/relationships/tags" Target="../tags/tag1658.xml"/><Relationship Id="rId31" Type="http://schemas.openxmlformats.org/officeDocument/2006/relationships/tags" Target="../tags/tag1670.xml"/><Relationship Id="rId4" Type="http://schemas.openxmlformats.org/officeDocument/2006/relationships/slideLayout" Target="../slideLayouts/slideLayout191.xml"/><Relationship Id="rId9" Type="http://schemas.openxmlformats.org/officeDocument/2006/relationships/tags" Target="../tags/tag1648.xml"/><Relationship Id="rId14" Type="http://schemas.openxmlformats.org/officeDocument/2006/relationships/tags" Target="../tags/tag1653.xml"/><Relationship Id="rId22" Type="http://schemas.openxmlformats.org/officeDocument/2006/relationships/tags" Target="../tags/tag1661.xml"/><Relationship Id="rId27" Type="http://schemas.openxmlformats.org/officeDocument/2006/relationships/tags" Target="../tags/tag1666.xml"/><Relationship Id="rId30" Type="http://schemas.openxmlformats.org/officeDocument/2006/relationships/tags" Target="../tags/tag1669.xml"/><Relationship Id="rId35" Type="http://schemas.openxmlformats.org/officeDocument/2006/relationships/tags" Target="../tags/tag1674.xml"/><Relationship Id="rId8" Type="http://schemas.openxmlformats.org/officeDocument/2006/relationships/tags" Target="../tags/tag1647.xml"/><Relationship Id="rId3" Type="http://schemas.openxmlformats.org/officeDocument/2006/relationships/slideLayout" Target="../slideLayouts/slideLayout190.xml"/></Relationships>
</file>

<file path=ppt/slideMasters/_rels/slideMaster49.xml.rels><?xml version="1.0" encoding="UTF-8" standalone="yes"?>
<Relationships xmlns="http://schemas.openxmlformats.org/package/2006/relationships"><Relationship Id="rId13" Type="http://schemas.openxmlformats.org/officeDocument/2006/relationships/tags" Target="../tags/tag1687.xml"/><Relationship Id="rId18" Type="http://schemas.openxmlformats.org/officeDocument/2006/relationships/tags" Target="../tags/tag1692.xml"/><Relationship Id="rId26" Type="http://schemas.openxmlformats.org/officeDocument/2006/relationships/tags" Target="../tags/tag1700.xml"/><Relationship Id="rId21" Type="http://schemas.openxmlformats.org/officeDocument/2006/relationships/tags" Target="../tags/tag1695.xml"/><Relationship Id="rId34" Type="http://schemas.openxmlformats.org/officeDocument/2006/relationships/tags" Target="../tags/tag1708.xml"/><Relationship Id="rId7" Type="http://schemas.openxmlformats.org/officeDocument/2006/relationships/tags" Target="../tags/tag1681.xml"/><Relationship Id="rId12" Type="http://schemas.openxmlformats.org/officeDocument/2006/relationships/tags" Target="../tags/tag1686.xml"/><Relationship Id="rId17" Type="http://schemas.openxmlformats.org/officeDocument/2006/relationships/tags" Target="../tags/tag1691.xml"/><Relationship Id="rId25" Type="http://schemas.openxmlformats.org/officeDocument/2006/relationships/tags" Target="../tags/tag1699.xml"/><Relationship Id="rId33" Type="http://schemas.openxmlformats.org/officeDocument/2006/relationships/tags" Target="../tags/tag1707.xml"/><Relationship Id="rId2" Type="http://schemas.openxmlformats.org/officeDocument/2006/relationships/slideLayout" Target="../slideLayouts/slideLayout193.xml"/><Relationship Id="rId16" Type="http://schemas.openxmlformats.org/officeDocument/2006/relationships/tags" Target="../tags/tag1690.xml"/><Relationship Id="rId20" Type="http://schemas.openxmlformats.org/officeDocument/2006/relationships/tags" Target="../tags/tag1694.xml"/><Relationship Id="rId29" Type="http://schemas.openxmlformats.org/officeDocument/2006/relationships/tags" Target="../tags/tag1703.xml"/><Relationship Id="rId1" Type="http://schemas.openxmlformats.org/officeDocument/2006/relationships/slideLayout" Target="../slideLayouts/slideLayout192.xml"/><Relationship Id="rId6" Type="http://schemas.openxmlformats.org/officeDocument/2006/relationships/vmlDrawing" Target="../drawings/vmlDrawing240.vml"/><Relationship Id="rId11" Type="http://schemas.openxmlformats.org/officeDocument/2006/relationships/tags" Target="../tags/tag1685.xml"/><Relationship Id="rId24" Type="http://schemas.openxmlformats.org/officeDocument/2006/relationships/tags" Target="../tags/tag1698.xml"/><Relationship Id="rId32" Type="http://schemas.openxmlformats.org/officeDocument/2006/relationships/tags" Target="../tags/tag1706.xml"/><Relationship Id="rId37" Type="http://schemas.openxmlformats.org/officeDocument/2006/relationships/image" Target="../media/image1.emf"/><Relationship Id="rId5" Type="http://schemas.openxmlformats.org/officeDocument/2006/relationships/theme" Target="../theme/theme49.xml"/><Relationship Id="rId15" Type="http://schemas.openxmlformats.org/officeDocument/2006/relationships/tags" Target="../tags/tag1689.xml"/><Relationship Id="rId23" Type="http://schemas.openxmlformats.org/officeDocument/2006/relationships/tags" Target="../tags/tag1697.xml"/><Relationship Id="rId28" Type="http://schemas.openxmlformats.org/officeDocument/2006/relationships/tags" Target="../tags/tag1702.xml"/><Relationship Id="rId36" Type="http://schemas.openxmlformats.org/officeDocument/2006/relationships/oleObject" Target="../embeddings/oleObject240.bin"/><Relationship Id="rId10" Type="http://schemas.openxmlformats.org/officeDocument/2006/relationships/tags" Target="../tags/tag1684.xml"/><Relationship Id="rId19" Type="http://schemas.openxmlformats.org/officeDocument/2006/relationships/tags" Target="../tags/tag1693.xml"/><Relationship Id="rId31" Type="http://schemas.openxmlformats.org/officeDocument/2006/relationships/tags" Target="../tags/tag1705.xml"/><Relationship Id="rId4" Type="http://schemas.openxmlformats.org/officeDocument/2006/relationships/slideLayout" Target="../slideLayouts/slideLayout195.xml"/><Relationship Id="rId9" Type="http://schemas.openxmlformats.org/officeDocument/2006/relationships/tags" Target="../tags/tag1683.xml"/><Relationship Id="rId14" Type="http://schemas.openxmlformats.org/officeDocument/2006/relationships/tags" Target="../tags/tag1688.xml"/><Relationship Id="rId22" Type="http://schemas.openxmlformats.org/officeDocument/2006/relationships/tags" Target="../tags/tag1696.xml"/><Relationship Id="rId27" Type="http://schemas.openxmlformats.org/officeDocument/2006/relationships/tags" Target="../tags/tag1701.xml"/><Relationship Id="rId30" Type="http://schemas.openxmlformats.org/officeDocument/2006/relationships/tags" Target="../tags/tag1704.xml"/><Relationship Id="rId35" Type="http://schemas.openxmlformats.org/officeDocument/2006/relationships/tags" Target="../tags/tag1709.xml"/><Relationship Id="rId8" Type="http://schemas.openxmlformats.org/officeDocument/2006/relationships/tags" Target="../tags/tag1682.xml"/><Relationship Id="rId3" Type="http://schemas.openxmlformats.org/officeDocument/2006/relationships/slideLayout" Target="../slideLayouts/slideLayout194.xml"/></Relationships>
</file>

<file path=ppt/slideMasters/_rels/slideMaster5.xml.rels><?xml version="1.0" encoding="UTF-8" standalone="yes"?>
<Relationships xmlns="http://schemas.openxmlformats.org/package/2006/relationships"><Relationship Id="rId13" Type="http://schemas.openxmlformats.org/officeDocument/2006/relationships/tags" Target="../tags/tag148.xml"/><Relationship Id="rId18" Type="http://schemas.openxmlformats.org/officeDocument/2006/relationships/tags" Target="../tags/tag153.xml"/><Relationship Id="rId26" Type="http://schemas.openxmlformats.org/officeDocument/2006/relationships/tags" Target="../tags/tag161.xml"/><Relationship Id="rId21" Type="http://schemas.openxmlformats.org/officeDocument/2006/relationships/tags" Target="../tags/tag156.xml"/><Relationship Id="rId34" Type="http://schemas.openxmlformats.org/officeDocument/2006/relationships/tags" Target="../tags/tag169.xml"/><Relationship Id="rId7" Type="http://schemas.openxmlformats.org/officeDocument/2006/relationships/tags" Target="../tags/tag142.xml"/><Relationship Id="rId12" Type="http://schemas.openxmlformats.org/officeDocument/2006/relationships/tags" Target="../tags/tag147.xml"/><Relationship Id="rId17" Type="http://schemas.openxmlformats.org/officeDocument/2006/relationships/tags" Target="../tags/tag152.xml"/><Relationship Id="rId25" Type="http://schemas.openxmlformats.org/officeDocument/2006/relationships/tags" Target="../tags/tag160.xml"/><Relationship Id="rId33" Type="http://schemas.openxmlformats.org/officeDocument/2006/relationships/tags" Target="../tags/tag168.xml"/><Relationship Id="rId2" Type="http://schemas.openxmlformats.org/officeDocument/2006/relationships/slideLayout" Target="../slideLayouts/slideLayout18.xml"/><Relationship Id="rId16" Type="http://schemas.openxmlformats.org/officeDocument/2006/relationships/tags" Target="../tags/tag151.xml"/><Relationship Id="rId20" Type="http://schemas.openxmlformats.org/officeDocument/2006/relationships/tags" Target="../tags/tag155.xml"/><Relationship Id="rId29" Type="http://schemas.openxmlformats.org/officeDocument/2006/relationships/tags" Target="../tags/tag164.xml"/><Relationship Id="rId1" Type="http://schemas.openxmlformats.org/officeDocument/2006/relationships/slideLayout" Target="../slideLayouts/slideLayout17.xml"/><Relationship Id="rId6" Type="http://schemas.openxmlformats.org/officeDocument/2006/relationships/vmlDrawing" Target="../drawings/vmlDrawing21.vml"/><Relationship Id="rId11" Type="http://schemas.openxmlformats.org/officeDocument/2006/relationships/tags" Target="../tags/tag146.xml"/><Relationship Id="rId24" Type="http://schemas.openxmlformats.org/officeDocument/2006/relationships/tags" Target="../tags/tag159.xml"/><Relationship Id="rId32" Type="http://schemas.openxmlformats.org/officeDocument/2006/relationships/tags" Target="../tags/tag167.xml"/><Relationship Id="rId37" Type="http://schemas.openxmlformats.org/officeDocument/2006/relationships/image" Target="../media/image1.emf"/><Relationship Id="rId5" Type="http://schemas.openxmlformats.org/officeDocument/2006/relationships/theme" Target="../theme/theme5.xml"/><Relationship Id="rId15" Type="http://schemas.openxmlformats.org/officeDocument/2006/relationships/tags" Target="../tags/tag150.xml"/><Relationship Id="rId23" Type="http://schemas.openxmlformats.org/officeDocument/2006/relationships/tags" Target="../tags/tag158.xml"/><Relationship Id="rId28" Type="http://schemas.openxmlformats.org/officeDocument/2006/relationships/tags" Target="../tags/tag163.xml"/><Relationship Id="rId36" Type="http://schemas.openxmlformats.org/officeDocument/2006/relationships/oleObject" Target="../embeddings/oleObject21.bin"/><Relationship Id="rId10" Type="http://schemas.openxmlformats.org/officeDocument/2006/relationships/tags" Target="../tags/tag145.xml"/><Relationship Id="rId19" Type="http://schemas.openxmlformats.org/officeDocument/2006/relationships/tags" Target="../tags/tag154.xml"/><Relationship Id="rId31" Type="http://schemas.openxmlformats.org/officeDocument/2006/relationships/tags" Target="../tags/tag166.xml"/><Relationship Id="rId4" Type="http://schemas.openxmlformats.org/officeDocument/2006/relationships/slideLayout" Target="../slideLayouts/slideLayout20.xml"/><Relationship Id="rId9" Type="http://schemas.openxmlformats.org/officeDocument/2006/relationships/tags" Target="../tags/tag144.xml"/><Relationship Id="rId14" Type="http://schemas.openxmlformats.org/officeDocument/2006/relationships/tags" Target="../tags/tag149.xml"/><Relationship Id="rId22" Type="http://schemas.openxmlformats.org/officeDocument/2006/relationships/tags" Target="../tags/tag157.xml"/><Relationship Id="rId27" Type="http://schemas.openxmlformats.org/officeDocument/2006/relationships/tags" Target="../tags/tag162.xml"/><Relationship Id="rId30" Type="http://schemas.openxmlformats.org/officeDocument/2006/relationships/tags" Target="../tags/tag165.xml"/><Relationship Id="rId35" Type="http://schemas.openxmlformats.org/officeDocument/2006/relationships/tags" Target="../tags/tag170.xml"/><Relationship Id="rId8" Type="http://schemas.openxmlformats.org/officeDocument/2006/relationships/tags" Target="../tags/tag143.xml"/><Relationship Id="rId3" Type="http://schemas.openxmlformats.org/officeDocument/2006/relationships/slideLayout" Target="../slideLayouts/slideLayout19.xml"/></Relationships>
</file>

<file path=ppt/slideMasters/_rels/slideMaster50.xml.rels><?xml version="1.0" encoding="UTF-8" standalone="yes"?>
<Relationships xmlns="http://schemas.openxmlformats.org/package/2006/relationships"><Relationship Id="rId13" Type="http://schemas.openxmlformats.org/officeDocument/2006/relationships/tags" Target="../tags/tag1722.xml"/><Relationship Id="rId18" Type="http://schemas.openxmlformats.org/officeDocument/2006/relationships/tags" Target="../tags/tag1727.xml"/><Relationship Id="rId26" Type="http://schemas.openxmlformats.org/officeDocument/2006/relationships/tags" Target="../tags/tag1735.xml"/><Relationship Id="rId21" Type="http://schemas.openxmlformats.org/officeDocument/2006/relationships/tags" Target="../tags/tag1730.xml"/><Relationship Id="rId34" Type="http://schemas.openxmlformats.org/officeDocument/2006/relationships/tags" Target="../tags/tag1743.xml"/><Relationship Id="rId7" Type="http://schemas.openxmlformats.org/officeDocument/2006/relationships/tags" Target="../tags/tag1716.xml"/><Relationship Id="rId12" Type="http://schemas.openxmlformats.org/officeDocument/2006/relationships/tags" Target="../tags/tag1721.xml"/><Relationship Id="rId17" Type="http://schemas.openxmlformats.org/officeDocument/2006/relationships/tags" Target="../tags/tag1726.xml"/><Relationship Id="rId25" Type="http://schemas.openxmlformats.org/officeDocument/2006/relationships/tags" Target="../tags/tag1734.xml"/><Relationship Id="rId33" Type="http://schemas.openxmlformats.org/officeDocument/2006/relationships/tags" Target="../tags/tag1742.xml"/><Relationship Id="rId2" Type="http://schemas.openxmlformats.org/officeDocument/2006/relationships/slideLayout" Target="../slideLayouts/slideLayout197.xml"/><Relationship Id="rId16" Type="http://schemas.openxmlformats.org/officeDocument/2006/relationships/tags" Target="../tags/tag1725.xml"/><Relationship Id="rId20" Type="http://schemas.openxmlformats.org/officeDocument/2006/relationships/tags" Target="../tags/tag1729.xml"/><Relationship Id="rId29" Type="http://schemas.openxmlformats.org/officeDocument/2006/relationships/tags" Target="../tags/tag1738.xml"/><Relationship Id="rId1" Type="http://schemas.openxmlformats.org/officeDocument/2006/relationships/slideLayout" Target="../slideLayouts/slideLayout196.xml"/><Relationship Id="rId6" Type="http://schemas.openxmlformats.org/officeDocument/2006/relationships/vmlDrawing" Target="../drawings/vmlDrawing245.vml"/><Relationship Id="rId11" Type="http://schemas.openxmlformats.org/officeDocument/2006/relationships/tags" Target="../tags/tag1720.xml"/><Relationship Id="rId24" Type="http://schemas.openxmlformats.org/officeDocument/2006/relationships/tags" Target="../tags/tag1733.xml"/><Relationship Id="rId32" Type="http://schemas.openxmlformats.org/officeDocument/2006/relationships/tags" Target="../tags/tag1741.xml"/><Relationship Id="rId37" Type="http://schemas.openxmlformats.org/officeDocument/2006/relationships/image" Target="../media/image1.emf"/><Relationship Id="rId5" Type="http://schemas.openxmlformats.org/officeDocument/2006/relationships/theme" Target="../theme/theme50.xml"/><Relationship Id="rId15" Type="http://schemas.openxmlformats.org/officeDocument/2006/relationships/tags" Target="../tags/tag1724.xml"/><Relationship Id="rId23" Type="http://schemas.openxmlformats.org/officeDocument/2006/relationships/tags" Target="../tags/tag1732.xml"/><Relationship Id="rId28" Type="http://schemas.openxmlformats.org/officeDocument/2006/relationships/tags" Target="../tags/tag1737.xml"/><Relationship Id="rId36" Type="http://schemas.openxmlformats.org/officeDocument/2006/relationships/oleObject" Target="../embeddings/oleObject245.bin"/><Relationship Id="rId10" Type="http://schemas.openxmlformats.org/officeDocument/2006/relationships/tags" Target="../tags/tag1719.xml"/><Relationship Id="rId19" Type="http://schemas.openxmlformats.org/officeDocument/2006/relationships/tags" Target="../tags/tag1728.xml"/><Relationship Id="rId31" Type="http://schemas.openxmlformats.org/officeDocument/2006/relationships/tags" Target="../tags/tag1740.xml"/><Relationship Id="rId4" Type="http://schemas.openxmlformats.org/officeDocument/2006/relationships/slideLayout" Target="../slideLayouts/slideLayout199.xml"/><Relationship Id="rId9" Type="http://schemas.openxmlformats.org/officeDocument/2006/relationships/tags" Target="../tags/tag1718.xml"/><Relationship Id="rId14" Type="http://schemas.openxmlformats.org/officeDocument/2006/relationships/tags" Target="../tags/tag1723.xml"/><Relationship Id="rId22" Type="http://schemas.openxmlformats.org/officeDocument/2006/relationships/tags" Target="../tags/tag1731.xml"/><Relationship Id="rId27" Type="http://schemas.openxmlformats.org/officeDocument/2006/relationships/tags" Target="../tags/tag1736.xml"/><Relationship Id="rId30" Type="http://schemas.openxmlformats.org/officeDocument/2006/relationships/tags" Target="../tags/tag1739.xml"/><Relationship Id="rId35" Type="http://schemas.openxmlformats.org/officeDocument/2006/relationships/tags" Target="../tags/tag1744.xml"/><Relationship Id="rId8" Type="http://schemas.openxmlformats.org/officeDocument/2006/relationships/tags" Target="../tags/tag1717.xml"/><Relationship Id="rId3" Type="http://schemas.openxmlformats.org/officeDocument/2006/relationships/slideLayout" Target="../slideLayouts/slideLayout198.xml"/></Relationships>
</file>

<file path=ppt/slideMasters/_rels/slideMaster51.xml.rels><?xml version="1.0" encoding="UTF-8" standalone="yes"?>
<Relationships xmlns="http://schemas.openxmlformats.org/package/2006/relationships"><Relationship Id="rId13" Type="http://schemas.openxmlformats.org/officeDocument/2006/relationships/tags" Target="../tags/tag1758.xml"/><Relationship Id="rId18" Type="http://schemas.openxmlformats.org/officeDocument/2006/relationships/tags" Target="../tags/tag1763.xml"/><Relationship Id="rId26" Type="http://schemas.openxmlformats.org/officeDocument/2006/relationships/tags" Target="../tags/tag1771.xml"/><Relationship Id="rId3" Type="http://schemas.openxmlformats.org/officeDocument/2006/relationships/slideLayout" Target="../slideLayouts/slideLayout202.xml"/><Relationship Id="rId21" Type="http://schemas.openxmlformats.org/officeDocument/2006/relationships/tags" Target="../tags/tag1766.xml"/><Relationship Id="rId34" Type="http://schemas.openxmlformats.org/officeDocument/2006/relationships/tags" Target="../tags/tag1779.xml"/><Relationship Id="rId7" Type="http://schemas.openxmlformats.org/officeDocument/2006/relationships/tags" Target="../tags/tag1752.xml"/><Relationship Id="rId12" Type="http://schemas.openxmlformats.org/officeDocument/2006/relationships/tags" Target="../tags/tag1757.xml"/><Relationship Id="rId17" Type="http://schemas.openxmlformats.org/officeDocument/2006/relationships/tags" Target="../tags/tag1762.xml"/><Relationship Id="rId25" Type="http://schemas.openxmlformats.org/officeDocument/2006/relationships/tags" Target="../tags/tag1770.xml"/><Relationship Id="rId33" Type="http://schemas.openxmlformats.org/officeDocument/2006/relationships/tags" Target="../tags/tag1778.xml"/><Relationship Id="rId2" Type="http://schemas.openxmlformats.org/officeDocument/2006/relationships/slideLayout" Target="../slideLayouts/slideLayout201.xml"/><Relationship Id="rId16" Type="http://schemas.openxmlformats.org/officeDocument/2006/relationships/tags" Target="../tags/tag1761.xml"/><Relationship Id="rId20" Type="http://schemas.openxmlformats.org/officeDocument/2006/relationships/tags" Target="../tags/tag1765.xml"/><Relationship Id="rId29" Type="http://schemas.openxmlformats.org/officeDocument/2006/relationships/tags" Target="../tags/tag1774.xml"/><Relationship Id="rId1" Type="http://schemas.openxmlformats.org/officeDocument/2006/relationships/slideLayout" Target="../slideLayouts/slideLayout200.xml"/><Relationship Id="rId6" Type="http://schemas.openxmlformats.org/officeDocument/2006/relationships/tags" Target="../tags/tag1751.xml"/><Relationship Id="rId11" Type="http://schemas.openxmlformats.org/officeDocument/2006/relationships/tags" Target="../tags/tag1756.xml"/><Relationship Id="rId24" Type="http://schemas.openxmlformats.org/officeDocument/2006/relationships/tags" Target="../tags/tag1769.xml"/><Relationship Id="rId32" Type="http://schemas.openxmlformats.org/officeDocument/2006/relationships/tags" Target="../tags/tag1777.xml"/><Relationship Id="rId5" Type="http://schemas.openxmlformats.org/officeDocument/2006/relationships/vmlDrawing" Target="../drawings/vmlDrawing250.vml"/><Relationship Id="rId15" Type="http://schemas.openxmlformats.org/officeDocument/2006/relationships/tags" Target="../tags/tag1760.xml"/><Relationship Id="rId23" Type="http://schemas.openxmlformats.org/officeDocument/2006/relationships/tags" Target="../tags/tag1768.xml"/><Relationship Id="rId28" Type="http://schemas.openxmlformats.org/officeDocument/2006/relationships/tags" Target="../tags/tag1773.xml"/><Relationship Id="rId36" Type="http://schemas.openxmlformats.org/officeDocument/2006/relationships/image" Target="../media/image1.emf"/><Relationship Id="rId10" Type="http://schemas.openxmlformats.org/officeDocument/2006/relationships/tags" Target="../tags/tag1755.xml"/><Relationship Id="rId19" Type="http://schemas.openxmlformats.org/officeDocument/2006/relationships/tags" Target="../tags/tag1764.xml"/><Relationship Id="rId31" Type="http://schemas.openxmlformats.org/officeDocument/2006/relationships/tags" Target="../tags/tag1776.xml"/><Relationship Id="rId4" Type="http://schemas.openxmlformats.org/officeDocument/2006/relationships/theme" Target="../theme/theme51.xml"/><Relationship Id="rId9" Type="http://schemas.openxmlformats.org/officeDocument/2006/relationships/tags" Target="../tags/tag1754.xml"/><Relationship Id="rId14" Type="http://schemas.openxmlformats.org/officeDocument/2006/relationships/tags" Target="../tags/tag1759.xml"/><Relationship Id="rId22" Type="http://schemas.openxmlformats.org/officeDocument/2006/relationships/tags" Target="../tags/tag1767.xml"/><Relationship Id="rId27" Type="http://schemas.openxmlformats.org/officeDocument/2006/relationships/tags" Target="../tags/tag1772.xml"/><Relationship Id="rId30" Type="http://schemas.openxmlformats.org/officeDocument/2006/relationships/tags" Target="../tags/tag1775.xml"/><Relationship Id="rId35" Type="http://schemas.openxmlformats.org/officeDocument/2006/relationships/oleObject" Target="../embeddings/oleObject250.bin"/><Relationship Id="rId8" Type="http://schemas.openxmlformats.org/officeDocument/2006/relationships/tags" Target="../tags/tag1753.xml"/></Relationships>
</file>

<file path=ppt/slideMasters/_rels/slideMaster52.xml.rels><?xml version="1.0" encoding="UTF-8" standalone="yes"?>
<Relationships xmlns="http://schemas.openxmlformats.org/package/2006/relationships"><Relationship Id="rId13" Type="http://schemas.openxmlformats.org/officeDocument/2006/relationships/tags" Target="../tags/tag1791.xml"/><Relationship Id="rId18" Type="http://schemas.openxmlformats.org/officeDocument/2006/relationships/tags" Target="../tags/tag1796.xml"/><Relationship Id="rId26" Type="http://schemas.openxmlformats.org/officeDocument/2006/relationships/tags" Target="../tags/tag1804.xml"/><Relationship Id="rId21" Type="http://schemas.openxmlformats.org/officeDocument/2006/relationships/tags" Target="../tags/tag1799.xml"/><Relationship Id="rId34" Type="http://schemas.openxmlformats.org/officeDocument/2006/relationships/tags" Target="../tags/tag1812.xml"/><Relationship Id="rId7" Type="http://schemas.openxmlformats.org/officeDocument/2006/relationships/tags" Target="../tags/tag1785.xml"/><Relationship Id="rId12" Type="http://schemas.openxmlformats.org/officeDocument/2006/relationships/tags" Target="../tags/tag1790.xml"/><Relationship Id="rId17" Type="http://schemas.openxmlformats.org/officeDocument/2006/relationships/tags" Target="../tags/tag1795.xml"/><Relationship Id="rId25" Type="http://schemas.openxmlformats.org/officeDocument/2006/relationships/tags" Target="../tags/tag1803.xml"/><Relationship Id="rId33" Type="http://schemas.openxmlformats.org/officeDocument/2006/relationships/tags" Target="../tags/tag1811.xml"/><Relationship Id="rId2" Type="http://schemas.openxmlformats.org/officeDocument/2006/relationships/slideLayout" Target="../slideLayouts/slideLayout204.xml"/><Relationship Id="rId16" Type="http://schemas.openxmlformats.org/officeDocument/2006/relationships/tags" Target="../tags/tag1794.xml"/><Relationship Id="rId20" Type="http://schemas.openxmlformats.org/officeDocument/2006/relationships/tags" Target="../tags/tag1798.xml"/><Relationship Id="rId29" Type="http://schemas.openxmlformats.org/officeDocument/2006/relationships/tags" Target="../tags/tag1807.xml"/><Relationship Id="rId1" Type="http://schemas.openxmlformats.org/officeDocument/2006/relationships/slideLayout" Target="../slideLayouts/slideLayout203.xml"/><Relationship Id="rId6" Type="http://schemas.openxmlformats.org/officeDocument/2006/relationships/vmlDrawing" Target="../drawings/vmlDrawing254.vml"/><Relationship Id="rId11" Type="http://schemas.openxmlformats.org/officeDocument/2006/relationships/tags" Target="../tags/tag1789.xml"/><Relationship Id="rId24" Type="http://schemas.openxmlformats.org/officeDocument/2006/relationships/tags" Target="../tags/tag1802.xml"/><Relationship Id="rId32" Type="http://schemas.openxmlformats.org/officeDocument/2006/relationships/tags" Target="../tags/tag1810.xml"/><Relationship Id="rId37" Type="http://schemas.openxmlformats.org/officeDocument/2006/relationships/image" Target="../media/image1.emf"/><Relationship Id="rId5" Type="http://schemas.openxmlformats.org/officeDocument/2006/relationships/theme" Target="../theme/theme52.xml"/><Relationship Id="rId15" Type="http://schemas.openxmlformats.org/officeDocument/2006/relationships/tags" Target="../tags/tag1793.xml"/><Relationship Id="rId23" Type="http://schemas.openxmlformats.org/officeDocument/2006/relationships/tags" Target="../tags/tag1801.xml"/><Relationship Id="rId28" Type="http://schemas.openxmlformats.org/officeDocument/2006/relationships/tags" Target="../tags/tag1806.xml"/><Relationship Id="rId36" Type="http://schemas.openxmlformats.org/officeDocument/2006/relationships/oleObject" Target="../embeddings/oleObject254.bin"/><Relationship Id="rId10" Type="http://schemas.openxmlformats.org/officeDocument/2006/relationships/tags" Target="../tags/tag1788.xml"/><Relationship Id="rId19" Type="http://schemas.openxmlformats.org/officeDocument/2006/relationships/tags" Target="../tags/tag1797.xml"/><Relationship Id="rId31" Type="http://schemas.openxmlformats.org/officeDocument/2006/relationships/tags" Target="../tags/tag1809.xml"/><Relationship Id="rId4" Type="http://schemas.openxmlformats.org/officeDocument/2006/relationships/slideLayout" Target="../slideLayouts/slideLayout206.xml"/><Relationship Id="rId9" Type="http://schemas.openxmlformats.org/officeDocument/2006/relationships/tags" Target="../tags/tag1787.xml"/><Relationship Id="rId14" Type="http://schemas.openxmlformats.org/officeDocument/2006/relationships/tags" Target="../tags/tag1792.xml"/><Relationship Id="rId22" Type="http://schemas.openxmlformats.org/officeDocument/2006/relationships/tags" Target="../tags/tag1800.xml"/><Relationship Id="rId27" Type="http://schemas.openxmlformats.org/officeDocument/2006/relationships/tags" Target="../tags/tag1805.xml"/><Relationship Id="rId30" Type="http://schemas.openxmlformats.org/officeDocument/2006/relationships/tags" Target="../tags/tag1808.xml"/><Relationship Id="rId35" Type="http://schemas.openxmlformats.org/officeDocument/2006/relationships/tags" Target="../tags/tag1813.xml"/><Relationship Id="rId8" Type="http://schemas.openxmlformats.org/officeDocument/2006/relationships/tags" Target="../tags/tag1786.xml"/><Relationship Id="rId3" Type="http://schemas.openxmlformats.org/officeDocument/2006/relationships/slideLayout" Target="../slideLayouts/slideLayout205.xml"/></Relationships>
</file>

<file path=ppt/slideMasters/_rels/slideMaster6.xml.rels><?xml version="1.0" encoding="UTF-8" standalone="yes"?>
<Relationships xmlns="http://schemas.openxmlformats.org/package/2006/relationships"><Relationship Id="rId13" Type="http://schemas.openxmlformats.org/officeDocument/2006/relationships/tags" Target="../tags/tag183.xml"/><Relationship Id="rId18" Type="http://schemas.openxmlformats.org/officeDocument/2006/relationships/tags" Target="../tags/tag188.xml"/><Relationship Id="rId26" Type="http://schemas.openxmlformats.org/officeDocument/2006/relationships/tags" Target="../tags/tag196.xml"/><Relationship Id="rId21" Type="http://schemas.openxmlformats.org/officeDocument/2006/relationships/tags" Target="../tags/tag191.xml"/><Relationship Id="rId34" Type="http://schemas.openxmlformats.org/officeDocument/2006/relationships/tags" Target="../tags/tag204.xml"/><Relationship Id="rId7" Type="http://schemas.openxmlformats.org/officeDocument/2006/relationships/tags" Target="../tags/tag177.xml"/><Relationship Id="rId12" Type="http://schemas.openxmlformats.org/officeDocument/2006/relationships/tags" Target="../tags/tag182.xml"/><Relationship Id="rId17" Type="http://schemas.openxmlformats.org/officeDocument/2006/relationships/tags" Target="../tags/tag187.xml"/><Relationship Id="rId25" Type="http://schemas.openxmlformats.org/officeDocument/2006/relationships/tags" Target="../tags/tag195.xml"/><Relationship Id="rId33" Type="http://schemas.openxmlformats.org/officeDocument/2006/relationships/tags" Target="../tags/tag203.xml"/><Relationship Id="rId2" Type="http://schemas.openxmlformats.org/officeDocument/2006/relationships/slideLayout" Target="../slideLayouts/slideLayout22.xml"/><Relationship Id="rId16" Type="http://schemas.openxmlformats.org/officeDocument/2006/relationships/tags" Target="../tags/tag186.xml"/><Relationship Id="rId20" Type="http://schemas.openxmlformats.org/officeDocument/2006/relationships/tags" Target="../tags/tag190.xml"/><Relationship Id="rId29" Type="http://schemas.openxmlformats.org/officeDocument/2006/relationships/tags" Target="../tags/tag199.xml"/><Relationship Id="rId1" Type="http://schemas.openxmlformats.org/officeDocument/2006/relationships/slideLayout" Target="../slideLayouts/slideLayout21.xml"/><Relationship Id="rId6" Type="http://schemas.openxmlformats.org/officeDocument/2006/relationships/vmlDrawing" Target="../drawings/vmlDrawing26.vml"/><Relationship Id="rId11" Type="http://schemas.openxmlformats.org/officeDocument/2006/relationships/tags" Target="../tags/tag181.xml"/><Relationship Id="rId24" Type="http://schemas.openxmlformats.org/officeDocument/2006/relationships/tags" Target="../tags/tag194.xml"/><Relationship Id="rId32" Type="http://schemas.openxmlformats.org/officeDocument/2006/relationships/tags" Target="../tags/tag202.xml"/><Relationship Id="rId37" Type="http://schemas.openxmlformats.org/officeDocument/2006/relationships/image" Target="../media/image1.emf"/><Relationship Id="rId5" Type="http://schemas.openxmlformats.org/officeDocument/2006/relationships/theme" Target="../theme/theme6.xml"/><Relationship Id="rId15" Type="http://schemas.openxmlformats.org/officeDocument/2006/relationships/tags" Target="../tags/tag185.xml"/><Relationship Id="rId23" Type="http://schemas.openxmlformats.org/officeDocument/2006/relationships/tags" Target="../tags/tag193.xml"/><Relationship Id="rId28" Type="http://schemas.openxmlformats.org/officeDocument/2006/relationships/tags" Target="../tags/tag198.xml"/><Relationship Id="rId36" Type="http://schemas.openxmlformats.org/officeDocument/2006/relationships/oleObject" Target="../embeddings/oleObject26.bin"/><Relationship Id="rId10" Type="http://schemas.openxmlformats.org/officeDocument/2006/relationships/tags" Target="../tags/tag180.xml"/><Relationship Id="rId19" Type="http://schemas.openxmlformats.org/officeDocument/2006/relationships/tags" Target="../tags/tag189.xml"/><Relationship Id="rId31" Type="http://schemas.openxmlformats.org/officeDocument/2006/relationships/tags" Target="../tags/tag201.xml"/><Relationship Id="rId4" Type="http://schemas.openxmlformats.org/officeDocument/2006/relationships/slideLayout" Target="../slideLayouts/slideLayout24.xml"/><Relationship Id="rId9" Type="http://schemas.openxmlformats.org/officeDocument/2006/relationships/tags" Target="../tags/tag179.xml"/><Relationship Id="rId14" Type="http://schemas.openxmlformats.org/officeDocument/2006/relationships/tags" Target="../tags/tag184.xml"/><Relationship Id="rId22" Type="http://schemas.openxmlformats.org/officeDocument/2006/relationships/tags" Target="../tags/tag192.xml"/><Relationship Id="rId27" Type="http://schemas.openxmlformats.org/officeDocument/2006/relationships/tags" Target="../tags/tag197.xml"/><Relationship Id="rId30" Type="http://schemas.openxmlformats.org/officeDocument/2006/relationships/tags" Target="../tags/tag200.xml"/><Relationship Id="rId35" Type="http://schemas.openxmlformats.org/officeDocument/2006/relationships/tags" Target="../tags/tag205.xml"/><Relationship Id="rId8" Type="http://schemas.openxmlformats.org/officeDocument/2006/relationships/tags" Target="../tags/tag178.xml"/><Relationship Id="rId3" Type="http://schemas.openxmlformats.org/officeDocument/2006/relationships/slideLayout" Target="../slideLayouts/slideLayout23.xml"/></Relationships>
</file>

<file path=ppt/slideMasters/_rels/slideMaster7.xml.rels><?xml version="1.0" encoding="UTF-8" standalone="yes"?>
<Relationships xmlns="http://schemas.openxmlformats.org/package/2006/relationships"><Relationship Id="rId13" Type="http://schemas.openxmlformats.org/officeDocument/2006/relationships/tags" Target="../tags/tag218.xml"/><Relationship Id="rId18" Type="http://schemas.openxmlformats.org/officeDocument/2006/relationships/tags" Target="../tags/tag223.xml"/><Relationship Id="rId26" Type="http://schemas.openxmlformats.org/officeDocument/2006/relationships/tags" Target="../tags/tag231.xml"/><Relationship Id="rId21" Type="http://schemas.openxmlformats.org/officeDocument/2006/relationships/tags" Target="../tags/tag226.xml"/><Relationship Id="rId34" Type="http://schemas.openxmlformats.org/officeDocument/2006/relationships/tags" Target="../tags/tag239.xml"/><Relationship Id="rId7" Type="http://schemas.openxmlformats.org/officeDocument/2006/relationships/tags" Target="../tags/tag212.xml"/><Relationship Id="rId12" Type="http://schemas.openxmlformats.org/officeDocument/2006/relationships/tags" Target="../tags/tag217.xml"/><Relationship Id="rId17" Type="http://schemas.openxmlformats.org/officeDocument/2006/relationships/tags" Target="../tags/tag222.xml"/><Relationship Id="rId25" Type="http://schemas.openxmlformats.org/officeDocument/2006/relationships/tags" Target="../tags/tag230.xml"/><Relationship Id="rId33" Type="http://schemas.openxmlformats.org/officeDocument/2006/relationships/tags" Target="../tags/tag238.xml"/><Relationship Id="rId2" Type="http://schemas.openxmlformats.org/officeDocument/2006/relationships/slideLayout" Target="../slideLayouts/slideLayout26.xml"/><Relationship Id="rId16" Type="http://schemas.openxmlformats.org/officeDocument/2006/relationships/tags" Target="../tags/tag221.xml"/><Relationship Id="rId20" Type="http://schemas.openxmlformats.org/officeDocument/2006/relationships/tags" Target="../tags/tag225.xml"/><Relationship Id="rId29" Type="http://schemas.openxmlformats.org/officeDocument/2006/relationships/tags" Target="../tags/tag234.xml"/><Relationship Id="rId1" Type="http://schemas.openxmlformats.org/officeDocument/2006/relationships/slideLayout" Target="../slideLayouts/slideLayout25.xml"/><Relationship Id="rId6" Type="http://schemas.openxmlformats.org/officeDocument/2006/relationships/vmlDrawing" Target="../drawings/vmlDrawing31.vml"/><Relationship Id="rId11" Type="http://schemas.openxmlformats.org/officeDocument/2006/relationships/tags" Target="../tags/tag216.xml"/><Relationship Id="rId24" Type="http://schemas.openxmlformats.org/officeDocument/2006/relationships/tags" Target="../tags/tag229.xml"/><Relationship Id="rId32" Type="http://schemas.openxmlformats.org/officeDocument/2006/relationships/tags" Target="../tags/tag237.xml"/><Relationship Id="rId37" Type="http://schemas.openxmlformats.org/officeDocument/2006/relationships/image" Target="../media/image1.emf"/><Relationship Id="rId5" Type="http://schemas.openxmlformats.org/officeDocument/2006/relationships/theme" Target="../theme/theme7.xml"/><Relationship Id="rId15" Type="http://schemas.openxmlformats.org/officeDocument/2006/relationships/tags" Target="../tags/tag220.xml"/><Relationship Id="rId23" Type="http://schemas.openxmlformats.org/officeDocument/2006/relationships/tags" Target="../tags/tag228.xml"/><Relationship Id="rId28" Type="http://schemas.openxmlformats.org/officeDocument/2006/relationships/tags" Target="../tags/tag233.xml"/><Relationship Id="rId36" Type="http://schemas.openxmlformats.org/officeDocument/2006/relationships/oleObject" Target="../embeddings/oleObject31.bin"/><Relationship Id="rId10" Type="http://schemas.openxmlformats.org/officeDocument/2006/relationships/tags" Target="../tags/tag215.xml"/><Relationship Id="rId19" Type="http://schemas.openxmlformats.org/officeDocument/2006/relationships/tags" Target="../tags/tag224.xml"/><Relationship Id="rId31" Type="http://schemas.openxmlformats.org/officeDocument/2006/relationships/tags" Target="../tags/tag236.xml"/><Relationship Id="rId4" Type="http://schemas.openxmlformats.org/officeDocument/2006/relationships/slideLayout" Target="../slideLayouts/slideLayout28.xml"/><Relationship Id="rId9" Type="http://schemas.openxmlformats.org/officeDocument/2006/relationships/tags" Target="../tags/tag214.xml"/><Relationship Id="rId14" Type="http://schemas.openxmlformats.org/officeDocument/2006/relationships/tags" Target="../tags/tag219.xml"/><Relationship Id="rId22" Type="http://schemas.openxmlformats.org/officeDocument/2006/relationships/tags" Target="../tags/tag227.xml"/><Relationship Id="rId27" Type="http://schemas.openxmlformats.org/officeDocument/2006/relationships/tags" Target="../tags/tag232.xml"/><Relationship Id="rId30" Type="http://schemas.openxmlformats.org/officeDocument/2006/relationships/tags" Target="../tags/tag235.xml"/><Relationship Id="rId35" Type="http://schemas.openxmlformats.org/officeDocument/2006/relationships/tags" Target="../tags/tag240.xml"/><Relationship Id="rId8" Type="http://schemas.openxmlformats.org/officeDocument/2006/relationships/tags" Target="../tags/tag213.xml"/><Relationship Id="rId3" Type="http://schemas.openxmlformats.org/officeDocument/2006/relationships/slideLayout" Target="../slideLayouts/slideLayout27.xml"/></Relationships>
</file>

<file path=ppt/slideMasters/_rels/slideMaster8.xml.rels><?xml version="1.0" encoding="UTF-8" standalone="yes"?>
<Relationships xmlns="http://schemas.openxmlformats.org/package/2006/relationships"><Relationship Id="rId13" Type="http://schemas.openxmlformats.org/officeDocument/2006/relationships/tags" Target="../tags/tag253.xml"/><Relationship Id="rId18" Type="http://schemas.openxmlformats.org/officeDocument/2006/relationships/tags" Target="../tags/tag258.xml"/><Relationship Id="rId26" Type="http://schemas.openxmlformats.org/officeDocument/2006/relationships/tags" Target="../tags/tag266.xml"/><Relationship Id="rId21" Type="http://schemas.openxmlformats.org/officeDocument/2006/relationships/tags" Target="../tags/tag261.xml"/><Relationship Id="rId34" Type="http://schemas.openxmlformats.org/officeDocument/2006/relationships/tags" Target="../tags/tag274.xml"/><Relationship Id="rId7" Type="http://schemas.openxmlformats.org/officeDocument/2006/relationships/tags" Target="../tags/tag247.xml"/><Relationship Id="rId12" Type="http://schemas.openxmlformats.org/officeDocument/2006/relationships/tags" Target="../tags/tag252.xml"/><Relationship Id="rId17" Type="http://schemas.openxmlformats.org/officeDocument/2006/relationships/tags" Target="../tags/tag257.xml"/><Relationship Id="rId25" Type="http://schemas.openxmlformats.org/officeDocument/2006/relationships/tags" Target="../tags/tag265.xml"/><Relationship Id="rId33" Type="http://schemas.openxmlformats.org/officeDocument/2006/relationships/tags" Target="../tags/tag273.xml"/><Relationship Id="rId2" Type="http://schemas.openxmlformats.org/officeDocument/2006/relationships/slideLayout" Target="../slideLayouts/slideLayout30.xml"/><Relationship Id="rId16" Type="http://schemas.openxmlformats.org/officeDocument/2006/relationships/tags" Target="../tags/tag256.xml"/><Relationship Id="rId20" Type="http://schemas.openxmlformats.org/officeDocument/2006/relationships/tags" Target="../tags/tag260.xml"/><Relationship Id="rId29" Type="http://schemas.openxmlformats.org/officeDocument/2006/relationships/tags" Target="../tags/tag269.xml"/><Relationship Id="rId1" Type="http://schemas.openxmlformats.org/officeDocument/2006/relationships/slideLayout" Target="../slideLayouts/slideLayout29.xml"/><Relationship Id="rId6" Type="http://schemas.openxmlformats.org/officeDocument/2006/relationships/vmlDrawing" Target="../drawings/vmlDrawing36.vml"/><Relationship Id="rId11" Type="http://schemas.openxmlformats.org/officeDocument/2006/relationships/tags" Target="../tags/tag251.xml"/><Relationship Id="rId24" Type="http://schemas.openxmlformats.org/officeDocument/2006/relationships/tags" Target="../tags/tag264.xml"/><Relationship Id="rId32" Type="http://schemas.openxmlformats.org/officeDocument/2006/relationships/tags" Target="../tags/tag272.xml"/><Relationship Id="rId37" Type="http://schemas.openxmlformats.org/officeDocument/2006/relationships/image" Target="../media/image1.emf"/><Relationship Id="rId5" Type="http://schemas.openxmlformats.org/officeDocument/2006/relationships/theme" Target="../theme/theme8.xml"/><Relationship Id="rId15" Type="http://schemas.openxmlformats.org/officeDocument/2006/relationships/tags" Target="../tags/tag255.xml"/><Relationship Id="rId23" Type="http://schemas.openxmlformats.org/officeDocument/2006/relationships/tags" Target="../tags/tag263.xml"/><Relationship Id="rId28" Type="http://schemas.openxmlformats.org/officeDocument/2006/relationships/tags" Target="../tags/tag268.xml"/><Relationship Id="rId36" Type="http://schemas.openxmlformats.org/officeDocument/2006/relationships/oleObject" Target="../embeddings/oleObject36.bin"/><Relationship Id="rId10" Type="http://schemas.openxmlformats.org/officeDocument/2006/relationships/tags" Target="../tags/tag250.xml"/><Relationship Id="rId19" Type="http://schemas.openxmlformats.org/officeDocument/2006/relationships/tags" Target="../tags/tag259.xml"/><Relationship Id="rId31" Type="http://schemas.openxmlformats.org/officeDocument/2006/relationships/tags" Target="../tags/tag271.xml"/><Relationship Id="rId4" Type="http://schemas.openxmlformats.org/officeDocument/2006/relationships/slideLayout" Target="../slideLayouts/slideLayout32.xml"/><Relationship Id="rId9" Type="http://schemas.openxmlformats.org/officeDocument/2006/relationships/tags" Target="../tags/tag249.xml"/><Relationship Id="rId14" Type="http://schemas.openxmlformats.org/officeDocument/2006/relationships/tags" Target="../tags/tag254.xml"/><Relationship Id="rId22" Type="http://schemas.openxmlformats.org/officeDocument/2006/relationships/tags" Target="../tags/tag262.xml"/><Relationship Id="rId27" Type="http://schemas.openxmlformats.org/officeDocument/2006/relationships/tags" Target="../tags/tag267.xml"/><Relationship Id="rId30" Type="http://schemas.openxmlformats.org/officeDocument/2006/relationships/tags" Target="../tags/tag270.xml"/><Relationship Id="rId35" Type="http://schemas.openxmlformats.org/officeDocument/2006/relationships/tags" Target="../tags/tag275.xml"/><Relationship Id="rId8" Type="http://schemas.openxmlformats.org/officeDocument/2006/relationships/tags" Target="../tags/tag248.xml"/><Relationship Id="rId3" Type="http://schemas.openxmlformats.org/officeDocument/2006/relationships/slideLayout" Target="../slideLayouts/slideLayout31.xml"/></Relationships>
</file>

<file path=ppt/slideMasters/_rels/slideMaster9.xml.rels><?xml version="1.0" encoding="UTF-8" standalone="yes"?>
<Relationships xmlns="http://schemas.openxmlformats.org/package/2006/relationships"><Relationship Id="rId13" Type="http://schemas.openxmlformats.org/officeDocument/2006/relationships/tags" Target="../tags/tag288.xml"/><Relationship Id="rId18" Type="http://schemas.openxmlformats.org/officeDocument/2006/relationships/tags" Target="../tags/tag293.xml"/><Relationship Id="rId26" Type="http://schemas.openxmlformats.org/officeDocument/2006/relationships/tags" Target="../tags/tag301.xml"/><Relationship Id="rId21" Type="http://schemas.openxmlformats.org/officeDocument/2006/relationships/tags" Target="../tags/tag296.xml"/><Relationship Id="rId34" Type="http://schemas.openxmlformats.org/officeDocument/2006/relationships/tags" Target="../tags/tag309.xml"/><Relationship Id="rId7" Type="http://schemas.openxmlformats.org/officeDocument/2006/relationships/tags" Target="../tags/tag282.xml"/><Relationship Id="rId12" Type="http://schemas.openxmlformats.org/officeDocument/2006/relationships/tags" Target="../tags/tag287.xml"/><Relationship Id="rId17" Type="http://schemas.openxmlformats.org/officeDocument/2006/relationships/tags" Target="../tags/tag292.xml"/><Relationship Id="rId25" Type="http://schemas.openxmlformats.org/officeDocument/2006/relationships/tags" Target="../tags/tag300.xml"/><Relationship Id="rId33" Type="http://schemas.openxmlformats.org/officeDocument/2006/relationships/tags" Target="../tags/tag308.xml"/><Relationship Id="rId2" Type="http://schemas.openxmlformats.org/officeDocument/2006/relationships/slideLayout" Target="../slideLayouts/slideLayout34.xml"/><Relationship Id="rId16" Type="http://schemas.openxmlformats.org/officeDocument/2006/relationships/tags" Target="../tags/tag291.xml"/><Relationship Id="rId20" Type="http://schemas.openxmlformats.org/officeDocument/2006/relationships/tags" Target="../tags/tag295.xml"/><Relationship Id="rId29" Type="http://schemas.openxmlformats.org/officeDocument/2006/relationships/tags" Target="../tags/tag304.xml"/><Relationship Id="rId1" Type="http://schemas.openxmlformats.org/officeDocument/2006/relationships/slideLayout" Target="../slideLayouts/slideLayout33.xml"/><Relationship Id="rId6" Type="http://schemas.openxmlformats.org/officeDocument/2006/relationships/vmlDrawing" Target="../drawings/vmlDrawing41.vml"/><Relationship Id="rId11" Type="http://schemas.openxmlformats.org/officeDocument/2006/relationships/tags" Target="../tags/tag286.xml"/><Relationship Id="rId24" Type="http://schemas.openxmlformats.org/officeDocument/2006/relationships/tags" Target="../tags/tag299.xml"/><Relationship Id="rId32" Type="http://schemas.openxmlformats.org/officeDocument/2006/relationships/tags" Target="../tags/tag307.xml"/><Relationship Id="rId37" Type="http://schemas.openxmlformats.org/officeDocument/2006/relationships/image" Target="../media/image1.emf"/><Relationship Id="rId5" Type="http://schemas.openxmlformats.org/officeDocument/2006/relationships/theme" Target="../theme/theme9.xml"/><Relationship Id="rId15" Type="http://schemas.openxmlformats.org/officeDocument/2006/relationships/tags" Target="../tags/tag290.xml"/><Relationship Id="rId23" Type="http://schemas.openxmlformats.org/officeDocument/2006/relationships/tags" Target="../tags/tag298.xml"/><Relationship Id="rId28" Type="http://schemas.openxmlformats.org/officeDocument/2006/relationships/tags" Target="../tags/tag303.xml"/><Relationship Id="rId36" Type="http://schemas.openxmlformats.org/officeDocument/2006/relationships/oleObject" Target="../embeddings/oleObject41.bin"/><Relationship Id="rId10" Type="http://schemas.openxmlformats.org/officeDocument/2006/relationships/tags" Target="../tags/tag285.xml"/><Relationship Id="rId19" Type="http://schemas.openxmlformats.org/officeDocument/2006/relationships/tags" Target="../tags/tag294.xml"/><Relationship Id="rId31" Type="http://schemas.openxmlformats.org/officeDocument/2006/relationships/tags" Target="../tags/tag306.xml"/><Relationship Id="rId4" Type="http://schemas.openxmlformats.org/officeDocument/2006/relationships/slideLayout" Target="../slideLayouts/slideLayout36.xml"/><Relationship Id="rId9" Type="http://schemas.openxmlformats.org/officeDocument/2006/relationships/tags" Target="../tags/tag284.xml"/><Relationship Id="rId14" Type="http://schemas.openxmlformats.org/officeDocument/2006/relationships/tags" Target="../tags/tag289.xml"/><Relationship Id="rId22" Type="http://schemas.openxmlformats.org/officeDocument/2006/relationships/tags" Target="../tags/tag297.xml"/><Relationship Id="rId27" Type="http://schemas.openxmlformats.org/officeDocument/2006/relationships/tags" Target="../tags/tag302.xml"/><Relationship Id="rId30" Type="http://schemas.openxmlformats.org/officeDocument/2006/relationships/tags" Target="../tags/tag305.xml"/><Relationship Id="rId35" Type="http://schemas.openxmlformats.org/officeDocument/2006/relationships/tags" Target="../tags/tag310.xml"/><Relationship Id="rId8" Type="http://schemas.openxmlformats.org/officeDocument/2006/relationships/tags" Target="../tags/tag283.xml"/><Relationship Id="rId3" Type="http://schemas.openxmlformats.org/officeDocument/2006/relationships/slideLayout" Target="../slideLayouts/slideLayout3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7"/>
            </p:custDataLst>
            <p:extLst>
              <p:ext uri="{D42A27DB-BD31-4B8C-83A1-F6EECF244321}">
                <p14:modId xmlns:p14="http://schemas.microsoft.com/office/powerpoint/2010/main" val="3952889904"/>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44" name="think-cell Slide" r:id="rId36" imgW="270" imgH="270" progId="TCLayout.ActiveDocument.1">
                  <p:embed/>
                </p:oleObj>
              </mc:Choice>
              <mc:Fallback>
                <p:oleObj name="think-cell Slide" r:id="rId36" imgW="270" imgH="270" progId="TCLayout.ActiveDocument.1">
                  <p:embed/>
                  <p:pic>
                    <p:nvPicPr>
                      <p:cNvPr id="2" name="Object 1" hidden="1"/>
                      <p:cNvPicPr/>
                      <p:nvPr/>
                    </p:nvPicPr>
                    <p:blipFill>
                      <a:blip r:embed="rId37"/>
                      <a:stretch>
                        <a:fillRect/>
                      </a:stretch>
                    </p:blipFill>
                    <p:spPr>
                      <a:xfrm>
                        <a:off x="0" y="0"/>
                        <a:ext cx="158750" cy="158750"/>
                      </a:xfrm>
                      <a:prstGeom prst="rect">
                        <a:avLst/>
                      </a:prstGeom>
                    </p:spPr>
                  </p:pic>
                </p:oleObj>
              </mc:Fallback>
            </mc:AlternateContent>
          </a:graphicData>
        </a:graphic>
      </p:graphicFrame>
      <p:sp>
        <p:nvSpPr>
          <p:cNvPr id="6" name="Rectangle 5" hidden="1"/>
          <p:cNvSpPr/>
          <p:nvPr>
            <p:custDataLst>
              <p:tags r:id="rId8"/>
            </p:custDataLst>
          </p:nvPr>
        </p:nvSpPr>
        <p:spPr bwMode="auto">
          <a:xfrm>
            <a:off x="0" y="0"/>
            <a:ext cx="158750" cy="158750"/>
          </a:xfrm>
          <a:prstGeom prst="rect">
            <a:avLst/>
          </a:prstGeom>
          <a:solidFill>
            <a:schemeClr val="bg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dirty="0">
              <a:solidFill>
                <a:srgbClr val="000000"/>
              </a:solidFill>
              <a:sym typeface="Arial" panose="020B0604020202020204" pitchFamily="34" charset="0"/>
            </a:endParaRPr>
          </a:p>
        </p:txBody>
      </p:sp>
      <p:sp>
        <p:nvSpPr>
          <p:cNvPr id="1034" name="Working Draft" hidden="1"/>
          <p:cNvSpPr txBox="1">
            <a:spLocks noChangeArrowheads="1"/>
          </p:cNvSpPr>
          <p:nvPr/>
        </p:nvSpPr>
        <p:spPr bwMode="gray">
          <a:xfrm rot="5400000">
            <a:off x="7966656" y="1940591"/>
            <a:ext cx="1849865"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600" baseline="0">
                <a:solidFill>
                  <a:srgbClr val="808080"/>
                </a:solidFill>
                <a:latin typeface="+mn-lt"/>
                <a:ea typeface="+mn-ea"/>
              </a:rPr>
              <a:t>Last Modified 21/05/2018 17:44 India Standard Time</a:t>
            </a:r>
            <a:endParaRPr lang="en-US" baseline="0" dirty="0">
              <a:solidFill>
                <a:srgbClr val="808080"/>
              </a:solidFill>
              <a:latin typeface="+mn-lt"/>
              <a:ea typeface="+mn-ea"/>
            </a:endParaRPr>
          </a:p>
        </p:txBody>
      </p:sp>
      <p:sp>
        <p:nvSpPr>
          <p:cNvPr id="1035" name="Printed" hidden="1"/>
          <p:cNvSpPr txBox="1">
            <a:spLocks noChangeArrowheads="1"/>
          </p:cNvSpPr>
          <p:nvPr/>
        </p:nvSpPr>
        <p:spPr bwMode="gray">
          <a:xfrm rot="5400000">
            <a:off x="8768958" y="4114417"/>
            <a:ext cx="245260"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600" baseline="0" dirty="0">
                <a:solidFill>
                  <a:srgbClr val="808080"/>
                </a:solidFill>
                <a:latin typeface="+mn-lt"/>
                <a:ea typeface="+mn-ea"/>
              </a:rPr>
              <a:t>Printed</a:t>
            </a:r>
            <a:endParaRPr lang="en-US" baseline="0" dirty="0">
              <a:solidFill>
                <a:srgbClr val="808080"/>
              </a:solidFill>
              <a:latin typeface="+mn-lt"/>
              <a:ea typeface="+mn-ea"/>
            </a:endParaRPr>
          </a:p>
        </p:txBody>
      </p:sp>
      <p:sp>
        <p:nvSpPr>
          <p:cNvPr id="19" name="Title Placeholder 2"/>
          <p:cNvSpPr>
            <a:spLocks noGrp="1" noChangeArrowheads="1"/>
          </p:cNvSpPr>
          <p:nvPr>
            <p:ph type="title"/>
          </p:nvPr>
        </p:nvSpPr>
        <p:spPr bwMode="gray">
          <a:xfrm>
            <a:off x="119063" y="230188"/>
            <a:ext cx="8618537"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latinLnBrk="0"/>
            <a:r>
              <a:rPr lang="en-US"/>
              <a:t>Click to edit Master title style</a:t>
            </a:r>
            <a:endParaRPr lang="en-US" noProof="0" dirty="0"/>
          </a:p>
        </p:txBody>
      </p:sp>
      <p:sp>
        <p:nvSpPr>
          <p:cNvPr id="10" name="1. On-page tracker" hidden="1"/>
          <p:cNvSpPr>
            <a:spLocks noChangeArrowheads="1"/>
          </p:cNvSpPr>
          <p:nvPr/>
        </p:nvSpPr>
        <p:spPr bwMode="gray">
          <a:xfrm>
            <a:off x="119063" y="75764"/>
            <a:ext cx="490519"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800" cap="all" baseline="0" dirty="0">
                <a:solidFill>
                  <a:schemeClr val="accent6"/>
                </a:solidFill>
                <a:latin typeface="+mn-lt"/>
                <a:ea typeface="+mn-ea"/>
              </a:rPr>
              <a:t>Tracker</a:t>
            </a:r>
          </a:p>
        </p:txBody>
      </p:sp>
      <p:sp>
        <p:nvSpPr>
          <p:cNvPr id="11" name="3. Unit of measure" hidden="1"/>
          <p:cNvSpPr txBox="1">
            <a:spLocks noChangeArrowheads="1"/>
          </p:cNvSpPr>
          <p:nvPr/>
        </p:nvSpPr>
        <p:spPr bwMode="gray">
          <a:xfrm>
            <a:off x="119063" y="554865"/>
            <a:ext cx="8618537"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600" baseline="0" dirty="0">
                <a:solidFill>
                  <a:schemeClr val="accent6"/>
                </a:solidFill>
                <a:latin typeface="+mn-lt"/>
                <a:ea typeface="+mn-ea"/>
              </a:rPr>
              <a:t>Unit of measure</a:t>
            </a:r>
          </a:p>
        </p:txBody>
      </p:sp>
      <p:grpSp>
        <p:nvGrpSpPr>
          <p:cNvPr id="4" name="Slide Elements" hidden="1"/>
          <p:cNvGrpSpPr/>
          <p:nvPr/>
        </p:nvGrpSpPr>
        <p:grpSpPr bwMode="gray">
          <a:xfrm>
            <a:off x="119063" y="6305945"/>
            <a:ext cx="8618537" cy="325438"/>
            <a:chOff x="119063" y="6305945"/>
            <a:chExt cx="8618537" cy="325438"/>
          </a:xfrm>
        </p:grpSpPr>
        <p:sp>
          <p:nvSpPr>
            <p:cNvPr id="13" name="4. Footnote"/>
            <p:cNvSpPr txBox="1">
              <a:spLocks noChangeArrowheads="1"/>
            </p:cNvSpPr>
            <p:nvPr/>
          </p:nvSpPr>
          <p:spPr bwMode="gray">
            <a:xfrm>
              <a:off x="119063" y="6305945"/>
              <a:ext cx="8618537" cy="123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800" baseline="0" dirty="0">
                  <a:solidFill>
                    <a:schemeClr val="accent6"/>
                  </a:solidFill>
                  <a:latin typeface="+mn-lt"/>
                  <a:ea typeface="+mn-ea"/>
                </a:rPr>
                <a:t>1 Footnote</a:t>
              </a:r>
            </a:p>
          </p:txBody>
        </p:sp>
        <p:sp>
          <p:nvSpPr>
            <p:cNvPr id="14" name="5. Source"/>
            <p:cNvSpPr>
              <a:spLocks noChangeArrowheads="1"/>
            </p:cNvSpPr>
            <p:nvPr/>
          </p:nvSpPr>
          <p:spPr bwMode="gray">
            <a:xfrm>
              <a:off x="119063" y="6507558"/>
              <a:ext cx="7200000" cy="123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marL="609600" indent="-609600" defTabSz="895350">
                <a:tabLst>
                  <a:tab pos="612775" algn="l"/>
                </a:tabLst>
              </a:pPr>
              <a:r>
                <a:rPr lang="en-US" sz="800" baseline="0" dirty="0">
                  <a:solidFill>
                    <a:schemeClr val="accent6"/>
                  </a:solidFill>
                  <a:latin typeface="+mn-lt"/>
                  <a:ea typeface="+mn-ea"/>
                </a:rPr>
                <a:t>SOURCE: Source</a:t>
              </a:r>
            </a:p>
          </p:txBody>
        </p:sp>
      </p:grpSp>
      <p:sp>
        <p:nvSpPr>
          <p:cNvPr id="3" name="Text Placeholder 2"/>
          <p:cNvSpPr>
            <a:spLocks noGrp="1"/>
          </p:cNvSpPr>
          <p:nvPr>
            <p:ph type="body" idx="1"/>
          </p:nvPr>
        </p:nvSpPr>
        <p:spPr bwMode="gray">
          <a:xfrm>
            <a:off x="1452564" y="1951380"/>
            <a:ext cx="4302125" cy="1077218"/>
          </a:xfrm>
          <a:prstGeom prst="rect">
            <a:avLst/>
          </a:prstGeom>
        </p:spPr>
        <p:txBody>
          <a:bodyPr vert="horz" lIns="0" tIns="0" rIns="0" bIns="0" rtlCol="0">
            <a:spAutoFit/>
          </a:bodyPr>
          <a:lstStyle/>
          <a:p>
            <a:pPr lvl="0" latinLnBrk="0"/>
            <a:r>
              <a:rPr lang="en-US"/>
              <a:t>Edit Master text styles</a:t>
            </a:r>
          </a:p>
          <a:p>
            <a:pPr lvl="1" latinLnBrk="0"/>
            <a:r>
              <a:rPr lang="en-US"/>
              <a:t>Second level</a:t>
            </a:r>
          </a:p>
          <a:p>
            <a:pPr lvl="2" latinLnBrk="0"/>
            <a:r>
              <a:rPr lang="en-US"/>
              <a:t>Third level</a:t>
            </a:r>
          </a:p>
          <a:p>
            <a:pPr lvl="3" latinLnBrk="0"/>
            <a:r>
              <a:rPr lang="en-US"/>
              <a:t>Fourth level</a:t>
            </a:r>
          </a:p>
          <a:p>
            <a:pPr lvl="4" latinLnBrk="0"/>
            <a:r>
              <a:rPr lang="en-US"/>
              <a:t>Fifth level</a:t>
            </a:r>
            <a:endParaRPr lang="en-US" dirty="0"/>
          </a:p>
        </p:txBody>
      </p:sp>
      <p:grpSp>
        <p:nvGrpSpPr>
          <p:cNvPr id="15" name="ACET" hidden="1"/>
          <p:cNvGrpSpPr>
            <a:grpSpLocks/>
          </p:cNvGrpSpPr>
          <p:nvPr/>
        </p:nvGrpSpPr>
        <p:grpSpPr bwMode="gray">
          <a:xfrm>
            <a:off x="1452563" y="1257754"/>
            <a:ext cx="4264025" cy="508000"/>
            <a:chOff x="915" y="710"/>
            <a:chExt cx="2686" cy="320"/>
          </a:xfrm>
        </p:grpSpPr>
        <p:cxnSp>
          <p:nvCxnSpPr>
            <p:cNvPr id="16" name="AutoShape 249"/>
            <p:cNvCxnSpPr>
              <a:cxnSpLocks noChangeShapeType="1"/>
              <a:stCxn id="18" idx="4"/>
              <a:endCxn id="18" idx="6"/>
            </p:cNvCxnSpPr>
            <p:nvPr/>
          </p:nvCxnSpPr>
          <p:spPr bwMode="gray">
            <a:xfrm>
              <a:off x="915" y="1030"/>
              <a:ext cx="2686" cy="0"/>
            </a:xfrm>
            <a:prstGeom prst="straightConnector1">
              <a:avLst/>
            </a:prstGeom>
            <a:noFill/>
            <a:ln w="9525">
              <a:solidFill>
                <a:schemeClr val="accent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8" name="AutoShape 250"/>
            <p:cNvSpPr>
              <a:spLocks noChangeArrowheads="1"/>
            </p:cNvSpPr>
            <p:nvPr/>
          </p:nvSpPr>
          <p:spPr bwMode="gray">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US" b="1" baseline="0" dirty="0">
                  <a:solidFill>
                    <a:srgbClr val="000000"/>
                  </a:solidFill>
                  <a:latin typeface="+mn-lt"/>
                  <a:ea typeface="+mn-ea"/>
                </a:rPr>
                <a:t>Title</a:t>
              </a:r>
            </a:p>
            <a:p>
              <a:r>
                <a:rPr lang="en-US" baseline="0" dirty="0">
                  <a:solidFill>
                    <a:schemeClr val="accent6"/>
                  </a:solidFill>
                  <a:latin typeface="+mn-lt"/>
                  <a:ea typeface="+mn-ea"/>
                </a:rPr>
                <a:t>Unit of measure</a:t>
              </a:r>
            </a:p>
          </p:txBody>
        </p:sp>
      </p:grpSp>
      <p:grpSp>
        <p:nvGrpSpPr>
          <p:cNvPr id="17" name="McKSticker" hidden="1"/>
          <p:cNvGrpSpPr/>
          <p:nvPr/>
        </p:nvGrpSpPr>
        <p:grpSpPr bwMode="gray">
          <a:xfrm>
            <a:off x="8264265" y="285750"/>
            <a:ext cx="473335" cy="150811"/>
            <a:chOff x="8267440" y="285750"/>
            <a:chExt cx="473335" cy="150811"/>
          </a:xfrm>
        </p:grpSpPr>
        <p:sp>
          <p:nvSpPr>
            <p:cNvPr id="20" name="StickerRectangle"/>
            <p:cNvSpPr>
              <a:spLocks noChangeArrowheads="1"/>
            </p:cNvSpPr>
            <p:nvPr/>
          </p:nvSpPr>
          <p:spPr bwMode="gray">
            <a:xfrm>
              <a:off x="8267440" y="285750"/>
              <a:ext cx="473335" cy="150811"/>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a:buClr>
                  <a:srgbClr val="002960"/>
                </a:buClr>
              </a:pPr>
              <a:r>
                <a:rPr lang="en-US" sz="800" baseline="0" dirty="0">
                  <a:solidFill>
                    <a:schemeClr val="accent6"/>
                  </a:solidFill>
                  <a:latin typeface="+mn-lt"/>
                  <a:ea typeface="+mn-ea"/>
                </a:rPr>
                <a:t>STICKER</a:t>
              </a:r>
            </a:p>
          </p:txBody>
        </p:sp>
        <p:cxnSp>
          <p:nvCxnSpPr>
            <p:cNvPr id="21" name="AutoShape 31"/>
            <p:cNvCxnSpPr>
              <a:cxnSpLocks noChangeShapeType="1"/>
              <a:stCxn id="20" idx="2"/>
              <a:endCxn id="20" idx="4"/>
            </p:cNvCxnSpPr>
            <p:nvPr/>
          </p:nvCxnSpPr>
          <p:spPr bwMode="gray">
            <a:xfrm>
              <a:off x="8267440" y="285750"/>
              <a:ext cx="0" cy="150811"/>
            </a:xfrm>
            <a:prstGeom prst="straightConnector1">
              <a:avLst/>
            </a:prstGeom>
            <a:noFill/>
            <a:ln w="9525">
              <a:solidFill>
                <a:schemeClr val="accent6"/>
              </a:solidFill>
              <a:round/>
              <a:headEnd/>
              <a:tailEnd/>
            </a:ln>
            <a:extLst>
              <a:ext uri="{909E8E84-426E-40DD-AFC4-6F175D3DCCD1}">
                <a14:hiddenFill xmlns:a14="http://schemas.microsoft.com/office/drawing/2010/main">
                  <a:noFill/>
                </a14:hiddenFill>
              </a:ext>
            </a:extLst>
          </p:spPr>
        </p:cxnSp>
        <p:cxnSp>
          <p:nvCxnSpPr>
            <p:cNvPr id="22" name="AutoShape 32"/>
            <p:cNvCxnSpPr>
              <a:cxnSpLocks noChangeShapeType="1"/>
              <a:stCxn id="20" idx="4"/>
              <a:endCxn id="20" idx="6"/>
            </p:cNvCxnSpPr>
            <p:nvPr/>
          </p:nvCxnSpPr>
          <p:spPr bwMode="gray">
            <a:xfrm>
              <a:off x="8267440" y="436561"/>
              <a:ext cx="473335" cy="0"/>
            </a:xfrm>
            <a:prstGeom prst="straightConnector1">
              <a:avLst/>
            </a:prstGeom>
            <a:noFill/>
            <a:ln w="25400">
              <a:solidFill>
                <a:schemeClr val="accent6"/>
              </a:solidFill>
              <a:round/>
              <a:headEnd/>
              <a:tailEnd/>
            </a:ln>
            <a:extLst>
              <a:ext uri="{909E8E84-426E-40DD-AFC4-6F175D3DCCD1}">
                <a14:hiddenFill xmlns:a14="http://schemas.microsoft.com/office/drawing/2010/main">
                  <a:noFill/>
                </a14:hiddenFill>
              </a:ext>
            </a:extLst>
          </p:spPr>
        </p:cxnSp>
      </p:grpSp>
      <p:sp>
        <p:nvSpPr>
          <p:cNvPr id="23" name="SlideBottomBar" hidden="1"/>
          <p:cNvSpPr/>
          <p:nvPr/>
        </p:nvSpPr>
        <p:spPr>
          <a:xfrm>
            <a:off x="8437547" y="6182120"/>
            <a:ext cx="45719" cy="123825"/>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aseline="0" dirty="0">
              <a:solidFill>
                <a:schemeClr val="tx1"/>
              </a:solidFill>
              <a:latin typeface="+mn-lt"/>
              <a:ea typeface="+mn-ea"/>
            </a:endParaRPr>
          </a:p>
        </p:txBody>
      </p:sp>
      <p:sp>
        <p:nvSpPr>
          <p:cNvPr id="24" name="doc id" hidden="1"/>
          <p:cNvSpPr txBox="1">
            <a:spLocks noChangeArrowheads="1"/>
          </p:cNvSpPr>
          <p:nvPr/>
        </p:nvSpPr>
        <p:spPr bwMode="white">
          <a:xfrm>
            <a:off x="8104473" y="36513"/>
            <a:ext cx="634716" cy="115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hangingPunct="1">
              <a:defRPr/>
            </a:pPr>
            <a:endParaRPr lang="en-US" sz="800" baseline="0" dirty="0">
              <a:solidFill>
                <a:schemeClr val="accent1"/>
              </a:solidFill>
              <a:latin typeface="+mn-lt"/>
              <a:ea typeface="+mn-ea"/>
            </a:endParaRPr>
          </a:p>
        </p:txBody>
      </p:sp>
      <p:grpSp>
        <p:nvGrpSpPr>
          <p:cNvPr id="63" name="LegendLines" hidden="1"/>
          <p:cNvGrpSpPr/>
          <p:nvPr/>
        </p:nvGrpSpPr>
        <p:grpSpPr>
          <a:xfrm>
            <a:off x="7551589" y="267815"/>
            <a:ext cx="1158292" cy="761545"/>
            <a:chOff x="7607284" y="279400"/>
            <a:chExt cx="1158292" cy="761545"/>
          </a:xfrm>
        </p:grpSpPr>
        <p:sp>
          <p:nvSpPr>
            <p:cNvPr id="64" name="LineLegend1"/>
            <p:cNvSpPr>
              <a:spLocks noChangeShapeType="1"/>
            </p:cNvSpPr>
            <p:nvPr/>
          </p:nvSpPr>
          <p:spPr bwMode="gray">
            <a:xfrm>
              <a:off x="7607284" y="387122"/>
              <a:ext cx="457200"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65" name="LineLegend2"/>
            <p:cNvSpPr>
              <a:spLocks noChangeShapeType="1"/>
            </p:cNvSpPr>
            <p:nvPr/>
          </p:nvSpPr>
          <p:spPr bwMode="gray">
            <a:xfrm>
              <a:off x="7607284" y="653822"/>
              <a:ext cx="457200"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66" name="LineLegend3"/>
            <p:cNvSpPr>
              <a:spLocks noChangeShapeType="1"/>
            </p:cNvSpPr>
            <p:nvPr/>
          </p:nvSpPr>
          <p:spPr bwMode="gray">
            <a:xfrm>
              <a:off x="7607284" y="933223"/>
              <a:ext cx="457200"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67" name="Legend1"/>
            <p:cNvSpPr>
              <a:spLocks noChangeArrowheads="1"/>
            </p:cNvSpPr>
            <p:nvPr>
              <p:custDataLst>
                <p:tags r:id="rId33"/>
              </p:custDataLst>
            </p:nvPr>
          </p:nvSpPr>
          <p:spPr bwMode="gray">
            <a:xfrm>
              <a:off x="8169259" y="279400"/>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sp>
          <p:nvSpPr>
            <p:cNvPr id="68" name="Legend2"/>
            <p:cNvSpPr>
              <a:spLocks noChangeArrowheads="1"/>
            </p:cNvSpPr>
            <p:nvPr>
              <p:custDataLst>
                <p:tags r:id="rId34"/>
              </p:custDataLst>
            </p:nvPr>
          </p:nvSpPr>
          <p:spPr bwMode="gray">
            <a:xfrm>
              <a:off x="8169259" y="546100"/>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a:latin typeface="+mn-lt"/>
                  <a:ea typeface="+mn-ea"/>
                </a:rPr>
                <a:t>Legend</a:t>
              </a:r>
              <a:endParaRPr lang="en-US" sz="1400" baseline="0" dirty="0">
                <a:latin typeface="+mn-lt"/>
                <a:ea typeface="+mn-ea"/>
              </a:endParaRPr>
            </a:p>
          </p:txBody>
        </p:sp>
        <p:sp>
          <p:nvSpPr>
            <p:cNvPr id="69" name="Legend3"/>
            <p:cNvSpPr>
              <a:spLocks noChangeArrowheads="1"/>
            </p:cNvSpPr>
            <p:nvPr>
              <p:custDataLst>
                <p:tags r:id="rId35"/>
              </p:custDataLst>
            </p:nvPr>
          </p:nvSpPr>
          <p:spPr bwMode="gray">
            <a:xfrm>
              <a:off x="8169259" y="825501"/>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grpSp>
      <p:grpSp>
        <p:nvGrpSpPr>
          <p:cNvPr id="70" name="LegendBoxes" hidden="1"/>
          <p:cNvGrpSpPr/>
          <p:nvPr/>
        </p:nvGrpSpPr>
        <p:grpSpPr>
          <a:xfrm>
            <a:off x="7859564" y="267919"/>
            <a:ext cx="850317" cy="1028245"/>
            <a:chOff x="5894005" y="919828"/>
            <a:chExt cx="850317" cy="1028245"/>
          </a:xfrm>
        </p:grpSpPr>
        <p:sp>
          <p:nvSpPr>
            <p:cNvPr id="71" name="RectangleLegend1"/>
            <p:cNvSpPr>
              <a:spLocks noChangeArrowheads="1"/>
            </p:cNvSpPr>
            <p:nvPr/>
          </p:nvSpPr>
          <p:spPr bwMode="gray">
            <a:xfrm>
              <a:off x="5894005" y="947381"/>
              <a:ext cx="165100" cy="160338"/>
            </a:xfrm>
            <a:prstGeom prst="rect">
              <a:avLst/>
            </a:prstGeom>
            <a:solidFill>
              <a:schemeClr val="accent1"/>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72" name="RectangleLegend2"/>
            <p:cNvSpPr>
              <a:spLocks noChangeArrowheads="1"/>
            </p:cNvSpPr>
            <p:nvPr/>
          </p:nvSpPr>
          <p:spPr bwMode="gray">
            <a:xfrm>
              <a:off x="5894005" y="1217256"/>
              <a:ext cx="165100" cy="160338"/>
            </a:xfrm>
            <a:prstGeom prst="rect">
              <a:avLst/>
            </a:prstGeom>
            <a:solidFill>
              <a:schemeClr val="accent2"/>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73" name="RectangleLegend3"/>
            <p:cNvSpPr>
              <a:spLocks noChangeArrowheads="1"/>
            </p:cNvSpPr>
            <p:nvPr/>
          </p:nvSpPr>
          <p:spPr bwMode="gray">
            <a:xfrm>
              <a:off x="5894005" y="1488719"/>
              <a:ext cx="165100" cy="160338"/>
            </a:xfrm>
            <a:prstGeom prst="rect">
              <a:avLst/>
            </a:prstGeom>
            <a:solidFill>
              <a:schemeClr val="accent3"/>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74" name="RectangleLegend4"/>
            <p:cNvSpPr>
              <a:spLocks noChangeArrowheads="1"/>
            </p:cNvSpPr>
            <p:nvPr/>
          </p:nvSpPr>
          <p:spPr bwMode="gray">
            <a:xfrm>
              <a:off x="5894005" y="1760182"/>
              <a:ext cx="165100" cy="160338"/>
            </a:xfrm>
            <a:prstGeom prst="rect">
              <a:avLst/>
            </a:prstGeom>
            <a:solidFill>
              <a:schemeClr val="accent4"/>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75" name="Legend1"/>
            <p:cNvSpPr>
              <a:spLocks noChangeArrowheads="1"/>
            </p:cNvSpPr>
            <p:nvPr>
              <p:custDataLst>
                <p:tags r:id="rId29"/>
              </p:custDataLst>
            </p:nvPr>
          </p:nvSpPr>
          <p:spPr bwMode="gray">
            <a:xfrm>
              <a:off x="6148005" y="919828"/>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sp>
          <p:nvSpPr>
            <p:cNvPr id="76" name="Legend2"/>
            <p:cNvSpPr>
              <a:spLocks noChangeArrowheads="1"/>
            </p:cNvSpPr>
            <p:nvPr>
              <p:custDataLst>
                <p:tags r:id="rId30"/>
              </p:custDataLst>
            </p:nvPr>
          </p:nvSpPr>
          <p:spPr bwMode="gray">
            <a:xfrm>
              <a:off x="6148005" y="1189703"/>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sp>
          <p:nvSpPr>
            <p:cNvPr id="77" name="Legend3"/>
            <p:cNvSpPr>
              <a:spLocks noChangeArrowheads="1"/>
            </p:cNvSpPr>
            <p:nvPr>
              <p:custDataLst>
                <p:tags r:id="rId31"/>
              </p:custDataLst>
            </p:nvPr>
          </p:nvSpPr>
          <p:spPr bwMode="gray">
            <a:xfrm>
              <a:off x="6148005" y="1461166"/>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sp>
          <p:nvSpPr>
            <p:cNvPr id="78" name="Legend4"/>
            <p:cNvSpPr>
              <a:spLocks noChangeArrowheads="1"/>
            </p:cNvSpPr>
            <p:nvPr>
              <p:custDataLst>
                <p:tags r:id="rId32"/>
              </p:custDataLst>
            </p:nvPr>
          </p:nvSpPr>
          <p:spPr bwMode="gray">
            <a:xfrm>
              <a:off x="6148005" y="1732629"/>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grpSp>
      <p:grpSp>
        <p:nvGrpSpPr>
          <p:cNvPr id="79" name="LegendMoons" hidden="1"/>
          <p:cNvGrpSpPr/>
          <p:nvPr/>
        </p:nvGrpSpPr>
        <p:grpSpPr>
          <a:xfrm>
            <a:off x="7792889" y="267414"/>
            <a:ext cx="916992" cy="1317003"/>
            <a:chOff x="5894005" y="2695123"/>
            <a:chExt cx="916992" cy="1317003"/>
          </a:xfrm>
        </p:grpSpPr>
        <p:grpSp>
          <p:nvGrpSpPr>
            <p:cNvPr id="80" name="MoonLegend1"/>
            <p:cNvGrpSpPr>
              <a:grpSpLocks noChangeAspect="1"/>
            </p:cNvGrpSpPr>
            <p:nvPr>
              <p:custDataLst>
                <p:tags r:id="rId9"/>
              </p:custDataLst>
            </p:nvPr>
          </p:nvGrpSpPr>
          <p:grpSpPr bwMode="gray">
            <a:xfrm>
              <a:off x="5894005" y="2695123"/>
              <a:ext cx="209550" cy="218282"/>
              <a:chOff x="4533" y="183"/>
              <a:chExt cx="144" cy="150"/>
            </a:xfrm>
          </p:grpSpPr>
          <p:sp>
            <p:nvSpPr>
              <p:cNvPr id="98" name="Oval 97"/>
              <p:cNvSpPr>
                <a:spLocks noChangeAspect="1" noChangeArrowheads="1"/>
              </p:cNvSpPr>
              <p:nvPr>
                <p:custDataLst>
                  <p:tags r:id="rId27"/>
                </p:custDataLst>
              </p:nvPr>
            </p:nvSpPr>
            <p:spPr bwMode="gray">
              <a:xfrm>
                <a:off x="4533" y="189"/>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99" name="Arc 98" hidden="1"/>
              <p:cNvSpPr>
                <a:spLocks noChangeAspect="1"/>
              </p:cNvSpPr>
              <p:nvPr>
                <p:custDataLst>
                  <p:tags r:id="rId28"/>
                </p:custDataLst>
              </p:nvPr>
            </p:nvSpPr>
            <p:spPr bwMode="gray">
              <a:xfrm>
                <a:off x="4533" y="183"/>
                <a:ext cx="144" cy="144"/>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grpSp>
        <p:grpSp>
          <p:nvGrpSpPr>
            <p:cNvPr id="81" name="MoonLegend2"/>
            <p:cNvGrpSpPr>
              <a:grpSpLocks noChangeAspect="1"/>
            </p:cNvGrpSpPr>
            <p:nvPr>
              <p:custDataLst>
                <p:tags r:id="rId10"/>
              </p:custDataLst>
            </p:nvPr>
          </p:nvGrpSpPr>
          <p:grpSpPr bwMode="gray">
            <a:xfrm>
              <a:off x="5894005" y="2977103"/>
              <a:ext cx="209550" cy="209551"/>
              <a:chOff x="1694" y="2051"/>
              <a:chExt cx="160" cy="160"/>
            </a:xfrm>
          </p:grpSpPr>
          <p:sp>
            <p:nvSpPr>
              <p:cNvPr id="96" name="Oval 41"/>
              <p:cNvSpPr>
                <a:spLocks noChangeAspect="1" noChangeArrowheads="1"/>
              </p:cNvSpPr>
              <p:nvPr>
                <p:custDataLst>
                  <p:tags r:id="rId25"/>
                </p:custDataLst>
              </p:nvPr>
            </p:nvSpPr>
            <p:spPr bwMode="gray">
              <a:xfrm>
                <a:off x="1694" y="2051"/>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97" name="Arc 42"/>
              <p:cNvSpPr>
                <a:spLocks noChangeAspect="1"/>
              </p:cNvSpPr>
              <p:nvPr>
                <p:custDataLst>
                  <p:tags r:id="rId26"/>
                </p:custDataLst>
              </p:nvPr>
            </p:nvSpPr>
            <p:spPr bwMode="gray">
              <a:xfrm>
                <a:off x="1694" y="2051"/>
                <a:ext cx="160" cy="160"/>
              </a:xfrm>
              <a:prstGeom prst="arc">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grpSp>
        <p:grpSp>
          <p:nvGrpSpPr>
            <p:cNvPr id="82" name="MoonLegend4"/>
            <p:cNvGrpSpPr>
              <a:grpSpLocks noChangeAspect="1"/>
            </p:cNvGrpSpPr>
            <p:nvPr>
              <p:custDataLst>
                <p:tags r:id="rId11"/>
              </p:custDataLst>
            </p:nvPr>
          </p:nvGrpSpPr>
          <p:grpSpPr bwMode="gray">
            <a:xfrm>
              <a:off x="5894005" y="3524395"/>
              <a:ext cx="209550" cy="209551"/>
              <a:chOff x="4495" y="1204"/>
              <a:chExt cx="160" cy="160"/>
            </a:xfrm>
          </p:grpSpPr>
          <p:sp>
            <p:nvSpPr>
              <p:cNvPr id="94" name="Oval 47"/>
              <p:cNvSpPr>
                <a:spLocks noChangeAspect="1" noChangeArrowheads="1"/>
              </p:cNvSpPr>
              <p:nvPr>
                <p:custDataLst>
                  <p:tags r:id="rId23"/>
                </p:custDataLst>
              </p:nvPr>
            </p:nvSpPr>
            <p:spPr bwMode="gray">
              <a:xfrm>
                <a:off x="4495" y="120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95" name="Arc 48"/>
              <p:cNvSpPr>
                <a:spLocks noChangeAspect="1"/>
              </p:cNvSpPr>
              <p:nvPr>
                <p:custDataLst>
                  <p:tags r:id="rId24"/>
                </p:custDataLst>
              </p:nvPr>
            </p:nvSpPr>
            <p:spPr bwMode="gray">
              <a:xfrm>
                <a:off x="4495" y="1204"/>
                <a:ext cx="160" cy="160"/>
              </a:xfrm>
              <a:prstGeom prst="arc">
                <a:avLst>
                  <a:gd name="adj1" fmla="val 16200000"/>
                  <a:gd name="adj2" fmla="val 108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grpSp>
        <p:grpSp>
          <p:nvGrpSpPr>
            <p:cNvPr id="83" name="MoonLegend5"/>
            <p:cNvGrpSpPr>
              <a:grpSpLocks noChangeAspect="1"/>
            </p:cNvGrpSpPr>
            <p:nvPr>
              <p:custDataLst>
                <p:tags r:id="rId12"/>
              </p:custDataLst>
            </p:nvPr>
          </p:nvGrpSpPr>
          <p:grpSpPr bwMode="gray">
            <a:xfrm>
              <a:off x="5894005" y="3799629"/>
              <a:ext cx="209550" cy="209551"/>
              <a:chOff x="4495" y="1447"/>
              <a:chExt cx="160" cy="160"/>
            </a:xfrm>
          </p:grpSpPr>
          <p:sp>
            <p:nvSpPr>
              <p:cNvPr id="92" name="Oval 50"/>
              <p:cNvSpPr>
                <a:spLocks noChangeAspect="1" noChangeArrowheads="1"/>
              </p:cNvSpPr>
              <p:nvPr>
                <p:custDataLst>
                  <p:tags r:id="rId21"/>
                </p:custDataLst>
              </p:nvPr>
            </p:nvSpPr>
            <p:spPr bwMode="gray">
              <a:xfrm>
                <a:off x="4495" y="1447"/>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93" name="Oval 51"/>
              <p:cNvSpPr>
                <a:spLocks noChangeAspect="1" noChangeArrowheads="1"/>
              </p:cNvSpPr>
              <p:nvPr>
                <p:custDataLst>
                  <p:tags r:id="rId22"/>
                </p:custDataLst>
              </p:nvPr>
            </p:nvSpPr>
            <p:spPr bwMode="gray">
              <a:xfrm>
                <a:off x="4495" y="1447"/>
                <a:ext cx="160" cy="160"/>
              </a:xfrm>
              <a:prstGeom prst="arc">
                <a:avLst>
                  <a:gd name="adj1" fmla="val 16200000"/>
                  <a:gd name="adj2" fmla="val 162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grpSp>
        <p:grpSp>
          <p:nvGrpSpPr>
            <p:cNvPr id="84" name="MoonLegend3"/>
            <p:cNvGrpSpPr>
              <a:grpSpLocks noChangeAspect="1"/>
            </p:cNvGrpSpPr>
            <p:nvPr>
              <p:custDataLst>
                <p:tags r:id="rId13"/>
              </p:custDataLst>
            </p:nvPr>
          </p:nvGrpSpPr>
          <p:grpSpPr bwMode="gray">
            <a:xfrm>
              <a:off x="5894005" y="3251543"/>
              <a:ext cx="209550" cy="209551"/>
              <a:chOff x="4495" y="1205"/>
              <a:chExt cx="160" cy="160"/>
            </a:xfrm>
          </p:grpSpPr>
          <p:sp>
            <p:nvSpPr>
              <p:cNvPr id="90" name="Oval 47"/>
              <p:cNvSpPr>
                <a:spLocks noChangeAspect="1" noChangeArrowheads="1"/>
              </p:cNvSpPr>
              <p:nvPr>
                <p:custDataLst>
                  <p:tags r:id="rId19"/>
                </p:custDataLst>
              </p:nvPr>
            </p:nvSpPr>
            <p:spPr bwMode="gray">
              <a:xfrm>
                <a:off x="4495" y="1205"/>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91" name="Arc 48"/>
              <p:cNvSpPr>
                <a:spLocks noChangeAspect="1"/>
              </p:cNvSpPr>
              <p:nvPr>
                <p:custDataLst>
                  <p:tags r:id="rId20"/>
                </p:custDataLst>
              </p:nvPr>
            </p:nvSpPr>
            <p:spPr bwMode="gray">
              <a:xfrm>
                <a:off x="4495" y="1205"/>
                <a:ext cx="160" cy="160"/>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grpSp>
        <p:sp>
          <p:nvSpPr>
            <p:cNvPr id="85" name="Legend1"/>
            <p:cNvSpPr>
              <a:spLocks noChangeArrowheads="1"/>
            </p:cNvSpPr>
            <p:nvPr>
              <p:custDataLst>
                <p:tags r:id="rId14"/>
              </p:custDataLst>
            </p:nvPr>
          </p:nvSpPr>
          <p:spPr bwMode="gray">
            <a:xfrm>
              <a:off x="6214680" y="2696542"/>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sp>
          <p:nvSpPr>
            <p:cNvPr id="86" name="Legend2"/>
            <p:cNvSpPr>
              <a:spLocks noChangeArrowheads="1"/>
            </p:cNvSpPr>
            <p:nvPr>
              <p:custDataLst>
                <p:tags r:id="rId15"/>
              </p:custDataLst>
            </p:nvPr>
          </p:nvSpPr>
          <p:spPr bwMode="gray">
            <a:xfrm>
              <a:off x="6214680" y="2974156"/>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a:latin typeface="+mn-lt"/>
                  <a:ea typeface="+mn-ea"/>
                </a:rPr>
                <a:t>Legend</a:t>
              </a:r>
              <a:endParaRPr lang="en-US" sz="1400" baseline="0" dirty="0">
                <a:latin typeface="+mn-lt"/>
                <a:ea typeface="+mn-ea"/>
              </a:endParaRPr>
            </a:p>
          </p:txBody>
        </p:sp>
        <p:sp>
          <p:nvSpPr>
            <p:cNvPr id="87" name="Legend3"/>
            <p:cNvSpPr>
              <a:spLocks noChangeArrowheads="1"/>
            </p:cNvSpPr>
            <p:nvPr>
              <p:custDataLst>
                <p:tags r:id="rId16"/>
              </p:custDataLst>
            </p:nvPr>
          </p:nvSpPr>
          <p:spPr bwMode="gray">
            <a:xfrm>
              <a:off x="6214680" y="3248596"/>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sp>
          <p:nvSpPr>
            <p:cNvPr id="88" name="Legend4"/>
            <p:cNvSpPr>
              <a:spLocks noChangeArrowheads="1"/>
            </p:cNvSpPr>
            <p:nvPr>
              <p:custDataLst>
                <p:tags r:id="rId17"/>
              </p:custDataLst>
            </p:nvPr>
          </p:nvSpPr>
          <p:spPr bwMode="gray">
            <a:xfrm>
              <a:off x="6214680" y="3521448"/>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sp>
          <p:nvSpPr>
            <p:cNvPr id="89" name="Legend5"/>
            <p:cNvSpPr>
              <a:spLocks noChangeArrowheads="1"/>
            </p:cNvSpPr>
            <p:nvPr>
              <p:custDataLst>
                <p:tags r:id="rId18"/>
              </p:custDataLst>
            </p:nvPr>
          </p:nvSpPr>
          <p:spPr bwMode="gray">
            <a:xfrm>
              <a:off x="6214680" y="3796682"/>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a:latin typeface="+mn-lt"/>
                  <a:ea typeface="+mn-ea"/>
                </a:rPr>
                <a:t>Legend</a:t>
              </a:r>
              <a:endParaRPr lang="en-US" sz="1400" baseline="0" dirty="0">
                <a:latin typeface="+mn-lt"/>
                <a:ea typeface="+mn-ea"/>
              </a:endParaRPr>
            </a:p>
          </p:txBody>
        </p:sp>
      </p:grpSp>
    </p:spTree>
    <p:extLst>
      <p:ext uri="{BB962C8B-B14F-4D97-AF65-F5344CB8AC3E}">
        <p14:creationId xmlns:p14="http://schemas.microsoft.com/office/powerpoint/2010/main" val="690582564"/>
      </p:ext>
    </p:extLst>
  </p:cSld>
  <p:clrMap bg1="lt1" tx1="dk1" bg2="lt2" tx2="dk2" accent1="accent1" accent2="accent2" accent3="accent3" accent4="accent4" accent5="accent5" accent6="accent6" hlink="hlink" folHlink="folHlink"/>
  <p:sldLayoutIdLst>
    <p:sldLayoutId id="2147483671" r:id="rId1"/>
    <p:sldLayoutId id="2147483672" r:id="rId2"/>
    <p:sldLayoutId id="2147483673" r:id="rId3"/>
    <p:sldLayoutId id="2147483674" r:id="rId4"/>
  </p:sldLayoutIdLst>
  <p:txStyles>
    <p:titleStyle>
      <a:lvl1pPr algn="l" defTabSz="895350" rtl="0" eaLnBrk="1" fontAlgn="base" hangingPunct="1">
        <a:spcBef>
          <a:spcPct val="0"/>
        </a:spcBef>
        <a:spcAft>
          <a:spcPct val="0"/>
        </a:spcAft>
        <a:tabLst>
          <a:tab pos="269875" algn="l"/>
        </a:tabLst>
        <a:defRPr sz="2000" b="0" baseline="0">
          <a:solidFill>
            <a:schemeClr val="tx2"/>
          </a:solidFill>
          <a:latin typeface="+mj-lt"/>
          <a:ea typeface="+mj-ea"/>
          <a:cs typeface="+mj-cs"/>
        </a:defRPr>
      </a:lvl1pPr>
      <a:lvl2pPr algn="l" defTabSz="895350" rtl="0" eaLnBrk="1" fontAlgn="base" hangingPunct="1">
        <a:spcBef>
          <a:spcPct val="0"/>
        </a:spcBef>
        <a:spcAft>
          <a:spcPct val="0"/>
        </a:spcAft>
        <a:defRPr sz="1900" b="1">
          <a:solidFill>
            <a:schemeClr val="tx2"/>
          </a:solidFill>
          <a:latin typeface="Arial" charset="0"/>
        </a:defRPr>
      </a:lvl2pPr>
      <a:lvl3pPr algn="l" defTabSz="895350" rtl="0" eaLnBrk="1" fontAlgn="base" hangingPunct="1">
        <a:spcBef>
          <a:spcPct val="0"/>
        </a:spcBef>
        <a:spcAft>
          <a:spcPct val="0"/>
        </a:spcAft>
        <a:defRPr sz="1900" b="1">
          <a:solidFill>
            <a:schemeClr val="tx2"/>
          </a:solidFill>
          <a:latin typeface="Arial" charset="0"/>
        </a:defRPr>
      </a:lvl3pPr>
      <a:lvl4pPr algn="l" defTabSz="895350" rtl="0" eaLnBrk="1" fontAlgn="base" hangingPunct="1">
        <a:spcBef>
          <a:spcPct val="0"/>
        </a:spcBef>
        <a:spcAft>
          <a:spcPct val="0"/>
        </a:spcAft>
        <a:defRPr sz="1900" b="1">
          <a:solidFill>
            <a:schemeClr val="tx2"/>
          </a:solidFill>
          <a:latin typeface="Arial" charset="0"/>
        </a:defRPr>
      </a:lvl4pPr>
      <a:lvl5pPr algn="l" defTabSz="895350" rtl="0" eaLnBrk="1" fontAlgn="base" hangingPunct="1">
        <a:spcBef>
          <a:spcPct val="0"/>
        </a:spcBef>
        <a:spcAft>
          <a:spcPct val="0"/>
        </a:spcAft>
        <a:defRPr sz="1900" b="1">
          <a:solidFill>
            <a:schemeClr val="tx2"/>
          </a:solidFill>
          <a:latin typeface="Arial" charset="0"/>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p:titleStyle>
    <p:bodyStyle>
      <a:lvl1pPr marL="0" indent="0" algn="l" defTabSz="895350" rtl="0" eaLnBrk="1" fontAlgn="base" hangingPunct="1">
        <a:spcBef>
          <a:spcPct val="0"/>
        </a:spcBef>
        <a:spcAft>
          <a:spcPct val="0"/>
        </a:spcAft>
        <a:buClr>
          <a:schemeClr val="tx2"/>
        </a:buClr>
        <a:buSzPct val="100000"/>
        <a:defRPr sz="14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4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4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4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4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7"/>
            </p:custDataLst>
            <p:extLst>
              <p:ext uri="{D42A27DB-BD31-4B8C-83A1-F6EECF244321}">
                <p14:modId xmlns:p14="http://schemas.microsoft.com/office/powerpoint/2010/main" val="636726087"/>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7124" name="think-cell Slide" r:id="rId36" imgW="270" imgH="270" progId="TCLayout.ActiveDocument.1">
                  <p:embed/>
                </p:oleObj>
              </mc:Choice>
              <mc:Fallback>
                <p:oleObj name="think-cell Slide" r:id="rId36" imgW="270" imgH="270" progId="TCLayout.ActiveDocument.1">
                  <p:embed/>
                  <p:pic>
                    <p:nvPicPr>
                      <p:cNvPr id="2" name="Object 1" hidden="1"/>
                      <p:cNvPicPr/>
                      <p:nvPr/>
                    </p:nvPicPr>
                    <p:blipFill>
                      <a:blip r:embed="rId37"/>
                      <a:stretch>
                        <a:fillRect/>
                      </a:stretch>
                    </p:blipFill>
                    <p:spPr>
                      <a:xfrm>
                        <a:off x="0" y="0"/>
                        <a:ext cx="158750" cy="158750"/>
                      </a:xfrm>
                      <a:prstGeom prst="rect">
                        <a:avLst/>
                      </a:prstGeom>
                    </p:spPr>
                  </p:pic>
                </p:oleObj>
              </mc:Fallback>
            </mc:AlternateContent>
          </a:graphicData>
        </a:graphic>
      </p:graphicFrame>
      <p:sp>
        <p:nvSpPr>
          <p:cNvPr id="6" name="Rectangle 5" hidden="1"/>
          <p:cNvSpPr/>
          <p:nvPr>
            <p:custDataLst>
              <p:tags r:id="rId8"/>
            </p:custDataLst>
          </p:nvPr>
        </p:nvSpPr>
        <p:spPr bwMode="auto">
          <a:xfrm>
            <a:off x="0" y="0"/>
            <a:ext cx="158750" cy="158750"/>
          </a:xfrm>
          <a:prstGeom prst="rect">
            <a:avLst/>
          </a:prstGeom>
          <a:solidFill>
            <a:schemeClr val="bg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dirty="0">
              <a:solidFill>
                <a:srgbClr val="000000"/>
              </a:solidFill>
              <a:sym typeface="Arial" panose="020B0604020202020204" pitchFamily="34" charset="0"/>
            </a:endParaRPr>
          </a:p>
        </p:txBody>
      </p:sp>
      <p:sp>
        <p:nvSpPr>
          <p:cNvPr id="1034" name="Working Draft" hidden="1"/>
          <p:cNvSpPr txBox="1">
            <a:spLocks noChangeArrowheads="1"/>
          </p:cNvSpPr>
          <p:nvPr/>
        </p:nvSpPr>
        <p:spPr bwMode="gray">
          <a:xfrm rot="5400000">
            <a:off x="7966656" y="1940591"/>
            <a:ext cx="1849865"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600" baseline="0">
                <a:solidFill>
                  <a:srgbClr val="808080"/>
                </a:solidFill>
                <a:latin typeface="+mn-lt"/>
                <a:ea typeface="+mn-ea"/>
              </a:rPr>
              <a:t>Last Modified 21/05/2018 17:44 India Standard Time</a:t>
            </a:r>
            <a:endParaRPr lang="en-US" baseline="0" dirty="0">
              <a:solidFill>
                <a:srgbClr val="808080"/>
              </a:solidFill>
              <a:latin typeface="+mn-lt"/>
              <a:ea typeface="+mn-ea"/>
            </a:endParaRPr>
          </a:p>
        </p:txBody>
      </p:sp>
      <p:sp>
        <p:nvSpPr>
          <p:cNvPr id="1035" name="Printed" hidden="1"/>
          <p:cNvSpPr txBox="1">
            <a:spLocks noChangeArrowheads="1"/>
          </p:cNvSpPr>
          <p:nvPr/>
        </p:nvSpPr>
        <p:spPr bwMode="gray">
          <a:xfrm rot="5400000">
            <a:off x="8768958" y="4114417"/>
            <a:ext cx="245260"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600" baseline="0" dirty="0">
                <a:solidFill>
                  <a:srgbClr val="808080"/>
                </a:solidFill>
                <a:latin typeface="+mn-lt"/>
                <a:ea typeface="+mn-ea"/>
              </a:rPr>
              <a:t>Printed</a:t>
            </a:r>
            <a:endParaRPr lang="en-US" baseline="0" dirty="0">
              <a:solidFill>
                <a:srgbClr val="808080"/>
              </a:solidFill>
              <a:latin typeface="+mn-lt"/>
              <a:ea typeface="+mn-ea"/>
            </a:endParaRPr>
          </a:p>
        </p:txBody>
      </p:sp>
      <p:sp>
        <p:nvSpPr>
          <p:cNvPr id="19" name="Title Placeholder 2"/>
          <p:cNvSpPr>
            <a:spLocks noGrp="1" noChangeArrowheads="1"/>
          </p:cNvSpPr>
          <p:nvPr>
            <p:ph type="title"/>
          </p:nvPr>
        </p:nvSpPr>
        <p:spPr bwMode="gray">
          <a:xfrm>
            <a:off x="119063" y="230188"/>
            <a:ext cx="8618537"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latinLnBrk="0"/>
            <a:r>
              <a:rPr lang="en-US"/>
              <a:t>Click to edit Master title style</a:t>
            </a:r>
            <a:endParaRPr lang="en-US" noProof="0" dirty="0"/>
          </a:p>
        </p:txBody>
      </p:sp>
      <p:sp>
        <p:nvSpPr>
          <p:cNvPr id="10" name="1. On-page tracker" hidden="1"/>
          <p:cNvSpPr>
            <a:spLocks noChangeArrowheads="1"/>
          </p:cNvSpPr>
          <p:nvPr/>
        </p:nvSpPr>
        <p:spPr bwMode="gray">
          <a:xfrm>
            <a:off x="119063" y="75764"/>
            <a:ext cx="490519"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800" cap="all" baseline="0" dirty="0">
                <a:solidFill>
                  <a:schemeClr val="accent6"/>
                </a:solidFill>
                <a:latin typeface="+mn-lt"/>
                <a:ea typeface="+mn-ea"/>
              </a:rPr>
              <a:t>Tracker</a:t>
            </a:r>
          </a:p>
        </p:txBody>
      </p:sp>
      <p:sp>
        <p:nvSpPr>
          <p:cNvPr id="11" name="3. Unit of measure" hidden="1"/>
          <p:cNvSpPr txBox="1">
            <a:spLocks noChangeArrowheads="1"/>
          </p:cNvSpPr>
          <p:nvPr/>
        </p:nvSpPr>
        <p:spPr bwMode="gray">
          <a:xfrm>
            <a:off x="119063" y="554865"/>
            <a:ext cx="8618537"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600" baseline="0" dirty="0">
                <a:solidFill>
                  <a:schemeClr val="accent6"/>
                </a:solidFill>
                <a:latin typeface="+mn-lt"/>
                <a:ea typeface="+mn-ea"/>
              </a:rPr>
              <a:t>Unit of measure</a:t>
            </a:r>
          </a:p>
        </p:txBody>
      </p:sp>
      <p:grpSp>
        <p:nvGrpSpPr>
          <p:cNvPr id="4" name="Slide Elements" hidden="1"/>
          <p:cNvGrpSpPr/>
          <p:nvPr/>
        </p:nvGrpSpPr>
        <p:grpSpPr bwMode="gray">
          <a:xfrm>
            <a:off x="119063" y="6305945"/>
            <a:ext cx="8618537" cy="325438"/>
            <a:chOff x="119063" y="6305945"/>
            <a:chExt cx="8618537" cy="325438"/>
          </a:xfrm>
        </p:grpSpPr>
        <p:sp>
          <p:nvSpPr>
            <p:cNvPr id="13" name="4. Footnote"/>
            <p:cNvSpPr txBox="1">
              <a:spLocks noChangeArrowheads="1"/>
            </p:cNvSpPr>
            <p:nvPr/>
          </p:nvSpPr>
          <p:spPr bwMode="gray">
            <a:xfrm>
              <a:off x="119063" y="6305945"/>
              <a:ext cx="8618537" cy="123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800" baseline="0" dirty="0">
                  <a:solidFill>
                    <a:schemeClr val="accent6"/>
                  </a:solidFill>
                  <a:latin typeface="+mn-lt"/>
                  <a:ea typeface="+mn-ea"/>
                </a:rPr>
                <a:t>1 Footnote</a:t>
              </a:r>
            </a:p>
          </p:txBody>
        </p:sp>
        <p:sp>
          <p:nvSpPr>
            <p:cNvPr id="14" name="5. Source"/>
            <p:cNvSpPr>
              <a:spLocks noChangeArrowheads="1"/>
            </p:cNvSpPr>
            <p:nvPr/>
          </p:nvSpPr>
          <p:spPr bwMode="gray">
            <a:xfrm>
              <a:off x="119063" y="6507558"/>
              <a:ext cx="7200000" cy="123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marL="609600" indent="-609600" defTabSz="895350">
                <a:tabLst>
                  <a:tab pos="612775" algn="l"/>
                </a:tabLst>
              </a:pPr>
              <a:r>
                <a:rPr lang="en-US" sz="800" baseline="0" dirty="0">
                  <a:solidFill>
                    <a:schemeClr val="accent6"/>
                  </a:solidFill>
                  <a:latin typeface="+mn-lt"/>
                  <a:ea typeface="+mn-ea"/>
                </a:rPr>
                <a:t>SOURCE: Source</a:t>
              </a:r>
            </a:p>
          </p:txBody>
        </p:sp>
      </p:grpSp>
      <p:sp>
        <p:nvSpPr>
          <p:cNvPr id="3" name="Text Placeholder 2"/>
          <p:cNvSpPr>
            <a:spLocks noGrp="1"/>
          </p:cNvSpPr>
          <p:nvPr>
            <p:ph type="body" idx="1"/>
          </p:nvPr>
        </p:nvSpPr>
        <p:spPr bwMode="gray">
          <a:xfrm>
            <a:off x="1452564" y="1951380"/>
            <a:ext cx="4302125" cy="1077218"/>
          </a:xfrm>
          <a:prstGeom prst="rect">
            <a:avLst/>
          </a:prstGeom>
        </p:spPr>
        <p:txBody>
          <a:bodyPr vert="horz" lIns="0" tIns="0" rIns="0" bIns="0" rtlCol="0">
            <a:spAutoFit/>
          </a:bodyPr>
          <a:lstStyle/>
          <a:p>
            <a:pPr lvl="0" latinLnBrk="0"/>
            <a:r>
              <a:rPr lang="en-US"/>
              <a:t>Edit Master text styles</a:t>
            </a:r>
          </a:p>
          <a:p>
            <a:pPr lvl="1" latinLnBrk="0"/>
            <a:r>
              <a:rPr lang="en-US"/>
              <a:t>Second level</a:t>
            </a:r>
          </a:p>
          <a:p>
            <a:pPr lvl="2" latinLnBrk="0"/>
            <a:r>
              <a:rPr lang="en-US"/>
              <a:t>Third level</a:t>
            </a:r>
          </a:p>
          <a:p>
            <a:pPr lvl="3" latinLnBrk="0"/>
            <a:r>
              <a:rPr lang="en-US"/>
              <a:t>Fourth level</a:t>
            </a:r>
          </a:p>
          <a:p>
            <a:pPr lvl="4" latinLnBrk="0"/>
            <a:r>
              <a:rPr lang="en-US"/>
              <a:t>Fifth level</a:t>
            </a:r>
            <a:endParaRPr lang="en-US" dirty="0"/>
          </a:p>
        </p:txBody>
      </p:sp>
      <p:grpSp>
        <p:nvGrpSpPr>
          <p:cNvPr id="15" name="ACET" hidden="1"/>
          <p:cNvGrpSpPr>
            <a:grpSpLocks/>
          </p:cNvGrpSpPr>
          <p:nvPr/>
        </p:nvGrpSpPr>
        <p:grpSpPr bwMode="gray">
          <a:xfrm>
            <a:off x="1452563" y="1257754"/>
            <a:ext cx="4264025" cy="508000"/>
            <a:chOff x="915" y="710"/>
            <a:chExt cx="2686" cy="320"/>
          </a:xfrm>
        </p:grpSpPr>
        <p:cxnSp>
          <p:nvCxnSpPr>
            <p:cNvPr id="16" name="AutoShape 249"/>
            <p:cNvCxnSpPr>
              <a:cxnSpLocks noChangeShapeType="1"/>
              <a:stCxn id="18" idx="4"/>
              <a:endCxn id="18" idx="6"/>
            </p:cNvCxnSpPr>
            <p:nvPr/>
          </p:nvCxnSpPr>
          <p:spPr bwMode="gray">
            <a:xfrm>
              <a:off x="915" y="1030"/>
              <a:ext cx="2686" cy="0"/>
            </a:xfrm>
            <a:prstGeom prst="straightConnector1">
              <a:avLst/>
            </a:prstGeom>
            <a:noFill/>
            <a:ln w="9525">
              <a:solidFill>
                <a:schemeClr val="accent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8" name="AutoShape 250"/>
            <p:cNvSpPr>
              <a:spLocks noChangeArrowheads="1"/>
            </p:cNvSpPr>
            <p:nvPr/>
          </p:nvSpPr>
          <p:spPr bwMode="gray">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US" b="1" baseline="0" dirty="0">
                  <a:solidFill>
                    <a:srgbClr val="000000"/>
                  </a:solidFill>
                  <a:latin typeface="+mn-lt"/>
                  <a:ea typeface="+mn-ea"/>
                </a:rPr>
                <a:t>Title</a:t>
              </a:r>
            </a:p>
            <a:p>
              <a:r>
                <a:rPr lang="en-US" baseline="0" dirty="0">
                  <a:solidFill>
                    <a:schemeClr val="accent6"/>
                  </a:solidFill>
                  <a:latin typeface="+mn-lt"/>
                  <a:ea typeface="+mn-ea"/>
                </a:rPr>
                <a:t>Unit of measure</a:t>
              </a:r>
            </a:p>
          </p:txBody>
        </p:sp>
      </p:grpSp>
      <p:grpSp>
        <p:nvGrpSpPr>
          <p:cNvPr id="17" name="McKSticker" hidden="1"/>
          <p:cNvGrpSpPr/>
          <p:nvPr/>
        </p:nvGrpSpPr>
        <p:grpSpPr bwMode="gray">
          <a:xfrm>
            <a:off x="8264265" y="285750"/>
            <a:ext cx="473335" cy="150811"/>
            <a:chOff x="8267440" y="285750"/>
            <a:chExt cx="473335" cy="150811"/>
          </a:xfrm>
        </p:grpSpPr>
        <p:sp>
          <p:nvSpPr>
            <p:cNvPr id="20" name="StickerRectangle"/>
            <p:cNvSpPr>
              <a:spLocks noChangeArrowheads="1"/>
            </p:cNvSpPr>
            <p:nvPr/>
          </p:nvSpPr>
          <p:spPr bwMode="gray">
            <a:xfrm>
              <a:off x="8267440" y="285750"/>
              <a:ext cx="473335" cy="150811"/>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a:buClr>
                  <a:srgbClr val="002960"/>
                </a:buClr>
              </a:pPr>
              <a:r>
                <a:rPr lang="en-US" sz="800" baseline="0" dirty="0">
                  <a:solidFill>
                    <a:schemeClr val="accent6"/>
                  </a:solidFill>
                  <a:latin typeface="+mn-lt"/>
                  <a:ea typeface="+mn-ea"/>
                </a:rPr>
                <a:t>STICKER</a:t>
              </a:r>
            </a:p>
          </p:txBody>
        </p:sp>
        <p:cxnSp>
          <p:nvCxnSpPr>
            <p:cNvPr id="21" name="AutoShape 31"/>
            <p:cNvCxnSpPr>
              <a:cxnSpLocks noChangeShapeType="1"/>
              <a:stCxn id="20" idx="2"/>
              <a:endCxn id="20" idx="4"/>
            </p:cNvCxnSpPr>
            <p:nvPr/>
          </p:nvCxnSpPr>
          <p:spPr bwMode="gray">
            <a:xfrm>
              <a:off x="8267440" y="285750"/>
              <a:ext cx="0" cy="150811"/>
            </a:xfrm>
            <a:prstGeom prst="straightConnector1">
              <a:avLst/>
            </a:prstGeom>
            <a:noFill/>
            <a:ln w="9525">
              <a:solidFill>
                <a:schemeClr val="accent6"/>
              </a:solidFill>
              <a:round/>
              <a:headEnd/>
              <a:tailEnd/>
            </a:ln>
            <a:extLst>
              <a:ext uri="{909E8E84-426E-40DD-AFC4-6F175D3DCCD1}">
                <a14:hiddenFill xmlns:a14="http://schemas.microsoft.com/office/drawing/2010/main">
                  <a:noFill/>
                </a14:hiddenFill>
              </a:ext>
            </a:extLst>
          </p:spPr>
        </p:cxnSp>
        <p:cxnSp>
          <p:nvCxnSpPr>
            <p:cNvPr id="22" name="AutoShape 32"/>
            <p:cNvCxnSpPr>
              <a:cxnSpLocks noChangeShapeType="1"/>
              <a:stCxn id="20" idx="4"/>
              <a:endCxn id="20" idx="6"/>
            </p:cNvCxnSpPr>
            <p:nvPr/>
          </p:nvCxnSpPr>
          <p:spPr bwMode="gray">
            <a:xfrm>
              <a:off x="8267440" y="436561"/>
              <a:ext cx="473335" cy="0"/>
            </a:xfrm>
            <a:prstGeom prst="straightConnector1">
              <a:avLst/>
            </a:prstGeom>
            <a:noFill/>
            <a:ln w="25400">
              <a:solidFill>
                <a:schemeClr val="accent6"/>
              </a:solidFill>
              <a:round/>
              <a:headEnd/>
              <a:tailEnd/>
            </a:ln>
            <a:extLst>
              <a:ext uri="{909E8E84-426E-40DD-AFC4-6F175D3DCCD1}">
                <a14:hiddenFill xmlns:a14="http://schemas.microsoft.com/office/drawing/2010/main">
                  <a:noFill/>
                </a14:hiddenFill>
              </a:ext>
            </a:extLst>
          </p:spPr>
        </p:cxnSp>
      </p:grpSp>
      <p:sp>
        <p:nvSpPr>
          <p:cNvPr id="23" name="SlideBottomBar" hidden="1"/>
          <p:cNvSpPr/>
          <p:nvPr/>
        </p:nvSpPr>
        <p:spPr>
          <a:xfrm>
            <a:off x="8437547" y="6182120"/>
            <a:ext cx="45719" cy="123825"/>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aseline="0" dirty="0">
              <a:solidFill>
                <a:schemeClr val="tx1"/>
              </a:solidFill>
              <a:latin typeface="+mn-lt"/>
              <a:ea typeface="+mn-ea"/>
            </a:endParaRPr>
          </a:p>
        </p:txBody>
      </p:sp>
      <p:sp>
        <p:nvSpPr>
          <p:cNvPr id="24" name="doc id" hidden="1"/>
          <p:cNvSpPr txBox="1">
            <a:spLocks noChangeArrowheads="1"/>
          </p:cNvSpPr>
          <p:nvPr/>
        </p:nvSpPr>
        <p:spPr bwMode="white">
          <a:xfrm>
            <a:off x="8104473" y="36513"/>
            <a:ext cx="634716" cy="115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hangingPunct="1">
              <a:defRPr/>
            </a:pPr>
            <a:endParaRPr lang="en-US" sz="800" baseline="0" dirty="0">
              <a:solidFill>
                <a:schemeClr val="accent1"/>
              </a:solidFill>
              <a:latin typeface="+mn-lt"/>
              <a:ea typeface="+mn-ea"/>
            </a:endParaRPr>
          </a:p>
        </p:txBody>
      </p:sp>
      <p:grpSp>
        <p:nvGrpSpPr>
          <p:cNvPr id="63" name="LegendLines" hidden="1"/>
          <p:cNvGrpSpPr/>
          <p:nvPr/>
        </p:nvGrpSpPr>
        <p:grpSpPr>
          <a:xfrm>
            <a:off x="7551589" y="267815"/>
            <a:ext cx="1158292" cy="761545"/>
            <a:chOff x="7607284" y="279400"/>
            <a:chExt cx="1158292" cy="761545"/>
          </a:xfrm>
        </p:grpSpPr>
        <p:sp>
          <p:nvSpPr>
            <p:cNvPr id="64" name="LineLegend1"/>
            <p:cNvSpPr>
              <a:spLocks noChangeShapeType="1"/>
            </p:cNvSpPr>
            <p:nvPr/>
          </p:nvSpPr>
          <p:spPr bwMode="gray">
            <a:xfrm>
              <a:off x="7607284" y="387122"/>
              <a:ext cx="457200"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65" name="LineLegend2"/>
            <p:cNvSpPr>
              <a:spLocks noChangeShapeType="1"/>
            </p:cNvSpPr>
            <p:nvPr/>
          </p:nvSpPr>
          <p:spPr bwMode="gray">
            <a:xfrm>
              <a:off x="7607284" y="653822"/>
              <a:ext cx="457200"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66" name="LineLegend3"/>
            <p:cNvSpPr>
              <a:spLocks noChangeShapeType="1"/>
            </p:cNvSpPr>
            <p:nvPr/>
          </p:nvSpPr>
          <p:spPr bwMode="gray">
            <a:xfrm>
              <a:off x="7607284" y="933223"/>
              <a:ext cx="457200"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67" name="Legend1"/>
            <p:cNvSpPr>
              <a:spLocks noChangeArrowheads="1"/>
            </p:cNvSpPr>
            <p:nvPr>
              <p:custDataLst>
                <p:tags r:id="rId33"/>
              </p:custDataLst>
            </p:nvPr>
          </p:nvSpPr>
          <p:spPr bwMode="gray">
            <a:xfrm>
              <a:off x="8169259" y="279400"/>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sp>
          <p:nvSpPr>
            <p:cNvPr id="68" name="Legend2"/>
            <p:cNvSpPr>
              <a:spLocks noChangeArrowheads="1"/>
            </p:cNvSpPr>
            <p:nvPr>
              <p:custDataLst>
                <p:tags r:id="rId34"/>
              </p:custDataLst>
            </p:nvPr>
          </p:nvSpPr>
          <p:spPr bwMode="gray">
            <a:xfrm>
              <a:off x="8169259" y="546100"/>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a:latin typeface="+mn-lt"/>
                  <a:ea typeface="+mn-ea"/>
                </a:rPr>
                <a:t>Legend</a:t>
              </a:r>
              <a:endParaRPr lang="en-US" sz="1400" baseline="0" dirty="0">
                <a:latin typeface="+mn-lt"/>
                <a:ea typeface="+mn-ea"/>
              </a:endParaRPr>
            </a:p>
          </p:txBody>
        </p:sp>
        <p:sp>
          <p:nvSpPr>
            <p:cNvPr id="69" name="Legend3"/>
            <p:cNvSpPr>
              <a:spLocks noChangeArrowheads="1"/>
            </p:cNvSpPr>
            <p:nvPr>
              <p:custDataLst>
                <p:tags r:id="rId35"/>
              </p:custDataLst>
            </p:nvPr>
          </p:nvSpPr>
          <p:spPr bwMode="gray">
            <a:xfrm>
              <a:off x="8169259" y="825501"/>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grpSp>
      <p:grpSp>
        <p:nvGrpSpPr>
          <p:cNvPr id="70" name="LegendBoxes" hidden="1"/>
          <p:cNvGrpSpPr/>
          <p:nvPr/>
        </p:nvGrpSpPr>
        <p:grpSpPr>
          <a:xfrm>
            <a:off x="7859564" y="267919"/>
            <a:ext cx="850317" cy="1028245"/>
            <a:chOff x="5894005" y="919828"/>
            <a:chExt cx="850317" cy="1028245"/>
          </a:xfrm>
        </p:grpSpPr>
        <p:sp>
          <p:nvSpPr>
            <p:cNvPr id="71" name="RectangleLegend1"/>
            <p:cNvSpPr>
              <a:spLocks noChangeArrowheads="1"/>
            </p:cNvSpPr>
            <p:nvPr/>
          </p:nvSpPr>
          <p:spPr bwMode="gray">
            <a:xfrm>
              <a:off x="5894005" y="947381"/>
              <a:ext cx="165100" cy="160338"/>
            </a:xfrm>
            <a:prstGeom prst="rect">
              <a:avLst/>
            </a:prstGeom>
            <a:solidFill>
              <a:schemeClr val="accent1"/>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72" name="RectangleLegend2"/>
            <p:cNvSpPr>
              <a:spLocks noChangeArrowheads="1"/>
            </p:cNvSpPr>
            <p:nvPr/>
          </p:nvSpPr>
          <p:spPr bwMode="gray">
            <a:xfrm>
              <a:off x="5894005" y="1217256"/>
              <a:ext cx="165100" cy="160338"/>
            </a:xfrm>
            <a:prstGeom prst="rect">
              <a:avLst/>
            </a:prstGeom>
            <a:solidFill>
              <a:schemeClr val="accent2"/>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73" name="RectangleLegend3"/>
            <p:cNvSpPr>
              <a:spLocks noChangeArrowheads="1"/>
            </p:cNvSpPr>
            <p:nvPr/>
          </p:nvSpPr>
          <p:spPr bwMode="gray">
            <a:xfrm>
              <a:off x="5894005" y="1488719"/>
              <a:ext cx="165100" cy="160338"/>
            </a:xfrm>
            <a:prstGeom prst="rect">
              <a:avLst/>
            </a:prstGeom>
            <a:solidFill>
              <a:schemeClr val="accent3"/>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74" name="RectangleLegend4"/>
            <p:cNvSpPr>
              <a:spLocks noChangeArrowheads="1"/>
            </p:cNvSpPr>
            <p:nvPr/>
          </p:nvSpPr>
          <p:spPr bwMode="gray">
            <a:xfrm>
              <a:off x="5894005" y="1760182"/>
              <a:ext cx="165100" cy="160338"/>
            </a:xfrm>
            <a:prstGeom prst="rect">
              <a:avLst/>
            </a:prstGeom>
            <a:solidFill>
              <a:schemeClr val="accent4"/>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75" name="Legend1"/>
            <p:cNvSpPr>
              <a:spLocks noChangeArrowheads="1"/>
            </p:cNvSpPr>
            <p:nvPr>
              <p:custDataLst>
                <p:tags r:id="rId29"/>
              </p:custDataLst>
            </p:nvPr>
          </p:nvSpPr>
          <p:spPr bwMode="gray">
            <a:xfrm>
              <a:off x="6148005" y="919828"/>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sp>
          <p:nvSpPr>
            <p:cNvPr id="76" name="Legend2"/>
            <p:cNvSpPr>
              <a:spLocks noChangeArrowheads="1"/>
            </p:cNvSpPr>
            <p:nvPr>
              <p:custDataLst>
                <p:tags r:id="rId30"/>
              </p:custDataLst>
            </p:nvPr>
          </p:nvSpPr>
          <p:spPr bwMode="gray">
            <a:xfrm>
              <a:off x="6148005" y="1189703"/>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sp>
          <p:nvSpPr>
            <p:cNvPr id="77" name="Legend3"/>
            <p:cNvSpPr>
              <a:spLocks noChangeArrowheads="1"/>
            </p:cNvSpPr>
            <p:nvPr>
              <p:custDataLst>
                <p:tags r:id="rId31"/>
              </p:custDataLst>
            </p:nvPr>
          </p:nvSpPr>
          <p:spPr bwMode="gray">
            <a:xfrm>
              <a:off x="6148005" y="1461166"/>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sp>
          <p:nvSpPr>
            <p:cNvPr id="78" name="Legend4"/>
            <p:cNvSpPr>
              <a:spLocks noChangeArrowheads="1"/>
            </p:cNvSpPr>
            <p:nvPr>
              <p:custDataLst>
                <p:tags r:id="rId32"/>
              </p:custDataLst>
            </p:nvPr>
          </p:nvSpPr>
          <p:spPr bwMode="gray">
            <a:xfrm>
              <a:off x="6148005" y="1732629"/>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grpSp>
      <p:grpSp>
        <p:nvGrpSpPr>
          <p:cNvPr id="79" name="LegendMoons" hidden="1"/>
          <p:cNvGrpSpPr/>
          <p:nvPr/>
        </p:nvGrpSpPr>
        <p:grpSpPr>
          <a:xfrm>
            <a:off x="7792889" y="267414"/>
            <a:ext cx="916992" cy="1317003"/>
            <a:chOff x="5894005" y="2695123"/>
            <a:chExt cx="916992" cy="1317003"/>
          </a:xfrm>
        </p:grpSpPr>
        <p:grpSp>
          <p:nvGrpSpPr>
            <p:cNvPr id="80" name="MoonLegend1"/>
            <p:cNvGrpSpPr>
              <a:grpSpLocks noChangeAspect="1"/>
            </p:cNvGrpSpPr>
            <p:nvPr>
              <p:custDataLst>
                <p:tags r:id="rId9"/>
              </p:custDataLst>
            </p:nvPr>
          </p:nvGrpSpPr>
          <p:grpSpPr bwMode="gray">
            <a:xfrm>
              <a:off x="5894005" y="2695123"/>
              <a:ext cx="209550" cy="218282"/>
              <a:chOff x="4533" y="183"/>
              <a:chExt cx="144" cy="150"/>
            </a:xfrm>
          </p:grpSpPr>
          <p:sp>
            <p:nvSpPr>
              <p:cNvPr id="98" name="Oval 97"/>
              <p:cNvSpPr>
                <a:spLocks noChangeAspect="1" noChangeArrowheads="1"/>
              </p:cNvSpPr>
              <p:nvPr>
                <p:custDataLst>
                  <p:tags r:id="rId27"/>
                </p:custDataLst>
              </p:nvPr>
            </p:nvSpPr>
            <p:spPr bwMode="gray">
              <a:xfrm>
                <a:off x="4533" y="189"/>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99" name="Arc 98" hidden="1"/>
              <p:cNvSpPr>
                <a:spLocks noChangeAspect="1"/>
              </p:cNvSpPr>
              <p:nvPr>
                <p:custDataLst>
                  <p:tags r:id="rId28"/>
                </p:custDataLst>
              </p:nvPr>
            </p:nvSpPr>
            <p:spPr bwMode="gray">
              <a:xfrm>
                <a:off x="4533" y="183"/>
                <a:ext cx="144" cy="144"/>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grpSp>
        <p:grpSp>
          <p:nvGrpSpPr>
            <p:cNvPr id="81" name="MoonLegend2"/>
            <p:cNvGrpSpPr>
              <a:grpSpLocks noChangeAspect="1"/>
            </p:cNvGrpSpPr>
            <p:nvPr>
              <p:custDataLst>
                <p:tags r:id="rId10"/>
              </p:custDataLst>
            </p:nvPr>
          </p:nvGrpSpPr>
          <p:grpSpPr bwMode="gray">
            <a:xfrm>
              <a:off x="5894005" y="2977103"/>
              <a:ext cx="209550" cy="209551"/>
              <a:chOff x="1694" y="2051"/>
              <a:chExt cx="160" cy="160"/>
            </a:xfrm>
          </p:grpSpPr>
          <p:sp>
            <p:nvSpPr>
              <p:cNvPr id="96" name="Oval 41"/>
              <p:cNvSpPr>
                <a:spLocks noChangeAspect="1" noChangeArrowheads="1"/>
              </p:cNvSpPr>
              <p:nvPr>
                <p:custDataLst>
                  <p:tags r:id="rId25"/>
                </p:custDataLst>
              </p:nvPr>
            </p:nvSpPr>
            <p:spPr bwMode="gray">
              <a:xfrm>
                <a:off x="1694" y="2051"/>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97" name="Arc 42"/>
              <p:cNvSpPr>
                <a:spLocks noChangeAspect="1"/>
              </p:cNvSpPr>
              <p:nvPr>
                <p:custDataLst>
                  <p:tags r:id="rId26"/>
                </p:custDataLst>
              </p:nvPr>
            </p:nvSpPr>
            <p:spPr bwMode="gray">
              <a:xfrm>
                <a:off x="1694" y="2051"/>
                <a:ext cx="160" cy="160"/>
              </a:xfrm>
              <a:prstGeom prst="arc">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grpSp>
        <p:grpSp>
          <p:nvGrpSpPr>
            <p:cNvPr id="82" name="MoonLegend4"/>
            <p:cNvGrpSpPr>
              <a:grpSpLocks noChangeAspect="1"/>
            </p:cNvGrpSpPr>
            <p:nvPr>
              <p:custDataLst>
                <p:tags r:id="rId11"/>
              </p:custDataLst>
            </p:nvPr>
          </p:nvGrpSpPr>
          <p:grpSpPr bwMode="gray">
            <a:xfrm>
              <a:off x="5894005" y="3524395"/>
              <a:ext cx="209550" cy="209551"/>
              <a:chOff x="4495" y="1204"/>
              <a:chExt cx="160" cy="160"/>
            </a:xfrm>
          </p:grpSpPr>
          <p:sp>
            <p:nvSpPr>
              <p:cNvPr id="94" name="Oval 47"/>
              <p:cNvSpPr>
                <a:spLocks noChangeAspect="1" noChangeArrowheads="1"/>
              </p:cNvSpPr>
              <p:nvPr>
                <p:custDataLst>
                  <p:tags r:id="rId23"/>
                </p:custDataLst>
              </p:nvPr>
            </p:nvSpPr>
            <p:spPr bwMode="gray">
              <a:xfrm>
                <a:off x="4495" y="120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95" name="Arc 48"/>
              <p:cNvSpPr>
                <a:spLocks noChangeAspect="1"/>
              </p:cNvSpPr>
              <p:nvPr>
                <p:custDataLst>
                  <p:tags r:id="rId24"/>
                </p:custDataLst>
              </p:nvPr>
            </p:nvSpPr>
            <p:spPr bwMode="gray">
              <a:xfrm>
                <a:off x="4495" y="1204"/>
                <a:ext cx="160" cy="160"/>
              </a:xfrm>
              <a:prstGeom prst="arc">
                <a:avLst>
                  <a:gd name="adj1" fmla="val 16200000"/>
                  <a:gd name="adj2" fmla="val 108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grpSp>
        <p:grpSp>
          <p:nvGrpSpPr>
            <p:cNvPr id="83" name="MoonLegend5"/>
            <p:cNvGrpSpPr>
              <a:grpSpLocks noChangeAspect="1"/>
            </p:cNvGrpSpPr>
            <p:nvPr>
              <p:custDataLst>
                <p:tags r:id="rId12"/>
              </p:custDataLst>
            </p:nvPr>
          </p:nvGrpSpPr>
          <p:grpSpPr bwMode="gray">
            <a:xfrm>
              <a:off x="5894005" y="3799629"/>
              <a:ext cx="209550" cy="209551"/>
              <a:chOff x="4495" y="1447"/>
              <a:chExt cx="160" cy="160"/>
            </a:xfrm>
          </p:grpSpPr>
          <p:sp>
            <p:nvSpPr>
              <p:cNvPr id="92" name="Oval 50"/>
              <p:cNvSpPr>
                <a:spLocks noChangeAspect="1" noChangeArrowheads="1"/>
              </p:cNvSpPr>
              <p:nvPr>
                <p:custDataLst>
                  <p:tags r:id="rId21"/>
                </p:custDataLst>
              </p:nvPr>
            </p:nvSpPr>
            <p:spPr bwMode="gray">
              <a:xfrm>
                <a:off x="4495" y="1447"/>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93" name="Oval 51"/>
              <p:cNvSpPr>
                <a:spLocks noChangeAspect="1" noChangeArrowheads="1"/>
              </p:cNvSpPr>
              <p:nvPr>
                <p:custDataLst>
                  <p:tags r:id="rId22"/>
                </p:custDataLst>
              </p:nvPr>
            </p:nvSpPr>
            <p:spPr bwMode="gray">
              <a:xfrm>
                <a:off x="4495" y="1447"/>
                <a:ext cx="160" cy="160"/>
              </a:xfrm>
              <a:prstGeom prst="arc">
                <a:avLst>
                  <a:gd name="adj1" fmla="val 16200000"/>
                  <a:gd name="adj2" fmla="val 162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grpSp>
        <p:grpSp>
          <p:nvGrpSpPr>
            <p:cNvPr id="84" name="MoonLegend3"/>
            <p:cNvGrpSpPr>
              <a:grpSpLocks noChangeAspect="1"/>
            </p:cNvGrpSpPr>
            <p:nvPr>
              <p:custDataLst>
                <p:tags r:id="rId13"/>
              </p:custDataLst>
            </p:nvPr>
          </p:nvGrpSpPr>
          <p:grpSpPr bwMode="gray">
            <a:xfrm>
              <a:off x="5894005" y="3251543"/>
              <a:ext cx="209550" cy="209551"/>
              <a:chOff x="4495" y="1205"/>
              <a:chExt cx="160" cy="160"/>
            </a:xfrm>
          </p:grpSpPr>
          <p:sp>
            <p:nvSpPr>
              <p:cNvPr id="90" name="Oval 47"/>
              <p:cNvSpPr>
                <a:spLocks noChangeAspect="1" noChangeArrowheads="1"/>
              </p:cNvSpPr>
              <p:nvPr>
                <p:custDataLst>
                  <p:tags r:id="rId19"/>
                </p:custDataLst>
              </p:nvPr>
            </p:nvSpPr>
            <p:spPr bwMode="gray">
              <a:xfrm>
                <a:off x="4495" y="1205"/>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91" name="Arc 48"/>
              <p:cNvSpPr>
                <a:spLocks noChangeAspect="1"/>
              </p:cNvSpPr>
              <p:nvPr>
                <p:custDataLst>
                  <p:tags r:id="rId20"/>
                </p:custDataLst>
              </p:nvPr>
            </p:nvSpPr>
            <p:spPr bwMode="gray">
              <a:xfrm>
                <a:off x="4495" y="1205"/>
                <a:ext cx="160" cy="160"/>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grpSp>
        <p:sp>
          <p:nvSpPr>
            <p:cNvPr id="85" name="Legend1"/>
            <p:cNvSpPr>
              <a:spLocks noChangeArrowheads="1"/>
            </p:cNvSpPr>
            <p:nvPr>
              <p:custDataLst>
                <p:tags r:id="rId14"/>
              </p:custDataLst>
            </p:nvPr>
          </p:nvSpPr>
          <p:spPr bwMode="gray">
            <a:xfrm>
              <a:off x="6214680" y="2696542"/>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sp>
          <p:nvSpPr>
            <p:cNvPr id="86" name="Legend2"/>
            <p:cNvSpPr>
              <a:spLocks noChangeArrowheads="1"/>
            </p:cNvSpPr>
            <p:nvPr>
              <p:custDataLst>
                <p:tags r:id="rId15"/>
              </p:custDataLst>
            </p:nvPr>
          </p:nvSpPr>
          <p:spPr bwMode="gray">
            <a:xfrm>
              <a:off x="6214680" y="2974156"/>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a:latin typeface="+mn-lt"/>
                  <a:ea typeface="+mn-ea"/>
                </a:rPr>
                <a:t>Legend</a:t>
              </a:r>
              <a:endParaRPr lang="en-US" sz="1400" baseline="0" dirty="0">
                <a:latin typeface="+mn-lt"/>
                <a:ea typeface="+mn-ea"/>
              </a:endParaRPr>
            </a:p>
          </p:txBody>
        </p:sp>
        <p:sp>
          <p:nvSpPr>
            <p:cNvPr id="87" name="Legend3"/>
            <p:cNvSpPr>
              <a:spLocks noChangeArrowheads="1"/>
            </p:cNvSpPr>
            <p:nvPr>
              <p:custDataLst>
                <p:tags r:id="rId16"/>
              </p:custDataLst>
            </p:nvPr>
          </p:nvSpPr>
          <p:spPr bwMode="gray">
            <a:xfrm>
              <a:off x="6214680" y="3248596"/>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sp>
          <p:nvSpPr>
            <p:cNvPr id="88" name="Legend4"/>
            <p:cNvSpPr>
              <a:spLocks noChangeArrowheads="1"/>
            </p:cNvSpPr>
            <p:nvPr>
              <p:custDataLst>
                <p:tags r:id="rId17"/>
              </p:custDataLst>
            </p:nvPr>
          </p:nvSpPr>
          <p:spPr bwMode="gray">
            <a:xfrm>
              <a:off x="6214680" y="3521448"/>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sp>
          <p:nvSpPr>
            <p:cNvPr id="89" name="Legend5"/>
            <p:cNvSpPr>
              <a:spLocks noChangeArrowheads="1"/>
            </p:cNvSpPr>
            <p:nvPr>
              <p:custDataLst>
                <p:tags r:id="rId18"/>
              </p:custDataLst>
            </p:nvPr>
          </p:nvSpPr>
          <p:spPr bwMode="gray">
            <a:xfrm>
              <a:off x="6214680" y="3796682"/>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a:latin typeface="+mn-lt"/>
                  <a:ea typeface="+mn-ea"/>
                </a:rPr>
                <a:t>Legend</a:t>
              </a:r>
              <a:endParaRPr lang="en-US" sz="1400" baseline="0" dirty="0">
                <a:latin typeface="+mn-lt"/>
                <a:ea typeface="+mn-ea"/>
              </a:endParaRPr>
            </a:p>
          </p:txBody>
        </p:sp>
      </p:grpSp>
    </p:spTree>
    <p:extLst>
      <p:ext uri="{BB962C8B-B14F-4D97-AF65-F5344CB8AC3E}">
        <p14:creationId xmlns:p14="http://schemas.microsoft.com/office/powerpoint/2010/main" val="1148753280"/>
      </p:ext>
    </p:extLst>
  </p:cSld>
  <p:clrMap bg1="lt1" tx1="dk1" bg2="lt2" tx2="dk2" accent1="accent1" accent2="accent2" accent3="accent3" accent4="accent4" accent5="accent5" accent6="accent6" hlink="hlink" folHlink="folHlink"/>
  <p:sldLayoutIdLst>
    <p:sldLayoutId id="2147483716" r:id="rId1"/>
    <p:sldLayoutId id="2147483717" r:id="rId2"/>
    <p:sldLayoutId id="2147483718" r:id="rId3"/>
    <p:sldLayoutId id="2147483719" r:id="rId4"/>
  </p:sldLayoutIdLst>
  <p:txStyles>
    <p:titleStyle>
      <a:lvl1pPr algn="l" defTabSz="895350" rtl="0" eaLnBrk="1" fontAlgn="base" hangingPunct="1">
        <a:spcBef>
          <a:spcPct val="0"/>
        </a:spcBef>
        <a:spcAft>
          <a:spcPct val="0"/>
        </a:spcAft>
        <a:tabLst>
          <a:tab pos="269875" algn="l"/>
        </a:tabLst>
        <a:defRPr sz="2000" b="0" baseline="0">
          <a:solidFill>
            <a:schemeClr val="tx2"/>
          </a:solidFill>
          <a:latin typeface="+mj-lt"/>
          <a:ea typeface="+mj-ea"/>
          <a:cs typeface="+mj-cs"/>
        </a:defRPr>
      </a:lvl1pPr>
      <a:lvl2pPr algn="l" defTabSz="895350" rtl="0" eaLnBrk="1" fontAlgn="base" hangingPunct="1">
        <a:spcBef>
          <a:spcPct val="0"/>
        </a:spcBef>
        <a:spcAft>
          <a:spcPct val="0"/>
        </a:spcAft>
        <a:defRPr sz="1900" b="1">
          <a:solidFill>
            <a:schemeClr val="tx2"/>
          </a:solidFill>
          <a:latin typeface="Arial" charset="0"/>
        </a:defRPr>
      </a:lvl2pPr>
      <a:lvl3pPr algn="l" defTabSz="895350" rtl="0" eaLnBrk="1" fontAlgn="base" hangingPunct="1">
        <a:spcBef>
          <a:spcPct val="0"/>
        </a:spcBef>
        <a:spcAft>
          <a:spcPct val="0"/>
        </a:spcAft>
        <a:defRPr sz="1900" b="1">
          <a:solidFill>
            <a:schemeClr val="tx2"/>
          </a:solidFill>
          <a:latin typeface="Arial" charset="0"/>
        </a:defRPr>
      </a:lvl3pPr>
      <a:lvl4pPr algn="l" defTabSz="895350" rtl="0" eaLnBrk="1" fontAlgn="base" hangingPunct="1">
        <a:spcBef>
          <a:spcPct val="0"/>
        </a:spcBef>
        <a:spcAft>
          <a:spcPct val="0"/>
        </a:spcAft>
        <a:defRPr sz="1900" b="1">
          <a:solidFill>
            <a:schemeClr val="tx2"/>
          </a:solidFill>
          <a:latin typeface="Arial" charset="0"/>
        </a:defRPr>
      </a:lvl4pPr>
      <a:lvl5pPr algn="l" defTabSz="895350" rtl="0" eaLnBrk="1" fontAlgn="base" hangingPunct="1">
        <a:spcBef>
          <a:spcPct val="0"/>
        </a:spcBef>
        <a:spcAft>
          <a:spcPct val="0"/>
        </a:spcAft>
        <a:defRPr sz="1900" b="1">
          <a:solidFill>
            <a:schemeClr val="tx2"/>
          </a:solidFill>
          <a:latin typeface="Arial" charset="0"/>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p:titleStyle>
    <p:bodyStyle>
      <a:lvl1pPr marL="0" indent="0" algn="l" defTabSz="895350" rtl="0" eaLnBrk="1" fontAlgn="base" hangingPunct="1">
        <a:spcBef>
          <a:spcPct val="0"/>
        </a:spcBef>
        <a:spcAft>
          <a:spcPct val="0"/>
        </a:spcAft>
        <a:buClr>
          <a:schemeClr val="tx2"/>
        </a:buClr>
        <a:buSzPct val="100000"/>
        <a:defRPr sz="14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4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4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4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4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7"/>
            </p:custDataLst>
            <p:extLst>
              <p:ext uri="{D42A27DB-BD31-4B8C-83A1-F6EECF244321}">
                <p14:modId xmlns:p14="http://schemas.microsoft.com/office/powerpoint/2010/main" val="3956921632"/>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2244" name="think-cell Slide" r:id="rId36" imgW="270" imgH="270" progId="TCLayout.ActiveDocument.1">
                  <p:embed/>
                </p:oleObj>
              </mc:Choice>
              <mc:Fallback>
                <p:oleObj name="think-cell Slide" r:id="rId36" imgW="270" imgH="270" progId="TCLayout.ActiveDocument.1">
                  <p:embed/>
                  <p:pic>
                    <p:nvPicPr>
                      <p:cNvPr id="2" name="Object 1" hidden="1"/>
                      <p:cNvPicPr/>
                      <p:nvPr/>
                    </p:nvPicPr>
                    <p:blipFill>
                      <a:blip r:embed="rId37"/>
                      <a:stretch>
                        <a:fillRect/>
                      </a:stretch>
                    </p:blipFill>
                    <p:spPr>
                      <a:xfrm>
                        <a:off x="0" y="0"/>
                        <a:ext cx="158750" cy="158750"/>
                      </a:xfrm>
                      <a:prstGeom prst="rect">
                        <a:avLst/>
                      </a:prstGeom>
                    </p:spPr>
                  </p:pic>
                </p:oleObj>
              </mc:Fallback>
            </mc:AlternateContent>
          </a:graphicData>
        </a:graphic>
      </p:graphicFrame>
      <p:sp>
        <p:nvSpPr>
          <p:cNvPr id="6" name="Rectangle 5" hidden="1"/>
          <p:cNvSpPr/>
          <p:nvPr>
            <p:custDataLst>
              <p:tags r:id="rId8"/>
            </p:custDataLst>
          </p:nvPr>
        </p:nvSpPr>
        <p:spPr bwMode="auto">
          <a:xfrm>
            <a:off x="0" y="0"/>
            <a:ext cx="158750" cy="158750"/>
          </a:xfrm>
          <a:prstGeom prst="rect">
            <a:avLst/>
          </a:prstGeom>
          <a:solidFill>
            <a:schemeClr val="bg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dirty="0">
              <a:solidFill>
                <a:srgbClr val="000000"/>
              </a:solidFill>
              <a:sym typeface="Arial" panose="020B0604020202020204" pitchFamily="34" charset="0"/>
            </a:endParaRPr>
          </a:p>
        </p:txBody>
      </p:sp>
      <p:sp>
        <p:nvSpPr>
          <p:cNvPr id="1034" name="Working Draft" hidden="1"/>
          <p:cNvSpPr txBox="1">
            <a:spLocks noChangeArrowheads="1"/>
          </p:cNvSpPr>
          <p:nvPr/>
        </p:nvSpPr>
        <p:spPr bwMode="gray">
          <a:xfrm rot="5400000">
            <a:off x="7966656" y="1940591"/>
            <a:ext cx="1849865"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600" baseline="0">
                <a:solidFill>
                  <a:srgbClr val="808080"/>
                </a:solidFill>
                <a:latin typeface="+mn-lt"/>
                <a:ea typeface="+mn-ea"/>
              </a:rPr>
              <a:t>Last Modified 21/05/2018 17:44 India Standard Time</a:t>
            </a:r>
            <a:endParaRPr lang="en-US" baseline="0" dirty="0">
              <a:solidFill>
                <a:srgbClr val="808080"/>
              </a:solidFill>
              <a:latin typeface="+mn-lt"/>
              <a:ea typeface="+mn-ea"/>
            </a:endParaRPr>
          </a:p>
        </p:txBody>
      </p:sp>
      <p:sp>
        <p:nvSpPr>
          <p:cNvPr id="1035" name="Printed" hidden="1"/>
          <p:cNvSpPr txBox="1">
            <a:spLocks noChangeArrowheads="1"/>
          </p:cNvSpPr>
          <p:nvPr/>
        </p:nvSpPr>
        <p:spPr bwMode="gray">
          <a:xfrm rot="5400000">
            <a:off x="8768958" y="4114417"/>
            <a:ext cx="245260"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600" baseline="0" dirty="0">
                <a:solidFill>
                  <a:srgbClr val="808080"/>
                </a:solidFill>
                <a:latin typeface="+mn-lt"/>
                <a:ea typeface="+mn-ea"/>
              </a:rPr>
              <a:t>Printed</a:t>
            </a:r>
            <a:endParaRPr lang="en-US" baseline="0" dirty="0">
              <a:solidFill>
                <a:srgbClr val="808080"/>
              </a:solidFill>
              <a:latin typeface="+mn-lt"/>
              <a:ea typeface="+mn-ea"/>
            </a:endParaRPr>
          </a:p>
        </p:txBody>
      </p:sp>
      <p:sp>
        <p:nvSpPr>
          <p:cNvPr id="19" name="Title Placeholder 2"/>
          <p:cNvSpPr>
            <a:spLocks noGrp="1" noChangeArrowheads="1"/>
          </p:cNvSpPr>
          <p:nvPr>
            <p:ph type="title"/>
          </p:nvPr>
        </p:nvSpPr>
        <p:spPr bwMode="gray">
          <a:xfrm>
            <a:off x="119063" y="230188"/>
            <a:ext cx="8618537"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latinLnBrk="0"/>
            <a:r>
              <a:rPr lang="en-US"/>
              <a:t>Click to edit Master title style</a:t>
            </a:r>
            <a:endParaRPr lang="en-US" noProof="0" dirty="0"/>
          </a:p>
        </p:txBody>
      </p:sp>
      <p:sp>
        <p:nvSpPr>
          <p:cNvPr id="10" name="1. On-page tracker" hidden="1"/>
          <p:cNvSpPr>
            <a:spLocks noChangeArrowheads="1"/>
          </p:cNvSpPr>
          <p:nvPr/>
        </p:nvSpPr>
        <p:spPr bwMode="gray">
          <a:xfrm>
            <a:off x="119063" y="75764"/>
            <a:ext cx="490519"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800" cap="all" baseline="0" dirty="0">
                <a:solidFill>
                  <a:schemeClr val="accent6"/>
                </a:solidFill>
                <a:latin typeface="+mn-lt"/>
                <a:ea typeface="+mn-ea"/>
              </a:rPr>
              <a:t>Tracker</a:t>
            </a:r>
          </a:p>
        </p:txBody>
      </p:sp>
      <p:sp>
        <p:nvSpPr>
          <p:cNvPr id="11" name="3. Unit of measure" hidden="1"/>
          <p:cNvSpPr txBox="1">
            <a:spLocks noChangeArrowheads="1"/>
          </p:cNvSpPr>
          <p:nvPr/>
        </p:nvSpPr>
        <p:spPr bwMode="gray">
          <a:xfrm>
            <a:off x="119063" y="554865"/>
            <a:ext cx="8618537"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600" baseline="0" dirty="0">
                <a:solidFill>
                  <a:schemeClr val="accent6"/>
                </a:solidFill>
                <a:latin typeface="+mn-lt"/>
                <a:ea typeface="+mn-ea"/>
              </a:rPr>
              <a:t>Unit of measure</a:t>
            </a:r>
          </a:p>
        </p:txBody>
      </p:sp>
      <p:grpSp>
        <p:nvGrpSpPr>
          <p:cNvPr id="4" name="Slide Elements" hidden="1"/>
          <p:cNvGrpSpPr/>
          <p:nvPr/>
        </p:nvGrpSpPr>
        <p:grpSpPr bwMode="gray">
          <a:xfrm>
            <a:off x="119063" y="6305945"/>
            <a:ext cx="8618537" cy="325438"/>
            <a:chOff x="119063" y="6305945"/>
            <a:chExt cx="8618537" cy="325438"/>
          </a:xfrm>
        </p:grpSpPr>
        <p:sp>
          <p:nvSpPr>
            <p:cNvPr id="13" name="4. Footnote"/>
            <p:cNvSpPr txBox="1">
              <a:spLocks noChangeArrowheads="1"/>
            </p:cNvSpPr>
            <p:nvPr/>
          </p:nvSpPr>
          <p:spPr bwMode="gray">
            <a:xfrm>
              <a:off x="119063" y="6305945"/>
              <a:ext cx="8618537" cy="123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800" baseline="0" dirty="0">
                  <a:solidFill>
                    <a:schemeClr val="accent6"/>
                  </a:solidFill>
                  <a:latin typeface="+mn-lt"/>
                  <a:ea typeface="+mn-ea"/>
                </a:rPr>
                <a:t>1 Footnote</a:t>
              </a:r>
            </a:p>
          </p:txBody>
        </p:sp>
        <p:sp>
          <p:nvSpPr>
            <p:cNvPr id="14" name="5. Source"/>
            <p:cNvSpPr>
              <a:spLocks noChangeArrowheads="1"/>
            </p:cNvSpPr>
            <p:nvPr/>
          </p:nvSpPr>
          <p:spPr bwMode="gray">
            <a:xfrm>
              <a:off x="119063" y="6507558"/>
              <a:ext cx="7200000" cy="123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marL="609600" indent="-609600" defTabSz="895350">
                <a:tabLst>
                  <a:tab pos="612775" algn="l"/>
                </a:tabLst>
              </a:pPr>
              <a:r>
                <a:rPr lang="en-US" sz="800" baseline="0" dirty="0">
                  <a:solidFill>
                    <a:schemeClr val="accent6"/>
                  </a:solidFill>
                  <a:latin typeface="+mn-lt"/>
                  <a:ea typeface="+mn-ea"/>
                </a:rPr>
                <a:t>SOURCE: Source</a:t>
              </a:r>
            </a:p>
          </p:txBody>
        </p:sp>
      </p:grpSp>
      <p:sp>
        <p:nvSpPr>
          <p:cNvPr id="3" name="Text Placeholder 2"/>
          <p:cNvSpPr>
            <a:spLocks noGrp="1"/>
          </p:cNvSpPr>
          <p:nvPr>
            <p:ph type="body" idx="1"/>
          </p:nvPr>
        </p:nvSpPr>
        <p:spPr bwMode="gray">
          <a:xfrm>
            <a:off x="1452564" y="1951380"/>
            <a:ext cx="4302125" cy="1077218"/>
          </a:xfrm>
          <a:prstGeom prst="rect">
            <a:avLst/>
          </a:prstGeom>
        </p:spPr>
        <p:txBody>
          <a:bodyPr vert="horz" lIns="0" tIns="0" rIns="0" bIns="0" rtlCol="0">
            <a:spAutoFit/>
          </a:bodyPr>
          <a:lstStyle/>
          <a:p>
            <a:pPr lvl="0" latinLnBrk="0"/>
            <a:r>
              <a:rPr lang="en-US"/>
              <a:t>Edit Master text styles</a:t>
            </a:r>
          </a:p>
          <a:p>
            <a:pPr lvl="1" latinLnBrk="0"/>
            <a:r>
              <a:rPr lang="en-US"/>
              <a:t>Second level</a:t>
            </a:r>
          </a:p>
          <a:p>
            <a:pPr lvl="2" latinLnBrk="0"/>
            <a:r>
              <a:rPr lang="en-US"/>
              <a:t>Third level</a:t>
            </a:r>
          </a:p>
          <a:p>
            <a:pPr lvl="3" latinLnBrk="0"/>
            <a:r>
              <a:rPr lang="en-US"/>
              <a:t>Fourth level</a:t>
            </a:r>
          </a:p>
          <a:p>
            <a:pPr lvl="4" latinLnBrk="0"/>
            <a:r>
              <a:rPr lang="en-US"/>
              <a:t>Fifth level</a:t>
            </a:r>
            <a:endParaRPr lang="en-US" dirty="0"/>
          </a:p>
        </p:txBody>
      </p:sp>
      <p:grpSp>
        <p:nvGrpSpPr>
          <p:cNvPr id="15" name="ACET" hidden="1"/>
          <p:cNvGrpSpPr>
            <a:grpSpLocks/>
          </p:cNvGrpSpPr>
          <p:nvPr/>
        </p:nvGrpSpPr>
        <p:grpSpPr bwMode="gray">
          <a:xfrm>
            <a:off x="1452563" y="1257754"/>
            <a:ext cx="4264025" cy="508000"/>
            <a:chOff x="915" y="710"/>
            <a:chExt cx="2686" cy="320"/>
          </a:xfrm>
        </p:grpSpPr>
        <p:cxnSp>
          <p:nvCxnSpPr>
            <p:cNvPr id="16" name="AutoShape 249"/>
            <p:cNvCxnSpPr>
              <a:cxnSpLocks noChangeShapeType="1"/>
              <a:stCxn id="18" idx="4"/>
              <a:endCxn id="18" idx="6"/>
            </p:cNvCxnSpPr>
            <p:nvPr/>
          </p:nvCxnSpPr>
          <p:spPr bwMode="gray">
            <a:xfrm>
              <a:off x="915" y="1030"/>
              <a:ext cx="2686" cy="0"/>
            </a:xfrm>
            <a:prstGeom prst="straightConnector1">
              <a:avLst/>
            </a:prstGeom>
            <a:noFill/>
            <a:ln w="9525">
              <a:solidFill>
                <a:schemeClr val="accent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8" name="AutoShape 250"/>
            <p:cNvSpPr>
              <a:spLocks noChangeArrowheads="1"/>
            </p:cNvSpPr>
            <p:nvPr/>
          </p:nvSpPr>
          <p:spPr bwMode="gray">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US" b="1" baseline="0" dirty="0">
                  <a:solidFill>
                    <a:srgbClr val="000000"/>
                  </a:solidFill>
                  <a:latin typeface="+mn-lt"/>
                  <a:ea typeface="+mn-ea"/>
                </a:rPr>
                <a:t>Title</a:t>
              </a:r>
            </a:p>
            <a:p>
              <a:r>
                <a:rPr lang="en-US" baseline="0" dirty="0">
                  <a:solidFill>
                    <a:schemeClr val="accent6"/>
                  </a:solidFill>
                  <a:latin typeface="+mn-lt"/>
                  <a:ea typeface="+mn-ea"/>
                </a:rPr>
                <a:t>Unit of measure</a:t>
              </a:r>
            </a:p>
          </p:txBody>
        </p:sp>
      </p:grpSp>
      <p:grpSp>
        <p:nvGrpSpPr>
          <p:cNvPr id="17" name="McKSticker" hidden="1"/>
          <p:cNvGrpSpPr/>
          <p:nvPr/>
        </p:nvGrpSpPr>
        <p:grpSpPr bwMode="gray">
          <a:xfrm>
            <a:off x="8264265" y="285750"/>
            <a:ext cx="473335" cy="150811"/>
            <a:chOff x="8267440" y="285750"/>
            <a:chExt cx="473335" cy="150811"/>
          </a:xfrm>
        </p:grpSpPr>
        <p:sp>
          <p:nvSpPr>
            <p:cNvPr id="20" name="StickerRectangle"/>
            <p:cNvSpPr>
              <a:spLocks noChangeArrowheads="1"/>
            </p:cNvSpPr>
            <p:nvPr/>
          </p:nvSpPr>
          <p:spPr bwMode="gray">
            <a:xfrm>
              <a:off x="8267440" y="285750"/>
              <a:ext cx="473335" cy="150811"/>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a:buClr>
                  <a:srgbClr val="002960"/>
                </a:buClr>
              </a:pPr>
              <a:r>
                <a:rPr lang="en-US" sz="800" baseline="0" dirty="0">
                  <a:solidFill>
                    <a:schemeClr val="accent6"/>
                  </a:solidFill>
                  <a:latin typeface="+mn-lt"/>
                  <a:ea typeface="+mn-ea"/>
                </a:rPr>
                <a:t>STICKER</a:t>
              </a:r>
            </a:p>
          </p:txBody>
        </p:sp>
        <p:cxnSp>
          <p:nvCxnSpPr>
            <p:cNvPr id="21" name="AutoShape 31"/>
            <p:cNvCxnSpPr>
              <a:cxnSpLocks noChangeShapeType="1"/>
              <a:stCxn id="20" idx="2"/>
              <a:endCxn id="20" idx="4"/>
            </p:cNvCxnSpPr>
            <p:nvPr/>
          </p:nvCxnSpPr>
          <p:spPr bwMode="gray">
            <a:xfrm>
              <a:off x="8267440" y="285750"/>
              <a:ext cx="0" cy="150811"/>
            </a:xfrm>
            <a:prstGeom prst="straightConnector1">
              <a:avLst/>
            </a:prstGeom>
            <a:noFill/>
            <a:ln w="9525">
              <a:solidFill>
                <a:schemeClr val="accent6"/>
              </a:solidFill>
              <a:round/>
              <a:headEnd/>
              <a:tailEnd/>
            </a:ln>
            <a:extLst>
              <a:ext uri="{909E8E84-426E-40DD-AFC4-6F175D3DCCD1}">
                <a14:hiddenFill xmlns:a14="http://schemas.microsoft.com/office/drawing/2010/main">
                  <a:noFill/>
                </a14:hiddenFill>
              </a:ext>
            </a:extLst>
          </p:spPr>
        </p:cxnSp>
        <p:cxnSp>
          <p:nvCxnSpPr>
            <p:cNvPr id="22" name="AutoShape 32"/>
            <p:cNvCxnSpPr>
              <a:cxnSpLocks noChangeShapeType="1"/>
              <a:stCxn id="20" idx="4"/>
              <a:endCxn id="20" idx="6"/>
            </p:cNvCxnSpPr>
            <p:nvPr/>
          </p:nvCxnSpPr>
          <p:spPr bwMode="gray">
            <a:xfrm>
              <a:off x="8267440" y="436561"/>
              <a:ext cx="473335" cy="0"/>
            </a:xfrm>
            <a:prstGeom prst="straightConnector1">
              <a:avLst/>
            </a:prstGeom>
            <a:noFill/>
            <a:ln w="25400">
              <a:solidFill>
                <a:schemeClr val="accent6"/>
              </a:solidFill>
              <a:round/>
              <a:headEnd/>
              <a:tailEnd/>
            </a:ln>
            <a:extLst>
              <a:ext uri="{909E8E84-426E-40DD-AFC4-6F175D3DCCD1}">
                <a14:hiddenFill xmlns:a14="http://schemas.microsoft.com/office/drawing/2010/main">
                  <a:noFill/>
                </a14:hiddenFill>
              </a:ext>
            </a:extLst>
          </p:spPr>
        </p:cxnSp>
      </p:grpSp>
      <p:sp>
        <p:nvSpPr>
          <p:cNvPr id="23" name="SlideBottomBar" hidden="1"/>
          <p:cNvSpPr/>
          <p:nvPr/>
        </p:nvSpPr>
        <p:spPr>
          <a:xfrm>
            <a:off x="8437547" y="6182120"/>
            <a:ext cx="45719" cy="123825"/>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aseline="0" dirty="0">
              <a:solidFill>
                <a:schemeClr val="tx1"/>
              </a:solidFill>
              <a:latin typeface="+mn-lt"/>
              <a:ea typeface="+mn-ea"/>
            </a:endParaRPr>
          </a:p>
        </p:txBody>
      </p:sp>
      <p:sp>
        <p:nvSpPr>
          <p:cNvPr id="24" name="doc id" hidden="1"/>
          <p:cNvSpPr txBox="1">
            <a:spLocks noChangeArrowheads="1"/>
          </p:cNvSpPr>
          <p:nvPr/>
        </p:nvSpPr>
        <p:spPr bwMode="white">
          <a:xfrm>
            <a:off x="8104473" y="36513"/>
            <a:ext cx="634716" cy="115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hangingPunct="1">
              <a:defRPr/>
            </a:pPr>
            <a:endParaRPr lang="en-US" sz="800" baseline="0" dirty="0">
              <a:solidFill>
                <a:schemeClr val="accent1"/>
              </a:solidFill>
              <a:latin typeface="+mn-lt"/>
              <a:ea typeface="+mn-ea"/>
            </a:endParaRPr>
          </a:p>
        </p:txBody>
      </p:sp>
      <p:grpSp>
        <p:nvGrpSpPr>
          <p:cNvPr id="63" name="LegendLines" hidden="1"/>
          <p:cNvGrpSpPr/>
          <p:nvPr/>
        </p:nvGrpSpPr>
        <p:grpSpPr>
          <a:xfrm>
            <a:off x="7551589" y="267815"/>
            <a:ext cx="1158292" cy="761545"/>
            <a:chOff x="7607284" y="279400"/>
            <a:chExt cx="1158292" cy="761545"/>
          </a:xfrm>
        </p:grpSpPr>
        <p:sp>
          <p:nvSpPr>
            <p:cNvPr id="64" name="LineLegend1"/>
            <p:cNvSpPr>
              <a:spLocks noChangeShapeType="1"/>
            </p:cNvSpPr>
            <p:nvPr/>
          </p:nvSpPr>
          <p:spPr bwMode="gray">
            <a:xfrm>
              <a:off x="7607284" y="387122"/>
              <a:ext cx="457200"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65" name="LineLegend2"/>
            <p:cNvSpPr>
              <a:spLocks noChangeShapeType="1"/>
            </p:cNvSpPr>
            <p:nvPr/>
          </p:nvSpPr>
          <p:spPr bwMode="gray">
            <a:xfrm>
              <a:off x="7607284" y="653822"/>
              <a:ext cx="457200"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66" name="LineLegend3"/>
            <p:cNvSpPr>
              <a:spLocks noChangeShapeType="1"/>
            </p:cNvSpPr>
            <p:nvPr/>
          </p:nvSpPr>
          <p:spPr bwMode="gray">
            <a:xfrm>
              <a:off x="7607284" y="933223"/>
              <a:ext cx="457200"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67" name="Legend1"/>
            <p:cNvSpPr>
              <a:spLocks noChangeArrowheads="1"/>
            </p:cNvSpPr>
            <p:nvPr>
              <p:custDataLst>
                <p:tags r:id="rId33"/>
              </p:custDataLst>
            </p:nvPr>
          </p:nvSpPr>
          <p:spPr bwMode="gray">
            <a:xfrm>
              <a:off x="8169259" y="279400"/>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sp>
          <p:nvSpPr>
            <p:cNvPr id="68" name="Legend2"/>
            <p:cNvSpPr>
              <a:spLocks noChangeArrowheads="1"/>
            </p:cNvSpPr>
            <p:nvPr>
              <p:custDataLst>
                <p:tags r:id="rId34"/>
              </p:custDataLst>
            </p:nvPr>
          </p:nvSpPr>
          <p:spPr bwMode="gray">
            <a:xfrm>
              <a:off x="8169259" y="546100"/>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a:latin typeface="+mn-lt"/>
                  <a:ea typeface="+mn-ea"/>
                </a:rPr>
                <a:t>Legend</a:t>
              </a:r>
              <a:endParaRPr lang="en-US" sz="1400" baseline="0" dirty="0">
                <a:latin typeface="+mn-lt"/>
                <a:ea typeface="+mn-ea"/>
              </a:endParaRPr>
            </a:p>
          </p:txBody>
        </p:sp>
        <p:sp>
          <p:nvSpPr>
            <p:cNvPr id="69" name="Legend3"/>
            <p:cNvSpPr>
              <a:spLocks noChangeArrowheads="1"/>
            </p:cNvSpPr>
            <p:nvPr>
              <p:custDataLst>
                <p:tags r:id="rId35"/>
              </p:custDataLst>
            </p:nvPr>
          </p:nvSpPr>
          <p:spPr bwMode="gray">
            <a:xfrm>
              <a:off x="8169259" y="825501"/>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grpSp>
      <p:grpSp>
        <p:nvGrpSpPr>
          <p:cNvPr id="70" name="LegendBoxes" hidden="1"/>
          <p:cNvGrpSpPr/>
          <p:nvPr/>
        </p:nvGrpSpPr>
        <p:grpSpPr>
          <a:xfrm>
            <a:off x="7859564" y="267919"/>
            <a:ext cx="850317" cy="1028245"/>
            <a:chOff x="5894005" y="919828"/>
            <a:chExt cx="850317" cy="1028245"/>
          </a:xfrm>
        </p:grpSpPr>
        <p:sp>
          <p:nvSpPr>
            <p:cNvPr id="71" name="RectangleLegend1"/>
            <p:cNvSpPr>
              <a:spLocks noChangeArrowheads="1"/>
            </p:cNvSpPr>
            <p:nvPr/>
          </p:nvSpPr>
          <p:spPr bwMode="gray">
            <a:xfrm>
              <a:off x="5894005" y="947381"/>
              <a:ext cx="165100" cy="160338"/>
            </a:xfrm>
            <a:prstGeom prst="rect">
              <a:avLst/>
            </a:prstGeom>
            <a:solidFill>
              <a:schemeClr val="accent1"/>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72" name="RectangleLegend2"/>
            <p:cNvSpPr>
              <a:spLocks noChangeArrowheads="1"/>
            </p:cNvSpPr>
            <p:nvPr/>
          </p:nvSpPr>
          <p:spPr bwMode="gray">
            <a:xfrm>
              <a:off x="5894005" y="1217256"/>
              <a:ext cx="165100" cy="160338"/>
            </a:xfrm>
            <a:prstGeom prst="rect">
              <a:avLst/>
            </a:prstGeom>
            <a:solidFill>
              <a:schemeClr val="accent2"/>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73" name="RectangleLegend3"/>
            <p:cNvSpPr>
              <a:spLocks noChangeArrowheads="1"/>
            </p:cNvSpPr>
            <p:nvPr/>
          </p:nvSpPr>
          <p:spPr bwMode="gray">
            <a:xfrm>
              <a:off x="5894005" y="1488719"/>
              <a:ext cx="165100" cy="160338"/>
            </a:xfrm>
            <a:prstGeom prst="rect">
              <a:avLst/>
            </a:prstGeom>
            <a:solidFill>
              <a:schemeClr val="accent3"/>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74" name="RectangleLegend4"/>
            <p:cNvSpPr>
              <a:spLocks noChangeArrowheads="1"/>
            </p:cNvSpPr>
            <p:nvPr/>
          </p:nvSpPr>
          <p:spPr bwMode="gray">
            <a:xfrm>
              <a:off x="5894005" y="1760182"/>
              <a:ext cx="165100" cy="160338"/>
            </a:xfrm>
            <a:prstGeom prst="rect">
              <a:avLst/>
            </a:prstGeom>
            <a:solidFill>
              <a:schemeClr val="accent4"/>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75" name="Legend1"/>
            <p:cNvSpPr>
              <a:spLocks noChangeArrowheads="1"/>
            </p:cNvSpPr>
            <p:nvPr>
              <p:custDataLst>
                <p:tags r:id="rId29"/>
              </p:custDataLst>
            </p:nvPr>
          </p:nvSpPr>
          <p:spPr bwMode="gray">
            <a:xfrm>
              <a:off x="6148005" y="919828"/>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sp>
          <p:nvSpPr>
            <p:cNvPr id="76" name="Legend2"/>
            <p:cNvSpPr>
              <a:spLocks noChangeArrowheads="1"/>
            </p:cNvSpPr>
            <p:nvPr>
              <p:custDataLst>
                <p:tags r:id="rId30"/>
              </p:custDataLst>
            </p:nvPr>
          </p:nvSpPr>
          <p:spPr bwMode="gray">
            <a:xfrm>
              <a:off x="6148005" y="1189703"/>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sp>
          <p:nvSpPr>
            <p:cNvPr id="77" name="Legend3"/>
            <p:cNvSpPr>
              <a:spLocks noChangeArrowheads="1"/>
            </p:cNvSpPr>
            <p:nvPr>
              <p:custDataLst>
                <p:tags r:id="rId31"/>
              </p:custDataLst>
            </p:nvPr>
          </p:nvSpPr>
          <p:spPr bwMode="gray">
            <a:xfrm>
              <a:off x="6148005" y="1461166"/>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sp>
          <p:nvSpPr>
            <p:cNvPr id="78" name="Legend4"/>
            <p:cNvSpPr>
              <a:spLocks noChangeArrowheads="1"/>
            </p:cNvSpPr>
            <p:nvPr>
              <p:custDataLst>
                <p:tags r:id="rId32"/>
              </p:custDataLst>
            </p:nvPr>
          </p:nvSpPr>
          <p:spPr bwMode="gray">
            <a:xfrm>
              <a:off x="6148005" y="1732629"/>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grpSp>
      <p:grpSp>
        <p:nvGrpSpPr>
          <p:cNvPr id="79" name="LegendMoons" hidden="1"/>
          <p:cNvGrpSpPr/>
          <p:nvPr/>
        </p:nvGrpSpPr>
        <p:grpSpPr>
          <a:xfrm>
            <a:off x="7792889" y="267414"/>
            <a:ext cx="916992" cy="1317003"/>
            <a:chOff x="5894005" y="2695123"/>
            <a:chExt cx="916992" cy="1317003"/>
          </a:xfrm>
        </p:grpSpPr>
        <p:grpSp>
          <p:nvGrpSpPr>
            <p:cNvPr id="80" name="MoonLegend1"/>
            <p:cNvGrpSpPr>
              <a:grpSpLocks noChangeAspect="1"/>
            </p:cNvGrpSpPr>
            <p:nvPr>
              <p:custDataLst>
                <p:tags r:id="rId9"/>
              </p:custDataLst>
            </p:nvPr>
          </p:nvGrpSpPr>
          <p:grpSpPr bwMode="gray">
            <a:xfrm>
              <a:off x="5894005" y="2695123"/>
              <a:ext cx="209550" cy="218282"/>
              <a:chOff x="4533" y="183"/>
              <a:chExt cx="144" cy="150"/>
            </a:xfrm>
          </p:grpSpPr>
          <p:sp>
            <p:nvSpPr>
              <p:cNvPr id="98" name="Oval 97"/>
              <p:cNvSpPr>
                <a:spLocks noChangeAspect="1" noChangeArrowheads="1"/>
              </p:cNvSpPr>
              <p:nvPr>
                <p:custDataLst>
                  <p:tags r:id="rId27"/>
                </p:custDataLst>
              </p:nvPr>
            </p:nvSpPr>
            <p:spPr bwMode="gray">
              <a:xfrm>
                <a:off x="4533" y="189"/>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99" name="Arc 98" hidden="1"/>
              <p:cNvSpPr>
                <a:spLocks noChangeAspect="1"/>
              </p:cNvSpPr>
              <p:nvPr>
                <p:custDataLst>
                  <p:tags r:id="rId28"/>
                </p:custDataLst>
              </p:nvPr>
            </p:nvSpPr>
            <p:spPr bwMode="gray">
              <a:xfrm>
                <a:off x="4533" y="183"/>
                <a:ext cx="144" cy="144"/>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grpSp>
        <p:grpSp>
          <p:nvGrpSpPr>
            <p:cNvPr id="81" name="MoonLegend2"/>
            <p:cNvGrpSpPr>
              <a:grpSpLocks noChangeAspect="1"/>
            </p:cNvGrpSpPr>
            <p:nvPr>
              <p:custDataLst>
                <p:tags r:id="rId10"/>
              </p:custDataLst>
            </p:nvPr>
          </p:nvGrpSpPr>
          <p:grpSpPr bwMode="gray">
            <a:xfrm>
              <a:off x="5894005" y="2977103"/>
              <a:ext cx="209550" cy="209551"/>
              <a:chOff x="1694" y="2051"/>
              <a:chExt cx="160" cy="160"/>
            </a:xfrm>
          </p:grpSpPr>
          <p:sp>
            <p:nvSpPr>
              <p:cNvPr id="96" name="Oval 41"/>
              <p:cNvSpPr>
                <a:spLocks noChangeAspect="1" noChangeArrowheads="1"/>
              </p:cNvSpPr>
              <p:nvPr>
                <p:custDataLst>
                  <p:tags r:id="rId25"/>
                </p:custDataLst>
              </p:nvPr>
            </p:nvSpPr>
            <p:spPr bwMode="gray">
              <a:xfrm>
                <a:off x="1694" y="2051"/>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97" name="Arc 42"/>
              <p:cNvSpPr>
                <a:spLocks noChangeAspect="1"/>
              </p:cNvSpPr>
              <p:nvPr>
                <p:custDataLst>
                  <p:tags r:id="rId26"/>
                </p:custDataLst>
              </p:nvPr>
            </p:nvSpPr>
            <p:spPr bwMode="gray">
              <a:xfrm>
                <a:off x="1694" y="2051"/>
                <a:ext cx="160" cy="160"/>
              </a:xfrm>
              <a:prstGeom prst="arc">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grpSp>
        <p:grpSp>
          <p:nvGrpSpPr>
            <p:cNvPr id="82" name="MoonLegend4"/>
            <p:cNvGrpSpPr>
              <a:grpSpLocks noChangeAspect="1"/>
            </p:cNvGrpSpPr>
            <p:nvPr>
              <p:custDataLst>
                <p:tags r:id="rId11"/>
              </p:custDataLst>
            </p:nvPr>
          </p:nvGrpSpPr>
          <p:grpSpPr bwMode="gray">
            <a:xfrm>
              <a:off x="5894005" y="3524395"/>
              <a:ext cx="209550" cy="209551"/>
              <a:chOff x="4495" y="1204"/>
              <a:chExt cx="160" cy="160"/>
            </a:xfrm>
          </p:grpSpPr>
          <p:sp>
            <p:nvSpPr>
              <p:cNvPr id="94" name="Oval 47"/>
              <p:cNvSpPr>
                <a:spLocks noChangeAspect="1" noChangeArrowheads="1"/>
              </p:cNvSpPr>
              <p:nvPr>
                <p:custDataLst>
                  <p:tags r:id="rId23"/>
                </p:custDataLst>
              </p:nvPr>
            </p:nvSpPr>
            <p:spPr bwMode="gray">
              <a:xfrm>
                <a:off x="4495" y="120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95" name="Arc 48"/>
              <p:cNvSpPr>
                <a:spLocks noChangeAspect="1"/>
              </p:cNvSpPr>
              <p:nvPr>
                <p:custDataLst>
                  <p:tags r:id="rId24"/>
                </p:custDataLst>
              </p:nvPr>
            </p:nvSpPr>
            <p:spPr bwMode="gray">
              <a:xfrm>
                <a:off x="4495" y="1204"/>
                <a:ext cx="160" cy="160"/>
              </a:xfrm>
              <a:prstGeom prst="arc">
                <a:avLst>
                  <a:gd name="adj1" fmla="val 16200000"/>
                  <a:gd name="adj2" fmla="val 108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grpSp>
        <p:grpSp>
          <p:nvGrpSpPr>
            <p:cNvPr id="83" name="MoonLegend5"/>
            <p:cNvGrpSpPr>
              <a:grpSpLocks noChangeAspect="1"/>
            </p:cNvGrpSpPr>
            <p:nvPr>
              <p:custDataLst>
                <p:tags r:id="rId12"/>
              </p:custDataLst>
            </p:nvPr>
          </p:nvGrpSpPr>
          <p:grpSpPr bwMode="gray">
            <a:xfrm>
              <a:off x="5894005" y="3799629"/>
              <a:ext cx="209550" cy="209551"/>
              <a:chOff x="4495" y="1447"/>
              <a:chExt cx="160" cy="160"/>
            </a:xfrm>
          </p:grpSpPr>
          <p:sp>
            <p:nvSpPr>
              <p:cNvPr id="92" name="Oval 50"/>
              <p:cNvSpPr>
                <a:spLocks noChangeAspect="1" noChangeArrowheads="1"/>
              </p:cNvSpPr>
              <p:nvPr>
                <p:custDataLst>
                  <p:tags r:id="rId21"/>
                </p:custDataLst>
              </p:nvPr>
            </p:nvSpPr>
            <p:spPr bwMode="gray">
              <a:xfrm>
                <a:off x="4495" y="1447"/>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93" name="Oval 51"/>
              <p:cNvSpPr>
                <a:spLocks noChangeAspect="1" noChangeArrowheads="1"/>
              </p:cNvSpPr>
              <p:nvPr>
                <p:custDataLst>
                  <p:tags r:id="rId22"/>
                </p:custDataLst>
              </p:nvPr>
            </p:nvSpPr>
            <p:spPr bwMode="gray">
              <a:xfrm>
                <a:off x="4495" y="1447"/>
                <a:ext cx="160" cy="160"/>
              </a:xfrm>
              <a:prstGeom prst="arc">
                <a:avLst>
                  <a:gd name="adj1" fmla="val 16200000"/>
                  <a:gd name="adj2" fmla="val 162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grpSp>
        <p:grpSp>
          <p:nvGrpSpPr>
            <p:cNvPr id="84" name="MoonLegend3"/>
            <p:cNvGrpSpPr>
              <a:grpSpLocks noChangeAspect="1"/>
            </p:cNvGrpSpPr>
            <p:nvPr>
              <p:custDataLst>
                <p:tags r:id="rId13"/>
              </p:custDataLst>
            </p:nvPr>
          </p:nvGrpSpPr>
          <p:grpSpPr bwMode="gray">
            <a:xfrm>
              <a:off x="5894005" y="3251543"/>
              <a:ext cx="209550" cy="209551"/>
              <a:chOff x="4495" y="1205"/>
              <a:chExt cx="160" cy="160"/>
            </a:xfrm>
          </p:grpSpPr>
          <p:sp>
            <p:nvSpPr>
              <p:cNvPr id="90" name="Oval 47"/>
              <p:cNvSpPr>
                <a:spLocks noChangeAspect="1" noChangeArrowheads="1"/>
              </p:cNvSpPr>
              <p:nvPr>
                <p:custDataLst>
                  <p:tags r:id="rId19"/>
                </p:custDataLst>
              </p:nvPr>
            </p:nvSpPr>
            <p:spPr bwMode="gray">
              <a:xfrm>
                <a:off x="4495" y="1205"/>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91" name="Arc 48"/>
              <p:cNvSpPr>
                <a:spLocks noChangeAspect="1"/>
              </p:cNvSpPr>
              <p:nvPr>
                <p:custDataLst>
                  <p:tags r:id="rId20"/>
                </p:custDataLst>
              </p:nvPr>
            </p:nvSpPr>
            <p:spPr bwMode="gray">
              <a:xfrm>
                <a:off x="4495" y="1205"/>
                <a:ext cx="160" cy="160"/>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grpSp>
        <p:sp>
          <p:nvSpPr>
            <p:cNvPr id="85" name="Legend1"/>
            <p:cNvSpPr>
              <a:spLocks noChangeArrowheads="1"/>
            </p:cNvSpPr>
            <p:nvPr>
              <p:custDataLst>
                <p:tags r:id="rId14"/>
              </p:custDataLst>
            </p:nvPr>
          </p:nvSpPr>
          <p:spPr bwMode="gray">
            <a:xfrm>
              <a:off x="6214680" y="2696542"/>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sp>
          <p:nvSpPr>
            <p:cNvPr id="86" name="Legend2"/>
            <p:cNvSpPr>
              <a:spLocks noChangeArrowheads="1"/>
            </p:cNvSpPr>
            <p:nvPr>
              <p:custDataLst>
                <p:tags r:id="rId15"/>
              </p:custDataLst>
            </p:nvPr>
          </p:nvSpPr>
          <p:spPr bwMode="gray">
            <a:xfrm>
              <a:off x="6214680" y="2974156"/>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a:latin typeface="+mn-lt"/>
                  <a:ea typeface="+mn-ea"/>
                </a:rPr>
                <a:t>Legend</a:t>
              </a:r>
              <a:endParaRPr lang="en-US" sz="1400" baseline="0" dirty="0">
                <a:latin typeface="+mn-lt"/>
                <a:ea typeface="+mn-ea"/>
              </a:endParaRPr>
            </a:p>
          </p:txBody>
        </p:sp>
        <p:sp>
          <p:nvSpPr>
            <p:cNvPr id="87" name="Legend3"/>
            <p:cNvSpPr>
              <a:spLocks noChangeArrowheads="1"/>
            </p:cNvSpPr>
            <p:nvPr>
              <p:custDataLst>
                <p:tags r:id="rId16"/>
              </p:custDataLst>
            </p:nvPr>
          </p:nvSpPr>
          <p:spPr bwMode="gray">
            <a:xfrm>
              <a:off x="6214680" y="3248596"/>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sp>
          <p:nvSpPr>
            <p:cNvPr id="88" name="Legend4"/>
            <p:cNvSpPr>
              <a:spLocks noChangeArrowheads="1"/>
            </p:cNvSpPr>
            <p:nvPr>
              <p:custDataLst>
                <p:tags r:id="rId17"/>
              </p:custDataLst>
            </p:nvPr>
          </p:nvSpPr>
          <p:spPr bwMode="gray">
            <a:xfrm>
              <a:off x="6214680" y="3521448"/>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sp>
          <p:nvSpPr>
            <p:cNvPr id="89" name="Legend5"/>
            <p:cNvSpPr>
              <a:spLocks noChangeArrowheads="1"/>
            </p:cNvSpPr>
            <p:nvPr>
              <p:custDataLst>
                <p:tags r:id="rId18"/>
              </p:custDataLst>
            </p:nvPr>
          </p:nvSpPr>
          <p:spPr bwMode="gray">
            <a:xfrm>
              <a:off x="6214680" y="3796682"/>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a:latin typeface="+mn-lt"/>
                  <a:ea typeface="+mn-ea"/>
                </a:rPr>
                <a:t>Legend</a:t>
              </a:r>
              <a:endParaRPr lang="en-US" sz="1400" baseline="0" dirty="0">
                <a:latin typeface="+mn-lt"/>
                <a:ea typeface="+mn-ea"/>
              </a:endParaRPr>
            </a:p>
          </p:txBody>
        </p:sp>
      </p:grpSp>
    </p:spTree>
    <p:extLst>
      <p:ext uri="{BB962C8B-B14F-4D97-AF65-F5344CB8AC3E}">
        <p14:creationId xmlns:p14="http://schemas.microsoft.com/office/powerpoint/2010/main" val="1964827500"/>
      </p:ext>
    </p:extLst>
  </p:cSld>
  <p:clrMap bg1="lt1" tx1="dk1" bg2="lt2" tx2="dk2" accent1="accent1" accent2="accent2" accent3="accent3" accent4="accent4" accent5="accent5" accent6="accent6" hlink="hlink" folHlink="folHlink"/>
  <p:sldLayoutIdLst>
    <p:sldLayoutId id="2147483721" r:id="rId1"/>
    <p:sldLayoutId id="2147483722" r:id="rId2"/>
    <p:sldLayoutId id="2147483723" r:id="rId3"/>
    <p:sldLayoutId id="2147483724" r:id="rId4"/>
  </p:sldLayoutIdLst>
  <p:txStyles>
    <p:titleStyle>
      <a:lvl1pPr algn="l" defTabSz="895350" rtl="0" eaLnBrk="1" fontAlgn="base" hangingPunct="1">
        <a:spcBef>
          <a:spcPct val="0"/>
        </a:spcBef>
        <a:spcAft>
          <a:spcPct val="0"/>
        </a:spcAft>
        <a:tabLst>
          <a:tab pos="269875" algn="l"/>
        </a:tabLst>
        <a:defRPr sz="2000" b="0" baseline="0">
          <a:solidFill>
            <a:schemeClr val="tx2"/>
          </a:solidFill>
          <a:latin typeface="+mj-lt"/>
          <a:ea typeface="+mj-ea"/>
          <a:cs typeface="+mj-cs"/>
        </a:defRPr>
      </a:lvl1pPr>
      <a:lvl2pPr algn="l" defTabSz="895350" rtl="0" eaLnBrk="1" fontAlgn="base" hangingPunct="1">
        <a:spcBef>
          <a:spcPct val="0"/>
        </a:spcBef>
        <a:spcAft>
          <a:spcPct val="0"/>
        </a:spcAft>
        <a:defRPr sz="1900" b="1">
          <a:solidFill>
            <a:schemeClr val="tx2"/>
          </a:solidFill>
          <a:latin typeface="Arial" charset="0"/>
        </a:defRPr>
      </a:lvl2pPr>
      <a:lvl3pPr algn="l" defTabSz="895350" rtl="0" eaLnBrk="1" fontAlgn="base" hangingPunct="1">
        <a:spcBef>
          <a:spcPct val="0"/>
        </a:spcBef>
        <a:spcAft>
          <a:spcPct val="0"/>
        </a:spcAft>
        <a:defRPr sz="1900" b="1">
          <a:solidFill>
            <a:schemeClr val="tx2"/>
          </a:solidFill>
          <a:latin typeface="Arial" charset="0"/>
        </a:defRPr>
      </a:lvl3pPr>
      <a:lvl4pPr algn="l" defTabSz="895350" rtl="0" eaLnBrk="1" fontAlgn="base" hangingPunct="1">
        <a:spcBef>
          <a:spcPct val="0"/>
        </a:spcBef>
        <a:spcAft>
          <a:spcPct val="0"/>
        </a:spcAft>
        <a:defRPr sz="1900" b="1">
          <a:solidFill>
            <a:schemeClr val="tx2"/>
          </a:solidFill>
          <a:latin typeface="Arial" charset="0"/>
        </a:defRPr>
      </a:lvl4pPr>
      <a:lvl5pPr algn="l" defTabSz="895350" rtl="0" eaLnBrk="1" fontAlgn="base" hangingPunct="1">
        <a:spcBef>
          <a:spcPct val="0"/>
        </a:spcBef>
        <a:spcAft>
          <a:spcPct val="0"/>
        </a:spcAft>
        <a:defRPr sz="1900" b="1">
          <a:solidFill>
            <a:schemeClr val="tx2"/>
          </a:solidFill>
          <a:latin typeface="Arial" charset="0"/>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p:titleStyle>
    <p:bodyStyle>
      <a:lvl1pPr marL="0" indent="0" algn="l" defTabSz="895350" rtl="0" eaLnBrk="1" fontAlgn="base" hangingPunct="1">
        <a:spcBef>
          <a:spcPct val="0"/>
        </a:spcBef>
        <a:spcAft>
          <a:spcPct val="0"/>
        </a:spcAft>
        <a:buClr>
          <a:schemeClr val="tx2"/>
        </a:buClr>
        <a:buSzPct val="100000"/>
        <a:defRPr sz="14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4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4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4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4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7"/>
            </p:custDataLst>
            <p:extLst>
              <p:ext uri="{D42A27DB-BD31-4B8C-83A1-F6EECF244321}">
                <p14:modId xmlns:p14="http://schemas.microsoft.com/office/powerpoint/2010/main" val="416598681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7364" name="think-cell Slide" r:id="rId36" imgW="270" imgH="270" progId="TCLayout.ActiveDocument.1">
                  <p:embed/>
                </p:oleObj>
              </mc:Choice>
              <mc:Fallback>
                <p:oleObj name="think-cell Slide" r:id="rId36" imgW="270" imgH="270" progId="TCLayout.ActiveDocument.1">
                  <p:embed/>
                  <p:pic>
                    <p:nvPicPr>
                      <p:cNvPr id="2" name="Object 1" hidden="1"/>
                      <p:cNvPicPr/>
                      <p:nvPr/>
                    </p:nvPicPr>
                    <p:blipFill>
                      <a:blip r:embed="rId37"/>
                      <a:stretch>
                        <a:fillRect/>
                      </a:stretch>
                    </p:blipFill>
                    <p:spPr>
                      <a:xfrm>
                        <a:off x="0" y="0"/>
                        <a:ext cx="158750" cy="158750"/>
                      </a:xfrm>
                      <a:prstGeom prst="rect">
                        <a:avLst/>
                      </a:prstGeom>
                    </p:spPr>
                  </p:pic>
                </p:oleObj>
              </mc:Fallback>
            </mc:AlternateContent>
          </a:graphicData>
        </a:graphic>
      </p:graphicFrame>
      <p:sp>
        <p:nvSpPr>
          <p:cNvPr id="6" name="Rectangle 5" hidden="1"/>
          <p:cNvSpPr/>
          <p:nvPr>
            <p:custDataLst>
              <p:tags r:id="rId8"/>
            </p:custDataLst>
          </p:nvPr>
        </p:nvSpPr>
        <p:spPr bwMode="auto">
          <a:xfrm>
            <a:off x="0" y="0"/>
            <a:ext cx="158750" cy="158750"/>
          </a:xfrm>
          <a:prstGeom prst="rect">
            <a:avLst/>
          </a:prstGeom>
          <a:solidFill>
            <a:schemeClr val="bg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dirty="0">
              <a:solidFill>
                <a:srgbClr val="000000"/>
              </a:solidFill>
              <a:sym typeface="Arial" panose="020B0604020202020204" pitchFamily="34" charset="0"/>
            </a:endParaRPr>
          </a:p>
        </p:txBody>
      </p:sp>
      <p:sp>
        <p:nvSpPr>
          <p:cNvPr id="1034" name="Working Draft" hidden="1"/>
          <p:cNvSpPr txBox="1">
            <a:spLocks noChangeArrowheads="1"/>
          </p:cNvSpPr>
          <p:nvPr/>
        </p:nvSpPr>
        <p:spPr bwMode="gray">
          <a:xfrm rot="5400000">
            <a:off x="7966656" y="1940591"/>
            <a:ext cx="1849865"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600" baseline="0">
                <a:solidFill>
                  <a:srgbClr val="808080"/>
                </a:solidFill>
                <a:latin typeface="+mn-lt"/>
                <a:ea typeface="+mn-ea"/>
              </a:rPr>
              <a:t>Last Modified 21/05/2018 17:44 India Standard Time</a:t>
            </a:r>
            <a:endParaRPr lang="en-US" baseline="0" dirty="0">
              <a:solidFill>
                <a:srgbClr val="808080"/>
              </a:solidFill>
              <a:latin typeface="+mn-lt"/>
              <a:ea typeface="+mn-ea"/>
            </a:endParaRPr>
          </a:p>
        </p:txBody>
      </p:sp>
      <p:sp>
        <p:nvSpPr>
          <p:cNvPr id="1035" name="Printed" hidden="1"/>
          <p:cNvSpPr txBox="1">
            <a:spLocks noChangeArrowheads="1"/>
          </p:cNvSpPr>
          <p:nvPr/>
        </p:nvSpPr>
        <p:spPr bwMode="gray">
          <a:xfrm rot="5400000">
            <a:off x="8768958" y="4114417"/>
            <a:ext cx="245260"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600" baseline="0" dirty="0">
                <a:solidFill>
                  <a:srgbClr val="808080"/>
                </a:solidFill>
                <a:latin typeface="+mn-lt"/>
                <a:ea typeface="+mn-ea"/>
              </a:rPr>
              <a:t>Printed</a:t>
            </a:r>
            <a:endParaRPr lang="en-US" baseline="0" dirty="0">
              <a:solidFill>
                <a:srgbClr val="808080"/>
              </a:solidFill>
              <a:latin typeface="+mn-lt"/>
              <a:ea typeface="+mn-ea"/>
            </a:endParaRPr>
          </a:p>
        </p:txBody>
      </p:sp>
      <p:sp>
        <p:nvSpPr>
          <p:cNvPr id="19" name="Title Placeholder 2"/>
          <p:cNvSpPr>
            <a:spLocks noGrp="1" noChangeArrowheads="1"/>
          </p:cNvSpPr>
          <p:nvPr>
            <p:ph type="title"/>
          </p:nvPr>
        </p:nvSpPr>
        <p:spPr bwMode="gray">
          <a:xfrm>
            <a:off x="119063" y="230188"/>
            <a:ext cx="8618537"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latinLnBrk="0"/>
            <a:r>
              <a:rPr lang="en-US"/>
              <a:t>Click to edit Master title style</a:t>
            </a:r>
            <a:endParaRPr lang="en-US" noProof="0" dirty="0"/>
          </a:p>
        </p:txBody>
      </p:sp>
      <p:sp>
        <p:nvSpPr>
          <p:cNvPr id="10" name="1. On-page tracker" hidden="1"/>
          <p:cNvSpPr>
            <a:spLocks noChangeArrowheads="1"/>
          </p:cNvSpPr>
          <p:nvPr/>
        </p:nvSpPr>
        <p:spPr bwMode="gray">
          <a:xfrm>
            <a:off x="119063" y="75764"/>
            <a:ext cx="490519"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800" cap="all" baseline="0" dirty="0">
                <a:solidFill>
                  <a:schemeClr val="accent6"/>
                </a:solidFill>
                <a:latin typeface="+mn-lt"/>
                <a:ea typeface="+mn-ea"/>
              </a:rPr>
              <a:t>Tracker</a:t>
            </a:r>
          </a:p>
        </p:txBody>
      </p:sp>
      <p:sp>
        <p:nvSpPr>
          <p:cNvPr id="11" name="3. Unit of measure" hidden="1"/>
          <p:cNvSpPr txBox="1">
            <a:spLocks noChangeArrowheads="1"/>
          </p:cNvSpPr>
          <p:nvPr/>
        </p:nvSpPr>
        <p:spPr bwMode="gray">
          <a:xfrm>
            <a:off x="119063" y="554865"/>
            <a:ext cx="8618537"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600" baseline="0" dirty="0">
                <a:solidFill>
                  <a:schemeClr val="accent6"/>
                </a:solidFill>
                <a:latin typeface="+mn-lt"/>
                <a:ea typeface="+mn-ea"/>
              </a:rPr>
              <a:t>Unit of measure</a:t>
            </a:r>
          </a:p>
        </p:txBody>
      </p:sp>
      <p:grpSp>
        <p:nvGrpSpPr>
          <p:cNvPr id="4" name="Slide Elements" hidden="1"/>
          <p:cNvGrpSpPr/>
          <p:nvPr/>
        </p:nvGrpSpPr>
        <p:grpSpPr bwMode="gray">
          <a:xfrm>
            <a:off x="119063" y="6305945"/>
            <a:ext cx="8618537" cy="325438"/>
            <a:chOff x="119063" y="6305945"/>
            <a:chExt cx="8618537" cy="325438"/>
          </a:xfrm>
        </p:grpSpPr>
        <p:sp>
          <p:nvSpPr>
            <p:cNvPr id="13" name="4. Footnote"/>
            <p:cNvSpPr txBox="1">
              <a:spLocks noChangeArrowheads="1"/>
            </p:cNvSpPr>
            <p:nvPr/>
          </p:nvSpPr>
          <p:spPr bwMode="gray">
            <a:xfrm>
              <a:off x="119063" y="6305945"/>
              <a:ext cx="8618537" cy="123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800" baseline="0" dirty="0">
                  <a:solidFill>
                    <a:schemeClr val="accent6"/>
                  </a:solidFill>
                  <a:latin typeface="+mn-lt"/>
                  <a:ea typeface="+mn-ea"/>
                </a:rPr>
                <a:t>1 Footnote</a:t>
              </a:r>
            </a:p>
          </p:txBody>
        </p:sp>
        <p:sp>
          <p:nvSpPr>
            <p:cNvPr id="14" name="5. Source"/>
            <p:cNvSpPr>
              <a:spLocks noChangeArrowheads="1"/>
            </p:cNvSpPr>
            <p:nvPr/>
          </p:nvSpPr>
          <p:spPr bwMode="gray">
            <a:xfrm>
              <a:off x="119063" y="6507558"/>
              <a:ext cx="7200000" cy="123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marL="609600" indent="-609600" defTabSz="895350">
                <a:tabLst>
                  <a:tab pos="612775" algn="l"/>
                </a:tabLst>
              </a:pPr>
              <a:r>
                <a:rPr lang="en-US" sz="800" baseline="0" dirty="0">
                  <a:solidFill>
                    <a:schemeClr val="accent6"/>
                  </a:solidFill>
                  <a:latin typeface="+mn-lt"/>
                  <a:ea typeface="+mn-ea"/>
                </a:rPr>
                <a:t>SOURCE: Source</a:t>
              </a:r>
            </a:p>
          </p:txBody>
        </p:sp>
      </p:grpSp>
      <p:sp>
        <p:nvSpPr>
          <p:cNvPr id="3" name="Text Placeholder 2"/>
          <p:cNvSpPr>
            <a:spLocks noGrp="1"/>
          </p:cNvSpPr>
          <p:nvPr>
            <p:ph type="body" idx="1"/>
          </p:nvPr>
        </p:nvSpPr>
        <p:spPr bwMode="gray">
          <a:xfrm>
            <a:off x="1452564" y="1951380"/>
            <a:ext cx="4302125" cy="1077218"/>
          </a:xfrm>
          <a:prstGeom prst="rect">
            <a:avLst/>
          </a:prstGeom>
        </p:spPr>
        <p:txBody>
          <a:bodyPr vert="horz" lIns="0" tIns="0" rIns="0" bIns="0" rtlCol="0">
            <a:spAutoFit/>
          </a:bodyPr>
          <a:lstStyle/>
          <a:p>
            <a:pPr lvl="0" latinLnBrk="0"/>
            <a:r>
              <a:rPr lang="en-US"/>
              <a:t>Edit Master text styles</a:t>
            </a:r>
          </a:p>
          <a:p>
            <a:pPr lvl="1" latinLnBrk="0"/>
            <a:r>
              <a:rPr lang="en-US"/>
              <a:t>Second level</a:t>
            </a:r>
          </a:p>
          <a:p>
            <a:pPr lvl="2" latinLnBrk="0"/>
            <a:r>
              <a:rPr lang="en-US"/>
              <a:t>Third level</a:t>
            </a:r>
          </a:p>
          <a:p>
            <a:pPr lvl="3" latinLnBrk="0"/>
            <a:r>
              <a:rPr lang="en-US"/>
              <a:t>Fourth level</a:t>
            </a:r>
          </a:p>
          <a:p>
            <a:pPr lvl="4" latinLnBrk="0"/>
            <a:r>
              <a:rPr lang="en-US"/>
              <a:t>Fifth level</a:t>
            </a:r>
            <a:endParaRPr lang="en-US" dirty="0"/>
          </a:p>
        </p:txBody>
      </p:sp>
      <p:grpSp>
        <p:nvGrpSpPr>
          <p:cNvPr id="15" name="ACET" hidden="1"/>
          <p:cNvGrpSpPr>
            <a:grpSpLocks/>
          </p:cNvGrpSpPr>
          <p:nvPr/>
        </p:nvGrpSpPr>
        <p:grpSpPr bwMode="gray">
          <a:xfrm>
            <a:off x="1452563" y="1257754"/>
            <a:ext cx="4264025" cy="508000"/>
            <a:chOff x="915" y="710"/>
            <a:chExt cx="2686" cy="320"/>
          </a:xfrm>
        </p:grpSpPr>
        <p:cxnSp>
          <p:nvCxnSpPr>
            <p:cNvPr id="16" name="AutoShape 249"/>
            <p:cNvCxnSpPr>
              <a:cxnSpLocks noChangeShapeType="1"/>
              <a:stCxn id="18" idx="4"/>
              <a:endCxn id="18" idx="6"/>
            </p:cNvCxnSpPr>
            <p:nvPr/>
          </p:nvCxnSpPr>
          <p:spPr bwMode="gray">
            <a:xfrm>
              <a:off x="915" y="1030"/>
              <a:ext cx="2686" cy="0"/>
            </a:xfrm>
            <a:prstGeom prst="straightConnector1">
              <a:avLst/>
            </a:prstGeom>
            <a:noFill/>
            <a:ln w="9525">
              <a:solidFill>
                <a:schemeClr val="accent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8" name="AutoShape 250"/>
            <p:cNvSpPr>
              <a:spLocks noChangeArrowheads="1"/>
            </p:cNvSpPr>
            <p:nvPr/>
          </p:nvSpPr>
          <p:spPr bwMode="gray">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US" b="1" baseline="0" dirty="0">
                  <a:solidFill>
                    <a:srgbClr val="000000"/>
                  </a:solidFill>
                  <a:latin typeface="+mn-lt"/>
                  <a:ea typeface="+mn-ea"/>
                </a:rPr>
                <a:t>Title</a:t>
              </a:r>
            </a:p>
            <a:p>
              <a:r>
                <a:rPr lang="en-US" baseline="0" dirty="0">
                  <a:solidFill>
                    <a:schemeClr val="accent6"/>
                  </a:solidFill>
                  <a:latin typeface="+mn-lt"/>
                  <a:ea typeface="+mn-ea"/>
                </a:rPr>
                <a:t>Unit of measure</a:t>
              </a:r>
            </a:p>
          </p:txBody>
        </p:sp>
      </p:grpSp>
      <p:grpSp>
        <p:nvGrpSpPr>
          <p:cNvPr id="17" name="McKSticker" hidden="1"/>
          <p:cNvGrpSpPr/>
          <p:nvPr/>
        </p:nvGrpSpPr>
        <p:grpSpPr bwMode="gray">
          <a:xfrm>
            <a:off x="8264265" y="285750"/>
            <a:ext cx="473335" cy="150811"/>
            <a:chOff x="8267440" y="285750"/>
            <a:chExt cx="473335" cy="150811"/>
          </a:xfrm>
        </p:grpSpPr>
        <p:sp>
          <p:nvSpPr>
            <p:cNvPr id="20" name="StickerRectangle"/>
            <p:cNvSpPr>
              <a:spLocks noChangeArrowheads="1"/>
            </p:cNvSpPr>
            <p:nvPr/>
          </p:nvSpPr>
          <p:spPr bwMode="gray">
            <a:xfrm>
              <a:off x="8267440" y="285750"/>
              <a:ext cx="473335" cy="150811"/>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a:buClr>
                  <a:srgbClr val="002960"/>
                </a:buClr>
              </a:pPr>
              <a:r>
                <a:rPr lang="en-US" sz="800" baseline="0" dirty="0">
                  <a:solidFill>
                    <a:schemeClr val="accent6"/>
                  </a:solidFill>
                  <a:latin typeface="+mn-lt"/>
                  <a:ea typeface="+mn-ea"/>
                </a:rPr>
                <a:t>STICKER</a:t>
              </a:r>
            </a:p>
          </p:txBody>
        </p:sp>
        <p:cxnSp>
          <p:nvCxnSpPr>
            <p:cNvPr id="21" name="AutoShape 31"/>
            <p:cNvCxnSpPr>
              <a:cxnSpLocks noChangeShapeType="1"/>
              <a:stCxn id="20" idx="2"/>
              <a:endCxn id="20" idx="4"/>
            </p:cNvCxnSpPr>
            <p:nvPr/>
          </p:nvCxnSpPr>
          <p:spPr bwMode="gray">
            <a:xfrm>
              <a:off x="8267440" y="285750"/>
              <a:ext cx="0" cy="150811"/>
            </a:xfrm>
            <a:prstGeom prst="straightConnector1">
              <a:avLst/>
            </a:prstGeom>
            <a:noFill/>
            <a:ln w="9525">
              <a:solidFill>
                <a:schemeClr val="accent6"/>
              </a:solidFill>
              <a:round/>
              <a:headEnd/>
              <a:tailEnd/>
            </a:ln>
            <a:extLst>
              <a:ext uri="{909E8E84-426E-40DD-AFC4-6F175D3DCCD1}">
                <a14:hiddenFill xmlns:a14="http://schemas.microsoft.com/office/drawing/2010/main">
                  <a:noFill/>
                </a14:hiddenFill>
              </a:ext>
            </a:extLst>
          </p:spPr>
        </p:cxnSp>
        <p:cxnSp>
          <p:nvCxnSpPr>
            <p:cNvPr id="22" name="AutoShape 32"/>
            <p:cNvCxnSpPr>
              <a:cxnSpLocks noChangeShapeType="1"/>
              <a:stCxn id="20" idx="4"/>
              <a:endCxn id="20" idx="6"/>
            </p:cNvCxnSpPr>
            <p:nvPr/>
          </p:nvCxnSpPr>
          <p:spPr bwMode="gray">
            <a:xfrm>
              <a:off x="8267440" y="436561"/>
              <a:ext cx="473335" cy="0"/>
            </a:xfrm>
            <a:prstGeom prst="straightConnector1">
              <a:avLst/>
            </a:prstGeom>
            <a:noFill/>
            <a:ln w="25400">
              <a:solidFill>
                <a:schemeClr val="accent6"/>
              </a:solidFill>
              <a:round/>
              <a:headEnd/>
              <a:tailEnd/>
            </a:ln>
            <a:extLst>
              <a:ext uri="{909E8E84-426E-40DD-AFC4-6F175D3DCCD1}">
                <a14:hiddenFill xmlns:a14="http://schemas.microsoft.com/office/drawing/2010/main">
                  <a:noFill/>
                </a14:hiddenFill>
              </a:ext>
            </a:extLst>
          </p:spPr>
        </p:cxnSp>
      </p:grpSp>
      <p:sp>
        <p:nvSpPr>
          <p:cNvPr id="23" name="SlideBottomBar" hidden="1"/>
          <p:cNvSpPr/>
          <p:nvPr/>
        </p:nvSpPr>
        <p:spPr>
          <a:xfrm>
            <a:off x="8437547" y="6182120"/>
            <a:ext cx="45719" cy="123825"/>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aseline="0" dirty="0">
              <a:solidFill>
                <a:schemeClr val="tx1"/>
              </a:solidFill>
              <a:latin typeface="+mn-lt"/>
              <a:ea typeface="+mn-ea"/>
            </a:endParaRPr>
          </a:p>
        </p:txBody>
      </p:sp>
      <p:sp>
        <p:nvSpPr>
          <p:cNvPr id="24" name="doc id" hidden="1"/>
          <p:cNvSpPr txBox="1">
            <a:spLocks noChangeArrowheads="1"/>
          </p:cNvSpPr>
          <p:nvPr/>
        </p:nvSpPr>
        <p:spPr bwMode="white">
          <a:xfrm>
            <a:off x="8104473" y="36513"/>
            <a:ext cx="634716" cy="115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hangingPunct="1">
              <a:defRPr/>
            </a:pPr>
            <a:endParaRPr lang="en-US" sz="800" baseline="0" dirty="0">
              <a:solidFill>
                <a:schemeClr val="accent1"/>
              </a:solidFill>
              <a:latin typeface="+mn-lt"/>
              <a:ea typeface="+mn-ea"/>
            </a:endParaRPr>
          </a:p>
        </p:txBody>
      </p:sp>
      <p:grpSp>
        <p:nvGrpSpPr>
          <p:cNvPr id="63" name="LegendLines" hidden="1"/>
          <p:cNvGrpSpPr/>
          <p:nvPr/>
        </p:nvGrpSpPr>
        <p:grpSpPr>
          <a:xfrm>
            <a:off x="7551589" y="267815"/>
            <a:ext cx="1158292" cy="761545"/>
            <a:chOff x="7607284" y="279400"/>
            <a:chExt cx="1158292" cy="761545"/>
          </a:xfrm>
        </p:grpSpPr>
        <p:sp>
          <p:nvSpPr>
            <p:cNvPr id="64" name="LineLegend1"/>
            <p:cNvSpPr>
              <a:spLocks noChangeShapeType="1"/>
            </p:cNvSpPr>
            <p:nvPr/>
          </p:nvSpPr>
          <p:spPr bwMode="gray">
            <a:xfrm>
              <a:off x="7607284" y="387122"/>
              <a:ext cx="457200"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65" name="LineLegend2"/>
            <p:cNvSpPr>
              <a:spLocks noChangeShapeType="1"/>
            </p:cNvSpPr>
            <p:nvPr/>
          </p:nvSpPr>
          <p:spPr bwMode="gray">
            <a:xfrm>
              <a:off x="7607284" y="653822"/>
              <a:ext cx="457200"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66" name="LineLegend3"/>
            <p:cNvSpPr>
              <a:spLocks noChangeShapeType="1"/>
            </p:cNvSpPr>
            <p:nvPr/>
          </p:nvSpPr>
          <p:spPr bwMode="gray">
            <a:xfrm>
              <a:off x="7607284" y="933223"/>
              <a:ext cx="457200"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67" name="Legend1"/>
            <p:cNvSpPr>
              <a:spLocks noChangeArrowheads="1"/>
            </p:cNvSpPr>
            <p:nvPr>
              <p:custDataLst>
                <p:tags r:id="rId33"/>
              </p:custDataLst>
            </p:nvPr>
          </p:nvSpPr>
          <p:spPr bwMode="gray">
            <a:xfrm>
              <a:off x="8169259" y="279400"/>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sp>
          <p:nvSpPr>
            <p:cNvPr id="68" name="Legend2"/>
            <p:cNvSpPr>
              <a:spLocks noChangeArrowheads="1"/>
            </p:cNvSpPr>
            <p:nvPr>
              <p:custDataLst>
                <p:tags r:id="rId34"/>
              </p:custDataLst>
            </p:nvPr>
          </p:nvSpPr>
          <p:spPr bwMode="gray">
            <a:xfrm>
              <a:off x="8169259" y="546100"/>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a:latin typeface="+mn-lt"/>
                  <a:ea typeface="+mn-ea"/>
                </a:rPr>
                <a:t>Legend</a:t>
              </a:r>
              <a:endParaRPr lang="en-US" sz="1400" baseline="0" dirty="0">
                <a:latin typeface="+mn-lt"/>
                <a:ea typeface="+mn-ea"/>
              </a:endParaRPr>
            </a:p>
          </p:txBody>
        </p:sp>
        <p:sp>
          <p:nvSpPr>
            <p:cNvPr id="69" name="Legend3"/>
            <p:cNvSpPr>
              <a:spLocks noChangeArrowheads="1"/>
            </p:cNvSpPr>
            <p:nvPr>
              <p:custDataLst>
                <p:tags r:id="rId35"/>
              </p:custDataLst>
            </p:nvPr>
          </p:nvSpPr>
          <p:spPr bwMode="gray">
            <a:xfrm>
              <a:off x="8169259" y="825501"/>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grpSp>
      <p:grpSp>
        <p:nvGrpSpPr>
          <p:cNvPr id="70" name="LegendBoxes" hidden="1"/>
          <p:cNvGrpSpPr/>
          <p:nvPr/>
        </p:nvGrpSpPr>
        <p:grpSpPr>
          <a:xfrm>
            <a:off x="7859564" y="267919"/>
            <a:ext cx="850317" cy="1028245"/>
            <a:chOff x="5894005" y="919828"/>
            <a:chExt cx="850317" cy="1028245"/>
          </a:xfrm>
        </p:grpSpPr>
        <p:sp>
          <p:nvSpPr>
            <p:cNvPr id="71" name="RectangleLegend1"/>
            <p:cNvSpPr>
              <a:spLocks noChangeArrowheads="1"/>
            </p:cNvSpPr>
            <p:nvPr/>
          </p:nvSpPr>
          <p:spPr bwMode="gray">
            <a:xfrm>
              <a:off x="5894005" y="947381"/>
              <a:ext cx="165100" cy="160338"/>
            </a:xfrm>
            <a:prstGeom prst="rect">
              <a:avLst/>
            </a:prstGeom>
            <a:solidFill>
              <a:schemeClr val="accent1"/>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72" name="RectangleLegend2"/>
            <p:cNvSpPr>
              <a:spLocks noChangeArrowheads="1"/>
            </p:cNvSpPr>
            <p:nvPr/>
          </p:nvSpPr>
          <p:spPr bwMode="gray">
            <a:xfrm>
              <a:off x="5894005" y="1217256"/>
              <a:ext cx="165100" cy="160338"/>
            </a:xfrm>
            <a:prstGeom prst="rect">
              <a:avLst/>
            </a:prstGeom>
            <a:solidFill>
              <a:schemeClr val="accent2"/>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73" name="RectangleLegend3"/>
            <p:cNvSpPr>
              <a:spLocks noChangeArrowheads="1"/>
            </p:cNvSpPr>
            <p:nvPr/>
          </p:nvSpPr>
          <p:spPr bwMode="gray">
            <a:xfrm>
              <a:off x="5894005" y="1488719"/>
              <a:ext cx="165100" cy="160338"/>
            </a:xfrm>
            <a:prstGeom prst="rect">
              <a:avLst/>
            </a:prstGeom>
            <a:solidFill>
              <a:schemeClr val="accent3"/>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74" name="RectangleLegend4"/>
            <p:cNvSpPr>
              <a:spLocks noChangeArrowheads="1"/>
            </p:cNvSpPr>
            <p:nvPr/>
          </p:nvSpPr>
          <p:spPr bwMode="gray">
            <a:xfrm>
              <a:off x="5894005" y="1760182"/>
              <a:ext cx="165100" cy="160338"/>
            </a:xfrm>
            <a:prstGeom prst="rect">
              <a:avLst/>
            </a:prstGeom>
            <a:solidFill>
              <a:schemeClr val="accent4"/>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75" name="Legend1"/>
            <p:cNvSpPr>
              <a:spLocks noChangeArrowheads="1"/>
            </p:cNvSpPr>
            <p:nvPr>
              <p:custDataLst>
                <p:tags r:id="rId29"/>
              </p:custDataLst>
            </p:nvPr>
          </p:nvSpPr>
          <p:spPr bwMode="gray">
            <a:xfrm>
              <a:off x="6148005" y="919828"/>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sp>
          <p:nvSpPr>
            <p:cNvPr id="76" name="Legend2"/>
            <p:cNvSpPr>
              <a:spLocks noChangeArrowheads="1"/>
            </p:cNvSpPr>
            <p:nvPr>
              <p:custDataLst>
                <p:tags r:id="rId30"/>
              </p:custDataLst>
            </p:nvPr>
          </p:nvSpPr>
          <p:spPr bwMode="gray">
            <a:xfrm>
              <a:off x="6148005" y="1189703"/>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sp>
          <p:nvSpPr>
            <p:cNvPr id="77" name="Legend3"/>
            <p:cNvSpPr>
              <a:spLocks noChangeArrowheads="1"/>
            </p:cNvSpPr>
            <p:nvPr>
              <p:custDataLst>
                <p:tags r:id="rId31"/>
              </p:custDataLst>
            </p:nvPr>
          </p:nvSpPr>
          <p:spPr bwMode="gray">
            <a:xfrm>
              <a:off x="6148005" y="1461166"/>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sp>
          <p:nvSpPr>
            <p:cNvPr id="78" name="Legend4"/>
            <p:cNvSpPr>
              <a:spLocks noChangeArrowheads="1"/>
            </p:cNvSpPr>
            <p:nvPr>
              <p:custDataLst>
                <p:tags r:id="rId32"/>
              </p:custDataLst>
            </p:nvPr>
          </p:nvSpPr>
          <p:spPr bwMode="gray">
            <a:xfrm>
              <a:off x="6148005" y="1732629"/>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grpSp>
      <p:grpSp>
        <p:nvGrpSpPr>
          <p:cNvPr id="79" name="LegendMoons" hidden="1"/>
          <p:cNvGrpSpPr/>
          <p:nvPr/>
        </p:nvGrpSpPr>
        <p:grpSpPr>
          <a:xfrm>
            <a:off x="7792889" y="267414"/>
            <a:ext cx="916992" cy="1317003"/>
            <a:chOff x="5894005" y="2695123"/>
            <a:chExt cx="916992" cy="1317003"/>
          </a:xfrm>
        </p:grpSpPr>
        <p:grpSp>
          <p:nvGrpSpPr>
            <p:cNvPr id="80" name="MoonLegend1"/>
            <p:cNvGrpSpPr>
              <a:grpSpLocks noChangeAspect="1"/>
            </p:cNvGrpSpPr>
            <p:nvPr>
              <p:custDataLst>
                <p:tags r:id="rId9"/>
              </p:custDataLst>
            </p:nvPr>
          </p:nvGrpSpPr>
          <p:grpSpPr bwMode="gray">
            <a:xfrm>
              <a:off x="5894005" y="2695123"/>
              <a:ext cx="209550" cy="218282"/>
              <a:chOff x="4533" y="183"/>
              <a:chExt cx="144" cy="150"/>
            </a:xfrm>
          </p:grpSpPr>
          <p:sp>
            <p:nvSpPr>
              <p:cNvPr id="98" name="Oval 97"/>
              <p:cNvSpPr>
                <a:spLocks noChangeAspect="1" noChangeArrowheads="1"/>
              </p:cNvSpPr>
              <p:nvPr>
                <p:custDataLst>
                  <p:tags r:id="rId27"/>
                </p:custDataLst>
              </p:nvPr>
            </p:nvSpPr>
            <p:spPr bwMode="gray">
              <a:xfrm>
                <a:off x="4533" y="189"/>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99" name="Arc 98" hidden="1"/>
              <p:cNvSpPr>
                <a:spLocks noChangeAspect="1"/>
              </p:cNvSpPr>
              <p:nvPr>
                <p:custDataLst>
                  <p:tags r:id="rId28"/>
                </p:custDataLst>
              </p:nvPr>
            </p:nvSpPr>
            <p:spPr bwMode="gray">
              <a:xfrm>
                <a:off x="4533" y="183"/>
                <a:ext cx="144" cy="144"/>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grpSp>
        <p:grpSp>
          <p:nvGrpSpPr>
            <p:cNvPr id="81" name="MoonLegend2"/>
            <p:cNvGrpSpPr>
              <a:grpSpLocks noChangeAspect="1"/>
            </p:cNvGrpSpPr>
            <p:nvPr>
              <p:custDataLst>
                <p:tags r:id="rId10"/>
              </p:custDataLst>
            </p:nvPr>
          </p:nvGrpSpPr>
          <p:grpSpPr bwMode="gray">
            <a:xfrm>
              <a:off x="5894005" y="2977103"/>
              <a:ext cx="209550" cy="209551"/>
              <a:chOff x="1694" y="2051"/>
              <a:chExt cx="160" cy="160"/>
            </a:xfrm>
          </p:grpSpPr>
          <p:sp>
            <p:nvSpPr>
              <p:cNvPr id="96" name="Oval 41"/>
              <p:cNvSpPr>
                <a:spLocks noChangeAspect="1" noChangeArrowheads="1"/>
              </p:cNvSpPr>
              <p:nvPr>
                <p:custDataLst>
                  <p:tags r:id="rId25"/>
                </p:custDataLst>
              </p:nvPr>
            </p:nvSpPr>
            <p:spPr bwMode="gray">
              <a:xfrm>
                <a:off x="1694" y="2051"/>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97" name="Arc 42"/>
              <p:cNvSpPr>
                <a:spLocks noChangeAspect="1"/>
              </p:cNvSpPr>
              <p:nvPr>
                <p:custDataLst>
                  <p:tags r:id="rId26"/>
                </p:custDataLst>
              </p:nvPr>
            </p:nvSpPr>
            <p:spPr bwMode="gray">
              <a:xfrm>
                <a:off x="1694" y="2051"/>
                <a:ext cx="160" cy="160"/>
              </a:xfrm>
              <a:prstGeom prst="arc">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grpSp>
        <p:grpSp>
          <p:nvGrpSpPr>
            <p:cNvPr id="82" name="MoonLegend4"/>
            <p:cNvGrpSpPr>
              <a:grpSpLocks noChangeAspect="1"/>
            </p:cNvGrpSpPr>
            <p:nvPr>
              <p:custDataLst>
                <p:tags r:id="rId11"/>
              </p:custDataLst>
            </p:nvPr>
          </p:nvGrpSpPr>
          <p:grpSpPr bwMode="gray">
            <a:xfrm>
              <a:off x="5894005" y="3524395"/>
              <a:ext cx="209550" cy="209551"/>
              <a:chOff x="4495" y="1204"/>
              <a:chExt cx="160" cy="160"/>
            </a:xfrm>
          </p:grpSpPr>
          <p:sp>
            <p:nvSpPr>
              <p:cNvPr id="94" name="Oval 47"/>
              <p:cNvSpPr>
                <a:spLocks noChangeAspect="1" noChangeArrowheads="1"/>
              </p:cNvSpPr>
              <p:nvPr>
                <p:custDataLst>
                  <p:tags r:id="rId23"/>
                </p:custDataLst>
              </p:nvPr>
            </p:nvSpPr>
            <p:spPr bwMode="gray">
              <a:xfrm>
                <a:off x="4495" y="120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95" name="Arc 48"/>
              <p:cNvSpPr>
                <a:spLocks noChangeAspect="1"/>
              </p:cNvSpPr>
              <p:nvPr>
                <p:custDataLst>
                  <p:tags r:id="rId24"/>
                </p:custDataLst>
              </p:nvPr>
            </p:nvSpPr>
            <p:spPr bwMode="gray">
              <a:xfrm>
                <a:off x="4495" y="1204"/>
                <a:ext cx="160" cy="160"/>
              </a:xfrm>
              <a:prstGeom prst="arc">
                <a:avLst>
                  <a:gd name="adj1" fmla="val 16200000"/>
                  <a:gd name="adj2" fmla="val 108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grpSp>
        <p:grpSp>
          <p:nvGrpSpPr>
            <p:cNvPr id="83" name="MoonLegend5"/>
            <p:cNvGrpSpPr>
              <a:grpSpLocks noChangeAspect="1"/>
            </p:cNvGrpSpPr>
            <p:nvPr>
              <p:custDataLst>
                <p:tags r:id="rId12"/>
              </p:custDataLst>
            </p:nvPr>
          </p:nvGrpSpPr>
          <p:grpSpPr bwMode="gray">
            <a:xfrm>
              <a:off x="5894005" y="3799629"/>
              <a:ext cx="209550" cy="209551"/>
              <a:chOff x="4495" y="1447"/>
              <a:chExt cx="160" cy="160"/>
            </a:xfrm>
          </p:grpSpPr>
          <p:sp>
            <p:nvSpPr>
              <p:cNvPr id="92" name="Oval 50"/>
              <p:cNvSpPr>
                <a:spLocks noChangeAspect="1" noChangeArrowheads="1"/>
              </p:cNvSpPr>
              <p:nvPr>
                <p:custDataLst>
                  <p:tags r:id="rId21"/>
                </p:custDataLst>
              </p:nvPr>
            </p:nvSpPr>
            <p:spPr bwMode="gray">
              <a:xfrm>
                <a:off x="4495" y="1447"/>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93" name="Oval 51"/>
              <p:cNvSpPr>
                <a:spLocks noChangeAspect="1" noChangeArrowheads="1"/>
              </p:cNvSpPr>
              <p:nvPr>
                <p:custDataLst>
                  <p:tags r:id="rId22"/>
                </p:custDataLst>
              </p:nvPr>
            </p:nvSpPr>
            <p:spPr bwMode="gray">
              <a:xfrm>
                <a:off x="4495" y="1447"/>
                <a:ext cx="160" cy="160"/>
              </a:xfrm>
              <a:prstGeom prst="arc">
                <a:avLst>
                  <a:gd name="adj1" fmla="val 16200000"/>
                  <a:gd name="adj2" fmla="val 162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grpSp>
        <p:grpSp>
          <p:nvGrpSpPr>
            <p:cNvPr id="84" name="MoonLegend3"/>
            <p:cNvGrpSpPr>
              <a:grpSpLocks noChangeAspect="1"/>
            </p:cNvGrpSpPr>
            <p:nvPr>
              <p:custDataLst>
                <p:tags r:id="rId13"/>
              </p:custDataLst>
            </p:nvPr>
          </p:nvGrpSpPr>
          <p:grpSpPr bwMode="gray">
            <a:xfrm>
              <a:off x="5894005" y="3251543"/>
              <a:ext cx="209550" cy="209551"/>
              <a:chOff x="4495" y="1205"/>
              <a:chExt cx="160" cy="160"/>
            </a:xfrm>
          </p:grpSpPr>
          <p:sp>
            <p:nvSpPr>
              <p:cNvPr id="90" name="Oval 47"/>
              <p:cNvSpPr>
                <a:spLocks noChangeAspect="1" noChangeArrowheads="1"/>
              </p:cNvSpPr>
              <p:nvPr>
                <p:custDataLst>
                  <p:tags r:id="rId19"/>
                </p:custDataLst>
              </p:nvPr>
            </p:nvSpPr>
            <p:spPr bwMode="gray">
              <a:xfrm>
                <a:off x="4495" y="1205"/>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91" name="Arc 48"/>
              <p:cNvSpPr>
                <a:spLocks noChangeAspect="1"/>
              </p:cNvSpPr>
              <p:nvPr>
                <p:custDataLst>
                  <p:tags r:id="rId20"/>
                </p:custDataLst>
              </p:nvPr>
            </p:nvSpPr>
            <p:spPr bwMode="gray">
              <a:xfrm>
                <a:off x="4495" y="1205"/>
                <a:ext cx="160" cy="160"/>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grpSp>
        <p:sp>
          <p:nvSpPr>
            <p:cNvPr id="85" name="Legend1"/>
            <p:cNvSpPr>
              <a:spLocks noChangeArrowheads="1"/>
            </p:cNvSpPr>
            <p:nvPr>
              <p:custDataLst>
                <p:tags r:id="rId14"/>
              </p:custDataLst>
            </p:nvPr>
          </p:nvSpPr>
          <p:spPr bwMode="gray">
            <a:xfrm>
              <a:off x="6214680" y="2696542"/>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sp>
          <p:nvSpPr>
            <p:cNvPr id="86" name="Legend2"/>
            <p:cNvSpPr>
              <a:spLocks noChangeArrowheads="1"/>
            </p:cNvSpPr>
            <p:nvPr>
              <p:custDataLst>
                <p:tags r:id="rId15"/>
              </p:custDataLst>
            </p:nvPr>
          </p:nvSpPr>
          <p:spPr bwMode="gray">
            <a:xfrm>
              <a:off x="6214680" y="2974156"/>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a:latin typeface="+mn-lt"/>
                  <a:ea typeface="+mn-ea"/>
                </a:rPr>
                <a:t>Legend</a:t>
              </a:r>
              <a:endParaRPr lang="en-US" sz="1400" baseline="0" dirty="0">
                <a:latin typeface="+mn-lt"/>
                <a:ea typeface="+mn-ea"/>
              </a:endParaRPr>
            </a:p>
          </p:txBody>
        </p:sp>
        <p:sp>
          <p:nvSpPr>
            <p:cNvPr id="87" name="Legend3"/>
            <p:cNvSpPr>
              <a:spLocks noChangeArrowheads="1"/>
            </p:cNvSpPr>
            <p:nvPr>
              <p:custDataLst>
                <p:tags r:id="rId16"/>
              </p:custDataLst>
            </p:nvPr>
          </p:nvSpPr>
          <p:spPr bwMode="gray">
            <a:xfrm>
              <a:off x="6214680" y="3248596"/>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sp>
          <p:nvSpPr>
            <p:cNvPr id="88" name="Legend4"/>
            <p:cNvSpPr>
              <a:spLocks noChangeArrowheads="1"/>
            </p:cNvSpPr>
            <p:nvPr>
              <p:custDataLst>
                <p:tags r:id="rId17"/>
              </p:custDataLst>
            </p:nvPr>
          </p:nvSpPr>
          <p:spPr bwMode="gray">
            <a:xfrm>
              <a:off x="6214680" y="3521448"/>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sp>
          <p:nvSpPr>
            <p:cNvPr id="89" name="Legend5"/>
            <p:cNvSpPr>
              <a:spLocks noChangeArrowheads="1"/>
            </p:cNvSpPr>
            <p:nvPr>
              <p:custDataLst>
                <p:tags r:id="rId18"/>
              </p:custDataLst>
            </p:nvPr>
          </p:nvSpPr>
          <p:spPr bwMode="gray">
            <a:xfrm>
              <a:off x="6214680" y="3796682"/>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a:latin typeface="+mn-lt"/>
                  <a:ea typeface="+mn-ea"/>
                </a:rPr>
                <a:t>Legend</a:t>
              </a:r>
              <a:endParaRPr lang="en-US" sz="1400" baseline="0" dirty="0">
                <a:latin typeface="+mn-lt"/>
                <a:ea typeface="+mn-ea"/>
              </a:endParaRPr>
            </a:p>
          </p:txBody>
        </p:sp>
      </p:grpSp>
    </p:spTree>
    <p:extLst>
      <p:ext uri="{BB962C8B-B14F-4D97-AF65-F5344CB8AC3E}">
        <p14:creationId xmlns:p14="http://schemas.microsoft.com/office/powerpoint/2010/main" val="425366823"/>
      </p:ext>
    </p:extLst>
  </p:cSld>
  <p:clrMap bg1="lt1" tx1="dk1" bg2="lt2" tx2="dk2" accent1="accent1" accent2="accent2" accent3="accent3" accent4="accent4" accent5="accent5" accent6="accent6" hlink="hlink" folHlink="folHlink"/>
  <p:sldLayoutIdLst>
    <p:sldLayoutId id="2147483726" r:id="rId1"/>
    <p:sldLayoutId id="2147483727" r:id="rId2"/>
    <p:sldLayoutId id="2147483728" r:id="rId3"/>
    <p:sldLayoutId id="2147483729" r:id="rId4"/>
  </p:sldLayoutIdLst>
  <p:txStyles>
    <p:titleStyle>
      <a:lvl1pPr algn="l" defTabSz="895350" rtl="0" eaLnBrk="1" fontAlgn="base" hangingPunct="1">
        <a:spcBef>
          <a:spcPct val="0"/>
        </a:spcBef>
        <a:spcAft>
          <a:spcPct val="0"/>
        </a:spcAft>
        <a:tabLst>
          <a:tab pos="269875" algn="l"/>
        </a:tabLst>
        <a:defRPr sz="2000" b="0" baseline="0">
          <a:solidFill>
            <a:schemeClr val="tx2"/>
          </a:solidFill>
          <a:latin typeface="+mj-lt"/>
          <a:ea typeface="+mj-ea"/>
          <a:cs typeface="+mj-cs"/>
        </a:defRPr>
      </a:lvl1pPr>
      <a:lvl2pPr algn="l" defTabSz="895350" rtl="0" eaLnBrk="1" fontAlgn="base" hangingPunct="1">
        <a:spcBef>
          <a:spcPct val="0"/>
        </a:spcBef>
        <a:spcAft>
          <a:spcPct val="0"/>
        </a:spcAft>
        <a:defRPr sz="1900" b="1">
          <a:solidFill>
            <a:schemeClr val="tx2"/>
          </a:solidFill>
          <a:latin typeface="Arial" charset="0"/>
        </a:defRPr>
      </a:lvl2pPr>
      <a:lvl3pPr algn="l" defTabSz="895350" rtl="0" eaLnBrk="1" fontAlgn="base" hangingPunct="1">
        <a:spcBef>
          <a:spcPct val="0"/>
        </a:spcBef>
        <a:spcAft>
          <a:spcPct val="0"/>
        </a:spcAft>
        <a:defRPr sz="1900" b="1">
          <a:solidFill>
            <a:schemeClr val="tx2"/>
          </a:solidFill>
          <a:latin typeface="Arial" charset="0"/>
        </a:defRPr>
      </a:lvl3pPr>
      <a:lvl4pPr algn="l" defTabSz="895350" rtl="0" eaLnBrk="1" fontAlgn="base" hangingPunct="1">
        <a:spcBef>
          <a:spcPct val="0"/>
        </a:spcBef>
        <a:spcAft>
          <a:spcPct val="0"/>
        </a:spcAft>
        <a:defRPr sz="1900" b="1">
          <a:solidFill>
            <a:schemeClr val="tx2"/>
          </a:solidFill>
          <a:latin typeface="Arial" charset="0"/>
        </a:defRPr>
      </a:lvl4pPr>
      <a:lvl5pPr algn="l" defTabSz="895350" rtl="0" eaLnBrk="1" fontAlgn="base" hangingPunct="1">
        <a:spcBef>
          <a:spcPct val="0"/>
        </a:spcBef>
        <a:spcAft>
          <a:spcPct val="0"/>
        </a:spcAft>
        <a:defRPr sz="1900" b="1">
          <a:solidFill>
            <a:schemeClr val="tx2"/>
          </a:solidFill>
          <a:latin typeface="Arial" charset="0"/>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p:titleStyle>
    <p:bodyStyle>
      <a:lvl1pPr marL="0" indent="0" algn="l" defTabSz="895350" rtl="0" eaLnBrk="1" fontAlgn="base" hangingPunct="1">
        <a:spcBef>
          <a:spcPct val="0"/>
        </a:spcBef>
        <a:spcAft>
          <a:spcPct val="0"/>
        </a:spcAft>
        <a:buClr>
          <a:schemeClr val="tx2"/>
        </a:buClr>
        <a:buSzPct val="100000"/>
        <a:defRPr sz="14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4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4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4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4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7"/>
            </p:custDataLst>
            <p:extLst>
              <p:ext uri="{D42A27DB-BD31-4B8C-83A1-F6EECF244321}">
                <p14:modId xmlns:p14="http://schemas.microsoft.com/office/powerpoint/2010/main" val="599671363"/>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2484" name="think-cell Slide" r:id="rId36" imgW="270" imgH="270" progId="TCLayout.ActiveDocument.1">
                  <p:embed/>
                </p:oleObj>
              </mc:Choice>
              <mc:Fallback>
                <p:oleObj name="think-cell Slide" r:id="rId36" imgW="270" imgH="270" progId="TCLayout.ActiveDocument.1">
                  <p:embed/>
                  <p:pic>
                    <p:nvPicPr>
                      <p:cNvPr id="2" name="Object 1" hidden="1"/>
                      <p:cNvPicPr/>
                      <p:nvPr/>
                    </p:nvPicPr>
                    <p:blipFill>
                      <a:blip r:embed="rId37"/>
                      <a:stretch>
                        <a:fillRect/>
                      </a:stretch>
                    </p:blipFill>
                    <p:spPr>
                      <a:xfrm>
                        <a:off x="0" y="0"/>
                        <a:ext cx="158750" cy="158750"/>
                      </a:xfrm>
                      <a:prstGeom prst="rect">
                        <a:avLst/>
                      </a:prstGeom>
                    </p:spPr>
                  </p:pic>
                </p:oleObj>
              </mc:Fallback>
            </mc:AlternateContent>
          </a:graphicData>
        </a:graphic>
      </p:graphicFrame>
      <p:sp>
        <p:nvSpPr>
          <p:cNvPr id="6" name="Rectangle 5" hidden="1"/>
          <p:cNvSpPr/>
          <p:nvPr>
            <p:custDataLst>
              <p:tags r:id="rId8"/>
            </p:custDataLst>
          </p:nvPr>
        </p:nvSpPr>
        <p:spPr bwMode="auto">
          <a:xfrm>
            <a:off x="0" y="0"/>
            <a:ext cx="158750" cy="158750"/>
          </a:xfrm>
          <a:prstGeom prst="rect">
            <a:avLst/>
          </a:prstGeom>
          <a:solidFill>
            <a:schemeClr val="bg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dirty="0">
              <a:solidFill>
                <a:srgbClr val="000000"/>
              </a:solidFill>
              <a:sym typeface="Arial" panose="020B0604020202020204" pitchFamily="34" charset="0"/>
            </a:endParaRPr>
          </a:p>
        </p:txBody>
      </p:sp>
      <p:sp>
        <p:nvSpPr>
          <p:cNvPr id="1034" name="Working Draft" hidden="1"/>
          <p:cNvSpPr txBox="1">
            <a:spLocks noChangeArrowheads="1"/>
          </p:cNvSpPr>
          <p:nvPr/>
        </p:nvSpPr>
        <p:spPr bwMode="gray">
          <a:xfrm rot="5400000">
            <a:off x="7966656" y="1940591"/>
            <a:ext cx="1849865"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600" baseline="0">
                <a:solidFill>
                  <a:srgbClr val="808080"/>
                </a:solidFill>
                <a:latin typeface="+mn-lt"/>
                <a:ea typeface="+mn-ea"/>
              </a:rPr>
              <a:t>Last Modified 21/05/2018 17:44 India Standard Time</a:t>
            </a:r>
            <a:endParaRPr lang="en-US" baseline="0" dirty="0">
              <a:solidFill>
                <a:srgbClr val="808080"/>
              </a:solidFill>
              <a:latin typeface="+mn-lt"/>
              <a:ea typeface="+mn-ea"/>
            </a:endParaRPr>
          </a:p>
        </p:txBody>
      </p:sp>
      <p:sp>
        <p:nvSpPr>
          <p:cNvPr id="1035" name="Printed" hidden="1"/>
          <p:cNvSpPr txBox="1">
            <a:spLocks noChangeArrowheads="1"/>
          </p:cNvSpPr>
          <p:nvPr/>
        </p:nvSpPr>
        <p:spPr bwMode="gray">
          <a:xfrm rot="5400000">
            <a:off x="8768958" y="4114417"/>
            <a:ext cx="245260"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600" baseline="0" dirty="0">
                <a:solidFill>
                  <a:srgbClr val="808080"/>
                </a:solidFill>
                <a:latin typeface="+mn-lt"/>
                <a:ea typeface="+mn-ea"/>
              </a:rPr>
              <a:t>Printed</a:t>
            </a:r>
            <a:endParaRPr lang="en-US" baseline="0" dirty="0">
              <a:solidFill>
                <a:srgbClr val="808080"/>
              </a:solidFill>
              <a:latin typeface="+mn-lt"/>
              <a:ea typeface="+mn-ea"/>
            </a:endParaRPr>
          </a:p>
        </p:txBody>
      </p:sp>
      <p:sp>
        <p:nvSpPr>
          <p:cNvPr id="19" name="Title Placeholder 2"/>
          <p:cNvSpPr>
            <a:spLocks noGrp="1" noChangeArrowheads="1"/>
          </p:cNvSpPr>
          <p:nvPr>
            <p:ph type="title"/>
          </p:nvPr>
        </p:nvSpPr>
        <p:spPr bwMode="gray">
          <a:xfrm>
            <a:off x="119063" y="230188"/>
            <a:ext cx="8618537"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latinLnBrk="0"/>
            <a:r>
              <a:rPr lang="en-US"/>
              <a:t>Click to edit Master title style</a:t>
            </a:r>
            <a:endParaRPr lang="en-US" noProof="0" dirty="0"/>
          </a:p>
        </p:txBody>
      </p:sp>
      <p:sp>
        <p:nvSpPr>
          <p:cNvPr id="10" name="1. On-page tracker" hidden="1"/>
          <p:cNvSpPr>
            <a:spLocks noChangeArrowheads="1"/>
          </p:cNvSpPr>
          <p:nvPr/>
        </p:nvSpPr>
        <p:spPr bwMode="gray">
          <a:xfrm>
            <a:off x="119063" y="75764"/>
            <a:ext cx="490519"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800" cap="all" baseline="0" dirty="0">
                <a:solidFill>
                  <a:schemeClr val="accent6"/>
                </a:solidFill>
                <a:latin typeface="+mn-lt"/>
                <a:ea typeface="+mn-ea"/>
              </a:rPr>
              <a:t>Tracker</a:t>
            </a:r>
          </a:p>
        </p:txBody>
      </p:sp>
      <p:sp>
        <p:nvSpPr>
          <p:cNvPr id="11" name="3. Unit of measure" hidden="1"/>
          <p:cNvSpPr txBox="1">
            <a:spLocks noChangeArrowheads="1"/>
          </p:cNvSpPr>
          <p:nvPr/>
        </p:nvSpPr>
        <p:spPr bwMode="gray">
          <a:xfrm>
            <a:off x="119063" y="554865"/>
            <a:ext cx="8618537"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600" baseline="0" dirty="0">
                <a:solidFill>
                  <a:schemeClr val="accent6"/>
                </a:solidFill>
                <a:latin typeface="+mn-lt"/>
                <a:ea typeface="+mn-ea"/>
              </a:rPr>
              <a:t>Unit of measure</a:t>
            </a:r>
          </a:p>
        </p:txBody>
      </p:sp>
      <p:grpSp>
        <p:nvGrpSpPr>
          <p:cNvPr id="4" name="Slide Elements" hidden="1"/>
          <p:cNvGrpSpPr/>
          <p:nvPr/>
        </p:nvGrpSpPr>
        <p:grpSpPr bwMode="gray">
          <a:xfrm>
            <a:off x="119063" y="6305945"/>
            <a:ext cx="8618537" cy="325438"/>
            <a:chOff x="119063" y="6305945"/>
            <a:chExt cx="8618537" cy="325438"/>
          </a:xfrm>
        </p:grpSpPr>
        <p:sp>
          <p:nvSpPr>
            <p:cNvPr id="13" name="4. Footnote"/>
            <p:cNvSpPr txBox="1">
              <a:spLocks noChangeArrowheads="1"/>
            </p:cNvSpPr>
            <p:nvPr/>
          </p:nvSpPr>
          <p:spPr bwMode="gray">
            <a:xfrm>
              <a:off x="119063" y="6305945"/>
              <a:ext cx="8618537" cy="123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800" baseline="0" dirty="0">
                  <a:solidFill>
                    <a:schemeClr val="accent6"/>
                  </a:solidFill>
                  <a:latin typeface="+mn-lt"/>
                  <a:ea typeface="+mn-ea"/>
                </a:rPr>
                <a:t>1 Footnote</a:t>
              </a:r>
            </a:p>
          </p:txBody>
        </p:sp>
        <p:sp>
          <p:nvSpPr>
            <p:cNvPr id="14" name="5. Source"/>
            <p:cNvSpPr>
              <a:spLocks noChangeArrowheads="1"/>
            </p:cNvSpPr>
            <p:nvPr/>
          </p:nvSpPr>
          <p:spPr bwMode="gray">
            <a:xfrm>
              <a:off x="119063" y="6507558"/>
              <a:ext cx="7200000" cy="123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marL="609600" indent="-609600" defTabSz="895350">
                <a:tabLst>
                  <a:tab pos="612775" algn="l"/>
                </a:tabLst>
              </a:pPr>
              <a:r>
                <a:rPr lang="en-US" sz="800" baseline="0" dirty="0">
                  <a:solidFill>
                    <a:schemeClr val="accent6"/>
                  </a:solidFill>
                  <a:latin typeface="+mn-lt"/>
                  <a:ea typeface="+mn-ea"/>
                </a:rPr>
                <a:t>SOURCE: Source</a:t>
              </a:r>
            </a:p>
          </p:txBody>
        </p:sp>
      </p:grpSp>
      <p:sp>
        <p:nvSpPr>
          <p:cNvPr id="3" name="Text Placeholder 2"/>
          <p:cNvSpPr>
            <a:spLocks noGrp="1"/>
          </p:cNvSpPr>
          <p:nvPr>
            <p:ph type="body" idx="1"/>
          </p:nvPr>
        </p:nvSpPr>
        <p:spPr bwMode="gray">
          <a:xfrm>
            <a:off x="1452564" y="1951380"/>
            <a:ext cx="4302125" cy="1077218"/>
          </a:xfrm>
          <a:prstGeom prst="rect">
            <a:avLst/>
          </a:prstGeom>
        </p:spPr>
        <p:txBody>
          <a:bodyPr vert="horz" lIns="0" tIns="0" rIns="0" bIns="0" rtlCol="0">
            <a:spAutoFit/>
          </a:bodyPr>
          <a:lstStyle/>
          <a:p>
            <a:pPr lvl="0" latinLnBrk="0"/>
            <a:r>
              <a:rPr lang="en-US"/>
              <a:t>Edit Master text styles</a:t>
            </a:r>
          </a:p>
          <a:p>
            <a:pPr lvl="1" latinLnBrk="0"/>
            <a:r>
              <a:rPr lang="en-US"/>
              <a:t>Second level</a:t>
            </a:r>
          </a:p>
          <a:p>
            <a:pPr lvl="2" latinLnBrk="0"/>
            <a:r>
              <a:rPr lang="en-US"/>
              <a:t>Third level</a:t>
            </a:r>
          </a:p>
          <a:p>
            <a:pPr lvl="3" latinLnBrk="0"/>
            <a:r>
              <a:rPr lang="en-US"/>
              <a:t>Fourth level</a:t>
            </a:r>
          </a:p>
          <a:p>
            <a:pPr lvl="4" latinLnBrk="0"/>
            <a:r>
              <a:rPr lang="en-US"/>
              <a:t>Fifth level</a:t>
            </a:r>
            <a:endParaRPr lang="en-US" dirty="0"/>
          </a:p>
        </p:txBody>
      </p:sp>
      <p:grpSp>
        <p:nvGrpSpPr>
          <p:cNvPr id="15" name="ACET" hidden="1"/>
          <p:cNvGrpSpPr>
            <a:grpSpLocks/>
          </p:cNvGrpSpPr>
          <p:nvPr/>
        </p:nvGrpSpPr>
        <p:grpSpPr bwMode="gray">
          <a:xfrm>
            <a:off x="1452563" y="1257754"/>
            <a:ext cx="4264025" cy="508000"/>
            <a:chOff x="915" y="710"/>
            <a:chExt cx="2686" cy="320"/>
          </a:xfrm>
        </p:grpSpPr>
        <p:cxnSp>
          <p:nvCxnSpPr>
            <p:cNvPr id="16" name="AutoShape 249"/>
            <p:cNvCxnSpPr>
              <a:cxnSpLocks noChangeShapeType="1"/>
              <a:stCxn id="18" idx="4"/>
              <a:endCxn id="18" idx="6"/>
            </p:cNvCxnSpPr>
            <p:nvPr/>
          </p:nvCxnSpPr>
          <p:spPr bwMode="gray">
            <a:xfrm>
              <a:off x="915" y="1030"/>
              <a:ext cx="2686" cy="0"/>
            </a:xfrm>
            <a:prstGeom prst="straightConnector1">
              <a:avLst/>
            </a:prstGeom>
            <a:noFill/>
            <a:ln w="9525">
              <a:solidFill>
                <a:schemeClr val="accent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8" name="AutoShape 250"/>
            <p:cNvSpPr>
              <a:spLocks noChangeArrowheads="1"/>
            </p:cNvSpPr>
            <p:nvPr/>
          </p:nvSpPr>
          <p:spPr bwMode="gray">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US" b="1" baseline="0" dirty="0">
                  <a:solidFill>
                    <a:srgbClr val="000000"/>
                  </a:solidFill>
                  <a:latin typeface="+mn-lt"/>
                  <a:ea typeface="+mn-ea"/>
                </a:rPr>
                <a:t>Title</a:t>
              </a:r>
            </a:p>
            <a:p>
              <a:r>
                <a:rPr lang="en-US" baseline="0" dirty="0">
                  <a:solidFill>
                    <a:schemeClr val="accent6"/>
                  </a:solidFill>
                  <a:latin typeface="+mn-lt"/>
                  <a:ea typeface="+mn-ea"/>
                </a:rPr>
                <a:t>Unit of measure</a:t>
              </a:r>
            </a:p>
          </p:txBody>
        </p:sp>
      </p:grpSp>
      <p:grpSp>
        <p:nvGrpSpPr>
          <p:cNvPr id="17" name="McKSticker" hidden="1"/>
          <p:cNvGrpSpPr/>
          <p:nvPr/>
        </p:nvGrpSpPr>
        <p:grpSpPr bwMode="gray">
          <a:xfrm>
            <a:off x="8264265" y="285750"/>
            <a:ext cx="473335" cy="150811"/>
            <a:chOff x="8267440" y="285750"/>
            <a:chExt cx="473335" cy="150811"/>
          </a:xfrm>
        </p:grpSpPr>
        <p:sp>
          <p:nvSpPr>
            <p:cNvPr id="20" name="StickerRectangle"/>
            <p:cNvSpPr>
              <a:spLocks noChangeArrowheads="1"/>
            </p:cNvSpPr>
            <p:nvPr/>
          </p:nvSpPr>
          <p:spPr bwMode="gray">
            <a:xfrm>
              <a:off x="8267440" y="285750"/>
              <a:ext cx="473335" cy="150811"/>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a:buClr>
                  <a:srgbClr val="002960"/>
                </a:buClr>
              </a:pPr>
              <a:r>
                <a:rPr lang="en-US" sz="800" baseline="0" dirty="0">
                  <a:solidFill>
                    <a:schemeClr val="accent6"/>
                  </a:solidFill>
                  <a:latin typeface="+mn-lt"/>
                  <a:ea typeface="+mn-ea"/>
                </a:rPr>
                <a:t>STICKER</a:t>
              </a:r>
            </a:p>
          </p:txBody>
        </p:sp>
        <p:cxnSp>
          <p:nvCxnSpPr>
            <p:cNvPr id="21" name="AutoShape 31"/>
            <p:cNvCxnSpPr>
              <a:cxnSpLocks noChangeShapeType="1"/>
              <a:stCxn id="20" idx="2"/>
              <a:endCxn id="20" idx="4"/>
            </p:cNvCxnSpPr>
            <p:nvPr/>
          </p:nvCxnSpPr>
          <p:spPr bwMode="gray">
            <a:xfrm>
              <a:off x="8267440" y="285750"/>
              <a:ext cx="0" cy="150811"/>
            </a:xfrm>
            <a:prstGeom prst="straightConnector1">
              <a:avLst/>
            </a:prstGeom>
            <a:noFill/>
            <a:ln w="9525">
              <a:solidFill>
                <a:schemeClr val="accent6"/>
              </a:solidFill>
              <a:round/>
              <a:headEnd/>
              <a:tailEnd/>
            </a:ln>
            <a:extLst>
              <a:ext uri="{909E8E84-426E-40DD-AFC4-6F175D3DCCD1}">
                <a14:hiddenFill xmlns:a14="http://schemas.microsoft.com/office/drawing/2010/main">
                  <a:noFill/>
                </a14:hiddenFill>
              </a:ext>
            </a:extLst>
          </p:spPr>
        </p:cxnSp>
        <p:cxnSp>
          <p:nvCxnSpPr>
            <p:cNvPr id="22" name="AutoShape 32"/>
            <p:cNvCxnSpPr>
              <a:cxnSpLocks noChangeShapeType="1"/>
              <a:stCxn id="20" idx="4"/>
              <a:endCxn id="20" idx="6"/>
            </p:cNvCxnSpPr>
            <p:nvPr/>
          </p:nvCxnSpPr>
          <p:spPr bwMode="gray">
            <a:xfrm>
              <a:off x="8267440" y="436561"/>
              <a:ext cx="473335" cy="0"/>
            </a:xfrm>
            <a:prstGeom prst="straightConnector1">
              <a:avLst/>
            </a:prstGeom>
            <a:noFill/>
            <a:ln w="25400">
              <a:solidFill>
                <a:schemeClr val="accent6"/>
              </a:solidFill>
              <a:round/>
              <a:headEnd/>
              <a:tailEnd/>
            </a:ln>
            <a:extLst>
              <a:ext uri="{909E8E84-426E-40DD-AFC4-6F175D3DCCD1}">
                <a14:hiddenFill xmlns:a14="http://schemas.microsoft.com/office/drawing/2010/main">
                  <a:noFill/>
                </a14:hiddenFill>
              </a:ext>
            </a:extLst>
          </p:spPr>
        </p:cxnSp>
      </p:grpSp>
      <p:sp>
        <p:nvSpPr>
          <p:cNvPr id="23" name="SlideBottomBar" hidden="1"/>
          <p:cNvSpPr/>
          <p:nvPr/>
        </p:nvSpPr>
        <p:spPr>
          <a:xfrm>
            <a:off x="8437547" y="6182120"/>
            <a:ext cx="45719" cy="123825"/>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aseline="0" dirty="0">
              <a:solidFill>
                <a:schemeClr val="tx1"/>
              </a:solidFill>
              <a:latin typeface="+mn-lt"/>
              <a:ea typeface="+mn-ea"/>
            </a:endParaRPr>
          </a:p>
        </p:txBody>
      </p:sp>
      <p:sp>
        <p:nvSpPr>
          <p:cNvPr id="24" name="doc id" hidden="1"/>
          <p:cNvSpPr txBox="1">
            <a:spLocks noChangeArrowheads="1"/>
          </p:cNvSpPr>
          <p:nvPr/>
        </p:nvSpPr>
        <p:spPr bwMode="white">
          <a:xfrm>
            <a:off x="8104473" y="36513"/>
            <a:ext cx="634716" cy="115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hangingPunct="1">
              <a:defRPr/>
            </a:pPr>
            <a:endParaRPr lang="en-US" sz="800" baseline="0" dirty="0">
              <a:solidFill>
                <a:schemeClr val="accent1"/>
              </a:solidFill>
              <a:latin typeface="+mn-lt"/>
              <a:ea typeface="+mn-ea"/>
            </a:endParaRPr>
          </a:p>
        </p:txBody>
      </p:sp>
      <p:grpSp>
        <p:nvGrpSpPr>
          <p:cNvPr id="63" name="LegendLines" hidden="1"/>
          <p:cNvGrpSpPr/>
          <p:nvPr/>
        </p:nvGrpSpPr>
        <p:grpSpPr>
          <a:xfrm>
            <a:off x="7551589" y="267815"/>
            <a:ext cx="1158292" cy="761545"/>
            <a:chOff x="7607284" y="279400"/>
            <a:chExt cx="1158292" cy="761545"/>
          </a:xfrm>
        </p:grpSpPr>
        <p:sp>
          <p:nvSpPr>
            <p:cNvPr id="64" name="LineLegend1"/>
            <p:cNvSpPr>
              <a:spLocks noChangeShapeType="1"/>
            </p:cNvSpPr>
            <p:nvPr/>
          </p:nvSpPr>
          <p:spPr bwMode="gray">
            <a:xfrm>
              <a:off x="7607284" y="387122"/>
              <a:ext cx="457200"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65" name="LineLegend2"/>
            <p:cNvSpPr>
              <a:spLocks noChangeShapeType="1"/>
            </p:cNvSpPr>
            <p:nvPr/>
          </p:nvSpPr>
          <p:spPr bwMode="gray">
            <a:xfrm>
              <a:off x="7607284" y="653822"/>
              <a:ext cx="457200"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66" name="LineLegend3"/>
            <p:cNvSpPr>
              <a:spLocks noChangeShapeType="1"/>
            </p:cNvSpPr>
            <p:nvPr/>
          </p:nvSpPr>
          <p:spPr bwMode="gray">
            <a:xfrm>
              <a:off x="7607284" y="933223"/>
              <a:ext cx="457200"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67" name="Legend1"/>
            <p:cNvSpPr>
              <a:spLocks noChangeArrowheads="1"/>
            </p:cNvSpPr>
            <p:nvPr>
              <p:custDataLst>
                <p:tags r:id="rId33"/>
              </p:custDataLst>
            </p:nvPr>
          </p:nvSpPr>
          <p:spPr bwMode="gray">
            <a:xfrm>
              <a:off x="8169259" y="279400"/>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sp>
          <p:nvSpPr>
            <p:cNvPr id="68" name="Legend2"/>
            <p:cNvSpPr>
              <a:spLocks noChangeArrowheads="1"/>
            </p:cNvSpPr>
            <p:nvPr>
              <p:custDataLst>
                <p:tags r:id="rId34"/>
              </p:custDataLst>
            </p:nvPr>
          </p:nvSpPr>
          <p:spPr bwMode="gray">
            <a:xfrm>
              <a:off x="8169259" y="546100"/>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a:latin typeface="+mn-lt"/>
                  <a:ea typeface="+mn-ea"/>
                </a:rPr>
                <a:t>Legend</a:t>
              </a:r>
              <a:endParaRPr lang="en-US" sz="1400" baseline="0" dirty="0">
                <a:latin typeface="+mn-lt"/>
                <a:ea typeface="+mn-ea"/>
              </a:endParaRPr>
            </a:p>
          </p:txBody>
        </p:sp>
        <p:sp>
          <p:nvSpPr>
            <p:cNvPr id="69" name="Legend3"/>
            <p:cNvSpPr>
              <a:spLocks noChangeArrowheads="1"/>
            </p:cNvSpPr>
            <p:nvPr>
              <p:custDataLst>
                <p:tags r:id="rId35"/>
              </p:custDataLst>
            </p:nvPr>
          </p:nvSpPr>
          <p:spPr bwMode="gray">
            <a:xfrm>
              <a:off x="8169259" y="825501"/>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grpSp>
      <p:grpSp>
        <p:nvGrpSpPr>
          <p:cNvPr id="70" name="LegendBoxes" hidden="1"/>
          <p:cNvGrpSpPr/>
          <p:nvPr/>
        </p:nvGrpSpPr>
        <p:grpSpPr>
          <a:xfrm>
            <a:off x="7859564" y="267919"/>
            <a:ext cx="850317" cy="1028245"/>
            <a:chOff x="5894005" y="919828"/>
            <a:chExt cx="850317" cy="1028245"/>
          </a:xfrm>
        </p:grpSpPr>
        <p:sp>
          <p:nvSpPr>
            <p:cNvPr id="71" name="RectangleLegend1"/>
            <p:cNvSpPr>
              <a:spLocks noChangeArrowheads="1"/>
            </p:cNvSpPr>
            <p:nvPr/>
          </p:nvSpPr>
          <p:spPr bwMode="gray">
            <a:xfrm>
              <a:off x="5894005" y="947381"/>
              <a:ext cx="165100" cy="160338"/>
            </a:xfrm>
            <a:prstGeom prst="rect">
              <a:avLst/>
            </a:prstGeom>
            <a:solidFill>
              <a:schemeClr val="accent1"/>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72" name="RectangleLegend2"/>
            <p:cNvSpPr>
              <a:spLocks noChangeArrowheads="1"/>
            </p:cNvSpPr>
            <p:nvPr/>
          </p:nvSpPr>
          <p:spPr bwMode="gray">
            <a:xfrm>
              <a:off x="5894005" y="1217256"/>
              <a:ext cx="165100" cy="160338"/>
            </a:xfrm>
            <a:prstGeom prst="rect">
              <a:avLst/>
            </a:prstGeom>
            <a:solidFill>
              <a:schemeClr val="accent2"/>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73" name="RectangleLegend3"/>
            <p:cNvSpPr>
              <a:spLocks noChangeArrowheads="1"/>
            </p:cNvSpPr>
            <p:nvPr/>
          </p:nvSpPr>
          <p:spPr bwMode="gray">
            <a:xfrm>
              <a:off x="5894005" y="1488719"/>
              <a:ext cx="165100" cy="160338"/>
            </a:xfrm>
            <a:prstGeom prst="rect">
              <a:avLst/>
            </a:prstGeom>
            <a:solidFill>
              <a:schemeClr val="accent3"/>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74" name="RectangleLegend4"/>
            <p:cNvSpPr>
              <a:spLocks noChangeArrowheads="1"/>
            </p:cNvSpPr>
            <p:nvPr/>
          </p:nvSpPr>
          <p:spPr bwMode="gray">
            <a:xfrm>
              <a:off x="5894005" y="1760182"/>
              <a:ext cx="165100" cy="160338"/>
            </a:xfrm>
            <a:prstGeom prst="rect">
              <a:avLst/>
            </a:prstGeom>
            <a:solidFill>
              <a:schemeClr val="accent4"/>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75" name="Legend1"/>
            <p:cNvSpPr>
              <a:spLocks noChangeArrowheads="1"/>
            </p:cNvSpPr>
            <p:nvPr>
              <p:custDataLst>
                <p:tags r:id="rId29"/>
              </p:custDataLst>
            </p:nvPr>
          </p:nvSpPr>
          <p:spPr bwMode="gray">
            <a:xfrm>
              <a:off x="6148005" y="919828"/>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sp>
          <p:nvSpPr>
            <p:cNvPr id="76" name="Legend2"/>
            <p:cNvSpPr>
              <a:spLocks noChangeArrowheads="1"/>
            </p:cNvSpPr>
            <p:nvPr>
              <p:custDataLst>
                <p:tags r:id="rId30"/>
              </p:custDataLst>
            </p:nvPr>
          </p:nvSpPr>
          <p:spPr bwMode="gray">
            <a:xfrm>
              <a:off x="6148005" y="1189703"/>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sp>
          <p:nvSpPr>
            <p:cNvPr id="77" name="Legend3"/>
            <p:cNvSpPr>
              <a:spLocks noChangeArrowheads="1"/>
            </p:cNvSpPr>
            <p:nvPr>
              <p:custDataLst>
                <p:tags r:id="rId31"/>
              </p:custDataLst>
            </p:nvPr>
          </p:nvSpPr>
          <p:spPr bwMode="gray">
            <a:xfrm>
              <a:off x="6148005" y="1461166"/>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sp>
          <p:nvSpPr>
            <p:cNvPr id="78" name="Legend4"/>
            <p:cNvSpPr>
              <a:spLocks noChangeArrowheads="1"/>
            </p:cNvSpPr>
            <p:nvPr>
              <p:custDataLst>
                <p:tags r:id="rId32"/>
              </p:custDataLst>
            </p:nvPr>
          </p:nvSpPr>
          <p:spPr bwMode="gray">
            <a:xfrm>
              <a:off x="6148005" y="1732629"/>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grpSp>
      <p:grpSp>
        <p:nvGrpSpPr>
          <p:cNvPr id="79" name="LegendMoons" hidden="1"/>
          <p:cNvGrpSpPr/>
          <p:nvPr/>
        </p:nvGrpSpPr>
        <p:grpSpPr>
          <a:xfrm>
            <a:off x="7792889" y="267414"/>
            <a:ext cx="916992" cy="1317003"/>
            <a:chOff x="5894005" y="2695123"/>
            <a:chExt cx="916992" cy="1317003"/>
          </a:xfrm>
        </p:grpSpPr>
        <p:grpSp>
          <p:nvGrpSpPr>
            <p:cNvPr id="80" name="MoonLegend1"/>
            <p:cNvGrpSpPr>
              <a:grpSpLocks noChangeAspect="1"/>
            </p:cNvGrpSpPr>
            <p:nvPr>
              <p:custDataLst>
                <p:tags r:id="rId9"/>
              </p:custDataLst>
            </p:nvPr>
          </p:nvGrpSpPr>
          <p:grpSpPr bwMode="gray">
            <a:xfrm>
              <a:off x="5894005" y="2695123"/>
              <a:ext cx="209550" cy="218282"/>
              <a:chOff x="4533" y="183"/>
              <a:chExt cx="144" cy="150"/>
            </a:xfrm>
          </p:grpSpPr>
          <p:sp>
            <p:nvSpPr>
              <p:cNvPr id="98" name="Oval 97"/>
              <p:cNvSpPr>
                <a:spLocks noChangeAspect="1" noChangeArrowheads="1"/>
              </p:cNvSpPr>
              <p:nvPr>
                <p:custDataLst>
                  <p:tags r:id="rId27"/>
                </p:custDataLst>
              </p:nvPr>
            </p:nvSpPr>
            <p:spPr bwMode="gray">
              <a:xfrm>
                <a:off x="4533" y="189"/>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99" name="Arc 98" hidden="1"/>
              <p:cNvSpPr>
                <a:spLocks noChangeAspect="1"/>
              </p:cNvSpPr>
              <p:nvPr>
                <p:custDataLst>
                  <p:tags r:id="rId28"/>
                </p:custDataLst>
              </p:nvPr>
            </p:nvSpPr>
            <p:spPr bwMode="gray">
              <a:xfrm>
                <a:off x="4533" y="183"/>
                <a:ext cx="144" cy="144"/>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grpSp>
        <p:grpSp>
          <p:nvGrpSpPr>
            <p:cNvPr id="81" name="MoonLegend2"/>
            <p:cNvGrpSpPr>
              <a:grpSpLocks noChangeAspect="1"/>
            </p:cNvGrpSpPr>
            <p:nvPr>
              <p:custDataLst>
                <p:tags r:id="rId10"/>
              </p:custDataLst>
            </p:nvPr>
          </p:nvGrpSpPr>
          <p:grpSpPr bwMode="gray">
            <a:xfrm>
              <a:off x="5894005" y="2977103"/>
              <a:ext cx="209550" cy="209551"/>
              <a:chOff x="1694" y="2051"/>
              <a:chExt cx="160" cy="160"/>
            </a:xfrm>
          </p:grpSpPr>
          <p:sp>
            <p:nvSpPr>
              <p:cNvPr id="96" name="Oval 41"/>
              <p:cNvSpPr>
                <a:spLocks noChangeAspect="1" noChangeArrowheads="1"/>
              </p:cNvSpPr>
              <p:nvPr>
                <p:custDataLst>
                  <p:tags r:id="rId25"/>
                </p:custDataLst>
              </p:nvPr>
            </p:nvSpPr>
            <p:spPr bwMode="gray">
              <a:xfrm>
                <a:off x="1694" y="2051"/>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97" name="Arc 42"/>
              <p:cNvSpPr>
                <a:spLocks noChangeAspect="1"/>
              </p:cNvSpPr>
              <p:nvPr>
                <p:custDataLst>
                  <p:tags r:id="rId26"/>
                </p:custDataLst>
              </p:nvPr>
            </p:nvSpPr>
            <p:spPr bwMode="gray">
              <a:xfrm>
                <a:off x="1694" y="2051"/>
                <a:ext cx="160" cy="160"/>
              </a:xfrm>
              <a:prstGeom prst="arc">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grpSp>
        <p:grpSp>
          <p:nvGrpSpPr>
            <p:cNvPr id="82" name="MoonLegend4"/>
            <p:cNvGrpSpPr>
              <a:grpSpLocks noChangeAspect="1"/>
            </p:cNvGrpSpPr>
            <p:nvPr>
              <p:custDataLst>
                <p:tags r:id="rId11"/>
              </p:custDataLst>
            </p:nvPr>
          </p:nvGrpSpPr>
          <p:grpSpPr bwMode="gray">
            <a:xfrm>
              <a:off x="5894005" y="3524395"/>
              <a:ext cx="209550" cy="209551"/>
              <a:chOff x="4495" y="1204"/>
              <a:chExt cx="160" cy="160"/>
            </a:xfrm>
          </p:grpSpPr>
          <p:sp>
            <p:nvSpPr>
              <p:cNvPr id="94" name="Oval 47"/>
              <p:cNvSpPr>
                <a:spLocks noChangeAspect="1" noChangeArrowheads="1"/>
              </p:cNvSpPr>
              <p:nvPr>
                <p:custDataLst>
                  <p:tags r:id="rId23"/>
                </p:custDataLst>
              </p:nvPr>
            </p:nvSpPr>
            <p:spPr bwMode="gray">
              <a:xfrm>
                <a:off x="4495" y="120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95" name="Arc 48"/>
              <p:cNvSpPr>
                <a:spLocks noChangeAspect="1"/>
              </p:cNvSpPr>
              <p:nvPr>
                <p:custDataLst>
                  <p:tags r:id="rId24"/>
                </p:custDataLst>
              </p:nvPr>
            </p:nvSpPr>
            <p:spPr bwMode="gray">
              <a:xfrm>
                <a:off x="4495" y="1204"/>
                <a:ext cx="160" cy="160"/>
              </a:xfrm>
              <a:prstGeom prst="arc">
                <a:avLst>
                  <a:gd name="adj1" fmla="val 16200000"/>
                  <a:gd name="adj2" fmla="val 108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grpSp>
        <p:grpSp>
          <p:nvGrpSpPr>
            <p:cNvPr id="83" name="MoonLegend5"/>
            <p:cNvGrpSpPr>
              <a:grpSpLocks noChangeAspect="1"/>
            </p:cNvGrpSpPr>
            <p:nvPr>
              <p:custDataLst>
                <p:tags r:id="rId12"/>
              </p:custDataLst>
            </p:nvPr>
          </p:nvGrpSpPr>
          <p:grpSpPr bwMode="gray">
            <a:xfrm>
              <a:off x="5894005" y="3799629"/>
              <a:ext cx="209550" cy="209551"/>
              <a:chOff x="4495" y="1447"/>
              <a:chExt cx="160" cy="160"/>
            </a:xfrm>
          </p:grpSpPr>
          <p:sp>
            <p:nvSpPr>
              <p:cNvPr id="92" name="Oval 50"/>
              <p:cNvSpPr>
                <a:spLocks noChangeAspect="1" noChangeArrowheads="1"/>
              </p:cNvSpPr>
              <p:nvPr>
                <p:custDataLst>
                  <p:tags r:id="rId21"/>
                </p:custDataLst>
              </p:nvPr>
            </p:nvSpPr>
            <p:spPr bwMode="gray">
              <a:xfrm>
                <a:off x="4495" y="1447"/>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93" name="Oval 51"/>
              <p:cNvSpPr>
                <a:spLocks noChangeAspect="1" noChangeArrowheads="1"/>
              </p:cNvSpPr>
              <p:nvPr>
                <p:custDataLst>
                  <p:tags r:id="rId22"/>
                </p:custDataLst>
              </p:nvPr>
            </p:nvSpPr>
            <p:spPr bwMode="gray">
              <a:xfrm>
                <a:off x="4495" y="1447"/>
                <a:ext cx="160" cy="160"/>
              </a:xfrm>
              <a:prstGeom prst="arc">
                <a:avLst>
                  <a:gd name="adj1" fmla="val 16200000"/>
                  <a:gd name="adj2" fmla="val 162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grpSp>
        <p:grpSp>
          <p:nvGrpSpPr>
            <p:cNvPr id="84" name="MoonLegend3"/>
            <p:cNvGrpSpPr>
              <a:grpSpLocks noChangeAspect="1"/>
            </p:cNvGrpSpPr>
            <p:nvPr>
              <p:custDataLst>
                <p:tags r:id="rId13"/>
              </p:custDataLst>
            </p:nvPr>
          </p:nvGrpSpPr>
          <p:grpSpPr bwMode="gray">
            <a:xfrm>
              <a:off x="5894005" y="3251543"/>
              <a:ext cx="209550" cy="209551"/>
              <a:chOff x="4495" y="1205"/>
              <a:chExt cx="160" cy="160"/>
            </a:xfrm>
          </p:grpSpPr>
          <p:sp>
            <p:nvSpPr>
              <p:cNvPr id="90" name="Oval 47"/>
              <p:cNvSpPr>
                <a:spLocks noChangeAspect="1" noChangeArrowheads="1"/>
              </p:cNvSpPr>
              <p:nvPr>
                <p:custDataLst>
                  <p:tags r:id="rId19"/>
                </p:custDataLst>
              </p:nvPr>
            </p:nvSpPr>
            <p:spPr bwMode="gray">
              <a:xfrm>
                <a:off x="4495" y="1205"/>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91" name="Arc 48"/>
              <p:cNvSpPr>
                <a:spLocks noChangeAspect="1"/>
              </p:cNvSpPr>
              <p:nvPr>
                <p:custDataLst>
                  <p:tags r:id="rId20"/>
                </p:custDataLst>
              </p:nvPr>
            </p:nvSpPr>
            <p:spPr bwMode="gray">
              <a:xfrm>
                <a:off x="4495" y="1205"/>
                <a:ext cx="160" cy="160"/>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grpSp>
        <p:sp>
          <p:nvSpPr>
            <p:cNvPr id="85" name="Legend1"/>
            <p:cNvSpPr>
              <a:spLocks noChangeArrowheads="1"/>
            </p:cNvSpPr>
            <p:nvPr>
              <p:custDataLst>
                <p:tags r:id="rId14"/>
              </p:custDataLst>
            </p:nvPr>
          </p:nvSpPr>
          <p:spPr bwMode="gray">
            <a:xfrm>
              <a:off x="6214680" y="2696542"/>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sp>
          <p:nvSpPr>
            <p:cNvPr id="86" name="Legend2"/>
            <p:cNvSpPr>
              <a:spLocks noChangeArrowheads="1"/>
            </p:cNvSpPr>
            <p:nvPr>
              <p:custDataLst>
                <p:tags r:id="rId15"/>
              </p:custDataLst>
            </p:nvPr>
          </p:nvSpPr>
          <p:spPr bwMode="gray">
            <a:xfrm>
              <a:off x="6214680" y="2974156"/>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a:latin typeface="+mn-lt"/>
                  <a:ea typeface="+mn-ea"/>
                </a:rPr>
                <a:t>Legend</a:t>
              </a:r>
              <a:endParaRPr lang="en-US" sz="1400" baseline="0" dirty="0">
                <a:latin typeface="+mn-lt"/>
                <a:ea typeface="+mn-ea"/>
              </a:endParaRPr>
            </a:p>
          </p:txBody>
        </p:sp>
        <p:sp>
          <p:nvSpPr>
            <p:cNvPr id="87" name="Legend3"/>
            <p:cNvSpPr>
              <a:spLocks noChangeArrowheads="1"/>
            </p:cNvSpPr>
            <p:nvPr>
              <p:custDataLst>
                <p:tags r:id="rId16"/>
              </p:custDataLst>
            </p:nvPr>
          </p:nvSpPr>
          <p:spPr bwMode="gray">
            <a:xfrm>
              <a:off x="6214680" y="3248596"/>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sp>
          <p:nvSpPr>
            <p:cNvPr id="88" name="Legend4"/>
            <p:cNvSpPr>
              <a:spLocks noChangeArrowheads="1"/>
            </p:cNvSpPr>
            <p:nvPr>
              <p:custDataLst>
                <p:tags r:id="rId17"/>
              </p:custDataLst>
            </p:nvPr>
          </p:nvSpPr>
          <p:spPr bwMode="gray">
            <a:xfrm>
              <a:off x="6214680" y="3521448"/>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sp>
          <p:nvSpPr>
            <p:cNvPr id="89" name="Legend5"/>
            <p:cNvSpPr>
              <a:spLocks noChangeArrowheads="1"/>
            </p:cNvSpPr>
            <p:nvPr>
              <p:custDataLst>
                <p:tags r:id="rId18"/>
              </p:custDataLst>
            </p:nvPr>
          </p:nvSpPr>
          <p:spPr bwMode="gray">
            <a:xfrm>
              <a:off x="6214680" y="3796682"/>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a:latin typeface="+mn-lt"/>
                  <a:ea typeface="+mn-ea"/>
                </a:rPr>
                <a:t>Legend</a:t>
              </a:r>
              <a:endParaRPr lang="en-US" sz="1400" baseline="0" dirty="0">
                <a:latin typeface="+mn-lt"/>
                <a:ea typeface="+mn-ea"/>
              </a:endParaRPr>
            </a:p>
          </p:txBody>
        </p:sp>
      </p:grpSp>
    </p:spTree>
    <p:extLst>
      <p:ext uri="{BB962C8B-B14F-4D97-AF65-F5344CB8AC3E}">
        <p14:creationId xmlns:p14="http://schemas.microsoft.com/office/powerpoint/2010/main" val="880921887"/>
      </p:ext>
    </p:extLst>
  </p:cSld>
  <p:clrMap bg1="lt1" tx1="dk1" bg2="lt2" tx2="dk2" accent1="accent1" accent2="accent2" accent3="accent3" accent4="accent4" accent5="accent5" accent6="accent6" hlink="hlink" folHlink="folHlink"/>
  <p:sldLayoutIdLst>
    <p:sldLayoutId id="2147483731" r:id="rId1"/>
    <p:sldLayoutId id="2147483732" r:id="rId2"/>
    <p:sldLayoutId id="2147483733" r:id="rId3"/>
    <p:sldLayoutId id="2147483734" r:id="rId4"/>
  </p:sldLayoutIdLst>
  <p:txStyles>
    <p:titleStyle>
      <a:lvl1pPr algn="l" defTabSz="895350" rtl="0" eaLnBrk="1" fontAlgn="base" hangingPunct="1">
        <a:spcBef>
          <a:spcPct val="0"/>
        </a:spcBef>
        <a:spcAft>
          <a:spcPct val="0"/>
        </a:spcAft>
        <a:tabLst>
          <a:tab pos="269875" algn="l"/>
        </a:tabLst>
        <a:defRPr sz="2000" b="0" baseline="0">
          <a:solidFill>
            <a:schemeClr val="tx2"/>
          </a:solidFill>
          <a:latin typeface="+mj-lt"/>
          <a:ea typeface="+mj-ea"/>
          <a:cs typeface="+mj-cs"/>
        </a:defRPr>
      </a:lvl1pPr>
      <a:lvl2pPr algn="l" defTabSz="895350" rtl="0" eaLnBrk="1" fontAlgn="base" hangingPunct="1">
        <a:spcBef>
          <a:spcPct val="0"/>
        </a:spcBef>
        <a:spcAft>
          <a:spcPct val="0"/>
        </a:spcAft>
        <a:defRPr sz="1900" b="1">
          <a:solidFill>
            <a:schemeClr val="tx2"/>
          </a:solidFill>
          <a:latin typeface="Arial" charset="0"/>
        </a:defRPr>
      </a:lvl2pPr>
      <a:lvl3pPr algn="l" defTabSz="895350" rtl="0" eaLnBrk="1" fontAlgn="base" hangingPunct="1">
        <a:spcBef>
          <a:spcPct val="0"/>
        </a:spcBef>
        <a:spcAft>
          <a:spcPct val="0"/>
        </a:spcAft>
        <a:defRPr sz="1900" b="1">
          <a:solidFill>
            <a:schemeClr val="tx2"/>
          </a:solidFill>
          <a:latin typeface="Arial" charset="0"/>
        </a:defRPr>
      </a:lvl3pPr>
      <a:lvl4pPr algn="l" defTabSz="895350" rtl="0" eaLnBrk="1" fontAlgn="base" hangingPunct="1">
        <a:spcBef>
          <a:spcPct val="0"/>
        </a:spcBef>
        <a:spcAft>
          <a:spcPct val="0"/>
        </a:spcAft>
        <a:defRPr sz="1900" b="1">
          <a:solidFill>
            <a:schemeClr val="tx2"/>
          </a:solidFill>
          <a:latin typeface="Arial" charset="0"/>
        </a:defRPr>
      </a:lvl4pPr>
      <a:lvl5pPr algn="l" defTabSz="895350" rtl="0" eaLnBrk="1" fontAlgn="base" hangingPunct="1">
        <a:spcBef>
          <a:spcPct val="0"/>
        </a:spcBef>
        <a:spcAft>
          <a:spcPct val="0"/>
        </a:spcAft>
        <a:defRPr sz="1900" b="1">
          <a:solidFill>
            <a:schemeClr val="tx2"/>
          </a:solidFill>
          <a:latin typeface="Arial" charset="0"/>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p:titleStyle>
    <p:bodyStyle>
      <a:lvl1pPr marL="0" indent="0" algn="l" defTabSz="895350" rtl="0" eaLnBrk="1" fontAlgn="base" hangingPunct="1">
        <a:spcBef>
          <a:spcPct val="0"/>
        </a:spcBef>
        <a:spcAft>
          <a:spcPct val="0"/>
        </a:spcAft>
        <a:buClr>
          <a:schemeClr val="tx2"/>
        </a:buClr>
        <a:buSzPct val="100000"/>
        <a:defRPr sz="14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4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4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4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4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ext>
  </p:extLst>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7"/>
            </p:custDataLst>
            <p:extLst>
              <p:ext uri="{D42A27DB-BD31-4B8C-83A1-F6EECF244321}">
                <p14:modId xmlns:p14="http://schemas.microsoft.com/office/powerpoint/2010/main" val="1025262051"/>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7604" name="think-cell Slide" r:id="rId36" imgW="270" imgH="270" progId="TCLayout.ActiveDocument.1">
                  <p:embed/>
                </p:oleObj>
              </mc:Choice>
              <mc:Fallback>
                <p:oleObj name="think-cell Slide" r:id="rId36" imgW="270" imgH="270" progId="TCLayout.ActiveDocument.1">
                  <p:embed/>
                  <p:pic>
                    <p:nvPicPr>
                      <p:cNvPr id="2" name="Object 1" hidden="1"/>
                      <p:cNvPicPr/>
                      <p:nvPr/>
                    </p:nvPicPr>
                    <p:blipFill>
                      <a:blip r:embed="rId37"/>
                      <a:stretch>
                        <a:fillRect/>
                      </a:stretch>
                    </p:blipFill>
                    <p:spPr>
                      <a:xfrm>
                        <a:off x="0" y="0"/>
                        <a:ext cx="158750" cy="158750"/>
                      </a:xfrm>
                      <a:prstGeom prst="rect">
                        <a:avLst/>
                      </a:prstGeom>
                    </p:spPr>
                  </p:pic>
                </p:oleObj>
              </mc:Fallback>
            </mc:AlternateContent>
          </a:graphicData>
        </a:graphic>
      </p:graphicFrame>
      <p:sp>
        <p:nvSpPr>
          <p:cNvPr id="6" name="Rectangle 5" hidden="1"/>
          <p:cNvSpPr/>
          <p:nvPr>
            <p:custDataLst>
              <p:tags r:id="rId8"/>
            </p:custDataLst>
          </p:nvPr>
        </p:nvSpPr>
        <p:spPr bwMode="auto">
          <a:xfrm>
            <a:off x="0" y="0"/>
            <a:ext cx="158750" cy="158750"/>
          </a:xfrm>
          <a:prstGeom prst="rect">
            <a:avLst/>
          </a:prstGeom>
          <a:solidFill>
            <a:schemeClr val="bg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dirty="0">
              <a:solidFill>
                <a:srgbClr val="000000"/>
              </a:solidFill>
              <a:sym typeface="Arial" panose="020B0604020202020204" pitchFamily="34" charset="0"/>
            </a:endParaRPr>
          </a:p>
        </p:txBody>
      </p:sp>
      <p:sp>
        <p:nvSpPr>
          <p:cNvPr id="1034" name="Working Draft" hidden="1"/>
          <p:cNvSpPr txBox="1">
            <a:spLocks noChangeArrowheads="1"/>
          </p:cNvSpPr>
          <p:nvPr/>
        </p:nvSpPr>
        <p:spPr bwMode="gray">
          <a:xfrm rot="5400000">
            <a:off x="7966656" y="1940591"/>
            <a:ext cx="1849865"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600" baseline="0">
                <a:solidFill>
                  <a:srgbClr val="808080"/>
                </a:solidFill>
                <a:latin typeface="+mn-lt"/>
                <a:ea typeface="+mn-ea"/>
              </a:rPr>
              <a:t>Last Modified 21/05/2018 17:44 India Standard Time</a:t>
            </a:r>
            <a:endParaRPr lang="en-US" baseline="0" dirty="0">
              <a:solidFill>
                <a:srgbClr val="808080"/>
              </a:solidFill>
              <a:latin typeface="+mn-lt"/>
              <a:ea typeface="+mn-ea"/>
            </a:endParaRPr>
          </a:p>
        </p:txBody>
      </p:sp>
      <p:sp>
        <p:nvSpPr>
          <p:cNvPr id="1035" name="Printed" hidden="1"/>
          <p:cNvSpPr txBox="1">
            <a:spLocks noChangeArrowheads="1"/>
          </p:cNvSpPr>
          <p:nvPr/>
        </p:nvSpPr>
        <p:spPr bwMode="gray">
          <a:xfrm rot="5400000">
            <a:off x="8768958" y="4114417"/>
            <a:ext cx="245260"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600" baseline="0" dirty="0">
                <a:solidFill>
                  <a:srgbClr val="808080"/>
                </a:solidFill>
                <a:latin typeface="+mn-lt"/>
                <a:ea typeface="+mn-ea"/>
              </a:rPr>
              <a:t>Printed</a:t>
            </a:r>
            <a:endParaRPr lang="en-US" baseline="0" dirty="0">
              <a:solidFill>
                <a:srgbClr val="808080"/>
              </a:solidFill>
              <a:latin typeface="+mn-lt"/>
              <a:ea typeface="+mn-ea"/>
            </a:endParaRPr>
          </a:p>
        </p:txBody>
      </p:sp>
      <p:sp>
        <p:nvSpPr>
          <p:cNvPr id="19" name="Title Placeholder 2"/>
          <p:cNvSpPr>
            <a:spLocks noGrp="1" noChangeArrowheads="1"/>
          </p:cNvSpPr>
          <p:nvPr>
            <p:ph type="title"/>
          </p:nvPr>
        </p:nvSpPr>
        <p:spPr bwMode="gray">
          <a:xfrm>
            <a:off x="119063" y="230188"/>
            <a:ext cx="8618537"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latinLnBrk="0"/>
            <a:r>
              <a:rPr lang="en-US"/>
              <a:t>Click to edit Master title style</a:t>
            </a:r>
            <a:endParaRPr lang="en-US" noProof="0" dirty="0"/>
          </a:p>
        </p:txBody>
      </p:sp>
      <p:sp>
        <p:nvSpPr>
          <p:cNvPr id="10" name="1. On-page tracker" hidden="1"/>
          <p:cNvSpPr>
            <a:spLocks noChangeArrowheads="1"/>
          </p:cNvSpPr>
          <p:nvPr/>
        </p:nvSpPr>
        <p:spPr bwMode="gray">
          <a:xfrm>
            <a:off x="119063" y="75764"/>
            <a:ext cx="490519"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800" cap="all" baseline="0" dirty="0">
                <a:solidFill>
                  <a:schemeClr val="accent6"/>
                </a:solidFill>
                <a:latin typeface="+mn-lt"/>
                <a:ea typeface="+mn-ea"/>
              </a:rPr>
              <a:t>Tracker</a:t>
            </a:r>
          </a:p>
        </p:txBody>
      </p:sp>
      <p:sp>
        <p:nvSpPr>
          <p:cNvPr id="11" name="3. Unit of measure" hidden="1"/>
          <p:cNvSpPr txBox="1">
            <a:spLocks noChangeArrowheads="1"/>
          </p:cNvSpPr>
          <p:nvPr/>
        </p:nvSpPr>
        <p:spPr bwMode="gray">
          <a:xfrm>
            <a:off x="119063" y="554865"/>
            <a:ext cx="8618537"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600" baseline="0" dirty="0">
                <a:solidFill>
                  <a:schemeClr val="accent6"/>
                </a:solidFill>
                <a:latin typeface="+mn-lt"/>
                <a:ea typeface="+mn-ea"/>
              </a:rPr>
              <a:t>Unit of measure</a:t>
            </a:r>
          </a:p>
        </p:txBody>
      </p:sp>
      <p:grpSp>
        <p:nvGrpSpPr>
          <p:cNvPr id="4" name="Slide Elements" hidden="1"/>
          <p:cNvGrpSpPr/>
          <p:nvPr/>
        </p:nvGrpSpPr>
        <p:grpSpPr bwMode="gray">
          <a:xfrm>
            <a:off x="119063" y="6305945"/>
            <a:ext cx="8618537" cy="325438"/>
            <a:chOff x="119063" y="6305945"/>
            <a:chExt cx="8618537" cy="325438"/>
          </a:xfrm>
        </p:grpSpPr>
        <p:sp>
          <p:nvSpPr>
            <p:cNvPr id="13" name="4. Footnote"/>
            <p:cNvSpPr txBox="1">
              <a:spLocks noChangeArrowheads="1"/>
            </p:cNvSpPr>
            <p:nvPr/>
          </p:nvSpPr>
          <p:spPr bwMode="gray">
            <a:xfrm>
              <a:off x="119063" y="6305945"/>
              <a:ext cx="8618537" cy="123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800" baseline="0" dirty="0">
                  <a:solidFill>
                    <a:schemeClr val="accent6"/>
                  </a:solidFill>
                  <a:latin typeface="+mn-lt"/>
                  <a:ea typeface="+mn-ea"/>
                </a:rPr>
                <a:t>1 Footnote</a:t>
              </a:r>
            </a:p>
          </p:txBody>
        </p:sp>
        <p:sp>
          <p:nvSpPr>
            <p:cNvPr id="14" name="5. Source"/>
            <p:cNvSpPr>
              <a:spLocks noChangeArrowheads="1"/>
            </p:cNvSpPr>
            <p:nvPr/>
          </p:nvSpPr>
          <p:spPr bwMode="gray">
            <a:xfrm>
              <a:off x="119063" y="6507558"/>
              <a:ext cx="7200000" cy="123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marL="609600" indent="-609600" defTabSz="895350">
                <a:tabLst>
                  <a:tab pos="612775" algn="l"/>
                </a:tabLst>
              </a:pPr>
              <a:r>
                <a:rPr lang="en-US" sz="800" baseline="0" dirty="0">
                  <a:solidFill>
                    <a:schemeClr val="accent6"/>
                  </a:solidFill>
                  <a:latin typeface="+mn-lt"/>
                  <a:ea typeface="+mn-ea"/>
                </a:rPr>
                <a:t>SOURCE: Source</a:t>
              </a:r>
            </a:p>
          </p:txBody>
        </p:sp>
      </p:grpSp>
      <p:sp>
        <p:nvSpPr>
          <p:cNvPr id="3" name="Text Placeholder 2"/>
          <p:cNvSpPr>
            <a:spLocks noGrp="1"/>
          </p:cNvSpPr>
          <p:nvPr>
            <p:ph type="body" idx="1"/>
          </p:nvPr>
        </p:nvSpPr>
        <p:spPr bwMode="gray">
          <a:xfrm>
            <a:off x="1452564" y="1951380"/>
            <a:ext cx="4302125" cy="1077218"/>
          </a:xfrm>
          <a:prstGeom prst="rect">
            <a:avLst/>
          </a:prstGeom>
        </p:spPr>
        <p:txBody>
          <a:bodyPr vert="horz" lIns="0" tIns="0" rIns="0" bIns="0" rtlCol="0">
            <a:spAutoFit/>
          </a:bodyPr>
          <a:lstStyle/>
          <a:p>
            <a:pPr lvl="0" latinLnBrk="0"/>
            <a:r>
              <a:rPr lang="en-US"/>
              <a:t>Edit Master text styles</a:t>
            </a:r>
          </a:p>
          <a:p>
            <a:pPr lvl="1" latinLnBrk="0"/>
            <a:r>
              <a:rPr lang="en-US"/>
              <a:t>Second level</a:t>
            </a:r>
          </a:p>
          <a:p>
            <a:pPr lvl="2" latinLnBrk="0"/>
            <a:r>
              <a:rPr lang="en-US"/>
              <a:t>Third level</a:t>
            </a:r>
          </a:p>
          <a:p>
            <a:pPr lvl="3" latinLnBrk="0"/>
            <a:r>
              <a:rPr lang="en-US"/>
              <a:t>Fourth level</a:t>
            </a:r>
          </a:p>
          <a:p>
            <a:pPr lvl="4" latinLnBrk="0"/>
            <a:r>
              <a:rPr lang="en-US"/>
              <a:t>Fifth level</a:t>
            </a:r>
            <a:endParaRPr lang="en-US" dirty="0"/>
          </a:p>
        </p:txBody>
      </p:sp>
      <p:grpSp>
        <p:nvGrpSpPr>
          <p:cNvPr id="15" name="ACET" hidden="1"/>
          <p:cNvGrpSpPr>
            <a:grpSpLocks/>
          </p:cNvGrpSpPr>
          <p:nvPr/>
        </p:nvGrpSpPr>
        <p:grpSpPr bwMode="gray">
          <a:xfrm>
            <a:off x="1452563" y="1257754"/>
            <a:ext cx="4264025" cy="508000"/>
            <a:chOff x="915" y="710"/>
            <a:chExt cx="2686" cy="320"/>
          </a:xfrm>
        </p:grpSpPr>
        <p:cxnSp>
          <p:nvCxnSpPr>
            <p:cNvPr id="16" name="AutoShape 249"/>
            <p:cNvCxnSpPr>
              <a:cxnSpLocks noChangeShapeType="1"/>
              <a:stCxn id="18" idx="4"/>
              <a:endCxn id="18" idx="6"/>
            </p:cNvCxnSpPr>
            <p:nvPr/>
          </p:nvCxnSpPr>
          <p:spPr bwMode="gray">
            <a:xfrm>
              <a:off x="915" y="1030"/>
              <a:ext cx="2686" cy="0"/>
            </a:xfrm>
            <a:prstGeom prst="straightConnector1">
              <a:avLst/>
            </a:prstGeom>
            <a:noFill/>
            <a:ln w="9525">
              <a:solidFill>
                <a:schemeClr val="accent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8" name="AutoShape 250"/>
            <p:cNvSpPr>
              <a:spLocks noChangeArrowheads="1"/>
            </p:cNvSpPr>
            <p:nvPr/>
          </p:nvSpPr>
          <p:spPr bwMode="gray">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US" b="1" baseline="0" dirty="0">
                  <a:solidFill>
                    <a:srgbClr val="000000"/>
                  </a:solidFill>
                  <a:latin typeface="+mn-lt"/>
                  <a:ea typeface="+mn-ea"/>
                </a:rPr>
                <a:t>Title</a:t>
              </a:r>
            </a:p>
            <a:p>
              <a:r>
                <a:rPr lang="en-US" baseline="0" dirty="0">
                  <a:solidFill>
                    <a:schemeClr val="accent6"/>
                  </a:solidFill>
                  <a:latin typeface="+mn-lt"/>
                  <a:ea typeface="+mn-ea"/>
                </a:rPr>
                <a:t>Unit of measure</a:t>
              </a:r>
            </a:p>
          </p:txBody>
        </p:sp>
      </p:grpSp>
      <p:grpSp>
        <p:nvGrpSpPr>
          <p:cNvPr id="17" name="McKSticker" hidden="1"/>
          <p:cNvGrpSpPr/>
          <p:nvPr/>
        </p:nvGrpSpPr>
        <p:grpSpPr bwMode="gray">
          <a:xfrm>
            <a:off x="8264265" y="285750"/>
            <a:ext cx="473335" cy="150811"/>
            <a:chOff x="8267440" y="285750"/>
            <a:chExt cx="473335" cy="150811"/>
          </a:xfrm>
        </p:grpSpPr>
        <p:sp>
          <p:nvSpPr>
            <p:cNvPr id="20" name="StickerRectangle"/>
            <p:cNvSpPr>
              <a:spLocks noChangeArrowheads="1"/>
            </p:cNvSpPr>
            <p:nvPr/>
          </p:nvSpPr>
          <p:spPr bwMode="gray">
            <a:xfrm>
              <a:off x="8267440" y="285750"/>
              <a:ext cx="473335" cy="150811"/>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a:buClr>
                  <a:srgbClr val="002960"/>
                </a:buClr>
              </a:pPr>
              <a:r>
                <a:rPr lang="en-US" sz="800" baseline="0" dirty="0">
                  <a:solidFill>
                    <a:schemeClr val="accent6"/>
                  </a:solidFill>
                  <a:latin typeface="+mn-lt"/>
                  <a:ea typeface="+mn-ea"/>
                </a:rPr>
                <a:t>STICKER</a:t>
              </a:r>
            </a:p>
          </p:txBody>
        </p:sp>
        <p:cxnSp>
          <p:nvCxnSpPr>
            <p:cNvPr id="21" name="AutoShape 31"/>
            <p:cNvCxnSpPr>
              <a:cxnSpLocks noChangeShapeType="1"/>
              <a:stCxn id="20" idx="2"/>
              <a:endCxn id="20" idx="4"/>
            </p:cNvCxnSpPr>
            <p:nvPr/>
          </p:nvCxnSpPr>
          <p:spPr bwMode="gray">
            <a:xfrm>
              <a:off x="8267440" y="285750"/>
              <a:ext cx="0" cy="150811"/>
            </a:xfrm>
            <a:prstGeom prst="straightConnector1">
              <a:avLst/>
            </a:prstGeom>
            <a:noFill/>
            <a:ln w="9525">
              <a:solidFill>
                <a:schemeClr val="accent6"/>
              </a:solidFill>
              <a:round/>
              <a:headEnd/>
              <a:tailEnd/>
            </a:ln>
            <a:extLst>
              <a:ext uri="{909E8E84-426E-40DD-AFC4-6F175D3DCCD1}">
                <a14:hiddenFill xmlns:a14="http://schemas.microsoft.com/office/drawing/2010/main">
                  <a:noFill/>
                </a14:hiddenFill>
              </a:ext>
            </a:extLst>
          </p:spPr>
        </p:cxnSp>
        <p:cxnSp>
          <p:nvCxnSpPr>
            <p:cNvPr id="22" name="AutoShape 32"/>
            <p:cNvCxnSpPr>
              <a:cxnSpLocks noChangeShapeType="1"/>
              <a:stCxn id="20" idx="4"/>
              <a:endCxn id="20" idx="6"/>
            </p:cNvCxnSpPr>
            <p:nvPr/>
          </p:nvCxnSpPr>
          <p:spPr bwMode="gray">
            <a:xfrm>
              <a:off x="8267440" y="436561"/>
              <a:ext cx="473335" cy="0"/>
            </a:xfrm>
            <a:prstGeom prst="straightConnector1">
              <a:avLst/>
            </a:prstGeom>
            <a:noFill/>
            <a:ln w="25400">
              <a:solidFill>
                <a:schemeClr val="accent6"/>
              </a:solidFill>
              <a:round/>
              <a:headEnd/>
              <a:tailEnd/>
            </a:ln>
            <a:extLst>
              <a:ext uri="{909E8E84-426E-40DD-AFC4-6F175D3DCCD1}">
                <a14:hiddenFill xmlns:a14="http://schemas.microsoft.com/office/drawing/2010/main">
                  <a:noFill/>
                </a14:hiddenFill>
              </a:ext>
            </a:extLst>
          </p:spPr>
        </p:cxnSp>
      </p:grpSp>
      <p:sp>
        <p:nvSpPr>
          <p:cNvPr id="23" name="SlideBottomBar" hidden="1"/>
          <p:cNvSpPr/>
          <p:nvPr/>
        </p:nvSpPr>
        <p:spPr>
          <a:xfrm>
            <a:off x="8437547" y="6182120"/>
            <a:ext cx="45719" cy="123825"/>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aseline="0" dirty="0">
              <a:solidFill>
                <a:schemeClr val="tx1"/>
              </a:solidFill>
              <a:latin typeface="+mn-lt"/>
              <a:ea typeface="+mn-ea"/>
            </a:endParaRPr>
          </a:p>
        </p:txBody>
      </p:sp>
      <p:sp>
        <p:nvSpPr>
          <p:cNvPr id="24" name="doc id" hidden="1"/>
          <p:cNvSpPr txBox="1">
            <a:spLocks noChangeArrowheads="1"/>
          </p:cNvSpPr>
          <p:nvPr/>
        </p:nvSpPr>
        <p:spPr bwMode="white">
          <a:xfrm>
            <a:off x="8104473" y="36513"/>
            <a:ext cx="634716" cy="115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hangingPunct="1">
              <a:defRPr/>
            </a:pPr>
            <a:endParaRPr lang="en-US" sz="800" baseline="0" dirty="0">
              <a:solidFill>
                <a:schemeClr val="accent1"/>
              </a:solidFill>
              <a:latin typeface="+mn-lt"/>
              <a:ea typeface="+mn-ea"/>
            </a:endParaRPr>
          </a:p>
        </p:txBody>
      </p:sp>
      <p:grpSp>
        <p:nvGrpSpPr>
          <p:cNvPr id="63" name="LegendLines" hidden="1"/>
          <p:cNvGrpSpPr/>
          <p:nvPr/>
        </p:nvGrpSpPr>
        <p:grpSpPr>
          <a:xfrm>
            <a:off x="7551589" y="267815"/>
            <a:ext cx="1158292" cy="761545"/>
            <a:chOff x="7607284" y="279400"/>
            <a:chExt cx="1158292" cy="761545"/>
          </a:xfrm>
        </p:grpSpPr>
        <p:sp>
          <p:nvSpPr>
            <p:cNvPr id="64" name="LineLegend1"/>
            <p:cNvSpPr>
              <a:spLocks noChangeShapeType="1"/>
            </p:cNvSpPr>
            <p:nvPr/>
          </p:nvSpPr>
          <p:spPr bwMode="gray">
            <a:xfrm>
              <a:off x="7607284" y="387122"/>
              <a:ext cx="457200"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65" name="LineLegend2"/>
            <p:cNvSpPr>
              <a:spLocks noChangeShapeType="1"/>
            </p:cNvSpPr>
            <p:nvPr/>
          </p:nvSpPr>
          <p:spPr bwMode="gray">
            <a:xfrm>
              <a:off x="7607284" y="653822"/>
              <a:ext cx="457200"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66" name="LineLegend3"/>
            <p:cNvSpPr>
              <a:spLocks noChangeShapeType="1"/>
            </p:cNvSpPr>
            <p:nvPr/>
          </p:nvSpPr>
          <p:spPr bwMode="gray">
            <a:xfrm>
              <a:off x="7607284" y="933223"/>
              <a:ext cx="457200"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67" name="Legend1"/>
            <p:cNvSpPr>
              <a:spLocks noChangeArrowheads="1"/>
            </p:cNvSpPr>
            <p:nvPr>
              <p:custDataLst>
                <p:tags r:id="rId33"/>
              </p:custDataLst>
            </p:nvPr>
          </p:nvSpPr>
          <p:spPr bwMode="gray">
            <a:xfrm>
              <a:off x="8169259" y="279400"/>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sp>
          <p:nvSpPr>
            <p:cNvPr id="68" name="Legend2"/>
            <p:cNvSpPr>
              <a:spLocks noChangeArrowheads="1"/>
            </p:cNvSpPr>
            <p:nvPr>
              <p:custDataLst>
                <p:tags r:id="rId34"/>
              </p:custDataLst>
            </p:nvPr>
          </p:nvSpPr>
          <p:spPr bwMode="gray">
            <a:xfrm>
              <a:off x="8169259" y="546100"/>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a:latin typeface="+mn-lt"/>
                  <a:ea typeface="+mn-ea"/>
                </a:rPr>
                <a:t>Legend</a:t>
              </a:r>
              <a:endParaRPr lang="en-US" sz="1400" baseline="0" dirty="0">
                <a:latin typeface="+mn-lt"/>
                <a:ea typeface="+mn-ea"/>
              </a:endParaRPr>
            </a:p>
          </p:txBody>
        </p:sp>
        <p:sp>
          <p:nvSpPr>
            <p:cNvPr id="69" name="Legend3"/>
            <p:cNvSpPr>
              <a:spLocks noChangeArrowheads="1"/>
            </p:cNvSpPr>
            <p:nvPr>
              <p:custDataLst>
                <p:tags r:id="rId35"/>
              </p:custDataLst>
            </p:nvPr>
          </p:nvSpPr>
          <p:spPr bwMode="gray">
            <a:xfrm>
              <a:off x="8169259" y="825501"/>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grpSp>
      <p:grpSp>
        <p:nvGrpSpPr>
          <p:cNvPr id="70" name="LegendBoxes" hidden="1"/>
          <p:cNvGrpSpPr/>
          <p:nvPr/>
        </p:nvGrpSpPr>
        <p:grpSpPr>
          <a:xfrm>
            <a:off x="7859564" y="267919"/>
            <a:ext cx="850317" cy="1028245"/>
            <a:chOff x="5894005" y="919828"/>
            <a:chExt cx="850317" cy="1028245"/>
          </a:xfrm>
        </p:grpSpPr>
        <p:sp>
          <p:nvSpPr>
            <p:cNvPr id="71" name="RectangleLegend1"/>
            <p:cNvSpPr>
              <a:spLocks noChangeArrowheads="1"/>
            </p:cNvSpPr>
            <p:nvPr/>
          </p:nvSpPr>
          <p:spPr bwMode="gray">
            <a:xfrm>
              <a:off x="5894005" y="947381"/>
              <a:ext cx="165100" cy="160338"/>
            </a:xfrm>
            <a:prstGeom prst="rect">
              <a:avLst/>
            </a:prstGeom>
            <a:solidFill>
              <a:schemeClr val="accent1"/>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72" name="RectangleLegend2"/>
            <p:cNvSpPr>
              <a:spLocks noChangeArrowheads="1"/>
            </p:cNvSpPr>
            <p:nvPr/>
          </p:nvSpPr>
          <p:spPr bwMode="gray">
            <a:xfrm>
              <a:off x="5894005" y="1217256"/>
              <a:ext cx="165100" cy="160338"/>
            </a:xfrm>
            <a:prstGeom prst="rect">
              <a:avLst/>
            </a:prstGeom>
            <a:solidFill>
              <a:schemeClr val="accent2"/>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73" name="RectangleLegend3"/>
            <p:cNvSpPr>
              <a:spLocks noChangeArrowheads="1"/>
            </p:cNvSpPr>
            <p:nvPr/>
          </p:nvSpPr>
          <p:spPr bwMode="gray">
            <a:xfrm>
              <a:off x="5894005" y="1488719"/>
              <a:ext cx="165100" cy="160338"/>
            </a:xfrm>
            <a:prstGeom prst="rect">
              <a:avLst/>
            </a:prstGeom>
            <a:solidFill>
              <a:schemeClr val="accent3"/>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74" name="RectangleLegend4"/>
            <p:cNvSpPr>
              <a:spLocks noChangeArrowheads="1"/>
            </p:cNvSpPr>
            <p:nvPr/>
          </p:nvSpPr>
          <p:spPr bwMode="gray">
            <a:xfrm>
              <a:off x="5894005" y="1760182"/>
              <a:ext cx="165100" cy="160338"/>
            </a:xfrm>
            <a:prstGeom prst="rect">
              <a:avLst/>
            </a:prstGeom>
            <a:solidFill>
              <a:schemeClr val="accent4"/>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75" name="Legend1"/>
            <p:cNvSpPr>
              <a:spLocks noChangeArrowheads="1"/>
            </p:cNvSpPr>
            <p:nvPr>
              <p:custDataLst>
                <p:tags r:id="rId29"/>
              </p:custDataLst>
            </p:nvPr>
          </p:nvSpPr>
          <p:spPr bwMode="gray">
            <a:xfrm>
              <a:off x="6148005" y="919828"/>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sp>
          <p:nvSpPr>
            <p:cNvPr id="76" name="Legend2"/>
            <p:cNvSpPr>
              <a:spLocks noChangeArrowheads="1"/>
            </p:cNvSpPr>
            <p:nvPr>
              <p:custDataLst>
                <p:tags r:id="rId30"/>
              </p:custDataLst>
            </p:nvPr>
          </p:nvSpPr>
          <p:spPr bwMode="gray">
            <a:xfrm>
              <a:off x="6148005" y="1189703"/>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sp>
          <p:nvSpPr>
            <p:cNvPr id="77" name="Legend3"/>
            <p:cNvSpPr>
              <a:spLocks noChangeArrowheads="1"/>
            </p:cNvSpPr>
            <p:nvPr>
              <p:custDataLst>
                <p:tags r:id="rId31"/>
              </p:custDataLst>
            </p:nvPr>
          </p:nvSpPr>
          <p:spPr bwMode="gray">
            <a:xfrm>
              <a:off x="6148005" y="1461166"/>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sp>
          <p:nvSpPr>
            <p:cNvPr id="78" name="Legend4"/>
            <p:cNvSpPr>
              <a:spLocks noChangeArrowheads="1"/>
            </p:cNvSpPr>
            <p:nvPr>
              <p:custDataLst>
                <p:tags r:id="rId32"/>
              </p:custDataLst>
            </p:nvPr>
          </p:nvSpPr>
          <p:spPr bwMode="gray">
            <a:xfrm>
              <a:off x="6148005" y="1732629"/>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grpSp>
      <p:grpSp>
        <p:nvGrpSpPr>
          <p:cNvPr id="79" name="LegendMoons" hidden="1"/>
          <p:cNvGrpSpPr/>
          <p:nvPr/>
        </p:nvGrpSpPr>
        <p:grpSpPr>
          <a:xfrm>
            <a:off x="7792889" y="267414"/>
            <a:ext cx="916992" cy="1317003"/>
            <a:chOff x="5894005" y="2695123"/>
            <a:chExt cx="916992" cy="1317003"/>
          </a:xfrm>
        </p:grpSpPr>
        <p:grpSp>
          <p:nvGrpSpPr>
            <p:cNvPr id="80" name="MoonLegend1"/>
            <p:cNvGrpSpPr>
              <a:grpSpLocks noChangeAspect="1"/>
            </p:cNvGrpSpPr>
            <p:nvPr>
              <p:custDataLst>
                <p:tags r:id="rId9"/>
              </p:custDataLst>
            </p:nvPr>
          </p:nvGrpSpPr>
          <p:grpSpPr bwMode="gray">
            <a:xfrm>
              <a:off x="5894005" y="2695123"/>
              <a:ext cx="209550" cy="218282"/>
              <a:chOff x="4533" y="183"/>
              <a:chExt cx="144" cy="150"/>
            </a:xfrm>
          </p:grpSpPr>
          <p:sp>
            <p:nvSpPr>
              <p:cNvPr id="98" name="Oval 97"/>
              <p:cNvSpPr>
                <a:spLocks noChangeAspect="1" noChangeArrowheads="1"/>
              </p:cNvSpPr>
              <p:nvPr>
                <p:custDataLst>
                  <p:tags r:id="rId27"/>
                </p:custDataLst>
              </p:nvPr>
            </p:nvSpPr>
            <p:spPr bwMode="gray">
              <a:xfrm>
                <a:off x="4533" y="189"/>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99" name="Arc 98" hidden="1"/>
              <p:cNvSpPr>
                <a:spLocks noChangeAspect="1"/>
              </p:cNvSpPr>
              <p:nvPr>
                <p:custDataLst>
                  <p:tags r:id="rId28"/>
                </p:custDataLst>
              </p:nvPr>
            </p:nvSpPr>
            <p:spPr bwMode="gray">
              <a:xfrm>
                <a:off x="4533" y="183"/>
                <a:ext cx="144" cy="144"/>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grpSp>
        <p:grpSp>
          <p:nvGrpSpPr>
            <p:cNvPr id="81" name="MoonLegend2"/>
            <p:cNvGrpSpPr>
              <a:grpSpLocks noChangeAspect="1"/>
            </p:cNvGrpSpPr>
            <p:nvPr>
              <p:custDataLst>
                <p:tags r:id="rId10"/>
              </p:custDataLst>
            </p:nvPr>
          </p:nvGrpSpPr>
          <p:grpSpPr bwMode="gray">
            <a:xfrm>
              <a:off x="5894005" y="2977103"/>
              <a:ext cx="209550" cy="209551"/>
              <a:chOff x="1694" y="2051"/>
              <a:chExt cx="160" cy="160"/>
            </a:xfrm>
          </p:grpSpPr>
          <p:sp>
            <p:nvSpPr>
              <p:cNvPr id="96" name="Oval 41"/>
              <p:cNvSpPr>
                <a:spLocks noChangeAspect="1" noChangeArrowheads="1"/>
              </p:cNvSpPr>
              <p:nvPr>
                <p:custDataLst>
                  <p:tags r:id="rId25"/>
                </p:custDataLst>
              </p:nvPr>
            </p:nvSpPr>
            <p:spPr bwMode="gray">
              <a:xfrm>
                <a:off x="1694" y="2051"/>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97" name="Arc 42"/>
              <p:cNvSpPr>
                <a:spLocks noChangeAspect="1"/>
              </p:cNvSpPr>
              <p:nvPr>
                <p:custDataLst>
                  <p:tags r:id="rId26"/>
                </p:custDataLst>
              </p:nvPr>
            </p:nvSpPr>
            <p:spPr bwMode="gray">
              <a:xfrm>
                <a:off x="1694" y="2051"/>
                <a:ext cx="160" cy="160"/>
              </a:xfrm>
              <a:prstGeom prst="arc">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grpSp>
        <p:grpSp>
          <p:nvGrpSpPr>
            <p:cNvPr id="82" name="MoonLegend4"/>
            <p:cNvGrpSpPr>
              <a:grpSpLocks noChangeAspect="1"/>
            </p:cNvGrpSpPr>
            <p:nvPr>
              <p:custDataLst>
                <p:tags r:id="rId11"/>
              </p:custDataLst>
            </p:nvPr>
          </p:nvGrpSpPr>
          <p:grpSpPr bwMode="gray">
            <a:xfrm>
              <a:off x="5894005" y="3524395"/>
              <a:ext cx="209550" cy="209551"/>
              <a:chOff x="4495" y="1204"/>
              <a:chExt cx="160" cy="160"/>
            </a:xfrm>
          </p:grpSpPr>
          <p:sp>
            <p:nvSpPr>
              <p:cNvPr id="94" name="Oval 47"/>
              <p:cNvSpPr>
                <a:spLocks noChangeAspect="1" noChangeArrowheads="1"/>
              </p:cNvSpPr>
              <p:nvPr>
                <p:custDataLst>
                  <p:tags r:id="rId23"/>
                </p:custDataLst>
              </p:nvPr>
            </p:nvSpPr>
            <p:spPr bwMode="gray">
              <a:xfrm>
                <a:off x="4495" y="120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95" name="Arc 48"/>
              <p:cNvSpPr>
                <a:spLocks noChangeAspect="1"/>
              </p:cNvSpPr>
              <p:nvPr>
                <p:custDataLst>
                  <p:tags r:id="rId24"/>
                </p:custDataLst>
              </p:nvPr>
            </p:nvSpPr>
            <p:spPr bwMode="gray">
              <a:xfrm>
                <a:off x="4495" y="1204"/>
                <a:ext cx="160" cy="160"/>
              </a:xfrm>
              <a:prstGeom prst="arc">
                <a:avLst>
                  <a:gd name="adj1" fmla="val 16200000"/>
                  <a:gd name="adj2" fmla="val 108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grpSp>
        <p:grpSp>
          <p:nvGrpSpPr>
            <p:cNvPr id="83" name="MoonLegend5"/>
            <p:cNvGrpSpPr>
              <a:grpSpLocks noChangeAspect="1"/>
            </p:cNvGrpSpPr>
            <p:nvPr>
              <p:custDataLst>
                <p:tags r:id="rId12"/>
              </p:custDataLst>
            </p:nvPr>
          </p:nvGrpSpPr>
          <p:grpSpPr bwMode="gray">
            <a:xfrm>
              <a:off x="5894005" y="3799629"/>
              <a:ext cx="209550" cy="209551"/>
              <a:chOff x="4495" y="1447"/>
              <a:chExt cx="160" cy="160"/>
            </a:xfrm>
          </p:grpSpPr>
          <p:sp>
            <p:nvSpPr>
              <p:cNvPr id="92" name="Oval 50"/>
              <p:cNvSpPr>
                <a:spLocks noChangeAspect="1" noChangeArrowheads="1"/>
              </p:cNvSpPr>
              <p:nvPr>
                <p:custDataLst>
                  <p:tags r:id="rId21"/>
                </p:custDataLst>
              </p:nvPr>
            </p:nvSpPr>
            <p:spPr bwMode="gray">
              <a:xfrm>
                <a:off x="4495" y="1447"/>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93" name="Oval 51"/>
              <p:cNvSpPr>
                <a:spLocks noChangeAspect="1" noChangeArrowheads="1"/>
              </p:cNvSpPr>
              <p:nvPr>
                <p:custDataLst>
                  <p:tags r:id="rId22"/>
                </p:custDataLst>
              </p:nvPr>
            </p:nvSpPr>
            <p:spPr bwMode="gray">
              <a:xfrm>
                <a:off x="4495" y="1447"/>
                <a:ext cx="160" cy="160"/>
              </a:xfrm>
              <a:prstGeom prst="arc">
                <a:avLst>
                  <a:gd name="adj1" fmla="val 16200000"/>
                  <a:gd name="adj2" fmla="val 162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grpSp>
        <p:grpSp>
          <p:nvGrpSpPr>
            <p:cNvPr id="84" name="MoonLegend3"/>
            <p:cNvGrpSpPr>
              <a:grpSpLocks noChangeAspect="1"/>
            </p:cNvGrpSpPr>
            <p:nvPr>
              <p:custDataLst>
                <p:tags r:id="rId13"/>
              </p:custDataLst>
            </p:nvPr>
          </p:nvGrpSpPr>
          <p:grpSpPr bwMode="gray">
            <a:xfrm>
              <a:off x="5894005" y="3251543"/>
              <a:ext cx="209550" cy="209551"/>
              <a:chOff x="4495" y="1205"/>
              <a:chExt cx="160" cy="160"/>
            </a:xfrm>
          </p:grpSpPr>
          <p:sp>
            <p:nvSpPr>
              <p:cNvPr id="90" name="Oval 47"/>
              <p:cNvSpPr>
                <a:spLocks noChangeAspect="1" noChangeArrowheads="1"/>
              </p:cNvSpPr>
              <p:nvPr>
                <p:custDataLst>
                  <p:tags r:id="rId19"/>
                </p:custDataLst>
              </p:nvPr>
            </p:nvSpPr>
            <p:spPr bwMode="gray">
              <a:xfrm>
                <a:off x="4495" y="1205"/>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91" name="Arc 48"/>
              <p:cNvSpPr>
                <a:spLocks noChangeAspect="1"/>
              </p:cNvSpPr>
              <p:nvPr>
                <p:custDataLst>
                  <p:tags r:id="rId20"/>
                </p:custDataLst>
              </p:nvPr>
            </p:nvSpPr>
            <p:spPr bwMode="gray">
              <a:xfrm>
                <a:off x="4495" y="1205"/>
                <a:ext cx="160" cy="160"/>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grpSp>
        <p:sp>
          <p:nvSpPr>
            <p:cNvPr id="85" name="Legend1"/>
            <p:cNvSpPr>
              <a:spLocks noChangeArrowheads="1"/>
            </p:cNvSpPr>
            <p:nvPr>
              <p:custDataLst>
                <p:tags r:id="rId14"/>
              </p:custDataLst>
            </p:nvPr>
          </p:nvSpPr>
          <p:spPr bwMode="gray">
            <a:xfrm>
              <a:off x="6214680" y="2696542"/>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sp>
          <p:nvSpPr>
            <p:cNvPr id="86" name="Legend2"/>
            <p:cNvSpPr>
              <a:spLocks noChangeArrowheads="1"/>
            </p:cNvSpPr>
            <p:nvPr>
              <p:custDataLst>
                <p:tags r:id="rId15"/>
              </p:custDataLst>
            </p:nvPr>
          </p:nvSpPr>
          <p:spPr bwMode="gray">
            <a:xfrm>
              <a:off x="6214680" y="2974156"/>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a:latin typeface="+mn-lt"/>
                  <a:ea typeface="+mn-ea"/>
                </a:rPr>
                <a:t>Legend</a:t>
              </a:r>
              <a:endParaRPr lang="en-US" sz="1400" baseline="0" dirty="0">
                <a:latin typeface="+mn-lt"/>
                <a:ea typeface="+mn-ea"/>
              </a:endParaRPr>
            </a:p>
          </p:txBody>
        </p:sp>
        <p:sp>
          <p:nvSpPr>
            <p:cNvPr id="87" name="Legend3"/>
            <p:cNvSpPr>
              <a:spLocks noChangeArrowheads="1"/>
            </p:cNvSpPr>
            <p:nvPr>
              <p:custDataLst>
                <p:tags r:id="rId16"/>
              </p:custDataLst>
            </p:nvPr>
          </p:nvSpPr>
          <p:spPr bwMode="gray">
            <a:xfrm>
              <a:off x="6214680" y="3248596"/>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sp>
          <p:nvSpPr>
            <p:cNvPr id="88" name="Legend4"/>
            <p:cNvSpPr>
              <a:spLocks noChangeArrowheads="1"/>
            </p:cNvSpPr>
            <p:nvPr>
              <p:custDataLst>
                <p:tags r:id="rId17"/>
              </p:custDataLst>
            </p:nvPr>
          </p:nvSpPr>
          <p:spPr bwMode="gray">
            <a:xfrm>
              <a:off x="6214680" y="3521448"/>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sp>
          <p:nvSpPr>
            <p:cNvPr id="89" name="Legend5"/>
            <p:cNvSpPr>
              <a:spLocks noChangeArrowheads="1"/>
            </p:cNvSpPr>
            <p:nvPr>
              <p:custDataLst>
                <p:tags r:id="rId18"/>
              </p:custDataLst>
            </p:nvPr>
          </p:nvSpPr>
          <p:spPr bwMode="gray">
            <a:xfrm>
              <a:off x="6214680" y="3796682"/>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a:latin typeface="+mn-lt"/>
                  <a:ea typeface="+mn-ea"/>
                </a:rPr>
                <a:t>Legend</a:t>
              </a:r>
              <a:endParaRPr lang="en-US" sz="1400" baseline="0" dirty="0">
                <a:latin typeface="+mn-lt"/>
                <a:ea typeface="+mn-ea"/>
              </a:endParaRPr>
            </a:p>
          </p:txBody>
        </p:sp>
      </p:grpSp>
    </p:spTree>
    <p:extLst>
      <p:ext uri="{BB962C8B-B14F-4D97-AF65-F5344CB8AC3E}">
        <p14:creationId xmlns:p14="http://schemas.microsoft.com/office/powerpoint/2010/main" val="1812748609"/>
      </p:ext>
    </p:extLst>
  </p:cSld>
  <p:clrMap bg1="lt1" tx1="dk1" bg2="lt2" tx2="dk2" accent1="accent1" accent2="accent2" accent3="accent3" accent4="accent4" accent5="accent5" accent6="accent6" hlink="hlink" folHlink="folHlink"/>
  <p:sldLayoutIdLst>
    <p:sldLayoutId id="2147483736" r:id="rId1"/>
    <p:sldLayoutId id="2147483737" r:id="rId2"/>
    <p:sldLayoutId id="2147483738" r:id="rId3"/>
    <p:sldLayoutId id="2147483739" r:id="rId4"/>
  </p:sldLayoutIdLst>
  <p:txStyles>
    <p:titleStyle>
      <a:lvl1pPr algn="l" defTabSz="895350" rtl="0" eaLnBrk="1" fontAlgn="base" hangingPunct="1">
        <a:spcBef>
          <a:spcPct val="0"/>
        </a:spcBef>
        <a:spcAft>
          <a:spcPct val="0"/>
        </a:spcAft>
        <a:tabLst>
          <a:tab pos="269875" algn="l"/>
        </a:tabLst>
        <a:defRPr sz="2000" b="0" baseline="0">
          <a:solidFill>
            <a:schemeClr val="tx2"/>
          </a:solidFill>
          <a:latin typeface="+mj-lt"/>
          <a:ea typeface="+mj-ea"/>
          <a:cs typeface="+mj-cs"/>
        </a:defRPr>
      </a:lvl1pPr>
      <a:lvl2pPr algn="l" defTabSz="895350" rtl="0" eaLnBrk="1" fontAlgn="base" hangingPunct="1">
        <a:spcBef>
          <a:spcPct val="0"/>
        </a:spcBef>
        <a:spcAft>
          <a:spcPct val="0"/>
        </a:spcAft>
        <a:defRPr sz="1900" b="1">
          <a:solidFill>
            <a:schemeClr val="tx2"/>
          </a:solidFill>
          <a:latin typeface="Arial" charset="0"/>
        </a:defRPr>
      </a:lvl2pPr>
      <a:lvl3pPr algn="l" defTabSz="895350" rtl="0" eaLnBrk="1" fontAlgn="base" hangingPunct="1">
        <a:spcBef>
          <a:spcPct val="0"/>
        </a:spcBef>
        <a:spcAft>
          <a:spcPct val="0"/>
        </a:spcAft>
        <a:defRPr sz="1900" b="1">
          <a:solidFill>
            <a:schemeClr val="tx2"/>
          </a:solidFill>
          <a:latin typeface="Arial" charset="0"/>
        </a:defRPr>
      </a:lvl3pPr>
      <a:lvl4pPr algn="l" defTabSz="895350" rtl="0" eaLnBrk="1" fontAlgn="base" hangingPunct="1">
        <a:spcBef>
          <a:spcPct val="0"/>
        </a:spcBef>
        <a:spcAft>
          <a:spcPct val="0"/>
        </a:spcAft>
        <a:defRPr sz="1900" b="1">
          <a:solidFill>
            <a:schemeClr val="tx2"/>
          </a:solidFill>
          <a:latin typeface="Arial" charset="0"/>
        </a:defRPr>
      </a:lvl4pPr>
      <a:lvl5pPr algn="l" defTabSz="895350" rtl="0" eaLnBrk="1" fontAlgn="base" hangingPunct="1">
        <a:spcBef>
          <a:spcPct val="0"/>
        </a:spcBef>
        <a:spcAft>
          <a:spcPct val="0"/>
        </a:spcAft>
        <a:defRPr sz="1900" b="1">
          <a:solidFill>
            <a:schemeClr val="tx2"/>
          </a:solidFill>
          <a:latin typeface="Arial" charset="0"/>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p:titleStyle>
    <p:bodyStyle>
      <a:lvl1pPr marL="0" indent="0" algn="l" defTabSz="895350" rtl="0" eaLnBrk="1" fontAlgn="base" hangingPunct="1">
        <a:spcBef>
          <a:spcPct val="0"/>
        </a:spcBef>
        <a:spcAft>
          <a:spcPct val="0"/>
        </a:spcAft>
        <a:buClr>
          <a:schemeClr val="tx2"/>
        </a:buClr>
        <a:buSzPct val="100000"/>
        <a:defRPr sz="14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4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4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4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4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ext>
  </p:extLst>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7"/>
            </p:custDataLst>
            <p:extLst>
              <p:ext uri="{D42A27DB-BD31-4B8C-83A1-F6EECF244321}">
                <p14:modId xmlns:p14="http://schemas.microsoft.com/office/powerpoint/2010/main" val="148356089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72724" name="think-cell Slide" r:id="rId36" imgW="270" imgH="270" progId="TCLayout.ActiveDocument.1">
                  <p:embed/>
                </p:oleObj>
              </mc:Choice>
              <mc:Fallback>
                <p:oleObj name="think-cell Slide" r:id="rId36" imgW="270" imgH="270" progId="TCLayout.ActiveDocument.1">
                  <p:embed/>
                  <p:pic>
                    <p:nvPicPr>
                      <p:cNvPr id="2" name="Object 1" hidden="1"/>
                      <p:cNvPicPr/>
                      <p:nvPr/>
                    </p:nvPicPr>
                    <p:blipFill>
                      <a:blip r:embed="rId37"/>
                      <a:stretch>
                        <a:fillRect/>
                      </a:stretch>
                    </p:blipFill>
                    <p:spPr>
                      <a:xfrm>
                        <a:off x="0" y="0"/>
                        <a:ext cx="158750" cy="158750"/>
                      </a:xfrm>
                      <a:prstGeom prst="rect">
                        <a:avLst/>
                      </a:prstGeom>
                    </p:spPr>
                  </p:pic>
                </p:oleObj>
              </mc:Fallback>
            </mc:AlternateContent>
          </a:graphicData>
        </a:graphic>
      </p:graphicFrame>
      <p:sp>
        <p:nvSpPr>
          <p:cNvPr id="6" name="Rectangle 5" hidden="1"/>
          <p:cNvSpPr/>
          <p:nvPr>
            <p:custDataLst>
              <p:tags r:id="rId8"/>
            </p:custDataLst>
          </p:nvPr>
        </p:nvSpPr>
        <p:spPr bwMode="auto">
          <a:xfrm>
            <a:off x="0" y="0"/>
            <a:ext cx="158750" cy="158750"/>
          </a:xfrm>
          <a:prstGeom prst="rect">
            <a:avLst/>
          </a:prstGeom>
          <a:solidFill>
            <a:schemeClr val="bg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dirty="0">
              <a:solidFill>
                <a:srgbClr val="000000"/>
              </a:solidFill>
              <a:sym typeface="Arial" panose="020B0604020202020204" pitchFamily="34" charset="0"/>
            </a:endParaRPr>
          </a:p>
        </p:txBody>
      </p:sp>
      <p:sp>
        <p:nvSpPr>
          <p:cNvPr id="1034" name="Working Draft" hidden="1"/>
          <p:cNvSpPr txBox="1">
            <a:spLocks noChangeArrowheads="1"/>
          </p:cNvSpPr>
          <p:nvPr/>
        </p:nvSpPr>
        <p:spPr bwMode="gray">
          <a:xfrm rot="5400000">
            <a:off x="7966656" y="1940591"/>
            <a:ext cx="1849865"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600" baseline="0">
                <a:solidFill>
                  <a:srgbClr val="808080"/>
                </a:solidFill>
                <a:latin typeface="+mn-lt"/>
                <a:ea typeface="+mn-ea"/>
              </a:rPr>
              <a:t>Last Modified 21/05/2018 17:44 India Standard Time</a:t>
            </a:r>
            <a:endParaRPr lang="en-US" baseline="0" dirty="0">
              <a:solidFill>
                <a:srgbClr val="808080"/>
              </a:solidFill>
              <a:latin typeface="+mn-lt"/>
              <a:ea typeface="+mn-ea"/>
            </a:endParaRPr>
          </a:p>
        </p:txBody>
      </p:sp>
      <p:sp>
        <p:nvSpPr>
          <p:cNvPr id="1035" name="Printed" hidden="1"/>
          <p:cNvSpPr txBox="1">
            <a:spLocks noChangeArrowheads="1"/>
          </p:cNvSpPr>
          <p:nvPr/>
        </p:nvSpPr>
        <p:spPr bwMode="gray">
          <a:xfrm rot="5400000">
            <a:off x="8768958" y="4114417"/>
            <a:ext cx="245260"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600" baseline="0" dirty="0">
                <a:solidFill>
                  <a:srgbClr val="808080"/>
                </a:solidFill>
                <a:latin typeface="+mn-lt"/>
                <a:ea typeface="+mn-ea"/>
              </a:rPr>
              <a:t>Printed</a:t>
            </a:r>
            <a:endParaRPr lang="en-US" baseline="0" dirty="0">
              <a:solidFill>
                <a:srgbClr val="808080"/>
              </a:solidFill>
              <a:latin typeface="+mn-lt"/>
              <a:ea typeface="+mn-ea"/>
            </a:endParaRPr>
          </a:p>
        </p:txBody>
      </p:sp>
      <p:sp>
        <p:nvSpPr>
          <p:cNvPr id="19" name="Title Placeholder 2"/>
          <p:cNvSpPr>
            <a:spLocks noGrp="1" noChangeArrowheads="1"/>
          </p:cNvSpPr>
          <p:nvPr>
            <p:ph type="title"/>
          </p:nvPr>
        </p:nvSpPr>
        <p:spPr bwMode="gray">
          <a:xfrm>
            <a:off x="119063" y="230188"/>
            <a:ext cx="8618537"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latinLnBrk="0"/>
            <a:r>
              <a:rPr lang="en-US"/>
              <a:t>Click to edit Master title style</a:t>
            </a:r>
            <a:endParaRPr lang="en-US" noProof="0" dirty="0"/>
          </a:p>
        </p:txBody>
      </p:sp>
      <p:sp>
        <p:nvSpPr>
          <p:cNvPr id="10" name="1. On-page tracker" hidden="1"/>
          <p:cNvSpPr>
            <a:spLocks noChangeArrowheads="1"/>
          </p:cNvSpPr>
          <p:nvPr/>
        </p:nvSpPr>
        <p:spPr bwMode="gray">
          <a:xfrm>
            <a:off x="119063" y="75764"/>
            <a:ext cx="490519"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800" cap="all" baseline="0" dirty="0">
                <a:solidFill>
                  <a:schemeClr val="accent6"/>
                </a:solidFill>
                <a:latin typeface="+mn-lt"/>
                <a:ea typeface="+mn-ea"/>
              </a:rPr>
              <a:t>Tracker</a:t>
            </a:r>
          </a:p>
        </p:txBody>
      </p:sp>
      <p:sp>
        <p:nvSpPr>
          <p:cNvPr id="11" name="3. Unit of measure" hidden="1"/>
          <p:cNvSpPr txBox="1">
            <a:spLocks noChangeArrowheads="1"/>
          </p:cNvSpPr>
          <p:nvPr/>
        </p:nvSpPr>
        <p:spPr bwMode="gray">
          <a:xfrm>
            <a:off x="119063" y="554865"/>
            <a:ext cx="8618537"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600" baseline="0" dirty="0">
                <a:solidFill>
                  <a:schemeClr val="accent6"/>
                </a:solidFill>
                <a:latin typeface="+mn-lt"/>
                <a:ea typeface="+mn-ea"/>
              </a:rPr>
              <a:t>Unit of measure</a:t>
            </a:r>
          </a:p>
        </p:txBody>
      </p:sp>
      <p:grpSp>
        <p:nvGrpSpPr>
          <p:cNvPr id="4" name="Slide Elements" hidden="1"/>
          <p:cNvGrpSpPr/>
          <p:nvPr/>
        </p:nvGrpSpPr>
        <p:grpSpPr bwMode="gray">
          <a:xfrm>
            <a:off x="119063" y="6305945"/>
            <a:ext cx="8618537" cy="325438"/>
            <a:chOff x="119063" y="6305945"/>
            <a:chExt cx="8618537" cy="325438"/>
          </a:xfrm>
        </p:grpSpPr>
        <p:sp>
          <p:nvSpPr>
            <p:cNvPr id="13" name="4. Footnote"/>
            <p:cNvSpPr txBox="1">
              <a:spLocks noChangeArrowheads="1"/>
            </p:cNvSpPr>
            <p:nvPr/>
          </p:nvSpPr>
          <p:spPr bwMode="gray">
            <a:xfrm>
              <a:off x="119063" y="6305945"/>
              <a:ext cx="8618537" cy="123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800" baseline="0" dirty="0">
                  <a:solidFill>
                    <a:schemeClr val="accent6"/>
                  </a:solidFill>
                  <a:latin typeface="+mn-lt"/>
                  <a:ea typeface="+mn-ea"/>
                </a:rPr>
                <a:t>1 Footnote</a:t>
              </a:r>
            </a:p>
          </p:txBody>
        </p:sp>
        <p:sp>
          <p:nvSpPr>
            <p:cNvPr id="14" name="5. Source"/>
            <p:cNvSpPr>
              <a:spLocks noChangeArrowheads="1"/>
            </p:cNvSpPr>
            <p:nvPr/>
          </p:nvSpPr>
          <p:spPr bwMode="gray">
            <a:xfrm>
              <a:off x="119063" y="6507558"/>
              <a:ext cx="7200000" cy="123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marL="609600" indent="-609600" defTabSz="895350">
                <a:tabLst>
                  <a:tab pos="612775" algn="l"/>
                </a:tabLst>
              </a:pPr>
              <a:r>
                <a:rPr lang="en-US" sz="800" baseline="0" dirty="0">
                  <a:solidFill>
                    <a:schemeClr val="accent6"/>
                  </a:solidFill>
                  <a:latin typeface="+mn-lt"/>
                  <a:ea typeface="+mn-ea"/>
                </a:rPr>
                <a:t>SOURCE: Source</a:t>
              </a:r>
            </a:p>
          </p:txBody>
        </p:sp>
      </p:grpSp>
      <p:sp>
        <p:nvSpPr>
          <p:cNvPr id="3" name="Text Placeholder 2"/>
          <p:cNvSpPr>
            <a:spLocks noGrp="1"/>
          </p:cNvSpPr>
          <p:nvPr>
            <p:ph type="body" idx="1"/>
          </p:nvPr>
        </p:nvSpPr>
        <p:spPr bwMode="gray">
          <a:xfrm>
            <a:off x="1452564" y="1951380"/>
            <a:ext cx="4302125" cy="1077218"/>
          </a:xfrm>
          <a:prstGeom prst="rect">
            <a:avLst/>
          </a:prstGeom>
        </p:spPr>
        <p:txBody>
          <a:bodyPr vert="horz" lIns="0" tIns="0" rIns="0" bIns="0" rtlCol="0">
            <a:spAutoFit/>
          </a:bodyPr>
          <a:lstStyle/>
          <a:p>
            <a:pPr lvl="0" latinLnBrk="0"/>
            <a:r>
              <a:rPr lang="en-US"/>
              <a:t>Edit Master text styles</a:t>
            </a:r>
          </a:p>
          <a:p>
            <a:pPr lvl="1" latinLnBrk="0"/>
            <a:r>
              <a:rPr lang="en-US"/>
              <a:t>Second level</a:t>
            </a:r>
          </a:p>
          <a:p>
            <a:pPr lvl="2" latinLnBrk="0"/>
            <a:r>
              <a:rPr lang="en-US"/>
              <a:t>Third level</a:t>
            </a:r>
          </a:p>
          <a:p>
            <a:pPr lvl="3" latinLnBrk="0"/>
            <a:r>
              <a:rPr lang="en-US"/>
              <a:t>Fourth level</a:t>
            </a:r>
          </a:p>
          <a:p>
            <a:pPr lvl="4" latinLnBrk="0"/>
            <a:r>
              <a:rPr lang="en-US"/>
              <a:t>Fifth level</a:t>
            </a:r>
            <a:endParaRPr lang="en-US" dirty="0"/>
          </a:p>
        </p:txBody>
      </p:sp>
      <p:grpSp>
        <p:nvGrpSpPr>
          <p:cNvPr id="15" name="ACET" hidden="1"/>
          <p:cNvGrpSpPr>
            <a:grpSpLocks/>
          </p:cNvGrpSpPr>
          <p:nvPr/>
        </p:nvGrpSpPr>
        <p:grpSpPr bwMode="gray">
          <a:xfrm>
            <a:off x="1452563" y="1257754"/>
            <a:ext cx="4264025" cy="508000"/>
            <a:chOff x="915" y="710"/>
            <a:chExt cx="2686" cy="320"/>
          </a:xfrm>
        </p:grpSpPr>
        <p:cxnSp>
          <p:nvCxnSpPr>
            <p:cNvPr id="16" name="AutoShape 249"/>
            <p:cNvCxnSpPr>
              <a:cxnSpLocks noChangeShapeType="1"/>
              <a:stCxn id="18" idx="4"/>
              <a:endCxn id="18" idx="6"/>
            </p:cNvCxnSpPr>
            <p:nvPr/>
          </p:nvCxnSpPr>
          <p:spPr bwMode="gray">
            <a:xfrm>
              <a:off x="915" y="1030"/>
              <a:ext cx="2686" cy="0"/>
            </a:xfrm>
            <a:prstGeom prst="straightConnector1">
              <a:avLst/>
            </a:prstGeom>
            <a:noFill/>
            <a:ln w="9525">
              <a:solidFill>
                <a:schemeClr val="accent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8" name="AutoShape 250"/>
            <p:cNvSpPr>
              <a:spLocks noChangeArrowheads="1"/>
            </p:cNvSpPr>
            <p:nvPr/>
          </p:nvSpPr>
          <p:spPr bwMode="gray">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US" b="1" baseline="0" dirty="0">
                  <a:solidFill>
                    <a:srgbClr val="000000"/>
                  </a:solidFill>
                  <a:latin typeface="+mn-lt"/>
                  <a:ea typeface="+mn-ea"/>
                </a:rPr>
                <a:t>Title</a:t>
              </a:r>
            </a:p>
            <a:p>
              <a:r>
                <a:rPr lang="en-US" baseline="0" dirty="0">
                  <a:solidFill>
                    <a:schemeClr val="accent6"/>
                  </a:solidFill>
                  <a:latin typeface="+mn-lt"/>
                  <a:ea typeface="+mn-ea"/>
                </a:rPr>
                <a:t>Unit of measure</a:t>
              </a:r>
            </a:p>
          </p:txBody>
        </p:sp>
      </p:grpSp>
      <p:grpSp>
        <p:nvGrpSpPr>
          <p:cNvPr id="17" name="McKSticker" hidden="1"/>
          <p:cNvGrpSpPr/>
          <p:nvPr/>
        </p:nvGrpSpPr>
        <p:grpSpPr bwMode="gray">
          <a:xfrm>
            <a:off x="8264265" y="285750"/>
            <a:ext cx="473335" cy="150811"/>
            <a:chOff x="8267440" y="285750"/>
            <a:chExt cx="473335" cy="150811"/>
          </a:xfrm>
        </p:grpSpPr>
        <p:sp>
          <p:nvSpPr>
            <p:cNvPr id="20" name="StickerRectangle"/>
            <p:cNvSpPr>
              <a:spLocks noChangeArrowheads="1"/>
            </p:cNvSpPr>
            <p:nvPr/>
          </p:nvSpPr>
          <p:spPr bwMode="gray">
            <a:xfrm>
              <a:off x="8267440" y="285750"/>
              <a:ext cx="473335" cy="150811"/>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a:buClr>
                  <a:srgbClr val="002960"/>
                </a:buClr>
              </a:pPr>
              <a:r>
                <a:rPr lang="en-US" sz="800" baseline="0" dirty="0">
                  <a:solidFill>
                    <a:schemeClr val="accent6"/>
                  </a:solidFill>
                  <a:latin typeface="+mn-lt"/>
                  <a:ea typeface="+mn-ea"/>
                </a:rPr>
                <a:t>STICKER</a:t>
              </a:r>
            </a:p>
          </p:txBody>
        </p:sp>
        <p:cxnSp>
          <p:nvCxnSpPr>
            <p:cNvPr id="21" name="AutoShape 31"/>
            <p:cNvCxnSpPr>
              <a:cxnSpLocks noChangeShapeType="1"/>
              <a:stCxn id="20" idx="2"/>
              <a:endCxn id="20" idx="4"/>
            </p:cNvCxnSpPr>
            <p:nvPr/>
          </p:nvCxnSpPr>
          <p:spPr bwMode="gray">
            <a:xfrm>
              <a:off x="8267440" y="285750"/>
              <a:ext cx="0" cy="150811"/>
            </a:xfrm>
            <a:prstGeom prst="straightConnector1">
              <a:avLst/>
            </a:prstGeom>
            <a:noFill/>
            <a:ln w="9525">
              <a:solidFill>
                <a:schemeClr val="accent6"/>
              </a:solidFill>
              <a:round/>
              <a:headEnd/>
              <a:tailEnd/>
            </a:ln>
            <a:extLst>
              <a:ext uri="{909E8E84-426E-40DD-AFC4-6F175D3DCCD1}">
                <a14:hiddenFill xmlns:a14="http://schemas.microsoft.com/office/drawing/2010/main">
                  <a:noFill/>
                </a14:hiddenFill>
              </a:ext>
            </a:extLst>
          </p:spPr>
        </p:cxnSp>
        <p:cxnSp>
          <p:nvCxnSpPr>
            <p:cNvPr id="22" name="AutoShape 32"/>
            <p:cNvCxnSpPr>
              <a:cxnSpLocks noChangeShapeType="1"/>
              <a:stCxn id="20" idx="4"/>
              <a:endCxn id="20" idx="6"/>
            </p:cNvCxnSpPr>
            <p:nvPr/>
          </p:nvCxnSpPr>
          <p:spPr bwMode="gray">
            <a:xfrm>
              <a:off x="8267440" y="436561"/>
              <a:ext cx="473335" cy="0"/>
            </a:xfrm>
            <a:prstGeom prst="straightConnector1">
              <a:avLst/>
            </a:prstGeom>
            <a:noFill/>
            <a:ln w="25400">
              <a:solidFill>
                <a:schemeClr val="accent6"/>
              </a:solidFill>
              <a:round/>
              <a:headEnd/>
              <a:tailEnd/>
            </a:ln>
            <a:extLst>
              <a:ext uri="{909E8E84-426E-40DD-AFC4-6F175D3DCCD1}">
                <a14:hiddenFill xmlns:a14="http://schemas.microsoft.com/office/drawing/2010/main">
                  <a:noFill/>
                </a14:hiddenFill>
              </a:ext>
            </a:extLst>
          </p:spPr>
        </p:cxnSp>
      </p:grpSp>
      <p:sp>
        <p:nvSpPr>
          <p:cNvPr id="23" name="SlideBottomBar" hidden="1"/>
          <p:cNvSpPr/>
          <p:nvPr/>
        </p:nvSpPr>
        <p:spPr>
          <a:xfrm>
            <a:off x="8437547" y="6182120"/>
            <a:ext cx="45719" cy="123825"/>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aseline="0" dirty="0">
              <a:solidFill>
                <a:schemeClr val="tx1"/>
              </a:solidFill>
              <a:latin typeface="+mn-lt"/>
              <a:ea typeface="+mn-ea"/>
            </a:endParaRPr>
          </a:p>
        </p:txBody>
      </p:sp>
      <p:sp>
        <p:nvSpPr>
          <p:cNvPr id="24" name="doc id" hidden="1"/>
          <p:cNvSpPr txBox="1">
            <a:spLocks noChangeArrowheads="1"/>
          </p:cNvSpPr>
          <p:nvPr/>
        </p:nvSpPr>
        <p:spPr bwMode="white">
          <a:xfrm>
            <a:off x="8104473" y="36513"/>
            <a:ext cx="634716" cy="115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hangingPunct="1">
              <a:defRPr/>
            </a:pPr>
            <a:endParaRPr lang="en-US" sz="800" baseline="0" dirty="0">
              <a:solidFill>
                <a:schemeClr val="accent1"/>
              </a:solidFill>
              <a:latin typeface="+mn-lt"/>
              <a:ea typeface="+mn-ea"/>
            </a:endParaRPr>
          </a:p>
        </p:txBody>
      </p:sp>
      <p:grpSp>
        <p:nvGrpSpPr>
          <p:cNvPr id="63" name="LegendLines" hidden="1"/>
          <p:cNvGrpSpPr/>
          <p:nvPr/>
        </p:nvGrpSpPr>
        <p:grpSpPr>
          <a:xfrm>
            <a:off x="7551589" y="267815"/>
            <a:ext cx="1158292" cy="761545"/>
            <a:chOff x="7607284" y="279400"/>
            <a:chExt cx="1158292" cy="761545"/>
          </a:xfrm>
        </p:grpSpPr>
        <p:sp>
          <p:nvSpPr>
            <p:cNvPr id="64" name="LineLegend1"/>
            <p:cNvSpPr>
              <a:spLocks noChangeShapeType="1"/>
            </p:cNvSpPr>
            <p:nvPr/>
          </p:nvSpPr>
          <p:spPr bwMode="gray">
            <a:xfrm>
              <a:off x="7607284" y="387122"/>
              <a:ext cx="457200"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65" name="LineLegend2"/>
            <p:cNvSpPr>
              <a:spLocks noChangeShapeType="1"/>
            </p:cNvSpPr>
            <p:nvPr/>
          </p:nvSpPr>
          <p:spPr bwMode="gray">
            <a:xfrm>
              <a:off x="7607284" y="653822"/>
              <a:ext cx="457200"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66" name="LineLegend3"/>
            <p:cNvSpPr>
              <a:spLocks noChangeShapeType="1"/>
            </p:cNvSpPr>
            <p:nvPr/>
          </p:nvSpPr>
          <p:spPr bwMode="gray">
            <a:xfrm>
              <a:off x="7607284" y="933223"/>
              <a:ext cx="457200"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67" name="Legend1"/>
            <p:cNvSpPr>
              <a:spLocks noChangeArrowheads="1"/>
            </p:cNvSpPr>
            <p:nvPr>
              <p:custDataLst>
                <p:tags r:id="rId33"/>
              </p:custDataLst>
            </p:nvPr>
          </p:nvSpPr>
          <p:spPr bwMode="gray">
            <a:xfrm>
              <a:off x="8169259" y="279400"/>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sp>
          <p:nvSpPr>
            <p:cNvPr id="68" name="Legend2"/>
            <p:cNvSpPr>
              <a:spLocks noChangeArrowheads="1"/>
            </p:cNvSpPr>
            <p:nvPr>
              <p:custDataLst>
                <p:tags r:id="rId34"/>
              </p:custDataLst>
            </p:nvPr>
          </p:nvSpPr>
          <p:spPr bwMode="gray">
            <a:xfrm>
              <a:off x="8169259" y="546100"/>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a:latin typeface="+mn-lt"/>
                  <a:ea typeface="+mn-ea"/>
                </a:rPr>
                <a:t>Legend</a:t>
              </a:r>
              <a:endParaRPr lang="en-US" sz="1400" baseline="0" dirty="0">
                <a:latin typeface="+mn-lt"/>
                <a:ea typeface="+mn-ea"/>
              </a:endParaRPr>
            </a:p>
          </p:txBody>
        </p:sp>
        <p:sp>
          <p:nvSpPr>
            <p:cNvPr id="69" name="Legend3"/>
            <p:cNvSpPr>
              <a:spLocks noChangeArrowheads="1"/>
            </p:cNvSpPr>
            <p:nvPr>
              <p:custDataLst>
                <p:tags r:id="rId35"/>
              </p:custDataLst>
            </p:nvPr>
          </p:nvSpPr>
          <p:spPr bwMode="gray">
            <a:xfrm>
              <a:off x="8169259" y="825501"/>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grpSp>
      <p:grpSp>
        <p:nvGrpSpPr>
          <p:cNvPr id="70" name="LegendBoxes" hidden="1"/>
          <p:cNvGrpSpPr/>
          <p:nvPr/>
        </p:nvGrpSpPr>
        <p:grpSpPr>
          <a:xfrm>
            <a:off x="7859564" y="267919"/>
            <a:ext cx="850317" cy="1028245"/>
            <a:chOff x="5894005" y="919828"/>
            <a:chExt cx="850317" cy="1028245"/>
          </a:xfrm>
        </p:grpSpPr>
        <p:sp>
          <p:nvSpPr>
            <p:cNvPr id="71" name="RectangleLegend1"/>
            <p:cNvSpPr>
              <a:spLocks noChangeArrowheads="1"/>
            </p:cNvSpPr>
            <p:nvPr/>
          </p:nvSpPr>
          <p:spPr bwMode="gray">
            <a:xfrm>
              <a:off x="5894005" y="947381"/>
              <a:ext cx="165100" cy="160338"/>
            </a:xfrm>
            <a:prstGeom prst="rect">
              <a:avLst/>
            </a:prstGeom>
            <a:solidFill>
              <a:schemeClr val="accent1"/>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72" name="RectangleLegend2"/>
            <p:cNvSpPr>
              <a:spLocks noChangeArrowheads="1"/>
            </p:cNvSpPr>
            <p:nvPr/>
          </p:nvSpPr>
          <p:spPr bwMode="gray">
            <a:xfrm>
              <a:off x="5894005" y="1217256"/>
              <a:ext cx="165100" cy="160338"/>
            </a:xfrm>
            <a:prstGeom prst="rect">
              <a:avLst/>
            </a:prstGeom>
            <a:solidFill>
              <a:schemeClr val="accent2"/>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73" name="RectangleLegend3"/>
            <p:cNvSpPr>
              <a:spLocks noChangeArrowheads="1"/>
            </p:cNvSpPr>
            <p:nvPr/>
          </p:nvSpPr>
          <p:spPr bwMode="gray">
            <a:xfrm>
              <a:off x="5894005" y="1488719"/>
              <a:ext cx="165100" cy="160338"/>
            </a:xfrm>
            <a:prstGeom prst="rect">
              <a:avLst/>
            </a:prstGeom>
            <a:solidFill>
              <a:schemeClr val="accent3"/>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74" name="RectangleLegend4"/>
            <p:cNvSpPr>
              <a:spLocks noChangeArrowheads="1"/>
            </p:cNvSpPr>
            <p:nvPr/>
          </p:nvSpPr>
          <p:spPr bwMode="gray">
            <a:xfrm>
              <a:off x="5894005" y="1760182"/>
              <a:ext cx="165100" cy="160338"/>
            </a:xfrm>
            <a:prstGeom prst="rect">
              <a:avLst/>
            </a:prstGeom>
            <a:solidFill>
              <a:schemeClr val="accent4"/>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75" name="Legend1"/>
            <p:cNvSpPr>
              <a:spLocks noChangeArrowheads="1"/>
            </p:cNvSpPr>
            <p:nvPr>
              <p:custDataLst>
                <p:tags r:id="rId29"/>
              </p:custDataLst>
            </p:nvPr>
          </p:nvSpPr>
          <p:spPr bwMode="gray">
            <a:xfrm>
              <a:off x="6148005" y="919828"/>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sp>
          <p:nvSpPr>
            <p:cNvPr id="76" name="Legend2"/>
            <p:cNvSpPr>
              <a:spLocks noChangeArrowheads="1"/>
            </p:cNvSpPr>
            <p:nvPr>
              <p:custDataLst>
                <p:tags r:id="rId30"/>
              </p:custDataLst>
            </p:nvPr>
          </p:nvSpPr>
          <p:spPr bwMode="gray">
            <a:xfrm>
              <a:off x="6148005" y="1189703"/>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sp>
          <p:nvSpPr>
            <p:cNvPr id="77" name="Legend3"/>
            <p:cNvSpPr>
              <a:spLocks noChangeArrowheads="1"/>
            </p:cNvSpPr>
            <p:nvPr>
              <p:custDataLst>
                <p:tags r:id="rId31"/>
              </p:custDataLst>
            </p:nvPr>
          </p:nvSpPr>
          <p:spPr bwMode="gray">
            <a:xfrm>
              <a:off x="6148005" y="1461166"/>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sp>
          <p:nvSpPr>
            <p:cNvPr id="78" name="Legend4"/>
            <p:cNvSpPr>
              <a:spLocks noChangeArrowheads="1"/>
            </p:cNvSpPr>
            <p:nvPr>
              <p:custDataLst>
                <p:tags r:id="rId32"/>
              </p:custDataLst>
            </p:nvPr>
          </p:nvSpPr>
          <p:spPr bwMode="gray">
            <a:xfrm>
              <a:off x="6148005" y="1732629"/>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grpSp>
      <p:grpSp>
        <p:nvGrpSpPr>
          <p:cNvPr id="79" name="LegendMoons" hidden="1"/>
          <p:cNvGrpSpPr/>
          <p:nvPr/>
        </p:nvGrpSpPr>
        <p:grpSpPr>
          <a:xfrm>
            <a:off x="7792889" y="267414"/>
            <a:ext cx="916992" cy="1317003"/>
            <a:chOff x="5894005" y="2695123"/>
            <a:chExt cx="916992" cy="1317003"/>
          </a:xfrm>
        </p:grpSpPr>
        <p:grpSp>
          <p:nvGrpSpPr>
            <p:cNvPr id="80" name="MoonLegend1"/>
            <p:cNvGrpSpPr>
              <a:grpSpLocks noChangeAspect="1"/>
            </p:cNvGrpSpPr>
            <p:nvPr>
              <p:custDataLst>
                <p:tags r:id="rId9"/>
              </p:custDataLst>
            </p:nvPr>
          </p:nvGrpSpPr>
          <p:grpSpPr bwMode="gray">
            <a:xfrm>
              <a:off x="5894005" y="2695123"/>
              <a:ext cx="209550" cy="218282"/>
              <a:chOff x="4533" y="183"/>
              <a:chExt cx="144" cy="150"/>
            </a:xfrm>
          </p:grpSpPr>
          <p:sp>
            <p:nvSpPr>
              <p:cNvPr id="98" name="Oval 97"/>
              <p:cNvSpPr>
                <a:spLocks noChangeAspect="1" noChangeArrowheads="1"/>
              </p:cNvSpPr>
              <p:nvPr>
                <p:custDataLst>
                  <p:tags r:id="rId27"/>
                </p:custDataLst>
              </p:nvPr>
            </p:nvSpPr>
            <p:spPr bwMode="gray">
              <a:xfrm>
                <a:off x="4533" y="189"/>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99" name="Arc 98" hidden="1"/>
              <p:cNvSpPr>
                <a:spLocks noChangeAspect="1"/>
              </p:cNvSpPr>
              <p:nvPr>
                <p:custDataLst>
                  <p:tags r:id="rId28"/>
                </p:custDataLst>
              </p:nvPr>
            </p:nvSpPr>
            <p:spPr bwMode="gray">
              <a:xfrm>
                <a:off x="4533" y="183"/>
                <a:ext cx="144" cy="144"/>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grpSp>
        <p:grpSp>
          <p:nvGrpSpPr>
            <p:cNvPr id="81" name="MoonLegend2"/>
            <p:cNvGrpSpPr>
              <a:grpSpLocks noChangeAspect="1"/>
            </p:cNvGrpSpPr>
            <p:nvPr>
              <p:custDataLst>
                <p:tags r:id="rId10"/>
              </p:custDataLst>
            </p:nvPr>
          </p:nvGrpSpPr>
          <p:grpSpPr bwMode="gray">
            <a:xfrm>
              <a:off x="5894005" y="2977103"/>
              <a:ext cx="209550" cy="209551"/>
              <a:chOff x="1694" y="2051"/>
              <a:chExt cx="160" cy="160"/>
            </a:xfrm>
          </p:grpSpPr>
          <p:sp>
            <p:nvSpPr>
              <p:cNvPr id="96" name="Oval 41"/>
              <p:cNvSpPr>
                <a:spLocks noChangeAspect="1" noChangeArrowheads="1"/>
              </p:cNvSpPr>
              <p:nvPr>
                <p:custDataLst>
                  <p:tags r:id="rId25"/>
                </p:custDataLst>
              </p:nvPr>
            </p:nvSpPr>
            <p:spPr bwMode="gray">
              <a:xfrm>
                <a:off x="1694" y="2051"/>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97" name="Arc 42"/>
              <p:cNvSpPr>
                <a:spLocks noChangeAspect="1"/>
              </p:cNvSpPr>
              <p:nvPr>
                <p:custDataLst>
                  <p:tags r:id="rId26"/>
                </p:custDataLst>
              </p:nvPr>
            </p:nvSpPr>
            <p:spPr bwMode="gray">
              <a:xfrm>
                <a:off x="1694" y="2051"/>
                <a:ext cx="160" cy="160"/>
              </a:xfrm>
              <a:prstGeom prst="arc">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grpSp>
        <p:grpSp>
          <p:nvGrpSpPr>
            <p:cNvPr id="82" name="MoonLegend4"/>
            <p:cNvGrpSpPr>
              <a:grpSpLocks noChangeAspect="1"/>
            </p:cNvGrpSpPr>
            <p:nvPr>
              <p:custDataLst>
                <p:tags r:id="rId11"/>
              </p:custDataLst>
            </p:nvPr>
          </p:nvGrpSpPr>
          <p:grpSpPr bwMode="gray">
            <a:xfrm>
              <a:off x="5894005" y="3524395"/>
              <a:ext cx="209550" cy="209551"/>
              <a:chOff x="4495" y="1204"/>
              <a:chExt cx="160" cy="160"/>
            </a:xfrm>
          </p:grpSpPr>
          <p:sp>
            <p:nvSpPr>
              <p:cNvPr id="94" name="Oval 47"/>
              <p:cNvSpPr>
                <a:spLocks noChangeAspect="1" noChangeArrowheads="1"/>
              </p:cNvSpPr>
              <p:nvPr>
                <p:custDataLst>
                  <p:tags r:id="rId23"/>
                </p:custDataLst>
              </p:nvPr>
            </p:nvSpPr>
            <p:spPr bwMode="gray">
              <a:xfrm>
                <a:off x="4495" y="120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95" name="Arc 48"/>
              <p:cNvSpPr>
                <a:spLocks noChangeAspect="1"/>
              </p:cNvSpPr>
              <p:nvPr>
                <p:custDataLst>
                  <p:tags r:id="rId24"/>
                </p:custDataLst>
              </p:nvPr>
            </p:nvSpPr>
            <p:spPr bwMode="gray">
              <a:xfrm>
                <a:off x="4495" y="1204"/>
                <a:ext cx="160" cy="160"/>
              </a:xfrm>
              <a:prstGeom prst="arc">
                <a:avLst>
                  <a:gd name="adj1" fmla="val 16200000"/>
                  <a:gd name="adj2" fmla="val 108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grpSp>
        <p:grpSp>
          <p:nvGrpSpPr>
            <p:cNvPr id="83" name="MoonLegend5"/>
            <p:cNvGrpSpPr>
              <a:grpSpLocks noChangeAspect="1"/>
            </p:cNvGrpSpPr>
            <p:nvPr>
              <p:custDataLst>
                <p:tags r:id="rId12"/>
              </p:custDataLst>
            </p:nvPr>
          </p:nvGrpSpPr>
          <p:grpSpPr bwMode="gray">
            <a:xfrm>
              <a:off x="5894005" y="3799629"/>
              <a:ext cx="209550" cy="209551"/>
              <a:chOff x="4495" y="1447"/>
              <a:chExt cx="160" cy="160"/>
            </a:xfrm>
          </p:grpSpPr>
          <p:sp>
            <p:nvSpPr>
              <p:cNvPr id="92" name="Oval 50"/>
              <p:cNvSpPr>
                <a:spLocks noChangeAspect="1" noChangeArrowheads="1"/>
              </p:cNvSpPr>
              <p:nvPr>
                <p:custDataLst>
                  <p:tags r:id="rId21"/>
                </p:custDataLst>
              </p:nvPr>
            </p:nvSpPr>
            <p:spPr bwMode="gray">
              <a:xfrm>
                <a:off x="4495" y="1447"/>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93" name="Oval 51"/>
              <p:cNvSpPr>
                <a:spLocks noChangeAspect="1" noChangeArrowheads="1"/>
              </p:cNvSpPr>
              <p:nvPr>
                <p:custDataLst>
                  <p:tags r:id="rId22"/>
                </p:custDataLst>
              </p:nvPr>
            </p:nvSpPr>
            <p:spPr bwMode="gray">
              <a:xfrm>
                <a:off x="4495" y="1447"/>
                <a:ext cx="160" cy="160"/>
              </a:xfrm>
              <a:prstGeom prst="arc">
                <a:avLst>
                  <a:gd name="adj1" fmla="val 16200000"/>
                  <a:gd name="adj2" fmla="val 162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grpSp>
        <p:grpSp>
          <p:nvGrpSpPr>
            <p:cNvPr id="84" name="MoonLegend3"/>
            <p:cNvGrpSpPr>
              <a:grpSpLocks noChangeAspect="1"/>
            </p:cNvGrpSpPr>
            <p:nvPr>
              <p:custDataLst>
                <p:tags r:id="rId13"/>
              </p:custDataLst>
            </p:nvPr>
          </p:nvGrpSpPr>
          <p:grpSpPr bwMode="gray">
            <a:xfrm>
              <a:off x="5894005" y="3251543"/>
              <a:ext cx="209550" cy="209551"/>
              <a:chOff x="4495" y="1205"/>
              <a:chExt cx="160" cy="160"/>
            </a:xfrm>
          </p:grpSpPr>
          <p:sp>
            <p:nvSpPr>
              <p:cNvPr id="90" name="Oval 47"/>
              <p:cNvSpPr>
                <a:spLocks noChangeAspect="1" noChangeArrowheads="1"/>
              </p:cNvSpPr>
              <p:nvPr>
                <p:custDataLst>
                  <p:tags r:id="rId19"/>
                </p:custDataLst>
              </p:nvPr>
            </p:nvSpPr>
            <p:spPr bwMode="gray">
              <a:xfrm>
                <a:off x="4495" y="1205"/>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91" name="Arc 48"/>
              <p:cNvSpPr>
                <a:spLocks noChangeAspect="1"/>
              </p:cNvSpPr>
              <p:nvPr>
                <p:custDataLst>
                  <p:tags r:id="rId20"/>
                </p:custDataLst>
              </p:nvPr>
            </p:nvSpPr>
            <p:spPr bwMode="gray">
              <a:xfrm>
                <a:off x="4495" y="1205"/>
                <a:ext cx="160" cy="160"/>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grpSp>
        <p:sp>
          <p:nvSpPr>
            <p:cNvPr id="85" name="Legend1"/>
            <p:cNvSpPr>
              <a:spLocks noChangeArrowheads="1"/>
            </p:cNvSpPr>
            <p:nvPr>
              <p:custDataLst>
                <p:tags r:id="rId14"/>
              </p:custDataLst>
            </p:nvPr>
          </p:nvSpPr>
          <p:spPr bwMode="gray">
            <a:xfrm>
              <a:off x="6214680" y="2696542"/>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sp>
          <p:nvSpPr>
            <p:cNvPr id="86" name="Legend2"/>
            <p:cNvSpPr>
              <a:spLocks noChangeArrowheads="1"/>
            </p:cNvSpPr>
            <p:nvPr>
              <p:custDataLst>
                <p:tags r:id="rId15"/>
              </p:custDataLst>
            </p:nvPr>
          </p:nvSpPr>
          <p:spPr bwMode="gray">
            <a:xfrm>
              <a:off x="6214680" y="2974156"/>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a:latin typeface="+mn-lt"/>
                  <a:ea typeface="+mn-ea"/>
                </a:rPr>
                <a:t>Legend</a:t>
              </a:r>
              <a:endParaRPr lang="en-US" sz="1400" baseline="0" dirty="0">
                <a:latin typeface="+mn-lt"/>
                <a:ea typeface="+mn-ea"/>
              </a:endParaRPr>
            </a:p>
          </p:txBody>
        </p:sp>
        <p:sp>
          <p:nvSpPr>
            <p:cNvPr id="87" name="Legend3"/>
            <p:cNvSpPr>
              <a:spLocks noChangeArrowheads="1"/>
            </p:cNvSpPr>
            <p:nvPr>
              <p:custDataLst>
                <p:tags r:id="rId16"/>
              </p:custDataLst>
            </p:nvPr>
          </p:nvSpPr>
          <p:spPr bwMode="gray">
            <a:xfrm>
              <a:off x="6214680" y="3248596"/>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sp>
          <p:nvSpPr>
            <p:cNvPr id="88" name="Legend4"/>
            <p:cNvSpPr>
              <a:spLocks noChangeArrowheads="1"/>
            </p:cNvSpPr>
            <p:nvPr>
              <p:custDataLst>
                <p:tags r:id="rId17"/>
              </p:custDataLst>
            </p:nvPr>
          </p:nvSpPr>
          <p:spPr bwMode="gray">
            <a:xfrm>
              <a:off x="6214680" y="3521448"/>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sp>
          <p:nvSpPr>
            <p:cNvPr id="89" name="Legend5"/>
            <p:cNvSpPr>
              <a:spLocks noChangeArrowheads="1"/>
            </p:cNvSpPr>
            <p:nvPr>
              <p:custDataLst>
                <p:tags r:id="rId18"/>
              </p:custDataLst>
            </p:nvPr>
          </p:nvSpPr>
          <p:spPr bwMode="gray">
            <a:xfrm>
              <a:off x="6214680" y="3796682"/>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a:latin typeface="+mn-lt"/>
                  <a:ea typeface="+mn-ea"/>
                </a:rPr>
                <a:t>Legend</a:t>
              </a:r>
              <a:endParaRPr lang="en-US" sz="1400" baseline="0" dirty="0">
                <a:latin typeface="+mn-lt"/>
                <a:ea typeface="+mn-ea"/>
              </a:endParaRPr>
            </a:p>
          </p:txBody>
        </p:sp>
      </p:grpSp>
    </p:spTree>
    <p:extLst>
      <p:ext uri="{BB962C8B-B14F-4D97-AF65-F5344CB8AC3E}">
        <p14:creationId xmlns:p14="http://schemas.microsoft.com/office/powerpoint/2010/main" val="1959517250"/>
      </p:ext>
    </p:extLst>
  </p:cSld>
  <p:clrMap bg1="lt1" tx1="dk1" bg2="lt2" tx2="dk2" accent1="accent1" accent2="accent2" accent3="accent3" accent4="accent4" accent5="accent5" accent6="accent6" hlink="hlink" folHlink="folHlink"/>
  <p:sldLayoutIdLst>
    <p:sldLayoutId id="2147483741" r:id="rId1"/>
    <p:sldLayoutId id="2147483742" r:id="rId2"/>
    <p:sldLayoutId id="2147483743" r:id="rId3"/>
    <p:sldLayoutId id="2147483744" r:id="rId4"/>
  </p:sldLayoutIdLst>
  <p:txStyles>
    <p:titleStyle>
      <a:lvl1pPr algn="l" defTabSz="895350" rtl="0" eaLnBrk="1" fontAlgn="base" hangingPunct="1">
        <a:spcBef>
          <a:spcPct val="0"/>
        </a:spcBef>
        <a:spcAft>
          <a:spcPct val="0"/>
        </a:spcAft>
        <a:tabLst>
          <a:tab pos="269875" algn="l"/>
        </a:tabLst>
        <a:defRPr sz="2000" b="0" baseline="0">
          <a:solidFill>
            <a:schemeClr val="tx2"/>
          </a:solidFill>
          <a:latin typeface="+mj-lt"/>
          <a:ea typeface="+mj-ea"/>
          <a:cs typeface="+mj-cs"/>
        </a:defRPr>
      </a:lvl1pPr>
      <a:lvl2pPr algn="l" defTabSz="895350" rtl="0" eaLnBrk="1" fontAlgn="base" hangingPunct="1">
        <a:spcBef>
          <a:spcPct val="0"/>
        </a:spcBef>
        <a:spcAft>
          <a:spcPct val="0"/>
        </a:spcAft>
        <a:defRPr sz="1900" b="1">
          <a:solidFill>
            <a:schemeClr val="tx2"/>
          </a:solidFill>
          <a:latin typeface="Arial" charset="0"/>
        </a:defRPr>
      </a:lvl2pPr>
      <a:lvl3pPr algn="l" defTabSz="895350" rtl="0" eaLnBrk="1" fontAlgn="base" hangingPunct="1">
        <a:spcBef>
          <a:spcPct val="0"/>
        </a:spcBef>
        <a:spcAft>
          <a:spcPct val="0"/>
        </a:spcAft>
        <a:defRPr sz="1900" b="1">
          <a:solidFill>
            <a:schemeClr val="tx2"/>
          </a:solidFill>
          <a:latin typeface="Arial" charset="0"/>
        </a:defRPr>
      </a:lvl3pPr>
      <a:lvl4pPr algn="l" defTabSz="895350" rtl="0" eaLnBrk="1" fontAlgn="base" hangingPunct="1">
        <a:spcBef>
          <a:spcPct val="0"/>
        </a:spcBef>
        <a:spcAft>
          <a:spcPct val="0"/>
        </a:spcAft>
        <a:defRPr sz="1900" b="1">
          <a:solidFill>
            <a:schemeClr val="tx2"/>
          </a:solidFill>
          <a:latin typeface="Arial" charset="0"/>
        </a:defRPr>
      </a:lvl4pPr>
      <a:lvl5pPr algn="l" defTabSz="895350" rtl="0" eaLnBrk="1" fontAlgn="base" hangingPunct="1">
        <a:spcBef>
          <a:spcPct val="0"/>
        </a:spcBef>
        <a:spcAft>
          <a:spcPct val="0"/>
        </a:spcAft>
        <a:defRPr sz="1900" b="1">
          <a:solidFill>
            <a:schemeClr val="tx2"/>
          </a:solidFill>
          <a:latin typeface="Arial" charset="0"/>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p:titleStyle>
    <p:bodyStyle>
      <a:lvl1pPr marL="0" indent="0" algn="l" defTabSz="895350" rtl="0" eaLnBrk="1" fontAlgn="base" hangingPunct="1">
        <a:spcBef>
          <a:spcPct val="0"/>
        </a:spcBef>
        <a:spcAft>
          <a:spcPct val="0"/>
        </a:spcAft>
        <a:buClr>
          <a:schemeClr val="tx2"/>
        </a:buClr>
        <a:buSzPct val="100000"/>
        <a:defRPr sz="14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4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4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4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4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ext>
  </p:extLst>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7"/>
            </p:custDataLst>
            <p:extLst>
              <p:ext uri="{D42A27DB-BD31-4B8C-83A1-F6EECF244321}">
                <p14:modId xmlns:p14="http://schemas.microsoft.com/office/powerpoint/2010/main" val="145584267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77844" name="think-cell Slide" r:id="rId36" imgW="270" imgH="270" progId="TCLayout.ActiveDocument.1">
                  <p:embed/>
                </p:oleObj>
              </mc:Choice>
              <mc:Fallback>
                <p:oleObj name="think-cell Slide" r:id="rId36" imgW="270" imgH="270" progId="TCLayout.ActiveDocument.1">
                  <p:embed/>
                  <p:pic>
                    <p:nvPicPr>
                      <p:cNvPr id="2" name="Object 1" hidden="1"/>
                      <p:cNvPicPr/>
                      <p:nvPr/>
                    </p:nvPicPr>
                    <p:blipFill>
                      <a:blip r:embed="rId37"/>
                      <a:stretch>
                        <a:fillRect/>
                      </a:stretch>
                    </p:blipFill>
                    <p:spPr>
                      <a:xfrm>
                        <a:off x="0" y="0"/>
                        <a:ext cx="158750" cy="158750"/>
                      </a:xfrm>
                      <a:prstGeom prst="rect">
                        <a:avLst/>
                      </a:prstGeom>
                    </p:spPr>
                  </p:pic>
                </p:oleObj>
              </mc:Fallback>
            </mc:AlternateContent>
          </a:graphicData>
        </a:graphic>
      </p:graphicFrame>
      <p:sp>
        <p:nvSpPr>
          <p:cNvPr id="6" name="Rectangle 5" hidden="1"/>
          <p:cNvSpPr/>
          <p:nvPr>
            <p:custDataLst>
              <p:tags r:id="rId8"/>
            </p:custDataLst>
          </p:nvPr>
        </p:nvSpPr>
        <p:spPr bwMode="auto">
          <a:xfrm>
            <a:off x="0" y="0"/>
            <a:ext cx="158750" cy="158750"/>
          </a:xfrm>
          <a:prstGeom prst="rect">
            <a:avLst/>
          </a:prstGeom>
          <a:solidFill>
            <a:schemeClr val="bg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dirty="0">
              <a:solidFill>
                <a:srgbClr val="000000"/>
              </a:solidFill>
              <a:sym typeface="Arial" panose="020B0604020202020204" pitchFamily="34" charset="0"/>
            </a:endParaRPr>
          </a:p>
        </p:txBody>
      </p:sp>
      <p:sp>
        <p:nvSpPr>
          <p:cNvPr id="1034" name="Working Draft" hidden="1"/>
          <p:cNvSpPr txBox="1">
            <a:spLocks noChangeArrowheads="1"/>
          </p:cNvSpPr>
          <p:nvPr/>
        </p:nvSpPr>
        <p:spPr bwMode="gray">
          <a:xfrm rot="5400000">
            <a:off x="7966656" y="1940591"/>
            <a:ext cx="1849865"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600" baseline="0">
                <a:solidFill>
                  <a:srgbClr val="808080"/>
                </a:solidFill>
                <a:latin typeface="+mn-lt"/>
                <a:ea typeface="+mn-ea"/>
              </a:rPr>
              <a:t>Last Modified 21/05/2018 17:44 India Standard Time</a:t>
            </a:r>
            <a:endParaRPr lang="en-US" baseline="0" dirty="0">
              <a:solidFill>
                <a:srgbClr val="808080"/>
              </a:solidFill>
              <a:latin typeface="+mn-lt"/>
              <a:ea typeface="+mn-ea"/>
            </a:endParaRPr>
          </a:p>
        </p:txBody>
      </p:sp>
      <p:sp>
        <p:nvSpPr>
          <p:cNvPr id="1035" name="Printed" hidden="1"/>
          <p:cNvSpPr txBox="1">
            <a:spLocks noChangeArrowheads="1"/>
          </p:cNvSpPr>
          <p:nvPr/>
        </p:nvSpPr>
        <p:spPr bwMode="gray">
          <a:xfrm rot="5400000">
            <a:off x="8768958" y="4114417"/>
            <a:ext cx="245260"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600" baseline="0" dirty="0">
                <a:solidFill>
                  <a:srgbClr val="808080"/>
                </a:solidFill>
                <a:latin typeface="+mn-lt"/>
                <a:ea typeface="+mn-ea"/>
              </a:rPr>
              <a:t>Printed</a:t>
            </a:r>
            <a:endParaRPr lang="en-US" baseline="0" dirty="0">
              <a:solidFill>
                <a:srgbClr val="808080"/>
              </a:solidFill>
              <a:latin typeface="+mn-lt"/>
              <a:ea typeface="+mn-ea"/>
            </a:endParaRPr>
          </a:p>
        </p:txBody>
      </p:sp>
      <p:sp>
        <p:nvSpPr>
          <p:cNvPr id="19" name="Title Placeholder 2"/>
          <p:cNvSpPr>
            <a:spLocks noGrp="1" noChangeArrowheads="1"/>
          </p:cNvSpPr>
          <p:nvPr>
            <p:ph type="title"/>
          </p:nvPr>
        </p:nvSpPr>
        <p:spPr bwMode="gray">
          <a:xfrm>
            <a:off x="119063" y="230188"/>
            <a:ext cx="8618537"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latinLnBrk="0"/>
            <a:r>
              <a:rPr lang="en-US"/>
              <a:t>Click to edit Master title style</a:t>
            </a:r>
            <a:endParaRPr lang="en-US" noProof="0" dirty="0"/>
          </a:p>
        </p:txBody>
      </p:sp>
      <p:sp>
        <p:nvSpPr>
          <p:cNvPr id="10" name="1. On-page tracker" hidden="1"/>
          <p:cNvSpPr>
            <a:spLocks noChangeArrowheads="1"/>
          </p:cNvSpPr>
          <p:nvPr/>
        </p:nvSpPr>
        <p:spPr bwMode="gray">
          <a:xfrm>
            <a:off x="119063" y="75764"/>
            <a:ext cx="490519"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800" cap="all" baseline="0" dirty="0">
                <a:solidFill>
                  <a:schemeClr val="accent6"/>
                </a:solidFill>
                <a:latin typeface="+mn-lt"/>
                <a:ea typeface="+mn-ea"/>
              </a:rPr>
              <a:t>Tracker</a:t>
            </a:r>
          </a:p>
        </p:txBody>
      </p:sp>
      <p:sp>
        <p:nvSpPr>
          <p:cNvPr id="11" name="3. Unit of measure" hidden="1"/>
          <p:cNvSpPr txBox="1">
            <a:spLocks noChangeArrowheads="1"/>
          </p:cNvSpPr>
          <p:nvPr/>
        </p:nvSpPr>
        <p:spPr bwMode="gray">
          <a:xfrm>
            <a:off x="119063" y="554865"/>
            <a:ext cx="8618537"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600" baseline="0" dirty="0">
                <a:solidFill>
                  <a:schemeClr val="accent6"/>
                </a:solidFill>
                <a:latin typeface="+mn-lt"/>
                <a:ea typeface="+mn-ea"/>
              </a:rPr>
              <a:t>Unit of measure</a:t>
            </a:r>
          </a:p>
        </p:txBody>
      </p:sp>
      <p:grpSp>
        <p:nvGrpSpPr>
          <p:cNvPr id="4" name="Slide Elements" hidden="1"/>
          <p:cNvGrpSpPr/>
          <p:nvPr/>
        </p:nvGrpSpPr>
        <p:grpSpPr bwMode="gray">
          <a:xfrm>
            <a:off x="119063" y="6305945"/>
            <a:ext cx="8618537" cy="325438"/>
            <a:chOff x="119063" y="6305945"/>
            <a:chExt cx="8618537" cy="325438"/>
          </a:xfrm>
        </p:grpSpPr>
        <p:sp>
          <p:nvSpPr>
            <p:cNvPr id="13" name="4. Footnote"/>
            <p:cNvSpPr txBox="1">
              <a:spLocks noChangeArrowheads="1"/>
            </p:cNvSpPr>
            <p:nvPr/>
          </p:nvSpPr>
          <p:spPr bwMode="gray">
            <a:xfrm>
              <a:off x="119063" y="6305945"/>
              <a:ext cx="8618537" cy="123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800" baseline="0" dirty="0">
                  <a:solidFill>
                    <a:schemeClr val="accent6"/>
                  </a:solidFill>
                  <a:latin typeface="+mn-lt"/>
                  <a:ea typeface="+mn-ea"/>
                </a:rPr>
                <a:t>1 Footnote</a:t>
              </a:r>
            </a:p>
          </p:txBody>
        </p:sp>
        <p:sp>
          <p:nvSpPr>
            <p:cNvPr id="14" name="5. Source"/>
            <p:cNvSpPr>
              <a:spLocks noChangeArrowheads="1"/>
            </p:cNvSpPr>
            <p:nvPr/>
          </p:nvSpPr>
          <p:spPr bwMode="gray">
            <a:xfrm>
              <a:off x="119063" y="6507558"/>
              <a:ext cx="7200000" cy="123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marL="609600" indent="-609600" defTabSz="895350">
                <a:tabLst>
                  <a:tab pos="612775" algn="l"/>
                </a:tabLst>
              </a:pPr>
              <a:r>
                <a:rPr lang="en-US" sz="800" baseline="0" dirty="0">
                  <a:solidFill>
                    <a:schemeClr val="accent6"/>
                  </a:solidFill>
                  <a:latin typeface="+mn-lt"/>
                  <a:ea typeface="+mn-ea"/>
                </a:rPr>
                <a:t>SOURCE: Source</a:t>
              </a:r>
            </a:p>
          </p:txBody>
        </p:sp>
      </p:grpSp>
      <p:sp>
        <p:nvSpPr>
          <p:cNvPr id="3" name="Text Placeholder 2"/>
          <p:cNvSpPr>
            <a:spLocks noGrp="1"/>
          </p:cNvSpPr>
          <p:nvPr>
            <p:ph type="body" idx="1"/>
          </p:nvPr>
        </p:nvSpPr>
        <p:spPr bwMode="gray">
          <a:xfrm>
            <a:off x="1452564" y="1951380"/>
            <a:ext cx="4302125" cy="1077218"/>
          </a:xfrm>
          <a:prstGeom prst="rect">
            <a:avLst/>
          </a:prstGeom>
        </p:spPr>
        <p:txBody>
          <a:bodyPr vert="horz" lIns="0" tIns="0" rIns="0" bIns="0" rtlCol="0">
            <a:spAutoFit/>
          </a:bodyPr>
          <a:lstStyle/>
          <a:p>
            <a:pPr lvl="0" latinLnBrk="0"/>
            <a:r>
              <a:rPr lang="en-US"/>
              <a:t>Edit Master text styles</a:t>
            </a:r>
          </a:p>
          <a:p>
            <a:pPr lvl="1" latinLnBrk="0"/>
            <a:r>
              <a:rPr lang="en-US"/>
              <a:t>Second level</a:t>
            </a:r>
          </a:p>
          <a:p>
            <a:pPr lvl="2" latinLnBrk="0"/>
            <a:r>
              <a:rPr lang="en-US"/>
              <a:t>Third level</a:t>
            </a:r>
          </a:p>
          <a:p>
            <a:pPr lvl="3" latinLnBrk="0"/>
            <a:r>
              <a:rPr lang="en-US"/>
              <a:t>Fourth level</a:t>
            </a:r>
          </a:p>
          <a:p>
            <a:pPr lvl="4" latinLnBrk="0"/>
            <a:r>
              <a:rPr lang="en-US"/>
              <a:t>Fifth level</a:t>
            </a:r>
            <a:endParaRPr lang="en-US" dirty="0"/>
          </a:p>
        </p:txBody>
      </p:sp>
      <p:grpSp>
        <p:nvGrpSpPr>
          <p:cNvPr id="15" name="ACET" hidden="1"/>
          <p:cNvGrpSpPr>
            <a:grpSpLocks/>
          </p:cNvGrpSpPr>
          <p:nvPr/>
        </p:nvGrpSpPr>
        <p:grpSpPr bwMode="gray">
          <a:xfrm>
            <a:off x="1452563" y="1257754"/>
            <a:ext cx="4264025" cy="508000"/>
            <a:chOff x="915" y="710"/>
            <a:chExt cx="2686" cy="320"/>
          </a:xfrm>
        </p:grpSpPr>
        <p:cxnSp>
          <p:nvCxnSpPr>
            <p:cNvPr id="16" name="AutoShape 249"/>
            <p:cNvCxnSpPr>
              <a:cxnSpLocks noChangeShapeType="1"/>
              <a:stCxn id="18" idx="4"/>
              <a:endCxn id="18" idx="6"/>
            </p:cNvCxnSpPr>
            <p:nvPr/>
          </p:nvCxnSpPr>
          <p:spPr bwMode="gray">
            <a:xfrm>
              <a:off x="915" y="1030"/>
              <a:ext cx="2686" cy="0"/>
            </a:xfrm>
            <a:prstGeom prst="straightConnector1">
              <a:avLst/>
            </a:prstGeom>
            <a:noFill/>
            <a:ln w="9525">
              <a:solidFill>
                <a:schemeClr val="accent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8" name="AutoShape 250"/>
            <p:cNvSpPr>
              <a:spLocks noChangeArrowheads="1"/>
            </p:cNvSpPr>
            <p:nvPr/>
          </p:nvSpPr>
          <p:spPr bwMode="gray">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US" b="1" baseline="0" dirty="0">
                  <a:solidFill>
                    <a:srgbClr val="000000"/>
                  </a:solidFill>
                  <a:latin typeface="+mn-lt"/>
                  <a:ea typeface="+mn-ea"/>
                </a:rPr>
                <a:t>Title</a:t>
              </a:r>
            </a:p>
            <a:p>
              <a:r>
                <a:rPr lang="en-US" baseline="0" dirty="0">
                  <a:solidFill>
                    <a:schemeClr val="accent6"/>
                  </a:solidFill>
                  <a:latin typeface="+mn-lt"/>
                  <a:ea typeface="+mn-ea"/>
                </a:rPr>
                <a:t>Unit of measure</a:t>
              </a:r>
            </a:p>
          </p:txBody>
        </p:sp>
      </p:grpSp>
      <p:grpSp>
        <p:nvGrpSpPr>
          <p:cNvPr id="17" name="McKSticker" hidden="1"/>
          <p:cNvGrpSpPr/>
          <p:nvPr/>
        </p:nvGrpSpPr>
        <p:grpSpPr bwMode="gray">
          <a:xfrm>
            <a:off x="8264265" y="285750"/>
            <a:ext cx="473335" cy="150811"/>
            <a:chOff x="8267440" y="285750"/>
            <a:chExt cx="473335" cy="150811"/>
          </a:xfrm>
        </p:grpSpPr>
        <p:sp>
          <p:nvSpPr>
            <p:cNvPr id="20" name="StickerRectangle"/>
            <p:cNvSpPr>
              <a:spLocks noChangeArrowheads="1"/>
            </p:cNvSpPr>
            <p:nvPr/>
          </p:nvSpPr>
          <p:spPr bwMode="gray">
            <a:xfrm>
              <a:off x="8267440" y="285750"/>
              <a:ext cx="473335" cy="150811"/>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a:buClr>
                  <a:srgbClr val="002960"/>
                </a:buClr>
              </a:pPr>
              <a:r>
                <a:rPr lang="en-US" sz="800" baseline="0" dirty="0">
                  <a:solidFill>
                    <a:schemeClr val="accent6"/>
                  </a:solidFill>
                  <a:latin typeface="+mn-lt"/>
                  <a:ea typeface="+mn-ea"/>
                </a:rPr>
                <a:t>STICKER</a:t>
              </a:r>
            </a:p>
          </p:txBody>
        </p:sp>
        <p:cxnSp>
          <p:nvCxnSpPr>
            <p:cNvPr id="21" name="AutoShape 31"/>
            <p:cNvCxnSpPr>
              <a:cxnSpLocks noChangeShapeType="1"/>
              <a:stCxn id="20" idx="2"/>
              <a:endCxn id="20" idx="4"/>
            </p:cNvCxnSpPr>
            <p:nvPr/>
          </p:nvCxnSpPr>
          <p:spPr bwMode="gray">
            <a:xfrm>
              <a:off x="8267440" y="285750"/>
              <a:ext cx="0" cy="150811"/>
            </a:xfrm>
            <a:prstGeom prst="straightConnector1">
              <a:avLst/>
            </a:prstGeom>
            <a:noFill/>
            <a:ln w="9525">
              <a:solidFill>
                <a:schemeClr val="accent6"/>
              </a:solidFill>
              <a:round/>
              <a:headEnd/>
              <a:tailEnd/>
            </a:ln>
            <a:extLst>
              <a:ext uri="{909E8E84-426E-40DD-AFC4-6F175D3DCCD1}">
                <a14:hiddenFill xmlns:a14="http://schemas.microsoft.com/office/drawing/2010/main">
                  <a:noFill/>
                </a14:hiddenFill>
              </a:ext>
            </a:extLst>
          </p:spPr>
        </p:cxnSp>
        <p:cxnSp>
          <p:nvCxnSpPr>
            <p:cNvPr id="22" name="AutoShape 32"/>
            <p:cNvCxnSpPr>
              <a:cxnSpLocks noChangeShapeType="1"/>
              <a:stCxn id="20" idx="4"/>
              <a:endCxn id="20" idx="6"/>
            </p:cNvCxnSpPr>
            <p:nvPr/>
          </p:nvCxnSpPr>
          <p:spPr bwMode="gray">
            <a:xfrm>
              <a:off x="8267440" y="436561"/>
              <a:ext cx="473335" cy="0"/>
            </a:xfrm>
            <a:prstGeom prst="straightConnector1">
              <a:avLst/>
            </a:prstGeom>
            <a:noFill/>
            <a:ln w="25400">
              <a:solidFill>
                <a:schemeClr val="accent6"/>
              </a:solidFill>
              <a:round/>
              <a:headEnd/>
              <a:tailEnd/>
            </a:ln>
            <a:extLst>
              <a:ext uri="{909E8E84-426E-40DD-AFC4-6F175D3DCCD1}">
                <a14:hiddenFill xmlns:a14="http://schemas.microsoft.com/office/drawing/2010/main">
                  <a:noFill/>
                </a14:hiddenFill>
              </a:ext>
            </a:extLst>
          </p:spPr>
        </p:cxnSp>
      </p:grpSp>
      <p:sp>
        <p:nvSpPr>
          <p:cNvPr id="23" name="SlideBottomBar" hidden="1"/>
          <p:cNvSpPr/>
          <p:nvPr/>
        </p:nvSpPr>
        <p:spPr>
          <a:xfrm>
            <a:off x="8437547" y="6182120"/>
            <a:ext cx="45719" cy="123825"/>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aseline="0" dirty="0">
              <a:solidFill>
                <a:schemeClr val="tx1"/>
              </a:solidFill>
              <a:latin typeface="+mn-lt"/>
              <a:ea typeface="+mn-ea"/>
            </a:endParaRPr>
          </a:p>
        </p:txBody>
      </p:sp>
      <p:sp>
        <p:nvSpPr>
          <p:cNvPr id="24" name="doc id" hidden="1"/>
          <p:cNvSpPr txBox="1">
            <a:spLocks noChangeArrowheads="1"/>
          </p:cNvSpPr>
          <p:nvPr/>
        </p:nvSpPr>
        <p:spPr bwMode="white">
          <a:xfrm>
            <a:off x="8104473" y="36513"/>
            <a:ext cx="634716" cy="115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hangingPunct="1">
              <a:defRPr/>
            </a:pPr>
            <a:endParaRPr lang="en-US" sz="800" baseline="0" dirty="0">
              <a:solidFill>
                <a:schemeClr val="accent1"/>
              </a:solidFill>
              <a:latin typeface="+mn-lt"/>
              <a:ea typeface="+mn-ea"/>
            </a:endParaRPr>
          </a:p>
        </p:txBody>
      </p:sp>
      <p:grpSp>
        <p:nvGrpSpPr>
          <p:cNvPr id="63" name="LegendLines" hidden="1"/>
          <p:cNvGrpSpPr/>
          <p:nvPr/>
        </p:nvGrpSpPr>
        <p:grpSpPr>
          <a:xfrm>
            <a:off x="7551589" y="267815"/>
            <a:ext cx="1158292" cy="761545"/>
            <a:chOff x="7607284" y="279400"/>
            <a:chExt cx="1158292" cy="761545"/>
          </a:xfrm>
        </p:grpSpPr>
        <p:sp>
          <p:nvSpPr>
            <p:cNvPr id="64" name="LineLegend1"/>
            <p:cNvSpPr>
              <a:spLocks noChangeShapeType="1"/>
            </p:cNvSpPr>
            <p:nvPr/>
          </p:nvSpPr>
          <p:spPr bwMode="gray">
            <a:xfrm>
              <a:off x="7607284" y="387122"/>
              <a:ext cx="457200"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65" name="LineLegend2"/>
            <p:cNvSpPr>
              <a:spLocks noChangeShapeType="1"/>
            </p:cNvSpPr>
            <p:nvPr/>
          </p:nvSpPr>
          <p:spPr bwMode="gray">
            <a:xfrm>
              <a:off x="7607284" y="653822"/>
              <a:ext cx="457200"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66" name="LineLegend3"/>
            <p:cNvSpPr>
              <a:spLocks noChangeShapeType="1"/>
            </p:cNvSpPr>
            <p:nvPr/>
          </p:nvSpPr>
          <p:spPr bwMode="gray">
            <a:xfrm>
              <a:off x="7607284" y="933223"/>
              <a:ext cx="457200"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67" name="Legend1"/>
            <p:cNvSpPr>
              <a:spLocks noChangeArrowheads="1"/>
            </p:cNvSpPr>
            <p:nvPr>
              <p:custDataLst>
                <p:tags r:id="rId33"/>
              </p:custDataLst>
            </p:nvPr>
          </p:nvSpPr>
          <p:spPr bwMode="gray">
            <a:xfrm>
              <a:off x="8169259" y="279400"/>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sp>
          <p:nvSpPr>
            <p:cNvPr id="68" name="Legend2"/>
            <p:cNvSpPr>
              <a:spLocks noChangeArrowheads="1"/>
            </p:cNvSpPr>
            <p:nvPr>
              <p:custDataLst>
                <p:tags r:id="rId34"/>
              </p:custDataLst>
            </p:nvPr>
          </p:nvSpPr>
          <p:spPr bwMode="gray">
            <a:xfrm>
              <a:off x="8169259" y="546100"/>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a:latin typeface="+mn-lt"/>
                  <a:ea typeface="+mn-ea"/>
                </a:rPr>
                <a:t>Legend</a:t>
              </a:r>
              <a:endParaRPr lang="en-US" sz="1400" baseline="0" dirty="0">
                <a:latin typeface="+mn-lt"/>
                <a:ea typeface="+mn-ea"/>
              </a:endParaRPr>
            </a:p>
          </p:txBody>
        </p:sp>
        <p:sp>
          <p:nvSpPr>
            <p:cNvPr id="69" name="Legend3"/>
            <p:cNvSpPr>
              <a:spLocks noChangeArrowheads="1"/>
            </p:cNvSpPr>
            <p:nvPr>
              <p:custDataLst>
                <p:tags r:id="rId35"/>
              </p:custDataLst>
            </p:nvPr>
          </p:nvSpPr>
          <p:spPr bwMode="gray">
            <a:xfrm>
              <a:off x="8169259" y="825501"/>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grpSp>
      <p:grpSp>
        <p:nvGrpSpPr>
          <p:cNvPr id="70" name="LegendBoxes" hidden="1"/>
          <p:cNvGrpSpPr/>
          <p:nvPr/>
        </p:nvGrpSpPr>
        <p:grpSpPr>
          <a:xfrm>
            <a:off x="7859564" y="267919"/>
            <a:ext cx="850317" cy="1028245"/>
            <a:chOff x="5894005" y="919828"/>
            <a:chExt cx="850317" cy="1028245"/>
          </a:xfrm>
        </p:grpSpPr>
        <p:sp>
          <p:nvSpPr>
            <p:cNvPr id="71" name="RectangleLegend1"/>
            <p:cNvSpPr>
              <a:spLocks noChangeArrowheads="1"/>
            </p:cNvSpPr>
            <p:nvPr/>
          </p:nvSpPr>
          <p:spPr bwMode="gray">
            <a:xfrm>
              <a:off x="5894005" y="947381"/>
              <a:ext cx="165100" cy="160338"/>
            </a:xfrm>
            <a:prstGeom prst="rect">
              <a:avLst/>
            </a:prstGeom>
            <a:solidFill>
              <a:schemeClr val="accent1"/>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72" name="RectangleLegend2"/>
            <p:cNvSpPr>
              <a:spLocks noChangeArrowheads="1"/>
            </p:cNvSpPr>
            <p:nvPr/>
          </p:nvSpPr>
          <p:spPr bwMode="gray">
            <a:xfrm>
              <a:off x="5894005" y="1217256"/>
              <a:ext cx="165100" cy="160338"/>
            </a:xfrm>
            <a:prstGeom prst="rect">
              <a:avLst/>
            </a:prstGeom>
            <a:solidFill>
              <a:schemeClr val="accent2"/>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73" name="RectangleLegend3"/>
            <p:cNvSpPr>
              <a:spLocks noChangeArrowheads="1"/>
            </p:cNvSpPr>
            <p:nvPr/>
          </p:nvSpPr>
          <p:spPr bwMode="gray">
            <a:xfrm>
              <a:off x="5894005" y="1488719"/>
              <a:ext cx="165100" cy="160338"/>
            </a:xfrm>
            <a:prstGeom prst="rect">
              <a:avLst/>
            </a:prstGeom>
            <a:solidFill>
              <a:schemeClr val="accent3"/>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74" name="RectangleLegend4"/>
            <p:cNvSpPr>
              <a:spLocks noChangeArrowheads="1"/>
            </p:cNvSpPr>
            <p:nvPr/>
          </p:nvSpPr>
          <p:spPr bwMode="gray">
            <a:xfrm>
              <a:off x="5894005" y="1760182"/>
              <a:ext cx="165100" cy="160338"/>
            </a:xfrm>
            <a:prstGeom prst="rect">
              <a:avLst/>
            </a:prstGeom>
            <a:solidFill>
              <a:schemeClr val="accent4"/>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75" name="Legend1"/>
            <p:cNvSpPr>
              <a:spLocks noChangeArrowheads="1"/>
            </p:cNvSpPr>
            <p:nvPr>
              <p:custDataLst>
                <p:tags r:id="rId29"/>
              </p:custDataLst>
            </p:nvPr>
          </p:nvSpPr>
          <p:spPr bwMode="gray">
            <a:xfrm>
              <a:off x="6148005" y="919828"/>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sp>
          <p:nvSpPr>
            <p:cNvPr id="76" name="Legend2"/>
            <p:cNvSpPr>
              <a:spLocks noChangeArrowheads="1"/>
            </p:cNvSpPr>
            <p:nvPr>
              <p:custDataLst>
                <p:tags r:id="rId30"/>
              </p:custDataLst>
            </p:nvPr>
          </p:nvSpPr>
          <p:spPr bwMode="gray">
            <a:xfrm>
              <a:off x="6148005" y="1189703"/>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sp>
          <p:nvSpPr>
            <p:cNvPr id="77" name="Legend3"/>
            <p:cNvSpPr>
              <a:spLocks noChangeArrowheads="1"/>
            </p:cNvSpPr>
            <p:nvPr>
              <p:custDataLst>
                <p:tags r:id="rId31"/>
              </p:custDataLst>
            </p:nvPr>
          </p:nvSpPr>
          <p:spPr bwMode="gray">
            <a:xfrm>
              <a:off x="6148005" y="1461166"/>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sp>
          <p:nvSpPr>
            <p:cNvPr id="78" name="Legend4"/>
            <p:cNvSpPr>
              <a:spLocks noChangeArrowheads="1"/>
            </p:cNvSpPr>
            <p:nvPr>
              <p:custDataLst>
                <p:tags r:id="rId32"/>
              </p:custDataLst>
            </p:nvPr>
          </p:nvSpPr>
          <p:spPr bwMode="gray">
            <a:xfrm>
              <a:off x="6148005" y="1732629"/>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grpSp>
      <p:grpSp>
        <p:nvGrpSpPr>
          <p:cNvPr id="79" name="LegendMoons" hidden="1"/>
          <p:cNvGrpSpPr/>
          <p:nvPr/>
        </p:nvGrpSpPr>
        <p:grpSpPr>
          <a:xfrm>
            <a:off x="7792889" y="267414"/>
            <a:ext cx="916992" cy="1317003"/>
            <a:chOff x="5894005" y="2695123"/>
            <a:chExt cx="916992" cy="1317003"/>
          </a:xfrm>
        </p:grpSpPr>
        <p:grpSp>
          <p:nvGrpSpPr>
            <p:cNvPr id="80" name="MoonLegend1"/>
            <p:cNvGrpSpPr>
              <a:grpSpLocks noChangeAspect="1"/>
            </p:cNvGrpSpPr>
            <p:nvPr>
              <p:custDataLst>
                <p:tags r:id="rId9"/>
              </p:custDataLst>
            </p:nvPr>
          </p:nvGrpSpPr>
          <p:grpSpPr bwMode="gray">
            <a:xfrm>
              <a:off x="5894005" y="2695123"/>
              <a:ext cx="209550" cy="218282"/>
              <a:chOff x="4533" y="183"/>
              <a:chExt cx="144" cy="150"/>
            </a:xfrm>
          </p:grpSpPr>
          <p:sp>
            <p:nvSpPr>
              <p:cNvPr id="98" name="Oval 97"/>
              <p:cNvSpPr>
                <a:spLocks noChangeAspect="1" noChangeArrowheads="1"/>
              </p:cNvSpPr>
              <p:nvPr>
                <p:custDataLst>
                  <p:tags r:id="rId27"/>
                </p:custDataLst>
              </p:nvPr>
            </p:nvSpPr>
            <p:spPr bwMode="gray">
              <a:xfrm>
                <a:off x="4533" y="189"/>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99" name="Arc 98" hidden="1"/>
              <p:cNvSpPr>
                <a:spLocks noChangeAspect="1"/>
              </p:cNvSpPr>
              <p:nvPr>
                <p:custDataLst>
                  <p:tags r:id="rId28"/>
                </p:custDataLst>
              </p:nvPr>
            </p:nvSpPr>
            <p:spPr bwMode="gray">
              <a:xfrm>
                <a:off x="4533" y="183"/>
                <a:ext cx="144" cy="144"/>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grpSp>
        <p:grpSp>
          <p:nvGrpSpPr>
            <p:cNvPr id="81" name="MoonLegend2"/>
            <p:cNvGrpSpPr>
              <a:grpSpLocks noChangeAspect="1"/>
            </p:cNvGrpSpPr>
            <p:nvPr>
              <p:custDataLst>
                <p:tags r:id="rId10"/>
              </p:custDataLst>
            </p:nvPr>
          </p:nvGrpSpPr>
          <p:grpSpPr bwMode="gray">
            <a:xfrm>
              <a:off x="5894005" y="2977103"/>
              <a:ext cx="209550" cy="209551"/>
              <a:chOff x="1694" y="2051"/>
              <a:chExt cx="160" cy="160"/>
            </a:xfrm>
          </p:grpSpPr>
          <p:sp>
            <p:nvSpPr>
              <p:cNvPr id="96" name="Oval 41"/>
              <p:cNvSpPr>
                <a:spLocks noChangeAspect="1" noChangeArrowheads="1"/>
              </p:cNvSpPr>
              <p:nvPr>
                <p:custDataLst>
                  <p:tags r:id="rId25"/>
                </p:custDataLst>
              </p:nvPr>
            </p:nvSpPr>
            <p:spPr bwMode="gray">
              <a:xfrm>
                <a:off x="1694" y="2051"/>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97" name="Arc 42"/>
              <p:cNvSpPr>
                <a:spLocks noChangeAspect="1"/>
              </p:cNvSpPr>
              <p:nvPr>
                <p:custDataLst>
                  <p:tags r:id="rId26"/>
                </p:custDataLst>
              </p:nvPr>
            </p:nvSpPr>
            <p:spPr bwMode="gray">
              <a:xfrm>
                <a:off x="1694" y="2051"/>
                <a:ext cx="160" cy="160"/>
              </a:xfrm>
              <a:prstGeom prst="arc">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grpSp>
        <p:grpSp>
          <p:nvGrpSpPr>
            <p:cNvPr id="82" name="MoonLegend4"/>
            <p:cNvGrpSpPr>
              <a:grpSpLocks noChangeAspect="1"/>
            </p:cNvGrpSpPr>
            <p:nvPr>
              <p:custDataLst>
                <p:tags r:id="rId11"/>
              </p:custDataLst>
            </p:nvPr>
          </p:nvGrpSpPr>
          <p:grpSpPr bwMode="gray">
            <a:xfrm>
              <a:off x="5894005" y="3524395"/>
              <a:ext cx="209550" cy="209551"/>
              <a:chOff x="4495" y="1204"/>
              <a:chExt cx="160" cy="160"/>
            </a:xfrm>
          </p:grpSpPr>
          <p:sp>
            <p:nvSpPr>
              <p:cNvPr id="94" name="Oval 47"/>
              <p:cNvSpPr>
                <a:spLocks noChangeAspect="1" noChangeArrowheads="1"/>
              </p:cNvSpPr>
              <p:nvPr>
                <p:custDataLst>
                  <p:tags r:id="rId23"/>
                </p:custDataLst>
              </p:nvPr>
            </p:nvSpPr>
            <p:spPr bwMode="gray">
              <a:xfrm>
                <a:off x="4495" y="120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95" name="Arc 48"/>
              <p:cNvSpPr>
                <a:spLocks noChangeAspect="1"/>
              </p:cNvSpPr>
              <p:nvPr>
                <p:custDataLst>
                  <p:tags r:id="rId24"/>
                </p:custDataLst>
              </p:nvPr>
            </p:nvSpPr>
            <p:spPr bwMode="gray">
              <a:xfrm>
                <a:off x="4495" y="1204"/>
                <a:ext cx="160" cy="160"/>
              </a:xfrm>
              <a:prstGeom prst="arc">
                <a:avLst>
                  <a:gd name="adj1" fmla="val 16200000"/>
                  <a:gd name="adj2" fmla="val 108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grpSp>
        <p:grpSp>
          <p:nvGrpSpPr>
            <p:cNvPr id="83" name="MoonLegend5"/>
            <p:cNvGrpSpPr>
              <a:grpSpLocks noChangeAspect="1"/>
            </p:cNvGrpSpPr>
            <p:nvPr>
              <p:custDataLst>
                <p:tags r:id="rId12"/>
              </p:custDataLst>
            </p:nvPr>
          </p:nvGrpSpPr>
          <p:grpSpPr bwMode="gray">
            <a:xfrm>
              <a:off x="5894005" y="3799629"/>
              <a:ext cx="209550" cy="209551"/>
              <a:chOff x="4495" y="1447"/>
              <a:chExt cx="160" cy="160"/>
            </a:xfrm>
          </p:grpSpPr>
          <p:sp>
            <p:nvSpPr>
              <p:cNvPr id="92" name="Oval 50"/>
              <p:cNvSpPr>
                <a:spLocks noChangeAspect="1" noChangeArrowheads="1"/>
              </p:cNvSpPr>
              <p:nvPr>
                <p:custDataLst>
                  <p:tags r:id="rId21"/>
                </p:custDataLst>
              </p:nvPr>
            </p:nvSpPr>
            <p:spPr bwMode="gray">
              <a:xfrm>
                <a:off x="4495" y="1447"/>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93" name="Oval 51"/>
              <p:cNvSpPr>
                <a:spLocks noChangeAspect="1" noChangeArrowheads="1"/>
              </p:cNvSpPr>
              <p:nvPr>
                <p:custDataLst>
                  <p:tags r:id="rId22"/>
                </p:custDataLst>
              </p:nvPr>
            </p:nvSpPr>
            <p:spPr bwMode="gray">
              <a:xfrm>
                <a:off x="4495" y="1447"/>
                <a:ext cx="160" cy="160"/>
              </a:xfrm>
              <a:prstGeom prst="arc">
                <a:avLst>
                  <a:gd name="adj1" fmla="val 16200000"/>
                  <a:gd name="adj2" fmla="val 162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grpSp>
        <p:grpSp>
          <p:nvGrpSpPr>
            <p:cNvPr id="84" name="MoonLegend3"/>
            <p:cNvGrpSpPr>
              <a:grpSpLocks noChangeAspect="1"/>
            </p:cNvGrpSpPr>
            <p:nvPr>
              <p:custDataLst>
                <p:tags r:id="rId13"/>
              </p:custDataLst>
            </p:nvPr>
          </p:nvGrpSpPr>
          <p:grpSpPr bwMode="gray">
            <a:xfrm>
              <a:off x="5894005" y="3251543"/>
              <a:ext cx="209550" cy="209551"/>
              <a:chOff x="4495" y="1205"/>
              <a:chExt cx="160" cy="160"/>
            </a:xfrm>
          </p:grpSpPr>
          <p:sp>
            <p:nvSpPr>
              <p:cNvPr id="90" name="Oval 47"/>
              <p:cNvSpPr>
                <a:spLocks noChangeAspect="1" noChangeArrowheads="1"/>
              </p:cNvSpPr>
              <p:nvPr>
                <p:custDataLst>
                  <p:tags r:id="rId19"/>
                </p:custDataLst>
              </p:nvPr>
            </p:nvSpPr>
            <p:spPr bwMode="gray">
              <a:xfrm>
                <a:off x="4495" y="1205"/>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91" name="Arc 48"/>
              <p:cNvSpPr>
                <a:spLocks noChangeAspect="1"/>
              </p:cNvSpPr>
              <p:nvPr>
                <p:custDataLst>
                  <p:tags r:id="rId20"/>
                </p:custDataLst>
              </p:nvPr>
            </p:nvSpPr>
            <p:spPr bwMode="gray">
              <a:xfrm>
                <a:off x="4495" y="1205"/>
                <a:ext cx="160" cy="160"/>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grpSp>
        <p:sp>
          <p:nvSpPr>
            <p:cNvPr id="85" name="Legend1"/>
            <p:cNvSpPr>
              <a:spLocks noChangeArrowheads="1"/>
            </p:cNvSpPr>
            <p:nvPr>
              <p:custDataLst>
                <p:tags r:id="rId14"/>
              </p:custDataLst>
            </p:nvPr>
          </p:nvSpPr>
          <p:spPr bwMode="gray">
            <a:xfrm>
              <a:off x="6214680" y="2696542"/>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sp>
          <p:nvSpPr>
            <p:cNvPr id="86" name="Legend2"/>
            <p:cNvSpPr>
              <a:spLocks noChangeArrowheads="1"/>
            </p:cNvSpPr>
            <p:nvPr>
              <p:custDataLst>
                <p:tags r:id="rId15"/>
              </p:custDataLst>
            </p:nvPr>
          </p:nvSpPr>
          <p:spPr bwMode="gray">
            <a:xfrm>
              <a:off x="6214680" y="2974156"/>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a:latin typeface="+mn-lt"/>
                  <a:ea typeface="+mn-ea"/>
                </a:rPr>
                <a:t>Legend</a:t>
              </a:r>
              <a:endParaRPr lang="en-US" sz="1400" baseline="0" dirty="0">
                <a:latin typeface="+mn-lt"/>
                <a:ea typeface="+mn-ea"/>
              </a:endParaRPr>
            </a:p>
          </p:txBody>
        </p:sp>
        <p:sp>
          <p:nvSpPr>
            <p:cNvPr id="87" name="Legend3"/>
            <p:cNvSpPr>
              <a:spLocks noChangeArrowheads="1"/>
            </p:cNvSpPr>
            <p:nvPr>
              <p:custDataLst>
                <p:tags r:id="rId16"/>
              </p:custDataLst>
            </p:nvPr>
          </p:nvSpPr>
          <p:spPr bwMode="gray">
            <a:xfrm>
              <a:off x="6214680" y="3248596"/>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sp>
          <p:nvSpPr>
            <p:cNvPr id="88" name="Legend4"/>
            <p:cNvSpPr>
              <a:spLocks noChangeArrowheads="1"/>
            </p:cNvSpPr>
            <p:nvPr>
              <p:custDataLst>
                <p:tags r:id="rId17"/>
              </p:custDataLst>
            </p:nvPr>
          </p:nvSpPr>
          <p:spPr bwMode="gray">
            <a:xfrm>
              <a:off x="6214680" y="3521448"/>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sp>
          <p:nvSpPr>
            <p:cNvPr id="89" name="Legend5"/>
            <p:cNvSpPr>
              <a:spLocks noChangeArrowheads="1"/>
            </p:cNvSpPr>
            <p:nvPr>
              <p:custDataLst>
                <p:tags r:id="rId18"/>
              </p:custDataLst>
            </p:nvPr>
          </p:nvSpPr>
          <p:spPr bwMode="gray">
            <a:xfrm>
              <a:off x="6214680" y="3796682"/>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a:latin typeface="+mn-lt"/>
                  <a:ea typeface="+mn-ea"/>
                </a:rPr>
                <a:t>Legend</a:t>
              </a:r>
              <a:endParaRPr lang="en-US" sz="1400" baseline="0" dirty="0">
                <a:latin typeface="+mn-lt"/>
                <a:ea typeface="+mn-ea"/>
              </a:endParaRPr>
            </a:p>
          </p:txBody>
        </p:sp>
      </p:grpSp>
    </p:spTree>
    <p:extLst>
      <p:ext uri="{BB962C8B-B14F-4D97-AF65-F5344CB8AC3E}">
        <p14:creationId xmlns:p14="http://schemas.microsoft.com/office/powerpoint/2010/main" val="3290390187"/>
      </p:ext>
    </p:extLst>
  </p:cSld>
  <p:clrMap bg1="lt1" tx1="dk1" bg2="lt2" tx2="dk2" accent1="accent1" accent2="accent2" accent3="accent3" accent4="accent4" accent5="accent5" accent6="accent6" hlink="hlink" folHlink="folHlink"/>
  <p:sldLayoutIdLst>
    <p:sldLayoutId id="2147483746" r:id="rId1"/>
    <p:sldLayoutId id="2147483747" r:id="rId2"/>
    <p:sldLayoutId id="2147483748" r:id="rId3"/>
    <p:sldLayoutId id="2147483749" r:id="rId4"/>
  </p:sldLayoutIdLst>
  <p:txStyles>
    <p:titleStyle>
      <a:lvl1pPr algn="l" defTabSz="895350" rtl="0" eaLnBrk="1" fontAlgn="base" hangingPunct="1">
        <a:spcBef>
          <a:spcPct val="0"/>
        </a:spcBef>
        <a:spcAft>
          <a:spcPct val="0"/>
        </a:spcAft>
        <a:tabLst>
          <a:tab pos="269875" algn="l"/>
        </a:tabLst>
        <a:defRPr sz="2000" b="0" baseline="0">
          <a:solidFill>
            <a:schemeClr val="tx2"/>
          </a:solidFill>
          <a:latin typeface="+mj-lt"/>
          <a:ea typeface="+mj-ea"/>
          <a:cs typeface="+mj-cs"/>
        </a:defRPr>
      </a:lvl1pPr>
      <a:lvl2pPr algn="l" defTabSz="895350" rtl="0" eaLnBrk="1" fontAlgn="base" hangingPunct="1">
        <a:spcBef>
          <a:spcPct val="0"/>
        </a:spcBef>
        <a:spcAft>
          <a:spcPct val="0"/>
        </a:spcAft>
        <a:defRPr sz="1900" b="1">
          <a:solidFill>
            <a:schemeClr val="tx2"/>
          </a:solidFill>
          <a:latin typeface="Arial" charset="0"/>
        </a:defRPr>
      </a:lvl2pPr>
      <a:lvl3pPr algn="l" defTabSz="895350" rtl="0" eaLnBrk="1" fontAlgn="base" hangingPunct="1">
        <a:spcBef>
          <a:spcPct val="0"/>
        </a:spcBef>
        <a:spcAft>
          <a:spcPct val="0"/>
        </a:spcAft>
        <a:defRPr sz="1900" b="1">
          <a:solidFill>
            <a:schemeClr val="tx2"/>
          </a:solidFill>
          <a:latin typeface="Arial" charset="0"/>
        </a:defRPr>
      </a:lvl3pPr>
      <a:lvl4pPr algn="l" defTabSz="895350" rtl="0" eaLnBrk="1" fontAlgn="base" hangingPunct="1">
        <a:spcBef>
          <a:spcPct val="0"/>
        </a:spcBef>
        <a:spcAft>
          <a:spcPct val="0"/>
        </a:spcAft>
        <a:defRPr sz="1900" b="1">
          <a:solidFill>
            <a:schemeClr val="tx2"/>
          </a:solidFill>
          <a:latin typeface="Arial" charset="0"/>
        </a:defRPr>
      </a:lvl4pPr>
      <a:lvl5pPr algn="l" defTabSz="895350" rtl="0" eaLnBrk="1" fontAlgn="base" hangingPunct="1">
        <a:spcBef>
          <a:spcPct val="0"/>
        </a:spcBef>
        <a:spcAft>
          <a:spcPct val="0"/>
        </a:spcAft>
        <a:defRPr sz="1900" b="1">
          <a:solidFill>
            <a:schemeClr val="tx2"/>
          </a:solidFill>
          <a:latin typeface="Arial" charset="0"/>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p:titleStyle>
    <p:bodyStyle>
      <a:lvl1pPr marL="0" indent="0" algn="l" defTabSz="895350" rtl="0" eaLnBrk="1" fontAlgn="base" hangingPunct="1">
        <a:spcBef>
          <a:spcPct val="0"/>
        </a:spcBef>
        <a:spcAft>
          <a:spcPct val="0"/>
        </a:spcAft>
        <a:buClr>
          <a:schemeClr val="tx2"/>
        </a:buClr>
        <a:buSzPct val="100000"/>
        <a:defRPr sz="14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4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4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4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4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ext>
  </p:extLst>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7"/>
            </p:custDataLst>
            <p:extLst>
              <p:ext uri="{D42A27DB-BD31-4B8C-83A1-F6EECF244321}">
                <p14:modId xmlns:p14="http://schemas.microsoft.com/office/powerpoint/2010/main" val="2531248797"/>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2964" name="think-cell Slide" r:id="rId36" imgW="270" imgH="270" progId="TCLayout.ActiveDocument.1">
                  <p:embed/>
                </p:oleObj>
              </mc:Choice>
              <mc:Fallback>
                <p:oleObj name="think-cell Slide" r:id="rId36" imgW="270" imgH="270" progId="TCLayout.ActiveDocument.1">
                  <p:embed/>
                  <p:pic>
                    <p:nvPicPr>
                      <p:cNvPr id="2" name="Object 1" hidden="1"/>
                      <p:cNvPicPr/>
                      <p:nvPr/>
                    </p:nvPicPr>
                    <p:blipFill>
                      <a:blip r:embed="rId37"/>
                      <a:stretch>
                        <a:fillRect/>
                      </a:stretch>
                    </p:blipFill>
                    <p:spPr>
                      <a:xfrm>
                        <a:off x="0" y="0"/>
                        <a:ext cx="158750" cy="158750"/>
                      </a:xfrm>
                      <a:prstGeom prst="rect">
                        <a:avLst/>
                      </a:prstGeom>
                    </p:spPr>
                  </p:pic>
                </p:oleObj>
              </mc:Fallback>
            </mc:AlternateContent>
          </a:graphicData>
        </a:graphic>
      </p:graphicFrame>
      <p:sp>
        <p:nvSpPr>
          <p:cNvPr id="6" name="Rectangle 5" hidden="1"/>
          <p:cNvSpPr/>
          <p:nvPr>
            <p:custDataLst>
              <p:tags r:id="rId8"/>
            </p:custDataLst>
          </p:nvPr>
        </p:nvSpPr>
        <p:spPr bwMode="auto">
          <a:xfrm>
            <a:off x="0" y="0"/>
            <a:ext cx="158750" cy="158750"/>
          </a:xfrm>
          <a:prstGeom prst="rect">
            <a:avLst/>
          </a:prstGeom>
          <a:solidFill>
            <a:schemeClr val="bg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dirty="0">
              <a:solidFill>
                <a:srgbClr val="000000"/>
              </a:solidFill>
              <a:sym typeface="Arial" panose="020B0604020202020204" pitchFamily="34" charset="0"/>
            </a:endParaRPr>
          </a:p>
        </p:txBody>
      </p:sp>
      <p:sp>
        <p:nvSpPr>
          <p:cNvPr id="1034" name="Working Draft" hidden="1"/>
          <p:cNvSpPr txBox="1">
            <a:spLocks noChangeArrowheads="1"/>
          </p:cNvSpPr>
          <p:nvPr/>
        </p:nvSpPr>
        <p:spPr bwMode="gray">
          <a:xfrm rot="5400000">
            <a:off x="7966656" y="1940591"/>
            <a:ext cx="1849865"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600" baseline="0">
                <a:solidFill>
                  <a:srgbClr val="808080"/>
                </a:solidFill>
                <a:latin typeface="+mn-lt"/>
                <a:ea typeface="+mn-ea"/>
              </a:rPr>
              <a:t>Last Modified 21/05/2018 17:44 India Standard Time</a:t>
            </a:r>
            <a:endParaRPr lang="en-US" baseline="0" dirty="0">
              <a:solidFill>
                <a:srgbClr val="808080"/>
              </a:solidFill>
              <a:latin typeface="+mn-lt"/>
              <a:ea typeface="+mn-ea"/>
            </a:endParaRPr>
          </a:p>
        </p:txBody>
      </p:sp>
      <p:sp>
        <p:nvSpPr>
          <p:cNvPr id="1035" name="Printed" hidden="1"/>
          <p:cNvSpPr txBox="1">
            <a:spLocks noChangeArrowheads="1"/>
          </p:cNvSpPr>
          <p:nvPr/>
        </p:nvSpPr>
        <p:spPr bwMode="gray">
          <a:xfrm rot="5400000">
            <a:off x="8768958" y="4114417"/>
            <a:ext cx="245260"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600" baseline="0" dirty="0">
                <a:solidFill>
                  <a:srgbClr val="808080"/>
                </a:solidFill>
                <a:latin typeface="+mn-lt"/>
                <a:ea typeface="+mn-ea"/>
              </a:rPr>
              <a:t>Printed</a:t>
            </a:r>
            <a:endParaRPr lang="en-US" baseline="0" dirty="0">
              <a:solidFill>
                <a:srgbClr val="808080"/>
              </a:solidFill>
              <a:latin typeface="+mn-lt"/>
              <a:ea typeface="+mn-ea"/>
            </a:endParaRPr>
          </a:p>
        </p:txBody>
      </p:sp>
      <p:sp>
        <p:nvSpPr>
          <p:cNvPr id="19" name="Title Placeholder 2"/>
          <p:cNvSpPr>
            <a:spLocks noGrp="1" noChangeArrowheads="1"/>
          </p:cNvSpPr>
          <p:nvPr>
            <p:ph type="title"/>
          </p:nvPr>
        </p:nvSpPr>
        <p:spPr bwMode="gray">
          <a:xfrm>
            <a:off x="119063" y="230188"/>
            <a:ext cx="8618537"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latinLnBrk="0"/>
            <a:r>
              <a:rPr lang="en-US"/>
              <a:t>Click to edit Master title style</a:t>
            </a:r>
            <a:endParaRPr lang="en-US" noProof="0" dirty="0"/>
          </a:p>
        </p:txBody>
      </p:sp>
      <p:sp>
        <p:nvSpPr>
          <p:cNvPr id="10" name="1. On-page tracker" hidden="1"/>
          <p:cNvSpPr>
            <a:spLocks noChangeArrowheads="1"/>
          </p:cNvSpPr>
          <p:nvPr/>
        </p:nvSpPr>
        <p:spPr bwMode="gray">
          <a:xfrm>
            <a:off x="119063" y="75764"/>
            <a:ext cx="490519"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800" cap="all" baseline="0" dirty="0">
                <a:solidFill>
                  <a:schemeClr val="accent6"/>
                </a:solidFill>
                <a:latin typeface="+mn-lt"/>
                <a:ea typeface="+mn-ea"/>
              </a:rPr>
              <a:t>Tracker</a:t>
            </a:r>
          </a:p>
        </p:txBody>
      </p:sp>
      <p:sp>
        <p:nvSpPr>
          <p:cNvPr id="11" name="3. Unit of measure" hidden="1"/>
          <p:cNvSpPr txBox="1">
            <a:spLocks noChangeArrowheads="1"/>
          </p:cNvSpPr>
          <p:nvPr/>
        </p:nvSpPr>
        <p:spPr bwMode="gray">
          <a:xfrm>
            <a:off x="119063" y="554865"/>
            <a:ext cx="8618537"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600" baseline="0" dirty="0">
                <a:solidFill>
                  <a:schemeClr val="accent6"/>
                </a:solidFill>
                <a:latin typeface="+mn-lt"/>
                <a:ea typeface="+mn-ea"/>
              </a:rPr>
              <a:t>Unit of measure</a:t>
            </a:r>
          </a:p>
        </p:txBody>
      </p:sp>
      <p:grpSp>
        <p:nvGrpSpPr>
          <p:cNvPr id="4" name="Slide Elements" hidden="1"/>
          <p:cNvGrpSpPr/>
          <p:nvPr/>
        </p:nvGrpSpPr>
        <p:grpSpPr bwMode="gray">
          <a:xfrm>
            <a:off x="119063" y="6305945"/>
            <a:ext cx="8618537" cy="325438"/>
            <a:chOff x="119063" y="6305945"/>
            <a:chExt cx="8618537" cy="325438"/>
          </a:xfrm>
        </p:grpSpPr>
        <p:sp>
          <p:nvSpPr>
            <p:cNvPr id="13" name="4. Footnote"/>
            <p:cNvSpPr txBox="1">
              <a:spLocks noChangeArrowheads="1"/>
            </p:cNvSpPr>
            <p:nvPr/>
          </p:nvSpPr>
          <p:spPr bwMode="gray">
            <a:xfrm>
              <a:off x="119063" y="6305945"/>
              <a:ext cx="8618537" cy="123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800" baseline="0" dirty="0">
                  <a:solidFill>
                    <a:schemeClr val="accent6"/>
                  </a:solidFill>
                  <a:latin typeface="+mn-lt"/>
                  <a:ea typeface="+mn-ea"/>
                </a:rPr>
                <a:t>1 Footnote</a:t>
              </a:r>
            </a:p>
          </p:txBody>
        </p:sp>
        <p:sp>
          <p:nvSpPr>
            <p:cNvPr id="14" name="5. Source"/>
            <p:cNvSpPr>
              <a:spLocks noChangeArrowheads="1"/>
            </p:cNvSpPr>
            <p:nvPr/>
          </p:nvSpPr>
          <p:spPr bwMode="gray">
            <a:xfrm>
              <a:off x="119063" y="6507558"/>
              <a:ext cx="7200000" cy="123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marL="609600" indent="-609600" defTabSz="895350">
                <a:tabLst>
                  <a:tab pos="612775" algn="l"/>
                </a:tabLst>
              </a:pPr>
              <a:r>
                <a:rPr lang="en-US" sz="800" baseline="0" dirty="0">
                  <a:solidFill>
                    <a:schemeClr val="accent6"/>
                  </a:solidFill>
                  <a:latin typeface="+mn-lt"/>
                  <a:ea typeface="+mn-ea"/>
                </a:rPr>
                <a:t>SOURCE: Source</a:t>
              </a:r>
            </a:p>
          </p:txBody>
        </p:sp>
      </p:grpSp>
      <p:sp>
        <p:nvSpPr>
          <p:cNvPr id="3" name="Text Placeholder 2"/>
          <p:cNvSpPr>
            <a:spLocks noGrp="1"/>
          </p:cNvSpPr>
          <p:nvPr>
            <p:ph type="body" idx="1"/>
          </p:nvPr>
        </p:nvSpPr>
        <p:spPr bwMode="gray">
          <a:xfrm>
            <a:off x="1452564" y="1951380"/>
            <a:ext cx="4302125" cy="1077218"/>
          </a:xfrm>
          <a:prstGeom prst="rect">
            <a:avLst/>
          </a:prstGeom>
        </p:spPr>
        <p:txBody>
          <a:bodyPr vert="horz" lIns="0" tIns="0" rIns="0" bIns="0" rtlCol="0">
            <a:spAutoFit/>
          </a:bodyPr>
          <a:lstStyle/>
          <a:p>
            <a:pPr lvl="0" latinLnBrk="0"/>
            <a:r>
              <a:rPr lang="en-US"/>
              <a:t>Edit Master text styles</a:t>
            </a:r>
          </a:p>
          <a:p>
            <a:pPr lvl="1" latinLnBrk="0"/>
            <a:r>
              <a:rPr lang="en-US"/>
              <a:t>Second level</a:t>
            </a:r>
          </a:p>
          <a:p>
            <a:pPr lvl="2" latinLnBrk="0"/>
            <a:r>
              <a:rPr lang="en-US"/>
              <a:t>Third level</a:t>
            </a:r>
          </a:p>
          <a:p>
            <a:pPr lvl="3" latinLnBrk="0"/>
            <a:r>
              <a:rPr lang="en-US"/>
              <a:t>Fourth level</a:t>
            </a:r>
          </a:p>
          <a:p>
            <a:pPr lvl="4" latinLnBrk="0"/>
            <a:r>
              <a:rPr lang="en-US"/>
              <a:t>Fifth level</a:t>
            </a:r>
            <a:endParaRPr lang="en-US" dirty="0"/>
          </a:p>
        </p:txBody>
      </p:sp>
      <p:grpSp>
        <p:nvGrpSpPr>
          <p:cNvPr id="15" name="ACET" hidden="1"/>
          <p:cNvGrpSpPr>
            <a:grpSpLocks/>
          </p:cNvGrpSpPr>
          <p:nvPr/>
        </p:nvGrpSpPr>
        <p:grpSpPr bwMode="gray">
          <a:xfrm>
            <a:off x="1452563" y="1257754"/>
            <a:ext cx="4264025" cy="508000"/>
            <a:chOff x="915" y="710"/>
            <a:chExt cx="2686" cy="320"/>
          </a:xfrm>
        </p:grpSpPr>
        <p:cxnSp>
          <p:nvCxnSpPr>
            <p:cNvPr id="16" name="AutoShape 249"/>
            <p:cNvCxnSpPr>
              <a:cxnSpLocks noChangeShapeType="1"/>
              <a:stCxn id="18" idx="4"/>
              <a:endCxn id="18" idx="6"/>
            </p:cNvCxnSpPr>
            <p:nvPr/>
          </p:nvCxnSpPr>
          <p:spPr bwMode="gray">
            <a:xfrm>
              <a:off x="915" y="1030"/>
              <a:ext cx="2686" cy="0"/>
            </a:xfrm>
            <a:prstGeom prst="straightConnector1">
              <a:avLst/>
            </a:prstGeom>
            <a:noFill/>
            <a:ln w="9525">
              <a:solidFill>
                <a:schemeClr val="accent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8" name="AutoShape 250"/>
            <p:cNvSpPr>
              <a:spLocks noChangeArrowheads="1"/>
            </p:cNvSpPr>
            <p:nvPr/>
          </p:nvSpPr>
          <p:spPr bwMode="gray">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US" b="1" baseline="0" dirty="0">
                  <a:solidFill>
                    <a:srgbClr val="000000"/>
                  </a:solidFill>
                  <a:latin typeface="+mn-lt"/>
                  <a:ea typeface="+mn-ea"/>
                </a:rPr>
                <a:t>Title</a:t>
              </a:r>
            </a:p>
            <a:p>
              <a:r>
                <a:rPr lang="en-US" baseline="0" dirty="0">
                  <a:solidFill>
                    <a:schemeClr val="accent6"/>
                  </a:solidFill>
                  <a:latin typeface="+mn-lt"/>
                  <a:ea typeface="+mn-ea"/>
                </a:rPr>
                <a:t>Unit of measure</a:t>
              </a:r>
            </a:p>
          </p:txBody>
        </p:sp>
      </p:grpSp>
      <p:grpSp>
        <p:nvGrpSpPr>
          <p:cNvPr id="17" name="McKSticker" hidden="1"/>
          <p:cNvGrpSpPr/>
          <p:nvPr/>
        </p:nvGrpSpPr>
        <p:grpSpPr bwMode="gray">
          <a:xfrm>
            <a:off x="8264265" y="285750"/>
            <a:ext cx="473335" cy="150811"/>
            <a:chOff x="8267440" y="285750"/>
            <a:chExt cx="473335" cy="150811"/>
          </a:xfrm>
        </p:grpSpPr>
        <p:sp>
          <p:nvSpPr>
            <p:cNvPr id="20" name="StickerRectangle"/>
            <p:cNvSpPr>
              <a:spLocks noChangeArrowheads="1"/>
            </p:cNvSpPr>
            <p:nvPr/>
          </p:nvSpPr>
          <p:spPr bwMode="gray">
            <a:xfrm>
              <a:off x="8267440" y="285750"/>
              <a:ext cx="473335" cy="150811"/>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a:buClr>
                  <a:srgbClr val="002960"/>
                </a:buClr>
              </a:pPr>
              <a:r>
                <a:rPr lang="en-US" sz="800" baseline="0" dirty="0">
                  <a:solidFill>
                    <a:schemeClr val="accent6"/>
                  </a:solidFill>
                  <a:latin typeface="+mn-lt"/>
                  <a:ea typeface="+mn-ea"/>
                </a:rPr>
                <a:t>STICKER</a:t>
              </a:r>
            </a:p>
          </p:txBody>
        </p:sp>
        <p:cxnSp>
          <p:nvCxnSpPr>
            <p:cNvPr id="21" name="AutoShape 31"/>
            <p:cNvCxnSpPr>
              <a:cxnSpLocks noChangeShapeType="1"/>
              <a:stCxn id="20" idx="2"/>
              <a:endCxn id="20" idx="4"/>
            </p:cNvCxnSpPr>
            <p:nvPr/>
          </p:nvCxnSpPr>
          <p:spPr bwMode="gray">
            <a:xfrm>
              <a:off x="8267440" y="285750"/>
              <a:ext cx="0" cy="150811"/>
            </a:xfrm>
            <a:prstGeom prst="straightConnector1">
              <a:avLst/>
            </a:prstGeom>
            <a:noFill/>
            <a:ln w="9525">
              <a:solidFill>
                <a:schemeClr val="accent6"/>
              </a:solidFill>
              <a:round/>
              <a:headEnd/>
              <a:tailEnd/>
            </a:ln>
            <a:extLst>
              <a:ext uri="{909E8E84-426E-40DD-AFC4-6F175D3DCCD1}">
                <a14:hiddenFill xmlns:a14="http://schemas.microsoft.com/office/drawing/2010/main">
                  <a:noFill/>
                </a14:hiddenFill>
              </a:ext>
            </a:extLst>
          </p:spPr>
        </p:cxnSp>
        <p:cxnSp>
          <p:nvCxnSpPr>
            <p:cNvPr id="22" name="AutoShape 32"/>
            <p:cNvCxnSpPr>
              <a:cxnSpLocks noChangeShapeType="1"/>
              <a:stCxn id="20" idx="4"/>
              <a:endCxn id="20" idx="6"/>
            </p:cNvCxnSpPr>
            <p:nvPr/>
          </p:nvCxnSpPr>
          <p:spPr bwMode="gray">
            <a:xfrm>
              <a:off x="8267440" y="436561"/>
              <a:ext cx="473335" cy="0"/>
            </a:xfrm>
            <a:prstGeom prst="straightConnector1">
              <a:avLst/>
            </a:prstGeom>
            <a:noFill/>
            <a:ln w="25400">
              <a:solidFill>
                <a:schemeClr val="accent6"/>
              </a:solidFill>
              <a:round/>
              <a:headEnd/>
              <a:tailEnd/>
            </a:ln>
            <a:extLst>
              <a:ext uri="{909E8E84-426E-40DD-AFC4-6F175D3DCCD1}">
                <a14:hiddenFill xmlns:a14="http://schemas.microsoft.com/office/drawing/2010/main">
                  <a:noFill/>
                </a14:hiddenFill>
              </a:ext>
            </a:extLst>
          </p:spPr>
        </p:cxnSp>
      </p:grpSp>
      <p:sp>
        <p:nvSpPr>
          <p:cNvPr id="23" name="SlideBottomBar" hidden="1"/>
          <p:cNvSpPr/>
          <p:nvPr/>
        </p:nvSpPr>
        <p:spPr>
          <a:xfrm>
            <a:off x="8437547" y="6182120"/>
            <a:ext cx="45719" cy="123825"/>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aseline="0" dirty="0">
              <a:solidFill>
                <a:schemeClr val="tx1"/>
              </a:solidFill>
              <a:latin typeface="+mn-lt"/>
              <a:ea typeface="+mn-ea"/>
            </a:endParaRPr>
          </a:p>
        </p:txBody>
      </p:sp>
      <p:sp>
        <p:nvSpPr>
          <p:cNvPr id="24" name="doc id" hidden="1"/>
          <p:cNvSpPr txBox="1">
            <a:spLocks noChangeArrowheads="1"/>
          </p:cNvSpPr>
          <p:nvPr/>
        </p:nvSpPr>
        <p:spPr bwMode="white">
          <a:xfrm>
            <a:off x="8104473" y="36513"/>
            <a:ext cx="634716" cy="115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hangingPunct="1">
              <a:defRPr/>
            </a:pPr>
            <a:endParaRPr lang="en-US" sz="800" baseline="0" dirty="0">
              <a:solidFill>
                <a:schemeClr val="accent1"/>
              </a:solidFill>
              <a:latin typeface="+mn-lt"/>
              <a:ea typeface="+mn-ea"/>
            </a:endParaRPr>
          </a:p>
        </p:txBody>
      </p:sp>
      <p:grpSp>
        <p:nvGrpSpPr>
          <p:cNvPr id="63" name="LegendLines" hidden="1"/>
          <p:cNvGrpSpPr/>
          <p:nvPr/>
        </p:nvGrpSpPr>
        <p:grpSpPr>
          <a:xfrm>
            <a:off x="7551589" y="267815"/>
            <a:ext cx="1158292" cy="761545"/>
            <a:chOff x="7607284" y="279400"/>
            <a:chExt cx="1158292" cy="761545"/>
          </a:xfrm>
        </p:grpSpPr>
        <p:sp>
          <p:nvSpPr>
            <p:cNvPr id="64" name="LineLegend1"/>
            <p:cNvSpPr>
              <a:spLocks noChangeShapeType="1"/>
            </p:cNvSpPr>
            <p:nvPr/>
          </p:nvSpPr>
          <p:spPr bwMode="gray">
            <a:xfrm>
              <a:off x="7607284" y="387122"/>
              <a:ext cx="457200"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65" name="LineLegend2"/>
            <p:cNvSpPr>
              <a:spLocks noChangeShapeType="1"/>
            </p:cNvSpPr>
            <p:nvPr/>
          </p:nvSpPr>
          <p:spPr bwMode="gray">
            <a:xfrm>
              <a:off x="7607284" y="653822"/>
              <a:ext cx="457200"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66" name="LineLegend3"/>
            <p:cNvSpPr>
              <a:spLocks noChangeShapeType="1"/>
            </p:cNvSpPr>
            <p:nvPr/>
          </p:nvSpPr>
          <p:spPr bwMode="gray">
            <a:xfrm>
              <a:off x="7607284" y="933223"/>
              <a:ext cx="457200"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67" name="Legend1"/>
            <p:cNvSpPr>
              <a:spLocks noChangeArrowheads="1"/>
            </p:cNvSpPr>
            <p:nvPr>
              <p:custDataLst>
                <p:tags r:id="rId33"/>
              </p:custDataLst>
            </p:nvPr>
          </p:nvSpPr>
          <p:spPr bwMode="gray">
            <a:xfrm>
              <a:off x="8169259" y="279400"/>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sp>
          <p:nvSpPr>
            <p:cNvPr id="68" name="Legend2"/>
            <p:cNvSpPr>
              <a:spLocks noChangeArrowheads="1"/>
            </p:cNvSpPr>
            <p:nvPr>
              <p:custDataLst>
                <p:tags r:id="rId34"/>
              </p:custDataLst>
            </p:nvPr>
          </p:nvSpPr>
          <p:spPr bwMode="gray">
            <a:xfrm>
              <a:off x="8169259" y="546100"/>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a:latin typeface="+mn-lt"/>
                  <a:ea typeface="+mn-ea"/>
                </a:rPr>
                <a:t>Legend</a:t>
              </a:r>
              <a:endParaRPr lang="en-US" sz="1400" baseline="0" dirty="0">
                <a:latin typeface="+mn-lt"/>
                <a:ea typeface="+mn-ea"/>
              </a:endParaRPr>
            </a:p>
          </p:txBody>
        </p:sp>
        <p:sp>
          <p:nvSpPr>
            <p:cNvPr id="69" name="Legend3"/>
            <p:cNvSpPr>
              <a:spLocks noChangeArrowheads="1"/>
            </p:cNvSpPr>
            <p:nvPr>
              <p:custDataLst>
                <p:tags r:id="rId35"/>
              </p:custDataLst>
            </p:nvPr>
          </p:nvSpPr>
          <p:spPr bwMode="gray">
            <a:xfrm>
              <a:off x="8169259" y="825501"/>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grpSp>
      <p:grpSp>
        <p:nvGrpSpPr>
          <p:cNvPr id="70" name="LegendBoxes" hidden="1"/>
          <p:cNvGrpSpPr/>
          <p:nvPr/>
        </p:nvGrpSpPr>
        <p:grpSpPr>
          <a:xfrm>
            <a:off x="7859564" y="267919"/>
            <a:ext cx="850317" cy="1028245"/>
            <a:chOff x="5894005" y="919828"/>
            <a:chExt cx="850317" cy="1028245"/>
          </a:xfrm>
        </p:grpSpPr>
        <p:sp>
          <p:nvSpPr>
            <p:cNvPr id="71" name="RectangleLegend1"/>
            <p:cNvSpPr>
              <a:spLocks noChangeArrowheads="1"/>
            </p:cNvSpPr>
            <p:nvPr/>
          </p:nvSpPr>
          <p:spPr bwMode="gray">
            <a:xfrm>
              <a:off x="5894005" y="947381"/>
              <a:ext cx="165100" cy="160338"/>
            </a:xfrm>
            <a:prstGeom prst="rect">
              <a:avLst/>
            </a:prstGeom>
            <a:solidFill>
              <a:schemeClr val="accent1"/>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72" name="RectangleLegend2"/>
            <p:cNvSpPr>
              <a:spLocks noChangeArrowheads="1"/>
            </p:cNvSpPr>
            <p:nvPr/>
          </p:nvSpPr>
          <p:spPr bwMode="gray">
            <a:xfrm>
              <a:off x="5894005" y="1217256"/>
              <a:ext cx="165100" cy="160338"/>
            </a:xfrm>
            <a:prstGeom prst="rect">
              <a:avLst/>
            </a:prstGeom>
            <a:solidFill>
              <a:schemeClr val="accent2"/>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73" name="RectangleLegend3"/>
            <p:cNvSpPr>
              <a:spLocks noChangeArrowheads="1"/>
            </p:cNvSpPr>
            <p:nvPr/>
          </p:nvSpPr>
          <p:spPr bwMode="gray">
            <a:xfrm>
              <a:off x="5894005" y="1488719"/>
              <a:ext cx="165100" cy="160338"/>
            </a:xfrm>
            <a:prstGeom prst="rect">
              <a:avLst/>
            </a:prstGeom>
            <a:solidFill>
              <a:schemeClr val="accent3"/>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74" name="RectangleLegend4"/>
            <p:cNvSpPr>
              <a:spLocks noChangeArrowheads="1"/>
            </p:cNvSpPr>
            <p:nvPr/>
          </p:nvSpPr>
          <p:spPr bwMode="gray">
            <a:xfrm>
              <a:off x="5894005" y="1760182"/>
              <a:ext cx="165100" cy="160338"/>
            </a:xfrm>
            <a:prstGeom prst="rect">
              <a:avLst/>
            </a:prstGeom>
            <a:solidFill>
              <a:schemeClr val="accent4"/>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75" name="Legend1"/>
            <p:cNvSpPr>
              <a:spLocks noChangeArrowheads="1"/>
            </p:cNvSpPr>
            <p:nvPr>
              <p:custDataLst>
                <p:tags r:id="rId29"/>
              </p:custDataLst>
            </p:nvPr>
          </p:nvSpPr>
          <p:spPr bwMode="gray">
            <a:xfrm>
              <a:off x="6148005" y="919828"/>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sp>
          <p:nvSpPr>
            <p:cNvPr id="76" name="Legend2"/>
            <p:cNvSpPr>
              <a:spLocks noChangeArrowheads="1"/>
            </p:cNvSpPr>
            <p:nvPr>
              <p:custDataLst>
                <p:tags r:id="rId30"/>
              </p:custDataLst>
            </p:nvPr>
          </p:nvSpPr>
          <p:spPr bwMode="gray">
            <a:xfrm>
              <a:off x="6148005" y="1189703"/>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sp>
          <p:nvSpPr>
            <p:cNvPr id="77" name="Legend3"/>
            <p:cNvSpPr>
              <a:spLocks noChangeArrowheads="1"/>
            </p:cNvSpPr>
            <p:nvPr>
              <p:custDataLst>
                <p:tags r:id="rId31"/>
              </p:custDataLst>
            </p:nvPr>
          </p:nvSpPr>
          <p:spPr bwMode="gray">
            <a:xfrm>
              <a:off x="6148005" y="1461166"/>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sp>
          <p:nvSpPr>
            <p:cNvPr id="78" name="Legend4"/>
            <p:cNvSpPr>
              <a:spLocks noChangeArrowheads="1"/>
            </p:cNvSpPr>
            <p:nvPr>
              <p:custDataLst>
                <p:tags r:id="rId32"/>
              </p:custDataLst>
            </p:nvPr>
          </p:nvSpPr>
          <p:spPr bwMode="gray">
            <a:xfrm>
              <a:off x="6148005" y="1732629"/>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grpSp>
      <p:grpSp>
        <p:nvGrpSpPr>
          <p:cNvPr id="79" name="LegendMoons" hidden="1"/>
          <p:cNvGrpSpPr/>
          <p:nvPr/>
        </p:nvGrpSpPr>
        <p:grpSpPr>
          <a:xfrm>
            <a:off x="7792889" y="267414"/>
            <a:ext cx="916992" cy="1317003"/>
            <a:chOff x="5894005" y="2695123"/>
            <a:chExt cx="916992" cy="1317003"/>
          </a:xfrm>
        </p:grpSpPr>
        <p:grpSp>
          <p:nvGrpSpPr>
            <p:cNvPr id="80" name="MoonLegend1"/>
            <p:cNvGrpSpPr>
              <a:grpSpLocks noChangeAspect="1"/>
            </p:cNvGrpSpPr>
            <p:nvPr>
              <p:custDataLst>
                <p:tags r:id="rId9"/>
              </p:custDataLst>
            </p:nvPr>
          </p:nvGrpSpPr>
          <p:grpSpPr bwMode="gray">
            <a:xfrm>
              <a:off x="5894005" y="2695123"/>
              <a:ext cx="209550" cy="218282"/>
              <a:chOff x="4533" y="183"/>
              <a:chExt cx="144" cy="150"/>
            </a:xfrm>
          </p:grpSpPr>
          <p:sp>
            <p:nvSpPr>
              <p:cNvPr id="98" name="Oval 97"/>
              <p:cNvSpPr>
                <a:spLocks noChangeAspect="1" noChangeArrowheads="1"/>
              </p:cNvSpPr>
              <p:nvPr>
                <p:custDataLst>
                  <p:tags r:id="rId27"/>
                </p:custDataLst>
              </p:nvPr>
            </p:nvSpPr>
            <p:spPr bwMode="gray">
              <a:xfrm>
                <a:off x="4533" y="189"/>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99" name="Arc 98" hidden="1"/>
              <p:cNvSpPr>
                <a:spLocks noChangeAspect="1"/>
              </p:cNvSpPr>
              <p:nvPr>
                <p:custDataLst>
                  <p:tags r:id="rId28"/>
                </p:custDataLst>
              </p:nvPr>
            </p:nvSpPr>
            <p:spPr bwMode="gray">
              <a:xfrm>
                <a:off x="4533" y="183"/>
                <a:ext cx="144" cy="144"/>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grpSp>
        <p:grpSp>
          <p:nvGrpSpPr>
            <p:cNvPr id="81" name="MoonLegend2"/>
            <p:cNvGrpSpPr>
              <a:grpSpLocks noChangeAspect="1"/>
            </p:cNvGrpSpPr>
            <p:nvPr>
              <p:custDataLst>
                <p:tags r:id="rId10"/>
              </p:custDataLst>
            </p:nvPr>
          </p:nvGrpSpPr>
          <p:grpSpPr bwMode="gray">
            <a:xfrm>
              <a:off x="5894005" y="2977103"/>
              <a:ext cx="209550" cy="209551"/>
              <a:chOff x="1694" y="2051"/>
              <a:chExt cx="160" cy="160"/>
            </a:xfrm>
          </p:grpSpPr>
          <p:sp>
            <p:nvSpPr>
              <p:cNvPr id="96" name="Oval 41"/>
              <p:cNvSpPr>
                <a:spLocks noChangeAspect="1" noChangeArrowheads="1"/>
              </p:cNvSpPr>
              <p:nvPr>
                <p:custDataLst>
                  <p:tags r:id="rId25"/>
                </p:custDataLst>
              </p:nvPr>
            </p:nvSpPr>
            <p:spPr bwMode="gray">
              <a:xfrm>
                <a:off x="1694" y="2051"/>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97" name="Arc 42"/>
              <p:cNvSpPr>
                <a:spLocks noChangeAspect="1"/>
              </p:cNvSpPr>
              <p:nvPr>
                <p:custDataLst>
                  <p:tags r:id="rId26"/>
                </p:custDataLst>
              </p:nvPr>
            </p:nvSpPr>
            <p:spPr bwMode="gray">
              <a:xfrm>
                <a:off x="1694" y="2051"/>
                <a:ext cx="160" cy="160"/>
              </a:xfrm>
              <a:prstGeom prst="arc">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grpSp>
        <p:grpSp>
          <p:nvGrpSpPr>
            <p:cNvPr id="82" name="MoonLegend4"/>
            <p:cNvGrpSpPr>
              <a:grpSpLocks noChangeAspect="1"/>
            </p:cNvGrpSpPr>
            <p:nvPr>
              <p:custDataLst>
                <p:tags r:id="rId11"/>
              </p:custDataLst>
            </p:nvPr>
          </p:nvGrpSpPr>
          <p:grpSpPr bwMode="gray">
            <a:xfrm>
              <a:off x="5894005" y="3524395"/>
              <a:ext cx="209550" cy="209551"/>
              <a:chOff x="4495" y="1204"/>
              <a:chExt cx="160" cy="160"/>
            </a:xfrm>
          </p:grpSpPr>
          <p:sp>
            <p:nvSpPr>
              <p:cNvPr id="94" name="Oval 47"/>
              <p:cNvSpPr>
                <a:spLocks noChangeAspect="1" noChangeArrowheads="1"/>
              </p:cNvSpPr>
              <p:nvPr>
                <p:custDataLst>
                  <p:tags r:id="rId23"/>
                </p:custDataLst>
              </p:nvPr>
            </p:nvSpPr>
            <p:spPr bwMode="gray">
              <a:xfrm>
                <a:off x="4495" y="120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95" name="Arc 48"/>
              <p:cNvSpPr>
                <a:spLocks noChangeAspect="1"/>
              </p:cNvSpPr>
              <p:nvPr>
                <p:custDataLst>
                  <p:tags r:id="rId24"/>
                </p:custDataLst>
              </p:nvPr>
            </p:nvSpPr>
            <p:spPr bwMode="gray">
              <a:xfrm>
                <a:off x="4495" y="1204"/>
                <a:ext cx="160" cy="160"/>
              </a:xfrm>
              <a:prstGeom prst="arc">
                <a:avLst>
                  <a:gd name="adj1" fmla="val 16200000"/>
                  <a:gd name="adj2" fmla="val 108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grpSp>
        <p:grpSp>
          <p:nvGrpSpPr>
            <p:cNvPr id="83" name="MoonLegend5"/>
            <p:cNvGrpSpPr>
              <a:grpSpLocks noChangeAspect="1"/>
            </p:cNvGrpSpPr>
            <p:nvPr>
              <p:custDataLst>
                <p:tags r:id="rId12"/>
              </p:custDataLst>
            </p:nvPr>
          </p:nvGrpSpPr>
          <p:grpSpPr bwMode="gray">
            <a:xfrm>
              <a:off x="5894005" y="3799629"/>
              <a:ext cx="209550" cy="209551"/>
              <a:chOff x="4495" y="1447"/>
              <a:chExt cx="160" cy="160"/>
            </a:xfrm>
          </p:grpSpPr>
          <p:sp>
            <p:nvSpPr>
              <p:cNvPr id="92" name="Oval 50"/>
              <p:cNvSpPr>
                <a:spLocks noChangeAspect="1" noChangeArrowheads="1"/>
              </p:cNvSpPr>
              <p:nvPr>
                <p:custDataLst>
                  <p:tags r:id="rId21"/>
                </p:custDataLst>
              </p:nvPr>
            </p:nvSpPr>
            <p:spPr bwMode="gray">
              <a:xfrm>
                <a:off x="4495" y="1447"/>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93" name="Oval 51"/>
              <p:cNvSpPr>
                <a:spLocks noChangeAspect="1" noChangeArrowheads="1"/>
              </p:cNvSpPr>
              <p:nvPr>
                <p:custDataLst>
                  <p:tags r:id="rId22"/>
                </p:custDataLst>
              </p:nvPr>
            </p:nvSpPr>
            <p:spPr bwMode="gray">
              <a:xfrm>
                <a:off x="4495" y="1447"/>
                <a:ext cx="160" cy="160"/>
              </a:xfrm>
              <a:prstGeom prst="arc">
                <a:avLst>
                  <a:gd name="adj1" fmla="val 16200000"/>
                  <a:gd name="adj2" fmla="val 162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grpSp>
        <p:grpSp>
          <p:nvGrpSpPr>
            <p:cNvPr id="84" name="MoonLegend3"/>
            <p:cNvGrpSpPr>
              <a:grpSpLocks noChangeAspect="1"/>
            </p:cNvGrpSpPr>
            <p:nvPr>
              <p:custDataLst>
                <p:tags r:id="rId13"/>
              </p:custDataLst>
            </p:nvPr>
          </p:nvGrpSpPr>
          <p:grpSpPr bwMode="gray">
            <a:xfrm>
              <a:off x="5894005" y="3251543"/>
              <a:ext cx="209550" cy="209551"/>
              <a:chOff x="4495" y="1205"/>
              <a:chExt cx="160" cy="160"/>
            </a:xfrm>
          </p:grpSpPr>
          <p:sp>
            <p:nvSpPr>
              <p:cNvPr id="90" name="Oval 47"/>
              <p:cNvSpPr>
                <a:spLocks noChangeAspect="1" noChangeArrowheads="1"/>
              </p:cNvSpPr>
              <p:nvPr>
                <p:custDataLst>
                  <p:tags r:id="rId19"/>
                </p:custDataLst>
              </p:nvPr>
            </p:nvSpPr>
            <p:spPr bwMode="gray">
              <a:xfrm>
                <a:off x="4495" y="1205"/>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91" name="Arc 48"/>
              <p:cNvSpPr>
                <a:spLocks noChangeAspect="1"/>
              </p:cNvSpPr>
              <p:nvPr>
                <p:custDataLst>
                  <p:tags r:id="rId20"/>
                </p:custDataLst>
              </p:nvPr>
            </p:nvSpPr>
            <p:spPr bwMode="gray">
              <a:xfrm>
                <a:off x="4495" y="1205"/>
                <a:ext cx="160" cy="160"/>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grpSp>
        <p:sp>
          <p:nvSpPr>
            <p:cNvPr id="85" name="Legend1"/>
            <p:cNvSpPr>
              <a:spLocks noChangeArrowheads="1"/>
            </p:cNvSpPr>
            <p:nvPr>
              <p:custDataLst>
                <p:tags r:id="rId14"/>
              </p:custDataLst>
            </p:nvPr>
          </p:nvSpPr>
          <p:spPr bwMode="gray">
            <a:xfrm>
              <a:off x="6214680" y="2696542"/>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sp>
          <p:nvSpPr>
            <p:cNvPr id="86" name="Legend2"/>
            <p:cNvSpPr>
              <a:spLocks noChangeArrowheads="1"/>
            </p:cNvSpPr>
            <p:nvPr>
              <p:custDataLst>
                <p:tags r:id="rId15"/>
              </p:custDataLst>
            </p:nvPr>
          </p:nvSpPr>
          <p:spPr bwMode="gray">
            <a:xfrm>
              <a:off x="6214680" y="2974156"/>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a:latin typeface="+mn-lt"/>
                  <a:ea typeface="+mn-ea"/>
                </a:rPr>
                <a:t>Legend</a:t>
              </a:r>
              <a:endParaRPr lang="en-US" sz="1400" baseline="0" dirty="0">
                <a:latin typeface="+mn-lt"/>
                <a:ea typeface="+mn-ea"/>
              </a:endParaRPr>
            </a:p>
          </p:txBody>
        </p:sp>
        <p:sp>
          <p:nvSpPr>
            <p:cNvPr id="87" name="Legend3"/>
            <p:cNvSpPr>
              <a:spLocks noChangeArrowheads="1"/>
            </p:cNvSpPr>
            <p:nvPr>
              <p:custDataLst>
                <p:tags r:id="rId16"/>
              </p:custDataLst>
            </p:nvPr>
          </p:nvSpPr>
          <p:spPr bwMode="gray">
            <a:xfrm>
              <a:off x="6214680" y="3248596"/>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sp>
          <p:nvSpPr>
            <p:cNvPr id="88" name="Legend4"/>
            <p:cNvSpPr>
              <a:spLocks noChangeArrowheads="1"/>
            </p:cNvSpPr>
            <p:nvPr>
              <p:custDataLst>
                <p:tags r:id="rId17"/>
              </p:custDataLst>
            </p:nvPr>
          </p:nvSpPr>
          <p:spPr bwMode="gray">
            <a:xfrm>
              <a:off x="6214680" y="3521448"/>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sp>
          <p:nvSpPr>
            <p:cNvPr id="89" name="Legend5"/>
            <p:cNvSpPr>
              <a:spLocks noChangeArrowheads="1"/>
            </p:cNvSpPr>
            <p:nvPr>
              <p:custDataLst>
                <p:tags r:id="rId18"/>
              </p:custDataLst>
            </p:nvPr>
          </p:nvSpPr>
          <p:spPr bwMode="gray">
            <a:xfrm>
              <a:off x="6214680" y="3796682"/>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a:latin typeface="+mn-lt"/>
                  <a:ea typeface="+mn-ea"/>
                </a:rPr>
                <a:t>Legend</a:t>
              </a:r>
              <a:endParaRPr lang="en-US" sz="1400" baseline="0" dirty="0">
                <a:latin typeface="+mn-lt"/>
                <a:ea typeface="+mn-ea"/>
              </a:endParaRPr>
            </a:p>
          </p:txBody>
        </p:sp>
      </p:grpSp>
    </p:spTree>
    <p:extLst>
      <p:ext uri="{BB962C8B-B14F-4D97-AF65-F5344CB8AC3E}">
        <p14:creationId xmlns:p14="http://schemas.microsoft.com/office/powerpoint/2010/main" val="3161426640"/>
      </p:ext>
    </p:extLst>
  </p:cSld>
  <p:clrMap bg1="lt1" tx1="dk1" bg2="lt2" tx2="dk2" accent1="accent1" accent2="accent2" accent3="accent3" accent4="accent4" accent5="accent5" accent6="accent6" hlink="hlink" folHlink="folHlink"/>
  <p:sldLayoutIdLst>
    <p:sldLayoutId id="2147483751" r:id="rId1"/>
    <p:sldLayoutId id="2147483752" r:id="rId2"/>
    <p:sldLayoutId id="2147483753" r:id="rId3"/>
    <p:sldLayoutId id="2147483754" r:id="rId4"/>
  </p:sldLayoutIdLst>
  <p:txStyles>
    <p:titleStyle>
      <a:lvl1pPr algn="l" defTabSz="895350" rtl="0" eaLnBrk="1" fontAlgn="base" hangingPunct="1">
        <a:spcBef>
          <a:spcPct val="0"/>
        </a:spcBef>
        <a:spcAft>
          <a:spcPct val="0"/>
        </a:spcAft>
        <a:tabLst>
          <a:tab pos="269875" algn="l"/>
        </a:tabLst>
        <a:defRPr sz="2000" b="0" baseline="0">
          <a:solidFill>
            <a:schemeClr val="tx2"/>
          </a:solidFill>
          <a:latin typeface="+mj-lt"/>
          <a:ea typeface="+mj-ea"/>
          <a:cs typeface="+mj-cs"/>
        </a:defRPr>
      </a:lvl1pPr>
      <a:lvl2pPr algn="l" defTabSz="895350" rtl="0" eaLnBrk="1" fontAlgn="base" hangingPunct="1">
        <a:spcBef>
          <a:spcPct val="0"/>
        </a:spcBef>
        <a:spcAft>
          <a:spcPct val="0"/>
        </a:spcAft>
        <a:defRPr sz="1900" b="1">
          <a:solidFill>
            <a:schemeClr val="tx2"/>
          </a:solidFill>
          <a:latin typeface="Arial" charset="0"/>
        </a:defRPr>
      </a:lvl2pPr>
      <a:lvl3pPr algn="l" defTabSz="895350" rtl="0" eaLnBrk="1" fontAlgn="base" hangingPunct="1">
        <a:spcBef>
          <a:spcPct val="0"/>
        </a:spcBef>
        <a:spcAft>
          <a:spcPct val="0"/>
        </a:spcAft>
        <a:defRPr sz="1900" b="1">
          <a:solidFill>
            <a:schemeClr val="tx2"/>
          </a:solidFill>
          <a:latin typeface="Arial" charset="0"/>
        </a:defRPr>
      </a:lvl3pPr>
      <a:lvl4pPr algn="l" defTabSz="895350" rtl="0" eaLnBrk="1" fontAlgn="base" hangingPunct="1">
        <a:spcBef>
          <a:spcPct val="0"/>
        </a:spcBef>
        <a:spcAft>
          <a:spcPct val="0"/>
        </a:spcAft>
        <a:defRPr sz="1900" b="1">
          <a:solidFill>
            <a:schemeClr val="tx2"/>
          </a:solidFill>
          <a:latin typeface="Arial" charset="0"/>
        </a:defRPr>
      </a:lvl4pPr>
      <a:lvl5pPr algn="l" defTabSz="895350" rtl="0" eaLnBrk="1" fontAlgn="base" hangingPunct="1">
        <a:spcBef>
          <a:spcPct val="0"/>
        </a:spcBef>
        <a:spcAft>
          <a:spcPct val="0"/>
        </a:spcAft>
        <a:defRPr sz="1900" b="1">
          <a:solidFill>
            <a:schemeClr val="tx2"/>
          </a:solidFill>
          <a:latin typeface="Arial" charset="0"/>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p:titleStyle>
    <p:bodyStyle>
      <a:lvl1pPr marL="0" indent="0" algn="l" defTabSz="895350" rtl="0" eaLnBrk="1" fontAlgn="base" hangingPunct="1">
        <a:spcBef>
          <a:spcPct val="0"/>
        </a:spcBef>
        <a:spcAft>
          <a:spcPct val="0"/>
        </a:spcAft>
        <a:buClr>
          <a:schemeClr val="tx2"/>
        </a:buClr>
        <a:buSzPct val="100000"/>
        <a:defRPr sz="14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4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4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4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4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ext>
  </p:extLst>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7"/>
            </p:custDataLst>
            <p:extLst>
              <p:ext uri="{D42A27DB-BD31-4B8C-83A1-F6EECF244321}">
                <p14:modId xmlns:p14="http://schemas.microsoft.com/office/powerpoint/2010/main" val="2268384107"/>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8084" name="think-cell Slide" r:id="rId36" imgW="270" imgH="270" progId="TCLayout.ActiveDocument.1">
                  <p:embed/>
                </p:oleObj>
              </mc:Choice>
              <mc:Fallback>
                <p:oleObj name="think-cell Slide" r:id="rId36" imgW="270" imgH="270" progId="TCLayout.ActiveDocument.1">
                  <p:embed/>
                  <p:pic>
                    <p:nvPicPr>
                      <p:cNvPr id="2" name="Object 1" hidden="1"/>
                      <p:cNvPicPr/>
                      <p:nvPr/>
                    </p:nvPicPr>
                    <p:blipFill>
                      <a:blip r:embed="rId37"/>
                      <a:stretch>
                        <a:fillRect/>
                      </a:stretch>
                    </p:blipFill>
                    <p:spPr>
                      <a:xfrm>
                        <a:off x="0" y="0"/>
                        <a:ext cx="158750" cy="158750"/>
                      </a:xfrm>
                      <a:prstGeom prst="rect">
                        <a:avLst/>
                      </a:prstGeom>
                    </p:spPr>
                  </p:pic>
                </p:oleObj>
              </mc:Fallback>
            </mc:AlternateContent>
          </a:graphicData>
        </a:graphic>
      </p:graphicFrame>
      <p:sp>
        <p:nvSpPr>
          <p:cNvPr id="6" name="Rectangle 5" hidden="1"/>
          <p:cNvSpPr/>
          <p:nvPr>
            <p:custDataLst>
              <p:tags r:id="rId8"/>
            </p:custDataLst>
          </p:nvPr>
        </p:nvSpPr>
        <p:spPr bwMode="auto">
          <a:xfrm>
            <a:off x="0" y="0"/>
            <a:ext cx="158750" cy="158750"/>
          </a:xfrm>
          <a:prstGeom prst="rect">
            <a:avLst/>
          </a:prstGeom>
          <a:solidFill>
            <a:schemeClr val="bg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dirty="0">
              <a:solidFill>
                <a:srgbClr val="000000"/>
              </a:solidFill>
              <a:sym typeface="Arial" panose="020B0604020202020204" pitchFamily="34" charset="0"/>
            </a:endParaRPr>
          </a:p>
        </p:txBody>
      </p:sp>
      <p:sp>
        <p:nvSpPr>
          <p:cNvPr id="1034" name="Working Draft" hidden="1"/>
          <p:cNvSpPr txBox="1">
            <a:spLocks noChangeArrowheads="1"/>
          </p:cNvSpPr>
          <p:nvPr/>
        </p:nvSpPr>
        <p:spPr bwMode="gray">
          <a:xfrm rot="5400000">
            <a:off x="7966656" y="1940591"/>
            <a:ext cx="1849865"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600" baseline="0">
                <a:solidFill>
                  <a:srgbClr val="808080"/>
                </a:solidFill>
                <a:latin typeface="+mn-lt"/>
                <a:ea typeface="+mn-ea"/>
              </a:rPr>
              <a:t>Last Modified 21/05/2018 17:44 India Standard Time</a:t>
            </a:r>
            <a:endParaRPr lang="en-US" baseline="0" dirty="0">
              <a:solidFill>
                <a:srgbClr val="808080"/>
              </a:solidFill>
              <a:latin typeface="+mn-lt"/>
              <a:ea typeface="+mn-ea"/>
            </a:endParaRPr>
          </a:p>
        </p:txBody>
      </p:sp>
      <p:sp>
        <p:nvSpPr>
          <p:cNvPr id="1035" name="Printed" hidden="1"/>
          <p:cNvSpPr txBox="1">
            <a:spLocks noChangeArrowheads="1"/>
          </p:cNvSpPr>
          <p:nvPr/>
        </p:nvSpPr>
        <p:spPr bwMode="gray">
          <a:xfrm rot="5400000">
            <a:off x="8768958" y="4114417"/>
            <a:ext cx="245260"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600" baseline="0" dirty="0">
                <a:solidFill>
                  <a:srgbClr val="808080"/>
                </a:solidFill>
                <a:latin typeface="+mn-lt"/>
                <a:ea typeface="+mn-ea"/>
              </a:rPr>
              <a:t>Printed</a:t>
            </a:r>
            <a:endParaRPr lang="en-US" baseline="0" dirty="0">
              <a:solidFill>
                <a:srgbClr val="808080"/>
              </a:solidFill>
              <a:latin typeface="+mn-lt"/>
              <a:ea typeface="+mn-ea"/>
            </a:endParaRPr>
          </a:p>
        </p:txBody>
      </p:sp>
      <p:sp>
        <p:nvSpPr>
          <p:cNvPr id="19" name="Title Placeholder 2"/>
          <p:cNvSpPr>
            <a:spLocks noGrp="1" noChangeArrowheads="1"/>
          </p:cNvSpPr>
          <p:nvPr>
            <p:ph type="title"/>
          </p:nvPr>
        </p:nvSpPr>
        <p:spPr bwMode="gray">
          <a:xfrm>
            <a:off x="119063" y="230188"/>
            <a:ext cx="8618537"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latinLnBrk="0"/>
            <a:r>
              <a:rPr lang="en-US"/>
              <a:t>Click to edit Master title style</a:t>
            </a:r>
            <a:endParaRPr lang="en-US" noProof="0" dirty="0"/>
          </a:p>
        </p:txBody>
      </p:sp>
      <p:sp>
        <p:nvSpPr>
          <p:cNvPr id="10" name="1. On-page tracker" hidden="1"/>
          <p:cNvSpPr>
            <a:spLocks noChangeArrowheads="1"/>
          </p:cNvSpPr>
          <p:nvPr/>
        </p:nvSpPr>
        <p:spPr bwMode="gray">
          <a:xfrm>
            <a:off x="119063" y="75764"/>
            <a:ext cx="490519"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800" cap="all" baseline="0" dirty="0">
                <a:solidFill>
                  <a:schemeClr val="accent6"/>
                </a:solidFill>
                <a:latin typeface="+mn-lt"/>
                <a:ea typeface="+mn-ea"/>
              </a:rPr>
              <a:t>Tracker</a:t>
            </a:r>
          </a:p>
        </p:txBody>
      </p:sp>
      <p:sp>
        <p:nvSpPr>
          <p:cNvPr id="11" name="3. Unit of measure" hidden="1"/>
          <p:cNvSpPr txBox="1">
            <a:spLocks noChangeArrowheads="1"/>
          </p:cNvSpPr>
          <p:nvPr/>
        </p:nvSpPr>
        <p:spPr bwMode="gray">
          <a:xfrm>
            <a:off x="119063" y="554865"/>
            <a:ext cx="8618537"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600" baseline="0" dirty="0">
                <a:solidFill>
                  <a:schemeClr val="accent6"/>
                </a:solidFill>
                <a:latin typeface="+mn-lt"/>
                <a:ea typeface="+mn-ea"/>
              </a:rPr>
              <a:t>Unit of measure</a:t>
            </a:r>
          </a:p>
        </p:txBody>
      </p:sp>
      <p:grpSp>
        <p:nvGrpSpPr>
          <p:cNvPr id="4" name="Slide Elements" hidden="1"/>
          <p:cNvGrpSpPr/>
          <p:nvPr/>
        </p:nvGrpSpPr>
        <p:grpSpPr bwMode="gray">
          <a:xfrm>
            <a:off x="119063" y="6305945"/>
            <a:ext cx="8618537" cy="325438"/>
            <a:chOff x="119063" y="6305945"/>
            <a:chExt cx="8618537" cy="325438"/>
          </a:xfrm>
        </p:grpSpPr>
        <p:sp>
          <p:nvSpPr>
            <p:cNvPr id="13" name="4. Footnote"/>
            <p:cNvSpPr txBox="1">
              <a:spLocks noChangeArrowheads="1"/>
            </p:cNvSpPr>
            <p:nvPr/>
          </p:nvSpPr>
          <p:spPr bwMode="gray">
            <a:xfrm>
              <a:off x="119063" y="6305945"/>
              <a:ext cx="8618537" cy="123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800" baseline="0" dirty="0">
                  <a:solidFill>
                    <a:schemeClr val="accent6"/>
                  </a:solidFill>
                  <a:latin typeface="+mn-lt"/>
                  <a:ea typeface="+mn-ea"/>
                </a:rPr>
                <a:t>1 Footnote</a:t>
              </a:r>
            </a:p>
          </p:txBody>
        </p:sp>
        <p:sp>
          <p:nvSpPr>
            <p:cNvPr id="14" name="5. Source"/>
            <p:cNvSpPr>
              <a:spLocks noChangeArrowheads="1"/>
            </p:cNvSpPr>
            <p:nvPr/>
          </p:nvSpPr>
          <p:spPr bwMode="gray">
            <a:xfrm>
              <a:off x="119063" y="6507558"/>
              <a:ext cx="7200000" cy="123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marL="609600" indent="-609600" defTabSz="895350">
                <a:tabLst>
                  <a:tab pos="612775" algn="l"/>
                </a:tabLst>
              </a:pPr>
              <a:r>
                <a:rPr lang="en-US" sz="800" baseline="0" dirty="0">
                  <a:solidFill>
                    <a:schemeClr val="accent6"/>
                  </a:solidFill>
                  <a:latin typeface="+mn-lt"/>
                  <a:ea typeface="+mn-ea"/>
                </a:rPr>
                <a:t>SOURCE: Source</a:t>
              </a:r>
            </a:p>
          </p:txBody>
        </p:sp>
      </p:grpSp>
      <p:sp>
        <p:nvSpPr>
          <p:cNvPr id="3" name="Text Placeholder 2"/>
          <p:cNvSpPr>
            <a:spLocks noGrp="1"/>
          </p:cNvSpPr>
          <p:nvPr>
            <p:ph type="body" idx="1"/>
          </p:nvPr>
        </p:nvSpPr>
        <p:spPr bwMode="gray">
          <a:xfrm>
            <a:off x="1452564" y="1951380"/>
            <a:ext cx="4302125" cy="1077218"/>
          </a:xfrm>
          <a:prstGeom prst="rect">
            <a:avLst/>
          </a:prstGeom>
        </p:spPr>
        <p:txBody>
          <a:bodyPr vert="horz" lIns="0" tIns="0" rIns="0" bIns="0" rtlCol="0">
            <a:spAutoFit/>
          </a:bodyPr>
          <a:lstStyle/>
          <a:p>
            <a:pPr lvl="0" latinLnBrk="0"/>
            <a:r>
              <a:rPr lang="en-US"/>
              <a:t>Edit Master text styles</a:t>
            </a:r>
          </a:p>
          <a:p>
            <a:pPr lvl="1" latinLnBrk="0"/>
            <a:r>
              <a:rPr lang="en-US"/>
              <a:t>Second level</a:t>
            </a:r>
          </a:p>
          <a:p>
            <a:pPr lvl="2" latinLnBrk="0"/>
            <a:r>
              <a:rPr lang="en-US"/>
              <a:t>Third level</a:t>
            </a:r>
          </a:p>
          <a:p>
            <a:pPr lvl="3" latinLnBrk="0"/>
            <a:r>
              <a:rPr lang="en-US"/>
              <a:t>Fourth level</a:t>
            </a:r>
          </a:p>
          <a:p>
            <a:pPr lvl="4" latinLnBrk="0"/>
            <a:r>
              <a:rPr lang="en-US"/>
              <a:t>Fifth level</a:t>
            </a:r>
            <a:endParaRPr lang="en-US" dirty="0"/>
          </a:p>
        </p:txBody>
      </p:sp>
      <p:grpSp>
        <p:nvGrpSpPr>
          <p:cNvPr id="15" name="ACET" hidden="1"/>
          <p:cNvGrpSpPr>
            <a:grpSpLocks/>
          </p:cNvGrpSpPr>
          <p:nvPr/>
        </p:nvGrpSpPr>
        <p:grpSpPr bwMode="gray">
          <a:xfrm>
            <a:off x="1452563" y="1257754"/>
            <a:ext cx="4264025" cy="508000"/>
            <a:chOff x="915" y="710"/>
            <a:chExt cx="2686" cy="320"/>
          </a:xfrm>
        </p:grpSpPr>
        <p:cxnSp>
          <p:nvCxnSpPr>
            <p:cNvPr id="16" name="AutoShape 249"/>
            <p:cNvCxnSpPr>
              <a:cxnSpLocks noChangeShapeType="1"/>
              <a:stCxn id="18" idx="4"/>
              <a:endCxn id="18" idx="6"/>
            </p:cNvCxnSpPr>
            <p:nvPr/>
          </p:nvCxnSpPr>
          <p:spPr bwMode="gray">
            <a:xfrm>
              <a:off x="915" y="1030"/>
              <a:ext cx="2686" cy="0"/>
            </a:xfrm>
            <a:prstGeom prst="straightConnector1">
              <a:avLst/>
            </a:prstGeom>
            <a:noFill/>
            <a:ln w="9525">
              <a:solidFill>
                <a:schemeClr val="accent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8" name="AutoShape 250"/>
            <p:cNvSpPr>
              <a:spLocks noChangeArrowheads="1"/>
            </p:cNvSpPr>
            <p:nvPr/>
          </p:nvSpPr>
          <p:spPr bwMode="gray">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US" b="1" baseline="0" dirty="0">
                  <a:solidFill>
                    <a:srgbClr val="000000"/>
                  </a:solidFill>
                  <a:latin typeface="+mn-lt"/>
                  <a:ea typeface="+mn-ea"/>
                </a:rPr>
                <a:t>Title</a:t>
              </a:r>
            </a:p>
            <a:p>
              <a:r>
                <a:rPr lang="en-US" baseline="0" dirty="0">
                  <a:solidFill>
                    <a:schemeClr val="accent6"/>
                  </a:solidFill>
                  <a:latin typeface="+mn-lt"/>
                  <a:ea typeface="+mn-ea"/>
                </a:rPr>
                <a:t>Unit of measure</a:t>
              </a:r>
            </a:p>
          </p:txBody>
        </p:sp>
      </p:grpSp>
      <p:grpSp>
        <p:nvGrpSpPr>
          <p:cNvPr id="17" name="McKSticker" hidden="1"/>
          <p:cNvGrpSpPr/>
          <p:nvPr/>
        </p:nvGrpSpPr>
        <p:grpSpPr bwMode="gray">
          <a:xfrm>
            <a:off x="8264265" y="285750"/>
            <a:ext cx="473335" cy="150811"/>
            <a:chOff x="8267440" y="285750"/>
            <a:chExt cx="473335" cy="150811"/>
          </a:xfrm>
        </p:grpSpPr>
        <p:sp>
          <p:nvSpPr>
            <p:cNvPr id="20" name="StickerRectangle"/>
            <p:cNvSpPr>
              <a:spLocks noChangeArrowheads="1"/>
            </p:cNvSpPr>
            <p:nvPr/>
          </p:nvSpPr>
          <p:spPr bwMode="gray">
            <a:xfrm>
              <a:off x="8267440" y="285750"/>
              <a:ext cx="473335" cy="150811"/>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a:buClr>
                  <a:srgbClr val="002960"/>
                </a:buClr>
              </a:pPr>
              <a:r>
                <a:rPr lang="en-US" sz="800" baseline="0" dirty="0">
                  <a:solidFill>
                    <a:schemeClr val="accent6"/>
                  </a:solidFill>
                  <a:latin typeface="+mn-lt"/>
                  <a:ea typeface="+mn-ea"/>
                </a:rPr>
                <a:t>STICKER</a:t>
              </a:r>
            </a:p>
          </p:txBody>
        </p:sp>
        <p:cxnSp>
          <p:nvCxnSpPr>
            <p:cNvPr id="21" name="AutoShape 31"/>
            <p:cNvCxnSpPr>
              <a:cxnSpLocks noChangeShapeType="1"/>
              <a:stCxn id="20" idx="2"/>
              <a:endCxn id="20" idx="4"/>
            </p:cNvCxnSpPr>
            <p:nvPr/>
          </p:nvCxnSpPr>
          <p:spPr bwMode="gray">
            <a:xfrm>
              <a:off x="8267440" y="285750"/>
              <a:ext cx="0" cy="150811"/>
            </a:xfrm>
            <a:prstGeom prst="straightConnector1">
              <a:avLst/>
            </a:prstGeom>
            <a:noFill/>
            <a:ln w="9525">
              <a:solidFill>
                <a:schemeClr val="accent6"/>
              </a:solidFill>
              <a:round/>
              <a:headEnd/>
              <a:tailEnd/>
            </a:ln>
            <a:extLst>
              <a:ext uri="{909E8E84-426E-40DD-AFC4-6F175D3DCCD1}">
                <a14:hiddenFill xmlns:a14="http://schemas.microsoft.com/office/drawing/2010/main">
                  <a:noFill/>
                </a14:hiddenFill>
              </a:ext>
            </a:extLst>
          </p:spPr>
        </p:cxnSp>
        <p:cxnSp>
          <p:nvCxnSpPr>
            <p:cNvPr id="22" name="AutoShape 32"/>
            <p:cNvCxnSpPr>
              <a:cxnSpLocks noChangeShapeType="1"/>
              <a:stCxn id="20" idx="4"/>
              <a:endCxn id="20" idx="6"/>
            </p:cNvCxnSpPr>
            <p:nvPr/>
          </p:nvCxnSpPr>
          <p:spPr bwMode="gray">
            <a:xfrm>
              <a:off x="8267440" y="436561"/>
              <a:ext cx="473335" cy="0"/>
            </a:xfrm>
            <a:prstGeom prst="straightConnector1">
              <a:avLst/>
            </a:prstGeom>
            <a:noFill/>
            <a:ln w="25400">
              <a:solidFill>
                <a:schemeClr val="accent6"/>
              </a:solidFill>
              <a:round/>
              <a:headEnd/>
              <a:tailEnd/>
            </a:ln>
            <a:extLst>
              <a:ext uri="{909E8E84-426E-40DD-AFC4-6F175D3DCCD1}">
                <a14:hiddenFill xmlns:a14="http://schemas.microsoft.com/office/drawing/2010/main">
                  <a:noFill/>
                </a14:hiddenFill>
              </a:ext>
            </a:extLst>
          </p:spPr>
        </p:cxnSp>
      </p:grpSp>
      <p:sp>
        <p:nvSpPr>
          <p:cNvPr id="23" name="SlideBottomBar" hidden="1"/>
          <p:cNvSpPr/>
          <p:nvPr/>
        </p:nvSpPr>
        <p:spPr>
          <a:xfrm>
            <a:off x="8437547" y="6182120"/>
            <a:ext cx="45719" cy="123825"/>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aseline="0" dirty="0">
              <a:solidFill>
                <a:schemeClr val="tx1"/>
              </a:solidFill>
              <a:latin typeface="+mn-lt"/>
              <a:ea typeface="+mn-ea"/>
            </a:endParaRPr>
          </a:p>
        </p:txBody>
      </p:sp>
      <p:sp>
        <p:nvSpPr>
          <p:cNvPr id="24" name="doc id" hidden="1"/>
          <p:cNvSpPr txBox="1">
            <a:spLocks noChangeArrowheads="1"/>
          </p:cNvSpPr>
          <p:nvPr/>
        </p:nvSpPr>
        <p:spPr bwMode="white">
          <a:xfrm>
            <a:off x="8104473" y="36513"/>
            <a:ext cx="634716" cy="115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hangingPunct="1">
              <a:defRPr/>
            </a:pPr>
            <a:endParaRPr lang="en-US" sz="800" baseline="0" dirty="0">
              <a:solidFill>
                <a:schemeClr val="accent1"/>
              </a:solidFill>
              <a:latin typeface="+mn-lt"/>
              <a:ea typeface="+mn-ea"/>
            </a:endParaRPr>
          </a:p>
        </p:txBody>
      </p:sp>
      <p:grpSp>
        <p:nvGrpSpPr>
          <p:cNvPr id="63" name="LegendLines" hidden="1"/>
          <p:cNvGrpSpPr/>
          <p:nvPr/>
        </p:nvGrpSpPr>
        <p:grpSpPr>
          <a:xfrm>
            <a:off x="7551589" y="267815"/>
            <a:ext cx="1158292" cy="761545"/>
            <a:chOff x="7607284" y="279400"/>
            <a:chExt cx="1158292" cy="761545"/>
          </a:xfrm>
        </p:grpSpPr>
        <p:sp>
          <p:nvSpPr>
            <p:cNvPr id="64" name="LineLegend1"/>
            <p:cNvSpPr>
              <a:spLocks noChangeShapeType="1"/>
            </p:cNvSpPr>
            <p:nvPr/>
          </p:nvSpPr>
          <p:spPr bwMode="gray">
            <a:xfrm>
              <a:off x="7607284" y="387122"/>
              <a:ext cx="457200"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65" name="LineLegend2"/>
            <p:cNvSpPr>
              <a:spLocks noChangeShapeType="1"/>
            </p:cNvSpPr>
            <p:nvPr/>
          </p:nvSpPr>
          <p:spPr bwMode="gray">
            <a:xfrm>
              <a:off x="7607284" y="653822"/>
              <a:ext cx="457200"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66" name="LineLegend3"/>
            <p:cNvSpPr>
              <a:spLocks noChangeShapeType="1"/>
            </p:cNvSpPr>
            <p:nvPr/>
          </p:nvSpPr>
          <p:spPr bwMode="gray">
            <a:xfrm>
              <a:off x="7607284" y="933223"/>
              <a:ext cx="457200"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67" name="Legend1"/>
            <p:cNvSpPr>
              <a:spLocks noChangeArrowheads="1"/>
            </p:cNvSpPr>
            <p:nvPr>
              <p:custDataLst>
                <p:tags r:id="rId33"/>
              </p:custDataLst>
            </p:nvPr>
          </p:nvSpPr>
          <p:spPr bwMode="gray">
            <a:xfrm>
              <a:off x="8169259" y="279400"/>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sp>
          <p:nvSpPr>
            <p:cNvPr id="68" name="Legend2"/>
            <p:cNvSpPr>
              <a:spLocks noChangeArrowheads="1"/>
            </p:cNvSpPr>
            <p:nvPr>
              <p:custDataLst>
                <p:tags r:id="rId34"/>
              </p:custDataLst>
            </p:nvPr>
          </p:nvSpPr>
          <p:spPr bwMode="gray">
            <a:xfrm>
              <a:off x="8169259" y="546100"/>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a:latin typeface="+mn-lt"/>
                  <a:ea typeface="+mn-ea"/>
                </a:rPr>
                <a:t>Legend</a:t>
              </a:r>
              <a:endParaRPr lang="en-US" sz="1400" baseline="0" dirty="0">
                <a:latin typeface="+mn-lt"/>
                <a:ea typeface="+mn-ea"/>
              </a:endParaRPr>
            </a:p>
          </p:txBody>
        </p:sp>
        <p:sp>
          <p:nvSpPr>
            <p:cNvPr id="69" name="Legend3"/>
            <p:cNvSpPr>
              <a:spLocks noChangeArrowheads="1"/>
            </p:cNvSpPr>
            <p:nvPr>
              <p:custDataLst>
                <p:tags r:id="rId35"/>
              </p:custDataLst>
            </p:nvPr>
          </p:nvSpPr>
          <p:spPr bwMode="gray">
            <a:xfrm>
              <a:off x="8169259" y="825501"/>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grpSp>
      <p:grpSp>
        <p:nvGrpSpPr>
          <p:cNvPr id="70" name="LegendBoxes" hidden="1"/>
          <p:cNvGrpSpPr/>
          <p:nvPr/>
        </p:nvGrpSpPr>
        <p:grpSpPr>
          <a:xfrm>
            <a:off x="7859564" y="267919"/>
            <a:ext cx="850317" cy="1028245"/>
            <a:chOff x="5894005" y="919828"/>
            <a:chExt cx="850317" cy="1028245"/>
          </a:xfrm>
        </p:grpSpPr>
        <p:sp>
          <p:nvSpPr>
            <p:cNvPr id="71" name="RectangleLegend1"/>
            <p:cNvSpPr>
              <a:spLocks noChangeArrowheads="1"/>
            </p:cNvSpPr>
            <p:nvPr/>
          </p:nvSpPr>
          <p:spPr bwMode="gray">
            <a:xfrm>
              <a:off x="5894005" y="947381"/>
              <a:ext cx="165100" cy="160338"/>
            </a:xfrm>
            <a:prstGeom prst="rect">
              <a:avLst/>
            </a:prstGeom>
            <a:solidFill>
              <a:schemeClr val="accent1"/>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72" name="RectangleLegend2"/>
            <p:cNvSpPr>
              <a:spLocks noChangeArrowheads="1"/>
            </p:cNvSpPr>
            <p:nvPr/>
          </p:nvSpPr>
          <p:spPr bwMode="gray">
            <a:xfrm>
              <a:off x="5894005" y="1217256"/>
              <a:ext cx="165100" cy="160338"/>
            </a:xfrm>
            <a:prstGeom prst="rect">
              <a:avLst/>
            </a:prstGeom>
            <a:solidFill>
              <a:schemeClr val="accent2"/>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73" name="RectangleLegend3"/>
            <p:cNvSpPr>
              <a:spLocks noChangeArrowheads="1"/>
            </p:cNvSpPr>
            <p:nvPr/>
          </p:nvSpPr>
          <p:spPr bwMode="gray">
            <a:xfrm>
              <a:off x="5894005" y="1488719"/>
              <a:ext cx="165100" cy="160338"/>
            </a:xfrm>
            <a:prstGeom prst="rect">
              <a:avLst/>
            </a:prstGeom>
            <a:solidFill>
              <a:schemeClr val="accent3"/>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74" name="RectangleLegend4"/>
            <p:cNvSpPr>
              <a:spLocks noChangeArrowheads="1"/>
            </p:cNvSpPr>
            <p:nvPr/>
          </p:nvSpPr>
          <p:spPr bwMode="gray">
            <a:xfrm>
              <a:off x="5894005" y="1760182"/>
              <a:ext cx="165100" cy="160338"/>
            </a:xfrm>
            <a:prstGeom prst="rect">
              <a:avLst/>
            </a:prstGeom>
            <a:solidFill>
              <a:schemeClr val="accent4"/>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75" name="Legend1"/>
            <p:cNvSpPr>
              <a:spLocks noChangeArrowheads="1"/>
            </p:cNvSpPr>
            <p:nvPr>
              <p:custDataLst>
                <p:tags r:id="rId29"/>
              </p:custDataLst>
            </p:nvPr>
          </p:nvSpPr>
          <p:spPr bwMode="gray">
            <a:xfrm>
              <a:off x="6148005" y="919828"/>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sp>
          <p:nvSpPr>
            <p:cNvPr id="76" name="Legend2"/>
            <p:cNvSpPr>
              <a:spLocks noChangeArrowheads="1"/>
            </p:cNvSpPr>
            <p:nvPr>
              <p:custDataLst>
                <p:tags r:id="rId30"/>
              </p:custDataLst>
            </p:nvPr>
          </p:nvSpPr>
          <p:spPr bwMode="gray">
            <a:xfrm>
              <a:off x="6148005" y="1189703"/>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sp>
          <p:nvSpPr>
            <p:cNvPr id="77" name="Legend3"/>
            <p:cNvSpPr>
              <a:spLocks noChangeArrowheads="1"/>
            </p:cNvSpPr>
            <p:nvPr>
              <p:custDataLst>
                <p:tags r:id="rId31"/>
              </p:custDataLst>
            </p:nvPr>
          </p:nvSpPr>
          <p:spPr bwMode="gray">
            <a:xfrm>
              <a:off x="6148005" y="1461166"/>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sp>
          <p:nvSpPr>
            <p:cNvPr id="78" name="Legend4"/>
            <p:cNvSpPr>
              <a:spLocks noChangeArrowheads="1"/>
            </p:cNvSpPr>
            <p:nvPr>
              <p:custDataLst>
                <p:tags r:id="rId32"/>
              </p:custDataLst>
            </p:nvPr>
          </p:nvSpPr>
          <p:spPr bwMode="gray">
            <a:xfrm>
              <a:off x="6148005" y="1732629"/>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grpSp>
      <p:grpSp>
        <p:nvGrpSpPr>
          <p:cNvPr id="79" name="LegendMoons" hidden="1"/>
          <p:cNvGrpSpPr/>
          <p:nvPr/>
        </p:nvGrpSpPr>
        <p:grpSpPr>
          <a:xfrm>
            <a:off x="7792889" y="267414"/>
            <a:ext cx="916992" cy="1317003"/>
            <a:chOff x="5894005" y="2695123"/>
            <a:chExt cx="916992" cy="1317003"/>
          </a:xfrm>
        </p:grpSpPr>
        <p:grpSp>
          <p:nvGrpSpPr>
            <p:cNvPr id="80" name="MoonLegend1"/>
            <p:cNvGrpSpPr>
              <a:grpSpLocks noChangeAspect="1"/>
            </p:cNvGrpSpPr>
            <p:nvPr>
              <p:custDataLst>
                <p:tags r:id="rId9"/>
              </p:custDataLst>
            </p:nvPr>
          </p:nvGrpSpPr>
          <p:grpSpPr bwMode="gray">
            <a:xfrm>
              <a:off x="5894005" y="2695123"/>
              <a:ext cx="209550" cy="218282"/>
              <a:chOff x="4533" y="183"/>
              <a:chExt cx="144" cy="150"/>
            </a:xfrm>
          </p:grpSpPr>
          <p:sp>
            <p:nvSpPr>
              <p:cNvPr id="98" name="Oval 97"/>
              <p:cNvSpPr>
                <a:spLocks noChangeAspect="1" noChangeArrowheads="1"/>
              </p:cNvSpPr>
              <p:nvPr>
                <p:custDataLst>
                  <p:tags r:id="rId27"/>
                </p:custDataLst>
              </p:nvPr>
            </p:nvSpPr>
            <p:spPr bwMode="gray">
              <a:xfrm>
                <a:off x="4533" y="189"/>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99" name="Arc 98" hidden="1"/>
              <p:cNvSpPr>
                <a:spLocks noChangeAspect="1"/>
              </p:cNvSpPr>
              <p:nvPr>
                <p:custDataLst>
                  <p:tags r:id="rId28"/>
                </p:custDataLst>
              </p:nvPr>
            </p:nvSpPr>
            <p:spPr bwMode="gray">
              <a:xfrm>
                <a:off x="4533" y="183"/>
                <a:ext cx="144" cy="144"/>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grpSp>
        <p:grpSp>
          <p:nvGrpSpPr>
            <p:cNvPr id="81" name="MoonLegend2"/>
            <p:cNvGrpSpPr>
              <a:grpSpLocks noChangeAspect="1"/>
            </p:cNvGrpSpPr>
            <p:nvPr>
              <p:custDataLst>
                <p:tags r:id="rId10"/>
              </p:custDataLst>
            </p:nvPr>
          </p:nvGrpSpPr>
          <p:grpSpPr bwMode="gray">
            <a:xfrm>
              <a:off x="5894005" y="2977103"/>
              <a:ext cx="209550" cy="209551"/>
              <a:chOff x="1694" y="2051"/>
              <a:chExt cx="160" cy="160"/>
            </a:xfrm>
          </p:grpSpPr>
          <p:sp>
            <p:nvSpPr>
              <p:cNvPr id="96" name="Oval 41"/>
              <p:cNvSpPr>
                <a:spLocks noChangeAspect="1" noChangeArrowheads="1"/>
              </p:cNvSpPr>
              <p:nvPr>
                <p:custDataLst>
                  <p:tags r:id="rId25"/>
                </p:custDataLst>
              </p:nvPr>
            </p:nvSpPr>
            <p:spPr bwMode="gray">
              <a:xfrm>
                <a:off x="1694" y="2051"/>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97" name="Arc 42"/>
              <p:cNvSpPr>
                <a:spLocks noChangeAspect="1"/>
              </p:cNvSpPr>
              <p:nvPr>
                <p:custDataLst>
                  <p:tags r:id="rId26"/>
                </p:custDataLst>
              </p:nvPr>
            </p:nvSpPr>
            <p:spPr bwMode="gray">
              <a:xfrm>
                <a:off x="1694" y="2051"/>
                <a:ext cx="160" cy="160"/>
              </a:xfrm>
              <a:prstGeom prst="arc">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grpSp>
        <p:grpSp>
          <p:nvGrpSpPr>
            <p:cNvPr id="82" name="MoonLegend4"/>
            <p:cNvGrpSpPr>
              <a:grpSpLocks noChangeAspect="1"/>
            </p:cNvGrpSpPr>
            <p:nvPr>
              <p:custDataLst>
                <p:tags r:id="rId11"/>
              </p:custDataLst>
            </p:nvPr>
          </p:nvGrpSpPr>
          <p:grpSpPr bwMode="gray">
            <a:xfrm>
              <a:off x="5894005" y="3524395"/>
              <a:ext cx="209550" cy="209551"/>
              <a:chOff x="4495" y="1204"/>
              <a:chExt cx="160" cy="160"/>
            </a:xfrm>
          </p:grpSpPr>
          <p:sp>
            <p:nvSpPr>
              <p:cNvPr id="94" name="Oval 47"/>
              <p:cNvSpPr>
                <a:spLocks noChangeAspect="1" noChangeArrowheads="1"/>
              </p:cNvSpPr>
              <p:nvPr>
                <p:custDataLst>
                  <p:tags r:id="rId23"/>
                </p:custDataLst>
              </p:nvPr>
            </p:nvSpPr>
            <p:spPr bwMode="gray">
              <a:xfrm>
                <a:off x="4495" y="120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95" name="Arc 48"/>
              <p:cNvSpPr>
                <a:spLocks noChangeAspect="1"/>
              </p:cNvSpPr>
              <p:nvPr>
                <p:custDataLst>
                  <p:tags r:id="rId24"/>
                </p:custDataLst>
              </p:nvPr>
            </p:nvSpPr>
            <p:spPr bwMode="gray">
              <a:xfrm>
                <a:off x="4495" y="1204"/>
                <a:ext cx="160" cy="160"/>
              </a:xfrm>
              <a:prstGeom prst="arc">
                <a:avLst>
                  <a:gd name="adj1" fmla="val 16200000"/>
                  <a:gd name="adj2" fmla="val 108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grpSp>
        <p:grpSp>
          <p:nvGrpSpPr>
            <p:cNvPr id="83" name="MoonLegend5"/>
            <p:cNvGrpSpPr>
              <a:grpSpLocks noChangeAspect="1"/>
            </p:cNvGrpSpPr>
            <p:nvPr>
              <p:custDataLst>
                <p:tags r:id="rId12"/>
              </p:custDataLst>
            </p:nvPr>
          </p:nvGrpSpPr>
          <p:grpSpPr bwMode="gray">
            <a:xfrm>
              <a:off x="5894005" y="3799629"/>
              <a:ext cx="209550" cy="209551"/>
              <a:chOff x="4495" y="1447"/>
              <a:chExt cx="160" cy="160"/>
            </a:xfrm>
          </p:grpSpPr>
          <p:sp>
            <p:nvSpPr>
              <p:cNvPr id="92" name="Oval 50"/>
              <p:cNvSpPr>
                <a:spLocks noChangeAspect="1" noChangeArrowheads="1"/>
              </p:cNvSpPr>
              <p:nvPr>
                <p:custDataLst>
                  <p:tags r:id="rId21"/>
                </p:custDataLst>
              </p:nvPr>
            </p:nvSpPr>
            <p:spPr bwMode="gray">
              <a:xfrm>
                <a:off x="4495" y="1447"/>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93" name="Oval 51"/>
              <p:cNvSpPr>
                <a:spLocks noChangeAspect="1" noChangeArrowheads="1"/>
              </p:cNvSpPr>
              <p:nvPr>
                <p:custDataLst>
                  <p:tags r:id="rId22"/>
                </p:custDataLst>
              </p:nvPr>
            </p:nvSpPr>
            <p:spPr bwMode="gray">
              <a:xfrm>
                <a:off x="4495" y="1447"/>
                <a:ext cx="160" cy="160"/>
              </a:xfrm>
              <a:prstGeom prst="arc">
                <a:avLst>
                  <a:gd name="adj1" fmla="val 16200000"/>
                  <a:gd name="adj2" fmla="val 162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grpSp>
        <p:grpSp>
          <p:nvGrpSpPr>
            <p:cNvPr id="84" name="MoonLegend3"/>
            <p:cNvGrpSpPr>
              <a:grpSpLocks noChangeAspect="1"/>
            </p:cNvGrpSpPr>
            <p:nvPr>
              <p:custDataLst>
                <p:tags r:id="rId13"/>
              </p:custDataLst>
            </p:nvPr>
          </p:nvGrpSpPr>
          <p:grpSpPr bwMode="gray">
            <a:xfrm>
              <a:off x="5894005" y="3251543"/>
              <a:ext cx="209550" cy="209551"/>
              <a:chOff x="4495" y="1205"/>
              <a:chExt cx="160" cy="160"/>
            </a:xfrm>
          </p:grpSpPr>
          <p:sp>
            <p:nvSpPr>
              <p:cNvPr id="90" name="Oval 47"/>
              <p:cNvSpPr>
                <a:spLocks noChangeAspect="1" noChangeArrowheads="1"/>
              </p:cNvSpPr>
              <p:nvPr>
                <p:custDataLst>
                  <p:tags r:id="rId19"/>
                </p:custDataLst>
              </p:nvPr>
            </p:nvSpPr>
            <p:spPr bwMode="gray">
              <a:xfrm>
                <a:off x="4495" y="1205"/>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91" name="Arc 48"/>
              <p:cNvSpPr>
                <a:spLocks noChangeAspect="1"/>
              </p:cNvSpPr>
              <p:nvPr>
                <p:custDataLst>
                  <p:tags r:id="rId20"/>
                </p:custDataLst>
              </p:nvPr>
            </p:nvSpPr>
            <p:spPr bwMode="gray">
              <a:xfrm>
                <a:off x="4495" y="1205"/>
                <a:ext cx="160" cy="160"/>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grpSp>
        <p:sp>
          <p:nvSpPr>
            <p:cNvPr id="85" name="Legend1"/>
            <p:cNvSpPr>
              <a:spLocks noChangeArrowheads="1"/>
            </p:cNvSpPr>
            <p:nvPr>
              <p:custDataLst>
                <p:tags r:id="rId14"/>
              </p:custDataLst>
            </p:nvPr>
          </p:nvSpPr>
          <p:spPr bwMode="gray">
            <a:xfrm>
              <a:off x="6214680" y="2696542"/>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sp>
          <p:nvSpPr>
            <p:cNvPr id="86" name="Legend2"/>
            <p:cNvSpPr>
              <a:spLocks noChangeArrowheads="1"/>
            </p:cNvSpPr>
            <p:nvPr>
              <p:custDataLst>
                <p:tags r:id="rId15"/>
              </p:custDataLst>
            </p:nvPr>
          </p:nvSpPr>
          <p:spPr bwMode="gray">
            <a:xfrm>
              <a:off x="6214680" y="2974156"/>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a:latin typeface="+mn-lt"/>
                  <a:ea typeface="+mn-ea"/>
                </a:rPr>
                <a:t>Legend</a:t>
              </a:r>
              <a:endParaRPr lang="en-US" sz="1400" baseline="0" dirty="0">
                <a:latin typeface="+mn-lt"/>
                <a:ea typeface="+mn-ea"/>
              </a:endParaRPr>
            </a:p>
          </p:txBody>
        </p:sp>
        <p:sp>
          <p:nvSpPr>
            <p:cNvPr id="87" name="Legend3"/>
            <p:cNvSpPr>
              <a:spLocks noChangeArrowheads="1"/>
            </p:cNvSpPr>
            <p:nvPr>
              <p:custDataLst>
                <p:tags r:id="rId16"/>
              </p:custDataLst>
            </p:nvPr>
          </p:nvSpPr>
          <p:spPr bwMode="gray">
            <a:xfrm>
              <a:off x="6214680" y="3248596"/>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sp>
          <p:nvSpPr>
            <p:cNvPr id="88" name="Legend4"/>
            <p:cNvSpPr>
              <a:spLocks noChangeArrowheads="1"/>
            </p:cNvSpPr>
            <p:nvPr>
              <p:custDataLst>
                <p:tags r:id="rId17"/>
              </p:custDataLst>
            </p:nvPr>
          </p:nvSpPr>
          <p:spPr bwMode="gray">
            <a:xfrm>
              <a:off x="6214680" y="3521448"/>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sp>
          <p:nvSpPr>
            <p:cNvPr id="89" name="Legend5"/>
            <p:cNvSpPr>
              <a:spLocks noChangeArrowheads="1"/>
            </p:cNvSpPr>
            <p:nvPr>
              <p:custDataLst>
                <p:tags r:id="rId18"/>
              </p:custDataLst>
            </p:nvPr>
          </p:nvSpPr>
          <p:spPr bwMode="gray">
            <a:xfrm>
              <a:off x="6214680" y="3796682"/>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a:latin typeface="+mn-lt"/>
                  <a:ea typeface="+mn-ea"/>
                </a:rPr>
                <a:t>Legend</a:t>
              </a:r>
              <a:endParaRPr lang="en-US" sz="1400" baseline="0" dirty="0">
                <a:latin typeface="+mn-lt"/>
                <a:ea typeface="+mn-ea"/>
              </a:endParaRPr>
            </a:p>
          </p:txBody>
        </p:sp>
      </p:grpSp>
    </p:spTree>
    <p:extLst>
      <p:ext uri="{BB962C8B-B14F-4D97-AF65-F5344CB8AC3E}">
        <p14:creationId xmlns:p14="http://schemas.microsoft.com/office/powerpoint/2010/main" val="4152090998"/>
      </p:ext>
    </p:extLst>
  </p:cSld>
  <p:clrMap bg1="lt1" tx1="dk1" bg2="lt2" tx2="dk2" accent1="accent1" accent2="accent2" accent3="accent3" accent4="accent4" accent5="accent5" accent6="accent6" hlink="hlink" folHlink="folHlink"/>
  <p:sldLayoutIdLst>
    <p:sldLayoutId id="2147483756" r:id="rId1"/>
    <p:sldLayoutId id="2147483757" r:id="rId2"/>
    <p:sldLayoutId id="2147483758" r:id="rId3"/>
    <p:sldLayoutId id="2147483759" r:id="rId4"/>
  </p:sldLayoutIdLst>
  <p:txStyles>
    <p:titleStyle>
      <a:lvl1pPr algn="l" defTabSz="895350" rtl="0" eaLnBrk="1" fontAlgn="base" hangingPunct="1">
        <a:spcBef>
          <a:spcPct val="0"/>
        </a:spcBef>
        <a:spcAft>
          <a:spcPct val="0"/>
        </a:spcAft>
        <a:tabLst>
          <a:tab pos="269875" algn="l"/>
        </a:tabLst>
        <a:defRPr sz="2000" b="0" baseline="0">
          <a:solidFill>
            <a:schemeClr val="tx2"/>
          </a:solidFill>
          <a:latin typeface="+mj-lt"/>
          <a:ea typeface="+mj-ea"/>
          <a:cs typeface="+mj-cs"/>
        </a:defRPr>
      </a:lvl1pPr>
      <a:lvl2pPr algn="l" defTabSz="895350" rtl="0" eaLnBrk="1" fontAlgn="base" hangingPunct="1">
        <a:spcBef>
          <a:spcPct val="0"/>
        </a:spcBef>
        <a:spcAft>
          <a:spcPct val="0"/>
        </a:spcAft>
        <a:defRPr sz="1900" b="1">
          <a:solidFill>
            <a:schemeClr val="tx2"/>
          </a:solidFill>
          <a:latin typeface="Arial" charset="0"/>
        </a:defRPr>
      </a:lvl2pPr>
      <a:lvl3pPr algn="l" defTabSz="895350" rtl="0" eaLnBrk="1" fontAlgn="base" hangingPunct="1">
        <a:spcBef>
          <a:spcPct val="0"/>
        </a:spcBef>
        <a:spcAft>
          <a:spcPct val="0"/>
        </a:spcAft>
        <a:defRPr sz="1900" b="1">
          <a:solidFill>
            <a:schemeClr val="tx2"/>
          </a:solidFill>
          <a:latin typeface="Arial" charset="0"/>
        </a:defRPr>
      </a:lvl3pPr>
      <a:lvl4pPr algn="l" defTabSz="895350" rtl="0" eaLnBrk="1" fontAlgn="base" hangingPunct="1">
        <a:spcBef>
          <a:spcPct val="0"/>
        </a:spcBef>
        <a:spcAft>
          <a:spcPct val="0"/>
        </a:spcAft>
        <a:defRPr sz="1900" b="1">
          <a:solidFill>
            <a:schemeClr val="tx2"/>
          </a:solidFill>
          <a:latin typeface="Arial" charset="0"/>
        </a:defRPr>
      </a:lvl4pPr>
      <a:lvl5pPr algn="l" defTabSz="895350" rtl="0" eaLnBrk="1" fontAlgn="base" hangingPunct="1">
        <a:spcBef>
          <a:spcPct val="0"/>
        </a:spcBef>
        <a:spcAft>
          <a:spcPct val="0"/>
        </a:spcAft>
        <a:defRPr sz="1900" b="1">
          <a:solidFill>
            <a:schemeClr val="tx2"/>
          </a:solidFill>
          <a:latin typeface="Arial" charset="0"/>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p:titleStyle>
    <p:bodyStyle>
      <a:lvl1pPr marL="0" indent="0" algn="l" defTabSz="895350" rtl="0" eaLnBrk="1" fontAlgn="base" hangingPunct="1">
        <a:spcBef>
          <a:spcPct val="0"/>
        </a:spcBef>
        <a:spcAft>
          <a:spcPct val="0"/>
        </a:spcAft>
        <a:buClr>
          <a:schemeClr val="tx2"/>
        </a:buClr>
        <a:buSzPct val="100000"/>
        <a:defRPr sz="14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4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4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4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4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ext>
  </p:extLst>
</p:sldMaster>
</file>

<file path=ppt/slideMasters/slideMaster1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7"/>
            </p:custDataLst>
            <p:extLst>
              <p:ext uri="{D42A27DB-BD31-4B8C-83A1-F6EECF244321}">
                <p14:modId xmlns:p14="http://schemas.microsoft.com/office/powerpoint/2010/main" val="3778629801"/>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3204" name="think-cell Slide" r:id="rId36" imgW="270" imgH="270" progId="TCLayout.ActiveDocument.1">
                  <p:embed/>
                </p:oleObj>
              </mc:Choice>
              <mc:Fallback>
                <p:oleObj name="think-cell Slide" r:id="rId36" imgW="270" imgH="270" progId="TCLayout.ActiveDocument.1">
                  <p:embed/>
                  <p:pic>
                    <p:nvPicPr>
                      <p:cNvPr id="2" name="Object 1" hidden="1"/>
                      <p:cNvPicPr/>
                      <p:nvPr/>
                    </p:nvPicPr>
                    <p:blipFill>
                      <a:blip r:embed="rId37"/>
                      <a:stretch>
                        <a:fillRect/>
                      </a:stretch>
                    </p:blipFill>
                    <p:spPr>
                      <a:xfrm>
                        <a:off x="0" y="0"/>
                        <a:ext cx="158750" cy="158750"/>
                      </a:xfrm>
                      <a:prstGeom prst="rect">
                        <a:avLst/>
                      </a:prstGeom>
                    </p:spPr>
                  </p:pic>
                </p:oleObj>
              </mc:Fallback>
            </mc:AlternateContent>
          </a:graphicData>
        </a:graphic>
      </p:graphicFrame>
      <p:sp>
        <p:nvSpPr>
          <p:cNvPr id="6" name="Rectangle 5" hidden="1"/>
          <p:cNvSpPr/>
          <p:nvPr>
            <p:custDataLst>
              <p:tags r:id="rId8"/>
            </p:custDataLst>
          </p:nvPr>
        </p:nvSpPr>
        <p:spPr bwMode="auto">
          <a:xfrm>
            <a:off x="0" y="0"/>
            <a:ext cx="158750" cy="158750"/>
          </a:xfrm>
          <a:prstGeom prst="rect">
            <a:avLst/>
          </a:prstGeom>
          <a:solidFill>
            <a:schemeClr val="bg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dirty="0">
              <a:solidFill>
                <a:srgbClr val="000000"/>
              </a:solidFill>
              <a:sym typeface="Arial" panose="020B0604020202020204" pitchFamily="34" charset="0"/>
            </a:endParaRPr>
          </a:p>
        </p:txBody>
      </p:sp>
      <p:sp>
        <p:nvSpPr>
          <p:cNvPr id="1034" name="Working Draft" hidden="1"/>
          <p:cNvSpPr txBox="1">
            <a:spLocks noChangeArrowheads="1"/>
          </p:cNvSpPr>
          <p:nvPr/>
        </p:nvSpPr>
        <p:spPr bwMode="gray">
          <a:xfrm rot="5400000">
            <a:off x="7966656" y="1940591"/>
            <a:ext cx="1849865"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600" baseline="0">
                <a:solidFill>
                  <a:srgbClr val="808080"/>
                </a:solidFill>
                <a:latin typeface="+mn-lt"/>
                <a:ea typeface="+mn-ea"/>
              </a:rPr>
              <a:t>Last Modified 21/05/2018 17:44 India Standard Time</a:t>
            </a:r>
            <a:endParaRPr lang="en-US" baseline="0" dirty="0">
              <a:solidFill>
                <a:srgbClr val="808080"/>
              </a:solidFill>
              <a:latin typeface="+mn-lt"/>
              <a:ea typeface="+mn-ea"/>
            </a:endParaRPr>
          </a:p>
        </p:txBody>
      </p:sp>
      <p:sp>
        <p:nvSpPr>
          <p:cNvPr id="1035" name="Printed" hidden="1"/>
          <p:cNvSpPr txBox="1">
            <a:spLocks noChangeArrowheads="1"/>
          </p:cNvSpPr>
          <p:nvPr/>
        </p:nvSpPr>
        <p:spPr bwMode="gray">
          <a:xfrm rot="5400000">
            <a:off x="8768958" y="4114417"/>
            <a:ext cx="245260"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600" baseline="0" dirty="0">
                <a:solidFill>
                  <a:srgbClr val="808080"/>
                </a:solidFill>
                <a:latin typeface="+mn-lt"/>
                <a:ea typeface="+mn-ea"/>
              </a:rPr>
              <a:t>Printed</a:t>
            </a:r>
            <a:endParaRPr lang="en-US" baseline="0" dirty="0">
              <a:solidFill>
                <a:srgbClr val="808080"/>
              </a:solidFill>
              <a:latin typeface="+mn-lt"/>
              <a:ea typeface="+mn-ea"/>
            </a:endParaRPr>
          </a:p>
        </p:txBody>
      </p:sp>
      <p:sp>
        <p:nvSpPr>
          <p:cNvPr id="19" name="Title Placeholder 2"/>
          <p:cNvSpPr>
            <a:spLocks noGrp="1" noChangeArrowheads="1"/>
          </p:cNvSpPr>
          <p:nvPr>
            <p:ph type="title"/>
          </p:nvPr>
        </p:nvSpPr>
        <p:spPr bwMode="gray">
          <a:xfrm>
            <a:off x="119063" y="230188"/>
            <a:ext cx="8618537"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latinLnBrk="0"/>
            <a:r>
              <a:rPr lang="en-US"/>
              <a:t>Click to edit Master title style</a:t>
            </a:r>
            <a:endParaRPr lang="en-US" noProof="0" dirty="0"/>
          </a:p>
        </p:txBody>
      </p:sp>
      <p:sp>
        <p:nvSpPr>
          <p:cNvPr id="10" name="1. On-page tracker" hidden="1"/>
          <p:cNvSpPr>
            <a:spLocks noChangeArrowheads="1"/>
          </p:cNvSpPr>
          <p:nvPr/>
        </p:nvSpPr>
        <p:spPr bwMode="gray">
          <a:xfrm>
            <a:off x="119063" y="75764"/>
            <a:ext cx="490519"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800" cap="all" baseline="0" dirty="0">
                <a:solidFill>
                  <a:schemeClr val="accent6"/>
                </a:solidFill>
                <a:latin typeface="+mn-lt"/>
                <a:ea typeface="+mn-ea"/>
              </a:rPr>
              <a:t>Tracker</a:t>
            </a:r>
          </a:p>
        </p:txBody>
      </p:sp>
      <p:sp>
        <p:nvSpPr>
          <p:cNvPr id="11" name="3. Unit of measure" hidden="1"/>
          <p:cNvSpPr txBox="1">
            <a:spLocks noChangeArrowheads="1"/>
          </p:cNvSpPr>
          <p:nvPr/>
        </p:nvSpPr>
        <p:spPr bwMode="gray">
          <a:xfrm>
            <a:off x="119063" y="554865"/>
            <a:ext cx="8618537"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600" baseline="0" dirty="0">
                <a:solidFill>
                  <a:schemeClr val="accent6"/>
                </a:solidFill>
                <a:latin typeface="+mn-lt"/>
                <a:ea typeface="+mn-ea"/>
              </a:rPr>
              <a:t>Unit of measure</a:t>
            </a:r>
          </a:p>
        </p:txBody>
      </p:sp>
      <p:grpSp>
        <p:nvGrpSpPr>
          <p:cNvPr id="4" name="Slide Elements" hidden="1"/>
          <p:cNvGrpSpPr/>
          <p:nvPr/>
        </p:nvGrpSpPr>
        <p:grpSpPr bwMode="gray">
          <a:xfrm>
            <a:off x="119063" y="6305945"/>
            <a:ext cx="8618537" cy="325438"/>
            <a:chOff x="119063" y="6305945"/>
            <a:chExt cx="8618537" cy="325438"/>
          </a:xfrm>
        </p:grpSpPr>
        <p:sp>
          <p:nvSpPr>
            <p:cNvPr id="13" name="4. Footnote"/>
            <p:cNvSpPr txBox="1">
              <a:spLocks noChangeArrowheads="1"/>
            </p:cNvSpPr>
            <p:nvPr/>
          </p:nvSpPr>
          <p:spPr bwMode="gray">
            <a:xfrm>
              <a:off x="119063" y="6305945"/>
              <a:ext cx="8618537" cy="123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800" baseline="0" dirty="0">
                  <a:solidFill>
                    <a:schemeClr val="accent6"/>
                  </a:solidFill>
                  <a:latin typeface="+mn-lt"/>
                  <a:ea typeface="+mn-ea"/>
                </a:rPr>
                <a:t>1 Footnote</a:t>
              </a:r>
            </a:p>
          </p:txBody>
        </p:sp>
        <p:sp>
          <p:nvSpPr>
            <p:cNvPr id="14" name="5. Source"/>
            <p:cNvSpPr>
              <a:spLocks noChangeArrowheads="1"/>
            </p:cNvSpPr>
            <p:nvPr/>
          </p:nvSpPr>
          <p:spPr bwMode="gray">
            <a:xfrm>
              <a:off x="119063" y="6507558"/>
              <a:ext cx="7200000" cy="123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marL="609600" indent="-609600" defTabSz="895350">
                <a:tabLst>
                  <a:tab pos="612775" algn="l"/>
                </a:tabLst>
              </a:pPr>
              <a:r>
                <a:rPr lang="en-US" sz="800" baseline="0" dirty="0">
                  <a:solidFill>
                    <a:schemeClr val="accent6"/>
                  </a:solidFill>
                  <a:latin typeface="+mn-lt"/>
                  <a:ea typeface="+mn-ea"/>
                </a:rPr>
                <a:t>SOURCE: Source</a:t>
              </a:r>
            </a:p>
          </p:txBody>
        </p:sp>
      </p:grpSp>
      <p:sp>
        <p:nvSpPr>
          <p:cNvPr id="3" name="Text Placeholder 2"/>
          <p:cNvSpPr>
            <a:spLocks noGrp="1"/>
          </p:cNvSpPr>
          <p:nvPr>
            <p:ph type="body" idx="1"/>
          </p:nvPr>
        </p:nvSpPr>
        <p:spPr bwMode="gray">
          <a:xfrm>
            <a:off x="1452564" y="1951380"/>
            <a:ext cx="4302125" cy="1077218"/>
          </a:xfrm>
          <a:prstGeom prst="rect">
            <a:avLst/>
          </a:prstGeom>
        </p:spPr>
        <p:txBody>
          <a:bodyPr vert="horz" lIns="0" tIns="0" rIns="0" bIns="0" rtlCol="0">
            <a:spAutoFit/>
          </a:bodyPr>
          <a:lstStyle/>
          <a:p>
            <a:pPr lvl="0" latinLnBrk="0"/>
            <a:r>
              <a:rPr lang="en-US"/>
              <a:t>Edit Master text styles</a:t>
            </a:r>
          </a:p>
          <a:p>
            <a:pPr lvl="1" latinLnBrk="0"/>
            <a:r>
              <a:rPr lang="en-US"/>
              <a:t>Second level</a:t>
            </a:r>
          </a:p>
          <a:p>
            <a:pPr lvl="2" latinLnBrk="0"/>
            <a:r>
              <a:rPr lang="en-US"/>
              <a:t>Third level</a:t>
            </a:r>
          </a:p>
          <a:p>
            <a:pPr lvl="3" latinLnBrk="0"/>
            <a:r>
              <a:rPr lang="en-US"/>
              <a:t>Fourth level</a:t>
            </a:r>
          </a:p>
          <a:p>
            <a:pPr lvl="4" latinLnBrk="0"/>
            <a:r>
              <a:rPr lang="en-US"/>
              <a:t>Fifth level</a:t>
            </a:r>
            <a:endParaRPr lang="en-US" dirty="0"/>
          </a:p>
        </p:txBody>
      </p:sp>
      <p:grpSp>
        <p:nvGrpSpPr>
          <p:cNvPr id="15" name="ACET" hidden="1"/>
          <p:cNvGrpSpPr>
            <a:grpSpLocks/>
          </p:cNvGrpSpPr>
          <p:nvPr/>
        </p:nvGrpSpPr>
        <p:grpSpPr bwMode="gray">
          <a:xfrm>
            <a:off x="1452563" y="1257754"/>
            <a:ext cx="4264025" cy="508000"/>
            <a:chOff x="915" y="710"/>
            <a:chExt cx="2686" cy="320"/>
          </a:xfrm>
        </p:grpSpPr>
        <p:cxnSp>
          <p:nvCxnSpPr>
            <p:cNvPr id="16" name="AutoShape 249"/>
            <p:cNvCxnSpPr>
              <a:cxnSpLocks noChangeShapeType="1"/>
              <a:stCxn id="18" idx="4"/>
              <a:endCxn id="18" idx="6"/>
            </p:cNvCxnSpPr>
            <p:nvPr/>
          </p:nvCxnSpPr>
          <p:spPr bwMode="gray">
            <a:xfrm>
              <a:off x="915" y="1030"/>
              <a:ext cx="2686" cy="0"/>
            </a:xfrm>
            <a:prstGeom prst="straightConnector1">
              <a:avLst/>
            </a:prstGeom>
            <a:noFill/>
            <a:ln w="9525">
              <a:solidFill>
                <a:schemeClr val="accent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8" name="AutoShape 250"/>
            <p:cNvSpPr>
              <a:spLocks noChangeArrowheads="1"/>
            </p:cNvSpPr>
            <p:nvPr/>
          </p:nvSpPr>
          <p:spPr bwMode="gray">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US" b="1" baseline="0" dirty="0">
                  <a:solidFill>
                    <a:srgbClr val="000000"/>
                  </a:solidFill>
                  <a:latin typeface="+mn-lt"/>
                  <a:ea typeface="+mn-ea"/>
                </a:rPr>
                <a:t>Title</a:t>
              </a:r>
            </a:p>
            <a:p>
              <a:r>
                <a:rPr lang="en-US" baseline="0" dirty="0">
                  <a:solidFill>
                    <a:schemeClr val="accent6"/>
                  </a:solidFill>
                  <a:latin typeface="+mn-lt"/>
                  <a:ea typeface="+mn-ea"/>
                </a:rPr>
                <a:t>Unit of measure</a:t>
              </a:r>
            </a:p>
          </p:txBody>
        </p:sp>
      </p:grpSp>
      <p:grpSp>
        <p:nvGrpSpPr>
          <p:cNvPr id="17" name="McKSticker" hidden="1"/>
          <p:cNvGrpSpPr/>
          <p:nvPr/>
        </p:nvGrpSpPr>
        <p:grpSpPr bwMode="gray">
          <a:xfrm>
            <a:off x="8264265" y="285750"/>
            <a:ext cx="473335" cy="150811"/>
            <a:chOff x="8267440" y="285750"/>
            <a:chExt cx="473335" cy="150811"/>
          </a:xfrm>
        </p:grpSpPr>
        <p:sp>
          <p:nvSpPr>
            <p:cNvPr id="20" name="StickerRectangle"/>
            <p:cNvSpPr>
              <a:spLocks noChangeArrowheads="1"/>
            </p:cNvSpPr>
            <p:nvPr/>
          </p:nvSpPr>
          <p:spPr bwMode="gray">
            <a:xfrm>
              <a:off x="8267440" y="285750"/>
              <a:ext cx="473335" cy="150811"/>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a:buClr>
                  <a:srgbClr val="002960"/>
                </a:buClr>
              </a:pPr>
              <a:r>
                <a:rPr lang="en-US" sz="800" baseline="0" dirty="0">
                  <a:solidFill>
                    <a:schemeClr val="accent6"/>
                  </a:solidFill>
                  <a:latin typeface="+mn-lt"/>
                  <a:ea typeface="+mn-ea"/>
                </a:rPr>
                <a:t>STICKER</a:t>
              </a:r>
            </a:p>
          </p:txBody>
        </p:sp>
        <p:cxnSp>
          <p:nvCxnSpPr>
            <p:cNvPr id="21" name="AutoShape 31"/>
            <p:cNvCxnSpPr>
              <a:cxnSpLocks noChangeShapeType="1"/>
              <a:stCxn id="20" idx="2"/>
              <a:endCxn id="20" idx="4"/>
            </p:cNvCxnSpPr>
            <p:nvPr/>
          </p:nvCxnSpPr>
          <p:spPr bwMode="gray">
            <a:xfrm>
              <a:off x="8267440" y="285750"/>
              <a:ext cx="0" cy="150811"/>
            </a:xfrm>
            <a:prstGeom prst="straightConnector1">
              <a:avLst/>
            </a:prstGeom>
            <a:noFill/>
            <a:ln w="9525">
              <a:solidFill>
                <a:schemeClr val="accent6"/>
              </a:solidFill>
              <a:round/>
              <a:headEnd/>
              <a:tailEnd/>
            </a:ln>
            <a:extLst>
              <a:ext uri="{909E8E84-426E-40DD-AFC4-6F175D3DCCD1}">
                <a14:hiddenFill xmlns:a14="http://schemas.microsoft.com/office/drawing/2010/main">
                  <a:noFill/>
                </a14:hiddenFill>
              </a:ext>
            </a:extLst>
          </p:spPr>
        </p:cxnSp>
        <p:cxnSp>
          <p:nvCxnSpPr>
            <p:cNvPr id="22" name="AutoShape 32"/>
            <p:cNvCxnSpPr>
              <a:cxnSpLocks noChangeShapeType="1"/>
              <a:stCxn id="20" idx="4"/>
              <a:endCxn id="20" idx="6"/>
            </p:cNvCxnSpPr>
            <p:nvPr/>
          </p:nvCxnSpPr>
          <p:spPr bwMode="gray">
            <a:xfrm>
              <a:off x="8267440" y="436561"/>
              <a:ext cx="473335" cy="0"/>
            </a:xfrm>
            <a:prstGeom prst="straightConnector1">
              <a:avLst/>
            </a:prstGeom>
            <a:noFill/>
            <a:ln w="25400">
              <a:solidFill>
                <a:schemeClr val="accent6"/>
              </a:solidFill>
              <a:round/>
              <a:headEnd/>
              <a:tailEnd/>
            </a:ln>
            <a:extLst>
              <a:ext uri="{909E8E84-426E-40DD-AFC4-6F175D3DCCD1}">
                <a14:hiddenFill xmlns:a14="http://schemas.microsoft.com/office/drawing/2010/main">
                  <a:noFill/>
                </a14:hiddenFill>
              </a:ext>
            </a:extLst>
          </p:spPr>
        </p:cxnSp>
      </p:grpSp>
      <p:sp>
        <p:nvSpPr>
          <p:cNvPr id="23" name="SlideBottomBar" hidden="1"/>
          <p:cNvSpPr/>
          <p:nvPr/>
        </p:nvSpPr>
        <p:spPr>
          <a:xfrm>
            <a:off x="8437547" y="6182120"/>
            <a:ext cx="45719" cy="123825"/>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aseline="0" dirty="0">
              <a:solidFill>
                <a:schemeClr val="tx1"/>
              </a:solidFill>
              <a:latin typeface="+mn-lt"/>
              <a:ea typeface="+mn-ea"/>
            </a:endParaRPr>
          </a:p>
        </p:txBody>
      </p:sp>
      <p:sp>
        <p:nvSpPr>
          <p:cNvPr id="24" name="doc id" hidden="1"/>
          <p:cNvSpPr txBox="1">
            <a:spLocks noChangeArrowheads="1"/>
          </p:cNvSpPr>
          <p:nvPr/>
        </p:nvSpPr>
        <p:spPr bwMode="white">
          <a:xfrm>
            <a:off x="8104473" y="36513"/>
            <a:ext cx="634716" cy="115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hangingPunct="1">
              <a:defRPr/>
            </a:pPr>
            <a:endParaRPr lang="en-US" sz="800" baseline="0" dirty="0">
              <a:solidFill>
                <a:schemeClr val="accent1"/>
              </a:solidFill>
              <a:latin typeface="+mn-lt"/>
              <a:ea typeface="+mn-ea"/>
            </a:endParaRPr>
          </a:p>
        </p:txBody>
      </p:sp>
      <p:grpSp>
        <p:nvGrpSpPr>
          <p:cNvPr id="63" name="LegendLines" hidden="1"/>
          <p:cNvGrpSpPr/>
          <p:nvPr/>
        </p:nvGrpSpPr>
        <p:grpSpPr>
          <a:xfrm>
            <a:off x="7551589" y="267815"/>
            <a:ext cx="1158292" cy="761545"/>
            <a:chOff x="7607284" y="279400"/>
            <a:chExt cx="1158292" cy="761545"/>
          </a:xfrm>
        </p:grpSpPr>
        <p:sp>
          <p:nvSpPr>
            <p:cNvPr id="64" name="LineLegend1"/>
            <p:cNvSpPr>
              <a:spLocks noChangeShapeType="1"/>
            </p:cNvSpPr>
            <p:nvPr/>
          </p:nvSpPr>
          <p:spPr bwMode="gray">
            <a:xfrm>
              <a:off x="7607284" y="387122"/>
              <a:ext cx="457200"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65" name="LineLegend2"/>
            <p:cNvSpPr>
              <a:spLocks noChangeShapeType="1"/>
            </p:cNvSpPr>
            <p:nvPr/>
          </p:nvSpPr>
          <p:spPr bwMode="gray">
            <a:xfrm>
              <a:off x="7607284" y="653822"/>
              <a:ext cx="457200"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66" name="LineLegend3"/>
            <p:cNvSpPr>
              <a:spLocks noChangeShapeType="1"/>
            </p:cNvSpPr>
            <p:nvPr/>
          </p:nvSpPr>
          <p:spPr bwMode="gray">
            <a:xfrm>
              <a:off x="7607284" y="933223"/>
              <a:ext cx="457200"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67" name="Legend1"/>
            <p:cNvSpPr>
              <a:spLocks noChangeArrowheads="1"/>
            </p:cNvSpPr>
            <p:nvPr>
              <p:custDataLst>
                <p:tags r:id="rId33"/>
              </p:custDataLst>
            </p:nvPr>
          </p:nvSpPr>
          <p:spPr bwMode="gray">
            <a:xfrm>
              <a:off x="8169259" y="279400"/>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sp>
          <p:nvSpPr>
            <p:cNvPr id="68" name="Legend2"/>
            <p:cNvSpPr>
              <a:spLocks noChangeArrowheads="1"/>
            </p:cNvSpPr>
            <p:nvPr>
              <p:custDataLst>
                <p:tags r:id="rId34"/>
              </p:custDataLst>
            </p:nvPr>
          </p:nvSpPr>
          <p:spPr bwMode="gray">
            <a:xfrm>
              <a:off x="8169259" y="546100"/>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a:latin typeface="+mn-lt"/>
                  <a:ea typeface="+mn-ea"/>
                </a:rPr>
                <a:t>Legend</a:t>
              </a:r>
              <a:endParaRPr lang="en-US" sz="1400" baseline="0" dirty="0">
                <a:latin typeface="+mn-lt"/>
                <a:ea typeface="+mn-ea"/>
              </a:endParaRPr>
            </a:p>
          </p:txBody>
        </p:sp>
        <p:sp>
          <p:nvSpPr>
            <p:cNvPr id="69" name="Legend3"/>
            <p:cNvSpPr>
              <a:spLocks noChangeArrowheads="1"/>
            </p:cNvSpPr>
            <p:nvPr>
              <p:custDataLst>
                <p:tags r:id="rId35"/>
              </p:custDataLst>
            </p:nvPr>
          </p:nvSpPr>
          <p:spPr bwMode="gray">
            <a:xfrm>
              <a:off x="8169259" y="825501"/>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grpSp>
      <p:grpSp>
        <p:nvGrpSpPr>
          <p:cNvPr id="70" name="LegendBoxes" hidden="1"/>
          <p:cNvGrpSpPr/>
          <p:nvPr/>
        </p:nvGrpSpPr>
        <p:grpSpPr>
          <a:xfrm>
            <a:off x="7859564" y="267919"/>
            <a:ext cx="850317" cy="1028245"/>
            <a:chOff x="5894005" y="919828"/>
            <a:chExt cx="850317" cy="1028245"/>
          </a:xfrm>
        </p:grpSpPr>
        <p:sp>
          <p:nvSpPr>
            <p:cNvPr id="71" name="RectangleLegend1"/>
            <p:cNvSpPr>
              <a:spLocks noChangeArrowheads="1"/>
            </p:cNvSpPr>
            <p:nvPr/>
          </p:nvSpPr>
          <p:spPr bwMode="gray">
            <a:xfrm>
              <a:off x="5894005" y="947381"/>
              <a:ext cx="165100" cy="160338"/>
            </a:xfrm>
            <a:prstGeom prst="rect">
              <a:avLst/>
            </a:prstGeom>
            <a:solidFill>
              <a:schemeClr val="accent1"/>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72" name="RectangleLegend2"/>
            <p:cNvSpPr>
              <a:spLocks noChangeArrowheads="1"/>
            </p:cNvSpPr>
            <p:nvPr/>
          </p:nvSpPr>
          <p:spPr bwMode="gray">
            <a:xfrm>
              <a:off x="5894005" y="1217256"/>
              <a:ext cx="165100" cy="160338"/>
            </a:xfrm>
            <a:prstGeom prst="rect">
              <a:avLst/>
            </a:prstGeom>
            <a:solidFill>
              <a:schemeClr val="accent2"/>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73" name="RectangleLegend3"/>
            <p:cNvSpPr>
              <a:spLocks noChangeArrowheads="1"/>
            </p:cNvSpPr>
            <p:nvPr/>
          </p:nvSpPr>
          <p:spPr bwMode="gray">
            <a:xfrm>
              <a:off x="5894005" y="1488719"/>
              <a:ext cx="165100" cy="160338"/>
            </a:xfrm>
            <a:prstGeom prst="rect">
              <a:avLst/>
            </a:prstGeom>
            <a:solidFill>
              <a:schemeClr val="accent3"/>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74" name="RectangleLegend4"/>
            <p:cNvSpPr>
              <a:spLocks noChangeArrowheads="1"/>
            </p:cNvSpPr>
            <p:nvPr/>
          </p:nvSpPr>
          <p:spPr bwMode="gray">
            <a:xfrm>
              <a:off x="5894005" y="1760182"/>
              <a:ext cx="165100" cy="160338"/>
            </a:xfrm>
            <a:prstGeom prst="rect">
              <a:avLst/>
            </a:prstGeom>
            <a:solidFill>
              <a:schemeClr val="accent4"/>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75" name="Legend1"/>
            <p:cNvSpPr>
              <a:spLocks noChangeArrowheads="1"/>
            </p:cNvSpPr>
            <p:nvPr>
              <p:custDataLst>
                <p:tags r:id="rId29"/>
              </p:custDataLst>
            </p:nvPr>
          </p:nvSpPr>
          <p:spPr bwMode="gray">
            <a:xfrm>
              <a:off x="6148005" y="919828"/>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sp>
          <p:nvSpPr>
            <p:cNvPr id="76" name="Legend2"/>
            <p:cNvSpPr>
              <a:spLocks noChangeArrowheads="1"/>
            </p:cNvSpPr>
            <p:nvPr>
              <p:custDataLst>
                <p:tags r:id="rId30"/>
              </p:custDataLst>
            </p:nvPr>
          </p:nvSpPr>
          <p:spPr bwMode="gray">
            <a:xfrm>
              <a:off x="6148005" y="1189703"/>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sp>
          <p:nvSpPr>
            <p:cNvPr id="77" name="Legend3"/>
            <p:cNvSpPr>
              <a:spLocks noChangeArrowheads="1"/>
            </p:cNvSpPr>
            <p:nvPr>
              <p:custDataLst>
                <p:tags r:id="rId31"/>
              </p:custDataLst>
            </p:nvPr>
          </p:nvSpPr>
          <p:spPr bwMode="gray">
            <a:xfrm>
              <a:off x="6148005" y="1461166"/>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sp>
          <p:nvSpPr>
            <p:cNvPr id="78" name="Legend4"/>
            <p:cNvSpPr>
              <a:spLocks noChangeArrowheads="1"/>
            </p:cNvSpPr>
            <p:nvPr>
              <p:custDataLst>
                <p:tags r:id="rId32"/>
              </p:custDataLst>
            </p:nvPr>
          </p:nvSpPr>
          <p:spPr bwMode="gray">
            <a:xfrm>
              <a:off x="6148005" y="1732629"/>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grpSp>
      <p:grpSp>
        <p:nvGrpSpPr>
          <p:cNvPr id="79" name="LegendMoons" hidden="1"/>
          <p:cNvGrpSpPr/>
          <p:nvPr/>
        </p:nvGrpSpPr>
        <p:grpSpPr>
          <a:xfrm>
            <a:off x="7792889" y="267414"/>
            <a:ext cx="916992" cy="1317003"/>
            <a:chOff x="5894005" y="2695123"/>
            <a:chExt cx="916992" cy="1317003"/>
          </a:xfrm>
        </p:grpSpPr>
        <p:grpSp>
          <p:nvGrpSpPr>
            <p:cNvPr id="80" name="MoonLegend1"/>
            <p:cNvGrpSpPr>
              <a:grpSpLocks noChangeAspect="1"/>
            </p:cNvGrpSpPr>
            <p:nvPr>
              <p:custDataLst>
                <p:tags r:id="rId9"/>
              </p:custDataLst>
            </p:nvPr>
          </p:nvGrpSpPr>
          <p:grpSpPr bwMode="gray">
            <a:xfrm>
              <a:off x="5894005" y="2695123"/>
              <a:ext cx="209550" cy="218282"/>
              <a:chOff x="4533" y="183"/>
              <a:chExt cx="144" cy="150"/>
            </a:xfrm>
          </p:grpSpPr>
          <p:sp>
            <p:nvSpPr>
              <p:cNvPr id="98" name="Oval 97"/>
              <p:cNvSpPr>
                <a:spLocks noChangeAspect="1" noChangeArrowheads="1"/>
              </p:cNvSpPr>
              <p:nvPr>
                <p:custDataLst>
                  <p:tags r:id="rId27"/>
                </p:custDataLst>
              </p:nvPr>
            </p:nvSpPr>
            <p:spPr bwMode="gray">
              <a:xfrm>
                <a:off x="4533" y="189"/>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99" name="Arc 98" hidden="1"/>
              <p:cNvSpPr>
                <a:spLocks noChangeAspect="1"/>
              </p:cNvSpPr>
              <p:nvPr>
                <p:custDataLst>
                  <p:tags r:id="rId28"/>
                </p:custDataLst>
              </p:nvPr>
            </p:nvSpPr>
            <p:spPr bwMode="gray">
              <a:xfrm>
                <a:off x="4533" y="183"/>
                <a:ext cx="144" cy="144"/>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grpSp>
        <p:grpSp>
          <p:nvGrpSpPr>
            <p:cNvPr id="81" name="MoonLegend2"/>
            <p:cNvGrpSpPr>
              <a:grpSpLocks noChangeAspect="1"/>
            </p:cNvGrpSpPr>
            <p:nvPr>
              <p:custDataLst>
                <p:tags r:id="rId10"/>
              </p:custDataLst>
            </p:nvPr>
          </p:nvGrpSpPr>
          <p:grpSpPr bwMode="gray">
            <a:xfrm>
              <a:off x="5894005" y="2977103"/>
              <a:ext cx="209550" cy="209551"/>
              <a:chOff x="1694" y="2051"/>
              <a:chExt cx="160" cy="160"/>
            </a:xfrm>
          </p:grpSpPr>
          <p:sp>
            <p:nvSpPr>
              <p:cNvPr id="96" name="Oval 41"/>
              <p:cNvSpPr>
                <a:spLocks noChangeAspect="1" noChangeArrowheads="1"/>
              </p:cNvSpPr>
              <p:nvPr>
                <p:custDataLst>
                  <p:tags r:id="rId25"/>
                </p:custDataLst>
              </p:nvPr>
            </p:nvSpPr>
            <p:spPr bwMode="gray">
              <a:xfrm>
                <a:off x="1694" y="2051"/>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97" name="Arc 42"/>
              <p:cNvSpPr>
                <a:spLocks noChangeAspect="1"/>
              </p:cNvSpPr>
              <p:nvPr>
                <p:custDataLst>
                  <p:tags r:id="rId26"/>
                </p:custDataLst>
              </p:nvPr>
            </p:nvSpPr>
            <p:spPr bwMode="gray">
              <a:xfrm>
                <a:off x="1694" y="2051"/>
                <a:ext cx="160" cy="160"/>
              </a:xfrm>
              <a:prstGeom prst="arc">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grpSp>
        <p:grpSp>
          <p:nvGrpSpPr>
            <p:cNvPr id="82" name="MoonLegend4"/>
            <p:cNvGrpSpPr>
              <a:grpSpLocks noChangeAspect="1"/>
            </p:cNvGrpSpPr>
            <p:nvPr>
              <p:custDataLst>
                <p:tags r:id="rId11"/>
              </p:custDataLst>
            </p:nvPr>
          </p:nvGrpSpPr>
          <p:grpSpPr bwMode="gray">
            <a:xfrm>
              <a:off x="5894005" y="3524395"/>
              <a:ext cx="209550" cy="209551"/>
              <a:chOff x="4495" y="1204"/>
              <a:chExt cx="160" cy="160"/>
            </a:xfrm>
          </p:grpSpPr>
          <p:sp>
            <p:nvSpPr>
              <p:cNvPr id="94" name="Oval 47"/>
              <p:cNvSpPr>
                <a:spLocks noChangeAspect="1" noChangeArrowheads="1"/>
              </p:cNvSpPr>
              <p:nvPr>
                <p:custDataLst>
                  <p:tags r:id="rId23"/>
                </p:custDataLst>
              </p:nvPr>
            </p:nvSpPr>
            <p:spPr bwMode="gray">
              <a:xfrm>
                <a:off x="4495" y="120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95" name="Arc 48"/>
              <p:cNvSpPr>
                <a:spLocks noChangeAspect="1"/>
              </p:cNvSpPr>
              <p:nvPr>
                <p:custDataLst>
                  <p:tags r:id="rId24"/>
                </p:custDataLst>
              </p:nvPr>
            </p:nvSpPr>
            <p:spPr bwMode="gray">
              <a:xfrm>
                <a:off x="4495" y="1204"/>
                <a:ext cx="160" cy="160"/>
              </a:xfrm>
              <a:prstGeom prst="arc">
                <a:avLst>
                  <a:gd name="adj1" fmla="val 16200000"/>
                  <a:gd name="adj2" fmla="val 108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grpSp>
        <p:grpSp>
          <p:nvGrpSpPr>
            <p:cNvPr id="83" name="MoonLegend5"/>
            <p:cNvGrpSpPr>
              <a:grpSpLocks noChangeAspect="1"/>
            </p:cNvGrpSpPr>
            <p:nvPr>
              <p:custDataLst>
                <p:tags r:id="rId12"/>
              </p:custDataLst>
            </p:nvPr>
          </p:nvGrpSpPr>
          <p:grpSpPr bwMode="gray">
            <a:xfrm>
              <a:off x="5894005" y="3799629"/>
              <a:ext cx="209550" cy="209551"/>
              <a:chOff x="4495" y="1447"/>
              <a:chExt cx="160" cy="160"/>
            </a:xfrm>
          </p:grpSpPr>
          <p:sp>
            <p:nvSpPr>
              <p:cNvPr id="92" name="Oval 50"/>
              <p:cNvSpPr>
                <a:spLocks noChangeAspect="1" noChangeArrowheads="1"/>
              </p:cNvSpPr>
              <p:nvPr>
                <p:custDataLst>
                  <p:tags r:id="rId21"/>
                </p:custDataLst>
              </p:nvPr>
            </p:nvSpPr>
            <p:spPr bwMode="gray">
              <a:xfrm>
                <a:off x="4495" y="1447"/>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93" name="Oval 51"/>
              <p:cNvSpPr>
                <a:spLocks noChangeAspect="1" noChangeArrowheads="1"/>
              </p:cNvSpPr>
              <p:nvPr>
                <p:custDataLst>
                  <p:tags r:id="rId22"/>
                </p:custDataLst>
              </p:nvPr>
            </p:nvSpPr>
            <p:spPr bwMode="gray">
              <a:xfrm>
                <a:off x="4495" y="1447"/>
                <a:ext cx="160" cy="160"/>
              </a:xfrm>
              <a:prstGeom prst="arc">
                <a:avLst>
                  <a:gd name="adj1" fmla="val 16200000"/>
                  <a:gd name="adj2" fmla="val 162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grpSp>
        <p:grpSp>
          <p:nvGrpSpPr>
            <p:cNvPr id="84" name="MoonLegend3"/>
            <p:cNvGrpSpPr>
              <a:grpSpLocks noChangeAspect="1"/>
            </p:cNvGrpSpPr>
            <p:nvPr>
              <p:custDataLst>
                <p:tags r:id="rId13"/>
              </p:custDataLst>
            </p:nvPr>
          </p:nvGrpSpPr>
          <p:grpSpPr bwMode="gray">
            <a:xfrm>
              <a:off x="5894005" y="3251543"/>
              <a:ext cx="209550" cy="209551"/>
              <a:chOff x="4495" y="1205"/>
              <a:chExt cx="160" cy="160"/>
            </a:xfrm>
          </p:grpSpPr>
          <p:sp>
            <p:nvSpPr>
              <p:cNvPr id="90" name="Oval 47"/>
              <p:cNvSpPr>
                <a:spLocks noChangeAspect="1" noChangeArrowheads="1"/>
              </p:cNvSpPr>
              <p:nvPr>
                <p:custDataLst>
                  <p:tags r:id="rId19"/>
                </p:custDataLst>
              </p:nvPr>
            </p:nvSpPr>
            <p:spPr bwMode="gray">
              <a:xfrm>
                <a:off x="4495" y="1205"/>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91" name="Arc 48"/>
              <p:cNvSpPr>
                <a:spLocks noChangeAspect="1"/>
              </p:cNvSpPr>
              <p:nvPr>
                <p:custDataLst>
                  <p:tags r:id="rId20"/>
                </p:custDataLst>
              </p:nvPr>
            </p:nvSpPr>
            <p:spPr bwMode="gray">
              <a:xfrm>
                <a:off x="4495" y="1205"/>
                <a:ext cx="160" cy="160"/>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grpSp>
        <p:sp>
          <p:nvSpPr>
            <p:cNvPr id="85" name="Legend1"/>
            <p:cNvSpPr>
              <a:spLocks noChangeArrowheads="1"/>
            </p:cNvSpPr>
            <p:nvPr>
              <p:custDataLst>
                <p:tags r:id="rId14"/>
              </p:custDataLst>
            </p:nvPr>
          </p:nvSpPr>
          <p:spPr bwMode="gray">
            <a:xfrm>
              <a:off x="6214680" y="2696542"/>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sp>
          <p:nvSpPr>
            <p:cNvPr id="86" name="Legend2"/>
            <p:cNvSpPr>
              <a:spLocks noChangeArrowheads="1"/>
            </p:cNvSpPr>
            <p:nvPr>
              <p:custDataLst>
                <p:tags r:id="rId15"/>
              </p:custDataLst>
            </p:nvPr>
          </p:nvSpPr>
          <p:spPr bwMode="gray">
            <a:xfrm>
              <a:off x="6214680" y="2974156"/>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a:latin typeface="+mn-lt"/>
                  <a:ea typeface="+mn-ea"/>
                </a:rPr>
                <a:t>Legend</a:t>
              </a:r>
              <a:endParaRPr lang="en-US" sz="1400" baseline="0" dirty="0">
                <a:latin typeface="+mn-lt"/>
                <a:ea typeface="+mn-ea"/>
              </a:endParaRPr>
            </a:p>
          </p:txBody>
        </p:sp>
        <p:sp>
          <p:nvSpPr>
            <p:cNvPr id="87" name="Legend3"/>
            <p:cNvSpPr>
              <a:spLocks noChangeArrowheads="1"/>
            </p:cNvSpPr>
            <p:nvPr>
              <p:custDataLst>
                <p:tags r:id="rId16"/>
              </p:custDataLst>
            </p:nvPr>
          </p:nvSpPr>
          <p:spPr bwMode="gray">
            <a:xfrm>
              <a:off x="6214680" y="3248596"/>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sp>
          <p:nvSpPr>
            <p:cNvPr id="88" name="Legend4"/>
            <p:cNvSpPr>
              <a:spLocks noChangeArrowheads="1"/>
            </p:cNvSpPr>
            <p:nvPr>
              <p:custDataLst>
                <p:tags r:id="rId17"/>
              </p:custDataLst>
            </p:nvPr>
          </p:nvSpPr>
          <p:spPr bwMode="gray">
            <a:xfrm>
              <a:off x="6214680" y="3521448"/>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sp>
          <p:nvSpPr>
            <p:cNvPr id="89" name="Legend5"/>
            <p:cNvSpPr>
              <a:spLocks noChangeArrowheads="1"/>
            </p:cNvSpPr>
            <p:nvPr>
              <p:custDataLst>
                <p:tags r:id="rId18"/>
              </p:custDataLst>
            </p:nvPr>
          </p:nvSpPr>
          <p:spPr bwMode="gray">
            <a:xfrm>
              <a:off x="6214680" y="3796682"/>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a:latin typeface="+mn-lt"/>
                  <a:ea typeface="+mn-ea"/>
                </a:rPr>
                <a:t>Legend</a:t>
              </a:r>
              <a:endParaRPr lang="en-US" sz="1400" baseline="0" dirty="0">
                <a:latin typeface="+mn-lt"/>
                <a:ea typeface="+mn-ea"/>
              </a:endParaRPr>
            </a:p>
          </p:txBody>
        </p:sp>
      </p:grpSp>
    </p:spTree>
    <p:extLst>
      <p:ext uri="{BB962C8B-B14F-4D97-AF65-F5344CB8AC3E}">
        <p14:creationId xmlns:p14="http://schemas.microsoft.com/office/powerpoint/2010/main" val="911438017"/>
      </p:ext>
    </p:extLst>
  </p:cSld>
  <p:clrMap bg1="lt1" tx1="dk1" bg2="lt2" tx2="dk2" accent1="accent1" accent2="accent2" accent3="accent3" accent4="accent4" accent5="accent5" accent6="accent6" hlink="hlink" folHlink="folHlink"/>
  <p:sldLayoutIdLst>
    <p:sldLayoutId id="2147483761" r:id="rId1"/>
    <p:sldLayoutId id="2147483762" r:id="rId2"/>
    <p:sldLayoutId id="2147483763" r:id="rId3"/>
    <p:sldLayoutId id="2147483764" r:id="rId4"/>
  </p:sldLayoutIdLst>
  <p:txStyles>
    <p:titleStyle>
      <a:lvl1pPr algn="l" defTabSz="895350" rtl="0" eaLnBrk="1" fontAlgn="base" hangingPunct="1">
        <a:spcBef>
          <a:spcPct val="0"/>
        </a:spcBef>
        <a:spcAft>
          <a:spcPct val="0"/>
        </a:spcAft>
        <a:tabLst>
          <a:tab pos="269875" algn="l"/>
        </a:tabLst>
        <a:defRPr sz="2000" b="0" baseline="0">
          <a:solidFill>
            <a:schemeClr val="tx2"/>
          </a:solidFill>
          <a:latin typeface="+mj-lt"/>
          <a:ea typeface="+mj-ea"/>
          <a:cs typeface="+mj-cs"/>
        </a:defRPr>
      </a:lvl1pPr>
      <a:lvl2pPr algn="l" defTabSz="895350" rtl="0" eaLnBrk="1" fontAlgn="base" hangingPunct="1">
        <a:spcBef>
          <a:spcPct val="0"/>
        </a:spcBef>
        <a:spcAft>
          <a:spcPct val="0"/>
        </a:spcAft>
        <a:defRPr sz="1900" b="1">
          <a:solidFill>
            <a:schemeClr val="tx2"/>
          </a:solidFill>
          <a:latin typeface="Arial" charset="0"/>
        </a:defRPr>
      </a:lvl2pPr>
      <a:lvl3pPr algn="l" defTabSz="895350" rtl="0" eaLnBrk="1" fontAlgn="base" hangingPunct="1">
        <a:spcBef>
          <a:spcPct val="0"/>
        </a:spcBef>
        <a:spcAft>
          <a:spcPct val="0"/>
        </a:spcAft>
        <a:defRPr sz="1900" b="1">
          <a:solidFill>
            <a:schemeClr val="tx2"/>
          </a:solidFill>
          <a:latin typeface="Arial" charset="0"/>
        </a:defRPr>
      </a:lvl3pPr>
      <a:lvl4pPr algn="l" defTabSz="895350" rtl="0" eaLnBrk="1" fontAlgn="base" hangingPunct="1">
        <a:spcBef>
          <a:spcPct val="0"/>
        </a:spcBef>
        <a:spcAft>
          <a:spcPct val="0"/>
        </a:spcAft>
        <a:defRPr sz="1900" b="1">
          <a:solidFill>
            <a:schemeClr val="tx2"/>
          </a:solidFill>
          <a:latin typeface="Arial" charset="0"/>
        </a:defRPr>
      </a:lvl4pPr>
      <a:lvl5pPr algn="l" defTabSz="895350" rtl="0" eaLnBrk="1" fontAlgn="base" hangingPunct="1">
        <a:spcBef>
          <a:spcPct val="0"/>
        </a:spcBef>
        <a:spcAft>
          <a:spcPct val="0"/>
        </a:spcAft>
        <a:defRPr sz="1900" b="1">
          <a:solidFill>
            <a:schemeClr val="tx2"/>
          </a:solidFill>
          <a:latin typeface="Arial" charset="0"/>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p:titleStyle>
    <p:bodyStyle>
      <a:lvl1pPr marL="0" indent="0" algn="l" defTabSz="895350" rtl="0" eaLnBrk="1" fontAlgn="base" hangingPunct="1">
        <a:spcBef>
          <a:spcPct val="0"/>
        </a:spcBef>
        <a:spcAft>
          <a:spcPct val="0"/>
        </a:spcAft>
        <a:buClr>
          <a:schemeClr val="tx2"/>
        </a:buClr>
        <a:buSzPct val="100000"/>
        <a:defRPr sz="14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4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4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4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4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7"/>
            </p:custDataLst>
            <p:extLst>
              <p:ext uri="{D42A27DB-BD31-4B8C-83A1-F6EECF244321}">
                <p14:modId xmlns:p14="http://schemas.microsoft.com/office/powerpoint/2010/main" val="573815444"/>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164" name="think-cell Slide" r:id="rId36" imgW="270" imgH="270" progId="TCLayout.ActiveDocument.1">
                  <p:embed/>
                </p:oleObj>
              </mc:Choice>
              <mc:Fallback>
                <p:oleObj name="think-cell Slide" r:id="rId36" imgW="270" imgH="270" progId="TCLayout.ActiveDocument.1">
                  <p:embed/>
                  <p:pic>
                    <p:nvPicPr>
                      <p:cNvPr id="2" name="Object 1" hidden="1"/>
                      <p:cNvPicPr/>
                      <p:nvPr/>
                    </p:nvPicPr>
                    <p:blipFill>
                      <a:blip r:embed="rId37"/>
                      <a:stretch>
                        <a:fillRect/>
                      </a:stretch>
                    </p:blipFill>
                    <p:spPr>
                      <a:xfrm>
                        <a:off x="0" y="0"/>
                        <a:ext cx="158750" cy="158750"/>
                      </a:xfrm>
                      <a:prstGeom prst="rect">
                        <a:avLst/>
                      </a:prstGeom>
                    </p:spPr>
                  </p:pic>
                </p:oleObj>
              </mc:Fallback>
            </mc:AlternateContent>
          </a:graphicData>
        </a:graphic>
      </p:graphicFrame>
      <p:sp>
        <p:nvSpPr>
          <p:cNvPr id="6" name="Rectangle 5" hidden="1"/>
          <p:cNvSpPr/>
          <p:nvPr>
            <p:custDataLst>
              <p:tags r:id="rId8"/>
            </p:custDataLst>
          </p:nvPr>
        </p:nvSpPr>
        <p:spPr bwMode="auto">
          <a:xfrm>
            <a:off x="0" y="0"/>
            <a:ext cx="158750" cy="158750"/>
          </a:xfrm>
          <a:prstGeom prst="rect">
            <a:avLst/>
          </a:prstGeom>
          <a:solidFill>
            <a:schemeClr val="bg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dirty="0">
              <a:solidFill>
                <a:srgbClr val="000000"/>
              </a:solidFill>
              <a:sym typeface="Arial" panose="020B0604020202020204" pitchFamily="34" charset="0"/>
            </a:endParaRPr>
          </a:p>
        </p:txBody>
      </p:sp>
      <p:sp>
        <p:nvSpPr>
          <p:cNvPr id="1034" name="Working Draft" hidden="1"/>
          <p:cNvSpPr txBox="1">
            <a:spLocks noChangeArrowheads="1"/>
          </p:cNvSpPr>
          <p:nvPr/>
        </p:nvSpPr>
        <p:spPr bwMode="gray">
          <a:xfrm rot="5400000">
            <a:off x="7966656" y="1940591"/>
            <a:ext cx="1849865"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600" baseline="0">
                <a:solidFill>
                  <a:srgbClr val="808080"/>
                </a:solidFill>
                <a:latin typeface="+mn-lt"/>
                <a:ea typeface="+mn-ea"/>
              </a:rPr>
              <a:t>Last Modified 21/05/2018 17:44 India Standard Time</a:t>
            </a:r>
            <a:endParaRPr lang="en-US" baseline="0" dirty="0">
              <a:solidFill>
                <a:srgbClr val="808080"/>
              </a:solidFill>
              <a:latin typeface="+mn-lt"/>
              <a:ea typeface="+mn-ea"/>
            </a:endParaRPr>
          </a:p>
        </p:txBody>
      </p:sp>
      <p:sp>
        <p:nvSpPr>
          <p:cNvPr id="1035" name="Printed" hidden="1"/>
          <p:cNvSpPr txBox="1">
            <a:spLocks noChangeArrowheads="1"/>
          </p:cNvSpPr>
          <p:nvPr/>
        </p:nvSpPr>
        <p:spPr bwMode="gray">
          <a:xfrm rot="5400000">
            <a:off x="8768958" y="4114417"/>
            <a:ext cx="245260"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600" baseline="0" dirty="0">
                <a:solidFill>
                  <a:srgbClr val="808080"/>
                </a:solidFill>
                <a:latin typeface="+mn-lt"/>
                <a:ea typeface="+mn-ea"/>
              </a:rPr>
              <a:t>Printed</a:t>
            </a:r>
            <a:endParaRPr lang="en-US" baseline="0" dirty="0">
              <a:solidFill>
                <a:srgbClr val="808080"/>
              </a:solidFill>
              <a:latin typeface="+mn-lt"/>
              <a:ea typeface="+mn-ea"/>
            </a:endParaRPr>
          </a:p>
        </p:txBody>
      </p:sp>
      <p:sp>
        <p:nvSpPr>
          <p:cNvPr id="19" name="Title Placeholder 2"/>
          <p:cNvSpPr>
            <a:spLocks noGrp="1" noChangeArrowheads="1"/>
          </p:cNvSpPr>
          <p:nvPr>
            <p:ph type="title"/>
          </p:nvPr>
        </p:nvSpPr>
        <p:spPr bwMode="gray">
          <a:xfrm>
            <a:off x="119063" y="230188"/>
            <a:ext cx="8618537"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latinLnBrk="0"/>
            <a:r>
              <a:rPr lang="en-US"/>
              <a:t>Click to edit Master title style</a:t>
            </a:r>
            <a:endParaRPr lang="en-US" noProof="0" dirty="0"/>
          </a:p>
        </p:txBody>
      </p:sp>
      <p:sp>
        <p:nvSpPr>
          <p:cNvPr id="10" name="1. On-page tracker" hidden="1"/>
          <p:cNvSpPr>
            <a:spLocks noChangeArrowheads="1"/>
          </p:cNvSpPr>
          <p:nvPr/>
        </p:nvSpPr>
        <p:spPr bwMode="gray">
          <a:xfrm>
            <a:off x="119063" y="75764"/>
            <a:ext cx="490519"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800" cap="all" baseline="0" dirty="0">
                <a:solidFill>
                  <a:schemeClr val="accent6"/>
                </a:solidFill>
                <a:latin typeface="+mn-lt"/>
                <a:ea typeface="+mn-ea"/>
              </a:rPr>
              <a:t>Tracker</a:t>
            </a:r>
          </a:p>
        </p:txBody>
      </p:sp>
      <p:sp>
        <p:nvSpPr>
          <p:cNvPr id="11" name="3. Unit of measure" hidden="1"/>
          <p:cNvSpPr txBox="1">
            <a:spLocks noChangeArrowheads="1"/>
          </p:cNvSpPr>
          <p:nvPr/>
        </p:nvSpPr>
        <p:spPr bwMode="gray">
          <a:xfrm>
            <a:off x="119063" y="554865"/>
            <a:ext cx="8618537"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600" baseline="0" dirty="0">
                <a:solidFill>
                  <a:schemeClr val="accent6"/>
                </a:solidFill>
                <a:latin typeface="+mn-lt"/>
                <a:ea typeface="+mn-ea"/>
              </a:rPr>
              <a:t>Unit of measure</a:t>
            </a:r>
          </a:p>
        </p:txBody>
      </p:sp>
      <p:grpSp>
        <p:nvGrpSpPr>
          <p:cNvPr id="4" name="Slide Elements" hidden="1"/>
          <p:cNvGrpSpPr/>
          <p:nvPr/>
        </p:nvGrpSpPr>
        <p:grpSpPr bwMode="gray">
          <a:xfrm>
            <a:off x="119063" y="6305945"/>
            <a:ext cx="8618537" cy="325438"/>
            <a:chOff x="119063" y="6305945"/>
            <a:chExt cx="8618537" cy="325438"/>
          </a:xfrm>
        </p:grpSpPr>
        <p:sp>
          <p:nvSpPr>
            <p:cNvPr id="13" name="4. Footnote"/>
            <p:cNvSpPr txBox="1">
              <a:spLocks noChangeArrowheads="1"/>
            </p:cNvSpPr>
            <p:nvPr/>
          </p:nvSpPr>
          <p:spPr bwMode="gray">
            <a:xfrm>
              <a:off x="119063" y="6305945"/>
              <a:ext cx="8618537" cy="123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800" baseline="0" dirty="0">
                  <a:solidFill>
                    <a:schemeClr val="accent6"/>
                  </a:solidFill>
                  <a:latin typeface="+mn-lt"/>
                  <a:ea typeface="+mn-ea"/>
                </a:rPr>
                <a:t>1 Footnote</a:t>
              </a:r>
            </a:p>
          </p:txBody>
        </p:sp>
        <p:sp>
          <p:nvSpPr>
            <p:cNvPr id="14" name="5. Source"/>
            <p:cNvSpPr>
              <a:spLocks noChangeArrowheads="1"/>
            </p:cNvSpPr>
            <p:nvPr/>
          </p:nvSpPr>
          <p:spPr bwMode="gray">
            <a:xfrm>
              <a:off x="119063" y="6507558"/>
              <a:ext cx="7200000" cy="123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marL="609600" indent="-609600" defTabSz="895350">
                <a:tabLst>
                  <a:tab pos="612775" algn="l"/>
                </a:tabLst>
              </a:pPr>
              <a:r>
                <a:rPr lang="en-US" sz="800" baseline="0" dirty="0">
                  <a:solidFill>
                    <a:schemeClr val="accent6"/>
                  </a:solidFill>
                  <a:latin typeface="+mn-lt"/>
                  <a:ea typeface="+mn-ea"/>
                </a:rPr>
                <a:t>SOURCE: Source</a:t>
              </a:r>
            </a:p>
          </p:txBody>
        </p:sp>
      </p:grpSp>
      <p:sp>
        <p:nvSpPr>
          <p:cNvPr id="3" name="Text Placeholder 2"/>
          <p:cNvSpPr>
            <a:spLocks noGrp="1"/>
          </p:cNvSpPr>
          <p:nvPr>
            <p:ph type="body" idx="1"/>
          </p:nvPr>
        </p:nvSpPr>
        <p:spPr bwMode="gray">
          <a:xfrm>
            <a:off x="1452564" y="1951380"/>
            <a:ext cx="4302125" cy="1077218"/>
          </a:xfrm>
          <a:prstGeom prst="rect">
            <a:avLst/>
          </a:prstGeom>
        </p:spPr>
        <p:txBody>
          <a:bodyPr vert="horz" lIns="0" tIns="0" rIns="0" bIns="0" rtlCol="0">
            <a:spAutoFit/>
          </a:bodyPr>
          <a:lstStyle/>
          <a:p>
            <a:pPr lvl="0" latinLnBrk="0"/>
            <a:r>
              <a:rPr lang="en-US"/>
              <a:t>Edit Master text styles</a:t>
            </a:r>
          </a:p>
          <a:p>
            <a:pPr lvl="1" latinLnBrk="0"/>
            <a:r>
              <a:rPr lang="en-US"/>
              <a:t>Second level</a:t>
            </a:r>
          </a:p>
          <a:p>
            <a:pPr lvl="2" latinLnBrk="0"/>
            <a:r>
              <a:rPr lang="en-US"/>
              <a:t>Third level</a:t>
            </a:r>
          </a:p>
          <a:p>
            <a:pPr lvl="3" latinLnBrk="0"/>
            <a:r>
              <a:rPr lang="en-US"/>
              <a:t>Fourth level</a:t>
            </a:r>
          </a:p>
          <a:p>
            <a:pPr lvl="4" latinLnBrk="0"/>
            <a:r>
              <a:rPr lang="en-US"/>
              <a:t>Fifth level</a:t>
            </a:r>
            <a:endParaRPr lang="en-US" dirty="0"/>
          </a:p>
        </p:txBody>
      </p:sp>
      <p:grpSp>
        <p:nvGrpSpPr>
          <p:cNvPr id="15" name="ACET" hidden="1"/>
          <p:cNvGrpSpPr>
            <a:grpSpLocks/>
          </p:cNvGrpSpPr>
          <p:nvPr/>
        </p:nvGrpSpPr>
        <p:grpSpPr bwMode="gray">
          <a:xfrm>
            <a:off x="1452563" y="1257754"/>
            <a:ext cx="4264025" cy="508000"/>
            <a:chOff x="915" y="710"/>
            <a:chExt cx="2686" cy="320"/>
          </a:xfrm>
        </p:grpSpPr>
        <p:cxnSp>
          <p:nvCxnSpPr>
            <p:cNvPr id="16" name="AutoShape 249"/>
            <p:cNvCxnSpPr>
              <a:cxnSpLocks noChangeShapeType="1"/>
              <a:stCxn id="18" idx="4"/>
              <a:endCxn id="18" idx="6"/>
            </p:cNvCxnSpPr>
            <p:nvPr/>
          </p:nvCxnSpPr>
          <p:spPr bwMode="gray">
            <a:xfrm>
              <a:off x="915" y="1030"/>
              <a:ext cx="2686" cy="0"/>
            </a:xfrm>
            <a:prstGeom prst="straightConnector1">
              <a:avLst/>
            </a:prstGeom>
            <a:noFill/>
            <a:ln w="9525">
              <a:solidFill>
                <a:schemeClr val="accent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8" name="AutoShape 250"/>
            <p:cNvSpPr>
              <a:spLocks noChangeArrowheads="1"/>
            </p:cNvSpPr>
            <p:nvPr/>
          </p:nvSpPr>
          <p:spPr bwMode="gray">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US" b="1" baseline="0" dirty="0">
                  <a:solidFill>
                    <a:srgbClr val="000000"/>
                  </a:solidFill>
                  <a:latin typeface="+mn-lt"/>
                  <a:ea typeface="+mn-ea"/>
                </a:rPr>
                <a:t>Title</a:t>
              </a:r>
            </a:p>
            <a:p>
              <a:r>
                <a:rPr lang="en-US" baseline="0" dirty="0">
                  <a:solidFill>
                    <a:schemeClr val="accent6"/>
                  </a:solidFill>
                  <a:latin typeface="+mn-lt"/>
                  <a:ea typeface="+mn-ea"/>
                </a:rPr>
                <a:t>Unit of measure</a:t>
              </a:r>
            </a:p>
          </p:txBody>
        </p:sp>
      </p:grpSp>
      <p:grpSp>
        <p:nvGrpSpPr>
          <p:cNvPr id="17" name="McKSticker" hidden="1"/>
          <p:cNvGrpSpPr/>
          <p:nvPr/>
        </p:nvGrpSpPr>
        <p:grpSpPr bwMode="gray">
          <a:xfrm>
            <a:off x="8264265" y="285750"/>
            <a:ext cx="473335" cy="150811"/>
            <a:chOff x="8267440" y="285750"/>
            <a:chExt cx="473335" cy="150811"/>
          </a:xfrm>
        </p:grpSpPr>
        <p:sp>
          <p:nvSpPr>
            <p:cNvPr id="20" name="StickerRectangle"/>
            <p:cNvSpPr>
              <a:spLocks noChangeArrowheads="1"/>
            </p:cNvSpPr>
            <p:nvPr/>
          </p:nvSpPr>
          <p:spPr bwMode="gray">
            <a:xfrm>
              <a:off x="8267440" y="285750"/>
              <a:ext cx="473335" cy="150811"/>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a:buClr>
                  <a:srgbClr val="002960"/>
                </a:buClr>
              </a:pPr>
              <a:r>
                <a:rPr lang="en-US" sz="800" baseline="0" dirty="0">
                  <a:solidFill>
                    <a:schemeClr val="accent6"/>
                  </a:solidFill>
                  <a:latin typeface="+mn-lt"/>
                  <a:ea typeface="+mn-ea"/>
                </a:rPr>
                <a:t>STICKER</a:t>
              </a:r>
            </a:p>
          </p:txBody>
        </p:sp>
        <p:cxnSp>
          <p:nvCxnSpPr>
            <p:cNvPr id="21" name="AutoShape 31"/>
            <p:cNvCxnSpPr>
              <a:cxnSpLocks noChangeShapeType="1"/>
              <a:stCxn id="20" idx="2"/>
              <a:endCxn id="20" idx="4"/>
            </p:cNvCxnSpPr>
            <p:nvPr/>
          </p:nvCxnSpPr>
          <p:spPr bwMode="gray">
            <a:xfrm>
              <a:off x="8267440" y="285750"/>
              <a:ext cx="0" cy="150811"/>
            </a:xfrm>
            <a:prstGeom prst="straightConnector1">
              <a:avLst/>
            </a:prstGeom>
            <a:noFill/>
            <a:ln w="9525">
              <a:solidFill>
                <a:schemeClr val="accent6"/>
              </a:solidFill>
              <a:round/>
              <a:headEnd/>
              <a:tailEnd/>
            </a:ln>
            <a:extLst>
              <a:ext uri="{909E8E84-426E-40DD-AFC4-6F175D3DCCD1}">
                <a14:hiddenFill xmlns:a14="http://schemas.microsoft.com/office/drawing/2010/main">
                  <a:noFill/>
                </a14:hiddenFill>
              </a:ext>
            </a:extLst>
          </p:spPr>
        </p:cxnSp>
        <p:cxnSp>
          <p:nvCxnSpPr>
            <p:cNvPr id="22" name="AutoShape 32"/>
            <p:cNvCxnSpPr>
              <a:cxnSpLocks noChangeShapeType="1"/>
              <a:stCxn id="20" idx="4"/>
              <a:endCxn id="20" idx="6"/>
            </p:cNvCxnSpPr>
            <p:nvPr/>
          </p:nvCxnSpPr>
          <p:spPr bwMode="gray">
            <a:xfrm>
              <a:off x="8267440" y="436561"/>
              <a:ext cx="473335" cy="0"/>
            </a:xfrm>
            <a:prstGeom prst="straightConnector1">
              <a:avLst/>
            </a:prstGeom>
            <a:noFill/>
            <a:ln w="25400">
              <a:solidFill>
                <a:schemeClr val="accent6"/>
              </a:solidFill>
              <a:round/>
              <a:headEnd/>
              <a:tailEnd/>
            </a:ln>
            <a:extLst>
              <a:ext uri="{909E8E84-426E-40DD-AFC4-6F175D3DCCD1}">
                <a14:hiddenFill xmlns:a14="http://schemas.microsoft.com/office/drawing/2010/main">
                  <a:noFill/>
                </a14:hiddenFill>
              </a:ext>
            </a:extLst>
          </p:spPr>
        </p:cxnSp>
      </p:grpSp>
      <p:sp>
        <p:nvSpPr>
          <p:cNvPr id="23" name="SlideBottomBar" hidden="1"/>
          <p:cNvSpPr/>
          <p:nvPr/>
        </p:nvSpPr>
        <p:spPr>
          <a:xfrm>
            <a:off x="8437547" y="6182120"/>
            <a:ext cx="45719" cy="123825"/>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aseline="0" dirty="0">
              <a:solidFill>
                <a:schemeClr val="tx1"/>
              </a:solidFill>
              <a:latin typeface="+mn-lt"/>
              <a:ea typeface="+mn-ea"/>
            </a:endParaRPr>
          </a:p>
        </p:txBody>
      </p:sp>
      <p:sp>
        <p:nvSpPr>
          <p:cNvPr id="24" name="doc id" hidden="1"/>
          <p:cNvSpPr txBox="1">
            <a:spLocks noChangeArrowheads="1"/>
          </p:cNvSpPr>
          <p:nvPr/>
        </p:nvSpPr>
        <p:spPr bwMode="white">
          <a:xfrm>
            <a:off x="8104473" y="36513"/>
            <a:ext cx="634716" cy="115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hangingPunct="1">
              <a:defRPr/>
            </a:pPr>
            <a:endParaRPr lang="en-US" sz="800" baseline="0" dirty="0">
              <a:solidFill>
                <a:schemeClr val="accent1"/>
              </a:solidFill>
              <a:latin typeface="+mn-lt"/>
              <a:ea typeface="+mn-ea"/>
            </a:endParaRPr>
          </a:p>
        </p:txBody>
      </p:sp>
      <p:grpSp>
        <p:nvGrpSpPr>
          <p:cNvPr id="63" name="LegendLines" hidden="1"/>
          <p:cNvGrpSpPr/>
          <p:nvPr/>
        </p:nvGrpSpPr>
        <p:grpSpPr>
          <a:xfrm>
            <a:off x="7551589" y="267815"/>
            <a:ext cx="1158292" cy="761545"/>
            <a:chOff x="7607284" y="279400"/>
            <a:chExt cx="1158292" cy="761545"/>
          </a:xfrm>
        </p:grpSpPr>
        <p:sp>
          <p:nvSpPr>
            <p:cNvPr id="64" name="LineLegend1"/>
            <p:cNvSpPr>
              <a:spLocks noChangeShapeType="1"/>
            </p:cNvSpPr>
            <p:nvPr/>
          </p:nvSpPr>
          <p:spPr bwMode="gray">
            <a:xfrm>
              <a:off x="7607284" y="387122"/>
              <a:ext cx="457200"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65" name="LineLegend2"/>
            <p:cNvSpPr>
              <a:spLocks noChangeShapeType="1"/>
            </p:cNvSpPr>
            <p:nvPr/>
          </p:nvSpPr>
          <p:spPr bwMode="gray">
            <a:xfrm>
              <a:off x="7607284" y="653822"/>
              <a:ext cx="457200"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66" name="LineLegend3"/>
            <p:cNvSpPr>
              <a:spLocks noChangeShapeType="1"/>
            </p:cNvSpPr>
            <p:nvPr/>
          </p:nvSpPr>
          <p:spPr bwMode="gray">
            <a:xfrm>
              <a:off x="7607284" y="933223"/>
              <a:ext cx="457200"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67" name="Legend1"/>
            <p:cNvSpPr>
              <a:spLocks noChangeArrowheads="1"/>
            </p:cNvSpPr>
            <p:nvPr>
              <p:custDataLst>
                <p:tags r:id="rId33"/>
              </p:custDataLst>
            </p:nvPr>
          </p:nvSpPr>
          <p:spPr bwMode="gray">
            <a:xfrm>
              <a:off x="8169259" y="279400"/>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sp>
          <p:nvSpPr>
            <p:cNvPr id="68" name="Legend2"/>
            <p:cNvSpPr>
              <a:spLocks noChangeArrowheads="1"/>
            </p:cNvSpPr>
            <p:nvPr>
              <p:custDataLst>
                <p:tags r:id="rId34"/>
              </p:custDataLst>
            </p:nvPr>
          </p:nvSpPr>
          <p:spPr bwMode="gray">
            <a:xfrm>
              <a:off x="8169259" y="546100"/>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a:latin typeface="+mn-lt"/>
                  <a:ea typeface="+mn-ea"/>
                </a:rPr>
                <a:t>Legend</a:t>
              </a:r>
              <a:endParaRPr lang="en-US" sz="1400" baseline="0" dirty="0">
                <a:latin typeface="+mn-lt"/>
                <a:ea typeface="+mn-ea"/>
              </a:endParaRPr>
            </a:p>
          </p:txBody>
        </p:sp>
        <p:sp>
          <p:nvSpPr>
            <p:cNvPr id="69" name="Legend3"/>
            <p:cNvSpPr>
              <a:spLocks noChangeArrowheads="1"/>
            </p:cNvSpPr>
            <p:nvPr>
              <p:custDataLst>
                <p:tags r:id="rId35"/>
              </p:custDataLst>
            </p:nvPr>
          </p:nvSpPr>
          <p:spPr bwMode="gray">
            <a:xfrm>
              <a:off x="8169259" y="825501"/>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grpSp>
      <p:grpSp>
        <p:nvGrpSpPr>
          <p:cNvPr id="70" name="LegendBoxes" hidden="1"/>
          <p:cNvGrpSpPr/>
          <p:nvPr/>
        </p:nvGrpSpPr>
        <p:grpSpPr>
          <a:xfrm>
            <a:off x="7859564" y="267919"/>
            <a:ext cx="850317" cy="1028245"/>
            <a:chOff x="5894005" y="919828"/>
            <a:chExt cx="850317" cy="1028245"/>
          </a:xfrm>
        </p:grpSpPr>
        <p:sp>
          <p:nvSpPr>
            <p:cNvPr id="71" name="RectangleLegend1"/>
            <p:cNvSpPr>
              <a:spLocks noChangeArrowheads="1"/>
            </p:cNvSpPr>
            <p:nvPr/>
          </p:nvSpPr>
          <p:spPr bwMode="gray">
            <a:xfrm>
              <a:off x="5894005" y="947381"/>
              <a:ext cx="165100" cy="160338"/>
            </a:xfrm>
            <a:prstGeom prst="rect">
              <a:avLst/>
            </a:prstGeom>
            <a:solidFill>
              <a:schemeClr val="accent1"/>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72" name="RectangleLegend2"/>
            <p:cNvSpPr>
              <a:spLocks noChangeArrowheads="1"/>
            </p:cNvSpPr>
            <p:nvPr/>
          </p:nvSpPr>
          <p:spPr bwMode="gray">
            <a:xfrm>
              <a:off x="5894005" y="1217256"/>
              <a:ext cx="165100" cy="160338"/>
            </a:xfrm>
            <a:prstGeom prst="rect">
              <a:avLst/>
            </a:prstGeom>
            <a:solidFill>
              <a:schemeClr val="accent2"/>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73" name="RectangleLegend3"/>
            <p:cNvSpPr>
              <a:spLocks noChangeArrowheads="1"/>
            </p:cNvSpPr>
            <p:nvPr/>
          </p:nvSpPr>
          <p:spPr bwMode="gray">
            <a:xfrm>
              <a:off x="5894005" y="1488719"/>
              <a:ext cx="165100" cy="160338"/>
            </a:xfrm>
            <a:prstGeom prst="rect">
              <a:avLst/>
            </a:prstGeom>
            <a:solidFill>
              <a:schemeClr val="accent3"/>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74" name="RectangleLegend4"/>
            <p:cNvSpPr>
              <a:spLocks noChangeArrowheads="1"/>
            </p:cNvSpPr>
            <p:nvPr/>
          </p:nvSpPr>
          <p:spPr bwMode="gray">
            <a:xfrm>
              <a:off x="5894005" y="1760182"/>
              <a:ext cx="165100" cy="160338"/>
            </a:xfrm>
            <a:prstGeom prst="rect">
              <a:avLst/>
            </a:prstGeom>
            <a:solidFill>
              <a:schemeClr val="accent4"/>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75" name="Legend1"/>
            <p:cNvSpPr>
              <a:spLocks noChangeArrowheads="1"/>
            </p:cNvSpPr>
            <p:nvPr>
              <p:custDataLst>
                <p:tags r:id="rId29"/>
              </p:custDataLst>
            </p:nvPr>
          </p:nvSpPr>
          <p:spPr bwMode="gray">
            <a:xfrm>
              <a:off x="6148005" y="919828"/>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sp>
          <p:nvSpPr>
            <p:cNvPr id="76" name="Legend2"/>
            <p:cNvSpPr>
              <a:spLocks noChangeArrowheads="1"/>
            </p:cNvSpPr>
            <p:nvPr>
              <p:custDataLst>
                <p:tags r:id="rId30"/>
              </p:custDataLst>
            </p:nvPr>
          </p:nvSpPr>
          <p:spPr bwMode="gray">
            <a:xfrm>
              <a:off x="6148005" y="1189703"/>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sp>
          <p:nvSpPr>
            <p:cNvPr id="77" name="Legend3"/>
            <p:cNvSpPr>
              <a:spLocks noChangeArrowheads="1"/>
            </p:cNvSpPr>
            <p:nvPr>
              <p:custDataLst>
                <p:tags r:id="rId31"/>
              </p:custDataLst>
            </p:nvPr>
          </p:nvSpPr>
          <p:spPr bwMode="gray">
            <a:xfrm>
              <a:off x="6148005" y="1461166"/>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sp>
          <p:nvSpPr>
            <p:cNvPr id="78" name="Legend4"/>
            <p:cNvSpPr>
              <a:spLocks noChangeArrowheads="1"/>
            </p:cNvSpPr>
            <p:nvPr>
              <p:custDataLst>
                <p:tags r:id="rId32"/>
              </p:custDataLst>
            </p:nvPr>
          </p:nvSpPr>
          <p:spPr bwMode="gray">
            <a:xfrm>
              <a:off x="6148005" y="1732629"/>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grpSp>
      <p:grpSp>
        <p:nvGrpSpPr>
          <p:cNvPr id="79" name="LegendMoons" hidden="1"/>
          <p:cNvGrpSpPr/>
          <p:nvPr/>
        </p:nvGrpSpPr>
        <p:grpSpPr>
          <a:xfrm>
            <a:off x="7792889" y="267414"/>
            <a:ext cx="916992" cy="1317003"/>
            <a:chOff x="5894005" y="2695123"/>
            <a:chExt cx="916992" cy="1317003"/>
          </a:xfrm>
        </p:grpSpPr>
        <p:grpSp>
          <p:nvGrpSpPr>
            <p:cNvPr id="80" name="MoonLegend1"/>
            <p:cNvGrpSpPr>
              <a:grpSpLocks noChangeAspect="1"/>
            </p:cNvGrpSpPr>
            <p:nvPr>
              <p:custDataLst>
                <p:tags r:id="rId9"/>
              </p:custDataLst>
            </p:nvPr>
          </p:nvGrpSpPr>
          <p:grpSpPr bwMode="gray">
            <a:xfrm>
              <a:off x="5894005" y="2695123"/>
              <a:ext cx="209550" cy="218282"/>
              <a:chOff x="4533" y="183"/>
              <a:chExt cx="144" cy="150"/>
            </a:xfrm>
          </p:grpSpPr>
          <p:sp>
            <p:nvSpPr>
              <p:cNvPr id="98" name="Oval 97"/>
              <p:cNvSpPr>
                <a:spLocks noChangeAspect="1" noChangeArrowheads="1"/>
              </p:cNvSpPr>
              <p:nvPr>
                <p:custDataLst>
                  <p:tags r:id="rId27"/>
                </p:custDataLst>
              </p:nvPr>
            </p:nvSpPr>
            <p:spPr bwMode="gray">
              <a:xfrm>
                <a:off x="4533" y="189"/>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99" name="Arc 98" hidden="1"/>
              <p:cNvSpPr>
                <a:spLocks noChangeAspect="1"/>
              </p:cNvSpPr>
              <p:nvPr>
                <p:custDataLst>
                  <p:tags r:id="rId28"/>
                </p:custDataLst>
              </p:nvPr>
            </p:nvSpPr>
            <p:spPr bwMode="gray">
              <a:xfrm>
                <a:off x="4533" y="183"/>
                <a:ext cx="144" cy="144"/>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grpSp>
        <p:grpSp>
          <p:nvGrpSpPr>
            <p:cNvPr id="81" name="MoonLegend2"/>
            <p:cNvGrpSpPr>
              <a:grpSpLocks noChangeAspect="1"/>
            </p:cNvGrpSpPr>
            <p:nvPr>
              <p:custDataLst>
                <p:tags r:id="rId10"/>
              </p:custDataLst>
            </p:nvPr>
          </p:nvGrpSpPr>
          <p:grpSpPr bwMode="gray">
            <a:xfrm>
              <a:off x="5894005" y="2977103"/>
              <a:ext cx="209550" cy="209551"/>
              <a:chOff x="1694" y="2051"/>
              <a:chExt cx="160" cy="160"/>
            </a:xfrm>
          </p:grpSpPr>
          <p:sp>
            <p:nvSpPr>
              <p:cNvPr id="96" name="Oval 41"/>
              <p:cNvSpPr>
                <a:spLocks noChangeAspect="1" noChangeArrowheads="1"/>
              </p:cNvSpPr>
              <p:nvPr>
                <p:custDataLst>
                  <p:tags r:id="rId25"/>
                </p:custDataLst>
              </p:nvPr>
            </p:nvSpPr>
            <p:spPr bwMode="gray">
              <a:xfrm>
                <a:off x="1694" y="2051"/>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97" name="Arc 42"/>
              <p:cNvSpPr>
                <a:spLocks noChangeAspect="1"/>
              </p:cNvSpPr>
              <p:nvPr>
                <p:custDataLst>
                  <p:tags r:id="rId26"/>
                </p:custDataLst>
              </p:nvPr>
            </p:nvSpPr>
            <p:spPr bwMode="gray">
              <a:xfrm>
                <a:off x="1694" y="2051"/>
                <a:ext cx="160" cy="160"/>
              </a:xfrm>
              <a:prstGeom prst="arc">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grpSp>
        <p:grpSp>
          <p:nvGrpSpPr>
            <p:cNvPr id="82" name="MoonLegend4"/>
            <p:cNvGrpSpPr>
              <a:grpSpLocks noChangeAspect="1"/>
            </p:cNvGrpSpPr>
            <p:nvPr>
              <p:custDataLst>
                <p:tags r:id="rId11"/>
              </p:custDataLst>
            </p:nvPr>
          </p:nvGrpSpPr>
          <p:grpSpPr bwMode="gray">
            <a:xfrm>
              <a:off x="5894005" y="3524395"/>
              <a:ext cx="209550" cy="209551"/>
              <a:chOff x="4495" y="1204"/>
              <a:chExt cx="160" cy="160"/>
            </a:xfrm>
          </p:grpSpPr>
          <p:sp>
            <p:nvSpPr>
              <p:cNvPr id="94" name="Oval 47"/>
              <p:cNvSpPr>
                <a:spLocks noChangeAspect="1" noChangeArrowheads="1"/>
              </p:cNvSpPr>
              <p:nvPr>
                <p:custDataLst>
                  <p:tags r:id="rId23"/>
                </p:custDataLst>
              </p:nvPr>
            </p:nvSpPr>
            <p:spPr bwMode="gray">
              <a:xfrm>
                <a:off x="4495" y="120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95" name="Arc 48"/>
              <p:cNvSpPr>
                <a:spLocks noChangeAspect="1"/>
              </p:cNvSpPr>
              <p:nvPr>
                <p:custDataLst>
                  <p:tags r:id="rId24"/>
                </p:custDataLst>
              </p:nvPr>
            </p:nvSpPr>
            <p:spPr bwMode="gray">
              <a:xfrm>
                <a:off x="4495" y="1204"/>
                <a:ext cx="160" cy="160"/>
              </a:xfrm>
              <a:prstGeom prst="arc">
                <a:avLst>
                  <a:gd name="adj1" fmla="val 16200000"/>
                  <a:gd name="adj2" fmla="val 108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grpSp>
        <p:grpSp>
          <p:nvGrpSpPr>
            <p:cNvPr id="83" name="MoonLegend5"/>
            <p:cNvGrpSpPr>
              <a:grpSpLocks noChangeAspect="1"/>
            </p:cNvGrpSpPr>
            <p:nvPr>
              <p:custDataLst>
                <p:tags r:id="rId12"/>
              </p:custDataLst>
            </p:nvPr>
          </p:nvGrpSpPr>
          <p:grpSpPr bwMode="gray">
            <a:xfrm>
              <a:off x="5894005" y="3799629"/>
              <a:ext cx="209550" cy="209551"/>
              <a:chOff x="4495" y="1447"/>
              <a:chExt cx="160" cy="160"/>
            </a:xfrm>
          </p:grpSpPr>
          <p:sp>
            <p:nvSpPr>
              <p:cNvPr id="92" name="Oval 50"/>
              <p:cNvSpPr>
                <a:spLocks noChangeAspect="1" noChangeArrowheads="1"/>
              </p:cNvSpPr>
              <p:nvPr>
                <p:custDataLst>
                  <p:tags r:id="rId21"/>
                </p:custDataLst>
              </p:nvPr>
            </p:nvSpPr>
            <p:spPr bwMode="gray">
              <a:xfrm>
                <a:off x="4495" y="1447"/>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93" name="Oval 51"/>
              <p:cNvSpPr>
                <a:spLocks noChangeAspect="1" noChangeArrowheads="1"/>
              </p:cNvSpPr>
              <p:nvPr>
                <p:custDataLst>
                  <p:tags r:id="rId22"/>
                </p:custDataLst>
              </p:nvPr>
            </p:nvSpPr>
            <p:spPr bwMode="gray">
              <a:xfrm>
                <a:off x="4495" y="1447"/>
                <a:ext cx="160" cy="160"/>
              </a:xfrm>
              <a:prstGeom prst="arc">
                <a:avLst>
                  <a:gd name="adj1" fmla="val 16200000"/>
                  <a:gd name="adj2" fmla="val 162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grpSp>
        <p:grpSp>
          <p:nvGrpSpPr>
            <p:cNvPr id="84" name="MoonLegend3"/>
            <p:cNvGrpSpPr>
              <a:grpSpLocks noChangeAspect="1"/>
            </p:cNvGrpSpPr>
            <p:nvPr>
              <p:custDataLst>
                <p:tags r:id="rId13"/>
              </p:custDataLst>
            </p:nvPr>
          </p:nvGrpSpPr>
          <p:grpSpPr bwMode="gray">
            <a:xfrm>
              <a:off x="5894005" y="3251543"/>
              <a:ext cx="209550" cy="209551"/>
              <a:chOff x="4495" y="1205"/>
              <a:chExt cx="160" cy="160"/>
            </a:xfrm>
          </p:grpSpPr>
          <p:sp>
            <p:nvSpPr>
              <p:cNvPr id="90" name="Oval 47"/>
              <p:cNvSpPr>
                <a:spLocks noChangeAspect="1" noChangeArrowheads="1"/>
              </p:cNvSpPr>
              <p:nvPr>
                <p:custDataLst>
                  <p:tags r:id="rId19"/>
                </p:custDataLst>
              </p:nvPr>
            </p:nvSpPr>
            <p:spPr bwMode="gray">
              <a:xfrm>
                <a:off x="4495" y="1205"/>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91" name="Arc 48"/>
              <p:cNvSpPr>
                <a:spLocks noChangeAspect="1"/>
              </p:cNvSpPr>
              <p:nvPr>
                <p:custDataLst>
                  <p:tags r:id="rId20"/>
                </p:custDataLst>
              </p:nvPr>
            </p:nvSpPr>
            <p:spPr bwMode="gray">
              <a:xfrm>
                <a:off x="4495" y="1205"/>
                <a:ext cx="160" cy="160"/>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grpSp>
        <p:sp>
          <p:nvSpPr>
            <p:cNvPr id="85" name="Legend1"/>
            <p:cNvSpPr>
              <a:spLocks noChangeArrowheads="1"/>
            </p:cNvSpPr>
            <p:nvPr>
              <p:custDataLst>
                <p:tags r:id="rId14"/>
              </p:custDataLst>
            </p:nvPr>
          </p:nvSpPr>
          <p:spPr bwMode="gray">
            <a:xfrm>
              <a:off x="6214680" y="2696542"/>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sp>
          <p:nvSpPr>
            <p:cNvPr id="86" name="Legend2"/>
            <p:cNvSpPr>
              <a:spLocks noChangeArrowheads="1"/>
            </p:cNvSpPr>
            <p:nvPr>
              <p:custDataLst>
                <p:tags r:id="rId15"/>
              </p:custDataLst>
            </p:nvPr>
          </p:nvSpPr>
          <p:spPr bwMode="gray">
            <a:xfrm>
              <a:off x="6214680" y="2974156"/>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a:latin typeface="+mn-lt"/>
                  <a:ea typeface="+mn-ea"/>
                </a:rPr>
                <a:t>Legend</a:t>
              </a:r>
              <a:endParaRPr lang="en-US" sz="1400" baseline="0" dirty="0">
                <a:latin typeface="+mn-lt"/>
                <a:ea typeface="+mn-ea"/>
              </a:endParaRPr>
            </a:p>
          </p:txBody>
        </p:sp>
        <p:sp>
          <p:nvSpPr>
            <p:cNvPr id="87" name="Legend3"/>
            <p:cNvSpPr>
              <a:spLocks noChangeArrowheads="1"/>
            </p:cNvSpPr>
            <p:nvPr>
              <p:custDataLst>
                <p:tags r:id="rId16"/>
              </p:custDataLst>
            </p:nvPr>
          </p:nvSpPr>
          <p:spPr bwMode="gray">
            <a:xfrm>
              <a:off x="6214680" y="3248596"/>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sp>
          <p:nvSpPr>
            <p:cNvPr id="88" name="Legend4"/>
            <p:cNvSpPr>
              <a:spLocks noChangeArrowheads="1"/>
            </p:cNvSpPr>
            <p:nvPr>
              <p:custDataLst>
                <p:tags r:id="rId17"/>
              </p:custDataLst>
            </p:nvPr>
          </p:nvSpPr>
          <p:spPr bwMode="gray">
            <a:xfrm>
              <a:off x="6214680" y="3521448"/>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sp>
          <p:nvSpPr>
            <p:cNvPr id="89" name="Legend5"/>
            <p:cNvSpPr>
              <a:spLocks noChangeArrowheads="1"/>
            </p:cNvSpPr>
            <p:nvPr>
              <p:custDataLst>
                <p:tags r:id="rId18"/>
              </p:custDataLst>
            </p:nvPr>
          </p:nvSpPr>
          <p:spPr bwMode="gray">
            <a:xfrm>
              <a:off x="6214680" y="3796682"/>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a:latin typeface="+mn-lt"/>
                  <a:ea typeface="+mn-ea"/>
                </a:rPr>
                <a:t>Legend</a:t>
              </a:r>
              <a:endParaRPr lang="en-US" sz="1400" baseline="0" dirty="0">
                <a:latin typeface="+mn-lt"/>
                <a:ea typeface="+mn-ea"/>
              </a:endParaRPr>
            </a:p>
          </p:txBody>
        </p:sp>
      </p:grpSp>
    </p:spTree>
    <p:extLst>
      <p:ext uri="{BB962C8B-B14F-4D97-AF65-F5344CB8AC3E}">
        <p14:creationId xmlns:p14="http://schemas.microsoft.com/office/powerpoint/2010/main" val="1009208981"/>
      </p:ext>
    </p:extLst>
  </p:cSld>
  <p:clrMap bg1="lt1" tx1="dk1" bg2="lt2" tx2="dk2" accent1="accent1" accent2="accent2" accent3="accent3" accent4="accent4" accent5="accent5" accent6="accent6" hlink="hlink" folHlink="folHlink"/>
  <p:sldLayoutIdLst>
    <p:sldLayoutId id="2147483676" r:id="rId1"/>
    <p:sldLayoutId id="2147483677" r:id="rId2"/>
    <p:sldLayoutId id="2147483678" r:id="rId3"/>
    <p:sldLayoutId id="2147483679" r:id="rId4"/>
  </p:sldLayoutIdLst>
  <p:txStyles>
    <p:titleStyle>
      <a:lvl1pPr algn="l" defTabSz="895350" rtl="0" eaLnBrk="1" fontAlgn="base" hangingPunct="1">
        <a:spcBef>
          <a:spcPct val="0"/>
        </a:spcBef>
        <a:spcAft>
          <a:spcPct val="0"/>
        </a:spcAft>
        <a:tabLst>
          <a:tab pos="269875" algn="l"/>
        </a:tabLst>
        <a:defRPr sz="2000" b="0" baseline="0">
          <a:solidFill>
            <a:schemeClr val="tx2"/>
          </a:solidFill>
          <a:latin typeface="+mj-lt"/>
          <a:ea typeface="+mj-ea"/>
          <a:cs typeface="+mj-cs"/>
        </a:defRPr>
      </a:lvl1pPr>
      <a:lvl2pPr algn="l" defTabSz="895350" rtl="0" eaLnBrk="1" fontAlgn="base" hangingPunct="1">
        <a:spcBef>
          <a:spcPct val="0"/>
        </a:spcBef>
        <a:spcAft>
          <a:spcPct val="0"/>
        </a:spcAft>
        <a:defRPr sz="1900" b="1">
          <a:solidFill>
            <a:schemeClr val="tx2"/>
          </a:solidFill>
          <a:latin typeface="Arial" charset="0"/>
        </a:defRPr>
      </a:lvl2pPr>
      <a:lvl3pPr algn="l" defTabSz="895350" rtl="0" eaLnBrk="1" fontAlgn="base" hangingPunct="1">
        <a:spcBef>
          <a:spcPct val="0"/>
        </a:spcBef>
        <a:spcAft>
          <a:spcPct val="0"/>
        </a:spcAft>
        <a:defRPr sz="1900" b="1">
          <a:solidFill>
            <a:schemeClr val="tx2"/>
          </a:solidFill>
          <a:latin typeface="Arial" charset="0"/>
        </a:defRPr>
      </a:lvl3pPr>
      <a:lvl4pPr algn="l" defTabSz="895350" rtl="0" eaLnBrk="1" fontAlgn="base" hangingPunct="1">
        <a:spcBef>
          <a:spcPct val="0"/>
        </a:spcBef>
        <a:spcAft>
          <a:spcPct val="0"/>
        </a:spcAft>
        <a:defRPr sz="1900" b="1">
          <a:solidFill>
            <a:schemeClr val="tx2"/>
          </a:solidFill>
          <a:latin typeface="Arial" charset="0"/>
        </a:defRPr>
      </a:lvl4pPr>
      <a:lvl5pPr algn="l" defTabSz="895350" rtl="0" eaLnBrk="1" fontAlgn="base" hangingPunct="1">
        <a:spcBef>
          <a:spcPct val="0"/>
        </a:spcBef>
        <a:spcAft>
          <a:spcPct val="0"/>
        </a:spcAft>
        <a:defRPr sz="1900" b="1">
          <a:solidFill>
            <a:schemeClr val="tx2"/>
          </a:solidFill>
          <a:latin typeface="Arial" charset="0"/>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p:titleStyle>
    <p:bodyStyle>
      <a:lvl1pPr marL="0" indent="0" algn="l" defTabSz="895350" rtl="0" eaLnBrk="1" fontAlgn="base" hangingPunct="1">
        <a:spcBef>
          <a:spcPct val="0"/>
        </a:spcBef>
        <a:spcAft>
          <a:spcPct val="0"/>
        </a:spcAft>
        <a:buClr>
          <a:schemeClr val="tx2"/>
        </a:buClr>
        <a:buSzPct val="100000"/>
        <a:defRPr sz="14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4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4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4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4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ext>
  </p:extLst>
</p:sldMaster>
</file>

<file path=ppt/slideMasters/slideMaster20.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7"/>
            </p:custDataLst>
            <p:extLst>
              <p:ext uri="{D42A27DB-BD31-4B8C-83A1-F6EECF244321}">
                <p14:modId xmlns:p14="http://schemas.microsoft.com/office/powerpoint/2010/main" val="245625115"/>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8324" name="think-cell Slide" r:id="rId36" imgW="270" imgH="270" progId="TCLayout.ActiveDocument.1">
                  <p:embed/>
                </p:oleObj>
              </mc:Choice>
              <mc:Fallback>
                <p:oleObj name="think-cell Slide" r:id="rId36" imgW="270" imgH="270" progId="TCLayout.ActiveDocument.1">
                  <p:embed/>
                  <p:pic>
                    <p:nvPicPr>
                      <p:cNvPr id="2" name="Object 1" hidden="1"/>
                      <p:cNvPicPr/>
                      <p:nvPr/>
                    </p:nvPicPr>
                    <p:blipFill>
                      <a:blip r:embed="rId37"/>
                      <a:stretch>
                        <a:fillRect/>
                      </a:stretch>
                    </p:blipFill>
                    <p:spPr>
                      <a:xfrm>
                        <a:off x="0" y="0"/>
                        <a:ext cx="158750" cy="158750"/>
                      </a:xfrm>
                      <a:prstGeom prst="rect">
                        <a:avLst/>
                      </a:prstGeom>
                    </p:spPr>
                  </p:pic>
                </p:oleObj>
              </mc:Fallback>
            </mc:AlternateContent>
          </a:graphicData>
        </a:graphic>
      </p:graphicFrame>
      <p:sp>
        <p:nvSpPr>
          <p:cNvPr id="6" name="Rectangle 5" hidden="1"/>
          <p:cNvSpPr/>
          <p:nvPr>
            <p:custDataLst>
              <p:tags r:id="rId8"/>
            </p:custDataLst>
          </p:nvPr>
        </p:nvSpPr>
        <p:spPr bwMode="auto">
          <a:xfrm>
            <a:off x="0" y="0"/>
            <a:ext cx="158750" cy="158750"/>
          </a:xfrm>
          <a:prstGeom prst="rect">
            <a:avLst/>
          </a:prstGeom>
          <a:solidFill>
            <a:schemeClr val="bg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dirty="0">
              <a:solidFill>
                <a:srgbClr val="000000"/>
              </a:solidFill>
              <a:sym typeface="Arial" panose="020B0604020202020204" pitchFamily="34" charset="0"/>
            </a:endParaRPr>
          </a:p>
        </p:txBody>
      </p:sp>
      <p:sp>
        <p:nvSpPr>
          <p:cNvPr id="1034" name="Working Draft" hidden="1"/>
          <p:cNvSpPr txBox="1">
            <a:spLocks noChangeArrowheads="1"/>
          </p:cNvSpPr>
          <p:nvPr/>
        </p:nvSpPr>
        <p:spPr bwMode="gray">
          <a:xfrm rot="5400000">
            <a:off x="7966656" y="1940591"/>
            <a:ext cx="1849865"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600" baseline="0">
                <a:solidFill>
                  <a:srgbClr val="808080"/>
                </a:solidFill>
                <a:latin typeface="+mn-lt"/>
                <a:ea typeface="+mn-ea"/>
              </a:rPr>
              <a:t>Last Modified 21/05/2018 17:44 India Standard Time</a:t>
            </a:r>
            <a:endParaRPr lang="en-US" baseline="0" dirty="0">
              <a:solidFill>
                <a:srgbClr val="808080"/>
              </a:solidFill>
              <a:latin typeface="+mn-lt"/>
              <a:ea typeface="+mn-ea"/>
            </a:endParaRPr>
          </a:p>
        </p:txBody>
      </p:sp>
      <p:sp>
        <p:nvSpPr>
          <p:cNvPr id="1035" name="Printed" hidden="1"/>
          <p:cNvSpPr txBox="1">
            <a:spLocks noChangeArrowheads="1"/>
          </p:cNvSpPr>
          <p:nvPr/>
        </p:nvSpPr>
        <p:spPr bwMode="gray">
          <a:xfrm rot="5400000">
            <a:off x="8768958" y="4114417"/>
            <a:ext cx="245260"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600" baseline="0" dirty="0">
                <a:solidFill>
                  <a:srgbClr val="808080"/>
                </a:solidFill>
                <a:latin typeface="+mn-lt"/>
                <a:ea typeface="+mn-ea"/>
              </a:rPr>
              <a:t>Printed</a:t>
            </a:r>
            <a:endParaRPr lang="en-US" baseline="0" dirty="0">
              <a:solidFill>
                <a:srgbClr val="808080"/>
              </a:solidFill>
              <a:latin typeface="+mn-lt"/>
              <a:ea typeface="+mn-ea"/>
            </a:endParaRPr>
          </a:p>
        </p:txBody>
      </p:sp>
      <p:sp>
        <p:nvSpPr>
          <p:cNvPr id="19" name="Title Placeholder 2"/>
          <p:cNvSpPr>
            <a:spLocks noGrp="1" noChangeArrowheads="1"/>
          </p:cNvSpPr>
          <p:nvPr>
            <p:ph type="title"/>
          </p:nvPr>
        </p:nvSpPr>
        <p:spPr bwMode="gray">
          <a:xfrm>
            <a:off x="119063" y="230188"/>
            <a:ext cx="8618537"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latinLnBrk="0"/>
            <a:r>
              <a:rPr lang="en-US"/>
              <a:t>Click to edit Master title style</a:t>
            </a:r>
            <a:endParaRPr lang="en-US" noProof="0" dirty="0"/>
          </a:p>
        </p:txBody>
      </p:sp>
      <p:sp>
        <p:nvSpPr>
          <p:cNvPr id="10" name="1. On-page tracker" hidden="1"/>
          <p:cNvSpPr>
            <a:spLocks noChangeArrowheads="1"/>
          </p:cNvSpPr>
          <p:nvPr/>
        </p:nvSpPr>
        <p:spPr bwMode="gray">
          <a:xfrm>
            <a:off x="119063" y="75764"/>
            <a:ext cx="490519"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800" cap="all" baseline="0" dirty="0">
                <a:solidFill>
                  <a:schemeClr val="accent6"/>
                </a:solidFill>
                <a:latin typeface="+mn-lt"/>
                <a:ea typeface="+mn-ea"/>
              </a:rPr>
              <a:t>Tracker</a:t>
            </a:r>
          </a:p>
        </p:txBody>
      </p:sp>
      <p:sp>
        <p:nvSpPr>
          <p:cNvPr id="11" name="3. Unit of measure" hidden="1"/>
          <p:cNvSpPr txBox="1">
            <a:spLocks noChangeArrowheads="1"/>
          </p:cNvSpPr>
          <p:nvPr/>
        </p:nvSpPr>
        <p:spPr bwMode="gray">
          <a:xfrm>
            <a:off x="119063" y="554865"/>
            <a:ext cx="8618537"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600" baseline="0" dirty="0">
                <a:solidFill>
                  <a:schemeClr val="accent6"/>
                </a:solidFill>
                <a:latin typeface="+mn-lt"/>
                <a:ea typeface="+mn-ea"/>
              </a:rPr>
              <a:t>Unit of measure</a:t>
            </a:r>
          </a:p>
        </p:txBody>
      </p:sp>
      <p:grpSp>
        <p:nvGrpSpPr>
          <p:cNvPr id="4" name="Slide Elements" hidden="1"/>
          <p:cNvGrpSpPr/>
          <p:nvPr/>
        </p:nvGrpSpPr>
        <p:grpSpPr bwMode="gray">
          <a:xfrm>
            <a:off x="119063" y="6305945"/>
            <a:ext cx="8618537" cy="325438"/>
            <a:chOff x="119063" y="6305945"/>
            <a:chExt cx="8618537" cy="325438"/>
          </a:xfrm>
        </p:grpSpPr>
        <p:sp>
          <p:nvSpPr>
            <p:cNvPr id="13" name="4. Footnote"/>
            <p:cNvSpPr txBox="1">
              <a:spLocks noChangeArrowheads="1"/>
            </p:cNvSpPr>
            <p:nvPr/>
          </p:nvSpPr>
          <p:spPr bwMode="gray">
            <a:xfrm>
              <a:off x="119063" y="6305945"/>
              <a:ext cx="8618537" cy="123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800" baseline="0" dirty="0">
                  <a:solidFill>
                    <a:schemeClr val="accent6"/>
                  </a:solidFill>
                  <a:latin typeface="+mn-lt"/>
                  <a:ea typeface="+mn-ea"/>
                </a:rPr>
                <a:t>1 Footnote</a:t>
              </a:r>
            </a:p>
          </p:txBody>
        </p:sp>
        <p:sp>
          <p:nvSpPr>
            <p:cNvPr id="14" name="5. Source"/>
            <p:cNvSpPr>
              <a:spLocks noChangeArrowheads="1"/>
            </p:cNvSpPr>
            <p:nvPr/>
          </p:nvSpPr>
          <p:spPr bwMode="gray">
            <a:xfrm>
              <a:off x="119063" y="6507558"/>
              <a:ext cx="7200000" cy="123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marL="609600" indent="-609600" defTabSz="895350">
                <a:tabLst>
                  <a:tab pos="612775" algn="l"/>
                </a:tabLst>
              </a:pPr>
              <a:r>
                <a:rPr lang="en-US" sz="800" baseline="0" dirty="0">
                  <a:solidFill>
                    <a:schemeClr val="accent6"/>
                  </a:solidFill>
                  <a:latin typeface="+mn-lt"/>
                  <a:ea typeface="+mn-ea"/>
                </a:rPr>
                <a:t>SOURCE: Source</a:t>
              </a:r>
            </a:p>
          </p:txBody>
        </p:sp>
      </p:grpSp>
      <p:sp>
        <p:nvSpPr>
          <p:cNvPr id="3" name="Text Placeholder 2"/>
          <p:cNvSpPr>
            <a:spLocks noGrp="1"/>
          </p:cNvSpPr>
          <p:nvPr>
            <p:ph type="body" idx="1"/>
          </p:nvPr>
        </p:nvSpPr>
        <p:spPr bwMode="gray">
          <a:xfrm>
            <a:off x="1452564" y="1951380"/>
            <a:ext cx="4302125" cy="1077218"/>
          </a:xfrm>
          <a:prstGeom prst="rect">
            <a:avLst/>
          </a:prstGeom>
        </p:spPr>
        <p:txBody>
          <a:bodyPr vert="horz" lIns="0" tIns="0" rIns="0" bIns="0" rtlCol="0">
            <a:spAutoFit/>
          </a:bodyPr>
          <a:lstStyle/>
          <a:p>
            <a:pPr lvl="0" latinLnBrk="0"/>
            <a:r>
              <a:rPr lang="en-US"/>
              <a:t>Edit Master text styles</a:t>
            </a:r>
          </a:p>
          <a:p>
            <a:pPr lvl="1" latinLnBrk="0"/>
            <a:r>
              <a:rPr lang="en-US"/>
              <a:t>Second level</a:t>
            </a:r>
          </a:p>
          <a:p>
            <a:pPr lvl="2" latinLnBrk="0"/>
            <a:r>
              <a:rPr lang="en-US"/>
              <a:t>Third level</a:t>
            </a:r>
          </a:p>
          <a:p>
            <a:pPr lvl="3" latinLnBrk="0"/>
            <a:r>
              <a:rPr lang="en-US"/>
              <a:t>Fourth level</a:t>
            </a:r>
          </a:p>
          <a:p>
            <a:pPr lvl="4" latinLnBrk="0"/>
            <a:r>
              <a:rPr lang="en-US"/>
              <a:t>Fifth level</a:t>
            </a:r>
            <a:endParaRPr lang="en-US" dirty="0"/>
          </a:p>
        </p:txBody>
      </p:sp>
      <p:grpSp>
        <p:nvGrpSpPr>
          <p:cNvPr id="15" name="ACET" hidden="1"/>
          <p:cNvGrpSpPr>
            <a:grpSpLocks/>
          </p:cNvGrpSpPr>
          <p:nvPr/>
        </p:nvGrpSpPr>
        <p:grpSpPr bwMode="gray">
          <a:xfrm>
            <a:off x="1452563" y="1257754"/>
            <a:ext cx="4264025" cy="508000"/>
            <a:chOff x="915" y="710"/>
            <a:chExt cx="2686" cy="320"/>
          </a:xfrm>
        </p:grpSpPr>
        <p:cxnSp>
          <p:nvCxnSpPr>
            <p:cNvPr id="16" name="AutoShape 249"/>
            <p:cNvCxnSpPr>
              <a:cxnSpLocks noChangeShapeType="1"/>
              <a:stCxn id="18" idx="4"/>
              <a:endCxn id="18" idx="6"/>
            </p:cNvCxnSpPr>
            <p:nvPr/>
          </p:nvCxnSpPr>
          <p:spPr bwMode="gray">
            <a:xfrm>
              <a:off x="915" y="1030"/>
              <a:ext cx="2686" cy="0"/>
            </a:xfrm>
            <a:prstGeom prst="straightConnector1">
              <a:avLst/>
            </a:prstGeom>
            <a:noFill/>
            <a:ln w="9525">
              <a:solidFill>
                <a:schemeClr val="accent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8" name="AutoShape 250"/>
            <p:cNvSpPr>
              <a:spLocks noChangeArrowheads="1"/>
            </p:cNvSpPr>
            <p:nvPr/>
          </p:nvSpPr>
          <p:spPr bwMode="gray">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US" b="1" baseline="0" dirty="0">
                  <a:solidFill>
                    <a:srgbClr val="000000"/>
                  </a:solidFill>
                  <a:latin typeface="+mn-lt"/>
                  <a:ea typeface="+mn-ea"/>
                </a:rPr>
                <a:t>Title</a:t>
              </a:r>
            </a:p>
            <a:p>
              <a:r>
                <a:rPr lang="en-US" baseline="0" dirty="0">
                  <a:solidFill>
                    <a:schemeClr val="accent6"/>
                  </a:solidFill>
                  <a:latin typeface="+mn-lt"/>
                  <a:ea typeface="+mn-ea"/>
                </a:rPr>
                <a:t>Unit of measure</a:t>
              </a:r>
            </a:p>
          </p:txBody>
        </p:sp>
      </p:grpSp>
      <p:grpSp>
        <p:nvGrpSpPr>
          <p:cNvPr id="17" name="McKSticker" hidden="1"/>
          <p:cNvGrpSpPr/>
          <p:nvPr/>
        </p:nvGrpSpPr>
        <p:grpSpPr bwMode="gray">
          <a:xfrm>
            <a:off x="8264265" y="285750"/>
            <a:ext cx="473335" cy="150811"/>
            <a:chOff x="8267440" y="285750"/>
            <a:chExt cx="473335" cy="150811"/>
          </a:xfrm>
        </p:grpSpPr>
        <p:sp>
          <p:nvSpPr>
            <p:cNvPr id="20" name="StickerRectangle"/>
            <p:cNvSpPr>
              <a:spLocks noChangeArrowheads="1"/>
            </p:cNvSpPr>
            <p:nvPr/>
          </p:nvSpPr>
          <p:spPr bwMode="gray">
            <a:xfrm>
              <a:off x="8267440" y="285750"/>
              <a:ext cx="473335" cy="150811"/>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a:buClr>
                  <a:srgbClr val="002960"/>
                </a:buClr>
              </a:pPr>
              <a:r>
                <a:rPr lang="en-US" sz="800" baseline="0" dirty="0">
                  <a:solidFill>
                    <a:schemeClr val="accent6"/>
                  </a:solidFill>
                  <a:latin typeface="+mn-lt"/>
                  <a:ea typeface="+mn-ea"/>
                </a:rPr>
                <a:t>STICKER</a:t>
              </a:r>
            </a:p>
          </p:txBody>
        </p:sp>
        <p:cxnSp>
          <p:nvCxnSpPr>
            <p:cNvPr id="21" name="AutoShape 31"/>
            <p:cNvCxnSpPr>
              <a:cxnSpLocks noChangeShapeType="1"/>
              <a:stCxn id="20" idx="2"/>
              <a:endCxn id="20" idx="4"/>
            </p:cNvCxnSpPr>
            <p:nvPr/>
          </p:nvCxnSpPr>
          <p:spPr bwMode="gray">
            <a:xfrm>
              <a:off x="8267440" y="285750"/>
              <a:ext cx="0" cy="150811"/>
            </a:xfrm>
            <a:prstGeom prst="straightConnector1">
              <a:avLst/>
            </a:prstGeom>
            <a:noFill/>
            <a:ln w="9525">
              <a:solidFill>
                <a:schemeClr val="accent6"/>
              </a:solidFill>
              <a:round/>
              <a:headEnd/>
              <a:tailEnd/>
            </a:ln>
            <a:extLst>
              <a:ext uri="{909E8E84-426E-40DD-AFC4-6F175D3DCCD1}">
                <a14:hiddenFill xmlns:a14="http://schemas.microsoft.com/office/drawing/2010/main">
                  <a:noFill/>
                </a14:hiddenFill>
              </a:ext>
            </a:extLst>
          </p:spPr>
        </p:cxnSp>
        <p:cxnSp>
          <p:nvCxnSpPr>
            <p:cNvPr id="22" name="AutoShape 32"/>
            <p:cNvCxnSpPr>
              <a:cxnSpLocks noChangeShapeType="1"/>
              <a:stCxn id="20" idx="4"/>
              <a:endCxn id="20" idx="6"/>
            </p:cNvCxnSpPr>
            <p:nvPr/>
          </p:nvCxnSpPr>
          <p:spPr bwMode="gray">
            <a:xfrm>
              <a:off x="8267440" y="436561"/>
              <a:ext cx="473335" cy="0"/>
            </a:xfrm>
            <a:prstGeom prst="straightConnector1">
              <a:avLst/>
            </a:prstGeom>
            <a:noFill/>
            <a:ln w="25400">
              <a:solidFill>
                <a:schemeClr val="accent6"/>
              </a:solidFill>
              <a:round/>
              <a:headEnd/>
              <a:tailEnd/>
            </a:ln>
            <a:extLst>
              <a:ext uri="{909E8E84-426E-40DD-AFC4-6F175D3DCCD1}">
                <a14:hiddenFill xmlns:a14="http://schemas.microsoft.com/office/drawing/2010/main">
                  <a:noFill/>
                </a14:hiddenFill>
              </a:ext>
            </a:extLst>
          </p:spPr>
        </p:cxnSp>
      </p:grpSp>
      <p:sp>
        <p:nvSpPr>
          <p:cNvPr id="23" name="SlideBottomBar" hidden="1"/>
          <p:cNvSpPr/>
          <p:nvPr/>
        </p:nvSpPr>
        <p:spPr>
          <a:xfrm>
            <a:off x="8437547" y="6182120"/>
            <a:ext cx="45719" cy="123825"/>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aseline="0" dirty="0">
              <a:solidFill>
                <a:schemeClr val="tx1"/>
              </a:solidFill>
              <a:latin typeface="+mn-lt"/>
              <a:ea typeface="+mn-ea"/>
            </a:endParaRPr>
          </a:p>
        </p:txBody>
      </p:sp>
      <p:sp>
        <p:nvSpPr>
          <p:cNvPr id="24" name="doc id" hidden="1"/>
          <p:cNvSpPr txBox="1">
            <a:spLocks noChangeArrowheads="1"/>
          </p:cNvSpPr>
          <p:nvPr/>
        </p:nvSpPr>
        <p:spPr bwMode="white">
          <a:xfrm>
            <a:off x="8104473" y="36513"/>
            <a:ext cx="634716" cy="115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hangingPunct="1">
              <a:defRPr/>
            </a:pPr>
            <a:endParaRPr lang="en-US" sz="800" baseline="0" dirty="0">
              <a:solidFill>
                <a:schemeClr val="accent1"/>
              </a:solidFill>
              <a:latin typeface="+mn-lt"/>
              <a:ea typeface="+mn-ea"/>
            </a:endParaRPr>
          </a:p>
        </p:txBody>
      </p:sp>
      <p:grpSp>
        <p:nvGrpSpPr>
          <p:cNvPr id="63" name="LegendLines" hidden="1"/>
          <p:cNvGrpSpPr/>
          <p:nvPr/>
        </p:nvGrpSpPr>
        <p:grpSpPr>
          <a:xfrm>
            <a:off x="7551589" y="267815"/>
            <a:ext cx="1158292" cy="761545"/>
            <a:chOff x="7607284" y="279400"/>
            <a:chExt cx="1158292" cy="761545"/>
          </a:xfrm>
        </p:grpSpPr>
        <p:sp>
          <p:nvSpPr>
            <p:cNvPr id="64" name="LineLegend1"/>
            <p:cNvSpPr>
              <a:spLocks noChangeShapeType="1"/>
            </p:cNvSpPr>
            <p:nvPr/>
          </p:nvSpPr>
          <p:spPr bwMode="gray">
            <a:xfrm>
              <a:off x="7607284" y="387122"/>
              <a:ext cx="457200"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65" name="LineLegend2"/>
            <p:cNvSpPr>
              <a:spLocks noChangeShapeType="1"/>
            </p:cNvSpPr>
            <p:nvPr/>
          </p:nvSpPr>
          <p:spPr bwMode="gray">
            <a:xfrm>
              <a:off x="7607284" y="653822"/>
              <a:ext cx="457200"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66" name="LineLegend3"/>
            <p:cNvSpPr>
              <a:spLocks noChangeShapeType="1"/>
            </p:cNvSpPr>
            <p:nvPr/>
          </p:nvSpPr>
          <p:spPr bwMode="gray">
            <a:xfrm>
              <a:off x="7607284" y="933223"/>
              <a:ext cx="457200"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67" name="Legend1"/>
            <p:cNvSpPr>
              <a:spLocks noChangeArrowheads="1"/>
            </p:cNvSpPr>
            <p:nvPr>
              <p:custDataLst>
                <p:tags r:id="rId33"/>
              </p:custDataLst>
            </p:nvPr>
          </p:nvSpPr>
          <p:spPr bwMode="gray">
            <a:xfrm>
              <a:off x="8169259" y="279400"/>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sp>
          <p:nvSpPr>
            <p:cNvPr id="68" name="Legend2"/>
            <p:cNvSpPr>
              <a:spLocks noChangeArrowheads="1"/>
            </p:cNvSpPr>
            <p:nvPr>
              <p:custDataLst>
                <p:tags r:id="rId34"/>
              </p:custDataLst>
            </p:nvPr>
          </p:nvSpPr>
          <p:spPr bwMode="gray">
            <a:xfrm>
              <a:off x="8169259" y="546100"/>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a:latin typeface="+mn-lt"/>
                  <a:ea typeface="+mn-ea"/>
                </a:rPr>
                <a:t>Legend</a:t>
              </a:r>
              <a:endParaRPr lang="en-US" sz="1400" baseline="0" dirty="0">
                <a:latin typeface="+mn-lt"/>
                <a:ea typeface="+mn-ea"/>
              </a:endParaRPr>
            </a:p>
          </p:txBody>
        </p:sp>
        <p:sp>
          <p:nvSpPr>
            <p:cNvPr id="69" name="Legend3"/>
            <p:cNvSpPr>
              <a:spLocks noChangeArrowheads="1"/>
            </p:cNvSpPr>
            <p:nvPr>
              <p:custDataLst>
                <p:tags r:id="rId35"/>
              </p:custDataLst>
            </p:nvPr>
          </p:nvSpPr>
          <p:spPr bwMode="gray">
            <a:xfrm>
              <a:off x="8169259" y="825501"/>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grpSp>
      <p:grpSp>
        <p:nvGrpSpPr>
          <p:cNvPr id="70" name="LegendBoxes" hidden="1"/>
          <p:cNvGrpSpPr/>
          <p:nvPr/>
        </p:nvGrpSpPr>
        <p:grpSpPr>
          <a:xfrm>
            <a:off x="7859564" y="267919"/>
            <a:ext cx="850317" cy="1028245"/>
            <a:chOff x="5894005" y="919828"/>
            <a:chExt cx="850317" cy="1028245"/>
          </a:xfrm>
        </p:grpSpPr>
        <p:sp>
          <p:nvSpPr>
            <p:cNvPr id="71" name="RectangleLegend1"/>
            <p:cNvSpPr>
              <a:spLocks noChangeArrowheads="1"/>
            </p:cNvSpPr>
            <p:nvPr/>
          </p:nvSpPr>
          <p:spPr bwMode="gray">
            <a:xfrm>
              <a:off x="5894005" y="947381"/>
              <a:ext cx="165100" cy="160338"/>
            </a:xfrm>
            <a:prstGeom prst="rect">
              <a:avLst/>
            </a:prstGeom>
            <a:solidFill>
              <a:schemeClr val="accent1"/>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72" name="RectangleLegend2"/>
            <p:cNvSpPr>
              <a:spLocks noChangeArrowheads="1"/>
            </p:cNvSpPr>
            <p:nvPr/>
          </p:nvSpPr>
          <p:spPr bwMode="gray">
            <a:xfrm>
              <a:off x="5894005" y="1217256"/>
              <a:ext cx="165100" cy="160338"/>
            </a:xfrm>
            <a:prstGeom prst="rect">
              <a:avLst/>
            </a:prstGeom>
            <a:solidFill>
              <a:schemeClr val="accent2"/>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73" name="RectangleLegend3"/>
            <p:cNvSpPr>
              <a:spLocks noChangeArrowheads="1"/>
            </p:cNvSpPr>
            <p:nvPr/>
          </p:nvSpPr>
          <p:spPr bwMode="gray">
            <a:xfrm>
              <a:off x="5894005" y="1488719"/>
              <a:ext cx="165100" cy="160338"/>
            </a:xfrm>
            <a:prstGeom prst="rect">
              <a:avLst/>
            </a:prstGeom>
            <a:solidFill>
              <a:schemeClr val="accent3"/>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74" name="RectangleLegend4"/>
            <p:cNvSpPr>
              <a:spLocks noChangeArrowheads="1"/>
            </p:cNvSpPr>
            <p:nvPr/>
          </p:nvSpPr>
          <p:spPr bwMode="gray">
            <a:xfrm>
              <a:off x="5894005" y="1760182"/>
              <a:ext cx="165100" cy="160338"/>
            </a:xfrm>
            <a:prstGeom prst="rect">
              <a:avLst/>
            </a:prstGeom>
            <a:solidFill>
              <a:schemeClr val="accent4"/>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75" name="Legend1"/>
            <p:cNvSpPr>
              <a:spLocks noChangeArrowheads="1"/>
            </p:cNvSpPr>
            <p:nvPr>
              <p:custDataLst>
                <p:tags r:id="rId29"/>
              </p:custDataLst>
            </p:nvPr>
          </p:nvSpPr>
          <p:spPr bwMode="gray">
            <a:xfrm>
              <a:off x="6148005" y="919828"/>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sp>
          <p:nvSpPr>
            <p:cNvPr id="76" name="Legend2"/>
            <p:cNvSpPr>
              <a:spLocks noChangeArrowheads="1"/>
            </p:cNvSpPr>
            <p:nvPr>
              <p:custDataLst>
                <p:tags r:id="rId30"/>
              </p:custDataLst>
            </p:nvPr>
          </p:nvSpPr>
          <p:spPr bwMode="gray">
            <a:xfrm>
              <a:off x="6148005" y="1189703"/>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sp>
          <p:nvSpPr>
            <p:cNvPr id="77" name="Legend3"/>
            <p:cNvSpPr>
              <a:spLocks noChangeArrowheads="1"/>
            </p:cNvSpPr>
            <p:nvPr>
              <p:custDataLst>
                <p:tags r:id="rId31"/>
              </p:custDataLst>
            </p:nvPr>
          </p:nvSpPr>
          <p:spPr bwMode="gray">
            <a:xfrm>
              <a:off x="6148005" y="1461166"/>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sp>
          <p:nvSpPr>
            <p:cNvPr id="78" name="Legend4"/>
            <p:cNvSpPr>
              <a:spLocks noChangeArrowheads="1"/>
            </p:cNvSpPr>
            <p:nvPr>
              <p:custDataLst>
                <p:tags r:id="rId32"/>
              </p:custDataLst>
            </p:nvPr>
          </p:nvSpPr>
          <p:spPr bwMode="gray">
            <a:xfrm>
              <a:off x="6148005" y="1732629"/>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grpSp>
      <p:grpSp>
        <p:nvGrpSpPr>
          <p:cNvPr id="79" name="LegendMoons" hidden="1"/>
          <p:cNvGrpSpPr/>
          <p:nvPr/>
        </p:nvGrpSpPr>
        <p:grpSpPr>
          <a:xfrm>
            <a:off x="7792889" y="267414"/>
            <a:ext cx="916992" cy="1317003"/>
            <a:chOff x="5894005" y="2695123"/>
            <a:chExt cx="916992" cy="1317003"/>
          </a:xfrm>
        </p:grpSpPr>
        <p:grpSp>
          <p:nvGrpSpPr>
            <p:cNvPr id="80" name="MoonLegend1"/>
            <p:cNvGrpSpPr>
              <a:grpSpLocks noChangeAspect="1"/>
            </p:cNvGrpSpPr>
            <p:nvPr>
              <p:custDataLst>
                <p:tags r:id="rId9"/>
              </p:custDataLst>
            </p:nvPr>
          </p:nvGrpSpPr>
          <p:grpSpPr bwMode="gray">
            <a:xfrm>
              <a:off x="5894005" y="2695123"/>
              <a:ext cx="209550" cy="218282"/>
              <a:chOff x="4533" y="183"/>
              <a:chExt cx="144" cy="150"/>
            </a:xfrm>
          </p:grpSpPr>
          <p:sp>
            <p:nvSpPr>
              <p:cNvPr id="98" name="Oval 97"/>
              <p:cNvSpPr>
                <a:spLocks noChangeAspect="1" noChangeArrowheads="1"/>
              </p:cNvSpPr>
              <p:nvPr>
                <p:custDataLst>
                  <p:tags r:id="rId27"/>
                </p:custDataLst>
              </p:nvPr>
            </p:nvSpPr>
            <p:spPr bwMode="gray">
              <a:xfrm>
                <a:off x="4533" y="189"/>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99" name="Arc 98" hidden="1"/>
              <p:cNvSpPr>
                <a:spLocks noChangeAspect="1"/>
              </p:cNvSpPr>
              <p:nvPr>
                <p:custDataLst>
                  <p:tags r:id="rId28"/>
                </p:custDataLst>
              </p:nvPr>
            </p:nvSpPr>
            <p:spPr bwMode="gray">
              <a:xfrm>
                <a:off x="4533" y="183"/>
                <a:ext cx="144" cy="144"/>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grpSp>
        <p:grpSp>
          <p:nvGrpSpPr>
            <p:cNvPr id="81" name="MoonLegend2"/>
            <p:cNvGrpSpPr>
              <a:grpSpLocks noChangeAspect="1"/>
            </p:cNvGrpSpPr>
            <p:nvPr>
              <p:custDataLst>
                <p:tags r:id="rId10"/>
              </p:custDataLst>
            </p:nvPr>
          </p:nvGrpSpPr>
          <p:grpSpPr bwMode="gray">
            <a:xfrm>
              <a:off x="5894005" y="2977103"/>
              <a:ext cx="209550" cy="209551"/>
              <a:chOff x="1694" y="2051"/>
              <a:chExt cx="160" cy="160"/>
            </a:xfrm>
          </p:grpSpPr>
          <p:sp>
            <p:nvSpPr>
              <p:cNvPr id="96" name="Oval 41"/>
              <p:cNvSpPr>
                <a:spLocks noChangeAspect="1" noChangeArrowheads="1"/>
              </p:cNvSpPr>
              <p:nvPr>
                <p:custDataLst>
                  <p:tags r:id="rId25"/>
                </p:custDataLst>
              </p:nvPr>
            </p:nvSpPr>
            <p:spPr bwMode="gray">
              <a:xfrm>
                <a:off x="1694" y="2051"/>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97" name="Arc 42"/>
              <p:cNvSpPr>
                <a:spLocks noChangeAspect="1"/>
              </p:cNvSpPr>
              <p:nvPr>
                <p:custDataLst>
                  <p:tags r:id="rId26"/>
                </p:custDataLst>
              </p:nvPr>
            </p:nvSpPr>
            <p:spPr bwMode="gray">
              <a:xfrm>
                <a:off x="1694" y="2051"/>
                <a:ext cx="160" cy="160"/>
              </a:xfrm>
              <a:prstGeom prst="arc">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grpSp>
        <p:grpSp>
          <p:nvGrpSpPr>
            <p:cNvPr id="82" name="MoonLegend4"/>
            <p:cNvGrpSpPr>
              <a:grpSpLocks noChangeAspect="1"/>
            </p:cNvGrpSpPr>
            <p:nvPr>
              <p:custDataLst>
                <p:tags r:id="rId11"/>
              </p:custDataLst>
            </p:nvPr>
          </p:nvGrpSpPr>
          <p:grpSpPr bwMode="gray">
            <a:xfrm>
              <a:off x="5894005" y="3524395"/>
              <a:ext cx="209550" cy="209551"/>
              <a:chOff x="4495" y="1204"/>
              <a:chExt cx="160" cy="160"/>
            </a:xfrm>
          </p:grpSpPr>
          <p:sp>
            <p:nvSpPr>
              <p:cNvPr id="94" name="Oval 47"/>
              <p:cNvSpPr>
                <a:spLocks noChangeAspect="1" noChangeArrowheads="1"/>
              </p:cNvSpPr>
              <p:nvPr>
                <p:custDataLst>
                  <p:tags r:id="rId23"/>
                </p:custDataLst>
              </p:nvPr>
            </p:nvSpPr>
            <p:spPr bwMode="gray">
              <a:xfrm>
                <a:off x="4495" y="120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95" name="Arc 48"/>
              <p:cNvSpPr>
                <a:spLocks noChangeAspect="1"/>
              </p:cNvSpPr>
              <p:nvPr>
                <p:custDataLst>
                  <p:tags r:id="rId24"/>
                </p:custDataLst>
              </p:nvPr>
            </p:nvSpPr>
            <p:spPr bwMode="gray">
              <a:xfrm>
                <a:off x="4495" y="1204"/>
                <a:ext cx="160" cy="160"/>
              </a:xfrm>
              <a:prstGeom prst="arc">
                <a:avLst>
                  <a:gd name="adj1" fmla="val 16200000"/>
                  <a:gd name="adj2" fmla="val 108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grpSp>
        <p:grpSp>
          <p:nvGrpSpPr>
            <p:cNvPr id="83" name="MoonLegend5"/>
            <p:cNvGrpSpPr>
              <a:grpSpLocks noChangeAspect="1"/>
            </p:cNvGrpSpPr>
            <p:nvPr>
              <p:custDataLst>
                <p:tags r:id="rId12"/>
              </p:custDataLst>
            </p:nvPr>
          </p:nvGrpSpPr>
          <p:grpSpPr bwMode="gray">
            <a:xfrm>
              <a:off x="5894005" y="3799629"/>
              <a:ext cx="209550" cy="209551"/>
              <a:chOff x="4495" y="1447"/>
              <a:chExt cx="160" cy="160"/>
            </a:xfrm>
          </p:grpSpPr>
          <p:sp>
            <p:nvSpPr>
              <p:cNvPr id="92" name="Oval 50"/>
              <p:cNvSpPr>
                <a:spLocks noChangeAspect="1" noChangeArrowheads="1"/>
              </p:cNvSpPr>
              <p:nvPr>
                <p:custDataLst>
                  <p:tags r:id="rId21"/>
                </p:custDataLst>
              </p:nvPr>
            </p:nvSpPr>
            <p:spPr bwMode="gray">
              <a:xfrm>
                <a:off x="4495" y="1447"/>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93" name="Oval 51"/>
              <p:cNvSpPr>
                <a:spLocks noChangeAspect="1" noChangeArrowheads="1"/>
              </p:cNvSpPr>
              <p:nvPr>
                <p:custDataLst>
                  <p:tags r:id="rId22"/>
                </p:custDataLst>
              </p:nvPr>
            </p:nvSpPr>
            <p:spPr bwMode="gray">
              <a:xfrm>
                <a:off x="4495" y="1447"/>
                <a:ext cx="160" cy="160"/>
              </a:xfrm>
              <a:prstGeom prst="arc">
                <a:avLst>
                  <a:gd name="adj1" fmla="val 16200000"/>
                  <a:gd name="adj2" fmla="val 162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grpSp>
        <p:grpSp>
          <p:nvGrpSpPr>
            <p:cNvPr id="84" name="MoonLegend3"/>
            <p:cNvGrpSpPr>
              <a:grpSpLocks noChangeAspect="1"/>
            </p:cNvGrpSpPr>
            <p:nvPr>
              <p:custDataLst>
                <p:tags r:id="rId13"/>
              </p:custDataLst>
            </p:nvPr>
          </p:nvGrpSpPr>
          <p:grpSpPr bwMode="gray">
            <a:xfrm>
              <a:off x="5894005" y="3251543"/>
              <a:ext cx="209550" cy="209551"/>
              <a:chOff x="4495" y="1205"/>
              <a:chExt cx="160" cy="160"/>
            </a:xfrm>
          </p:grpSpPr>
          <p:sp>
            <p:nvSpPr>
              <p:cNvPr id="90" name="Oval 47"/>
              <p:cNvSpPr>
                <a:spLocks noChangeAspect="1" noChangeArrowheads="1"/>
              </p:cNvSpPr>
              <p:nvPr>
                <p:custDataLst>
                  <p:tags r:id="rId19"/>
                </p:custDataLst>
              </p:nvPr>
            </p:nvSpPr>
            <p:spPr bwMode="gray">
              <a:xfrm>
                <a:off x="4495" y="1205"/>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91" name="Arc 48"/>
              <p:cNvSpPr>
                <a:spLocks noChangeAspect="1"/>
              </p:cNvSpPr>
              <p:nvPr>
                <p:custDataLst>
                  <p:tags r:id="rId20"/>
                </p:custDataLst>
              </p:nvPr>
            </p:nvSpPr>
            <p:spPr bwMode="gray">
              <a:xfrm>
                <a:off x="4495" y="1205"/>
                <a:ext cx="160" cy="160"/>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grpSp>
        <p:sp>
          <p:nvSpPr>
            <p:cNvPr id="85" name="Legend1"/>
            <p:cNvSpPr>
              <a:spLocks noChangeArrowheads="1"/>
            </p:cNvSpPr>
            <p:nvPr>
              <p:custDataLst>
                <p:tags r:id="rId14"/>
              </p:custDataLst>
            </p:nvPr>
          </p:nvSpPr>
          <p:spPr bwMode="gray">
            <a:xfrm>
              <a:off x="6214680" y="2696542"/>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sp>
          <p:nvSpPr>
            <p:cNvPr id="86" name="Legend2"/>
            <p:cNvSpPr>
              <a:spLocks noChangeArrowheads="1"/>
            </p:cNvSpPr>
            <p:nvPr>
              <p:custDataLst>
                <p:tags r:id="rId15"/>
              </p:custDataLst>
            </p:nvPr>
          </p:nvSpPr>
          <p:spPr bwMode="gray">
            <a:xfrm>
              <a:off x="6214680" y="2974156"/>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a:latin typeface="+mn-lt"/>
                  <a:ea typeface="+mn-ea"/>
                </a:rPr>
                <a:t>Legend</a:t>
              </a:r>
              <a:endParaRPr lang="en-US" sz="1400" baseline="0" dirty="0">
                <a:latin typeface="+mn-lt"/>
                <a:ea typeface="+mn-ea"/>
              </a:endParaRPr>
            </a:p>
          </p:txBody>
        </p:sp>
        <p:sp>
          <p:nvSpPr>
            <p:cNvPr id="87" name="Legend3"/>
            <p:cNvSpPr>
              <a:spLocks noChangeArrowheads="1"/>
            </p:cNvSpPr>
            <p:nvPr>
              <p:custDataLst>
                <p:tags r:id="rId16"/>
              </p:custDataLst>
            </p:nvPr>
          </p:nvSpPr>
          <p:spPr bwMode="gray">
            <a:xfrm>
              <a:off x="6214680" y="3248596"/>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sp>
          <p:nvSpPr>
            <p:cNvPr id="88" name="Legend4"/>
            <p:cNvSpPr>
              <a:spLocks noChangeArrowheads="1"/>
            </p:cNvSpPr>
            <p:nvPr>
              <p:custDataLst>
                <p:tags r:id="rId17"/>
              </p:custDataLst>
            </p:nvPr>
          </p:nvSpPr>
          <p:spPr bwMode="gray">
            <a:xfrm>
              <a:off x="6214680" y="3521448"/>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sp>
          <p:nvSpPr>
            <p:cNvPr id="89" name="Legend5"/>
            <p:cNvSpPr>
              <a:spLocks noChangeArrowheads="1"/>
            </p:cNvSpPr>
            <p:nvPr>
              <p:custDataLst>
                <p:tags r:id="rId18"/>
              </p:custDataLst>
            </p:nvPr>
          </p:nvSpPr>
          <p:spPr bwMode="gray">
            <a:xfrm>
              <a:off x="6214680" y="3796682"/>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a:latin typeface="+mn-lt"/>
                  <a:ea typeface="+mn-ea"/>
                </a:rPr>
                <a:t>Legend</a:t>
              </a:r>
              <a:endParaRPr lang="en-US" sz="1400" baseline="0" dirty="0">
                <a:latin typeface="+mn-lt"/>
                <a:ea typeface="+mn-ea"/>
              </a:endParaRPr>
            </a:p>
          </p:txBody>
        </p:sp>
      </p:grpSp>
    </p:spTree>
    <p:extLst>
      <p:ext uri="{BB962C8B-B14F-4D97-AF65-F5344CB8AC3E}">
        <p14:creationId xmlns:p14="http://schemas.microsoft.com/office/powerpoint/2010/main" val="3649412824"/>
      </p:ext>
    </p:extLst>
  </p:cSld>
  <p:clrMap bg1="lt1" tx1="dk1" bg2="lt2" tx2="dk2" accent1="accent1" accent2="accent2" accent3="accent3" accent4="accent4" accent5="accent5" accent6="accent6" hlink="hlink" folHlink="folHlink"/>
  <p:sldLayoutIdLst>
    <p:sldLayoutId id="2147483766" r:id="rId1"/>
    <p:sldLayoutId id="2147483767" r:id="rId2"/>
    <p:sldLayoutId id="2147483768" r:id="rId3"/>
    <p:sldLayoutId id="2147483769" r:id="rId4"/>
  </p:sldLayoutIdLst>
  <p:txStyles>
    <p:titleStyle>
      <a:lvl1pPr algn="l" defTabSz="895350" rtl="0" eaLnBrk="1" fontAlgn="base" hangingPunct="1">
        <a:spcBef>
          <a:spcPct val="0"/>
        </a:spcBef>
        <a:spcAft>
          <a:spcPct val="0"/>
        </a:spcAft>
        <a:tabLst>
          <a:tab pos="269875" algn="l"/>
        </a:tabLst>
        <a:defRPr sz="2000" b="0" baseline="0">
          <a:solidFill>
            <a:schemeClr val="tx2"/>
          </a:solidFill>
          <a:latin typeface="+mj-lt"/>
          <a:ea typeface="+mj-ea"/>
          <a:cs typeface="+mj-cs"/>
        </a:defRPr>
      </a:lvl1pPr>
      <a:lvl2pPr algn="l" defTabSz="895350" rtl="0" eaLnBrk="1" fontAlgn="base" hangingPunct="1">
        <a:spcBef>
          <a:spcPct val="0"/>
        </a:spcBef>
        <a:spcAft>
          <a:spcPct val="0"/>
        </a:spcAft>
        <a:defRPr sz="1900" b="1">
          <a:solidFill>
            <a:schemeClr val="tx2"/>
          </a:solidFill>
          <a:latin typeface="Arial" charset="0"/>
        </a:defRPr>
      </a:lvl2pPr>
      <a:lvl3pPr algn="l" defTabSz="895350" rtl="0" eaLnBrk="1" fontAlgn="base" hangingPunct="1">
        <a:spcBef>
          <a:spcPct val="0"/>
        </a:spcBef>
        <a:spcAft>
          <a:spcPct val="0"/>
        </a:spcAft>
        <a:defRPr sz="1900" b="1">
          <a:solidFill>
            <a:schemeClr val="tx2"/>
          </a:solidFill>
          <a:latin typeface="Arial" charset="0"/>
        </a:defRPr>
      </a:lvl3pPr>
      <a:lvl4pPr algn="l" defTabSz="895350" rtl="0" eaLnBrk="1" fontAlgn="base" hangingPunct="1">
        <a:spcBef>
          <a:spcPct val="0"/>
        </a:spcBef>
        <a:spcAft>
          <a:spcPct val="0"/>
        </a:spcAft>
        <a:defRPr sz="1900" b="1">
          <a:solidFill>
            <a:schemeClr val="tx2"/>
          </a:solidFill>
          <a:latin typeface="Arial" charset="0"/>
        </a:defRPr>
      </a:lvl4pPr>
      <a:lvl5pPr algn="l" defTabSz="895350" rtl="0" eaLnBrk="1" fontAlgn="base" hangingPunct="1">
        <a:spcBef>
          <a:spcPct val="0"/>
        </a:spcBef>
        <a:spcAft>
          <a:spcPct val="0"/>
        </a:spcAft>
        <a:defRPr sz="1900" b="1">
          <a:solidFill>
            <a:schemeClr val="tx2"/>
          </a:solidFill>
          <a:latin typeface="Arial" charset="0"/>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p:titleStyle>
    <p:bodyStyle>
      <a:lvl1pPr marL="0" indent="0" algn="l" defTabSz="895350" rtl="0" eaLnBrk="1" fontAlgn="base" hangingPunct="1">
        <a:spcBef>
          <a:spcPct val="0"/>
        </a:spcBef>
        <a:spcAft>
          <a:spcPct val="0"/>
        </a:spcAft>
        <a:buClr>
          <a:schemeClr val="tx2"/>
        </a:buClr>
        <a:buSzPct val="100000"/>
        <a:defRPr sz="14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4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4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4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4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ext>
  </p:extLst>
</p:sldMaster>
</file>

<file path=ppt/slideMasters/slideMaster2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7"/>
            </p:custDataLst>
            <p:extLst>
              <p:ext uri="{D42A27DB-BD31-4B8C-83A1-F6EECF244321}">
                <p14:modId xmlns:p14="http://schemas.microsoft.com/office/powerpoint/2010/main" val="642417243"/>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3444" name="think-cell Slide" r:id="rId36" imgW="270" imgH="270" progId="TCLayout.ActiveDocument.1">
                  <p:embed/>
                </p:oleObj>
              </mc:Choice>
              <mc:Fallback>
                <p:oleObj name="think-cell Slide" r:id="rId36" imgW="270" imgH="270" progId="TCLayout.ActiveDocument.1">
                  <p:embed/>
                  <p:pic>
                    <p:nvPicPr>
                      <p:cNvPr id="2" name="Object 1" hidden="1"/>
                      <p:cNvPicPr/>
                      <p:nvPr/>
                    </p:nvPicPr>
                    <p:blipFill>
                      <a:blip r:embed="rId37"/>
                      <a:stretch>
                        <a:fillRect/>
                      </a:stretch>
                    </p:blipFill>
                    <p:spPr>
                      <a:xfrm>
                        <a:off x="0" y="0"/>
                        <a:ext cx="158750" cy="158750"/>
                      </a:xfrm>
                      <a:prstGeom prst="rect">
                        <a:avLst/>
                      </a:prstGeom>
                    </p:spPr>
                  </p:pic>
                </p:oleObj>
              </mc:Fallback>
            </mc:AlternateContent>
          </a:graphicData>
        </a:graphic>
      </p:graphicFrame>
      <p:sp>
        <p:nvSpPr>
          <p:cNvPr id="6" name="Rectangle 5" hidden="1"/>
          <p:cNvSpPr/>
          <p:nvPr>
            <p:custDataLst>
              <p:tags r:id="rId8"/>
            </p:custDataLst>
          </p:nvPr>
        </p:nvSpPr>
        <p:spPr bwMode="auto">
          <a:xfrm>
            <a:off x="0" y="0"/>
            <a:ext cx="158750" cy="158750"/>
          </a:xfrm>
          <a:prstGeom prst="rect">
            <a:avLst/>
          </a:prstGeom>
          <a:solidFill>
            <a:schemeClr val="bg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dirty="0">
              <a:solidFill>
                <a:srgbClr val="000000"/>
              </a:solidFill>
              <a:sym typeface="Arial" panose="020B0604020202020204" pitchFamily="34" charset="0"/>
            </a:endParaRPr>
          </a:p>
        </p:txBody>
      </p:sp>
      <p:sp>
        <p:nvSpPr>
          <p:cNvPr id="1034" name="Working Draft" hidden="1"/>
          <p:cNvSpPr txBox="1">
            <a:spLocks noChangeArrowheads="1"/>
          </p:cNvSpPr>
          <p:nvPr/>
        </p:nvSpPr>
        <p:spPr bwMode="gray">
          <a:xfrm rot="5400000">
            <a:off x="7966656" y="1940591"/>
            <a:ext cx="1849865"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600" baseline="0">
                <a:solidFill>
                  <a:srgbClr val="808080"/>
                </a:solidFill>
                <a:latin typeface="+mn-lt"/>
                <a:ea typeface="+mn-ea"/>
              </a:rPr>
              <a:t>Last Modified 21/05/2018 17:44 India Standard Time</a:t>
            </a:r>
            <a:endParaRPr lang="en-US" baseline="0" dirty="0">
              <a:solidFill>
                <a:srgbClr val="808080"/>
              </a:solidFill>
              <a:latin typeface="+mn-lt"/>
              <a:ea typeface="+mn-ea"/>
            </a:endParaRPr>
          </a:p>
        </p:txBody>
      </p:sp>
      <p:sp>
        <p:nvSpPr>
          <p:cNvPr id="1035" name="Printed" hidden="1"/>
          <p:cNvSpPr txBox="1">
            <a:spLocks noChangeArrowheads="1"/>
          </p:cNvSpPr>
          <p:nvPr/>
        </p:nvSpPr>
        <p:spPr bwMode="gray">
          <a:xfrm rot="5400000">
            <a:off x="8768958" y="4114417"/>
            <a:ext cx="245260"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600" baseline="0" dirty="0">
                <a:solidFill>
                  <a:srgbClr val="808080"/>
                </a:solidFill>
                <a:latin typeface="+mn-lt"/>
                <a:ea typeface="+mn-ea"/>
              </a:rPr>
              <a:t>Printed</a:t>
            </a:r>
            <a:endParaRPr lang="en-US" baseline="0" dirty="0">
              <a:solidFill>
                <a:srgbClr val="808080"/>
              </a:solidFill>
              <a:latin typeface="+mn-lt"/>
              <a:ea typeface="+mn-ea"/>
            </a:endParaRPr>
          </a:p>
        </p:txBody>
      </p:sp>
      <p:sp>
        <p:nvSpPr>
          <p:cNvPr id="19" name="Title Placeholder 2"/>
          <p:cNvSpPr>
            <a:spLocks noGrp="1" noChangeArrowheads="1"/>
          </p:cNvSpPr>
          <p:nvPr>
            <p:ph type="title"/>
          </p:nvPr>
        </p:nvSpPr>
        <p:spPr bwMode="gray">
          <a:xfrm>
            <a:off x="119063" y="230188"/>
            <a:ext cx="8618537"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latinLnBrk="0"/>
            <a:r>
              <a:rPr lang="en-US"/>
              <a:t>Click to edit Master title style</a:t>
            </a:r>
            <a:endParaRPr lang="en-US" noProof="0" dirty="0"/>
          </a:p>
        </p:txBody>
      </p:sp>
      <p:sp>
        <p:nvSpPr>
          <p:cNvPr id="10" name="1. On-page tracker" hidden="1"/>
          <p:cNvSpPr>
            <a:spLocks noChangeArrowheads="1"/>
          </p:cNvSpPr>
          <p:nvPr/>
        </p:nvSpPr>
        <p:spPr bwMode="gray">
          <a:xfrm>
            <a:off x="119063" y="75764"/>
            <a:ext cx="490519"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800" cap="all" baseline="0" dirty="0">
                <a:solidFill>
                  <a:schemeClr val="accent6"/>
                </a:solidFill>
                <a:latin typeface="+mn-lt"/>
                <a:ea typeface="+mn-ea"/>
              </a:rPr>
              <a:t>Tracker</a:t>
            </a:r>
          </a:p>
        </p:txBody>
      </p:sp>
      <p:sp>
        <p:nvSpPr>
          <p:cNvPr id="11" name="3. Unit of measure" hidden="1"/>
          <p:cNvSpPr txBox="1">
            <a:spLocks noChangeArrowheads="1"/>
          </p:cNvSpPr>
          <p:nvPr/>
        </p:nvSpPr>
        <p:spPr bwMode="gray">
          <a:xfrm>
            <a:off x="119063" y="554865"/>
            <a:ext cx="8618537"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600" baseline="0" dirty="0">
                <a:solidFill>
                  <a:schemeClr val="accent6"/>
                </a:solidFill>
                <a:latin typeface="+mn-lt"/>
                <a:ea typeface="+mn-ea"/>
              </a:rPr>
              <a:t>Unit of measure</a:t>
            </a:r>
          </a:p>
        </p:txBody>
      </p:sp>
      <p:grpSp>
        <p:nvGrpSpPr>
          <p:cNvPr id="4" name="Slide Elements" hidden="1"/>
          <p:cNvGrpSpPr/>
          <p:nvPr/>
        </p:nvGrpSpPr>
        <p:grpSpPr bwMode="gray">
          <a:xfrm>
            <a:off x="119063" y="6305945"/>
            <a:ext cx="8618537" cy="325438"/>
            <a:chOff x="119063" y="6305945"/>
            <a:chExt cx="8618537" cy="325438"/>
          </a:xfrm>
        </p:grpSpPr>
        <p:sp>
          <p:nvSpPr>
            <p:cNvPr id="13" name="4. Footnote"/>
            <p:cNvSpPr txBox="1">
              <a:spLocks noChangeArrowheads="1"/>
            </p:cNvSpPr>
            <p:nvPr/>
          </p:nvSpPr>
          <p:spPr bwMode="gray">
            <a:xfrm>
              <a:off x="119063" y="6305945"/>
              <a:ext cx="8618537" cy="123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800" baseline="0" dirty="0">
                  <a:solidFill>
                    <a:schemeClr val="accent6"/>
                  </a:solidFill>
                  <a:latin typeface="+mn-lt"/>
                  <a:ea typeface="+mn-ea"/>
                </a:rPr>
                <a:t>1 Footnote</a:t>
              </a:r>
            </a:p>
          </p:txBody>
        </p:sp>
        <p:sp>
          <p:nvSpPr>
            <p:cNvPr id="14" name="5. Source"/>
            <p:cNvSpPr>
              <a:spLocks noChangeArrowheads="1"/>
            </p:cNvSpPr>
            <p:nvPr/>
          </p:nvSpPr>
          <p:spPr bwMode="gray">
            <a:xfrm>
              <a:off x="119063" y="6507558"/>
              <a:ext cx="7200000" cy="123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marL="609600" indent="-609600" defTabSz="895350">
                <a:tabLst>
                  <a:tab pos="612775" algn="l"/>
                </a:tabLst>
              </a:pPr>
              <a:r>
                <a:rPr lang="en-US" sz="800" baseline="0" dirty="0">
                  <a:solidFill>
                    <a:schemeClr val="accent6"/>
                  </a:solidFill>
                  <a:latin typeface="+mn-lt"/>
                  <a:ea typeface="+mn-ea"/>
                </a:rPr>
                <a:t>SOURCE: Source</a:t>
              </a:r>
            </a:p>
          </p:txBody>
        </p:sp>
      </p:grpSp>
      <p:sp>
        <p:nvSpPr>
          <p:cNvPr id="3" name="Text Placeholder 2"/>
          <p:cNvSpPr>
            <a:spLocks noGrp="1"/>
          </p:cNvSpPr>
          <p:nvPr>
            <p:ph type="body" idx="1"/>
          </p:nvPr>
        </p:nvSpPr>
        <p:spPr bwMode="gray">
          <a:xfrm>
            <a:off x="1452564" y="1951380"/>
            <a:ext cx="4302125" cy="1077218"/>
          </a:xfrm>
          <a:prstGeom prst="rect">
            <a:avLst/>
          </a:prstGeom>
        </p:spPr>
        <p:txBody>
          <a:bodyPr vert="horz" lIns="0" tIns="0" rIns="0" bIns="0" rtlCol="0">
            <a:spAutoFit/>
          </a:bodyPr>
          <a:lstStyle/>
          <a:p>
            <a:pPr lvl="0" latinLnBrk="0"/>
            <a:r>
              <a:rPr lang="en-US"/>
              <a:t>Edit Master text styles</a:t>
            </a:r>
          </a:p>
          <a:p>
            <a:pPr lvl="1" latinLnBrk="0"/>
            <a:r>
              <a:rPr lang="en-US"/>
              <a:t>Second level</a:t>
            </a:r>
          </a:p>
          <a:p>
            <a:pPr lvl="2" latinLnBrk="0"/>
            <a:r>
              <a:rPr lang="en-US"/>
              <a:t>Third level</a:t>
            </a:r>
          </a:p>
          <a:p>
            <a:pPr lvl="3" latinLnBrk="0"/>
            <a:r>
              <a:rPr lang="en-US"/>
              <a:t>Fourth level</a:t>
            </a:r>
          </a:p>
          <a:p>
            <a:pPr lvl="4" latinLnBrk="0"/>
            <a:r>
              <a:rPr lang="en-US"/>
              <a:t>Fifth level</a:t>
            </a:r>
            <a:endParaRPr lang="en-US" dirty="0"/>
          </a:p>
        </p:txBody>
      </p:sp>
      <p:grpSp>
        <p:nvGrpSpPr>
          <p:cNvPr id="15" name="ACET" hidden="1"/>
          <p:cNvGrpSpPr>
            <a:grpSpLocks/>
          </p:cNvGrpSpPr>
          <p:nvPr/>
        </p:nvGrpSpPr>
        <p:grpSpPr bwMode="gray">
          <a:xfrm>
            <a:off x="1452563" y="1257754"/>
            <a:ext cx="4264025" cy="508000"/>
            <a:chOff x="915" y="710"/>
            <a:chExt cx="2686" cy="320"/>
          </a:xfrm>
        </p:grpSpPr>
        <p:cxnSp>
          <p:nvCxnSpPr>
            <p:cNvPr id="16" name="AutoShape 249"/>
            <p:cNvCxnSpPr>
              <a:cxnSpLocks noChangeShapeType="1"/>
              <a:stCxn id="18" idx="4"/>
              <a:endCxn id="18" idx="6"/>
            </p:cNvCxnSpPr>
            <p:nvPr/>
          </p:nvCxnSpPr>
          <p:spPr bwMode="gray">
            <a:xfrm>
              <a:off x="915" y="1030"/>
              <a:ext cx="2686" cy="0"/>
            </a:xfrm>
            <a:prstGeom prst="straightConnector1">
              <a:avLst/>
            </a:prstGeom>
            <a:noFill/>
            <a:ln w="9525">
              <a:solidFill>
                <a:schemeClr val="accent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8" name="AutoShape 250"/>
            <p:cNvSpPr>
              <a:spLocks noChangeArrowheads="1"/>
            </p:cNvSpPr>
            <p:nvPr/>
          </p:nvSpPr>
          <p:spPr bwMode="gray">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US" b="1" baseline="0" dirty="0">
                  <a:solidFill>
                    <a:srgbClr val="000000"/>
                  </a:solidFill>
                  <a:latin typeface="+mn-lt"/>
                  <a:ea typeface="+mn-ea"/>
                </a:rPr>
                <a:t>Title</a:t>
              </a:r>
            </a:p>
            <a:p>
              <a:r>
                <a:rPr lang="en-US" baseline="0" dirty="0">
                  <a:solidFill>
                    <a:schemeClr val="accent6"/>
                  </a:solidFill>
                  <a:latin typeface="+mn-lt"/>
                  <a:ea typeface="+mn-ea"/>
                </a:rPr>
                <a:t>Unit of measure</a:t>
              </a:r>
            </a:p>
          </p:txBody>
        </p:sp>
      </p:grpSp>
      <p:grpSp>
        <p:nvGrpSpPr>
          <p:cNvPr id="17" name="McKSticker" hidden="1"/>
          <p:cNvGrpSpPr/>
          <p:nvPr/>
        </p:nvGrpSpPr>
        <p:grpSpPr bwMode="gray">
          <a:xfrm>
            <a:off x="8264265" y="285750"/>
            <a:ext cx="473335" cy="150811"/>
            <a:chOff x="8267440" y="285750"/>
            <a:chExt cx="473335" cy="150811"/>
          </a:xfrm>
        </p:grpSpPr>
        <p:sp>
          <p:nvSpPr>
            <p:cNvPr id="20" name="StickerRectangle"/>
            <p:cNvSpPr>
              <a:spLocks noChangeArrowheads="1"/>
            </p:cNvSpPr>
            <p:nvPr/>
          </p:nvSpPr>
          <p:spPr bwMode="gray">
            <a:xfrm>
              <a:off x="8267440" y="285750"/>
              <a:ext cx="473335" cy="150811"/>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a:buClr>
                  <a:srgbClr val="002960"/>
                </a:buClr>
              </a:pPr>
              <a:r>
                <a:rPr lang="en-US" sz="800" baseline="0" dirty="0">
                  <a:solidFill>
                    <a:schemeClr val="accent6"/>
                  </a:solidFill>
                  <a:latin typeface="+mn-lt"/>
                  <a:ea typeface="+mn-ea"/>
                </a:rPr>
                <a:t>STICKER</a:t>
              </a:r>
            </a:p>
          </p:txBody>
        </p:sp>
        <p:cxnSp>
          <p:nvCxnSpPr>
            <p:cNvPr id="21" name="AutoShape 31"/>
            <p:cNvCxnSpPr>
              <a:cxnSpLocks noChangeShapeType="1"/>
              <a:stCxn id="20" idx="2"/>
              <a:endCxn id="20" idx="4"/>
            </p:cNvCxnSpPr>
            <p:nvPr/>
          </p:nvCxnSpPr>
          <p:spPr bwMode="gray">
            <a:xfrm>
              <a:off x="8267440" y="285750"/>
              <a:ext cx="0" cy="150811"/>
            </a:xfrm>
            <a:prstGeom prst="straightConnector1">
              <a:avLst/>
            </a:prstGeom>
            <a:noFill/>
            <a:ln w="9525">
              <a:solidFill>
                <a:schemeClr val="accent6"/>
              </a:solidFill>
              <a:round/>
              <a:headEnd/>
              <a:tailEnd/>
            </a:ln>
            <a:extLst>
              <a:ext uri="{909E8E84-426E-40DD-AFC4-6F175D3DCCD1}">
                <a14:hiddenFill xmlns:a14="http://schemas.microsoft.com/office/drawing/2010/main">
                  <a:noFill/>
                </a14:hiddenFill>
              </a:ext>
            </a:extLst>
          </p:spPr>
        </p:cxnSp>
        <p:cxnSp>
          <p:nvCxnSpPr>
            <p:cNvPr id="22" name="AutoShape 32"/>
            <p:cNvCxnSpPr>
              <a:cxnSpLocks noChangeShapeType="1"/>
              <a:stCxn id="20" idx="4"/>
              <a:endCxn id="20" idx="6"/>
            </p:cNvCxnSpPr>
            <p:nvPr/>
          </p:nvCxnSpPr>
          <p:spPr bwMode="gray">
            <a:xfrm>
              <a:off x="8267440" y="436561"/>
              <a:ext cx="473335" cy="0"/>
            </a:xfrm>
            <a:prstGeom prst="straightConnector1">
              <a:avLst/>
            </a:prstGeom>
            <a:noFill/>
            <a:ln w="25400">
              <a:solidFill>
                <a:schemeClr val="accent6"/>
              </a:solidFill>
              <a:round/>
              <a:headEnd/>
              <a:tailEnd/>
            </a:ln>
            <a:extLst>
              <a:ext uri="{909E8E84-426E-40DD-AFC4-6F175D3DCCD1}">
                <a14:hiddenFill xmlns:a14="http://schemas.microsoft.com/office/drawing/2010/main">
                  <a:noFill/>
                </a14:hiddenFill>
              </a:ext>
            </a:extLst>
          </p:spPr>
        </p:cxnSp>
      </p:grpSp>
      <p:sp>
        <p:nvSpPr>
          <p:cNvPr id="23" name="SlideBottomBar" hidden="1"/>
          <p:cNvSpPr/>
          <p:nvPr/>
        </p:nvSpPr>
        <p:spPr>
          <a:xfrm>
            <a:off x="8437547" y="6182120"/>
            <a:ext cx="45719" cy="123825"/>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aseline="0" dirty="0">
              <a:solidFill>
                <a:schemeClr val="tx1"/>
              </a:solidFill>
              <a:latin typeface="+mn-lt"/>
              <a:ea typeface="+mn-ea"/>
            </a:endParaRPr>
          </a:p>
        </p:txBody>
      </p:sp>
      <p:sp>
        <p:nvSpPr>
          <p:cNvPr id="24" name="doc id" hidden="1"/>
          <p:cNvSpPr txBox="1">
            <a:spLocks noChangeArrowheads="1"/>
          </p:cNvSpPr>
          <p:nvPr/>
        </p:nvSpPr>
        <p:spPr bwMode="white">
          <a:xfrm>
            <a:off x="8104473" y="36513"/>
            <a:ext cx="634716" cy="115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hangingPunct="1">
              <a:defRPr/>
            </a:pPr>
            <a:endParaRPr lang="en-US" sz="800" baseline="0" dirty="0">
              <a:solidFill>
                <a:schemeClr val="accent1"/>
              </a:solidFill>
              <a:latin typeface="+mn-lt"/>
              <a:ea typeface="+mn-ea"/>
            </a:endParaRPr>
          </a:p>
        </p:txBody>
      </p:sp>
      <p:grpSp>
        <p:nvGrpSpPr>
          <p:cNvPr id="63" name="LegendLines" hidden="1"/>
          <p:cNvGrpSpPr/>
          <p:nvPr/>
        </p:nvGrpSpPr>
        <p:grpSpPr>
          <a:xfrm>
            <a:off x="7551589" y="267815"/>
            <a:ext cx="1158292" cy="761545"/>
            <a:chOff x="7607284" y="279400"/>
            <a:chExt cx="1158292" cy="761545"/>
          </a:xfrm>
        </p:grpSpPr>
        <p:sp>
          <p:nvSpPr>
            <p:cNvPr id="64" name="LineLegend1"/>
            <p:cNvSpPr>
              <a:spLocks noChangeShapeType="1"/>
            </p:cNvSpPr>
            <p:nvPr/>
          </p:nvSpPr>
          <p:spPr bwMode="gray">
            <a:xfrm>
              <a:off x="7607284" y="387122"/>
              <a:ext cx="457200"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65" name="LineLegend2"/>
            <p:cNvSpPr>
              <a:spLocks noChangeShapeType="1"/>
            </p:cNvSpPr>
            <p:nvPr/>
          </p:nvSpPr>
          <p:spPr bwMode="gray">
            <a:xfrm>
              <a:off x="7607284" y="653822"/>
              <a:ext cx="457200"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66" name="LineLegend3"/>
            <p:cNvSpPr>
              <a:spLocks noChangeShapeType="1"/>
            </p:cNvSpPr>
            <p:nvPr/>
          </p:nvSpPr>
          <p:spPr bwMode="gray">
            <a:xfrm>
              <a:off x="7607284" y="933223"/>
              <a:ext cx="457200"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67" name="Legend1"/>
            <p:cNvSpPr>
              <a:spLocks noChangeArrowheads="1"/>
            </p:cNvSpPr>
            <p:nvPr>
              <p:custDataLst>
                <p:tags r:id="rId33"/>
              </p:custDataLst>
            </p:nvPr>
          </p:nvSpPr>
          <p:spPr bwMode="gray">
            <a:xfrm>
              <a:off x="8169259" y="279400"/>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sp>
          <p:nvSpPr>
            <p:cNvPr id="68" name="Legend2"/>
            <p:cNvSpPr>
              <a:spLocks noChangeArrowheads="1"/>
            </p:cNvSpPr>
            <p:nvPr>
              <p:custDataLst>
                <p:tags r:id="rId34"/>
              </p:custDataLst>
            </p:nvPr>
          </p:nvSpPr>
          <p:spPr bwMode="gray">
            <a:xfrm>
              <a:off x="8169259" y="546100"/>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a:latin typeface="+mn-lt"/>
                  <a:ea typeface="+mn-ea"/>
                </a:rPr>
                <a:t>Legend</a:t>
              </a:r>
              <a:endParaRPr lang="en-US" sz="1400" baseline="0" dirty="0">
                <a:latin typeface="+mn-lt"/>
                <a:ea typeface="+mn-ea"/>
              </a:endParaRPr>
            </a:p>
          </p:txBody>
        </p:sp>
        <p:sp>
          <p:nvSpPr>
            <p:cNvPr id="69" name="Legend3"/>
            <p:cNvSpPr>
              <a:spLocks noChangeArrowheads="1"/>
            </p:cNvSpPr>
            <p:nvPr>
              <p:custDataLst>
                <p:tags r:id="rId35"/>
              </p:custDataLst>
            </p:nvPr>
          </p:nvSpPr>
          <p:spPr bwMode="gray">
            <a:xfrm>
              <a:off x="8169259" y="825501"/>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grpSp>
      <p:grpSp>
        <p:nvGrpSpPr>
          <p:cNvPr id="70" name="LegendBoxes" hidden="1"/>
          <p:cNvGrpSpPr/>
          <p:nvPr/>
        </p:nvGrpSpPr>
        <p:grpSpPr>
          <a:xfrm>
            <a:off x="7859564" y="267919"/>
            <a:ext cx="850317" cy="1028245"/>
            <a:chOff x="5894005" y="919828"/>
            <a:chExt cx="850317" cy="1028245"/>
          </a:xfrm>
        </p:grpSpPr>
        <p:sp>
          <p:nvSpPr>
            <p:cNvPr id="71" name="RectangleLegend1"/>
            <p:cNvSpPr>
              <a:spLocks noChangeArrowheads="1"/>
            </p:cNvSpPr>
            <p:nvPr/>
          </p:nvSpPr>
          <p:spPr bwMode="gray">
            <a:xfrm>
              <a:off x="5894005" y="947381"/>
              <a:ext cx="165100" cy="160338"/>
            </a:xfrm>
            <a:prstGeom prst="rect">
              <a:avLst/>
            </a:prstGeom>
            <a:solidFill>
              <a:schemeClr val="accent1"/>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72" name="RectangleLegend2"/>
            <p:cNvSpPr>
              <a:spLocks noChangeArrowheads="1"/>
            </p:cNvSpPr>
            <p:nvPr/>
          </p:nvSpPr>
          <p:spPr bwMode="gray">
            <a:xfrm>
              <a:off x="5894005" y="1217256"/>
              <a:ext cx="165100" cy="160338"/>
            </a:xfrm>
            <a:prstGeom prst="rect">
              <a:avLst/>
            </a:prstGeom>
            <a:solidFill>
              <a:schemeClr val="accent2"/>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73" name="RectangleLegend3"/>
            <p:cNvSpPr>
              <a:spLocks noChangeArrowheads="1"/>
            </p:cNvSpPr>
            <p:nvPr/>
          </p:nvSpPr>
          <p:spPr bwMode="gray">
            <a:xfrm>
              <a:off x="5894005" y="1488719"/>
              <a:ext cx="165100" cy="160338"/>
            </a:xfrm>
            <a:prstGeom prst="rect">
              <a:avLst/>
            </a:prstGeom>
            <a:solidFill>
              <a:schemeClr val="accent3"/>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74" name="RectangleLegend4"/>
            <p:cNvSpPr>
              <a:spLocks noChangeArrowheads="1"/>
            </p:cNvSpPr>
            <p:nvPr/>
          </p:nvSpPr>
          <p:spPr bwMode="gray">
            <a:xfrm>
              <a:off x="5894005" y="1760182"/>
              <a:ext cx="165100" cy="160338"/>
            </a:xfrm>
            <a:prstGeom prst="rect">
              <a:avLst/>
            </a:prstGeom>
            <a:solidFill>
              <a:schemeClr val="accent4"/>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75" name="Legend1"/>
            <p:cNvSpPr>
              <a:spLocks noChangeArrowheads="1"/>
            </p:cNvSpPr>
            <p:nvPr>
              <p:custDataLst>
                <p:tags r:id="rId29"/>
              </p:custDataLst>
            </p:nvPr>
          </p:nvSpPr>
          <p:spPr bwMode="gray">
            <a:xfrm>
              <a:off x="6148005" y="919828"/>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sp>
          <p:nvSpPr>
            <p:cNvPr id="76" name="Legend2"/>
            <p:cNvSpPr>
              <a:spLocks noChangeArrowheads="1"/>
            </p:cNvSpPr>
            <p:nvPr>
              <p:custDataLst>
                <p:tags r:id="rId30"/>
              </p:custDataLst>
            </p:nvPr>
          </p:nvSpPr>
          <p:spPr bwMode="gray">
            <a:xfrm>
              <a:off x="6148005" y="1189703"/>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sp>
          <p:nvSpPr>
            <p:cNvPr id="77" name="Legend3"/>
            <p:cNvSpPr>
              <a:spLocks noChangeArrowheads="1"/>
            </p:cNvSpPr>
            <p:nvPr>
              <p:custDataLst>
                <p:tags r:id="rId31"/>
              </p:custDataLst>
            </p:nvPr>
          </p:nvSpPr>
          <p:spPr bwMode="gray">
            <a:xfrm>
              <a:off x="6148005" y="1461166"/>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sp>
          <p:nvSpPr>
            <p:cNvPr id="78" name="Legend4"/>
            <p:cNvSpPr>
              <a:spLocks noChangeArrowheads="1"/>
            </p:cNvSpPr>
            <p:nvPr>
              <p:custDataLst>
                <p:tags r:id="rId32"/>
              </p:custDataLst>
            </p:nvPr>
          </p:nvSpPr>
          <p:spPr bwMode="gray">
            <a:xfrm>
              <a:off x="6148005" y="1732629"/>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grpSp>
      <p:grpSp>
        <p:nvGrpSpPr>
          <p:cNvPr id="79" name="LegendMoons" hidden="1"/>
          <p:cNvGrpSpPr/>
          <p:nvPr/>
        </p:nvGrpSpPr>
        <p:grpSpPr>
          <a:xfrm>
            <a:off x="7792889" y="267414"/>
            <a:ext cx="916992" cy="1317003"/>
            <a:chOff x="5894005" y="2695123"/>
            <a:chExt cx="916992" cy="1317003"/>
          </a:xfrm>
        </p:grpSpPr>
        <p:grpSp>
          <p:nvGrpSpPr>
            <p:cNvPr id="80" name="MoonLegend1"/>
            <p:cNvGrpSpPr>
              <a:grpSpLocks noChangeAspect="1"/>
            </p:cNvGrpSpPr>
            <p:nvPr>
              <p:custDataLst>
                <p:tags r:id="rId9"/>
              </p:custDataLst>
            </p:nvPr>
          </p:nvGrpSpPr>
          <p:grpSpPr bwMode="gray">
            <a:xfrm>
              <a:off x="5894005" y="2695123"/>
              <a:ext cx="209550" cy="218282"/>
              <a:chOff x="4533" y="183"/>
              <a:chExt cx="144" cy="150"/>
            </a:xfrm>
          </p:grpSpPr>
          <p:sp>
            <p:nvSpPr>
              <p:cNvPr id="98" name="Oval 97"/>
              <p:cNvSpPr>
                <a:spLocks noChangeAspect="1" noChangeArrowheads="1"/>
              </p:cNvSpPr>
              <p:nvPr>
                <p:custDataLst>
                  <p:tags r:id="rId27"/>
                </p:custDataLst>
              </p:nvPr>
            </p:nvSpPr>
            <p:spPr bwMode="gray">
              <a:xfrm>
                <a:off x="4533" y="189"/>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99" name="Arc 98" hidden="1"/>
              <p:cNvSpPr>
                <a:spLocks noChangeAspect="1"/>
              </p:cNvSpPr>
              <p:nvPr>
                <p:custDataLst>
                  <p:tags r:id="rId28"/>
                </p:custDataLst>
              </p:nvPr>
            </p:nvSpPr>
            <p:spPr bwMode="gray">
              <a:xfrm>
                <a:off x="4533" y="183"/>
                <a:ext cx="144" cy="144"/>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grpSp>
        <p:grpSp>
          <p:nvGrpSpPr>
            <p:cNvPr id="81" name="MoonLegend2"/>
            <p:cNvGrpSpPr>
              <a:grpSpLocks noChangeAspect="1"/>
            </p:cNvGrpSpPr>
            <p:nvPr>
              <p:custDataLst>
                <p:tags r:id="rId10"/>
              </p:custDataLst>
            </p:nvPr>
          </p:nvGrpSpPr>
          <p:grpSpPr bwMode="gray">
            <a:xfrm>
              <a:off x="5894005" y="2977103"/>
              <a:ext cx="209550" cy="209551"/>
              <a:chOff x="1694" y="2051"/>
              <a:chExt cx="160" cy="160"/>
            </a:xfrm>
          </p:grpSpPr>
          <p:sp>
            <p:nvSpPr>
              <p:cNvPr id="96" name="Oval 41"/>
              <p:cNvSpPr>
                <a:spLocks noChangeAspect="1" noChangeArrowheads="1"/>
              </p:cNvSpPr>
              <p:nvPr>
                <p:custDataLst>
                  <p:tags r:id="rId25"/>
                </p:custDataLst>
              </p:nvPr>
            </p:nvSpPr>
            <p:spPr bwMode="gray">
              <a:xfrm>
                <a:off x="1694" y="2051"/>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97" name="Arc 42"/>
              <p:cNvSpPr>
                <a:spLocks noChangeAspect="1"/>
              </p:cNvSpPr>
              <p:nvPr>
                <p:custDataLst>
                  <p:tags r:id="rId26"/>
                </p:custDataLst>
              </p:nvPr>
            </p:nvSpPr>
            <p:spPr bwMode="gray">
              <a:xfrm>
                <a:off x="1694" y="2051"/>
                <a:ext cx="160" cy="160"/>
              </a:xfrm>
              <a:prstGeom prst="arc">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grpSp>
        <p:grpSp>
          <p:nvGrpSpPr>
            <p:cNvPr id="82" name="MoonLegend4"/>
            <p:cNvGrpSpPr>
              <a:grpSpLocks noChangeAspect="1"/>
            </p:cNvGrpSpPr>
            <p:nvPr>
              <p:custDataLst>
                <p:tags r:id="rId11"/>
              </p:custDataLst>
            </p:nvPr>
          </p:nvGrpSpPr>
          <p:grpSpPr bwMode="gray">
            <a:xfrm>
              <a:off x="5894005" y="3524395"/>
              <a:ext cx="209550" cy="209551"/>
              <a:chOff x="4495" y="1204"/>
              <a:chExt cx="160" cy="160"/>
            </a:xfrm>
          </p:grpSpPr>
          <p:sp>
            <p:nvSpPr>
              <p:cNvPr id="94" name="Oval 47"/>
              <p:cNvSpPr>
                <a:spLocks noChangeAspect="1" noChangeArrowheads="1"/>
              </p:cNvSpPr>
              <p:nvPr>
                <p:custDataLst>
                  <p:tags r:id="rId23"/>
                </p:custDataLst>
              </p:nvPr>
            </p:nvSpPr>
            <p:spPr bwMode="gray">
              <a:xfrm>
                <a:off x="4495" y="120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95" name="Arc 48"/>
              <p:cNvSpPr>
                <a:spLocks noChangeAspect="1"/>
              </p:cNvSpPr>
              <p:nvPr>
                <p:custDataLst>
                  <p:tags r:id="rId24"/>
                </p:custDataLst>
              </p:nvPr>
            </p:nvSpPr>
            <p:spPr bwMode="gray">
              <a:xfrm>
                <a:off x="4495" y="1204"/>
                <a:ext cx="160" cy="160"/>
              </a:xfrm>
              <a:prstGeom prst="arc">
                <a:avLst>
                  <a:gd name="adj1" fmla="val 16200000"/>
                  <a:gd name="adj2" fmla="val 108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grpSp>
        <p:grpSp>
          <p:nvGrpSpPr>
            <p:cNvPr id="83" name="MoonLegend5"/>
            <p:cNvGrpSpPr>
              <a:grpSpLocks noChangeAspect="1"/>
            </p:cNvGrpSpPr>
            <p:nvPr>
              <p:custDataLst>
                <p:tags r:id="rId12"/>
              </p:custDataLst>
            </p:nvPr>
          </p:nvGrpSpPr>
          <p:grpSpPr bwMode="gray">
            <a:xfrm>
              <a:off x="5894005" y="3799629"/>
              <a:ext cx="209550" cy="209551"/>
              <a:chOff x="4495" y="1447"/>
              <a:chExt cx="160" cy="160"/>
            </a:xfrm>
          </p:grpSpPr>
          <p:sp>
            <p:nvSpPr>
              <p:cNvPr id="92" name="Oval 50"/>
              <p:cNvSpPr>
                <a:spLocks noChangeAspect="1" noChangeArrowheads="1"/>
              </p:cNvSpPr>
              <p:nvPr>
                <p:custDataLst>
                  <p:tags r:id="rId21"/>
                </p:custDataLst>
              </p:nvPr>
            </p:nvSpPr>
            <p:spPr bwMode="gray">
              <a:xfrm>
                <a:off x="4495" y="1447"/>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93" name="Oval 51"/>
              <p:cNvSpPr>
                <a:spLocks noChangeAspect="1" noChangeArrowheads="1"/>
              </p:cNvSpPr>
              <p:nvPr>
                <p:custDataLst>
                  <p:tags r:id="rId22"/>
                </p:custDataLst>
              </p:nvPr>
            </p:nvSpPr>
            <p:spPr bwMode="gray">
              <a:xfrm>
                <a:off x="4495" y="1447"/>
                <a:ext cx="160" cy="160"/>
              </a:xfrm>
              <a:prstGeom prst="arc">
                <a:avLst>
                  <a:gd name="adj1" fmla="val 16200000"/>
                  <a:gd name="adj2" fmla="val 162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grpSp>
        <p:grpSp>
          <p:nvGrpSpPr>
            <p:cNvPr id="84" name="MoonLegend3"/>
            <p:cNvGrpSpPr>
              <a:grpSpLocks noChangeAspect="1"/>
            </p:cNvGrpSpPr>
            <p:nvPr>
              <p:custDataLst>
                <p:tags r:id="rId13"/>
              </p:custDataLst>
            </p:nvPr>
          </p:nvGrpSpPr>
          <p:grpSpPr bwMode="gray">
            <a:xfrm>
              <a:off x="5894005" y="3251543"/>
              <a:ext cx="209550" cy="209551"/>
              <a:chOff x="4495" y="1205"/>
              <a:chExt cx="160" cy="160"/>
            </a:xfrm>
          </p:grpSpPr>
          <p:sp>
            <p:nvSpPr>
              <p:cNvPr id="90" name="Oval 47"/>
              <p:cNvSpPr>
                <a:spLocks noChangeAspect="1" noChangeArrowheads="1"/>
              </p:cNvSpPr>
              <p:nvPr>
                <p:custDataLst>
                  <p:tags r:id="rId19"/>
                </p:custDataLst>
              </p:nvPr>
            </p:nvSpPr>
            <p:spPr bwMode="gray">
              <a:xfrm>
                <a:off x="4495" y="1205"/>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91" name="Arc 48"/>
              <p:cNvSpPr>
                <a:spLocks noChangeAspect="1"/>
              </p:cNvSpPr>
              <p:nvPr>
                <p:custDataLst>
                  <p:tags r:id="rId20"/>
                </p:custDataLst>
              </p:nvPr>
            </p:nvSpPr>
            <p:spPr bwMode="gray">
              <a:xfrm>
                <a:off x="4495" y="1205"/>
                <a:ext cx="160" cy="160"/>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grpSp>
        <p:sp>
          <p:nvSpPr>
            <p:cNvPr id="85" name="Legend1"/>
            <p:cNvSpPr>
              <a:spLocks noChangeArrowheads="1"/>
            </p:cNvSpPr>
            <p:nvPr>
              <p:custDataLst>
                <p:tags r:id="rId14"/>
              </p:custDataLst>
            </p:nvPr>
          </p:nvSpPr>
          <p:spPr bwMode="gray">
            <a:xfrm>
              <a:off x="6214680" y="2696542"/>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sp>
          <p:nvSpPr>
            <p:cNvPr id="86" name="Legend2"/>
            <p:cNvSpPr>
              <a:spLocks noChangeArrowheads="1"/>
            </p:cNvSpPr>
            <p:nvPr>
              <p:custDataLst>
                <p:tags r:id="rId15"/>
              </p:custDataLst>
            </p:nvPr>
          </p:nvSpPr>
          <p:spPr bwMode="gray">
            <a:xfrm>
              <a:off x="6214680" y="2974156"/>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a:latin typeface="+mn-lt"/>
                  <a:ea typeface="+mn-ea"/>
                </a:rPr>
                <a:t>Legend</a:t>
              </a:r>
              <a:endParaRPr lang="en-US" sz="1400" baseline="0" dirty="0">
                <a:latin typeface="+mn-lt"/>
                <a:ea typeface="+mn-ea"/>
              </a:endParaRPr>
            </a:p>
          </p:txBody>
        </p:sp>
        <p:sp>
          <p:nvSpPr>
            <p:cNvPr id="87" name="Legend3"/>
            <p:cNvSpPr>
              <a:spLocks noChangeArrowheads="1"/>
            </p:cNvSpPr>
            <p:nvPr>
              <p:custDataLst>
                <p:tags r:id="rId16"/>
              </p:custDataLst>
            </p:nvPr>
          </p:nvSpPr>
          <p:spPr bwMode="gray">
            <a:xfrm>
              <a:off x="6214680" y="3248596"/>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sp>
          <p:nvSpPr>
            <p:cNvPr id="88" name="Legend4"/>
            <p:cNvSpPr>
              <a:spLocks noChangeArrowheads="1"/>
            </p:cNvSpPr>
            <p:nvPr>
              <p:custDataLst>
                <p:tags r:id="rId17"/>
              </p:custDataLst>
            </p:nvPr>
          </p:nvSpPr>
          <p:spPr bwMode="gray">
            <a:xfrm>
              <a:off x="6214680" y="3521448"/>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sp>
          <p:nvSpPr>
            <p:cNvPr id="89" name="Legend5"/>
            <p:cNvSpPr>
              <a:spLocks noChangeArrowheads="1"/>
            </p:cNvSpPr>
            <p:nvPr>
              <p:custDataLst>
                <p:tags r:id="rId18"/>
              </p:custDataLst>
            </p:nvPr>
          </p:nvSpPr>
          <p:spPr bwMode="gray">
            <a:xfrm>
              <a:off x="6214680" y="3796682"/>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a:latin typeface="+mn-lt"/>
                  <a:ea typeface="+mn-ea"/>
                </a:rPr>
                <a:t>Legend</a:t>
              </a:r>
              <a:endParaRPr lang="en-US" sz="1400" baseline="0" dirty="0">
                <a:latin typeface="+mn-lt"/>
                <a:ea typeface="+mn-ea"/>
              </a:endParaRPr>
            </a:p>
          </p:txBody>
        </p:sp>
      </p:grpSp>
    </p:spTree>
    <p:extLst>
      <p:ext uri="{BB962C8B-B14F-4D97-AF65-F5344CB8AC3E}">
        <p14:creationId xmlns:p14="http://schemas.microsoft.com/office/powerpoint/2010/main" val="547292833"/>
      </p:ext>
    </p:extLst>
  </p:cSld>
  <p:clrMap bg1="lt1" tx1="dk1" bg2="lt2" tx2="dk2" accent1="accent1" accent2="accent2" accent3="accent3" accent4="accent4" accent5="accent5" accent6="accent6" hlink="hlink" folHlink="folHlink"/>
  <p:sldLayoutIdLst>
    <p:sldLayoutId id="2147483771" r:id="rId1"/>
    <p:sldLayoutId id="2147483772" r:id="rId2"/>
    <p:sldLayoutId id="2147483773" r:id="rId3"/>
    <p:sldLayoutId id="2147483774" r:id="rId4"/>
  </p:sldLayoutIdLst>
  <p:txStyles>
    <p:titleStyle>
      <a:lvl1pPr algn="l" defTabSz="895350" rtl="0" eaLnBrk="1" fontAlgn="base" hangingPunct="1">
        <a:spcBef>
          <a:spcPct val="0"/>
        </a:spcBef>
        <a:spcAft>
          <a:spcPct val="0"/>
        </a:spcAft>
        <a:tabLst>
          <a:tab pos="269875" algn="l"/>
        </a:tabLst>
        <a:defRPr sz="2000" b="0" baseline="0">
          <a:solidFill>
            <a:schemeClr val="tx2"/>
          </a:solidFill>
          <a:latin typeface="+mj-lt"/>
          <a:ea typeface="+mj-ea"/>
          <a:cs typeface="+mj-cs"/>
        </a:defRPr>
      </a:lvl1pPr>
      <a:lvl2pPr algn="l" defTabSz="895350" rtl="0" eaLnBrk="1" fontAlgn="base" hangingPunct="1">
        <a:spcBef>
          <a:spcPct val="0"/>
        </a:spcBef>
        <a:spcAft>
          <a:spcPct val="0"/>
        </a:spcAft>
        <a:defRPr sz="1900" b="1">
          <a:solidFill>
            <a:schemeClr val="tx2"/>
          </a:solidFill>
          <a:latin typeface="Arial" charset="0"/>
        </a:defRPr>
      </a:lvl2pPr>
      <a:lvl3pPr algn="l" defTabSz="895350" rtl="0" eaLnBrk="1" fontAlgn="base" hangingPunct="1">
        <a:spcBef>
          <a:spcPct val="0"/>
        </a:spcBef>
        <a:spcAft>
          <a:spcPct val="0"/>
        </a:spcAft>
        <a:defRPr sz="1900" b="1">
          <a:solidFill>
            <a:schemeClr val="tx2"/>
          </a:solidFill>
          <a:latin typeface="Arial" charset="0"/>
        </a:defRPr>
      </a:lvl3pPr>
      <a:lvl4pPr algn="l" defTabSz="895350" rtl="0" eaLnBrk="1" fontAlgn="base" hangingPunct="1">
        <a:spcBef>
          <a:spcPct val="0"/>
        </a:spcBef>
        <a:spcAft>
          <a:spcPct val="0"/>
        </a:spcAft>
        <a:defRPr sz="1900" b="1">
          <a:solidFill>
            <a:schemeClr val="tx2"/>
          </a:solidFill>
          <a:latin typeface="Arial" charset="0"/>
        </a:defRPr>
      </a:lvl4pPr>
      <a:lvl5pPr algn="l" defTabSz="895350" rtl="0" eaLnBrk="1" fontAlgn="base" hangingPunct="1">
        <a:spcBef>
          <a:spcPct val="0"/>
        </a:spcBef>
        <a:spcAft>
          <a:spcPct val="0"/>
        </a:spcAft>
        <a:defRPr sz="1900" b="1">
          <a:solidFill>
            <a:schemeClr val="tx2"/>
          </a:solidFill>
          <a:latin typeface="Arial" charset="0"/>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p:titleStyle>
    <p:bodyStyle>
      <a:lvl1pPr marL="0" indent="0" algn="l" defTabSz="895350" rtl="0" eaLnBrk="1" fontAlgn="base" hangingPunct="1">
        <a:spcBef>
          <a:spcPct val="0"/>
        </a:spcBef>
        <a:spcAft>
          <a:spcPct val="0"/>
        </a:spcAft>
        <a:buClr>
          <a:schemeClr val="tx2"/>
        </a:buClr>
        <a:buSzPct val="100000"/>
        <a:defRPr sz="14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4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4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4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4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ext>
  </p:extLst>
</p:sldMaster>
</file>

<file path=ppt/slideMasters/slideMaster2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7"/>
            </p:custDataLst>
            <p:extLst>
              <p:ext uri="{D42A27DB-BD31-4B8C-83A1-F6EECF244321}">
                <p14:modId xmlns:p14="http://schemas.microsoft.com/office/powerpoint/2010/main" val="3254866013"/>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8564" name="think-cell Slide" r:id="rId36" imgW="270" imgH="270" progId="TCLayout.ActiveDocument.1">
                  <p:embed/>
                </p:oleObj>
              </mc:Choice>
              <mc:Fallback>
                <p:oleObj name="think-cell Slide" r:id="rId36" imgW="270" imgH="270" progId="TCLayout.ActiveDocument.1">
                  <p:embed/>
                  <p:pic>
                    <p:nvPicPr>
                      <p:cNvPr id="2" name="Object 1" hidden="1"/>
                      <p:cNvPicPr/>
                      <p:nvPr/>
                    </p:nvPicPr>
                    <p:blipFill>
                      <a:blip r:embed="rId37"/>
                      <a:stretch>
                        <a:fillRect/>
                      </a:stretch>
                    </p:blipFill>
                    <p:spPr>
                      <a:xfrm>
                        <a:off x="0" y="0"/>
                        <a:ext cx="158750" cy="158750"/>
                      </a:xfrm>
                      <a:prstGeom prst="rect">
                        <a:avLst/>
                      </a:prstGeom>
                    </p:spPr>
                  </p:pic>
                </p:oleObj>
              </mc:Fallback>
            </mc:AlternateContent>
          </a:graphicData>
        </a:graphic>
      </p:graphicFrame>
      <p:sp>
        <p:nvSpPr>
          <p:cNvPr id="6" name="Rectangle 5" hidden="1"/>
          <p:cNvSpPr/>
          <p:nvPr>
            <p:custDataLst>
              <p:tags r:id="rId8"/>
            </p:custDataLst>
          </p:nvPr>
        </p:nvSpPr>
        <p:spPr bwMode="auto">
          <a:xfrm>
            <a:off x="0" y="0"/>
            <a:ext cx="158750" cy="158750"/>
          </a:xfrm>
          <a:prstGeom prst="rect">
            <a:avLst/>
          </a:prstGeom>
          <a:solidFill>
            <a:schemeClr val="bg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dirty="0">
              <a:solidFill>
                <a:srgbClr val="000000"/>
              </a:solidFill>
              <a:sym typeface="Arial" panose="020B0604020202020204" pitchFamily="34" charset="0"/>
            </a:endParaRPr>
          </a:p>
        </p:txBody>
      </p:sp>
      <p:sp>
        <p:nvSpPr>
          <p:cNvPr id="1034" name="Working Draft" hidden="1"/>
          <p:cNvSpPr txBox="1">
            <a:spLocks noChangeArrowheads="1"/>
          </p:cNvSpPr>
          <p:nvPr/>
        </p:nvSpPr>
        <p:spPr bwMode="gray">
          <a:xfrm rot="5400000">
            <a:off x="7966656" y="1940591"/>
            <a:ext cx="1849865"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600" baseline="0">
                <a:solidFill>
                  <a:srgbClr val="808080"/>
                </a:solidFill>
                <a:latin typeface="+mn-lt"/>
                <a:ea typeface="+mn-ea"/>
              </a:rPr>
              <a:t>Last Modified 21/05/2018 17:44 India Standard Time</a:t>
            </a:r>
            <a:endParaRPr lang="en-US" baseline="0" dirty="0">
              <a:solidFill>
                <a:srgbClr val="808080"/>
              </a:solidFill>
              <a:latin typeface="+mn-lt"/>
              <a:ea typeface="+mn-ea"/>
            </a:endParaRPr>
          </a:p>
        </p:txBody>
      </p:sp>
      <p:sp>
        <p:nvSpPr>
          <p:cNvPr id="1035" name="Printed" hidden="1"/>
          <p:cNvSpPr txBox="1">
            <a:spLocks noChangeArrowheads="1"/>
          </p:cNvSpPr>
          <p:nvPr/>
        </p:nvSpPr>
        <p:spPr bwMode="gray">
          <a:xfrm rot="5400000">
            <a:off x="8768958" y="4114417"/>
            <a:ext cx="245260"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600" baseline="0" dirty="0">
                <a:solidFill>
                  <a:srgbClr val="808080"/>
                </a:solidFill>
                <a:latin typeface="+mn-lt"/>
                <a:ea typeface="+mn-ea"/>
              </a:rPr>
              <a:t>Printed</a:t>
            </a:r>
            <a:endParaRPr lang="en-US" baseline="0" dirty="0">
              <a:solidFill>
                <a:srgbClr val="808080"/>
              </a:solidFill>
              <a:latin typeface="+mn-lt"/>
              <a:ea typeface="+mn-ea"/>
            </a:endParaRPr>
          </a:p>
        </p:txBody>
      </p:sp>
      <p:sp>
        <p:nvSpPr>
          <p:cNvPr id="19" name="Title Placeholder 2"/>
          <p:cNvSpPr>
            <a:spLocks noGrp="1" noChangeArrowheads="1"/>
          </p:cNvSpPr>
          <p:nvPr>
            <p:ph type="title"/>
          </p:nvPr>
        </p:nvSpPr>
        <p:spPr bwMode="gray">
          <a:xfrm>
            <a:off x="119063" y="230188"/>
            <a:ext cx="8618537"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latinLnBrk="0"/>
            <a:r>
              <a:rPr lang="en-US"/>
              <a:t>Click to edit Master title style</a:t>
            </a:r>
            <a:endParaRPr lang="en-US" noProof="0" dirty="0"/>
          </a:p>
        </p:txBody>
      </p:sp>
      <p:sp>
        <p:nvSpPr>
          <p:cNvPr id="10" name="1. On-page tracker" hidden="1"/>
          <p:cNvSpPr>
            <a:spLocks noChangeArrowheads="1"/>
          </p:cNvSpPr>
          <p:nvPr/>
        </p:nvSpPr>
        <p:spPr bwMode="gray">
          <a:xfrm>
            <a:off x="119063" y="75764"/>
            <a:ext cx="490519"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800" cap="all" baseline="0" dirty="0">
                <a:solidFill>
                  <a:schemeClr val="accent6"/>
                </a:solidFill>
                <a:latin typeface="+mn-lt"/>
                <a:ea typeface="+mn-ea"/>
              </a:rPr>
              <a:t>Tracker</a:t>
            </a:r>
          </a:p>
        </p:txBody>
      </p:sp>
      <p:sp>
        <p:nvSpPr>
          <p:cNvPr id="11" name="3. Unit of measure" hidden="1"/>
          <p:cNvSpPr txBox="1">
            <a:spLocks noChangeArrowheads="1"/>
          </p:cNvSpPr>
          <p:nvPr/>
        </p:nvSpPr>
        <p:spPr bwMode="gray">
          <a:xfrm>
            <a:off x="119063" y="554865"/>
            <a:ext cx="8618537"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600" baseline="0" dirty="0">
                <a:solidFill>
                  <a:schemeClr val="accent6"/>
                </a:solidFill>
                <a:latin typeface="+mn-lt"/>
                <a:ea typeface="+mn-ea"/>
              </a:rPr>
              <a:t>Unit of measure</a:t>
            </a:r>
          </a:p>
        </p:txBody>
      </p:sp>
      <p:grpSp>
        <p:nvGrpSpPr>
          <p:cNvPr id="4" name="Slide Elements" hidden="1"/>
          <p:cNvGrpSpPr/>
          <p:nvPr/>
        </p:nvGrpSpPr>
        <p:grpSpPr bwMode="gray">
          <a:xfrm>
            <a:off x="119063" y="6305945"/>
            <a:ext cx="8618537" cy="325438"/>
            <a:chOff x="119063" y="6305945"/>
            <a:chExt cx="8618537" cy="325438"/>
          </a:xfrm>
        </p:grpSpPr>
        <p:sp>
          <p:nvSpPr>
            <p:cNvPr id="13" name="4. Footnote"/>
            <p:cNvSpPr txBox="1">
              <a:spLocks noChangeArrowheads="1"/>
            </p:cNvSpPr>
            <p:nvPr/>
          </p:nvSpPr>
          <p:spPr bwMode="gray">
            <a:xfrm>
              <a:off x="119063" y="6305945"/>
              <a:ext cx="8618537" cy="123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800" baseline="0" dirty="0">
                  <a:solidFill>
                    <a:schemeClr val="accent6"/>
                  </a:solidFill>
                  <a:latin typeface="+mn-lt"/>
                  <a:ea typeface="+mn-ea"/>
                </a:rPr>
                <a:t>1 Footnote</a:t>
              </a:r>
            </a:p>
          </p:txBody>
        </p:sp>
        <p:sp>
          <p:nvSpPr>
            <p:cNvPr id="14" name="5. Source"/>
            <p:cNvSpPr>
              <a:spLocks noChangeArrowheads="1"/>
            </p:cNvSpPr>
            <p:nvPr/>
          </p:nvSpPr>
          <p:spPr bwMode="gray">
            <a:xfrm>
              <a:off x="119063" y="6507558"/>
              <a:ext cx="7200000" cy="123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marL="609600" indent="-609600" defTabSz="895350">
                <a:tabLst>
                  <a:tab pos="612775" algn="l"/>
                </a:tabLst>
              </a:pPr>
              <a:r>
                <a:rPr lang="en-US" sz="800" baseline="0" dirty="0">
                  <a:solidFill>
                    <a:schemeClr val="accent6"/>
                  </a:solidFill>
                  <a:latin typeface="+mn-lt"/>
                  <a:ea typeface="+mn-ea"/>
                </a:rPr>
                <a:t>SOURCE: Source</a:t>
              </a:r>
            </a:p>
          </p:txBody>
        </p:sp>
      </p:grpSp>
      <p:sp>
        <p:nvSpPr>
          <p:cNvPr id="3" name="Text Placeholder 2"/>
          <p:cNvSpPr>
            <a:spLocks noGrp="1"/>
          </p:cNvSpPr>
          <p:nvPr>
            <p:ph type="body" idx="1"/>
          </p:nvPr>
        </p:nvSpPr>
        <p:spPr bwMode="gray">
          <a:xfrm>
            <a:off x="1452564" y="1951380"/>
            <a:ext cx="4302125" cy="1077218"/>
          </a:xfrm>
          <a:prstGeom prst="rect">
            <a:avLst/>
          </a:prstGeom>
        </p:spPr>
        <p:txBody>
          <a:bodyPr vert="horz" lIns="0" tIns="0" rIns="0" bIns="0" rtlCol="0">
            <a:spAutoFit/>
          </a:bodyPr>
          <a:lstStyle/>
          <a:p>
            <a:pPr lvl="0" latinLnBrk="0"/>
            <a:r>
              <a:rPr lang="en-US"/>
              <a:t>Edit Master text styles</a:t>
            </a:r>
          </a:p>
          <a:p>
            <a:pPr lvl="1" latinLnBrk="0"/>
            <a:r>
              <a:rPr lang="en-US"/>
              <a:t>Second level</a:t>
            </a:r>
          </a:p>
          <a:p>
            <a:pPr lvl="2" latinLnBrk="0"/>
            <a:r>
              <a:rPr lang="en-US"/>
              <a:t>Third level</a:t>
            </a:r>
          </a:p>
          <a:p>
            <a:pPr lvl="3" latinLnBrk="0"/>
            <a:r>
              <a:rPr lang="en-US"/>
              <a:t>Fourth level</a:t>
            </a:r>
          </a:p>
          <a:p>
            <a:pPr lvl="4" latinLnBrk="0"/>
            <a:r>
              <a:rPr lang="en-US"/>
              <a:t>Fifth level</a:t>
            </a:r>
            <a:endParaRPr lang="en-US" dirty="0"/>
          </a:p>
        </p:txBody>
      </p:sp>
      <p:grpSp>
        <p:nvGrpSpPr>
          <p:cNvPr id="15" name="ACET" hidden="1"/>
          <p:cNvGrpSpPr>
            <a:grpSpLocks/>
          </p:cNvGrpSpPr>
          <p:nvPr/>
        </p:nvGrpSpPr>
        <p:grpSpPr bwMode="gray">
          <a:xfrm>
            <a:off x="1452563" y="1257754"/>
            <a:ext cx="4264025" cy="508000"/>
            <a:chOff x="915" y="710"/>
            <a:chExt cx="2686" cy="320"/>
          </a:xfrm>
        </p:grpSpPr>
        <p:cxnSp>
          <p:nvCxnSpPr>
            <p:cNvPr id="16" name="AutoShape 249"/>
            <p:cNvCxnSpPr>
              <a:cxnSpLocks noChangeShapeType="1"/>
              <a:stCxn id="18" idx="4"/>
              <a:endCxn id="18" idx="6"/>
            </p:cNvCxnSpPr>
            <p:nvPr/>
          </p:nvCxnSpPr>
          <p:spPr bwMode="gray">
            <a:xfrm>
              <a:off x="915" y="1030"/>
              <a:ext cx="2686" cy="0"/>
            </a:xfrm>
            <a:prstGeom prst="straightConnector1">
              <a:avLst/>
            </a:prstGeom>
            <a:noFill/>
            <a:ln w="9525">
              <a:solidFill>
                <a:schemeClr val="accent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8" name="AutoShape 250"/>
            <p:cNvSpPr>
              <a:spLocks noChangeArrowheads="1"/>
            </p:cNvSpPr>
            <p:nvPr/>
          </p:nvSpPr>
          <p:spPr bwMode="gray">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US" b="1" baseline="0" dirty="0">
                  <a:solidFill>
                    <a:srgbClr val="000000"/>
                  </a:solidFill>
                  <a:latin typeface="+mn-lt"/>
                  <a:ea typeface="+mn-ea"/>
                </a:rPr>
                <a:t>Title</a:t>
              </a:r>
            </a:p>
            <a:p>
              <a:r>
                <a:rPr lang="en-US" baseline="0" dirty="0">
                  <a:solidFill>
                    <a:schemeClr val="accent6"/>
                  </a:solidFill>
                  <a:latin typeface="+mn-lt"/>
                  <a:ea typeface="+mn-ea"/>
                </a:rPr>
                <a:t>Unit of measure</a:t>
              </a:r>
            </a:p>
          </p:txBody>
        </p:sp>
      </p:grpSp>
      <p:grpSp>
        <p:nvGrpSpPr>
          <p:cNvPr id="17" name="McKSticker" hidden="1"/>
          <p:cNvGrpSpPr/>
          <p:nvPr/>
        </p:nvGrpSpPr>
        <p:grpSpPr bwMode="gray">
          <a:xfrm>
            <a:off x="8264265" y="285750"/>
            <a:ext cx="473335" cy="150811"/>
            <a:chOff x="8267440" y="285750"/>
            <a:chExt cx="473335" cy="150811"/>
          </a:xfrm>
        </p:grpSpPr>
        <p:sp>
          <p:nvSpPr>
            <p:cNvPr id="20" name="StickerRectangle"/>
            <p:cNvSpPr>
              <a:spLocks noChangeArrowheads="1"/>
            </p:cNvSpPr>
            <p:nvPr/>
          </p:nvSpPr>
          <p:spPr bwMode="gray">
            <a:xfrm>
              <a:off x="8267440" y="285750"/>
              <a:ext cx="473335" cy="150811"/>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a:buClr>
                  <a:srgbClr val="002960"/>
                </a:buClr>
              </a:pPr>
              <a:r>
                <a:rPr lang="en-US" sz="800" baseline="0" dirty="0">
                  <a:solidFill>
                    <a:schemeClr val="accent6"/>
                  </a:solidFill>
                  <a:latin typeface="+mn-lt"/>
                  <a:ea typeface="+mn-ea"/>
                </a:rPr>
                <a:t>STICKER</a:t>
              </a:r>
            </a:p>
          </p:txBody>
        </p:sp>
        <p:cxnSp>
          <p:nvCxnSpPr>
            <p:cNvPr id="21" name="AutoShape 31"/>
            <p:cNvCxnSpPr>
              <a:cxnSpLocks noChangeShapeType="1"/>
              <a:stCxn id="20" idx="2"/>
              <a:endCxn id="20" idx="4"/>
            </p:cNvCxnSpPr>
            <p:nvPr/>
          </p:nvCxnSpPr>
          <p:spPr bwMode="gray">
            <a:xfrm>
              <a:off x="8267440" y="285750"/>
              <a:ext cx="0" cy="150811"/>
            </a:xfrm>
            <a:prstGeom prst="straightConnector1">
              <a:avLst/>
            </a:prstGeom>
            <a:noFill/>
            <a:ln w="9525">
              <a:solidFill>
                <a:schemeClr val="accent6"/>
              </a:solidFill>
              <a:round/>
              <a:headEnd/>
              <a:tailEnd/>
            </a:ln>
            <a:extLst>
              <a:ext uri="{909E8E84-426E-40DD-AFC4-6F175D3DCCD1}">
                <a14:hiddenFill xmlns:a14="http://schemas.microsoft.com/office/drawing/2010/main">
                  <a:noFill/>
                </a14:hiddenFill>
              </a:ext>
            </a:extLst>
          </p:spPr>
        </p:cxnSp>
        <p:cxnSp>
          <p:nvCxnSpPr>
            <p:cNvPr id="22" name="AutoShape 32"/>
            <p:cNvCxnSpPr>
              <a:cxnSpLocks noChangeShapeType="1"/>
              <a:stCxn id="20" idx="4"/>
              <a:endCxn id="20" idx="6"/>
            </p:cNvCxnSpPr>
            <p:nvPr/>
          </p:nvCxnSpPr>
          <p:spPr bwMode="gray">
            <a:xfrm>
              <a:off x="8267440" y="436561"/>
              <a:ext cx="473335" cy="0"/>
            </a:xfrm>
            <a:prstGeom prst="straightConnector1">
              <a:avLst/>
            </a:prstGeom>
            <a:noFill/>
            <a:ln w="25400">
              <a:solidFill>
                <a:schemeClr val="accent6"/>
              </a:solidFill>
              <a:round/>
              <a:headEnd/>
              <a:tailEnd/>
            </a:ln>
            <a:extLst>
              <a:ext uri="{909E8E84-426E-40DD-AFC4-6F175D3DCCD1}">
                <a14:hiddenFill xmlns:a14="http://schemas.microsoft.com/office/drawing/2010/main">
                  <a:noFill/>
                </a14:hiddenFill>
              </a:ext>
            </a:extLst>
          </p:spPr>
        </p:cxnSp>
      </p:grpSp>
      <p:sp>
        <p:nvSpPr>
          <p:cNvPr id="23" name="SlideBottomBar" hidden="1"/>
          <p:cNvSpPr/>
          <p:nvPr/>
        </p:nvSpPr>
        <p:spPr>
          <a:xfrm>
            <a:off x="8437547" y="6182120"/>
            <a:ext cx="45719" cy="123825"/>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aseline="0" dirty="0">
              <a:solidFill>
                <a:schemeClr val="tx1"/>
              </a:solidFill>
              <a:latin typeface="+mn-lt"/>
              <a:ea typeface="+mn-ea"/>
            </a:endParaRPr>
          </a:p>
        </p:txBody>
      </p:sp>
      <p:sp>
        <p:nvSpPr>
          <p:cNvPr id="24" name="doc id" hidden="1"/>
          <p:cNvSpPr txBox="1">
            <a:spLocks noChangeArrowheads="1"/>
          </p:cNvSpPr>
          <p:nvPr/>
        </p:nvSpPr>
        <p:spPr bwMode="white">
          <a:xfrm>
            <a:off x="8104473" y="36513"/>
            <a:ext cx="634716" cy="115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hangingPunct="1">
              <a:defRPr/>
            </a:pPr>
            <a:endParaRPr lang="en-US" sz="800" baseline="0" dirty="0">
              <a:solidFill>
                <a:schemeClr val="accent1"/>
              </a:solidFill>
              <a:latin typeface="+mn-lt"/>
              <a:ea typeface="+mn-ea"/>
            </a:endParaRPr>
          </a:p>
        </p:txBody>
      </p:sp>
      <p:grpSp>
        <p:nvGrpSpPr>
          <p:cNvPr id="63" name="LegendLines" hidden="1"/>
          <p:cNvGrpSpPr/>
          <p:nvPr/>
        </p:nvGrpSpPr>
        <p:grpSpPr>
          <a:xfrm>
            <a:off x="7551589" y="267815"/>
            <a:ext cx="1158292" cy="761545"/>
            <a:chOff x="7607284" y="279400"/>
            <a:chExt cx="1158292" cy="761545"/>
          </a:xfrm>
        </p:grpSpPr>
        <p:sp>
          <p:nvSpPr>
            <p:cNvPr id="64" name="LineLegend1"/>
            <p:cNvSpPr>
              <a:spLocks noChangeShapeType="1"/>
            </p:cNvSpPr>
            <p:nvPr/>
          </p:nvSpPr>
          <p:spPr bwMode="gray">
            <a:xfrm>
              <a:off x="7607284" y="387122"/>
              <a:ext cx="457200"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65" name="LineLegend2"/>
            <p:cNvSpPr>
              <a:spLocks noChangeShapeType="1"/>
            </p:cNvSpPr>
            <p:nvPr/>
          </p:nvSpPr>
          <p:spPr bwMode="gray">
            <a:xfrm>
              <a:off x="7607284" y="653822"/>
              <a:ext cx="457200"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66" name="LineLegend3"/>
            <p:cNvSpPr>
              <a:spLocks noChangeShapeType="1"/>
            </p:cNvSpPr>
            <p:nvPr/>
          </p:nvSpPr>
          <p:spPr bwMode="gray">
            <a:xfrm>
              <a:off x="7607284" y="933223"/>
              <a:ext cx="457200"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67" name="Legend1"/>
            <p:cNvSpPr>
              <a:spLocks noChangeArrowheads="1"/>
            </p:cNvSpPr>
            <p:nvPr>
              <p:custDataLst>
                <p:tags r:id="rId33"/>
              </p:custDataLst>
            </p:nvPr>
          </p:nvSpPr>
          <p:spPr bwMode="gray">
            <a:xfrm>
              <a:off x="8169259" y="279400"/>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sp>
          <p:nvSpPr>
            <p:cNvPr id="68" name="Legend2"/>
            <p:cNvSpPr>
              <a:spLocks noChangeArrowheads="1"/>
            </p:cNvSpPr>
            <p:nvPr>
              <p:custDataLst>
                <p:tags r:id="rId34"/>
              </p:custDataLst>
            </p:nvPr>
          </p:nvSpPr>
          <p:spPr bwMode="gray">
            <a:xfrm>
              <a:off x="8169259" y="546100"/>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a:latin typeface="+mn-lt"/>
                  <a:ea typeface="+mn-ea"/>
                </a:rPr>
                <a:t>Legend</a:t>
              </a:r>
              <a:endParaRPr lang="en-US" sz="1400" baseline="0" dirty="0">
                <a:latin typeface="+mn-lt"/>
                <a:ea typeface="+mn-ea"/>
              </a:endParaRPr>
            </a:p>
          </p:txBody>
        </p:sp>
        <p:sp>
          <p:nvSpPr>
            <p:cNvPr id="69" name="Legend3"/>
            <p:cNvSpPr>
              <a:spLocks noChangeArrowheads="1"/>
            </p:cNvSpPr>
            <p:nvPr>
              <p:custDataLst>
                <p:tags r:id="rId35"/>
              </p:custDataLst>
            </p:nvPr>
          </p:nvSpPr>
          <p:spPr bwMode="gray">
            <a:xfrm>
              <a:off x="8169259" y="825501"/>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grpSp>
      <p:grpSp>
        <p:nvGrpSpPr>
          <p:cNvPr id="70" name="LegendBoxes" hidden="1"/>
          <p:cNvGrpSpPr/>
          <p:nvPr/>
        </p:nvGrpSpPr>
        <p:grpSpPr>
          <a:xfrm>
            <a:off x="7859564" y="267919"/>
            <a:ext cx="850317" cy="1028245"/>
            <a:chOff x="5894005" y="919828"/>
            <a:chExt cx="850317" cy="1028245"/>
          </a:xfrm>
        </p:grpSpPr>
        <p:sp>
          <p:nvSpPr>
            <p:cNvPr id="71" name="RectangleLegend1"/>
            <p:cNvSpPr>
              <a:spLocks noChangeArrowheads="1"/>
            </p:cNvSpPr>
            <p:nvPr/>
          </p:nvSpPr>
          <p:spPr bwMode="gray">
            <a:xfrm>
              <a:off x="5894005" y="947381"/>
              <a:ext cx="165100" cy="160338"/>
            </a:xfrm>
            <a:prstGeom prst="rect">
              <a:avLst/>
            </a:prstGeom>
            <a:solidFill>
              <a:schemeClr val="accent1"/>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72" name="RectangleLegend2"/>
            <p:cNvSpPr>
              <a:spLocks noChangeArrowheads="1"/>
            </p:cNvSpPr>
            <p:nvPr/>
          </p:nvSpPr>
          <p:spPr bwMode="gray">
            <a:xfrm>
              <a:off x="5894005" y="1217256"/>
              <a:ext cx="165100" cy="160338"/>
            </a:xfrm>
            <a:prstGeom prst="rect">
              <a:avLst/>
            </a:prstGeom>
            <a:solidFill>
              <a:schemeClr val="accent2"/>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73" name="RectangleLegend3"/>
            <p:cNvSpPr>
              <a:spLocks noChangeArrowheads="1"/>
            </p:cNvSpPr>
            <p:nvPr/>
          </p:nvSpPr>
          <p:spPr bwMode="gray">
            <a:xfrm>
              <a:off x="5894005" y="1488719"/>
              <a:ext cx="165100" cy="160338"/>
            </a:xfrm>
            <a:prstGeom prst="rect">
              <a:avLst/>
            </a:prstGeom>
            <a:solidFill>
              <a:schemeClr val="accent3"/>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74" name="RectangleLegend4"/>
            <p:cNvSpPr>
              <a:spLocks noChangeArrowheads="1"/>
            </p:cNvSpPr>
            <p:nvPr/>
          </p:nvSpPr>
          <p:spPr bwMode="gray">
            <a:xfrm>
              <a:off x="5894005" y="1760182"/>
              <a:ext cx="165100" cy="160338"/>
            </a:xfrm>
            <a:prstGeom prst="rect">
              <a:avLst/>
            </a:prstGeom>
            <a:solidFill>
              <a:schemeClr val="accent4"/>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75" name="Legend1"/>
            <p:cNvSpPr>
              <a:spLocks noChangeArrowheads="1"/>
            </p:cNvSpPr>
            <p:nvPr>
              <p:custDataLst>
                <p:tags r:id="rId29"/>
              </p:custDataLst>
            </p:nvPr>
          </p:nvSpPr>
          <p:spPr bwMode="gray">
            <a:xfrm>
              <a:off x="6148005" y="919828"/>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sp>
          <p:nvSpPr>
            <p:cNvPr id="76" name="Legend2"/>
            <p:cNvSpPr>
              <a:spLocks noChangeArrowheads="1"/>
            </p:cNvSpPr>
            <p:nvPr>
              <p:custDataLst>
                <p:tags r:id="rId30"/>
              </p:custDataLst>
            </p:nvPr>
          </p:nvSpPr>
          <p:spPr bwMode="gray">
            <a:xfrm>
              <a:off x="6148005" y="1189703"/>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sp>
          <p:nvSpPr>
            <p:cNvPr id="77" name="Legend3"/>
            <p:cNvSpPr>
              <a:spLocks noChangeArrowheads="1"/>
            </p:cNvSpPr>
            <p:nvPr>
              <p:custDataLst>
                <p:tags r:id="rId31"/>
              </p:custDataLst>
            </p:nvPr>
          </p:nvSpPr>
          <p:spPr bwMode="gray">
            <a:xfrm>
              <a:off x="6148005" y="1461166"/>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sp>
          <p:nvSpPr>
            <p:cNvPr id="78" name="Legend4"/>
            <p:cNvSpPr>
              <a:spLocks noChangeArrowheads="1"/>
            </p:cNvSpPr>
            <p:nvPr>
              <p:custDataLst>
                <p:tags r:id="rId32"/>
              </p:custDataLst>
            </p:nvPr>
          </p:nvSpPr>
          <p:spPr bwMode="gray">
            <a:xfrm>
              <a:off x="6148005" y="1732629"/>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grpSp>
      <p:grpSp>
        <p:nvGrpSpPr>
          <p:cNvPr id="79" name="LegendMoons" hidden="1"/>
          <p:cNvGrpSpPr/>
          <p:nvPr/>
        </p:nvGrpSpPr>
        <p:grpSpPr>
          <a:xfrm>
            <a:off x="7792889" y="267414"/>
            <a:ext cx="916992" cy="1317003"/>
            <a:chOff x="5894005" y="2695123"/>
            <a:chExt cx="916992" cy="1317003"/>
          </a:xfrm>
        </p:grpSpPr>
        <p:grpSp>
          <p:nvGrpSpPr>
            <p:cNvPr id="80" name="MoonLegend1"/>
            <p:cNvGrpSpPr>
              <a:grpSpLocks noChangeAspect="1"/>
            </p:cNvGrpSpPr>
            <p:nvPr>
              <p:custDataLst>
                <p:tags r:id="rId9"/>
              </p:custDataLst>
            </p:nvPr>
          </p:nvGrpSpPr>
          <p:grpSpPr bwMode="gray">
            <a:xfrm>
              <a:off x="5894005" y="2695123"/>
              <a:ext cx="209550" cy="218282"/>
              <a:chOff x="4533" y="183"/>
              <a:chExt cx="144" cy="150"/>
            </a:xfrm>
          </p:grpSpPr>
          <p:sp>
            <p:nvSpPr>
              <p:cNvPr id="98" name="Oval 97"/>
              <p:cNvSpPr>
                <a:spLocks noChangeAspect="1" noChangeArrowheads="1"/>
              </p:cNvSpPr>
              <p:nvPr>
                <p:custDataLst>
                  <p:tags r:id="rId27"/>
                </p:custDataLst>
              </p:nvPr>
            </p:nvSpPr>
            <p:spPr bwMode="gray">
              <a:xfrm>
                <a:off x="4533" y="189"/>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99" name="Arc 98" hidden="1"/>
              <p:cNvSpPr>
                <a:spLocks noChangeAspect="1"/>
              </p:cNvSpPr>
              <p:nvPr>
                <p:custDataLst>
                  <p:tags r:id="rId28"/>
                </p:custDataLst>
              </p:nvPr>
            </p:nvSpPr>
            <p:spPr bwMode="gray">
              <a:xfrm>
                <a:off x="4533" y="183"/>
                <a:ext cx="144" cy="144"/>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grpSp>
        <p:grpSp>
          <p:nvGrpSpPr>
            <p:cNvPr id="81" name="MoonLegend2"/>
            <p:cNvGrpSpPr>
              <a:grpSpLocks noChangeAspect="1"/>
            </p:cNvGrpSpPr>
            <p:nvPr>
              <p:custDataLst>
                <p:tags r:id="rId10"/>
              </p:custDataLst>
            </p:nvPr>
          </p:nvGrpSpPr>
          <p:grpSpPr bwMode="gray">
            <a:xfrm>
              <a:off x="5894005" y="2977103"/>
              <a:ext cx="209550" cy="209551"/>
              <a:chOff x="1694" y="2051"/>
              <a:chExt cx="160" cy="160"/>
            </a:xfrm>
          </p:grpSpPr>
          <p:sp>
            <p:nvSpPr>
              <p:cNvPr id="96" name="Oval 41"/>
              <p:cNvSpPr>
                <a:spLocks noChangeAspect="1" noChangeArrowheads="1"/>
              </p:cNvSpPr>
              <p:nvPr>
                <p:custDataLst>
                  <p:tags r:id="rId25"/>
                </p:custDataLst>
              </p:nvPr>
            </p:nvSpPr>
            <p:spPr bwMode="gray">
              <a:xfrm>
                <a:off x="1694" y="2051"/>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97" name="Arc 42"/>
              <p:cNvSpPr>
                <a:spLocks noChangeAspect="1"/>
              </p:cNvSpPr>
              <p:nvPr>
                <p:custDataLst>
                  <p:tags r:id="rId26"/>
                </p:custDataLst>
              </p:nvPr>
            </p:nvSpPr>
            <p:spPr bwMode="gray">
              <a:xfrm>
                <a:off x="1694" y="2051"/>
                <a:ext cx="160" cy="160"/>
              </a:xfrm>
              <a:prstGeom prst="arc">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grpSp>
        <p:grpSp>
          <p:nvGrpSpPr>
            <p:cNvPr id="82" name="MoonLegend4"/>
            <p:cNvGrpSpPr>
              <a:grpSpLocks noChangeAspect="1"/>
            </p:cNvGrpSpPr>
            <p:nvPr>
              <p:custDataLst>
                <p:tags r:id="rId11"/>
              </p:custDataLst>
            </p:nvPr>
          </p:nvGrpSpPr>
          <p:grpSpPr bwMode="gray">
            <a:xfrm>
              <a:off x="5894005" y="3524395"/>
              <a:ext cx="209550" cy="209551"/>
              <a:chOff x="4495" y="1204"/>
              <a:chExt cx="160" cy="160"/>
            </a:xfrm>
          </p:grpSpPr>
          <p:sp>
            <p:nvSpPr>
              <p:cNvPr id="94" name="Oval 47"/>
              <p:cNvSpPr>
                <a:spLocks noChangeAspect="1" noChangeArrowheads="1"/>
              </p:cNvSpPr>
              <p:nvPr>
                <p:custDataLst>
                  <p:tags r:id="rId23"/>
                </p:custDataLst>
              </p:nvPr>
            </p:nvSpPr>
            <p:spPr bwMode="gray">
              <a:xfrm>
                <a:off x="4495" y="120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95" name="Arc 48"/>
              <p:cNvSpPr>
                <a:spLocks noChangeAspect="1"/>
              </p:cNvSpPr>
              <p:nvPr>
                <p:custDataLst>
                  <p:tags r:id="rId24"/>
                </p:custDataLst>
              </p:nvPr>
            </p:nvSpPr>
            <p:spPr bwMode="gray">
              <a:xfrm>
                <a:off x="4495" y="1204"/>
                <a:ext cx="160" cy="160"/>
              </a:xfrm>
              <a:prstGeom prst="arc">
                <a:avLst>
                  <a:gd name="adj1" fmla="val 16200000"/>
                  <a:gd name="adj2" fmla="val 108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grpSp>
        <p:grpSp>
          <p:nvGrpSpPr>
            <p:cNvPr id="83" name="MoonLegend5"/>
            <p:cNvGrpSpPr>
              <a:grpSpLocks noChangeAspect="1"/>
            </p:cNvGrpSpPr>
            <p:nvPr>
              <p:custDataLst>
                <p:tags r:id="rId12"/>
              </p:custDataLst>
            </p:nvPr>
          </p:nvGrpSpPr>
          <p:grpSpPr bwMode="gray">
            <a:xfrm>
              <a:off x="5894005" y="3799629"/>
              <a:ext cx="209550" cy="209551"/>
              <a:chOff x="4495" y="1447"/>
              <a:chExt cx="160" cy="160"/>
            </a:xfrm>
          </p:grpSpPr>
          <p:sp>
            <p:nvSpPr>
              <p:cNvPr id="92" name="Oval 50"/>
              <p:cNvSpPr>
                <a:spLocks noChangeAspect="1" noChangeArrowheads="1"/>
              </p:cNvSpPr>
              <p:nvPr>
                <p:custDataLst>
                  <p:tags r:id="rId21"/>
                </p:custDataLst>
              </p:nvPr>
            </p:nvSpPr>
            <p:spPr bwMode="gray">
              <a:xfrm>
                <a:off x="4495" y="1447"/>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93" name="Oval 51"/>
              <p:cNvSpPr>
                <a:spLocks noChangeAspect="1" noChangeArrowheads="1"/>
              </p:cNvSpPr>
              <p:nvPr>
                <p:custDataLst>
                  <p:tags r:id="rId22"/>
                </p:custDataLst>
              </p:nvPr>
            </p:nvSpPr>
            <p:spPr bwMode="gray">
              <a:xfrm>
                <a:off x="4495" y="1447"/>
                <a:ext cx="160" cy="160"/>
              </a:xfrm>
              <a:prstGeom prst="arc">
                <a:avLst>
                  <a:gd name="adj1" fmla="val 16200000"/>
                  <a:gd name="adj2" fmla="val 162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grpSp>
        <p:grpSp>
          <p:nvGrpSpPr>
            <p:cNvPr id="84" name="MoonLegend3"/>
            <p:cNvGrpSpPr>
              <a:grpSpLocks noChangeAspect="1"/>
            </p:cNvGrpSpPr>
            <p:nvPr>
              <p:custDataLst>
                <p:tags r:id="rId13"/>
              </p:custDataLst>
            </p:nvPr>
          </p:nvGrpSpPr>
          <p:grpSpPr bwMode="gray">
            <a:xfrm>
              <a:off x="5894005" y="3251543"/>
              <a:ext cx="209550" cy="209551"/>
              <a:chOff x="4495" y="1205"/>
              <a:chExt cx="160" cy="160"/>
            </a:xfrm>
          </p:grpSpPr>
          <p:sp>
            <p:nvSpPr>
              <p:cNvPr id="90" name="Oval 47"/>
              <p:cNvSpPr>
                <a:spLocks noChangeAspect="1" noChangeArrowheads="1"/>
              </p:cNvSpPr>
              <p:nvPr>
                <p:custDataLst>
                  <p:tags r:id="rId19"/>
                </p:custDataLst>
              </p:nvPr>
            </p:nvSpPr>
            <p:spPr bwMode="gray">
              <a:xfrm>
                <a:off x="4495" y="1205"/>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91" name="Arc 48"/>
              <p:cNvSpPr>
                <a:spLocks noChangeAspect="1"/>
              </p:cNvSpPr>
              <p:nvPr>
                <p:custDataLst>
                  <p:tags r:id="rId20"/>
                </p:custDataLst>
              </p:nvPr>
            </p:nvSpPr>
            <p:spPr bwMode="gray">
              <a:xfrm>
                <a:off x="4495" y="1205"/>
                <a:ext cx="160" cy="160"/>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grpSp>
        <p:sp>
          <p:nvSpPr>
            <p:cNvPr id="85" name="Legend1"/>
            <p:cNvSpPr>
              <a:spLocks noChangeArrowheads="1"/>
            </p:cNvSpPr>
            <p:nvPr>
              <p:custDataLst>
                <p:tags r:id="rId14"/>
              </p:custDataLst>
            </p:nvPr>
          </p:nvSpPr>
          <p:spPr bwMode="gray">
            <a:xfrm>
              <a:off x="6214680" y="2696542"/>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sp>
          <p:nvSpPr>
            <p:cNvPr id="86" name="Legend2"/>
            <p:cNvSpPr>
              <a:spLocks noChangeArrowheads="1"/>
            </p:cNvSpPr>
            <p:nvPr>
              <p:custDataLst>
                <p:tags r:id="rId15"/>
              </p:custDataLst>
            </p:nvPr>
          </p:nvSpPr>
          <p:spPr bwMode="gray">
            <a:xfrm>
              <a:off x="6214680" y="2974156"/>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a:latin typeface="+mn-lt"/>
                  <a:ea typeface="+mn-ea"/>
                </a:rPr>
                <a:t>Legend</a:t>
              </a:r>
              <a:endParaRPr lang="en-US" sz="1400" baseline="0" dirty="0">
                <a:latin typeface="+mn-lt"/>
                <a:ea typeface="+mn-ea"/>
              </a:endParaRPr>
            </a:p>
          </p:txBody>
        </p:sp>
        <p:sp>
          <p:nvSpPr>
            <p:cNvPr id="87" name="Legend3"/>
            <p:cNvSpPr>
              <a:spLocks noChangeArrowheads="1"/>
            </p:cNvSpPr>
            <p:nvPr>
              <p:custDataLst>
                <p:tags r:id="rId16"/>
              </p:custDataLst>
            </p:nvPr>
          </p:nvSpPr>
          <p:spPr bwMode="gray">
            <a:xfrm>
              <a:off x="6214680" y="3248596"/>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sp>
          <p:nvSpPr>
            <p:cNvPr id="88" name="Legend4"/>
            <p:cNvSpPr>
              <a:spLocks noChangeArrowheads="1"/>
            </p:cNvSpPr>
            <p:nvPr>
              <p:custDataLst>
                <p:tags r:id="rId17"/>
              </p:custDataLst>
            </p:nvPr>
          </p:nvSpPr>
          <p:spPr bwMode="gray">
            <a:xfrm>
              <a:off x="6214680" y="3521448"/>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sp>
          <p:nvSpPr>
            <p:cNvPr id="89" name="Legend5"/>
            <p:cNvSpPr>
              <a:spLocks noChangeArrowheads="1"/>
            </p:cNvSpPr>
            <p:nvPr>
              <p:custDataLst>
                <p:tags r:id="rId18"/>
              </p:custDataLst>
            </p:nvPr>
          </p:nvSpPr>
          <p:spPr bwMode="gray">
            <a:xfrm>
              <a:off x="6214680" y="3796682"/>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a:latin typeface="+mn-lt"/>
                  <a:ea typeface="+mn-ea"/>
                </a:rPr>
                <a:t>Legend</a:t>
              </a:r>
              <a:endParaRPr lang="en-US" sz="1400" baseline="0" dirty="0">
                <a:latin typeface="+mn-lt"/>
                <a:ea typeface="+mn-ea"/>
              </a:endParaRPr>
            </a:p>
          </p:txBody>
        </p:sp>
      </p:grpSp>
    </p:spTree>
    <p:extLst>
      <p:ext uri="{BB962C8B-B14F-4D97-AF65-F5344CB8AC3E}">
        <p14:creationId xmlns:p14="http://schemas.microsoft.com/office/powerpoint/2010/main" val="3563096495"/>
      </p:ext>
    </p:extLst>
  </p:cSld>
  <p:clrMap bg1="lt1" tx1="dk1" bg2="lt2" tx2="dk2" accent1="accent1" accent2="accent2" accent3="accent3" accent4="accent4" accent5="accent5" accent6="accent6" hlink="hlink" folHlink="folHlink"/>
  <p:sldLayoutIdLst>
    <p:sldLayoutId id="2147483776" r:id="rId1"/>
    <p:sldLayoutId id="2147483777" r:id="rId2"/>
    <p:sldLayoutId id="2147483778" r:id="rId3"/>
    <p:sldLayoutId id="2147483779" r:id="rId4"/>
  </p:sldLayoutIdLst>
  <p:txStyles>
    <p:titleStyle>
      <a:lvl1pPr algn="l" defTabSz="895350" rtl="0" eaLnBrk="1" fontAlgn="base" hangingPunct="1">
        <a:spcBef>
          <a:spcPct val="0"/>
        </a:spcBef>
        <a:spcAft>
          <a:spcPct val="0"/>
        </a:spcAft>
        <a:tabLst>
          <a:tab pos="269875" algn="l"/>
        </a:tabLst>
        <a:defRPr sz="2000" b="0" baseline="0">
          <a:solidFill>
            <a:schemeClr val="tx2"/>
          </a:solidFill>
          <a:latin typeface="+mj-lt"/>
          <a:ea typeface="+mj-ea"/>
          <a:cs typeface="+mj-cs"/>
        </a:defRPr>
      </a:lvl1pPr>
      <a:lvl2pPr algn="l" defTabSz="895350" rtl="0" eaLnBrk="1" fontAlgn="base" hangingPunct="1">
        <a:spcBef>
          <a:spcPct val="0"/>
        </a:spcBef>
        <a:spcAft>
          <a:spcPct val="0"/>
        </a:spcAft>
        <a:defRPr sz="1900" b="1">
          <a:solidFill>
            <a:schemeClr val="tx2"/>
          </a:solidFill>
          <a:latin typeface="Arial" charset="0"/>
        </a:defRPr>
      </a:lvl2pPr>
      <a:lvl3pPr algn="l" defTabSz="895350" rtl="0" eaLnBrk="1" fontAlgn="base" hangingPunct="1">
        <a:spcBef>
          <a:spcPct val="0"/>
        </a:spcBef>
        <a:spcAft>
          <a:spcPct val="0"/>
        </a:spcAft>
        <a:defRPr sz="1900" b="1">
          <a:solidFill>
            <a:schemeClr val="tx2"/>
          </a:solidFill>
          <a:latin typeface="Arial" charset="0"/>
        </a:defRPr>
      </a:lvl3pPr>
      <a:lvl4pPr algn="l" defTabSz="895350" rtl="0" eaLnBrk="1" fontAlgn="base" hangingPunct="1">
        <a:spcBef>
          <a:spcPct val="0"/>
        </a:spcBef>
        <a:spcAft>
          <a:spcPct val="0"/>
        </a:spcAft>
        <a:defRPr sz="1900" b="1">
          <a:solidFill>
            <a:schemeClr val="tx2"/>
          </a:solidFill>
          <a:latin typeface="Arial" charset="0"/>
        </a:defRPr>
      </a:lvl4pPr>
      <a:lvl5pPr algn="l" defTabSz="895350" rtl="0" eaLnBrk="1" fontAlgn="base" hangingPunct="1">
        <a:spcBef>
          <a:spcPct val="0"/>
        </a:spcBef>
        <a:spcAft>
          <a:spcPct val="0"/>
        </a:spcAft>
        <a:defRPr sz="1900" b="1">
          <a:solidFill>
            <a:schemeClr val="tx2"/>
          </a:solidFill>
          <a:latin typeface="Arial" charset="0"/>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p:titleStyle>
    <p:bodyStyle>
      <a:lvl1pPr marL="0" indent="0" algn="l" defTabSz="895350" rtl="0" eaLnBrk="1" fontAlgn="base" hangingPunct="1">
        <a:spcBef>
          <a:spcPct val="0"/>
        </a:spcBef>
        <a:spcAft>
          <a:spcPct val="0"/>
        </a:spcAft>
        <a:buClr>
          <a:schemeClr val="tx2"/>
        </a:buClr>
        <a:buSzPct val="100000"/>
        <a:defRPr sz="14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4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4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4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4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ext>
  </p:extLst>
</p:sldMaster>
</file>

<file path=ppt/slideMasters/slideMaster2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7"/>
            </p:custDataLst>
            <p:extLst>
              <p:ext uri="{D42A27DB-BD31-4B8C-83A1-F6EECF244321}">
                <p14:modId xmlns:p14="http://schemas.microsoft.com/office/powerpoint/2010/main" val="2307764481"/>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13684" name="think-cell Slide" r:id="rId36" imgW="270" imgH="270" progId="TCLayout.ActiveDocument.1">
                  <p:embed/>
                </p:oleObj>
              </mc:Choice>
              <mc:Fallback>
                <p:oleObj name="think-cell Slide" r:id="rId36" imgW="270" imgH="270" progId="TCLayout.ActiveDocument.1">
                  <p:embed/>
                  <p:pic>
                    <p:nvPicPr>
                      <p:cNvPr id="2" name="Object 1" hidden="1"/>
                      <p:cNvPicPr/>
                      <p:nvPr/>
                    </p:nvPicPr>
                    <p:blipFill>
                      <a:blip r:embed="rId37"/>
                      <a:stretch>
                        <a:fillRect/>
                      </a:stretch>
                    </p:blipFill>
                    <p:spPr>
                      <a:xfrm>
                        <a:off x="0" y="0"/>
                        <a:ext cx="158750" cy="158750"/>
                      </a:xfrm>
                      <a:prstGeom prst="rect">
                        <a:avLst/>
                      </a:prstGeom>
                    </p:spPr>
                  </p:pic>
                </p:oleObj>
              </mc:Fallback>
            </mc:AlternateContent>
          </a:graphicData>
        </a:graphic>
      </p:graphicFrame>
      <p:sp>
        <p:nvSpPr>
          <p:cNvPr id="6" name="Rectangle 5" hidden="1"/>
          <p:cNvSpPr/>
          <p:nvPr>
            <p:custDataLst>
              <p:tags r:id="rId8"/>
            </p:custDataLst>
          </p:nvPr>
        </p:nvSpPr>
        <p:spPr bwMode="auto">
          <a:xfrm>
            <a:off x="0" y="0"/>
            <a:ext cx="158750" cy="158750"/>
          </a:xfrm>
          <a:prstGeom prst="rect">
            <a:avLst/>
          </a:prstGeom>
          <a:solidFill>
            <a:schemeClr val="bg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dirty="0">
              <a:solidFill>
                <a:srgbClr val="000000"/>
              </a:solidFill>
              <a:sym typeface="Arial" panose="020B0604020202020204" pitchFamily="34" charset="0"/>
            </a:endParaRPr>
          </a:p>
        </p:txBody>
      </p:sp>
      <p:sp>
        <p:nvSpPr>
          <p:cNvPr id="1034" name="Working Draft" hidden="1"/>
          <p:cNvSpPr txBox="1">
            <a:spLocks noChangeArrowheads="1"/>
          </p:cNvSpPr>
          <p:nvPr/>
        </p:nvSpPr>
        <p:spPr bwMode="gray">
          <a:xfrm rot="5400000">
            <a:off x="7966656" y="1940591"/>
            <a:ext cx="1849865"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600" baseline="0">
                <a:solidFill>
                  <a:srgbClr val="808080"/>
                </a:solidFill>
                <a:latin typeface="+mn-lt"/>
                <a:ea typeface="+mn-ea"/>
              </a:rPr>
              <a:t>Last Modified 21/05/2018 17:44 India Standard Time</a:t>
            </a:r>
            <a:endParaRPr lang="en-US" baseline="0" dirty="0">
              <a:solidFill>
                <a:srgbClr val="808080"/>
              </a:solidFill>
              <a:latin typeface="+mn-lt"/>
              <a:ea typeface="+mn-ea"/>
            </a:endParaRPr>
          </a:p>
        </p:txBody>
      </p:sp>
      <p:sp>
        <p:nvSpPr>
          <p:cNvPr id="1035" name="Printed" hidden="1"/>
          <p:cNvSpPr txBox="1">
            <a:spLocks noChangeArrowheads="1"/>
          </p:cNvSpPr>
          <p:nvPr/>
        </p:nvSpPr>
        <p:spPr bwMode="gray">
          <a:xfrm rot="5400000">
            <a:off x="8768958" y="4114417"/>
            <a:ext cx="245260"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600" baseline="0" dirty="0">
                <a:solidFill>
                  <a:srgbClr val="808080"/>
                </a:solidFill>
                <a:latin typeface="+mn-lt"/>
                <a:ea typeface="+mn-ea"/>
              </a:rPr>
              <a:t>Printed</a:t>
            </a:r>
            <a:endParaRPr lang="en-US" baseline="0" dirty="0">
              <a:solidFill>
                <a:srgbClr val="808080"/>
              </a:solidFill>
              <a:latin typeface="+mn-lt"/>
              <a:ea typeface="+mn-ea"/>
            </a:endParaRPr>
          </a:p>
        </p:txBody>
      </p:sp>
      <p:sp>
        <p:nvSpPr>
          <p:cNvPr id="19" name="Title Placeholder 2"/>
          <p:cNvSpPr>
            <a:spLocks noGrp="1" noChangeArrowheads="1"/>
          </p:cNvSpPr>
          <p:nvPr>
            <p:ph type="title"/>
          </p:nvPr>
        </p:nvSpPr>
        <p:spPr bwMode="gray">
          <a:xfrm>
            <a:off x="119063" y="230188"/>
            <a:ext cx="8618537"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latinLnBrk="0"/>
            <a:r>
              <a:rPr lang="en-US"/>
              <a:t>Click to edit Master title style</a:t>
            </a:r>
            <a:endParaRPr lang="en-US" noProof="0" dirty="0"/>
          </a:p>
        </p:txBody>
      </p:sp>
      <p:sp>
        <p:nvSpPr>
          <p:cNvPr id="10" name="1. On-page tracker" hidden="1"/>
          <p:cNvSpPr>
            <a:spLocks noChangeArrowheads="1"/>
          </p:cNvSpPr>
          <p:nvPr/>
        </p:nvSpPr>
        <p:spPr bwMode="gray">
          <a:xfrm>
            <a:off x="119063" y="75764"/>
            <a:ext cx="490519"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800" cap="all" baseline="0" dirty="0">
                <a:solidFill>
                  <a:schemeClr val="accent6"/>
                </a:solidFill>
                <a:latin typeface="+mn-lt"/>
                <a:ea typeface="+mn-ea"/>
              </a:rPr>
              <a:t>Tracker</a:t>
            </a:r>
          </a:p>
        </p:txBody>
      </p:sp>
      <p:sp>
        <p:nvSpPr>
          <p:cNvPr id="11" name="3. Unit of measure" hidden="1"/>
          <p:cNvSpPr txBox="1">
            <a:spLocks noChangeArrowheads="1"/>
          </p:cNvSpPr>
          <p:nvPr/>
        </p:nvSpPr>
        <p:spPr bwMode="gray">
          <a:xfrm>
            <a:off x="119063" y="554865"/>
            <a:ext cx="8618537"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600" baseline="0" dirty="0">
                <a:solidFill>
                  <a:schemeClr val="accent6"/>
                </a:solidFill>
                <a:latin typeface="+mn-lt"/>
                <a:ea typeface="+mn-ea"/>
              </a:rPr>
              <a:t>Unit of measure</a:t>
            </a:r>
          </a:p>
        </p:txBody>
      </p:sp>
      <p:grpSp>
        <p:nvGrpSpPr>
          <p:cNvPr id="4" name="Slide Elements" hidden="1"/>
          <p:cNvGrpSpPr/>
          <p:nvPr/>
        </p:nvGrpSpPr>
        <p:grpSpPr bwMode="gray">
          <a:xfrm>
            <a:off x="119063" y="6305945"/>
            <a:ext cx="8618537" cy="325438"/>
            <a:chOff x="119063" y="6305945"/>
            <a:chExt cx="8618537" cy="325438"/>
          </a:xfrm>
        </p:grpSpPr>
        <p:sp>
          <p:nvSpPr>
            <p:cNvPr id="13" name="4. Footnote"/>
            <p:cNvSpPr txBox="1">
              <a:spLocks noChangeArrowheads="1"/>
            </p:cNvSpPr>
            <p:nvPr/>
          </p:nvSpPr>
          <p:spPr bwMode="gray">
            <a:xfrm>
              <a:off x="119063" y="6305945"/>
              <a:ext cx="8618537" cy="123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800" baseline="0" dirty="0">
                  <a:solidFill>
                    <a:schemeClr val="accent6"/>
                  </a:solidFill>
                  <a:latin typeface="+mn-lt"/>
                  <a:ea typeface="+mn-ea"/>
                </a:rPr>
                <a:t>1 Footnote</a:t>
              </a:r>
            </a:p>
          </p:txBody>
        </p:sp>
        <p:sp>
          <p:nvSpPr>
            <p:cNvPr id="14" name="5. Source"/>
            <p:cNvSpPr>
              <a:spLocks noChangeArrowheads="1"/>
            </p:cNvSpPr>
            <p:nvPr/>
          </p:nvSpPr>
          <p:spPr bwMode="gray">
            <a:xfrm>
              <a:off x="119063" y="6507558"/>
              <a:ext cx="7200000" cy="123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marL="609600" indent="-609600" defTabSz="895350">
                <a:tabLst>
                  <a:tab pos="612775" algn="l"/>
                </a:tabLst>
              </a:pPr>
              <a:r>
                <a:rPr lang="en-US" sz="800" baseline="0" dirty="0">
                  <a:solidFill>
                    <a:schemeClr val="accent6"/>
                  </a:solidFill>
                  <a:latin typeface="+mn-lt"/>
                  <a:ea typeface="+mn-ea"/>
                </a:rPr>
                <a:t>SOURCE: Source</a:t>
              </a:r>
            </a:p>
          </p:txBody>
        </p:sp>
      </p:grpSp>
      <p:sp>
        <p:nvSpPr>
          <p:cNvPr id="3" name="Text Placeholder 2"/>
          <p:cNvSpPr>
            <a:spLocks noGrp="1"/>
          </p:cNvSpPr>
          <p:nvPr>
            <p:ph type="body" idx="1"/>
          </p:nvPr>
        </p:nvSpPr>
        <p:spPr bwMode="gray">
          <a:xfrm>
            <a:off x="1452564" y="1951380"/>
            <a:ext cx="4302125" cy="1077218"/>
          </a:xfrm>
          <a:prstGeom prst="rect">
            <a:avLst/>
          </a:prstGeom>
        </p:spPr>
        <p:txBody>
          <a:bodyPr vert="horz" lIns="0" tIns="0" rIns="0" bIns="0" rtlCol="0">
            <a:spAutoFit/>
          </a:bodyPr>
          <a:lstStyle/>
          <a:p>
            <a:pPr lvl="0" latinLnBrk="0"/>
            <a:r>
              <a:rPr lang="en-US"/>
              <a:t>Edit Master text styles</a:t>
            </a:r>
          </a:p>
          <a:p>
            <a:pPr lvl="1" latinLnBrk="0"/>
            <a:r>
              <a:rPr lang="en-US"/>
              <a:t>Second level</a:t>
            </a:r>
          </a:p>
          <a:p>
            <a:pPr lvl="2" latinLnBrk="0"/>
            <a:r>
              <a:rPr lang="en-US"/>
              <a:t>Third level</a:t>
            </a:r>
          </a:p>
          <a:p>
            <a:pPr lvl="3" latinLnBrk="0"/>
            <a:r>
              <a:rPr lang="en-US"/>
              <a:t>Fourth level</a:t>
            </a:r>
          </a:p>
          <a:p>
            <a:pPr lvl="4" latinLnBrk="0"/>
            <a:r>
              <a:rPr lang="en-US"/>
              <a:t>Fifth level</a:t>
            </a:r>
            <a:endParaRPr lang="en-US" dirty="0"/>
          </a:p>
        </p:txBody>
      </p:sp>
      <p:grpSp>
        <p:nvGrpSpPr>
          <p:cNvPr id="15" name="ACET" hidden="1"/>
          <p:cNvGrpSpPr>
            <a:grpSpLocks/>
          </p:cNvGrpSpPr>
          <p:nvPr/>
        </p:nvGrpSpPr>
        <p:grpSpPr bwMode="gray">
          <a:xfrm>
            <a:off x="1452563" y="1257754"/>
            <a:ext cx="4264025" cy="508000"/>
            <a:chOff x="915" y="710"/>
            <a:chExt cx="2686" cy="320"/>
          </a:xfrm>
        </p:grpSpPr>
        <p:cxnSp>
          <p:nvCxnSpPr>
            <p:cNvPr id="16" name="AutoShape 249"/>
            <p:cNvCxnSpPr>
              <a:cxnSpLocks noChangeShapeType="1"/>
              <a:stCxn id="18" idx="4"/>
              <a:endCxn id="18" idx="6"/>
            </p:cNvCxnSpPr>
            <p:nvPr/>
          </p:nvCxnSpPr>
          <p:spPr bwMode="gray">
            <a:xfrm>
              <a:off x="915" y="1030"/>
              <a:ext cx="2686" cy="0"/>
            </a:xfrm>
            <a:prstGeom prst="straightConnector1">
              <a:avLst/>
            </a:prstGeom>
            <a:noFill/>
            <a:ln w="9525">
              <a:solidFill>
                <a:schemeClr val="accent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8" name="AutoShape 250"/>
            <p:cNvSpPr>
              <a:spLocks noChangeArrowheads="1"/>
            </p:cNvSpPr>
            <p:nvPr/>
          </p:nvSpPr>
          <p:spPr bwMode="gray">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US" b="1" baseline="0" dirty="0">
                  <a:solidFill>
                    <a:srgbClr val="000000"/>
                  </a:solidFill>
                  <a:latin typeface="+mn-lt"/>
                  <a:ea typeface="+mn-ea"/>
                </a:rPr>
                <a:t>Title</a:t>
              </a:r>
            </a:p>
            <a:p>
              <a:r>
                <a:rPr lang="en-US" baseline="0" dirty="0">
                  <a:solidFill>
                    <a:schemeClr val="accent6"/>
                  </a:solidFill>
                  <a:latin typeface="+mn-lt"/>
                  <a:ea typeface="+mn-ea"/>
                </a:rPr>
                <a:t>Unit of measure</a:t>
              </a:r>
            </a:p>
          </p:txBody>
        </p:sp>
      </p:grpSp>
      <p:grpSp>
        <p:nvGrpSpPr>
          <p:cNvPr id="17" name="McKSticker" hidden="1"/>
          <p:cNvGrpSpPr/>
          <p:nvPr/>
        </p:nvGrpSpPr>
        <p:grpSpPr bwMode="gray">
          <a:xfrm>
            <a:off x="8264265" y="285750"/>
            <a:ext cx="473335" cy="150811"/>
            <a:chOff x="8267440" y="285750"/>
            <a:chExt cx="473335" cy="150811"/>
          </a:xfrm>
        </p:grpSpPr>
        <p:sp>
          <p:nvSpPr>
            <p:cNvPr id="20" name="StickerRectangle"/>
            <p:cNvSpPr>
              <a:spLocks noChangeArrowheads="1"/>
            </p:cNvSpPr>
            <p:nvPr/>
          </p:nvSpPr>
          <p:spPr bwMode="gray">
            <a:xfrm>
              <a:off x="8267440" y="285750"/>
              <a:ext cx="473335" cy="150811"/>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a:buClr>
                  <a:srgbClr val="002960"/>
                </a:buClr>
              </a:pPr>
              <a:r>
                <a:rPr lang="en-US" sz="800" baseline="0" dirty="0">
                  <a:solidFill>
                    <a:schemeClr val="accent6"/>
                  </a:solidFill>
                  <a:latin typeface="+mn-lt"/>
                  <a:ea typeface="+mn-ea"/>
                </a:rPr>
                <a:t>STICKER</a:t>
              </a:r>
            </a:p>
          </p:txBody>
        </p:sp>
        <p:cxnSp>
          <p:nvCxnSpPr>
            <p:cNvPr id="21" name="AutoShape 31"/>
            <p:cNvCxnSpPr>
              <a:cxnSpLocks noChangeShapeType="1"/>
              <a:stCxn id="20" idx="2"/>
              <a:endCxn id="20" idx="4"/>
            </p:cNvCxnSpPr>
            <p:nvPr/>
          </p:nvCxnSpPr>
          <p:spPr bwMode="gray">
            <a:xfrm>
              <a:off x="8267440" y="285750"/>
              <a:ext cx="0" cy="150811"/>
            </a:xfrm>
            <a:prstGeom prst="straightConnector1">
              <a:avLst/>
            </a:prstGeom>
            <a:noFill/>
            <a:ln w="9525">
              <a:solidFill>
                <a:schemeClr val="accent6"/>
              </a:solidFill>
              <a:round/>
              <a:headEnd/>
              <a:tailEnd/>
            </a:ln>
            <a:extLst>
              <a:ext uri="{909E8E84-426E-40DD-AFC4-6F175D3DCCD1}">
                <a14:hiddenFill xmlns:a14="http://schemas.microsoft.com/office/drawing/2010/main">
                  <a:noFill/>
                </a14:hiddenFill>
              </a:ext>
            </a:extLst>
          </p:spPr>
        </p:cxnSp>
        <p:cxnSp>
          <p:nvCxnSpPr>
            <p:cNvPr id="22" name="AutoShape 32"/>
            <p:cNvCxnSpPr>
              <a:cxnSpLocks noChangeShapeType="1"/>
              <a:stCxn id="20" idx="4"/>
              <a:endCxn id="20" idx="6"/>
            </p:cNvCxnSpPr>
            <p:nvPr/>
          </p:nvCxnSpPr>
          <p:spPr bwMode="gray">
            <a:xfrm>
              <a:off x="8267440" y="436561"/>
              <a:ext cx="473335" cy="0"/>
            </a:xfrm>
            <a:prstGeom prst="straightConnector1">
              <a:avLst/>
            </a:prstGeom>
            <a:noFill/>
            <a:ln w="25400">
              <a:solidFill>
                <a:schemeClr val="accent6"/>
              </a:solidFill>
              <a:round/>
              <a:headEnd/>
              <a:tailEnd/>
            </a:ln>
            <a:extLst>
              <a:ext uri="{909E8E84-426E-40DD-AFC4-6F175D3DCCD1}">
                <a14:hiddenFill xmlns:a14="http://schemas.microsoft.com/office/drawing/2010/main">
                  <a:noFill/>
                </a14:hiddenFill>
              </a:ext>
            </a:extLst>
          </p:spPr>
        </p:cxnSp>
      </p:grpSp>
      <p:sp>
        <p:nvSpPr>
          <p:cNvPr id="23" name="SlideBottomBar" hidden="1"/>
          <p:cNvSpPr/>
          <p:nvPr/>
        </p:nvSpPr>
        <p:spPr>
          <a:xfrm>
            <a:off x="8437547" y="6182120"/>
            <a:ext cx="45719" cy="123825"/>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aseline="0" dirty="0">
              <a:solidFill>
                <a:schemeClr val="tx1"/>
              </a:solidFill>
              <a:latin typeface="+mn-lt"/>
              <a:ea typeface="+mn-ea"/>
            </a:endParaRPr>
          </a:p>
        </p:txBody>
      </p:sp>
      <p:sp>
        <p:nvSpPr>
          <p:cNvPr id="24" name="doc id" hidden="1"/>
          <p:cNvSpPr txBox="1">
            <a:spLocks noChangeArrowheads="1"/>
          </p:cNvSpPr>
          <p:nvPr/>
        </p:nvSpPr>
        <p:spPr bwMode="white">
          <a:xfrm>
            <a:off x="8104473" y="36513"/>
            <a:ext cx="634716" cy="115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hangingPunct="1">
              <a:defRPr/>
            </a:pPr>
            <a:endParaRPr lang="en-US" sz="800" baseline="0" dirty="0">
              <a:solidFill>
                <a:schemeClr val="accent1"/>
              </a:solidFill>
              <a:latin typeface="+mn-lt"/>
              <a:ea typeface="+mn-ea"/>
            </a:endParaRPr>
          </a:p>
        </p:txBody>
      </p:sp>
      <p:grpSp>
        <p:nvGrpSpPr>
          <p:cNvPr id="63" name="LegendLines" hidden="1"/>
          <p:cNvGrpSpPr/>
          <p:nvPr/>
        </p:nvGrpSpPr>
        <p:grpSpPr>
          <a:xfrm>
            <a:off x="7551589" y="267815"/>
            <a:ext cx="1158292" cy="761545"/>
            <a:chOff x="7607284" y="279400"/>
            <a:chExt cx="1158292" cy="761545"/>
          </a:xfrm>
        </p:grpSpPr>
        <p:sp>
          <p:nvSpPr>
            <p:cNvPr id="64" name="LineLegend1"/>
            <p:cNvSpPr>
              <a:spLocks noChangeShapeType="1"/>
            </p:cNvSpPr>
            <p:nvPr/>
          </p:nvSpPr>
          <p:spPr bwMode="gray">
            <a:xfrm>
              <a:off x="7607284" y="387122"/>
              <a:ext cx="457200"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65" name="LineLegend2"/>
            <p:cNvSpPr>
              <a:spLocks noChangeShapeType="1"/>
            </p:cNvSpPr>
            <p:nvPr/>
          </p:nvSpPr>
          <p:spPr bwMode="gray">
            <a:xfrm>
              <a:off x="7607284" y="653822"/>
              <a:ext cx="457200"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66" name="LineLegend3"/>
            <p:cNvSpPr>
              <a:spLocks noChangeShapeType="1"/>
            </p:cNvSpPr>
            <p:nvPr/>
          </p:nvSpPr>
          <p:spPr bwMode="gray">
            <a:xfrm>
              <a:off x="7607284" y="933223"/>
              <a:ext cx="457200"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67" name="Legend1"/>
            <p:cNvSpPr>
              <a:spLocks noChangeArrowheads="1"/>
            </p:cNvSpPr>
            <p:nvPr>
              <p:custDataLst>
                <p:tags r:id="rId33"/>
              </p:custDataLst>
            </p:nvPr>
          </p:nvSpPr>
          <p:spPr bwMode="gray">
            <a:xfrm>
              <a:off x="8169259" y="279400"/>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sp>
          <p:nvSpPr>
            <p:cNvPr id="68" name="Legend2"/>
            <p:cNvSpPr>
              <a:spLocks noChangeArrowheads="1"/>
            </p:cNvSpPr>
            <p:nvPr>
              <p:custDataLst>
                <p:tags r:id="rId34"/>
              </p:custDataLst>
            </p:nvPr>
          </p:nvSpPr>
          <p:spPr bwMode="gray">
            <a:xfrm>
              <a:off x="8169259" y="546100"/>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a:latin typeface="+mn-lt"/>
                  <a:ea typeface="+mn-ea"/>
                </a:rPr>
                <a:t>Legend</a:t>
              </a:r>
              <a:endParaRPr lang="en-US" sz="1400" baseline="0" dirty="0">
                <a:latin typeface="+mn-lt"/>
                <a:ea typeface="+mn-ea"/>
              </a:endParaRPr>
            </a:p>
          </p:txBody>
        </p:sp>
        <p:sp>
          <p:nvSpPr>
            <p:cNvPr id="69" name="Legend3"/>
            <p:cNvSpPr>
              <a:spLocks noChangeArrowheads="1"/>
            </p:cNvSpPr>
            <p:nvPr>
              <p:custDataLst>
                <p:tags r:id="rId35"/>
              </p:custDataLst>
            </p:nvPr>
          </p:nvSpPr>
          <p:spPr bwMode="gray">
            <a:xfrm>
              <a:off x="8169259" y="825501"/>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grpSp>
      <p:grpSp>
        <p:nvGrpSpPr>
          <p:cNvPr id="70" name="LegendBoxes" hidden="1"/>
          <p:cNvGrpSpPr/>
          <p:nvPr/>
        </p:nvGrpSpPr>
        <p:grpSpPr>
          <a:xfrm>
            <a:off x="7859564" y="267919"/>
            <a:ext cx="850317" cy="1028245"/>
            <a:chOff x="5894005" y="919828"/>
            <a:chExt cx="850317" cy="1028245"/>
          </a:xfrm>
        </p:grpSpPr>
        <p:sp>
          <p:nvSpPr>
            <p:cNvPr id="71" name="RectangleLegend1"/>
            <p:cNvSpPr>
              <a:spLocks noChangeArrowheads="1"/>
            </p:cNvSpPr>
            <p:nvPr/>
          </p:nvSpPr>
          <p:spPr bwMode="gray">
            <a:xfrm>
              <a:off x="5894005" y="947381"/>
              <a:ext cx="165100" cy="160338"/>
            </a:xfrm>
            <a:prstGeom prst="rect">
              <a:avLst/>
            </a:prstGeom>
            <a:solidFill>
              <a:schemeClr val="accent1"/>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72" name="RectangleLegend2"/>
            <p:cNvSpPr>
              <a:spLocks noChangeArrowheads="1"/>
            </p:cNvSpPr>
            <p:nvPr/>
          </p:nvSpPr>
          <p:spPr bwMode="gray">
            <a:xfrm>
              <a:off x="5894005" y="1217256"/>
              <a:ext cx="165100" cy="160338"/>
            </a:xfrm>
            <a:prstGeom prst="rect">
              <a:avLst/>
            </a:prstGeom>
            <a:solidFill>
              <a:schemeClr val="accent2"/>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73" name="RectangleLegend3"/>
            <p:cNvSpPr>
              <a:spLocks noChangeArrowheads="1"/>
            </p:cNvSpPr>
            <p:nvPr/>
          </p:nvSpPr>
          <p:spPr bwMode="gray">
            <a:xfrm>
              <a:off x="5894005" y="1488719"/>
              <a:ext cx="165100" cy="160338"/>
            </a:xfrm>
            <a:prstGeom prst="rect">
              <a:avLst/>
            </a:prstGeom>
            <a:solidFill>
              <a:schemeClr val="accent3"/>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74" name="RectangleLegend4"/>
            <p:cNvSpPr>
              <a:spLocks noChangeArrowheads="1"/>
            </p:cNvSpPr>
            <p:nvPr/>
          </p:nvSpPr>
          <p:spPr bwMode="gray">
            <a:xfrm>
              <a:off x="5894005" y="1760182"/>
              <a:ext cx="165100" cy="160338"/>
            </a:xfrm>
            <a:prstGeom prst="rect">
              <a:avLst/>
            </a:prstGeom>
            <a:solidFill>
              <a:schemeClr val="accent4"/>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75" name="Legend1"/>
            <p:cNvSpPr>
              <a:spLocks noChangeArrowheads="1"/>
            </p:cNvSpPr>
            <p:nvPr>
              <p:custDataLst>
                <p:tags r:id="rId29"/>
              </p:custDataLst>
            </p:nvPr>
          </p:nvSpPr>
          <p:spPr bwMode="gray">
            <a:xfrm>
              <a:off x="6148005" y="919828"/>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sp>
          <p:nvSpPr>
            <p:cNvPr id="76" name="Legend2"/>
            <p:cNvSpPr>
              <a:spLocks noChangeArrowheads="1"/>
            </p:cNvSpPr>
            <p:nvPr>
              <p:custDataLst>
                <p:tags r:id="rId30"/>
              </p:custDataLst>
            </p:nvPr>
          </p:nvSpPr>
          <p:spPr bwMode="gray">
            <a:xfrm>
              <a:off x="6148005" y="1189703"/>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sp>
          <p:nvSpPr>
            <p:cNvPr id="77" name="Legend3"/>
            <p:cNvSpPr>
              <a:spLocks noChangeArrowheads="1"/>
            </p:cNvSpPr>
            <p:nvPr>
              <p:custDataLst>
                <p:tags r:id="rId31"/>
              </p:custDataLst>
            </p:nvPr>
          </p:nvSpPr>
          <p:spPr bwMode="gray">
            <a:xfrm>
              <a:off x="6148005" y="1461166"/>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sp>
          <p:nvSpPr>
            <p:cNvPr id="78" name="Legend4"/>
            <p:cNvSpPr>
              <a:spLocks noChangeArrowheads="1"/>
            </p:cNvSpPr>
            <p:nvPr>
              <p:custDataLst>
                <p:tags r:id="rId32"/>
              </p:custDataLst>
            </p:nvPr>
          </p:nvSpPr>
          <p:spPr bwMode="gray">
            <a:xfrm>
              <a:off x="6148005" y="1732629"/>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grpSp>
      <p:grpSp>
        <p:nvGrpSpPr>
          <p:cNvPr id="79" name="LegendMoons" hidden="1"/>
          <p:cNvGrpSpPr/>
          <p:nvPr/>
        </p:nvGrpSpPr>
        <p:grpSpPr>
          <a:xfrm>
            <a:off x="7792889" y="267414"/>
            <a:ext cx="916992" cy="1317003"/>
            <a:chOff x="5894005" y="2695123"/>
            <a:chExt cx="916992" cy="1317003"/>
          </a:xfrm>
        </p:grpSpPr>
        <p:grpSp>
          <p:nvGrpSpPr>
            <p:cNvPr id="80" name="MoonLegend1"/>
            <p:cNvGrpSpPr>
              <a:grpSpLocks noChangeAspect="1"/>
            </p:cNvGrpSpPr>
            <p:nvPr>
              <p:custDataLst>
                <p:tags r:id="rId9"/>
              </p:custDataLst>
            </p:nvPr>
          </p:nvGrpSpPr>
          <p:grpSpPr bwMode="gray">
            <a:xfrm>
              <a:off x="5894005" y="2695123"/>
              <a:ext cx="209550" cy="218282"/>
              <a:chOff x="4533" y="183"/>
              <a:chExt cx="144" cy="150"/>
            </a:xfrm>
          </p:grpSpPr>
          <p:sp>
            <p:nvSpPr>
              <p:cNvPr id="98" name="Oval 97"/>
              <p:cNvSpPr>
                <a:spLocks noChangeAspect="1" noChangeArrowheads="1"/>
              </p:cNvSpPr>
              <p:nvPr>
                <p:custDataLst>
                  <p:tags r:id="rId27"/>
                </p:custDataLst>
              </p:nvPr>
            </p:nvSpPr>
            <p:spPr bwMode="gray">
              <a:xfrm>
                <a:off x="4533" y="189"/>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99" name="Arc 98" hidden="1"/>
              <p:cNvSpPr>
                <a:spLocks noChangeAspect="1"/>
              </p:cNvSpPr>
              <p:nvPr>
                <p:custDataLst>
                  <p:tags r:id="rId28"/>
                </p:custDataLst>
              </p:nvPr>
            </p:nvSpPr>
            <p:spPr bwMode="gray">
              <a:xfrm>
                <a:off x="4533" y="183"/>
                <a:ext cx="144" cy="144"/>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grpSp>
        <p:grpSp>
          <p:nvGrpSpPr>
            <p:cNvPr id="81" name="MoonLegend2"/>
            <p:cNvGrpSpPr>
              <a:grpSpLocks noChangeAspect="1"/>
            </p:cNvGrpSpPr>
            <p:nvPr>
              <p:custDataLst>
                <p:tags r:id="rId10"/>
              </p:custDataLst>
            </p:nvPr>
          </p:nvGrpSpPr>
          <p:grpSpPr bwMode="gray">
            <a:xfrm>
              <a:off x="5894005" y="2977103"/>
              <a:ext cx="209550" cy="209551"/>
              <a:chOff x="1694" y="2051"/>
              <a:chExt cx="160" cy="160"/>
            </a:xfrm>
          </p:grpSpPr>
          <p:sp>
            <p:nvSpPr>
              <p:cNvPr id="96" name="Oval 41"/>
              <p:cNvSpPr>
                <a:spLocks noChangeAspect="1" noChangeArrowheads="1"/>
              </p:cNvSpPr>
              <p:nvPr>
                <p:custDataLst>
                  <p:tags r:id="rId25"/>
                </p:custDataLst>
              </p:nvPr>
            </p:nvSpPr>
            <p:spPr bwMode="gray">
              <a:xfrm>
                <a:off x="1694" y="2051"/>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97" name="Arc 42"/>
              <p:cNvSpPr>
                <a:spLocks noChangeAspect="1"/>
              </p:cNvSpPr>
              <p:nvPr>
                <p:custDataLst>
                  <p:tags r:id="rId26"/>
                </p:custDataLst>
              </p:nvPr>
            </p:nvSpPr>
            <p:spPr bwMode="gray">
              <a:xfrm>
                <a:off x="1694" y="2051"/>
                <a:ext cx="160" cy="160"/>
              </a:xfrm>
              <a:prstGeom prst="arc">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grpSp>
        <p:grpSp>
          <p:nvGrpSpPr>
            <p:cNvPr id="82" name="MoonLegend4"/>
            <p:cNvGrpSpPr>
              <a:grpSpLocks noChangeAspect="1"/>
            </p:cNvGrpSpPr>
            <p:nvPr>
              <p:custDataLst>
                <p:tags r:id="rId11"/>
              </p:custDataLst>
            </p:nvPr>
          </p:nvGrpSpPr>
          <p:grpSpPr bwMode="gray">
            <a:xfrm>
              <a:off x="5894005" y="3524395"/>
              <a:ext cx="209550" cy="209551"/>
              <a:chOff x="4495" y="1204"/>
              <a:chExt cx="160" cy="160"/>
            </a:xfrm>
          </p:grpSpPr>
          <p:sp>
            <p:nvSpPr>
              <p:cNvPr id="94" name="Oval 47"/>
              <p:cNvSpPr>
                <a:spLocks noChangeAspect="1" noChangeArrowheads="1"/>
              </p:cNvSpPr>
              <p:nvPr>
                <p:custDataLst>
                  <p:tags r:id="rId23"/>
                </p:custDataLst>
              </p:nvPr>
            </p:nvSpPr>
            <p:spPr bwMode="gray">
              <a:xfrm>
                <a:off x="4495" y="120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95" name="Arc 48"/>
              <p:cNvSpPr>
                <a:spLocks noChangeAspect="1"/>
              </p:cNvSpPr>
              <p:nvPr>
                <p:custDataLst>
                  <p:tags r:id="rId24"/>
                </p:custDataLst>
              </p:nvPr>
            </p:nvSpPr>
            <p:spPr bwMode="gray">
              <a:xfrm>
                <a:off x="4495" y="1204"/>
                <a:ext cx="160" cy="160"/>
              </a:xfrm>
              <a:prstGeom prst="arc">
                <a:avLst>
                  <a:gd name="adj1" fmla="val 16200000"/>
                  <a:gd name="adj2" fmla="val 108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grpSp>
        <p:grpSp>
          <p:nvGrpSpPr>
            <p:cNvPr id="83" name="MoonLegend5"/>
            <p:cNvGrpSpPr>
              <a:grpSpLocks noChangeAspect="1"/>
            </p:cNvGrpSpPr>
            <p:nvPr>
              <p:custDataLst>
                <p:tags r:id="rId12"/>
              </p:custDataLst>
            </p:nvPr>
          </p:nvGrpSpPr>
          <p:grpSpPr bwMode="gray">
            <a:xfrm>
              <a:off x="5894005" y="3799629"/>
              <a:ext cx="209550" cy="209551"/>
              <a:chOff x="4495" y="1447"/>
              <a:chExt cx="160" cy="160"/>
            </a:xfrm>
          </p:grpSpPr>
          <p:sp>
            <p:nvSpPr>
              <p:cNvPr id="92" name="Oval 50"/>
              <p:cNvSpPr>
                <a:spLocks noChangeAspect="1" noChangeArrowheads="1"/>
              </p:cNvSpPr>
              <p:nvPr>
                <p:custDataLst>
                  <p:tags r:id="rId21"/>
                </p:custDataLst>
              </p:nvPr>
            </p:nvSpPr>
            <p:spPr bwMode="gray">
              <a:xfrm>
                <a:off x="4495" y="1447"/>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93" name="Oval 51"/>
              <p:cNvSpPr>
                <a:spLocks noChangeAspect="1" noChangeArrowheads="1"/>
              </p:cNvSpPr>
              <p:nvPr>
                <p:custDataLst>
                  <p:tags r:id="rId22"/>
                </p:custDataLst>
              </p:nvPr>
            </p:nvSpPr>
            <p:spPr bwMode="gray">
              <a:xfrm>
                <a:off x="4495" y="1447"/>
                <a:ext cx="160" cy="160"/>
              </a:xfrm>
              <a:prstGeom prst="arc">
                <a:avLst>
                  <a:gd name="adj1" fmla="val 16200000"/>
                  <a:gd name="adj2" fmla="val 162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grpSp>
        <p:grpSp>
          <p:nvGrpSpPr>
            <p:cNvPr id="84" name="MoonLegend3"/>
            <p:cNvGrpSpPr>
              <a:grpSpLocks noChangeAspect="1"/>
            </p:cNvGrpSpPr>
            <p:nvPr>
              <p:custDataLst>
                <p:tags r:id="rId13"/>
              </p:custDataLst>
            </p:nvPr>
          </p:nvGrpSpPr>
          <p:grpSpPr bwMode="gray">
            <a:xfrm>
              <a:off x="5894005" y="3251543"/>
              <a:ext cx="209550" cy="209551"/>
              <a:chOff x="4495" y="1205"/>
              <a:chExt cx="160" cy="160"/>
            </a:xfrm>
          </p:grpSpPr>
          <p:sp>
            <p:nvSpPr>
              <p:cNvPr id="90" name="Oval 47"/>
              <p:cNvSpPr>
                <a:spLocks noChangeAspect="1" noChangeArrowheads="1"/>
              </p:cNvSpPr>
              <p:nvPr>
                <p:custDataLst>
                  <p:tags r:id="rId19"/>
                </p:custDataLst>
              </p:nvPr>
            </p:nvSpPr>
            <p:spPr bwMode="gray">
              <a:xfrm>
                <a:off x="4495" y="1205"/>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91" name="Arc 48"/>
              <p:cNvSpPr>
                <a:spLocks noChangeAspect="1"/>
              </p:cNvSpPr>
              <p:nvPr>
                <p:custDataLst>
                  <p:tags r:id="rId20"/>
                </p:custDataLst>
              </p:nvPr>
            </p:nvSpPr>
            <p:spPr bwMode="gray">
              <a:xfrm>
                <a:off x="4495" y="1205"/>
                <a:ext cx="160" cy="160"/>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grpSp>
        <p:sp>
          <p:nvSpPr>
            <p:cNvPr id="85" name="Legend1"/>
            <p:cNvSpPr>
              <a:spLocks noChangeArrowheads="1"/>
            </p:cNvSpPr>
            <p:nvPr>
              <p:custDataLst>
                <p:tags r:id="rId14"/>
              </p:custDataLst>
            </p:nvPr>
          </p:nvSpPr>
          <p:spPr bwMode="gray">
            <a:xfrm>
              <a:off x="6214680" y="2696542"/>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sp>
          <p:nvSpPr>
            <p:cNvPr id="86" name="Legend2"/>
            <p:cNvSpPr>
              <a:spLocks noChangeArrowheads="1"/>
            </p:cNvSpPr>
            <p:nvPr>
              <p:custDataLst>
                <p:tags r:id="rId15"/>
              </p:custDataLst>
            </p:nvPr>
          </p:nvSpPr>
          <p:spPr bwMode="gray">
            <a:xfrm>
              <a:off x="6214680" y="2974156"/>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a:latin typeface="+mn-lt"/>
                  <a:ea typeface="+mn-ea"/>
                </a:rPr>
                <a:t>Legend</a:t>
              </a:r>
              <a:endParaRPr lang="en-US" sz="1400" baseline="0" dirty="0">
                <a:latin typeface="+mn-lt"/>
                <a:ea typeface="+mn-ea"/>
              </a:endParaRPr>
            </a:p>
          </p:txBody>
        </p:sp>
        <p:sp>
          <p:nvSpPr>
            <p:cNvPr id="87" name="Legend3"/>
            <p:cNvSpPr>
              <a:spLocks noChangeArrowheads="1"/>
            </p:cNvSpPr>
            <p:nvPr>
              <p:custDataLst>
                <p:tags r:id="rId16"/>
              </p:custDataLst>
            </p:nvPr>
          </p:nvSpPr>
          <p:spPr bwMode="gray">
            <a:xfrm>
              <a:off x="6214680" y="3248596"/>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sp>
          <p:nvSpPr>
            <p:cNvPr id="88" name="Legend4"/>
            <p:cNvSpPr>
              <a:spLocks noChangeArrowheads="1"/>
            </p:cNvSpPr>
            <p:nvPr>
              <p:custDataLst>
                <p:tags r:id="rId17"/>
              </p:custDataLst>
            </p:nvPr>
          </p:nvSpPr>
          <p:spPr bwMode="gray">
            <a:xfrm>
              <a:off x="6214680" y="3521448"/>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sp>
          <p:nvSpPr>
            <p:cNvPr id="89" name="Legend5"/>
            <p:cNvSpPr>
              <a:spLocks noChangeArrowheads="1"/>
            </p:cNvSpPr>
            <p:nvPr>
              <p:custDataLst>
                <p:tags r:id="rId18"/>
              </p:custDataLst>
            </p:nvPr>
          </p:nvSpPr>
          <p:spPr bwMode="gray">
            <a:xfrm>
              <a:off x="6214680" y="3796682"/>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a:latin typeface="+mn-lt"/>
                  <a:ea typeface="+mn-ea"/>
                </a:rPr>
                <a:t>Legend</a:t>
              </a:r>
              <a:endParaRPr lang="en-US" sz="1400" baseline="0" dirty="0">
                <a:latin typeface="+mn-lt"/>
                <a:ea typeface="+mn-ea"/>
              </a:endParaRPr>
            </a:p>
          </p:txBody>
        </p:sp>
      </p:grpSp>
    </p:spTree>
    <p:extLst>
      <p:ext uri="{BB962C8B-B14F-4D97-AF65-F5344CB8AC3E}">
        <p14:creationId xmlns:p14="http://schemas.microsoft.com/office/powerpoint/2010/main" val="1765237297"/>
      </p:ext>
    </p:extLst>
  </p:cSld>
  <p:clrMap bg1="lt1" tx1="dk1" bg2="lt2" tx2="dk2" accent1="accent1" accent2="accent2" accent3="accent3" accent4="accent4" accent5="accent5" accent6="accent6" hlink="hlink" folHlink="folHlink"/>
  <p:sldLayoutIdLst>
    <p:sldLayoutId id="2147483781" r:id="rId1"/>
    <p:sldLayoutId id="2147483782" r:id="rId2"/>
    <p:sldLayoutId id="2147483783" r:id="rId3"/>
    <p:sldLayoutId id="2147483784" r:id="rId4"/>
  </p:sldLayoutIdLst>
  <p:txStyles>
    <p:titleStyle>
      <a:lvl1pPr algn="l" defTabSz="895350" rtl="0" eaLnBrk="1" fontAlgn="base" hangingPunct="1">
        <a:spcBef>
          <a:spcPct val="0"/>
        </a:spcBef>
        <a:spcAft>
          <a:spcPct val="0"/>
        </a:spcAft>
        <a:tabLst>
          <a:tab pos="269875" algn="l"/>
        </a:tabLst>
        <a:defRPr sz="2000" b="0" baseline="0">
          <a:solidFill>
            <a:schemeClr val="tx2"/>
          </a:solidFill>
          <a:latin typeface="+mj-lt"/>
          <a:ea typeface="+mj-ea"/>
          <a:cs typeface="+mj-cs"/>
        </a:defRPr>
      </a:lvl1pPr>
      <a:lvl2pPr algn="l" defTabSz="895350" rtl="0" eaLnBrk="1" fontAlgn="base" hangingPunct="1">
        <a:spcBef>
          <a:spcPct val="0"/>
        </a:spcBef>
        <a:spcAft>
          <a:spcPct val="0"/>
        </a:spcAft>
        <a:defRPr sz="1900" b="1">
          <a:solidFill>
            <a:schemeClr val="tx2"/>
          </a:solidFill>
          <a:latin typeface="Arial" charset="0"/>
        </a:defRPr>
      </a:lvl2pPr>
      <a:lvl3pPr algn="l" defTabSz="895350" rtl="0" eaLnBrk="1" fontAlgn="base" hangingPunct="1">
        <a:spcBef>
          <a:spcPct val="0"/>
        </a:spcBef>
        <a:spcAft>
          <a:spcPct val="0"/>
        </a:spcAft>
        <a:defRPr sz="1900" b="1">
          <a:solidFill>
            <a:schemeClr val="tx2"/>
          </a:solidFill>
          <a:latin typeface="Arial" charset="0"/>
        </a:defRPr>
      </a:lvl3pPr>
      <a:lvl4pPr algn="l" defTabSz="895350" rtl="0" eaLnBrk="1" fontAlgn="base" hangingPunct="1">
        <a:spcBef>
          <a:spcPct val="0"/>
        </a:spcBef>
        <a:spcAft>
          <a:spcPct val="0"/>
        </a:spcAft>
        <a:defRPr sz="1900" b="1">
          <a:solidFill>
            <a:schemeClr val="tx2"/>
          </a:solidFill>
          <a:latin typeface="Arial" charset="0"/>
        </a:defRPr>
      </a:lvl4pPr>
      <a:lvl5pPr algn="l" defTabSz="895350" rtl="0" eaLnBrk="1" fontAlgn="base" hangingPunct="1">
        <a:spcBef>
          <a:spcPct val="0"/>
        </a:spcBef>
        <a:spcAft>
          <a:spcPct val="0"/>
        </a:spcAft>
        <a:defRPr sz="1900" b="1">
          <a:solidFill>
            <a:schemeClr val="tx2"/>
          </a:solidFill>
          <a:latin typeface="Arial" charset="0"/>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p:titleStyle>
    <p:bodyStyle>
      <a:lvl1pPr marL="0" indent="0" algn="l" defTabSz="895350" rtl="0" eaLnBrk="1" fontAlgn="base" hangingPunct="1">
        <a:spcBef>
          <a:spcPct val="0"/>
        </a:spcBef>
        <a:spcAft>
          <a:spcPct val="0"/>
        </a:spcAft>
        <a:buClr>
          <a:schemeClr val="tx2"/>
        </a:buClr>
        <a:buSzPct val="100000"/>
        <a:defRPr sz="14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4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4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4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4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ext>
  </p:extLst>
</p:sldMaster>
</file>

<file path=ppt/slideMasters/slideMaster2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7"/>
            </p:custDataLst>
            <p:extLst>
              <p:ext uri="{D42A27DB-BD31-4B8C-83A1-F6EECF244321}">
                <p14:modId xmlns:p14="http://schemas.microsoft.com/office/powerpoint/2010/main" val="285092085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18804" name="think-cell Slide" r:id="rId36" imgW="270" imgH="270" progId="TCLayout.ActiveDocument.1">
                  <p:embed/>
                </p:oleObj>
              </mc:Choice>
              <mc:Fallback>
                <p:oleObj name="think-cell Slide" r:id="rId36" imgW="270" imgH="270" progId="TCLayout.ActiveDocument.1">
                  <p:embed/>
                  <p:pic>
                    <p:nvPicPr>
                      <p:cNvPr id="2" name="Object 1" hidden="1"/>
                      <p:cNvPicPr/>
                      <p:nvPr/>
                    </p:nvPicPr>
                    <p:blipFill>
                      <a:blip r:embed="rId37"/>
                      <a:stretch>
                        <a:fillRect/>
                      </a:stretch>
                    </p:blipFill>
                    <p:spPr>
                      <a:xfrm>
                        <a:off x="0" y="0"/>
                        <a:ext cx="158750" cy="158750"/>
                      </a:xfrm>
                      <a:prstGeom prst="rect">
                        <a:avLst/>
                      </a:prstGeom>
                    </p:spPr>
                  </p:pic>
                </p:oleObj>
              </mc:Fallback>
            </mc:AlternateContent>
          </a:graphicData>
        </a:graphic>
      </p:graphicFrame>
      <p:sp>
        <p:nvSpPr>
          <p:cNvPr id="6" name="Rectangle 5" hidden="1"/>
          <p:cNvSpPr/>
          <p:nvPr>
            <p:custDataLst>
              <p:tags r:id="rId8"/>
            </p:custDataLst>
          </p:nvPr>
        </p:nvSpPr>
        <p:spPr bwMode="auto">
          <a:xfrm>
            <a:off x="0" y="0"/>
            <a:ext cx="158750" cy="158750"/>
          </a:xfrm>
          <a:prstGeom prst="rect">
            <a:avLst/>
          </a:prstGeom>
          <a:solidFill>
            <a:schemeClr val="bg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dirty="0">
              <a:solidFill>
                <a:srgbClr val="000000"/>
              </a:solidFill>
              <a:sym typeface="Arial" panose="020B0604020202020204" pitchFamily="34" charset="0"/>
            </a:endParaRPr>
          </a:p>
        </p:txBody>
      </p:sp>
      <p:sp>
        <p:nvSpPr>
          <p:cNvPr id="1034" name="Working Draft" hidden="1"/>
          <p:cNvSpPr txBox="1">
            <a:spLocks noChangeArrowheads="1"/>
          </p:cNvSpPr>
          <p:nvPr/>
        </p:nvSpPr>
        <p:spPr bwMode="gray">
          <a:xfrm rot="5400000">
            <a:off x="7966656" y="1940591"/>
            <a:ext cx="1849865"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600" baseline="0">
                <a:solidFill>
                  <a:srgbClr val="808080"/>
                </a:solidFill>
                <a:latin typeface="+mn-lt"/>
                <a:ea typeface="+mn-ea"/>
              </a:rPr>
              <a:t>Last Modified 21/05/2018 17:44 India Standard Time</a:t>
            </a:r>
            <a:endParaRPr lang="en-US" baseline="0" dirty="0">
              <a:solidFill>
                <a:srgbClr val="808080"/>
              </a:solidFill>
              <a:latin typeface="+mn-lt"/>
              <a:ea typeface="+mn-ea"/>
            </a:endParaRPr>
          </a:p>
        </p:txBody>
      </p:sp>
      <p:sp>
        <p:nvSpPr>
          <p:cNvPr id="1035" name="Printed" hidden="1"/>
          <p:cNvSpPr txBox="1">
            <a:spLocks noChangeArrowheads="1"/>
          </p:cNvSpPr>
          <p:nvPr/>
        </p:nvSpPr>
        <p:spPr bwMode="gray">
          <a:xfrm rot="5400000">
            <a:off x="8768958" y="4114417"/>
            <a:ext cx="245260"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600" baseline="0" dirty="0">
                <a:solidFill>
                  <a:srgbClr val="808080"/>
                </a:solidFill>
                <a:latin typeface="+mn-lt"/>
                <a:ea typeface="+mn-ea"/>
              </a:rPr>
              <a:t>Printed</a:t>
            </a:r>
            <a:endParaRPr lang="en-US" baseline="0" dirty="0">
              <a:solidFill>
                <a:srgbClr val="808080"/>
              </a:solidFill>
              <a:latin typeface="+mn-lt"/>
              <a:ea typeface="+mn-ea"/>
            </a:endParaRPr>
          </a:p>
        </p:txBody>
      </p:sp>
      <p:sp>
        <p:nvSpPr>
          <p:cNvPr id="19" name="Title Placeholder 2"/>
          <p:cNvSpPr>
            <a:spLocks noGrp="1" noChangeArrowheads="1"/>
          </p:cNvSpPr>
          <p:nvPr>
            <p:ph type="title"/>
          </p:nvPr>
        </p:nvSpPr>
        <p:spPr bwMode="gray">
          <a:xfrm>
            <a:off x="119063" y="230188"/>
            <a:ext cx="8618537"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latinLnBrk="0"/>
            <a:r>
              <a:rPr lang="en-US"/>
              <a:t>Click to edit Master title style</a:t>
            </a:r>
            <a:endParaRPr lang="en-US" noProof="0" dirty="0"/>
          </a:p>
        </p:txBody>
      </p:sp>
      <p:sp>
        <p:nvSpPr>
          <p:cNvPr id="10" name="1. On-page tracker" hidden="1"/>
          <p:cNvSpPr>
            <a:spLocks noChangeArrowheads="1"/>
          </p:cNvSpPr>
          <p:nvPr/>
        </p:nvSpPr>
        <p:spPr bwMode="gray">
          <a:xfrm>
            <a:off x="119063" y="75764"/>
            <a:ext cx="490519"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800" cap="all" baseline="0" dirty="0">
                <a:solidFill>
                  <a:schemeClr val="accent6"/>
                </a:solidFill>
                <a:latin typeface="+mn-lt"/>
                <a:ea typeface="+mn-ea"/>
              </a:rPr>
              <a:t>Tracker</a:t>
            </a:r>
          </a:p>
        </p:txBody>
      </p:sp>
      <p:sp>
        <p:nvSpPr>
          <p:cNvPr id="11" name="3. Unit of measure" hidden="1"/>
          <p:cNvSpPr txBox="1">
            <a:spLocks noChangeArrowheads="1"/>
          </p:cNvSpPr>
          <p:nvPr/>
        </p:nvSpPr>
        <p:spPr bwMode="gray">
          <a:xfrm>
            <a:off x="119063" y="554865"/>
            <a:ext cx="8618537"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600" baseline="0" dirty="0">
                <a:solidFill>
                  <a:schemeClr val="accent6"/>
                </a:solidFill>
                <a:latin typeface="+mn-lt"/>
                <a:ea typeface="+mn-ea"/>
              </a:rPr>
              <a:t>Unit of measure</a:t>
            </a:r>
          </a:p>
        </p:txBody>
      </p:sp>
      <p:grpSp>
        <p:nvGrpSpPr>
          <p:cNvPr id="4" name="Slide Elements" hidden="1"/>
          <p:cNvGrpSpPr/>
          <p:nvPr/>
        </p:nvGrpSpPr>
        <p:grpSpPr bwMode="gray">
          <a:xfrm>
            <a:off x="119063" y="6305945"/>
            <a:ext cx="8618537" cy="325438"/>
            <a:chOff x="119063" y="6305945"/>
            <a:chExt cx="8618537" cy="325438"/>
          </a:xfrm>
        </p:grpSpPr>
        <p:sp>
          <p:nvSpPr>
            <p:cNvPr id="13" name="4. Footnote"/>
            <p:cNvSpPr txBox="1">
              <a:spLocks noChangeArrowheads="1"/>
            </p:cNvSpPr>
            <p:nvPr/>
          </p:nvSpPr>
          <p:spPr bwMode="gray">
            <a:xfrm>
              <a:off x="119063" y="6305945"/>
              <a:ext cx="8618537" cy="123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800" baseline="0" dirty="0">
                  <a:solidFill>
                    <a:schemeClr val="accent6"/>
                  </a:solidFill>
                  <a:latin typeface="+mn-lt"/>
                  <a:ea typeface="+mn-ea"/>
                </a:rPr>
                <a:t>1 Footnote</a:t>
              </a:r>
            </a:p>
          </p:txBody>
        </p:sp>
        <p:sp>
          <p:nvSpPr>
            <p:cNvPr id="14" name="5. Source"/>
            <p:cNvSpPr>
              <a:spLocks noChangeArrowheads="1"/>
            </p:cNvSpPr>
            <p:nvPr/>
          </p:nvSpPr>
          <p:spPr bwMode="gray">
            <a:xfrm>
              <a:off x="119063" y="6507558"/>
              <a:ext cx="7200000" cy="123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marL="609600" indent="-609600" defTabSz="895350">
                <a:tabLst>
                  <a:tab pos="612775" algn="l"/>
                </a:tabLst>
              </a:pPr>
              <a:r>
                <a:rPr lang="en-US" sz="800" baseline="0" dirty="0">
                  <a:solidFill>
                    <a:schemeClr val="accent6"/>
                  </a:solidFill>
                  <a:latin typeface="+mn-lt"/>
                  <a:ea typeface="+mn-ea"/>
                </a:rPr>
                <a:t>SOURCE: Source</a:t>
              </a:r>
            </a:p>
          </p:txBody>
        </p:sp>
      </p:grpSp>
      <p:sp>
        <p:nvSpPr>
          <p:cNvPr id="3" name="Text Placeholder 2"/>
          <p:cNvSpPr>
            <a:spLocks noGrp="1"/>
          </p:cNvSpPr>
          <p:nvPr>
            <p:ph type="body" idx="1"/>
          </p:nvPr>
        </p:nvSpPr>
        <p:spPr bwMode="gray">
          <a:xfrm>
            <a:off x="1452564" y="1951380"/>
            <a:ext cx="4302125" cy="1077218"/>
          </a:xfrm>
          <a:prstGeom prst="rect">
            <a:avLst/>
          </a:prstGeom>
        </p:spPr>
        <p:txBody>
          <a:bodyPr vert="horz" lIns="0" tIns="0" rIns="0" bIns="0" rtlCol="0">
            <a:spAutoFit/>
          </a:bodyPr>
          <a:lstStyle/>
          <a:p>
            <a:pPr lvl="0" latinLnBrk="0"/>
            <a:r>
              <a:rPr lang="en-US"/>
              <a:t>Edit Master text styles</a:t>
            </a:r>
          </a:p>
          <a:p>
            <a:pPr lvl="1" latinLnBrk="0"/>
            <a:r>
              <a:rPr lang="en-US"/>
              <a:t>Second level</a:t>
            </a:r>
          </a:p>
          <a:p>
            <a:pPr lvl="2" latinLnBrk="0"/>
            <a:r>
              <a:rPr lang="en-US"/>
              <a:t>Third level</a:t>
            </a:r>
          </a:p>
          <a:p>
            <a:pPr lvl="3" latinLnBrk="0"/>
            <a:r>
              <a:rPr lang="en-US"/>
              <a:t>Fourth level</a:t>
            </a:r>
          </a:p>
          <a:p>
            <a:pPr lvl="4" latinLnBrk="0"/>
            <a:r>
              <a:rPr lang="en-US"/>
              <a:t>Fifth level</a:t>
            </a:r>
            <a:endParaRPr lang="en-US" dirty="0"/>
          </a:p>
        </p:txBody>
      </p:sp>
      <p:grpSp>
        <p:nvGrpSpPr>
          <p:cNvPr id="15" name="ACET" hidden="1"/>
          <p:cNvGrpSpPr>
            <a:grpSpLocks/>
          </p:cNvGrpSpPr>
          <p:nvPr/>
        </p:nvGrpSpPr>
        <p:grpSpPr bwMode="gray">
          <a:xfrm>
            <a:off x="1452563" y="1257754"/>
            <a:ext cx="4264025" cy="508000"/>
            <a:chOff x="915" y="710"/>
            <a:chExt cx="2686" cy="320"/>
          </a:xfrm>
        </p:grpSpPr>
        <p:cxnSp>
          <p:nvCxnSpPr>
            <p:cNvPr id="16" name="AutoShape 249"/>
            <p:cNvCxnSpPr>
              <a:cxnSpLocks noChangeShapeType="1"/>
              <a:stCxn id="18" idx="4"/>
              <a:endCxn id="18" idx="6"/>
            </p:cNvCxnSpPr>
            <p:nvPr/>
          </p:nvCxnSpPr>
          <p:spPr bwMode="gray">
            <a:xfrm>
              <a:off x="915" y="1030"/>
              <a:ext cx="2686" cy="0"/>
            </a:xfrm>
            <a:prstGeom prst="straightConnector1">
              <a:avLst/>
            </a:prstGeom>
            <a:noFill/>
            <a:ln w="9525">
              <a:solidFill>
                <a:schemeClr val="accent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8" name="AutoShape 250"/>
            <p:cNvSpPr>
              <a:spLocks noChangeArrowheads="1"/>
            </p:cNvSpPr>
            <p:nvPr/>
          </p:nvSpPr>
          <p:spPr bwMode="gray">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US" b="1" baseline="0" dirty="0">
                  <a:solidFill>
                    <a:srgbClr val="000000"/>
                  </a:solidFill>
                  <a:latin typeface="+mn-lt"/>
                  <a:ea typeface="+mn-ea"/>
                </a:rPr>
                <a:t>Title</a:t>
              </a:r>
            </a:p>
            <a:p>
              <a:r>
                <a:rPr lang="en-US" baseline="0" dirty="0">
                  <a:solidFill>
                    <a:schemeClr val="accent6"/>
                  </a:solidFill>
                  <a:latin typeface="+mn-lt"/>
                  <a:ea typeface="+mn-ea"/>
                </a:rPr>
                <a:t>Unit of measure</a:t>
              </a:r>
            </a:p>
          </p:txBody>
        </p:sp>
      </p:grpSp>
      <p:grpSp>
        <p:nvGrpSpPr>
          <p:cNvPr id="17" name="McKSticker" hidden="1"/>
          <p:cNvGrpSpPr/>
          <p:nvPr/>
        </p:nvGrpSpPr>
        <p:grpSpPr bwMode="gray">
          <a:xfrm>
            <a:off x="8264265" y="285750"/>
            <a:ext cx="473335" cy="150811"/>
            <a:chOff x="8267440" y="285750"/>
            <a:chExt cx="473335" cy="150811"/>
          </a:xfrm>
        </p:grpSpPr>
        <p:sp>
          <p:nvSpPr>
            <p:cNvPr id="20" name="StickerRectangle"/>
            <p:cNvSpPr>
              <a:spLocks noChangeArrowheads="1"/>
            </p:cNvSpPr>
            <p:nvPr/>
          </p:nvSpPr>
          <p:spPr bwMode="gray">
            <a:xfrm>
              <a:off x="8267440" y="285750"/>
              <a:ext cx="473335" cy="150811"/>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a:buClr>
                  <a:srgbClr val="002960"/>
                </a:buClr>
              </a:pPr>
              <a:r>
                <a:rPr lang="en-US" sz="800" baseline="0" dirty="0">
                  <a:solidFill>
                    <a:schemeClr val="accent6"/>
                  </a:solidFill>
                  <a:latin typeface="+mn-lt"/>
                  <a:ea typeface="+mn-ea"/>
                </a:rPr>
                <a:t>STICKER</a:t>
              </a:r>
            </a:p>
          </p:txBody>
        </p:sp>
        <p:cxnSp>
          <p:nvCxnSpPr>
            <p:cNvPr id="21" name="AutoShape 31"/>
            <p:cNvCxnSpPr>
              <a:cxnSpLocks noChangeShapeType="1"/>
              <a:stCxn id="20" idx="2"/>
              <a:endCxn id="20" idx="4"/>
            </p:cNvCxnSpPr>
            <p:nvPr/>
          </p:nvCxnSpPr>
          <p:spPr bwMode="gray">
            <a:xfrm>
              <a:off x="8267440" y="285750"/>
              <a:ext cx="0" cy="150811"/>
            </a:xfrm>
            <a:prstGeom prst="straightConnector1">
              <a:avLst/>
            </a:prstGeom>
            <a:noFill/>
            <a:ln w="9525">
              <a:solidFill>
                <a:schemeClr val="accent6"/>
              </a:solidFill>
              <a:round/>
              <a:headEnd/>
              <a:tailEnd/>
            </a:ln>
            <a:extLst>
              <a:ext uri="{909E8E84-426E-40DD-AFC4-6F175D3DCCD1}">
                <a14:hiddenFill xmlns:a14="http://schemas.microsoft.com/office/drawing/2010/main">
                  <a:noFill/>
                </a14:hiddenFill>
              </a:ext>
            </a:extLst>
          </p:spPr>
        </p:cxnSp>
        <p:cxnSp>
          <p:nvCxnSpPr>
            <p:cNvPr id="22" name="AutoShape 32"/>
            <p:cNvCxnSpPr>
              <a:cxnSpLocks noChangeShapeType="1"/>
              <a:stCxn id="20" idx="4"/>
              <a:endCxn id="20" idx="6"/>
            </p:cNvCxnSpPr>
            <p:nvPr/>
          </p:nvCxnSpPr>
          <p:spPr bwMode="gray">
            <a:xfrm>
              <a:off x="8267440" y="436561"/>
              <a:ext cx="473335" cy="0"/>
            </a:xfrm>
            <a:prstGeom prst="straightConnector1">
              <a:avLst/>
            </a:prstGeom>
            <a:noFill/>
            <a:ln w="25400">
              <a:solidFill>
                <a:schemeClr val="accent6"/>
              </a:solidFill>
              <a:round/>
              <a:headEnd/>
              <a:tailEnd/>
            </a:ln>
            <a:extLst>
              <a:ext uri="{909E8E84-426E-40DD-AFC4-6F175D3DCCD1}">
                <a14:hiddenFill xmlns:a14="http://schemas.microsoft.com/office/drawing/2010/main">
                  <a:noFill/>
                </a14:hiddenFill>
              </a:ext>
            </a:extLst>
          </p:spPr>
        </p:cxnSp>
      </p:grpSp>
      <p:sp>
        <p:nvSpPr>
          <p:cNvPr id="23" name="SlideBottomBar" hidden="1"/>
          <p:cNvSpPr/>
          <p:nvPr/>
        </p:nvSpPr>
        <p:spPr>
          <a:xfrm>
            <a:off x="8437547" y="6182120"/>
            <a:ext cx="45719" cy="123825"/>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aseline="0" dirty="0">
              <a:solidFill>
                <a:schemeClr val="tx1"/>
              </a:solidFill>
              <a:latin typeface="+mn-lt"/>
              <a:ea typeface="+mn-ea"/>
            </a:endParaRPr>
          </a:p>
        </p:txBody>
      </p:sp>
      <p:sp>
        <p:nvSpPr>
          <p:cNvPr id="24" name="doc id" hidden="1"/>
          <p:cNvSpPr txBox="1">
            <a:spLocks noChangeArrowheads="1"/>
          </p:cNvSpPr>
          <p:nvPr/>
        </p:nvSpPr>
        <p:spPr bwMode="white">
          <a:xfrm>
            <a:off x="8104473" y="36513"/>
            <a:ext cx="634716" cy="115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hangingPunct="1">
              <a:defRPr/>
            </a:pPr>
            <a:endParaRPr lang="en-US" sz="800" baseline="0" dirty="0">
              <a:solidFill>
                <a:schemeClr val="accent1"/>
              </a:solidFill>
              <a:latin typeface="+mn-lt"/>
              <a:ea typeface="+mn-ea"/>
            </a:endParaRPr>
          </a:p>
        </p:txBody>
      </p:sp>
      <p:grpSp>
        <p:nvGrpSpPr>
          <p:cNvPr id="63" name="LegendLines" hidden="1"/>
          <p:cNvGrpSpPr/>
          <p:nvPr/>
        </p:nvGrpSpPr>
        <p:grpSpPr>
          <a:xfrm>
            <a:off x="7551589" y="267815"/>
            <a:ext cx="1158292" cy="761545"/>
            <a:chOff x="7607284" y="279400"/>
            <a:chExt cx="1158292" cy="761545"/>
          </a:xfrm>
        </p:grpSpPr>
        <p:sp>
          <p:nvSpPr>
            <p:cNvPr id="64" name="LineLegend1"/>
            <p:cNvSpPr>
              <a:spLocks noChangeShapeType="1"/>
            </p:cNvSpPr>
            <p:nvPr/>
          </p:nvSpPr>
          <p:spPr bwMode="gray">
            <a:xfrm>
              <a:off x="7607284" y="387122"/>
              <a:ext cx="457200"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65" name="LineLegend2"/>
            <p:cNvSpPr>
              <a:spLocks noChangeShapeType="1"/>
            </p:cNvSpPr>
            <p:nvPr/>
          </p:nvSpPr>
          <p:spPr bwMode="gray">
            <a:xfrm>
              <a:off x="7607284" y="653822"/>
              <a:ext cx="457200"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66" name="LineLegend3"/>
            <p:cNvSpPr>
              <a:spLocks noChangeShapeType="1"/>
            </p:cNvSpPr>
            <p:nvPr/>
          </p:nvSpPr>
          <p:spPr bwMode="gray">
            <a:xfrm>
              <a:off x="7607284" y="933223"/>
              <a:ext cx="457200"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67" name="Legend1"/>
            <p:cNvSpPr>
              <a:spLocks noChangeArrowheads="1"/>
            </p:cNvSpPr>
            <p:nvPr>
              <p:custDataLst>
                <p:tags r:id="rId33"/>
              </p:custDataLst>
            </p:nvPr>
          </p:nvSpPr>
          <p:spPr bwMode="gray">
            <a:xfrm>
              <a:off x="8169259" y="279400"/>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sp>
          <p:nvSpPr>
            <p:cNvPr id="68" name="Legend2"/>
            <p:cNvSpPr>
              <a:spLocks noChangeArrowheads="1"/>
            </p:cNvSpPr>
            <p:nvPr>
              <p:custDataLst>
                <p:tags r:id="rId34"/>
              </p:custDataLst>
            </p:nvPr>
          </p:nvSpPr>
          <p:spPr bwMode="gray">
            <a:xfrm>
              <a:off x="8169259" y="546100"/>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a:latin typeface="+mn-lt"/>
                  <a:ea typeface="+mn-ea"/>
                </a:rPr>
                <a:t>Legend</a:t>
              </a:r>
              <a:endParaRPr lang="en-US" sz="1400" baseline="0" dirty="0">
                <a:latin typeface="+mn-lt"/>
                <a:ea typeface="+mn-ea"/>
              </a:endParaRPr>
            </a:p>
          </p:txBody>
        </p:sp>
        <p:sp>
          <p:nvSpPr>
            <p:cNvPr id="69" name="Legend3"/>
            <p:cNvSpPr>
              <a:spLocks noChangeArrowheads="1"/>
            </p:cNvSpPr>
            <p:nvPr>
              <p:custDataLst>
                <p:tags r:id="rId35"/>
              </p:custDataLst>
            </p:nvPr>
          </p:nvSpPr>
          <p:spPr bwMode="gray">
            <a:xfrm>
              <a:off x="8169259" y="825501"/>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grpSp>
      <p:grpSp>
        <p:nvGrpSpPr>
          <p:cNvPr id="70" name="LegendBoxes" hidden="1"/>
          <p:cNvGrpSpPr/>
          <p:nvPr/>
        </p:nvGrpSpPr>
        <p:grpSpPr>
          <a:xfrm>
            <a:off x="7859564" y="267919"/>
            <a:ext cx="850317" cy="1028245"/>
            <a:chOff x="5894005" y="919828"/>
            <a:chExt cx="850317" cy="1028245"/>
          </a:xfrm>
        </p:grpSpPr>
        <p:sp>
          <p:nvSpPr>
            <p:cNvPr id="71" name="RectangleLegend1"/>
            <p:cNvSpPr>
              <a:spLocks noChangeArrowheads="1"/>
            </p:cNvSpPr>
            <p:nvPr/>
          </p:nvSpPr>
          <p:spPr bwMode="gray">
            <a:xfrm>
              <a:off x="5894005" y="947381"/>
              <a:ext cx="165100" cy="160338"/>
            </a:xfrm>
            <a:prstGeom prst="rect">
              <a:avLst/>
            </a:prstGeom>
            <a:solidFill>
              <a:schemeClr val="accent1"/>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72" name="RectangleLegend2"/>
            <p:cNvSpPr>
              <a:spLocks noChangeArrowheads="1"/>
            </p:cNvSpPr>
            <p:nvPr/>
          </p:nvSpPr>
          <p:spPr bwMode="gray">
            <a:xfrm>
              <a:off x="5894005" y="1217256"/>
              <a:ext cx="165100" cy="160338"/>
            </a:xfrm>
            <a:prstGeom prst="rect">
              <a:avLst/>
            </a:prstGeom>
            <a:solidFill>
              <a:schemeClr val="accent2"/>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73" name="RectangleLegend3"/>
            <p:cNvSpPr>
              <a:spLocks noChangeArrowheads="1"/>
            </p:cNvSpPr>
            <p:nvPr/>
          </p:nvSpPr>
          <p:spPr bwMode="gray">
            <a:xfrm>
              <a:off x="5894005" y="1488719"/>
              <a:ext cx="165100" cy="160338"/>
            </a:xfrm>
            <a:prstGeom prst="rect">
              <a:avLst/>
            </a:prstGeom>
            <a:solidFill>
              <a:schemeClr val="accent3"/>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74" name="RectangleLegend4"/>
            <p:cNvSpPr>
              <a:spLocks noChangeArrowheads="1"/>
            </p:cNvSpPr>
            <p:nvPr/>
          </p:nvSpPr>
          <p:spPr bwMode="gray">
            <a:xfrm>
              <a:off x="5894005" y="1760182"/>
              <a:ext cx="165100" cy="160338"/>
            </a:xfrm>
            <a:prstGeom prst="rect">
              <a:avLst/>
            </a:prstGeom>
            <a:solidFill>
              <a:schemeClr val="accent4"/>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75" name="Legend1"/>
            <p:cNvSpPr>
              <a:spLocks noChangeArrowheads="1"/>
            </p:cNvSpPr>
            <p:nvPr>
              <p:custDataLst>
                <p:tags r:id="rId29"/>
              </p:custDataLst>
            </p:nvPr>
          </p:nvSpPr>
          <p:spPr bwMode="gray">
            <a:xfrm>
              <a:off x="6148005" y="919828"/>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sp>
          <p:nvSpPr>
            <p:cNvPr id="76" name="Legend2"/>
            <p:cNvSpPr>
              <a:spLocks noChangeArrowheads="1"/>
            </p:cNvSpPr>
            <p:nvPr>
              <p:custDataLst>
                <p:tags r:id="rId30"/>
              </p:custDataLst>
            </p:nvPr>
          </p:nvSpPr>
          <p:spPr bwMode="gray">
            <a:xfrm>
              <a:off x="6148005" y="1189703"/>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sp>
          <p:nvSpPr>
            <p:cNvPr id="77" name="Legend3"/>
            <p:cNvSpPr>
              <a:spLocks noChangeArrowheads="1"/>
            </p:cNvSpPr>
            <p:nvPr>
              <p:custDataLst>
                <p:tags r:id="rId31"/>
              </p:custDataLst>
            </p:nvPr>
          </p:nvSpPr>
          <p:spPr bwMode="gray">
            <a:xfrm>
              <a:off x="6148005" y="1461166"/>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sp>
          <p:nvSpPr>
            <p:cNvPr id="78" name="Legend4"/>
            <p:cNvSpPr>
              <a:spLocks noChangeArrowheads="1"/>
            </p:cNvSpPr>
            <p:nvPr>
              <p:custDataLst>
                <p:tags r:id="rId32"/>
              </p:custDataLst>
            </p:nvPr>
          </p:nvSpPr>
          <p:spPr bwMode="gray">
            <a:xfrm>
              <a:off x="6148005" y="1732629"/>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grpSp>
      <p:grpSp>
        <p:nvGrpSpPr>
          <p:cNvPr id="79" name="LegendMoons" hidden="1"/>
          <p:cNvGrpSpPr/>
          <p:nvPr/>
        </p:nvGrpSpPr>
        <p:grpSpPr>
          <a:xfrm>
            <a:off x="7792889" y="267414"/>
            <a:ext cx="916992" cy="1317003"/>
            <a:chOff x="5894005" y="2695123"/>
            <a:chExt cx="916992" cy="1317003"/>
          </a:xfrm>
        </p:grpSpPr>
        <p:grpSp>
          <p:nvGrpSpPr>
            <p:cNvPr id="80" name="MoonLegend1"/>
            <p:cNvGrpSpPr>
              <a:grpSpLocks noChangeAspect="1"/>
            </p:cNvGrpSpPr>
            <p:nvPr>
              <p:custDataLst>
                <p:tags r:id="rId9"/>
              </p:custDataLst>
            </p:nvPr>
          </p:nvGrpSpPr>
          <p:grpSpPr bwMode="gray">
            <a:xfrm>
              <a:off x="5894005" y="2695123"/>
              <a:ext cx="209550" cy="218282"/>
              <a:chOff x="4533" y="183"/>
              <a:chExt cx="144" cy="150"/>
            </a:xfrm>
          </p:grpSpPr>
          <p:sp>
            <p:nvSpPr>
              <p:cNvPr id="98" name="Oval 97"/>
              <p:cNvSpPr>
                <a:spLocks noChangeAspect="1" noChangeArrowheads="1"/>
              </p:cNvSpPr>
              <p:nvPr>
                <p:custDataLst>
                  <p:tags r:id="rId27"/>
                </p:custDataLst>
              </p:nvPr>
            </p:nvSpPr>
            <p:spPr bwMode="gray">
              <a:xfrm>
                <a:off x="4533" y="189"/>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99" name="Arc 98" hidden="1"/>
              <p:cNvSpPr>
                <a:spLocks noChangeAspect="1"/>
              </p:cNvSpPr>
              <p:nvPr>
                <p:custDataLst>
                  <p:tags r:id="rId28"/>
                </p:custDataLst>
              </p:nvPr>
            </p:nvSpPr>
            <p:spPr bwMode="gray">
              <a:xfrm>
                <a:off x="4533" y="183"/>
                <a:ext cx="144" cy="144"/>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grpSp>
        <p:grpSp>
          <p:nvGrpSpPr>
            <p:cNvPr id="81" name="MoonLegend2"/>
            <p:cNvGrpSpPr>
              <a:grpSpLocks noChangeAspect="1"/>
            </p:cNvGrpSpPr>
            <p:nvPr>
              <p:custDataLst>
                <p:tags r:id="rId10"/>
              </p:custDataLst>
            </p:nvPr>
          </p:nvGrpSpPr>
          <p:grpSpPr bwMode="gray">
            <a:xfrm>
              <a:off x="5894005" y="2977103"/>
              <a:ext cx="209550" cy="209551"/>
              <a:chOff x="1694" y="2051"/>
              <a:chExt cx="160" cy="160"/>
            </a:xfrm>
          </p:grpSpPr>
          <p:sp>
            <p:nvSpPr>
              <p:cNvPr id="96" name="Oval 41"/>
              <p:cNvSpPr>
                <a:spLocks noChangeAspect="1" noChangeArrowheads="1"/>
              </p:cNvSpPr>
              <p:nvPr>
                <p:custDataLst>
                  <p:tags r:id="rId25"/>
                </p:custDataLst>
              </p:nvPr>
            </p:nvSpPr>
            <p:spPr bwMode="gray">
              <a:xfrm>
                <a:off x="1694" y="2051"/>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97" name="Arc 42"/>
              <p:cNvSpPr>
                <a:spLocks noChangeAspect="1"/>
              </p:cNvSpPr>
              <p:nvPr>
                <p:custDataLst>
                  <p:tags r:id="rId26"/>
                </p:custDataLst>
              </p:nvPr>
            </p:nvSpPr>
            <p:spPr bwMode="gray">
              <a:xfrm>
                <a:off x="1694" y="2051"/>
                <a:ext cx="160" cy="160"/>
              </a:xfrm>
              <a:prstGeom prst="arc">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grpSp>
        <p:grpSp>
          <p:nvGrpSpPr>
            <p:cNvPr id="82" name="MoonLegend4"/>
            <p:cNvGrpSpPr>
              <a:grpSpLocks noChangeAspect="1"/>
            </p:cNvGrpSpPr>
            <p:nvPr>
              <p:custDataLst>
                <p:tags r:id="rId11"/>
              </p:custDataLst>
            </p:nvPr>
          </p:nvGrpSpPr>
          <p:grpSpPr bwMode="gray">
            <a:xfrm>
              <a:off x="5894005" y="3524395"/>
              <a:ext cx="209550" cy="209551"/>
              <a:chOff x="4495" y="1204"/>
              <a:chExt cx="160" cy="160"/>
            </a:xfrm>
          </p:grpSpPr>
          <p:sp>
            <p:nvSpPr>
              <p:cNvPr id="94" name="Oval 47"/>
              <p:cNvSpPr>
                <a:spLocks noChangeAspect="1" noChangeArrowheads="1"/>
              </p:cNvSpPr>
              <p:nvPr>
                <p:custDataLst>
                  <p:tags r:id="rId23"/>
                </p:custDataLst>
              </p:nvPr>
            </p:nvSpPr>
            <p:spPr bwMode="gray">
              <a:xfrm>
                <a:off x="4495" y="120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95" name="Arc 48"/>
              <p:cNvSpPr>
                <a:spLocks noChangeAspect="1"/>
              </p:cNvSpPr>
              <p:nvPr>
                <p:custDataLst>
                  <p:tags r:id="rId24"/>
                </p:custDataLst>
              </p:nvPr>
            </p:nvSpPr>
            <p:spPr bwMode="gray">
              <a:xfrm>
                <a:off x="4495" y="1204"/>
                <a:ext cx="160" cy="160"/>
              </a:xfrm>
              <a:prstGeom prst="arc">
                <a:avLst>
                  <a:gd name="adj1" fmla="val 16200000"/>
                  <a:gd name="adj2" fmla="val 108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grpSp>
        <p:grpSp>
          <p:nvGrpSpPr>
            <p:cNvPr id="83" name="MoonLegend5"/>
            <p:cNvGrpSpPr>
              <a:grpSpLocks noChangeAspect="1"/>
            </p:cNvGrpSpPr>
            <p:nvPr>
              <p:custDataLst>
                <p:tags r:id="rId12"/>
              </p:custDataLst>
            </p:nvPr>
          </p:nvGrpSpPr>
          <p:grpSpPr bwMode="gray">
            <a:xfrm>
              <a:off x="5894005" y="3799629"/>
              <a:ext cx="209550" cy="209551"/>
              <a:chOff x="4495" y="1447"/>
              <a:chExt cx="160" cy="160"/>
            </a:xfrm>
          </p:grpSpPr>
          <p:sp>
            <p:nvSpPr>
              <p:cNvPr id="92" name="Oval 50"/>
              <p:cNvSpPr>
                <a:spLocks noChangeAspect="1" noChangeArrowheads="1"/>
              </p:cNvSpPr>
              <p:nvPr>
                <p:custDataLst>
                  <p:tags r:id="rId21"/>
                </p:custDataLst>
              </p:nvPr>
            </p:nvSpPr>
            <p:spPr bwMode="gray">
              <a:xfrm>
                <a:off x="4495" y="1447"/>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93" name="Oval 51"/>
              <p:cNvSpPr>
                <a:spLocks noChangeAspect="1" noChangeArrowheads="1"/>
              </p:cNvSpPr>
              <p:nvPr>
                <p:custDataLst>
                  <p:tags r:id="rId22"/>
                </p:custDataLst>
              </p:nvPr>
            </p:nvSpPr>
            <p:spPr bwMode="gray">
              <a:xfrm>
                <a:off x="4495" y="1447"/>
                <a:ext cx="160" cy="160"/>
              </a:xfrm>
              <a:prstGeom prst="arc">
                <a:avLst>
                  <a:gd name="adj1" fmla="val 16200000"/>
                  <a:gd name="adj2" fmla="val 162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grpSp>
        <p:grpSp>
          <p:nvGrpSpPr>
            <p:cNvPr id="84" name="MoonLegend3"/>
            <p:cNvGrpSpPr>
              <a:grpSpLocks noChangeAspect="1"/>
            </p:cNvGrpSpPr>
            <p:nvPr>
              <p:custDataLst>
                <p:tags r:id="rId13"/>
              </p:custDataLst>
            </p:nvPr>
          </p:nvGrpSpPr>
          <p:grpSpPr bwMode="gray">
            <a:xfrm>
              <a:off x="5894005" y="3251543"/>
              <a:ext cx="209550" cy="209551"/>
              <a:chOff x="4495" y="1205"/>
              <a:chExt cx="160" cy="160"/>
            </a:xfrm>
          </p:grpSpPr>
          <p:sp>
            <p:nvSpPr>
              <p:cNvPr id="90" name="Oval 47"/>
              <p:cNvSpPr>
                <a:spLocks noChangeAspect="1" noChangeArrowheads="1"/>
              </p:cNvSpPr>
              <p:nvPr>
                <p:custDataLst>
                  <p:tags r:id="rId19"/>
                </p:custDataLst>
              </p:nvPr>
            </p:nvSpPr>
            <p:spPr bwMode="gray">
              <a:xfrm>
                <a:off x="4495" y="1205"/>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91" name="Arc 48"/>
              <p:cNvSpPr>
                <a:spLocks noChangeAspect="1"/>
              </p:cNvSpPr>
              <p:nvPr>
                <p:custDataLst>
                  <p:tags r:id="rId20"/>
                </p:custDataLst>
              </p:nvPr>
            </p:nvSpPr>
            <p:spPr bwMode="gray">
              <a:xfrm>
                <a:off x="4495" y="1205"/>
                <a:ext cx="160" cy="160"/>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grpSp>
        <p:sp>
          <p:nvSpPr>
            <p:cNvPr id="85" name="Legend1"/>
            <p:cNvSpPr>
              <a:spLocks noChangeArrowheads="1"/>
            </p:cNvSpPr>
            <p:nvPr>
              <p:custDataLst>
                <p:tags r:id="rId14"/>
              </p:custDataLst>
            </p:nvPr>
          </p:nvSpPr>
          <p:spPr bwMode="gray">
            <a:xfrm>
              <a:off x="6214680" y="2696542"/>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sp>
          <p:nvSpPr>
            <p:cNvPr id="86" name="Legend2"/>
            <p:cNvSpPr>
              <a:spLocks noChangeArrowheads="1"/>
            </p:cNvSpPr>
            <p:nvPr>
              <p:custDataLst>
                <p:tags r:id="rId15"/>
              </p:custDataLst>
            </p:nvPr>
          </p:nvSpPr>
          <p:spPr bwMode="gray">
            <a:xfrm>
              <a:off x="6214680" y="2974156"/>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a:latin typeface="+mn-lt"/>
                  <a:ea typeface="+mn-ea"/>
                </a:rPr>
                <a:t>Legend</a:t>
              </a:r>
              <a:endParaRPr lang="en-US" sz="1400" baseline="0" dirty="0">
                <a:latin typeface="+mn-lt"/>
                <a:ea typeface="+mn-ea"/>
              </a:endParaRPr>
            </a:p>
          </p:txBody>
        </p:sp>
        <p:sp>
          <p:nvSpPr>
            <p:cNvPr id="87" name="Legend3"/>
            <p:cNvSpPr>
              <a:spLocks noChangeArrowheads="1"/>
            </p:cNvSpPr>
            <p:nvPr>
              <p:custDataLst>
                <p:tags r:id="rId16"/>
              </p:custDataLst>
            </p:nvPr>
          </p:nvSpPr>
          <p:spPr bwMode="gray">
            <a:xfrm>
              <a:off x="6214680" y="3248596"/>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sp>
          <p:nvSpPr>
            <p:cNvPr id="88" name="Legend4"/>
            <p:cNvSpPr>
              <a:spLocks noChangeArrowheads="1"/>
            </p:cNvSpPr>
            <p:nvPr>
              <p:custDataLst>
                <p:tags r:id="rId17"/>
              </p:custDataLst>
            </p:nvPr>
          </p:nvSpPr>
          <p:spPr bwMode="gray">
            <a:xfrm>
              <a:off x="6214680" y="3521448"/>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sp>
          <p:nvSpPr>
            <p:cNvPr id="89" name="Legend5"/>
            <p:cNvSpPr>
              <a:spLocks noChangeArrowheads="1"/>
            </p:cNvSpPr>
            <p:nvPr>
              <p:custDataLst>
                <p:tags r:id="rId18"/>
              </p:custDataLst>
            </p:nvPr>
          </p:nvSpPr>
          <p:spPr bwMode="gray">
            <a:xfrm>
              <a:off x="6214680" y="3796682"/>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a:latin typeface="+mn-lt"/>
                  <a:ea typeface="+mn-ea"/>
                </a:rPr>
                <a:t>Legend</a:t>
              </a:r>
              <a:endParaRPr lang="en-US" sz="1400" baseline="0" dirty="0">
                <a:latin typeface="+mn-lt"/>
                <a:ea typeface="+mn-ea"/>
              </a:endParaRPr>
            </a:p>
          </p:txBody>
        </p:sp>
      </p:grpSp>
    </p:spTree>
    <p:extLst>
      <p:ext uri="{BB962C8B-B14F-4D97-AF65-F5344CB8AC3E}">
        <p14:creationId xmlns:p14="http://schemas.microsoft.com/office/powerpoint/2010/main" val="792829305"/>
      </p:ext>
    </p:extLst>
  </p:cSld>
  <p:clrMap bg1="lt1" tx1="dk1" bg2="lt2" tx2="dk2" accent1="accent1" accent2="accent2" accent3="accent3" accent4="accent4" accent5="accent5" accent6="accent6" hlink="hlink" folHlink="folHlink"/>
  <p:sldLayoutIdLst>
    <p:sldLayoutId id="2147483786" r:id="rId1"/>
    <p:sldLayoutId id="2147483787" r:id="rId2"/>
    <p:sldLayoutId id="2147483788" r:id="rId3"/>
    <p:sldLayoutId id="2147483789" r:id="rId4"/>
  </p:sldLayoutIdLst>
  <p:txStyles>
    <p:titleStyle>
      <a:lvl1pPr algn="l" defTabSz="895350" rtl="0" eaLnBrk="1" fontAlgn="base" hangingPunct="1">
        <a:spcBef>
          <a:spcPct val="0"/>
        </a:spcBef>
        <a:spcAft>
          <a:spcPct val="0"/>
        </a:spcAft>
        <a:tabLst>
          <a:tab pos="269875" algn="l"/>
        </a:tabLst>
        <a:defRPr sz="2000" b="0" baseline="0">
          <a:solidFill>
            <a:schemeClr val="tx2"/>
          </a:solidFill>
          <a:latin typeface="+mj-lt"/>
          <a:ea typeface="+mj-ea"/>
          <a:cs typeface="+mj-cs"/>
        </a:defRPr>
      </a:lvl1pPr>
      <a:lvl2pPr algn="l" defTabSz="895350" rtl="0" eaLnBrk="1" fontAlgn="base" hangingPunct="1">
        <a:spcBef>
          <a:spcPct val="0"/>
        </a:spcBef>
        <a:spcAft>
          <a:spcPct val="0"/>
        </a:spcAft>
        <a:defRPr sz="1900" b="1">
          <a:solidFill>
            <a:schemeClr val="tx2"/>
          </a:solidFill>
          <a:latin typeface="Arial" charset="0"/>
        </a:defRPr>
      </a:lvl2pPr>
      <a:lvl3pPr algn="l" defTabSz="895350" rtl="0" eaLnBrk="1" fontAlgn="base" hangingPunct="1">
        <a:spcBef>
          <a:spcPct val="0"/>
        </a:spcBef>
        <a:spcAft>
          <a:spcPct val="0"/>
        </a:spcAft>
        <a:defRPr sz="1900" b="1">
          <a:solidFill>
            <a:schemeClr val="tx2"/>
          </a:solidFill>
          <a:latin typeface="Arial" charset="0"/>
        </a:defRPr>
      </a:lvl3pPr>
      <a:lvl4pPr algn="l" defTabSz="895350" rtl="0" eaLnBrk="1" fontAlgn="base" hangingPunct="1">
        <a:spcBef>
          <a:spcPct val="0"/>
        </a:spcBef>
        <a:spcAft>
          <a:spcPct val="0"/>
        </a:spcAft>
        <a:defRPr sz="1900" b="1">
          <a:solidFill>
            <a:schemeClr val="tx2"/>
          </a:solidFill>
          <a:latin typeface="Arial" charset="0"/>
        </a:defRPr>
      </a:lvl4pPr>
      <a:lvl5pPr algn="l" defTabSz="895350" rtl="0" eaLnBrk="1" fontAlgn="base" hangingPunct="1">
        <a:spcBef>
          <a:spcPct val="0"/>
        </a:spcBef>
        <a:spcAft>
          <a:spcPct val="0"/>
        </a:spcAft>
        <a:defRPr sz="1900" b="1">
          <a:solidFill>
            <a:schemeClr val="tx2"/>
          </a:solidFill>
          <a:latin typeface="Arial" charset="0"/>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p:titleStyle>
    <p:bodyStyle>
      <a:lvl1pPr marL="0" indent="0" algn="l" defTabSz="895350" rtl="0" eaLnBrk="1" fontAlgn="base" hangingPunct="1">
        <a:spcBef>
          <a:spcPct val="0"/>
        </a:spcBef>
        <a:spcAft>
          <a:spcPct val="0"/>
        </a:spcAft>
        <a:buClr>
          <a:schemeClr val="tx2"/>
        </a:buClr>
        <a:buSzPct val="100000"/>
        <a:defRPr sz="14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4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4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4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4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ext>
  </p:extLst>
</p:sldMaster>
</file>

<file path=ppt/slideMasters/slideMaster2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7"/>
            </p:custDataLst>
            <p:extLst>
              <p:ext uri="{D42A27DB-BD31-4B8C-83A1-F6EECF244321}">
                <p14:modId xmlns:p14="http://schemas.microsoft.com/office/powerpoint/2010/main" val="2125542958"/>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3924" name="think-cell Slide" r:id="rId36" imgW="270" imgH="270" progId="TCLayout.ActiveDocument.1">
                  <p:embed/>
                </p:oleObj>
              </mc:Choice>
              <mc:Fallback>
                <p:oleObj name="think-cell Slide" r:id="rId36" imgW="270" imgH="270" progId="TCLayout.ActiveDocument.1">
                  <p:embed/>
                  <p:pic>
                    <p:nvPicPr>
                      <p:cNvPr id="2" name="Object 1" hidden="1"/>
                      <p:cNvPicPr/>
                      <p:nvPr/>
                    </p:nvPicPr>
                    <p:blipFill>
                      <a:blip r:embed="rId37"/>
                      <a:stretch>
                        <a:fillRect/>
                      </a:stretch>
                    </p:blipFill>
                    <p:spPr>
                      <a:xfrm>
                        <a:off x="0" y="0"/>
                        <a:ext cx="158750" cy="158750"/>
                      </a:xfrm>
                      <a:prstGeom prst="rect">
                        <a:avLst/>
                      </a:prstGeom>
                    </p:spPr>
                  </p:pic>
                </p:oleObj>
              </mc:Fallback>
            </mc:AlternateContent>
          </a:graphicData>
        </a:graphic>
      </p:graphicFrame>
      <p:sp>
        <p:nvSpPr>
          <p:cNvPr id="6" name="Rectangle 5" hidden="1"/>
          <p:cNvSpPr/>
          <p:nvPr>
            <p:custDataLst>
              <p:tags r:id="rId8"/>
            </p:custDataLst>
          </p:nvPr>
        </p:nvSpPr>
        <p:spPr bwMode="auto">
          <a:xfrm>
            <a:off x="0" y="0"/>
            <a:ext cx="158750" cy="158750"/>
          </a:xfrm>
          <a:prstGeom prst="rect">
            <a:avLst/>
          </a:prstGeom>
          <a:solidFill>
            <a:schemeClr val="bg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dirty="0">
              <a:solidFill>
                <a:srgbClr val="000000"/>
              </a:solidFill>
              <a:sym typeface="Arial" panose="020B0604020202020204" pitchFamily="34" charset="0"/>
            </a:endParaRPr>
          </a:p>
        </p:txBody>
      </p:sp>
      <p:sp>
        <p:nvSpPr>
          <p:cNvPr id="1034" name="Working Draft" hidden="1"/>
          <p:cNvSpPr txBox="1">
            <a:spLocks noChangeArrowheads="1"/>
          </p:cNvSpPr>
          <p:nvPr/>
        </p:nvSpPr>
        <p:spPr bwMode="gray">
          <a:xfrm rot="5400000">
            <a:off x="7966656" y="1940591"/>
            <a:ext cx="1849865"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600" baseline="0">
                <a:solidFill>
                  <a:srgbClr val="808080"/>
                </a:solidFill>
                <a:latin typeface="+mn-lt"/>
                <a:ea typeface="+mn-ea"/>
              </a:rPr>
              <a:t>Last Modified 21/05/2018 17:44 India Standard Time</a:t>
            </a:r>
            <a:endParaRPr lang="en-US" baseline="0" dirty="0">
              <a:solidFill>
                <a:srgbClr val="808080"/>
              </a:solidFill>
              <a:latin typeface="+mn-lt"/>
              <a:ea typeface="+mn-ea"/>
            </a:endParaRPr>
          </a:p>
        </p:txBody>
      </p:sp>
      <p:sp>
        <p:nvSpPr>
          <p:cNvPr id="1035" name="Printed" hidden="1"/>
          <p:cNvSpPr txBox="1">
            <a:spLocks noChangeArrowheads="1"/>
          </p:cNvSpPr>
          <p:nvPr/>
        </p:nvSpPr>
        <p:spPr bwMode="gray">
          <a:xfrm rot="5400000">
            <a:off x="8768958" y="4114417"/>
            <a:ext cx="245260"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600" baseline="0" dirty="0">
                <a:solidFill>
                  <a:srgbClr val="808080"/>
                </a:solidFill>
                <a:latin typeface="+mn-lt"/>
                <a:ea typeface="+mn-ea"/>
              </a:rPr>
              <a:t>Printed</a:t>
            </a:r>
            <a:endParaRPr lang="en-US" baseline="0" dirty="0">
              <a:solidFill>
                <a:srgbClr val="808080"/>
              </a:solidFill>
              <a:latin typeface="+mn-lt"/>
              <a:ea typeface="+mn-ea"/>
            </a:endParaRPr>
          </a:p>
        </p:txBody>
      </p:sp>
      <p:sp>
        <p:nvSpPr>
          <p:cNvPr id="19" name="Title Placeholder 2"/>
          <p:cNvSpPr>
            <a:spLocks noGrp="1" noChangeArrowheads="1"/>
          </p:cNvSpPr>
          <p:nvPr>
            <p:ph type="title"/>
          </p:nvPr>
        </p:nvSpPr>
        <p:spPr bwMode="gray">
          <a:xfrm>
            <a:off x="119063" y="230188"/>
            <a:ext cx="8618537"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latinLnBrk="0"/>
            <a:r>
              <a:rPr lang="en-US"/>
              <a:t>Click to edit Master title style</a:t>
            </a:r>
            <a:endParaRPr lang="en-US" noProof="0" dirty="0"/>
          </a:p>
        </p:txBody>
      </p:sp>
      <p:sp>
        <p:nvSpPr>
          <p:cNvPr id="10" name="1. On-page tracker" hidden="1"/>
          <p:cNvSpPr>
            <a:spLocks noChangeArrowheads="1"/>
          </p:cNvSpPr>
          <p:nvPr/>
        </p:nvSpPr>
        <p:spPr bwMode="gray">
          <a:xfrm>
            <a:off x="119063" y="75764"/>
            <a:ext cx="490519"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800" cap="all" baseline="0" dirty="0">
                <a:solidFill>
                  <a:schemeClr val="accent6"/>
                </a:solidFill>
                <a:latin typeface="+mn-lt"/>
                <a:ea typeface="+mn-ea"/>
              </a:rPr>
              <a:t>Tracker</a:t>
            </a:r>
          </a:p>
        </p:txBody>
      </p:sp>
      <p:sp>
        <p:nvSpPr>
          <p:cNvPr id="11" name="3. Unit of measure" hidden="1"/>
          <p:cNvSpPr txBox="1">
            <a:spLocks noChangeArrowheads="1"/>
          </p:cNvSpPr>
          <p:nvPr/>
        </p:nvSpPr>
        <p:spPr bwMode="gray">
          <a:xfrm>
            <a:off x="119063" y="554865"/>
            <a:ext cx="8618537"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600" baseline="0" dirty="0">
                <a:solidFill>
                  <a:schemeClr val="accent6"/>
                </a:solidFill>
                <a:latin typeface="+mn-lt"/>
                <a:ea typeface="+mn-ea"/>
              </a:rPr>
              <a:t>Unit of measure</a:t>
            </a:r>
          </a:p>
        </p:txBody>
      </p:sp>
      <p:grpSp>
        <p:nvGrpSpPr>
          <p:cNvPr id="4" name="Slide Elements" hidden="1"/>
          <p:cNvGrpSpPr/>
          <p:nvPr/>
        </p:nvGrpSpPr>
        <p:grpSpPr bwMode="gray">
          <a:xfrm>
            <a:off x="119063" y="6305945"/>
            <a:ext cx="8618537" cy="325438"/>
            <a:chOff x="119063" y="6305945"/>
            <a:chExt cx="8618537" cy="325438"/>
          </a:xfrm>
        </p:grpSpPr>
        <p:sp>
          <p:nvSpPr>
            <p:cNvPr id="13" name="4. Footnote"/>
            <p:cNvSpPr txBox="1">
              <a:spLocks noChangeArrowheads="1"/>
            </p:cNvSpPr>
            <p:nvPr/>
          </p:nvSpPr>
          <p:spPr bwMode="gray">
            <a:xfrm>
              <a:off x="119063" y="6305945"/>
              <a:ext cx="8618537" cy="123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800" baseline="0" dirty="0">
                  <a:solidFill>
                    <a:schemeClr val="accent6"/>
                  </a:solidFill>
                  <a:latin typeface="+mn-lt"/>
                  <a:ea typeface="+mn-ea"/>
                </a:rPr>
                <a:t>1 Footnote</a:t>
              </a:r>
            </a:p>
          </p:txBody>
        </p:sp>
        <p:sp>
          <p:nvSpPr>
            <p:cNvPr id="14" name="5. Source"/>
            <p:cNvSpPr>
              <a:spLocks noChangeArrowheads="1"/>
            </p:cNvSpPr>
            <p:nvPr/>
          </p:nvSpPr>
          <p:spPr bwMode="gray">
            <a:xfrm>
              <a:off x="119063" y="6507558"/>
              <a:ext cx="7200000" cy="123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marL="609600" indent="-609600" defTabSz="895350">
                <a:tabLst>
                  <a:tab pos="612775" algn="l"/>
                </a:tabLst>
              </a:pPr>
              <a:r>
                <a:rPr lang="en-US" sz="800" baseline="0" dirty="0">
                  <a:solidFill>
                    <a:schemeClr val="accent6"/>
                  </a:solidFill>
                  <a:latin typeface="+mn-lt"/>
                  <a:ea typeface="+mn-ea"/>
                </a:rPr>
                <a:t>SOURCE: Source</a:t>
              </a:r>
            </a:p>
          </p:txBody>
        </p:sp>
      </p:grpSp>
      <p:sp>
        <p:nvSpPr>
          <p:cNvPr id="3" name="Text Placeholder 2"/>
          <p:cNvSpPr>
            <a:spLocks noGrp="1"/>
          </p:cNvSpPr>
          <p:nvPr>
            <p:ph type="body" idx="1"/>
          </p:nvPr>
        </p:nvSpPr>
        <p:spPr bwMode="gray">
          <a:xfrm>
            <a:off x="1452564" y="1951380"/>
            <a:ext cx="4302125" cy="1077218"/>
          </a:xfrm>
          <a:prstGeom prst="rect">
            <a:avLst/>
          </a:prstGeom>
        </p:spPr>
        <p:txBody>
          <a:bodyPr vert="horz" lIns="0" tIns="0" rIns="0" bIns="0" rtlCol="0">
            <a:spAutoFit/>
          </a:bodyPr>
          <a:lstStyle/>
          <a:p>
            <a:pPr lvl="0" latinLnBrk="0"/>
            <a:r>
              <a:rPr lang="en-US"/>
              <a:t>Edit Master text styles</a:t>
            </a:r>
          </a:p>
          <a:p>
            <a:pPr lvl="1" latinLnBrk="0"/>
            <a:r>
              <a:rPr lang="en-US"/>
              <a:t>Second level</a:t>
            </a:r>
          </a:p>
          <a:p>
            <a:pPr lvl="2" latinLnBrk="0"/>
            <a:r>
              <a:rPr lang="en-US"/>
              <a:t>Third level</a:t>
            </a:r>
          </a:p>
          <a:p>
            <a:pPr lvl="3" latinLnBrk="0"/>
            <a:r>
              <a:rPr lang="en-US"/>
              <a:t>Fourth level</a:t>
            </a:r>
          </a:p>
          <a:p>
            <a:pPr lvl="4" latinLnBrk="0"/>
            <a:r>
              <a:rPr lang="en-US"/>
              <a:t>Fifth level</a:t>
            </a:r>
            <a:endParaRPr lang="en-US" dirty="0"/>
          </a:p>
        </p:txBody>
      </p:sp>
      <p:grpSp>
        <p:nvGrpSpPr>
          <p:cNvPr id="15" name="ACET" hidden="1"/>
          <p:cNvGrpSpPr>
            <a:grpSpLocks/>
          </p:cNvGrpSpPr>
          <p:nvPr/>
        </p:nvGrpSpPr>
        <p:grpSpPr bwMode="gray">
          <a:xfrm>
            <a:off x="1452563" y="1257754"/>
            <a:ext cx="4264025" cy="508000"/>
            <a:chOff x="915" y="710"/>
            <a:chExt cx="2686" cy="320"/>
          </a:xfrm>
        </p:grpSpPr>
        <p:cxnSp>
          <p:nvCxnSpPr>
            <p:cNvPr id="16" name="AutoShape 249"/>
            <p:cNvCxnSpPr>
              <a:cxnSpLocks noChangeShapeType="1"/>
              <a:stCxn id="18" idx="4"/>
              <a:endCxn id="18" idx="6"/>
            </p:cNvCxnSpPr>
            <p:nvPr/>
          </p:nvCxnSpPr>
          <p:spPr bwMode="gray">
            <a:xfrm>
              <a:off x="915" y="1030"/>
              <a:ext cx="2686" cy="0"/>
            </a:xfrm>
            <a:prstGeom prst="straightConnector1">
              <a:avLst/>
            </a:prstGeom>
            <a:noFill/>
            <a:ln w="9525">
              <a:solidFill>
                <a:schemeClr val="accent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8" name="AutoShape 250"/>
            <p:cNvSpPr>
              <a:spLocks noChangeArrowheads="1"/>
            </p:cNvSpPr>
            <p:nvPr/>
          </p:nvSpPr>
          <p:spPr bwMode="gray">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US" b="1" baseline="0" dirty="0">
                  <a:solidFill>
                    <a:srgbClr val="000000"/>
                  </a:solidFill>
                  <a:latin typeface="+mn-lt"/>
                  <a:ea typeface="+mn-ea"/>
                </a:rPr>
                <a:t>Title</a:t>
              </a:r>
            </a:p>
            <a:p>
              <a:r>
                <a:rPr lang="en-US" baseline="0" dirty="0">
                  <a:solidFill>
                    <a:schemeClr val="accent6"/>
                  </a:solidFill>
                  <a:latin typeface="+mn-lt"/>
                  <a:ea typeface="+mn-ea"/>
                </a:rPr>
                <a:t>Unit of measure</a:t>
              </a:r>
            </a:p>
          </p:txBody>
        </p:sp>
      </p:grpSp>
      <p:grpSp>
        <p:nvGrpSpPr>
          <p:cNvPr id="17" name="McKSticker" hidden="1"/>
          <p:cNvGrpSpPr/>
          <p:nvPr/>
        </p:nvGrpSpPr>
        <p:grpSpPr bwMode="gray">
          <a:xfrm>
            <a:off x="8264265" y="285750"/>
            <a:ext cx="473335" cy="150811"/>
            <a:chOff x="8267440" y="285750"/>
            <a:chExt cx="473335" cy="150811"/>
          </a:xfrm>
        </p:grpSpPr>
        <p:sp>
          <p:nvSpPr>
            <p:cNvPr id="20" name="StickerRectangle"/>
            <p:cNvSpPr>
              <a:spLocks noChangeArrowheads="1"/>
            </p:cNvSpPr>
            <p:nvPr/>
          </p:nvSpPr>
          <p:spPr bwMode="gray">
            <a:xfrm>
              <a:off x="8267440" y="285750"/>
              <a:ext cx="473335" cy="150811"/>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a:buClr>
                  <a:srgbClr val="002960"/>
                </a:buClr>
              </a:pPr>
              <a:r>
                <a:rPr lang="en-US" sz="800" baseline="0" dirty="0">
                  <a:solidFill>
                    <a:schemeClr val="accent6"/>
                  </a:solidFill>
                  <a:latin typeface="+mn-lt"/>
                  <a:ea typeface="+mn-ea"/>
                </a:rPr>
                <a:t>STICKER</a:t>
              </a:r>
            </a:p>
          </p:txBody>
        </p:sp>
        <p:cxnSp>
          <p:nvCxnSpPr>
            <p:cNvPr id="21" name="AutoShape 31"/>
            <p:cNvCxnSpPr>
              <a:cxnSpLocks noChangeShapeType="1"/>
              <a:stCxn id="20" idx="2"/>
              <a:endCxn id="20" idx="4"/>
            </p:cNvCxnSpPr>
            <p:nvPr/>
          </p:nvCxnSpPr>
          <p:spPr bwMode="gray">
            <a:xfrm>
              <a:off x="8267440" y="285750"/>
              <a:ext cx="0" cy="150811"/>
            </a:xfrm>
            <a:prstGeom prst="straightConnector1">
              <a:avLst/>
            </a:prstGeom>
            <a:noFill/>
            <a:ln w="9525">
              <a:solidFill>
                <a:schemeClr val="accent6"/>
              </a:solidFill>
              <a:round/>
              <a:headEnd/>
              <a:tailEnd/>
            </a:ln>
            <a:extLst>
              <a:ext uri="{909E8E84-426E-40DD-AFC4-6F175D3DCCD1}">
                <a14:hiddenFill xmlns:a14="http://schemas.microsoft.com/office/drawing/2010/main">
                  <a:noFill/>
                </a14:hiddenFill>
              </a:ext>
            </a:extLst>
          </p:spPr>
        </p:cxnSp>
        <p:cxnSp>
          <p:nvCxnSpPr>
            <p:cNvPr id="22" name="AutoShape 32"/>
            <p:cNvCxnSpPr>
              <a:cxnSpLocks noChangeShapeType="1"/>
              <a:stCxn id="20" idx="4"/>
              <a:endCxn id="20" idx="6"/>
            </p:cNvCxnSpPr>
            <p:nvPr/>
          </p:nvCxnSpPr>
          <p:spPr bwMode="gray">
            <a:xfrm>
              <a:off x="8267440" y="436561"/>
              <a:ext cx="473335" cy="0"/>
            </a:xfrm>
            <a:prstGeom prst="straightConnector1">
              <a:avLst/>
            </a:prstGeom>
            <a:noFill/>
            <a:ln w="25400">
              <a:solidFill>
                <a:schemeClr val="accent6"/>
              </a:solidFill>
              <a:round/>
              <a:headEnd/>
              <a:tailEnd/>
            </a:ln>
            <a:extLst>
              <a:ext uri="{909E8E84-426E-40DD-AFC4-6F175D3DCCD1}">
                <a14:hiddenFill xmlns:a14="http://schemas.microsoft.com/office/drawing/2010/main">
                  <a:noFill/>
                </a14:hiddenFill>
              </a:ext>
            </a:extLst>
          </p:spPr>
        </p:cxnSp>
      </p:grpSp>
      <p:sp>
        <p:nvSpPr>
          <p:cNvPr id="23" name="SlideBottomBar" hidden="1"/>
          <p:cNvSpPr/>
          <p:nvPr/>
        </p:nvSpPr>
        <p:spPr>
          <a:xfrm>
            <a:off x="8437547" y="6182120"/>
            <a:ext cx="45719" cy="123825"/>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aseline="0" dirty="0">
              <a:solidFill>
                <a:schemeClr val="tx1"/>
              </a:solidFill>
              <a:latin typeface="+mn-lt"/>
              <a:ea typeface="+mn-ea"/>
            </a:endParaRPr>
          </a:p>
        </p:txBody>
      </p:sp>
      <p:sp>
        <p:nvSpPr>
          <p:cNvPr id="24" name="doc id" hidden="1"/>
          <p:cNvSpPr txBox="1">
            <a:spLocks noChangeArrowheads="1"/>
          </p:cNvSpPr>
          <p:nvPr/>
        </p:nvSpPr>
        <p:spPr bwMode="white">
          <a:xfrm>
            <a:off x="8104473" y="36513"/>
            <a:ext cx="634716" cy="115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hangingPunct="1">
              <a:defRPr/>
            </a:pPr>
            <a:endParaRPr lang="en-US" sz="800" baseline="0" dirty="0">
              <a:solidFill>
                <a:schemeClr val="accent1"/>
              </a:solidFill>
              <a:latin typeface="+mn-lt"/>
              <a:ea typeface="+mn-ea"/>
            </a:endParaRPr>
          </a:p>
        </p:txBody>
      </p:sp>
      <p:grpSp>
        <p:nvGrpSpPr>
          <p:cNvPr id="63" name="LegendLines" hidden="1"/>
          <p:cNvGrpSpPr/>
          <p:nvPr/>
        </p:nvGrpSpPr>
        <p:grpSpPr>
          <a:xfrm>
            <a:off x="7551589" y="267815"/>
            <a:ext cx="1158292" cy="761545"/>
            <a:chOff x="7607284" y="279400"/>
            <a:chExt cx="1158292" cy="761545"/>
          </a:xfrm>
        </p:grpSpPr>
        <p:sp>
          <p:nvSpPr>
            <p:cNvPr id="64" name="LineLegend1"/>
            <p:cNvSpPr>
              <a:spLocks noChangeShapeType="1"/>
            </p:cNvSpPr>
            <p:nvPr/>
          </p:nvSpPr>
          <p:spPr bwMode="gray">
            <a:xfrm>
              <a:off x="7607284" y="387122"/>
              <a:ext cx="457200"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65" name="LineLegend2"/>
            <p:cNvSpPr>
              <a:spLocks noChangeShapeType="1"/>
            </p:cNvSpPr>
            <p:nvPr/>
          </p:nvSpPr>
          <p:spPr bwMode="gray">
            <a:xfrm>
              <a:off x="7607284" y="653822"/>
              <a:ext cx="457200"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66" name="LineLegend3"/>
            <p:cNvSpPr>
              <a:spLocks noChangeShapeType="1"/>
            </p:cNvSpPr>
            <p:nvPr/>
          </p:nvSpPr>
          <p:spPr bwMode="gray">
            <a:xfrm>
              <a:off x="7607284" y="933223"/>
              <a:ext cx="457200"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67" name="Legend1"/>
            <p:cNvSpPr>
              <a:spLocks noChangeArrowheads="1"/>
            </p:cNvSpPr>
            <p:nvPr>
              <p:custDataLst>
                <p:tags r:id="rId33"/>
              </p:custDataLst>
            </p:nvPr>
          </p:nvSpPr>
          <p:spPr bwMode="gray">
            <a:xfrm>
              <a:off x="8169259" y="279400"/>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sp>
          <p:nvSpPr>
            <p:cNvPr id="68" name="Legend2"/>
            <p:cNvSpPr>
              <a:spLocks noChangeArrowheads="1"/>
            </p:cNvSpPr>
            <p:nvPr>
              <p:custDataLst>
                <p:tags r:id="rId34"/>
              </p:custDataLst>
            </p:nvPr>
          </p:nvSpPr>
          <p:spPr bwMode="gray">
            <a:xfrm>
              <a:off x="8169259" y="546100"/>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a:latin typeface="+mn-lt"/>
                  <a:ea typeface="+mn-ea"/>
                </a:rPr>
                <a:t>Legend</a:t>
              </a:r>
              <a:endParaRPr lang="en-US" sz="1400" baseline="0" dirty="0">
                <a:latin typeface="+mn-lt"/>
                <a:ea typeface="+mn-ea"/>
              </a:endParaRPr>
            </a:p>
          </p:txBody>
        </p:sp>
        <p:sp>
          <p:nvSpPr>
            <p:cNvPr id="69" name="Legend3"/>
            <p:cNvSpPr>
              <a:spLocks noChangeArrowheads="1"/>
            </p:cNvSpPr>
            <p:nvPr>
              <p:custDataLst>
                <p:tags r:id="rId35"/>
              </p:custDataLst>
            </p:nvPr>
          </p:nvSpPr>
          <p:spPr bwMode="gray">
            <a:xfrm>
              <a:off x="8169259" y="825501"/>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grpSp>
      <p:grpSp>
        <p:nvGrpSpPr>
          <p:cNvPr id="70" name="LegendBoxes" hidden="1"/>
          <p:cNvGrpSpPr/>
          <p:nvPr/>
        </p:nvGrpSpPr>
        <p:grpSpPr>
          <a:xfrm>
            <a:off x="7859564" y="267919"/>
            <a:ext cx="850317" cy="1028245"/>
            <a:chOff x="5894005" y="919828"/>
            <a:chExt cx="850317" cy="1028245"/>
          </a:xfrm>
        </p:grpSpPr>
        <p:sp>
          <p:nvSpPr>
            <p:cNvPr id="71" name="RectangleLegend1"/>
            <p:cNvSpPr>
              <a:spLocks noChangeArrowheads="1"/>
            </p:cNvSpPr>
            <p:nvPr/>
          </p:nvSpPr>
          <p:spPr bwMode="gray">
            <a:xfrm>
              <a:off x="5894005" y="947381"/>
              <a:ext cx="165100" cy="160338"/>
            </a:xfrm>
            <a:prstGeom prst="rect">
              <a:avLst/>
            </a:prstGeom>
            <a:solidFill>
              <a:schemeClr val="accent1"/>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72" name="RectangleLegend2"/>
            <p:cNvSpPr>
              <a:spLocks noChangeArrowheads="1"/>
            </p:cNvSpPr>
            <p:nvPr/>
          </p:nvSpPr>
          <p:spPr bwMode="gray">
            <a:xfrm>
              <a:off x="5894005" y="1217256"/>
              <a:ext cx="165100" cy="160338"/>
            </a:xfrm>
            <a:prstGeom prst="rect">
              <a:avLst/>
            </a:prstGeom>
            <a:solidFill>
              <a:schemeClr val="accent2"/>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73" name="RectangleLegend3"/>
            <p:cNvSpPr>
              <a:spLocks noChangeArrowheads="1"/>
            </p:cNvSpPr>
            <p:nvPr/>
          </p:nvSpPr>
          <p:spPr bwMode="gray">
            <a:xfrm>
              <a:off x="5894005" y="1488719"/>
              <a:ext cx="165100" cy="160338"/>
            </a:xfrm>
            <a:prstGeom prst="rect">
              <a:avLst/>
            </a:prstGeom>
            <a:solidFill>
              <a:schemeClr val="accent3"/>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74" name="RectangleLegend4"/>
            <p:cNvSpPr>
              <a:spLocks noChangeArrowheads="1"/>
            </p:cNvSpPr>
            <p:nvPr/>
          </p:nvSpPr>
          <p:spPr bwMode="gray">
            <a:xfrm>
              <a:off x="5894005" y="1760182"/>
              <a:ext cx="165100" cy="160338"/>
            </a:xfrm>
            <a:prstGeom prst="rect">
              <a:avLst/>
            </a:prstGeom>
            <a:solidFill>
              <a:schemeClr val="accent4"/>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75" name="Legend1"/>
            <p:cNvSpPr>
              <a:spLocks noChangeArrowheads="1"/>
            </p:cNvSpPr>
            <p:nvPr>
              <p:custDataLst>
                <p:tags r:id="rId29"/>
              </p:custDataLst>
            </p:nvPr>
          </p:nvSpPr>
          <p:spPr bwMode="gray">
            <a:xfrm>
              <a:off x="6148005" y="919828"/>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sp>
          <p:nvSpPr>
            <p:cNvPr id="76" name="Legend2"/>
            <p:cNvSpPr>
              <a:spLocks noChangeArrowheads="1"/>
            </p:cNvSpPr>
            <p:nvPr>
              <p:custDataLst>
                <p:tags r:id="rId30"/>
              </p:custDataLst>
            </p:nvPr>
          </p:nvSpPr>
          <p:spPr bwMode="gray">
            <a:xfrm>
              <a:off x="6148005" y="1189703"/>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sp>
          <p:nvSpPr>
            <p:cNvPr id="77" name="Legend3"/>
            <p:cNvSpPr>
              <a:spLocks noChangeArrowheads="1"/>
            </p:cNvSpPr>
            <p:nvPr>
              <p:custDataLst>
                <p:tags r:id="rId31"/>
              </p:custDataLst>
            </p:nvPr>
          </p:nvSpPr>
          <p:spPr bwMode="gray">
            <a:xfrm>
              <a:off x="6148005" y="1461166"/>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sp>
          <p:nvSpPr>
            <p:cNvPr id="78" name="Legend4"/>
            <p:cNvSpPr>
              <a:spLocks noChangeArrowheads="1"/>
            </p:cNvSpPr>
            <p:nvPr>
              <p:custDataLst>
                <p:tags r:id="rId32"/>
              </p:custDataLst>
            </p:nvPr>
          </p:nvSpPr>
          <p:spPr bwMode="gray">
            <a:xfrm>
              <a:off x="6148005" y="1732629"/>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grpSp>
      <p:grpSp>
        <p:nvGrpSpPr>
          <p:cNvPr id="79" name="LegendMoons" hidden="1"/>
          <p:cNvGrpSpPr/>
          <p:nvPr/>
        </p:nvGrpSpPr>
        <p:grpSpPr>
          <a:xfrm>
            <a:off x="7792889" y="267414"/>
            <a:ext cx="916992" cy="1317003"/>
            <a:chOff x="5894005" y="2695123"/>
            <a:chExt cx="916992" cy="1317003"/>
          </a:xfrm>
        </p:grpSpPr>
        <p:grpSp>
          <p:nvGrpSpPr>
            <p:cNvPr id="80" name="MoonLegend1"/>
            <p:cNvGrpSpPr>
              <a:grpSpLocks noChangeAspect="1"/>
            </p:cNvGrpSpPr>
            <p:nvPr>
              <p:custDataLst>
                <p:tags r:id="rId9"/>
              </p:custDataLst>
            </p:nvPr>
          </p:nvGrpSpPr>
          <p:grpSpPr bwMode="gray">
            <a:xfrm>
              <a:off x="5894005" y="2695123"/>
              <a:ext cx="209550" cy="218282"/>
              <a:chOff x="4533" y="183"/>
              <a:chExt cx="144" cy="150"/>
            </a:xfrm>
          </p:grpSpPr>
          <p:sp>
            <p:nvSpPr>
              <p:cNvPr id="98" name="Oval 97"/>
              <p:cNvSpPr>
                <a:spLocks noChangeAspect="1" noChangeArrowheads="1"/>
              </p:cNvSpPr>
              <p:nvPr>
                <p:custDataLst>
                  <p:tags r:id="rId27"/>
                </p:custDataLst>
              </p:nvPr>
            </p:nvSpPr>
            <p:spPr bwMode="gray">
              <a:xfrm>
                <a:off x="4533" y="189"/>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99" name="Arc 98" hidden="1"/>
              <p:cNvSpPr>
                <a:spLocks noChangeAspect="1"/>
              </p:cNvSpPr>
              <p:nvPr>
                <p:custDataLst>
                  <p:tags r:id="rId28"/>
                </p:custDataLst>
              </p:nvPr>
            </p:nvSpPr>
            <p:spPr bwMode="gray">
              <a:xfrm>
                <a:off x="4533" y="183"/>
                <a:ext cx="144" cy="144"/>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grpSp>
        <p:grpSp>
          <p:nvGrpSpPr>
            <p:cNvPr id="81" name="MoonLegend2"/>
            <p:cNvGrpSpPr>
              <a:grpSpLocks noChangeAspect="1"/>
            </p:cNvGrpSpPr>
            <p:nvPr>
              <p:custDataLst>
                <p:tags r:id="rId10"/>
              </p:custDataLst>
            </p:nvPr>
          </p:nvGrpSpPr>
          <p:grpSpPr bwMode="gray">
            <a:xfrm>
              <a:off x="5894005" y="2977103"/>
              <a:ext cx="209550" cy="209551"/>
              <a:chOff x="1694" y="2051"/>
              <a:chExt cx="160" cy="160"/>
            </a:xfrm>
          </p:grpSpPr>
          <p:sp>
            <p:nvSpPr>
              <p:cNvPr id="96" name="Oval 41"/>
              <p:cNvSpPr>
                <a:spLocks noChangeAspect="1" noChangeArrowheads="1"/>
              </p:cNvSpPr>
              <p:nvPr>
                <p:custDataLst>
                  <p:tags r:id="rId25"/>
                </p:custDataLst>
              </p:nvPr>
            </p:nvSpPr>
            <p:spPr bwMode="gray">
              <a:xfrm>
                <a:off x="1694" y="2051"/>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97" name="Arc 42"/>
              <p:cNvSpPr>
                <a:spLocks noChangeAspect="1"/>
              </p:cNvSpPr>
              <p:nvPr>
                <p:custDataLst>
                  <p:tags r:id="rId26"/>
                </p:custDataLst>
              </p:nvPr>
            </p:nvSpPr>
            <p:spPr bwMode="gray">
              <a:xfrm>
                <a:off x="1694" y="2051"/>
                <a:ext cx="160" cy="160"/>
              </a:xfrm>
              <a:prstGeom prst="arc">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grpSp>
        <p:grpSp>
          <p:nvGrpSpPr>
            <p:cNvPr id="82" name="MoonLegend4"/>
            <p:cNvGrpSpPr>
              <a:grpSpLocks noChangeAspect="1"/>
            </p:cNvGrpSpPr>
            <p:nvPr>
              <p:custDataLst>
                <p:tags r:id="rId11"/>
              </p:custDataLst>
            </p:nvPr>
          </p:nvGrpSpPr>
          <p:grpSpPr bwMode="gray">
            <a:xfrm>
              <a:off x="5894005" y="3524395"/>
              <a:ext cx="209550" cy="209551"/>
              <a:chOff x="4495" y="1204"/>
              <a:chExt cx="160" cy="160"/>
            </a:xfrm>
          </p:grpSpPr>
          <p:sp>
            <p:nvSpPr>
              <p:cNvPr id="94" name="Oval 47"/>
              <p:cNvSpPr>
                <a:spLocks noChangeAspect="1" noChangeArrowheads="1"/>
              </p:cNvSpPr>
              <p:nvPr>
                <p:custDataLst>
                  <p:tags r:id="rId23"/>
                </p:custDataLst>
              </p:nvPr>
            </p:nvSpPr>
            <p:spPr bwMode="gray">
              <a:xfrm>
                <a:off x="4495" y="120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95" name="Arc 48"/>
              <p:cNvSpPr>
                <a:spLocks noChangeAspect="1"/>
              </p:cNvSpPr>
              <p:nvPr>
                <p:custDataLst>
                  <p:tags r:id="rId24"/>
                </p:custDataLst>
              </p:nvPr>
            </p:nvSpPr>
            <p:spPr bwMode="gray">
              <a:xfrm>
                <a:off x="4495" y="1204"/>
                <a:ext cx="160" cy="160"/>
              </a:xfrm>
              <a:prstGeom prst="arc">
                <a:avLst>
                  <a:gd name="adj1" fmla="val 16200000"/>
                  <a:gd name="adj2" fmla="val 108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grpSp>
        <p:grpSp>
          <p:nvGrpSpPr>
            <p:cNvPr id="83" name="MoonLegend5"/>
            <p:cNvGrpSpPr>
              <a:grpSpLocks noChangeAspect="1"/>
            </p:cNvGrpSpPr>
            <p:nvPr>
              <p:custDataLst>
                <p:tags r:id="rId12"/>
              </p:custDataLst>
            </p:nvPr>
          </p:nvGrpSpPr>
          <p:grpSpPr bwMode="gray">
            <a:xfrm>
              <a:off x="5894005" y="3799629"/>
              <a:ext cx="209550" cy="209551"/>
              <a:chOff x="4495" y="1447"/>
              <a:chExt cx="160" cy="160"/>
            </a:xfrm>
          </p:grpSpPr>
          <p:sp>
            <p:nvSpPr>
              <p:cNvPr id="92" name="Oval 50"/>
              <p:cNvSpPr>
                <a:spLocks noChangeAspect="1" noChangeArrowheads="1"/>
              </p:cNvSpPr>
              <p:nvPr>
                <p:custDataLst>
                  <p:tags r:id="rId21"/>
                </p:custDataLst>
              </p:nvPr>
            </p:nvSpPr>
            <p:spPr bwMode="gray">
              <a:xfrm>
                <a:off x="4495" y="1447"/>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93" name="Oval 51"/>
              <p:cNvSpPr>
                <a:spLocks noChangeAspect="1" noChangeArrowheads="1"/>
              </p:cNvSpPr>
              <p:nvPr>
                <p:custDataLst>
                  <p:tags r:id="rId22"/>
                </p:custDataLst>
              </p:nvPr>
            </p:nvSpPr>
            <p:spPr bwMode="gray">
              <a:xfrm>
                <a:off x="4495" y="1447"/>
                <a:ext cx="160" cy="160"/>
              </a:xfrm>
              <a:prstGeom prst="arc">
                <a:avLst>
                  <a:gd name="adj1" fmla="val 16200000"/>
                  <a:gd name="adj2" fmla="val 162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grpSp>
        <p:grpSp>
          <p:nvGrpSpPr>
            <p:cNvPr id="84" name="MoonLegend3"/>
            <p:cNvGrpSpPr>
              <a:grpSpLocks noChangeAspect="1"/>
            </p:cNvGrpSpPr>
            <p:nvPr>
              <p:custDataLst>
                <p:tags r:id="rId13"/>
              </p:custDataLst>
            </p:nvPr>
          </p:nvGrpSpPr>
          <p:grpSpPr bwMode="gray">
            <a:xfrm>
              <a:off x="5894005" y="3251543"/>
              <a:ext cx="209550" cy="209551"/>
              <a:chOff x="4495" y="1205"/>
              <a:chExt cx="160" cy="160"/>
            </a:xfrm>
          </p:grpSpPr>
          <p:sp>
            <p:nvSpPr>
              <p:cNvPr id="90" name="Oval 47"/>
              <p:cNvSpPr>
                <a:spLocks noChangeAspect="1" noChangeArrowheads="1"/>
              </p:cNvSpPr>
              <p:nvPr>
                <p:custDataLst>
                  <p:tags r:id="rId19"/>
                </p:custDataLst>
              </p:nvPr>
            </p:nvSpPr>
            <p:spPr bwMode="gray">
              <a:xfrm>
                <a:off x="4495" y="1205"/>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91" name="Arc 48"/>
              <p:cNvSpPr>
                <a:spLocks noChangeAspect="1"/>
              </p:cNvSpPr>
              <p:nvPr>
                <p:custDataLst>
                  <p:tags r:id="rId20"/>
                </p:custDataLst>
              </p:nvPr>
            </p:nvSpPr>
            <p:spPr bwMode="gray">
              <a:xfrm>
                <a:off x="4495" y="1205"/>
                <a:ext cx="160" cy="160"/>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grpSp>
        <p:sp>
          <p:nvSpPr>
            <p:cNvPr id="85" name="Legend1"/>
            <p:cNvSpPr>
              <a:spLocks noChangeArrowheads="1"/>
            </p:cNvSpPr>
            <p:nvPr>
              <p:custDataLst>
                <p:tags r:id="rId14"/>
              </p:custDataLst>
            </p:nvPr>
          </p:nvSpPr>
          <p:spPr bwMode="gray">
            <a:xfrm>
              <a:off x="6214680" y="2696542"/>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sp>
          <p:nvSpPr>
            <p:cNvPr id="86" name="Legend2"/>
            <p:cNvSpPr>
              <a:spLocks noChangeArrowheads="1"/>
            </p:cNvSpPr>
            <p:nvPr>
              <p:custDataLst>
                <p:tags r:id="rId15"/>
              </p:custDataLst>
            </p:nvPr>
          </p:nvSpPr>
          <p:spPr bwMode="gray">
            <a:xfrm>
              <a:off x="6214680" y="2974156"/>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a:latin typeface="+mn-lt"/>
                  <a:ea typeface="+mn-ea"/>
                </a:rPr>
                <a:t>Legend</a:t>
              </a:r>
              <a:endParaRPr lang="en-US" sz="1400" baseline="0" dirty="0">
                <a:latin typeface="+mn-lt"/>
                <a:ea typeface="+mn-ea"/>
              </a:endParaRPr>
            </a:p>
          </p:txBody>
        </p:sp>
        <p:sp>
          <p:nvSpPr>
            <p:cNvPr id="87" name="Legend3"/>
            <p:cNvSpPr>
              <a:spLocks noChangeArrowheads="1"/>
            </p:cNvSpPr>
            <p:nvPr>
              <p:custDataLst>
                <p:tags r:id="rId16"/>
              </p:custDataLst>
            </p:nvPr>
          </p:nvSpPr>
          <p:spPr bwMode="gray">
            <a:xfrm>
              <a:off x="6214680" y="3248596"/>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sp>
          <p:nvSpPr>
            <p:cNvPr id="88" name="Legend4"/>
            <p:cNvSpPr>
              <a:spLocks noChangeArrowheads="1"/>
            </p:cNvSpPr>
            <p:nvPr>
              <p:custDataLst>
                <p:tags r:id="rId17"/>
              </p:custDataLst>
            </p:nvPr>
          </p:nvSpPr>
          <p:spPr bwMode="gray">
            <a:xfrm>
              <a:off x="6214680" y="3521448"/>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sp>
          <p:nvSpPr>
            <p:cNvPr id="89" name="Legend5"/>
            <p:cNvSpPr>
              <a:spLocks noChangeArrowheads="1"/>
            </p:cNvSpPr>
            <p:nvPr>
              <p:custDataLst>
                <p:tags r:id="rId18"/>
              </p:custDataLst>
            </p:nvPr>
          </p:nvSpPr>
          <p:spPr bwMode="gray">
            <a:xfrm>
              <a:off x="6214680" y="3796682"/>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a:latin typeface="+mn-lt"/>
                  <a:ea typeface="+mn-ea"/>
                </a:rPr>
                <a:t>Legend</a:t>
              </a:r>
              <a:endParaRPr lang="en-US" sz="1400" baseline="0" dirty="0">
                <a:latin typeface="+mn-lt"/>
                <a:ea typeface="+mn-ea"/>
              </a:endParaRPr>
            </a:p>
          </p:txBody>
        </p:sp>
      </p:grpSp>
    </p:spTree>
    <p:extLst>
      <p:ext uri="{BB962C8B-B14F-4D97-AF65-F5344CB8AC3E}">
        <p14:creationId xmlns:p14="http://schemas.microsoft.com/office/powerpoint/2010/main" val="390767322"/>
      </p:ext>
    </p:extLst>
  </p:cSld>
  <p:clrMap bg1="lt1" tx1="dk1" bg2="lt2" tx2="dk2" accent1="accent1" accent2="accent2" accent3="accent3" accent4="accent4" accent5="accent5" accent6="accent6" hlink="hlink" folHlink="folHlink"/>
  <p:sldLayoutIdLst>
    <p:sldLayoutId id="2147483791" r:id="rId1"/>
    <p:sldLayoutId id="2147483792" r:id="rId2"/>
    <p:sldLayoutId id="2147483793" r:id="rId3"/>
    <p:sldLayoutId id="2147483794" r:id="rId4"/>
  </p:sldLayoutIdLst>
  <p:txStyles>
    <p:titleStyle>
      <a:lvl1pPr algn="l" defTabSz="895350" rtl="0" eaLnBrk="1" fontAlgn="base" hangingPunct="1">
        <a:spcBef>
          <a:spcPct val="0"/>
        </a:spcBef>
        <a:spcAft>
          <a:spcPct val="0"/>
        </a:spcAft>
        <a:tabLst>
          <a:tab pos="269875" algn="l"/>
        </a:tabLst>
        <a:defRPr sz="2000" b="0" baseline="0">
          <a:solidFill>
            <a:schemeClr val="tx2"/>
          </a:solidFill>
          <a:latin typeface="+mj-lt"/>
          <a:ea typeface="+mj-ea"/>
          <a:cs typeface="+mj-cs"/>
        </a:defRPr>
      </a:lvl1pPr>
      <a:lvl2pPr algn="l" defTabSz="895350" rtl="0" eaLnBrk="1" fontAlgn="base" hangingPunct="1">
        <a:spcBef>
          <a:spcPct val="0"/>
        </a:spcBef>
        <a:spcAft>
          <a:spcPct val="0"/>
        </a:spcAft>
        <a:defRPr sz="1900" b="1">
          <a:solidFill>
            <a:schemeClr val="tx2"/>
          </a:solidFill>
          <a:latin typeface="Arial" charset="0"/>
        </a:defRPr>
      </a:lvl2pPr>
      <a:lvl3pPr algn="l" defTabSz="895350" rtl="0" eaLnBrk="1" fontAlgn="base" hangingPunct="1">
        <a:spcBef>
          <a:spcPct val="0"/>
        </a:spcBef>
        <a:spcAft>
          <a:spcPct val="0"/>
        </a:spcAft>
        <a:defRPr sz="1900" b="1">
          <a:solidFill>
            <a:schemeClr val="tx2"/>
          </a:solidFill>
          <a:latin typeface="Arial" charset="0"/>
        </a:defRPr>
      </a:lvl3pPr>
      <a:lvl4pPr algn="l" defTabSz="895350" rtl="0" eaLnBrk="1" fontAlgn="base" hangingPunct="1">
        <a:spcBef>
          <a:spcPct val="0"/>
        </a:spcBef>
        <a:spcAft>
          <a:spcPct val="0"/>
        </a:spcAft>
        <a:defRPr sz="1900" b="1">
          <a:solidFill>
            <a:schemeClr val="tx2"/>
          </a:solidFill>
          <a:latin typeface="Arial" charset="0"/>
        </a:defRPr>
      </a:lvl4pPr>
      <a:lvl5pPr algn="l" defTabSz="895350" rtl="0" eaLnBrk="1" fontAlgn="base" hangingPunct="1">
        <a:spcBef>
          <a:spcPct val="0"/>
        </a:spcBef>
        <a:spcAft>
          <a:spcPct val="0"/>
        </a:spcAft>
        <a:defRPr sz="1900" b="1">
          <a:solidFill>
            <a:schemeClr val="tx2"/>
          </a:solidFill>
          <a:latin typeface="Arial" charset="0"/>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p:titleStyle>
    <p:bodyStyle>
      <a:lvl1pPr marL="0" indent="0" algn="l" defTabSz="895350" rtl="0" eaLnBrk="1" fontAlgn="base" hangingPunct="1">
        <a:spcBef>
          <a:spcPct val="0"/>
        </a:spcBef>
        <a:spcAft>
          <a:spcPct val="0"/>
        </a:spcAft>
        <a:buClr>
          <a:schemeClr val="tx2"/>
        </a:buClr>
        <a:buSzPct val="100000"/>
        <a:defRPr sz="14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4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4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4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4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ext>
  </p:extLst>
</p:sldMaster>
</file>

<file path=ppt/slideMasters/slideMaster2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7"/>
            </p:custDataLst>
            <p:extLst>
              <p:ext uri="{D42A27DB-BD31-4B8C-83A1-F6EECF244321}">
                <p14:modId xmlns:p14="http://schemas.microsoft.com/office/powerpoint/2010/main" val="3615257252"/>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9044" name="think-cell Slide" r:id="rId36" imgW="270" imgH="270" progId="TCLayout.ActiveDocument.1">
                  <p:embed/>
                </p:oleObj>
              </mc:Choice>
              <mc:Fallback>
                <p:oleObj name="think-cell Slide" r:id="rId36" imgW="270" imgH="270" progId="TCLayout.ActiveDocument.1">
                  <p:embed/>
                  <p:pic>
                    <p:nvPicPr>
                      <p:cNvPr id="2" name="Object 1" hidden="1"/>
                      <p:cNvPicPr/>
                      <p:nvPr/>
                    </p:nvPicPr>
                    <p:blipFill>
                      <a:blip r:embed="rId37"/>
                      <a:stretch>
                        <a:fillRect/>
                      </a:stretch>
                    </p:blipFill>
                    <p:spPr>
                      <a:xfrm>
                        <a:off x="0" y="0"/>
                        <a:ext cx="158750" cy="158750"/>
                      </a:xfrm>
                      <a:prstGeom prst="rect">
                        <a:avLst/>
                      </a:prstGeom>
                    </p:spPr>
                  </p:pic>
                </p:oleObj>
              </mc:Fallback>
            </mc:AlternateContent>
          </a:graphicData>
        </a:graphic>
      </p:graphicFrame>
      <p:sp>
        <p:nvSpPr>
          <p:cNvPr id="6" name="Rectangle 5" hidden="1"/>
          <p:cNvSpPr/>
          <p:nvPr>
            <p:custDataLst>
              <p:tags r:id="rId8"/>
            </p:custDataLst>
          </p:nvPr>
        </p:nvSpPr>
        <p:spPr bwMode="auto">
          <a:xfrm>
            <a:off x="0" y="0"/>
            <a:ext cx="158750" cy="158750"/>
          </a:xfrm>
          <a:prstGeom prst="rect">
            <a:avLst/>
          </a:prstGeom>
          <a:solidFill>
            <a:schemeClr val="bg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dirty="0">
              <a:solidFill>
                <a:srgbClr val="000000"/>
              </a:solidFill>
              <a:sym typeface="Arial" panose="020B0604020202020204" pitchFamily="34" charset="0"/>
            </a:endParaRPr>
          </a:p>
        </p:txBody>
      </p:sp>
      <p:sp>
        <p:nvSpPr>
          <p:cNvPr id="1034" name="Working Draft" hidden="1"/>
          <p:cNvSpPr txBox="1">
            <a:spLocks noChangeArrowheads="1"/>
          </p:cNvSpPr>
          <p:nvPr/>
        </p:nvSpPr>
        <p:spPr bwMode="gray">
          <a:xfrm rot="5400000">
            <a:off x="7966656" y="1940591"/>
            <a:ext cx="1849865"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600" baseline="0">
                <a:solidFill>
                  <a:srgbClr val="808080"/>
                </a:solidFill>
                <a:latin typeface="+mn-lt"/>
                <a:ea typeface="+mn-ea"/>
              </a:rPr>
              <a:t>Last Modified 21/05/2018 17:44 India Standard Time</a:t>
            </a:r>
            <a:endParaRPr lang="en-US" baseline="0" dirty="0">
              <a:solidFill>
                <a:srgbClr val="808080"/>
              </a:solidFill>
              <a:latin typeface="+mn-lt"/>
              <a:ea typeface="+mn-ea"/>
            </a:endParaRPr>
          </a:p>
        </p:txBody>
      </p:sp>
      <p:sp>
        <p:nvSpPr>
          <p:cNvPr id="1035" name="Printed" hidden="1"/>
          <p:cNvSpPr txBox="1">
            <a:spLocks noChangeArrowheads="1"/>
          </p:cNvSpPr>
          <p:nvPr/>
        </p:nvSpPr>
        <p:spPr bwMode="gray">
          <a:xfrm rot="5400000">
            <a:off x="8768958" y="4114417"/>
            <a:ext cx="245260"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600" baseline="0" dirty="0">
                <a:solidFill>
                  <a:srgbClr val="808080"/>
                </a:solidFill>
                <a:latin typeface="+mn-lt"/>
                <a:ea typeface="+mn-ea"/>
              </a:rPr>
              <a:t>Printed</a:t>
            </a:r>
            <a:endParaRPr lang="en-US" baseline="0" dirty="0">
              <a:solidFill>
                <a:srgbClr val="808080"/>
              </a:solidFill>
              <a:latin typeface="+mn-lt"/>
              <a:ea typeface="+mn-ea"/>
            </a:endParaRPr>
          </a:p>
        </p:txBody>
      </p:sp>
      <p:sp>
        <p:nvSpPr>
          <p:cNvPr id="19" name="Title Placeholder 2"/>
          <p:cNvSpPr>
            <a:spLocks noGrp="1" noChangeArrowheads="1"/>
          </p:cNvSpPr>
          <p:nvPr>
            <p:ph type="title"/>
          </p:nvPr>
        </p:nvSpPr>
        <p:spPr bwMode="gray">
          <a:xfrm>
            <a:off x="119063" y="230188"/>
            <a:ext cx="8618537"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latinLnBrk="0"/>
            <a:r>
              <a:rPr lang="en-US"/>
              <a:t>Click to edit Master title style</a:t>
            </a:r>
            <a:endParaRPr lang="en-US" noProof="0" dirty="0"/>
          </a:p>
        </p:txBody>
      </p:sp>
      <p:sp>
        <p:nvSpPr>
          <p:cNvPr id="10" name="1. On-page tracker" hidden="1"/>
          <p:cNvSpPr>
            <a:spLocks noChangeArrowheads="1"/>
          </p:cNvSpPr>
          <p:nvPr/>
        </p:nvSpPr>
        <p:spPr bwMode="gray">
          <a:xfrm>
            <a:off x="119063" y="75764"/>
            <a:ext cx="490519"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800" cap="all" baseline="0" dirty="0">
                <a:solidFill>
                  <a:schemeClr val="accent6"/>
                </a:solidFill>
                <a:latin typeface="+mn-lt"/>
                <a:ea typeface="+mn-ea"/>
              </a:rPr>
              <a:t>Tracker</a:t>
            </a:r>
          </a:p>
        </p:txBody>
      </p:sp>
      <p:sp>
        <p:nvSpPr>
          <p:cNvPr id="11" name="3. Unit of measure" hidden="1"/>
          <p:cNvSpPr txBox="1">
            <a:spLocks noChangeArrowheads="1"/>
          </p:cNvSpPr>
          <p:nvPr/>
        </p:nvSpPr>
        <p:spPr bwMode="gray">
          <a:xfrm>
            <a:off x="119063" y="554865"/>
            <a:ext cx="8618537"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600" baseline="0" dirty="0">
                <a:solidFill>
                  <a:schemeClr val="accent6"/>
                </a:solidFill>
                <a:latin typeface="+mn-lt"/>
                <a:ea typeface="+mn-ea"/>
              </a:rPr>
              <a:t>Unit of measure</a:t>
            </a:r>
          </a:p>
        </p:txBody>
      </p:sp>
      <p:grpSp>
        <p:nvGrpSpPr>
          <p:cNvPr id="4" name="Slide Elements" hidden="1"/>
          <p:cNvGrpSpPr/>
          <p:nvPr/>
        </p:nvGrpSpPr>
        <p:grpSpPr bwMode="gray">
          <a:xfrm>
            <a:off x="119063" y="6305945"/>
            <a:ext cx="8618537" cy="325438"/>
            <a:chOff x="119063" y="6305945"/>
            <a:chExt cx="8618537" cy="325438"/>
          </a:xfrm>
        </p:grpSpPr>
        <p:sp>
          <p:nvSpPr>
            <p:cNvPr id="13" name="4. Footnote"/>
            <p:cNvSpPr txBox="1">
              <a:spLocks noChangeArrowheads="1"/>
            </p:cNvSpPr>
            <p:nvPr/>
          </p:nvSpPr>
          <p:spPr bwMode="gray">
            <a:xfrm>
              <a:off x="119063" y="6305945"/>
              <a:ext cx="8618537" cy="123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800" baseline="0" dirty="0">
                  <a:solidFill>
                    <a:schemeClr val="accent6"/>
                  </a:solidFill>
                  <a:latin typeface="+mn-lt"/>
                  <a:ea typeface="+mn-ea"/>
                </a:rPr>
                <a:t>1 Footnote</a:t>
              </a:r>
            </a:p>
          </p:txBody>
        </p:sp>
        <p:sp>
          <p:nvSpPr>
            <p:cNvPr id="14" name="5. Source"/>
            <p:cNvSpPr>
              <a:spLocks noChangeArrowheads="1"/>
            </p:cNvSpPr>
            <p:nvPr/>
          </p:nvSpPr>
          <p:spPr bwMode="gray">
            <a:xfrm>
              <a:off x="119063" y="6507558"/>
              <a:ext cx="7200000" cy="123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marL="609600" indent="-609600" defTabSz="895350">
                <a:tabLst>
                  <a:tab pos="612775" algn="l"/>
                </a:tabLst>
              </a:pPr>
              <a:r>
                <a:rPr lang="en-US" sz="800" baseline="0" dirty="0">
                  <a:solidFill>
                    <a:schemeClr val="accent6"/>
                  </a:solidFill>
                  <a:latin typeface="+mn-lt"/>
                  <a:ea typeface="+mn-ea"/>
                </a:rPr>
                <a:t>SOURCE: Source</a:t>
              </a:r>
            </a:p>
          </p:txBody>
        </p:sp>
      </p:grpSp>
      <p:sp>
        <p:nvSpPr>
          <p:cNvPr id="3" name="Text Placeholder 2"/>
          <p:cNvSpPr>
            <a:spLocks noGrp="1"/>
          </p:cNvSpPr>
          <p:nvPr>
            <p:ph type="body" idx="1"/>
          </p:nvPr>
        </p:nvSpPr>
        <p:spPr bwMode="gray">
          <a:xfrm>
            <a:off x="1452564" y="1951380"/>
            <a:ext cx="4302125" cy="1077218"/>
          </a:xfrm>
          <a:prstGeom prst="rect">
            <a:avLst/>
          </a:prstGeom>
        </p:spPr>
        <p:txBody>
          <a:bodyPr vert="horz" lIns="0" tIns="0" rIns="0" bIns="0" rtlCol="0">
            <a:spAutoFit/>
          </a:bodyPr>
          <a:lstStyle/>
          <a:p>
            <a:pPr lvl="0" latinLnBrk="0"/>
            <a:r>
              <a:rPr lang="en-US"/>
              <a:t>Edit Master text styles</a:t>
            </a:r>
          </a:p>
          <a:p>
            <a:pPr lvl="1" latinLnBrk="0"/>
            <a:r>
              <a:rPr lang="en-US"/>
              <a:t>Second level</a:t>
            </a:r>
          </a:p>
          <a:p>
            <a:pPr lvl="2" latinLnBrk="0"/>
            <a:r>
              <a:rPr lang="en-US"/>
              <a:t>Third level</a:t>
            </a:r>
          </a:p>
          <a:p>
            <a:pPr lvl="3" latinLnBrk="0"/>
            <a:r>
              <a:rPr lang="en-US"/>
              <a:t>Fourth level</a:t>
            </a:r>
          </a:p>
          <a:p>
            <a:pPr lvl="4" latinLnBrk="0"/>
            <a:r>
              <a:rPr lang="en-US"/>
              <a:t>Fifth level</a:t>
            </a:r>
            <a:endParaRPr lang="en-US" dirty="0"/>
          </a:p>
        </p:txBody>
      </p:sp>
      <p:grpSp>
        <p:nvGrpSpPr>
          <p:cNvPr id="15" name="ACET" hidden="1"/>
          <p:cNvGrpSpPr>
            <a:grpSpLocks/>
          </p:cNvGrpSpPr>
          <p:nvPr/>
        </p:nvGrpSpPr>
        <p:grpSpPr bwMode="gray">
          <a:xfrm>
            <a:off x="1452563" y="1257754"/>
            <a:ext cx="4264025" cy="508000"/>
            <a:chOff x="915" y="710"/>
            <a:chExt cx="2686" cy="320"/>
          </a:xfrm>
        </p:grpSpPr>
        <p:cxnSp>
          <p:nvCxnSpPr>
            <p:cNvPr id="16" name="AutoShape 249"/>
            <p:cNvCxnSpPr>
              <a:cxnSpLocks noChangeShapeType="1"/>
              <a:stCxn id="18" idx="4"/>
              <a:endCxn id="18" idx="6"/>
            </p:cNvCxnSpPr>
            <p:nvPr/>
          </p:nvCxnSpPr>
          <p:spPr bwMode="gray">
            <a:xfrm>
              <a:off x="915" y="1030"/>
              <a:ext cx="2686" cy="0"/>
            </a:xfrm>
            <a:prstGeom prst="straightConnector1">
              <a:avLst/>
            </a:prstGeom>
            <a:noFill/>
            <a:ln w="9525">
              <a:solidFill>
                <a:schemeClr val="accent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8" name="AutoShape 250"/>
            <p:cNvSpPr>
              <a:spLocks noChangeArrowheads="1"/>
            </p:cNvSpPr>
            <p:nvPr/>
          </p:nvSpPr>
          <p:spPr bwMode="gray">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US" b="1" baseline="0" dirty="0">
                  <a:solidFill>
                    <a:srgbClr val="000000"/>
                  </a:solidFill>
                  <a:latin typeface="+mn-lt"/>
                  <a:ea typeface="+mn-ea"/>
                </a:rPr>
                <a:t>Title</a:t>
              </a:r>
            </a:p>
            <a:p>
              <a:r>
                <a:rPr lang="en-US" baseline="0" dirty="0">
                  <a:solidFill>
                    <a:schemeClr val="accent6"/>
                  </a:solidFill>
                  <a:latin typeface="+mn-lt"/>
                  <a:ea typeface="+mn-ea"/>
                </a:rPr>
                <a:t>Unit of measure</a:t>
              </a:r>
            </a:p>
          </p:txBody>
        </p:sp>
      </p:grpSp>
      <p:grpSp>
        <p:nvGrpSpPr>
          <p:cNvPr id="17" name="McKSticker" hidden="1"/>
          <p:cNvGrpSpPr/>
          <p:nvPr/>
        </p:nvGrpSpPr>
        <p:grpSpPr bwMode="gray">
          <a:xfrm>
            <a:off x="8264265" y="285750"/>
            <a:ext cx="473335" cy="150811"/>
            <a:chOff x="8267440" y="285750"/>
            <a:chExt cx="473335" cy="150811"/>
          </a:xfrm>
        </p:grpSpPr>
        <p:sp>
          <p:nvSpPr>
            <p:cNvPr id="20" name="StickerRectangle"/>
            <p:cNvSpPr>
              <a:spLocks noChangeArrowheads="1"/>
            </p:cNvSpPr>
            <p:nvPr/>
          </p:nvSpPr>
          <p:spPr bwMode="gray">
            <a:xfrm>
              <a:off x="8267440" y="285750"/>
              <a:ext cx="473335" cy="150811"/>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a:buClr>
                  <a:srgbClr val="002960"/>
                </a:buClr>
              </a:pPr>
              <a:r>
                <a:rPr lang="en-US" sz="800" baseline="0" dirty="0">
                  <a:solidFill>
                    <a:schemeClr val="accent6"/>
                  </a:solidFill>
                  <a:latin typeface="+mn-lt"/>
                  <a:ea typeface="+mn-ea"/>
                </a:rPr>
                <a:t>STICKER</a:t>
              </a:r>
            </a:p>
          </p:txBody>
        </p:sp>
        <p:cxnSp>
          <p:nvCxnSpPr>
            <p:cNvPr id="21" name="AutoShape 31"/>
            <p:cNvCxnSpPr>
              <a:cxnSpLocks noChangeShapeType="1"/>
              <a:stCxn id="20" idx="2"/>
              <a:endCxn id="20" idx="4"/>
            </p:cNvCxnSpPr>
            <p:nvPr/>
          </p:nvCxnSpPr>
          <p:spPr bwMode="gray">
            <a:xfrm>
              <a:off x="8267440" y="285750"/>
              <a:ext cx="0" cy="150811"/>
            </a:xfrm>
            <a:prstGeom prst="straightConnector1">
              <a:avLst/>
            </a:prstGeom>
            <a:noFill/>
            <a:ln w="9525">
              <a:solidFill>
                <a:schemeClr val="accent6"/>
              </a:solidFill>
              <a:round/>
              <a:headEnd/>
              <a:tailEnd/>
            </a:ln>
            <a:extLst>
              <a:ext uri="{909E8E84-426E-40DD-AFC4-6F175D3DCCD1}">
                <a14:hiddenFill xmlns:a14="http://schemas.microsoft.com/office/drawing/2010/main">
                  <a:noFill/>
                </a14:hiddenFill>
              </a:ext>
            </a:extLst>
          </p:spPr>
        </p:cxnSp>
        <p:cxnSp>
          <p:nvCxnSpPr>
            <p:cNvPr id="22" name="AutoShape 32"/>
            <p:cNvCxnSpPr>
              <a:cxnSpLocks noChangeShapeType="1"/>
              <a:stCxn id="20" idx="4"/>
              <a:endCxn id="20" idx="6"/>
            </p:cNvCxnSpPr>
            <p:nvPr/>
          </p:nvCxnSpPr>
          <p:spPr bwMode="gray">
            <a:xfrm>
              <a:off x="8267440" y="436561"/>
              <a:ext cx="473335" cy="0"/>
            </a:xfrm>
            <a:prstGeom prst="straightConnector1">
              <a:avLst/>
            </a:prstGeom>
            <a:noFill/>
            <a:ln w="25400">
              <a:solidFill>
                <a:schemeClr val="accent6"/>
              </a:solidFill>
              <a:round/>
              <a:headEnd/>
              <a:tailEnd/>
            </a:ln>
            <a:extLst>
              <a:ext uri="{909E8E84-426E-40DD-AFC4-6F175D3DCCD1}">
                <a14:hiddenFill xmlns:a14="http://schemas.microsoft.com/office/drawing/2010/main">
                  <a:noFill/>
                </a14:hiddenFill>
              </a:ext>
            </a:extLst>
          </p:spPr>
        </p:cxnSp>
      </p:grpSp>
      <p:sp>
        <p:nvSpPr>
          <p:cNvPr id="23" name="SlideBottomBar" hidden="1"/>
          <p:cNvSpPr/>
          <p:nvPr/>
        </p:nvSpPr>
        <p:spPr>
          <a:xfrm>
            <a:off x="8437547" y="6182120"/>
            <a:ext cx="45719" cy="123825"/>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aseline="0" dirty="0">
              <a:solidFill>
                <a:schemeClr val="tx1"/>
              </a:solidFill>
              <a:latin typeface="+mn-lt"/>
              <a:ea typeface="+mn-ea"/>
            </a:endParaRPr>
          </a:p>
        </p:txBody>
      </p:sp>
      <p:sp>
        <p:nvSpPr>
          <p:cNvPr id="24" name="doc id" hidden="1"/>
          <p:cNvSpPr txBox="1">
            <a:spLocks noChangeArrowheads="1"/>
          </p:cNvSpPr>
          <p:nvPr/>
        </p:nvSpPr>
        <p:spPr bwMode="white">
          <a:xfrm>
            <a:off x="8104473" y="36513"/>
            <a:ext cx="634716" cy="115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hangingPunct="1">
              <a:defRPr/>
            </a:pPr>
            <a:endParaRPr lang="en-US" sz="800" baseline="0" dirty="0">
              <a:solidFill>
                <a:schemeClr val="accent1"/>
              </a:solidFill>
              <a:latin typeface="+mn-lt"/>
              <a:ea typeface="+mn-ea"/>
            </a:endParaRPr>
          </a:p>
        </p:txBody>
      </p:sp>
      <p:grpSp>
        <p:nvGrpSpPr>
          <p:cNvPr id="63" name="LegendLines" hidden="1"/>
          <p:cNvGrpSpPr/>
          <p:nvPr/>
        </p:nvGrpSpPr>
        <p:grpSpPr>
          <a:xfrm>
            <a:off x="7551589" y="267815"/>
            <a:ext cx="1158292" cy="761545"/>
            <a:chOff x="7607284" y="279400"/>
            <a:chExt cx="1158292" cy="761545"/>
          </a:xfrm>
        </p:grpSpPr>
        <p:sp>
          <p:nvSpPr>
            <p:cNvPr id="64" name="LineLegend1"/>
            <p:cNvSpPr>
              <a:spLocks noChangeShapeType="1"/>
            </p:cNvSpPr>
            <p:nvPr/>
          </p:nvSpPr>
          <p:spPr bwMode="gray">
            <a:xfrm>
              <a:off x="7607284" y="387122"/>
              <a:ext cx="457200"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65" name="LineLegend2"/>
            <p:cNvSpPr>
              <a:spLocks noChangeShapeType="1"/>
            </p:cNvSpPr>
            <p:nvPr/>
          </p:nvSpPr>
          <p:spPr bwMode="gray">
            <a:xfrm>
              <a:off x="7607284" y="653822"/>
              <a:ext cx="457200"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66" name="LineLegend3"/>
            <p:cNvSpPr>
              <a:spLocks noChangeShapeType="1"/>
            </p:cNvSpPr>
            <p:nvPr/>
          </p:nvSpPr>
          <p:spPr bwMode="gray">
            <a:xfrm>
              <a:off x="7607284" y="933223"/>
              <a:ext cx="457200"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67" name="Legend1"/>
            <p:cNvSpPr>
              <a:spLocks noChangeArrowheads="1"/>
            </p:cNvSpPr>
            <p:nvPr>
              <p:custDataLst>
                <p:tags r:id="rId33"/>
              </p:custDataLst>
            </p:nvPr>
          </p:nvSpPr>
          <p:spPr bwMode="gray">
            <a:xfrm>
              <a:off x="8169259" y="279400"/>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sp>
          <p:nvSpPr>
            <p:cNvPr id="68" name="Legend2"/>
            <p:cNvSpPr>
              <a:spLocks noChangeArrowheads="1"/>
            </p:cNvSpPr>
            <p:nvPr>
              <p:custDataLst>
                <p:tags r:id="rId34"/>
              </p:custDataLst>
            </p:nvPr>
          </p:nvSpPr>
          <p:spPr bwMode="gray">
            <a:xfrm>
              <a:off x="8169259" y="546100"/>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a:latin typeface="+mn-lt"/>
                  <a:ea typeface="+mn-ea"/>
                </a:rPr>
                <a:t>Legend</a:t>
              </a:r>
              <a:endParaRPr lang="en-US" sz="1400" baseline="0" dirty="0">
                <a:latin typeface="+mn-lt"/>
                <a:ea typeface="+mn-ea"/>
              </a:endParaRPr>
            </a:p>
          </p:txBody>
        </p:sp>
        <p:sp>
          <p:nvSpPr>
            <p:cNvPr id="69" name="Legend3"/>
            <p:cNvSpPr>
              <a:spLocks noChangeArrowheads="1"/>
            </p:cNvSpPr>
            <p:nvPr>
              <p:custDataLst>
                <p:tags r:id="rId35"/>
              </p:custDataLst>
            </p:nvPr>
          </p:nvSpPr>
          <p:spPr bwMode="gray">
            <a:xfrm>
              <a:off x="8169259" y="825501"/>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grpSp>
      <p:grpSp>
        <p:nvGrpSpPr>
          <p:cNvPr id="70" name="LegendBoxes" hidden="1"/>
          <p:cNvGrpSpPr/>
          <p:nvPr/>
        </p:nvGrpSpPr>
        <p:grpSpPr>
          <a:xfrm>
            <a:off x="7859564" y="267919"/>
            <a:ext cx="850317" cy="1028245"/>
            <a:chOff x="5894005" y="919828"/>
            <a:chExt cx="850317" cy="1028245"/>
          </a:xfrm>
        </p:grpSpPr>
        <p:sp>
          <p:nvSpPr>
            <p:cNvPr id="71" name="RectangleLegend1"/>
            <p:cNvSpPr>
              <a:spLocks noChangeArrowheads="1"/>
            </p:cNvSpPr>
            <p:nvPr/>
          </p:nvSpPr>
          <p:spPr bwMode="gray">
            <a:xfrm>
              <a:off x="5894005" y="947381"/>
              <a:ext cx="165100" cy="160338"/>
            </a:xfrm>
            <a:prstGeom prst="rect">
              <a:avLst/>
            </a:prstGeom>
            <a:solidFill>
              <a:schemeClr val="accent1"/>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72" name="RectangleLegend2"/>
            <p:cNvSpPr>
              <a:spLocks noChangeArrowheads="1"/>
            </p:cNvSpPr>
            <p:nvPr/>
          </p:nvSpPr>
          <p:spPr bwMode="gray">
            <a:xfrm>
              <a:off x="5894005" y="1217256"/>
              <a:ext cx="165100" cy="160338"/>
            </a:xfrm>
            <a:prstGeom prst="rect">
              <a:avLst/>
            </a:prstGeom>
            <a:solidFill>
              <a:schemeClr val="accent2"/>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73" name="RectangleLegend3"/>
            <p:cNvSpPr>
              <a:spLocks noChangeArrowheads="1"/>
            </p:cNvSpPr>
            <p:nvPr/>
          </p:nvSpPr>
          <p:spPr bwMode="gray">
            <a:xfrm>
              <a:off x="5894005" y="1488719"/>
              <a:ext cx="165100" cy="160338"/>
            </a:xfrm>
            <a:prstGeom prst="rect">
              <a:avLst/>
            </a:prstGeom>
            <a:solidFill>
              <a:schemeClr val="accent3"/>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74" name="RectangleLegend4"/>
            <p:cNvSpPr>
              <a:spLocks noChangeArrowheads="1"/>
            </p:cNvSpPr>
            <p:nvPr/>
          </p:nvSpPr>
          <p:spPr bwMode="gray">
            <a:xfrm>
              <a:off x="5894005" y="1760182"/>
              <a:ext cx="165100" cy="160338"/>
            </a:xfrm>
            <a:prstGeom prst="rect">
              <a:avLst/>
            </a:prstGeom>
            <a:solidFill>
              <a:schemeClr val="accent4"/>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75" name="Legend1"/>
            <p:cNvSpPr>
              <a:spLocks noChangeArrowheads="1"/>
            </p:cNvSpPr>
            <p:nvPr>
              <p:custDataLst>
                <p:tags r:id="rId29"/>
              </p:custDataLst>
            </p:nvPr>
          </p:nvSpPr>
          <p:spPr bwMode="gray">
            <a:xfrm>
              <a:off x="6148005" y="919828"/>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sp>
          <p:nvSpPr>
            <p:cNvPr id="76" name="Legend2"/>
            <p:cNvSpPr>
              <a:spLocks noChangeArrowheads="1"/>
            </p:cNvSpPr>
            <p:nvPr>
              <p:custDataLst>
                <p:tags r:id="rId30"/>
              </p:custDataLst>
            </p:nvPr>
          </p:nvSpPr>
          <p:spPr bwMode="gray">
            <a:xfrm>
              <a:off x="6148005" y="1189703"/>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sp>
          <p:nvSpPr>
            <p:cNvPr id="77" name="Legend3"/>
            <p:cNvSpPr>
              <a:spLocks noChangeArrowheads="1"/>
            </p:cNvSpPr>
            <p:nvPr>
              <p:custDataLst>
                <p:tags r:id="rId31"/>
              </p:custDataLst>
            </p:nvPr>
          </p:nvSpPr>
          <p:spPr bwMode="gray">
            <a:xfrm>
              <a:off x="6148005" y="1461166"/>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sp>
          <p:nvSpPr>
            <p:cNvPr id="78" name="Legend4"/>
            <p:cNvSpPr>
              <a:spLocks noChangeArrowheads="1"/>
            </p:cNvSpPr>
            <p:nvPr>
              <p:custDataLst>
                <p:tags r:id="rId32"/>
              </p:custDataLst>
            </p:nvPr>
          </p:nvSpPr>
          <p:spPr bwMode="gray">
            <a:xfrm>
              <a:off x="6148005" y="1732629"/>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grpSp>
      <p:grpSp>
        <p:nvGrpSpPr>
          <p:cNvPr id="79" name="LegendMoons" hidden="1"/>
          <p:cNvGrpSpPr/>
          <p:nvPr/>
        </p:nvGrpSpPr>
        <p:grpSpPr>
          <a:xfrm>
            <a:off x="7792889" y="267414"/>
            <a:ext cx="916992" cy="1317003"/>
            <a:chOff x="5894005" y="2695123"/>
            <a:chExt cx="916992" cy="1317003"/>
          </a:xfrm>
        </p:grpSpPr>
        <p:grpSp>
          <p:nvGrpSpPr>
            <p:cNvPr id="80" name="MoonLegend1"/>
            <p:cNvGrpSpPr>
              <a:grpSpLocks noChangeAspect="1"/>
            </p:cNvGrpSpPr>
            <p:nvPr>
              <p:custDataLst>
                <p:tags r:id="rId9"/>
              </p:custDataLst>
            </p:nvPr>
          </p:nvGrpSpPr>
          <p:grpSpPr bwMode="gray">
            <a:xfrm>
              <a:off x="5894005" y="2695123"/>
              <a:ext cx="209550" cy="218282"/>
              <a:chOff x="4533" y="183"/>
              <a:chExt cx="144" cy="150"/>
            </a:xfrm>
          </p:grpSpPr>
          <p:sp>
            <p:nvSpPr>
              <p:cNvPr id="98" name="Oval 97"/>
              <p:cNvSpPr>
                <a:spLocks noChangeAspect="1" noChangeArrowheads="1"/>
              </p:cNvSpPr>
              <p:nvPr>
                <p:custDataLst>
                  <p:tags r:id="rId27"/>
                </p:custDataLst>
              </p:nvPr>
            </p:nvSpPr>
            <p:spPr bwMode="gray">
              <a:xfrm>
                <a:off x="4533" y="189"/>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99" name="Arc 98" hidden="1"/>
              <p:cNvSpPr>
                <a:spLocks noChangeAspect="1"/>
              </p:cNvSpPr>
              <p:nvPr>
                <p:custDataLst>
                  <p:tags r:id="rId28"/>
                </p:custDataLst>
              </p:nvPr>
            </p:nvSpPr>
            <p:spPr bwMode="gray">
              <a:xfrm>
                <a:off x="4533" y="183"/>
                <a:ext cx="144" cy="144"/>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grpSp>
        <p:grpSp>
          <p:nvGrpSpPr>
            <p:cNvPr id="81" name="MoonLegend2"/>
            <p:cNvGrpSpPr>
              <a:grpSpLocks noChangeAspect="1"/>
            </p:cNvGrpSpPr>
            <p:nvPr>
              <p:custDataLst>
                <p:tags r:id="rId10"/>
              </p:custDataLst>
            </p:nvPr>
          </p:nvGrpSpPr>
          <p:grpSpPr bwMode="gray">
            <a:xfrm>
              <a:off x="5894005" y="2977103"/>
              <a:ext cx="209550" cy="209551"/>
              <a:chOff x="1694" y="2051"/>
              <a:chExt cx="160" cy="160"/>
            </a:xfrm>
          </p:grpSpPr>
          <p:sp>
            <p:nvSpPr>
              <p:cNvPr id="96" name="Oval 41"/>
              <p:cNvSpPr>
                <a:spLocks noChangeAspect="1" noChangeArrowheads="1"/>
              </p:cNvSpPr>
              <p:nvPr>
                <p:custDataLst>
                  <p:tags r:id="rId25"/>
                </p:custDataLst>
              </p:nvPr>
            </p:nvSpPr>
            <p:spPr bwMode="gray">
              <a:xfrm>
                <a:off x="1694" y="2051"/>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97" name="Arc 42"/>
              <p:cNvSpPr>
                <a:spLocks noChangeAspect="1"/>
              </p:cNvSpPr>
              <p:nvPr>
                <p:custDataLst>
                  <p:tags r:id="rId26"/>
                </p:custDataLst>
              </p:nvPr>
            </p:nvSpPr>
            <p:spPr bwMode="gray">
              <a:xfrm>
                <a:off x="1694" y="2051"/>
                <a:ext cx="160" cy="160"/>
              </a:xfrm>
              <a:prstGeom prst="arc">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grpSp>
        <p:grpSp>
          <p:nvGrpSpPr>
            <p:cNvPr id="82" name="MoonLegend4"/>
            <p:cNvGrpSpPr>
              <a:grpSpLocks noChangeAspect="1"/>
            </p:cNvGrpSpPr>
            <p:nvPr>
              <p:custDataLst>
                <p:tags r:id="rId11"/>
              </p:custDataLst>
            </p:nvPr>
          </p:nvGrpSpPr>
          <p:grpSpPr bwMode="gray">
            <a:xfrm>
              <a:off x="5894005" y="3524395"/>
              <a:ext cx="209550" cy="209551"/>
              <a:chOff x="4495" y="1204"/>
              <a:chExt cx="160" cy="160"/>
            </a:xfrm>
          </p:grpSpPr>
          <p:sp>
            <p:nvSpPr>
              <p:cNvPr id="94" name="Oval 47"/>
              <p:cNvSpPr>
                <a:spLocks noChangeAspect="1" noChangeArrowheads="1"/>
              </p:cNvSpPr>
              <p:nvPr>
                <p:custDataLst>
                  <p:tags r:id="rId23"/>
                </p:custDataLst>
              </p:nvPr>
            </p:nvSpPr>
            <p:spPr bwMode="gray">
              <a:xfrm>
                <a:off x="4495" y="120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95" name="Arc 48"/>
              <p:cNvSpPr>
                <a:spLocks noChangeAspect="1"/>
              </p:cNvSpPr>
              <p:nvPr>
                <p:custDataLst>
                  <p:tags r:id="rId24"/>
                </p:custDataLst>
              </p:nvPr>
            </p:nvSpPr>
            <p:spPr bwMode="gray">
              <a:xfrm>
                <a:off x="4495" y="1204"/>
                <a:ext cx="160" cy="160"/>
              </a:xfrm>
              <a:prstGeom prst="arc">
                <a:avLst>
                  <a:gd name="adj1" fmla="val 16200000"/>
                  <a:gd name="adj2" fmla="val 108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grpSp>
        <p:grpSp>
          <p:nvGrpSpPr>
            <p:cNvPr id="83" name="MoonLegend5"/>
            <p:cNvGrpSpPr>
              <a:grpSpLocks noChangeAspect="1"/>
            </p:cNvGrpSpPr>
            <p:nvPr>
              <p:custDataLst>
                <p:tags r:id="rId12"/>
              </p:custDataLst>
            </p:nvPr>
          </p:nvGrpSpPr>
          <p:grpSpPr bwMode="gray">
            <a:xfrm>
              <a:off x="5894005" y="3799629"/>
              <a:ext cx="209550" cy="209551"/>
              <a:chOff x="4495" y="1447"/>
              <a:chExt cx="160" cy="160"/>
            </a:xfrm>
          </p:grpSpPr>
          <p:sp>
            <p:nvSpPr>
              <p:cNvPr id="92" name="Oval 50"/>
              <p:cNvSpPr>
                <a:spLocks noChangeAspect="1" noChangeArrowheads="1"/>
              </p:cNvSpPr>
              <p:nvPr>
                <p:custDataLst>
                  <p:tags r:id="rId21"/>
                </p:custDataLst>
              </p:nvPr>
            </p:nvSpPr>
            <p:spPr bwMode="gray">
              <a:xfrm>
                <a:off x="4495" y="1447"/>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93" name="Oval 51"/>
              <p:cNvSpPr>
                <a:spLocks noChangeAspect="1" noChangeArrowheads="1"/>
              </p:cNvSpPr>
              <p:nvPr>
                <p:custDataLst>
                  <p:tags r:id="rId22"/>
                </p:custDataLst>
              </p:nvPr>
            </p:nvSpPr>
            <p:spPr bwMode="gray">
              <a:xfrm>
                <a:off x="4495" y="1447"/>
                <a:ext cx="160" cy="160"/>
              </a:xfrm>
              <a:prstGeom prst="arc">
                <a:avLst>
                  <a:gd name="adj1" fmla="val 16200000"/>
                  <a:gd name="adj2" fmla="val 162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grpSp>
        <p:grpSp>
          <p:nvGrpSpPr>
            <p:cNvPr id="84" name="MoonLegend3"/>
            <p:cNvGrpSpPr>
              <a:grpSpLocks noChangeAspect="1"/>
            </p:cNvGrpSpPr>
            <p:nvPr>
              <p:custDataLst>
                <p:tags r:id="rId13"/>
              </p:custDataLst>
            </p:nvPr>
          </p:nvGrpSpPr>
          <p:grpSpPr bwMode="gray">
            <a:xfrm>
              <a:off x="5894005" y="3251543"/>
              <a:ext cx="209550" cy="209551"/>
              <a:chOff x="4495" y="1205"/>
              <a:chExt cx="160" cy="160"/>
            </a:xfrm>
          </p:grpSpPr>
          <p:sp>
            <p:nvSpPr>
              <p:cNvPr id="90" name="Oval 47"/>
              <p:cNvSpPr>
                <a:spLocks noChangeAspect="1" noChangeArrowheads="1"/>
              </p:cNvSpPr>
              <p:nvPr>
                <p:custDataLst>
                  <p:tags r:id="rId19"/>
                </p:custDataLst>
              </p:nvPr>
            </p:nvSpPr>
            <p:spPr bwMode="gray">
              <a:xfrm>
                <a:off x="4495" y="1205"/>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91" name="Arc 48"/>
              <p:cNvSpPr>
                <a:spLocks noChangeAspect="1"/>
              </p:cNvSpPr>
              <p:nvPr>
                <p:custDataLst>
                  <p:tags r:id="rId20"/>
                </p:custDataLst>
              </p:nvPr>
            </p:nvSpPr>
            <p:spPr bwMode="gray">
              <a:xfrm>
                <a:off x="4495" y="1205"/>
                <a:ext cx="160" cy="160"/>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grpSp>
        <p:sp>
          <p:nvSpPr>
            <p:cNvPr id="85" name="Legend1"/>
            <p:cNvSpPr>
              <a:spLocks noChangeArrowheads="1"/>
            </p:cNvSpPr>
            <p:nvPr>
              <p:custDataLst>
                <p:tags r:id="rId14"/>
              </p:custDataLst>
            </p:nvPr>
          </p:nvSpPr>
          <p:spPr bwMode="gray">
            <a:xfrm>
              <a:off x="6214680" y="2696542"/>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sp>
          <p:nvSpPr>
            <p:cNvPr id="86" name="Legend2"/>
            <p:cNvSpPr>
              <a:spLocks noChangeArrowheads="1"/>
            </p:cNvSpPr>
            <p:nvPr>
              <p:custDataLst>
                <p:tags r:id="rId15"/>
              </p:custDataLst>
            </p:nvPr>
          </p:nvSpPr>
          <p:spPr bwMode="gray">
            <a:xfrm>
              <a:off x="6214680" y="2974156"/>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a:latin typeface="+mn-lt"/>
                  <a:ea typeface="+mn-ea"/>
                </a:rPr>
                <a:t>Legend</a:t>
              </a:r>
              <a:endParaRPr lang="en-US" sz="1400" baseline="0" dirty="0">
                <a:latin typeface="+mn-lt"/>
                <a:ea typeface="+mn-ea"/>
              </a:endParaRPr>
            </a:p>
          </p:txBody>
        </p:sp>
        <p:sp>
          <p:nvSpPr>
            <p:cNvPr id="87" name="Legend3"/>
            <p:cNvSpPr>
              <a:spLocks noChangeArrowheads="1"/>
            </p:cNvSpPr>
            <p:nvPr>
              <p:custDataLst>
                <p:tags r:id="rId16"/>
              </p:custDataLst>
            </p:nvPr>
          </p:nvSpPr>
          <p:spPr bwMode="gray">
            <a:xfrm>
              <a:off x="6214680" y="3248596"/>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sp>
          <p:nvSpPr>
            <p:cNvPr id="88" name="Legend4"/>
            <p:cNvSpPr>
              <a:spLocks noChangeArrowheads="1"/>
            </p:cNvSpPr>
            <p:nvPr>
              <p:custDataLst>
                <p:tags r:id="rId17"/>
              </p:custDataLst>
            </p:nvPr>
          </p:nvSpPr>
          <p:spPr bwMode="gray">
            <a:xfrm>
              <a:off x="6214680" y="3521448"/>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sp>
          <p:nvSpPr>
            <p:cNvPr id="89" name="Legend5"/>
            <p:cNvSpPr>
              <a:spLocks noChangeArrowheads="1"/>
            </p:cNvSpPr>
            <p:nvPr>
              <p:custDataLst>
                <p:tags r:id="rId18"/>
              </p:custDataLst>
            </p:nvPr>
          </p:nvSpPr>
          <p:spPr bwMode="gray">
            <a:xfrm>
              <a:off x="6214680" y="3796682"/>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a:latin typeface="+mn-lt"/>
                  <a:ea typeface="+mn-ea"/>
                </a:rPr>
                <a:t>Legend</a:t>
              </a:r>
              <a:endParaRPr lang="en-US" sz="1400" baseline="0" dirty="0">
                <a:latin typeface="+mn-lt"/>
                <a:ea typeface="+mn-ea"/>
              </a:endParaRPr>
            </a:p>
          </p:txBody>
        </p:sp>
      </p:grpSp>
    </p:spTree>
    <p:extLst>
      <p:ext uri="{BB962C8B-B14F-4D97-AF65-F5344CB8AC3E}">
        <p14:creationId xmlns:p14="http://schemas.microsoft.com/office/powerpoint/2010/main" val="2987553535"/>
      </p:ext>
    </p:extLst>
  </p:cSld>
  <p:clrMap bg1="lt1" tx1="dk1" bg2="lt2" tx2="dk2" accent1="accent1" accent2="accent2" accent3="accent3" accent4="accent4" accent5="accent5" accent6="accent6" hlink="hlink" folHlink="folHlink"/>
  <p:sldLayoutIdLst>
    <p:sldLayoutId id="2147483796" r:id="rId1"/>
    <p:sldLayoutId id="2147483797" r:id="rId2"/>
    <p:sldLayoutId id="2147483798" r:id="rId3"/>
    <p:sldLayoutId id="2147483799" r:id="rId4"/>
  </p:sldLayoutIdLst>
  <p:txStyles>
    <p:titleStyle>
      <a:lvl1pPr algn="l" defTabSz="895350" rtl="0" eaLnBrk="1" fontAlgn="base" hangingPunct="1">
        <a:spcBef>
          <a:spcPct val="0"/>
        </a:spcBef>
        <a:spcAft>
          <a:spcPct val="0"/>
        </a:spcAft>
        <a:tabLst>
          <a:tab pos="269875" algn="l"/>
        </a:tabLst>
        <a:defRPr sz="2000" b="0" baseline="0">
          <a:solidFill>
            <a:schemeClr val="tx2"/>
          </a:solidFill>
          <a:latin typeface="+mj-lt"/>
          <a:ea typeface="+mj-ea"/>
          <a:cs typeface="+mj-cs"/>
        </a:defRPr>
      </a:lvl1pPr>
      <a:lvl2pPr algn="l" defTabSz="895350" rtl="0" eaLnBrk="1" fontAlgn="base" hangingPunct="1">
        <a:spcBef>
          <a:spcPct val="0"/>
        </a:spcBef>
        <a:spcAft>
          <a:spcPct val="0"/>
        </a:spcAft>
        <a:defRPr sz="1900" b="1">
          <a:solidFill>
            <a:schemeClr val="tx2"/>
          </a:solidFill>
          <a:latin typeface="Arial" charset="0"/>
        </a:defRPr>
      </a:lvl2pPr>
      <a:lvl3pPr algn="l" defTabSz="895350" rtl="0" eaLnBrk="1" fontAlgn="base" hangingPunct="1">
        <a:spcBef>
          <a:spcPct val="0"/>
        </a:spcBef>
        <a:spcAft>
          <a:spcPct val="0"/>
        </a:spcAft>
        <a:defRPr sz="1900" b="1">
          <a:solidFill>
            <a:schemeClr val="tx2"/>
          </a:solidFill>
          <a:latin typeface="Arial" charset="0"/>
        </a:defRPr>
      </a:lvl3pPr>
      <a:lvl4pPr algn="l" defTabSz="895350" rtl="0" eaLnBrk="1" fontAlgn="base" hangingPunct="1">
        <a:spcBef>
          <a:spcPct val="0"/>
        </a:spcBef>
        <a:spcAft>
          <a:spcPct val="0"/>
        </a:spcAft>
        <a:defRPr sz="1900" b="1">
          <a:solidFill>
            <a:schemeClr val="tx2"/>
          </a:solidFill>
          <a:latin typeface="Arial" charset="0"/>
        </a:defRPr>
      </a:lvl4pPr>
      <a:lvl5pPr algn="l" defTabSz="895350" rtl="0" eaLnBrk="1" fontAlgn="base" hangingPunct="1">
        <a:spcBef>
          <a:spcPct val="0"/>
        </a:spcBef>
        <a:spcAft>
          <a:spcPct val="0"/>
        </a:spcAft>
        <a:defRPr sz="1900" b="1">
          <a:solidFill>
            <a:schemeClr val="tx2"/>
          </a:solidFill>
          <a:latin typeface="Arial" charset="0"/>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p:titleStyle>
    <p:bodyStyle>
      <a:lvl1pPr marL="0" indent="0" algn="l" defTabSz="895350" rtl="0" eaLnBrk="1" fontAlgn="base" hangingPunct="1">
        <a:spcBef>
          <a:spcPct val="0"/>
        </a:spcBef>
        <a:spcAft>
          <a:spcPct val="0"/>
        </a:spcAft>
        <a:buClr>
          <a:schemeClr val="tx2"/>
        </a:buClr>
        <a:buSzPct val="100000"/>
        <a:defRPr sz="14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4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4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4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4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ext>
  </p:extLst>
</p:sldMaster>
</file>

<file path=ppt/slideMasters/slideMaster2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7"/>
            </p:custDataLst>
            <p:extLst>
              <p:ext uri="{D42A27DB-BD31-4B8C-83A1-F6EECF244321}">
                <p14:modId xmlns:p14="http://schemas.microsoft.com/office/powerpoint/2010/main" val="121859491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34164" name="think-cell Slide" r:id="rId36" imgW="270" imgH="270" progId="TCLayout.ActiveDocument.1">
                  <p:embed/>
                </p:oleObj>
              </mc:Choice>
              <mc:Fallback>
                <p:oleObj name="think-cell Slide" r:id="rId36" imgW="270" imgH="270" progId="TCLayout.ActiveDocument.1">
                  <p:embed/>
                  <p:pic>
                    <p:nvPicPr>
                      <p:cNvPr id="2" name="Object 1" hidden="1"/>
                      <p:cNvPicPr/>
                      <p:nvPr/>
                    </p:nvPicPr>
                    <p:blipFill>
                      <a:blip r:embed="rId37"/>
                      <a:stretch>
                        <a:fillRect/>
                      </a:stretch>
                    </p:blipFill>
                    <p:spPr>
                      <a:xfrm>
                        <a:off x="0" y="0"/>
                        <a:ext cx="158750" cy="158750"/>
                      </a:xfrm>
                      <a:prstGeom prst="rect">
                        <a:avLst/>
                      </a:prstGeom>
                    </p:spPr>
                  </p:pic>
                </p:oleObj>
              </mc:Fallback>
            </mc:AlternateContent>
          </a:graphicData>
        </a:graphic>
      </p:graphicFrame>
      <p:sp>
        <p:nvSpPr>
          <p:cNvPr id="6" name="Rectangle 5" hidden="1"/>
          <p:cNvSpPr/>
          <p:nvPr>
            <p:custDataLst>
              <p:tags r:id="rId8"/>
            </p:custDataLst>
          </p:nvPr>
        </p:nvSpPr>
        <p:spPr bwMode="auto">
          <a:xfrm>
            <a:off x="0" y="0"/>
            <a:ext cx="158750" cy="158750"/>
          </a:xfrm>
          <a:prstGeom prst="rect">
            <a:avLst/>
          </a:prstGeom>
          <a:solidFill>
            <a:schemeClr val="bg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dirty="0">
              <a:solidFill>
                <a:srgbClr val="000000"/>
              </a:solidFill>
              <a:sym typeface="Arial" panose="020B0604020202020204" pitchFamily="34" charset="0"/>
            </a:endParaRPr>
          </a:p>
        </p:txBody>
      </p:sp>
      <p:sp>
        <p:nvSpPr>
          <p:cNvPr id="1034" name="Working Draft" hidden="1"/>
          <p:cNvSpPr txBox="1">
            <a:spLocks noChangeArrowheads="1"/>
          </p:cNvSpPr>
          <p:nvPr/>
        </p:nvSpPr>
        <p:spPr bwMode="gray">
          <a:xfrm rot="5400000">
            <a:off x="7966656" y="1940591"/>
            <a:ext cx="1849865"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600" baseline="0">
                <a:solidFill>
                  <a:srgbClr val="808080"/>
                </a:solidFill>
                <a:latin typeface="+mn-lt"/>
                <a:ea typeface="+mn-ea"/>
              </a:rPr>
              <a:t>Last Modified 21/05/2018 17:44 India Standard Time</a:t>
            </a:r>
            <a:endParaRPr lang="en-US" baseline="0" dirty="0">
              <a:solidFill>
                <a:srgbClr val="808080"/>
              </a:solidFill>
              <a:latin typeface="+mn-lt"/>
              <a:ea typeface="+mn-ea"/>
            </a:endParaRPr>
          </a:p>
        </p:txBody>
      </p:sp>
      <p:sp>
        <p:nvSpPr>
          <p:cNvPr id="1035" name="Printed" hidden="1"/>
          <p:cNvSpPr txBox="1">
            <a:spLocks noChangeArrowheads="1"/>
          </p:cNvSpPr>
          <p:nvPr/>
        </p:nvSpPr>
        <p:spPr bwMode="gray">
          <a:xfrm rot="5400000">
            <a:off x="8768958" y="4114417"/>
            <a:ext cx="245260"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600" baseline="0" dirty="0">
                <a:solidFill>
                  <a:srgbClr val="808080"/>
                </a:solidFill>
                <a:latin typeface="+mn-lt"/>
                <a:ea typeface="+mn-ea"/>
              </a:rPr>
              <a:t>Printed</a:t>
            </a:r>
            <a:endParaRPr lang="en-US" baseline="0" dirty="0">
              <a:solidFill>
                <a:srgbClr val="808080"/>
              </a:solidFill>
              <a:latin typeface="+mn-lt"/>
              <a:ea typeface="+mn-ea"/>
            </a:endParaRPr>
          </a:p>
        </p:txBody>
      </p:sp>
      <p:sp>
        <p:nvSpPr>
          <p:cNvPr id="19" name="Title Placeholder 2"/>
          <p:cNvSpPr>
            <a:spLocks noGrp="1" noChangeArrowheads="1"/>
          </p:cNvSpPr>
          <p:nvPr>
            <p:ph type="title"/>
          </p:nvPr>
        </p:nvSpPr>
        <p:spPr bwMode="gray">
          <a:xfrm>
            <a:off x="119063" y="230188"/>
            <a:ext cx="8618537"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latinLnBrk="0"/>
            <a:r>
              <a:rPr lang="en-US"/>
              <a:t>Click to edit Master title style</a:t>
            </a:r>
            <a:endParaRPr lang="en-US" noProof="0" dirty="0"/>
          </a:p>
        </p:txBody>
      </p:sp>
      <p:sp>
        <p:nvSpPr>
          <p:cNvPr id="10" name="1. On-page tracker" hidden="1"/>
          <p:cNvSpPr>
            <a:spLocks noChangeArrowheads="1"/>
          </p:cNvSpPr>
          <p:nvPr/>
        </p:nvSpPr>
        <p:spPr bwMode="gray">
          <a:xfrm>
            <a:off x="119063" y="75764"/>
            <a:ext cx="490519"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800" cap="all" baseline="0" dirty="0">
                <a:solidFill>
                  <a:schemeClr val="accent6"/>
                </a:solidFill>
                <a:latin typeface="+mn-lt"/>
                <a:ea typeface="+mn-ea"/>
              </a:rPr>
              <a:t>Tracker</a:t>
            </a:r>
          </a:p>
        </p:txBody>
      </p:sp>
      <p:sp>
        <p:nvSpPr>
          <p:cNvPr id="11" name="3. Unit of measure" hidden="1"/>
          <p:cNvSpPr txBox="1">
            <a:spLocks noChangeArrowheads="1"/>
          </p:cNvSpPr>
          <p:nvPr/>
        </p:nvSpPr>
        <p:spPr bwMode="gray">
          <a:xfrm>
            <a:off x="119063" y="554865"/>
            <a:ext cx="8618537"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600" baseline="0" dirty="0">
                <a:solidFill>
                  <a:schemeClr val="accent6"/>
                </a:solidFill>
                <a:latin typeface="+mn-lt"/>
                <a:ea typeface="+mn-ea"/>
              </a:rPr>
              <a:t>Unit of measure</a:t>
            </a:r>
          </a:p>
        </p:txBody>
      </p:sp>
      <p:grpSp>
        <p:nvGrpSpPr>
          <p:cNvPr id="4" name="Slide Elements" hidden="1"/>
          <p:cNvGrpSpPr/>
          <p:nvPr/>
        </p:nvGrpSpPr>
        <p:grpSpPr bwMode="gray">
          <a:xfrm>
            <a:off x="119063" y="6305945"/>
            <a:ext cx="8618537" cy="325438"/>
            <a:chOff x="119063" y="6305945"/>
            <a:chExt cx="8618537" cy="325438"/>
          </a:xfrm>
        </p:grpSpPr>
        <p:sp>
          <p:nvSpPr>
            <p:cNvPr id="13" name="4. Footnote"/>
            <p:cNvSpPr txBox="1">
              <a:spLocks noChangeArrowheads="1"/>
            </p:cNvSpPr>
            <p:nvPr/>
          </p:nvSpPr>
          <p:spPr bwMode="gray">
            <a:xfrm>
              <a:off x="119063" y="6305945"/>
              <a:ext cx="8618537" cy="123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800" baseline="0" dirty="0">
                  <a:solidFill>
                    <a:schemeClr val="accent6"/>
                  </a:solidFill>
                  <a:latin typeface="+mn-lt"/>
                  <a:ea typeface="+mn-ea"/>
                </a:rPr>
                <a:t>1 Footnote</a:t>
              </a:r>
            </a:p>
          </p:txBody>
        </p:sp>
        <p:sp>
          <p:nvSpPr>
            <p:cNvPr id="14" name="5. Source"/>
            <p:cNvSpPr>
              <a:spLocks noChangeArrowheads="1"/>
            </p:cNvSpPr>
            <p:nvPr/>
          </p:nvSpPr>
          <p:spPr bwMode="gray">
            <a:xfrm>
              <a:off x="119063" y="6507558"/>
              <a:ext cx="7200000" cy="123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marL="609600" indent="-609600" defTabSz="895350">
                <a:tabLst>
                  <a:tab pos="612775" algn="l"/>
                </a:tabLst>
              </a:pPr>
              <a:r>
                <a:rPr lang="en-US" sz="800" baseline="0" dirty="0">
                  <a:solidFill>
                    <a:schemeClr val="accent6"/>
                  </a:solidFill>
                  <a:latin typeface="+mn-lt"/>
                  <a:ea typeface="+mn-ea"/>
                </a:rPr>
                <a:t>SOURCE: Source</a:t>
              </a:r>
            </a:p>
          </p:txBody>
        </p:sp>
      </p:grpSp>
      <p:sp>
        <p:nvSpPr>
          <p:cNvPr id="3" name="Text Placeholder 2"/>
          <p:cNvSpPr>
            <a:spLocks noGrp="1"/>
          </p:cNvSpPr>
          <p:nvPr>
            <p:ph type="body" idx="1"/>
          </p:nvPr>
        </p:nvSpPr>
        <p:spPr bwMode="gray">
          <a:xfrm>
            <a:off x="1452564" y="1951380"/>
            <a:ext cx="4302125" cy="1077218"/>
          </a:xfrm>
          <a:prstGeom prst="rect">
            <a:avLst/>
          </a:prstGeom>
        </p:spPr>
        <p:txBody>
          <a:bodyPr vert="horz" lIns="0" tIns="0" rIns="0" bIns="0" rtlCol="0">
            <a:spAutoFit/>
          </a:bodyPr>
          <a:lstStyle/>
          <a:p>
            <a:pPr lvl="0" latinLnBrk="0"/>
            <a:r>
              <a:rPr lang="en-US"/>
              <a:t>Edit Master text styles</a:t>
            </a:r>
          </a:p>
          <a:p>
            <a:pPr lvl="1" latinLnBrk="0"/>
            <a:r>
              <a:rPr lang="en-US"/>
              <a:t>Second level</a:t>
            </a:r>
          </a:p>
          <a:p>
            <a:pPr lvl="2" latinLnBrk="0"/>
            <a:r>
              <a:rPr lang="en-US"/>
              <a:t>Third level</a:t>
            </a:r>
          </a:p>
          <a:p>
            <a:pPr lvl="3" latinLnBrk="0"/>
            <a:r>
              <a:rPr lang="en-US"/>
              <a:t>Fourth level</a:t>
            </a:r>
          </a:p>
          <a:p>
            <a:pPr lvl="4" latinLnBrk="0"/>
            <a:r>
              <a:rPr lang="en-US"/>
              <a:t>Fifth level</a:t>
            </a:r>
            <a:endParaRPr lang="en-US" dirty="0"/>
          </a:p>
        </p:txBody>
      </p:sp>
      <p:grpSp>
        <p:nvGrpSpPr>
          <p:cNvPr id="15" name="ACET" hidden="1"/>
          <p:cNvGrpSpPr>
            <a:grpSpLocks/>
          </p:cNvGrpSpPr>
          <p:nvPr/>
        </p:nvGrpSpPr>
        <p:grpSpPr bwMode="gray">
          <a:xfrm>
            <a:off x="1452563" y="1257754"/>
            <a:ext cx="4264025" cy="508000"/>
            <a:chOff x="915" y="710"/>
            <a:chExt cx="2686" cy="320"/>
          </a:xfrm>
        </p:grpSpPr>
        <p:cxnSp>
          <p:nvCxnSpPr>
            <p:cNvPr id="16" name="AutoShape 249"/>
            <p:cNvCxnSpPr>
              <a:cxnSpLocks noChangeShapeType="1"/>
              <a:stCxn id="18" idx="4"/>
              <a:endCxn id="18" idx="6"/>
            </p:cNvCxnSpPr>
            <p:nvPr/>
          </p:nvCxnSpPr>
          <p:spPr bwMode="gray">
            <a:xfrm>
              <a:off x="915" y="1030"/>
              <a:ext cx="2686" cy="0"/>
            </a:xfrm>
            <a:prstGeom prst="straightConnector1">
              <a:avLst/>
            </a:prstGeom>
            <a:noFill/>
            <a:ln w="9525">
              <a:solidFill>
                <a:schemeClr val="accent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8" name="AutoShape 250"/>
            <p:cNvSpPr>
              <a:spLocks noChangeArrowheads="1"/>
            </p:cNvSpPr>
            <p:nvPr/>
          </p:nvSpPr>
          <p:spPr bwMode="gray">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US" b="1" baseline="0" dirty="0">
                  <a:solidFill>
                    <a:srgbClr val="000000"/>
                  </a:solidFill>
                  <a:latin typeface="+mn-lt"/>
                  <a:ea typeface="+mn-ea"/>
                </a:rPr>
                <a:t>Title</a:t>
              </a:r>
            </a:p>
            <a:p>
              <a:r>
                <a:rPr lang="en-US" baseline="0" dirty="0">
                  <a:solidFill>
                    <a:schemeClr val="accent6"/>
                  </a:solidFill>
                  <a:latin typeface="+mn-lt"/>
                  <a:ea typeface="+mn-ea"/>
                </a:rPr>
                <a:t>Unit of measure</a:t>
              </a:r>
            </a:p>
          </p:txBody>
        </p:sp>
      </p:grpSp>
      <p:grpSp>
        <p:nvGrpSpPr>
          <p:cNvPr id="17" name="McKSticker" hidden="1"/>
          <p:cNvGrpSpPr/>
          <p:nvPr/>
        </p:nvGrpSpPr>
        <p:grpSpPr bwMode="gray">
          <a:xfrm>
            <a:off x="8264265" y="285750"/>
            <a:ext cx="473335" cy="150811"/>
            <a:chOff x="8267440" y="285750"/>
            <a:chExt cx="473335" cy="150811"/>
          </a:xfrm>
        </p:grpSpPr>
        <p:sp>
          <p:nvSpPr>
            <p:cNvPr id="20" name="StickerRectangle"/>
            <p:cNvSpPr>
              <a:spLocks noChangeArrowheads="1"/>
            </p:cNvSpPr>
            <p:nvPr/>
          </p:nvSpPr>
          <p:spPr bwMode="gray">
            <a:xfrm>
              <a:off x="8267440" y="285750"/>
              <a:ext cx="473335" cy="150811"/>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a:buClr>
                  <a:srgbClr val="002960"/>
                </a:buClr>
              </a:pPr>
              <a:r>
                <a:rPr lang="en-US" sz="800" baseline="0" dirty="0">
                  <a:solidFill>
                    <a:schemeClr val="accent6"/>
                  </a:solidFill>
                  <a:latin typeface="+mn-lt"/>
                  <a:ea typeface="+mn-ea"/>
                </a:rPr>
                <a:t>STICKER</a:t>
              </a:r>
            </a:p>
          </p:txBody>
        </p:sp>
        <p:cxnSp>
          <p:nvCxnSpPr>
            <p:cNvPr id="21" name="AutoShape 31"/>
            <p:cNvCxnSpPr>
              <a:cxnSpLocks noChangeShapeType="1"/>
              <a:stCxn id="20" idx="2"/>
              <a:endCxn id="20" idx="4"/>
            </p:cNvCxnSpPr>
            <p:nvPr/>
          </p:nvCxnSpPr>
          <p:spPr bwMode="gray">
            <a:xfrm>
              <a:off x="8267440" y="285750"/>
              <a:ext cx="0" cy="150811"/>
            </a:xfrm>
            <a:prstGeom prst="straightConnector1">
              <a:avLst/>
            </a:prstGeom>
            <a:noFill/>
            <a:ln w="9525">
              <a:solidFill>
                <a:schemeClr val="accent6"/>
              </a:solidFill>
              <a:round/>
              <a:headEnd/>
              <a:tailEnd/>
            </a:ln>
            <a:extLst>
              <a:ext uri="{909E8E84-426E-40DD-AFC4-6F175D3DCCD1}">
                <a14:hiddenFill xmlns:a14="http://schemas.microsoft.com/office/drawing/2010/main">
                  <a:noFill/>
                </a14:hiddenFill>
              </a:ext>
            </a:extLst>
          </p:spPr>
        </p:cxnSp>
        <p:cxnSp>
          <p:nvCxnSpPr>
            <p:cNvPr id="22" name="AutoShape 32"/>
            <p:cNvCxnSpPr>
              <a:cxnSpLocks noChangeShapeType="1"/>
              <a:stCxn id="20" idx="4"/>
              <a:endCxn id="20" idx="6"/>
            </p:cNvCxnSpPr>
            <p:nvPr/>
          </p:nvCxnSpPr>
          <p:spPr bwMode="gray">
            <a:xfrm>
              <a:off x="8267440" y="436561"/>
              <a:ext cx="473335" cy="0"/>
            </a:xfrm>
            <a:prstGeom prst="straightConnector1">
              <a:avLst/>
            </a:prstGeom>
            <a:noFill/>
            <a:ln w="25400">
              <a:solidFill>
                <a:schemeClr val="accent6"/>
              </a:solidFill>
              <a:round/>
              <a:headEnd/>
              <a:tailEnd/>
            </a:ln>
            <a:extLst>
              <a:ext uri="{909E8E84-426E-40DD-AFC4-6F175D3DCCD1}">
                <a14:hiddenFill xmlns:a14="http://schemas.microsoft.com/office/drawing/2010/main">
                  <a:noFill/>
                </a14:hiddenFill>
              </a:ext>
            </a:extLst>
          </p:spPr>
        </p:cxnSp>
      </p:grpSp>
      <p:sp>
        <p:nvSpPr>
          <p:cNvPr id="23" name="SlideBottomBar" hidden="1"/>
          <p:cNvSpPr/>
          <p:nvPr/>
        </p:nvSpPr>
        <p:spPr>
          <a:xfrm>
            <a:off x="8437547" y="6182120"/>
            <a:ext cx="45719" cy="123825"/>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aseline="0" dirty="0">
              <a:solidFill>
                <a:schemeClr val="tx1"/>
              </a:solidFill>
              <a:latin typeface="+mn-lt"/>
              <a:ea typeface="+mn-ea"/>
            </a:endParaRPr>
          </a:p>
        </p:txBody>
      </p:sp>
      <p:sp>
        <p:nvSpPr>
          <p:cNvPr id="24" name="doc id" hidden="1"/>
          <p:cNvSpPr txBox="1">
            <a:spLocks noChangeArrowheads="1"/>
          </p:cNvSpPr>
          <p:nvPr/>
        </p:nvSpPr>
        <p:spPr bwMode="white">
          <a:xfrm>
            <a:off x="8104473" y="36513"/>
            <a:ext cx="634716" cy="115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hangingPunct="1">
              <a:defRPr/>
            </a:pPr>
            <a:endParaRPr lang="en-US" sz="800" baseline="0" dirty="0">
              <a:solidFill>
                <a:schemeClr val="accent1"/>
              </a:solidFill>
              <a:latin typeface="+mn-lt"/>
              <a:ea typeface="+mn-ea"/>
            </a:endParaRPr>
          </a:p>
        </p:txBody>
      </p:sp>
      <p:grpSp>
        <p:nvGrpSpPr>
          <p:cNvPr id="63" name="LegendLines" hidden="1"/>
          <p:cNvGrpSpPr/>
          <p:nvPr/>
        </p:nvGrpSpPr>
        <p:grpSpPr>
          <a:xfrm>
            <a:off x="7551589" y="267815"/>
            <a:ext cx="1158292" cy="761545"/>
            <a:chOff x="7607284" y="279400"/>
            <a:chExt cx="1158292" cy="761545"/>
          </a:xfrm>
        </p:grpSpPr>
        <p:sp>
          <p:nvSpPr>
            <p:cNvPr id="64" name="LineLegend1"/>
            <p:cNvSpPr>
              <a:spLocks noChangeShapeType="1"/>
            </p:cNvSpPr>
            <p:nvPr/>
          </p:nvSpPr>
          <p:spPr bwMode="gray">
            <a:xfrm>
              <a:off x="7607284" y="387122"/>
              <a:ext cx="457200"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65" name="LineLegend2"/>
            <p:cNvSpPr>
              <a:spLocks noChangeShapeType="1"/>
            </p:cNvSpPr>
            <p:nvPr/>
          </p:nvSpPr>
          <p:spPr bwMode="gray">
            <a:xfrm>
              <a:off x="7607284" y="653822"/>
              <a:ext cx="457200"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66" name="LineLegend3"/>
            <p:cNvSpPr>
              <a:spLocks noChangeShapeType="1"/>
            </p:cNvSpPr>
            <p:nvPr/>
          </p:nvSpPr>
          <p:spPr bwMode="gray">
            <a:xfrm>
              <a:off x="7607284" y="933223"/>
              <a:ext cx="457200"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67" name="Legend1"/>
            <p:cNvSpPr>
              <a:spLocks noChangeArrowheads="1"/>
            </p:cNvSpPr>
            <p:nvPr>
              <p:custDataLst>
                <p:tags r:id="rId33"/>
              </p:custDataLst>
            </p:nvPr>
          </p:nvSpPr>
          <p:spPr bwMode="gray">
            <a:xfrm>
              <a:off x="8169259" y="279400"/>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sp>
          <p:nvSpPr>
            <p:cNvPr id="68" name="Legend2"/>
            <p:cNvSpPr>
              <a:spLocks noChangeArrowheads="1"/>
            </p:cNvSpPr>
            <p:nvPr>
              <p:custDataLst>
                <p:tags r:id="rId34"/>
              </p:custDataLst>
            </p:nvPr>
          </p:nvSpPr>
          <p:spPr bwMode="gray">
            <a:xfrm>
              <a:off x="8169259" y="546100"/>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a:latin typeface="+mn-lt"/>
                  <a:ea typeface="+mn-ea"/>
                </a:rPr>
                <a:t>Legend</a:t>
              </a:r>
              <a:endParaRPr lang="en-US" sz="1400" baseline="0" dirty="0">
                <a:latin typeface="+mn-lt"/>
                <a:ea typeface="+mn-ea"/>
              </a:endParaRPr>
            </a:p>
          </p:txBody>
        </p:sp>
        <p:sp>
          <p:nvSpPr>
            <p:cNvPr id="69" name="Legend3"/>
            <p:cNvSpPr>
              <a:spLocks noChangeArrowheads="1"/>
            </p:cNvSpPr>
            <p:nvPr>
              <p:custDataLst>
                <p:tags r:id="rId35"/>
              </p:custDataLst>
            </p:nvPr>
          </p:nvSpPr>
          <p:spPr bwMode="gray">
            <a:xfrm>
              <a:off x="8169259" y="825501"/>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grpSp>
      <p:grpSp>
        <p:nvGrpSpPr>
          <p:cNvPr id="70" name="LegendBoxes" hidden="1"/>
          <p:cNvGrpSpPr/>
          <p:nvPr/>
        </p:nvGrpSpPr>
        <p:grpSpPr>
          <a:xfrm>
            <a:off x="7859564" y="267919"/>
            <a:ext cx="850317" cy="1028245"/>
            <a:chOff x="5894005" y="919828"/>
            <a:chExt cx="850317" cy="1028245"/>
          </a:xfrm>
        </p:grpSpPr>
        <p:sp>
          <p:nvSpPr>
            <p:cNvPr id="71" name="RectangleLegend1"/>
            <p:cNvSpPr>
              <a:spLocks noChangeArrowheads="1"/>
            </p:cNvSpPr>
            <p:nvPr/>
          </p:nvSpPr>
          <p:spPr bwMode="gray">
            <a:xfrm>
              <a:off x="5894005" y="947381"/>
              <a:ext cx="165100" cy="160338"/>
            </a:xfrm>
            <a:prstGeom prst="rect">
              <a:avLst/>
            </a:prstGeom>
            <a:solidFill>
              <a:schemeClr val="accent1"/>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72" name="RectangleLegend2"/>
            <p:cNvSpPr>
              <a:spLocks noChangeArrowheads="1"/>
            </p:cNvSpPr>
            <p:nvPr/>
          </p:nvSpPr>
          <p:spPr bwMode="gray">
            <a:xfrm>
              <a:off x="5894005" y="1217256"/>
              <a:ext cx="165100" cy="160338"/>
            </a:xfrm>
            <a:prstGeom prst="rect">
              <a:avLst/>
            </a:prstGeom>
            <a:solidFill>
              <a:schemeClr val="accent2"/>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73" name="RectangleLegend3"/>
            <p:cNvSpPr>
              <a:spLocks noChangeArrowheads="1"/>
            </p:cNvSpPr>
            <p:nvPr/>
          </p:nvSpPr>
          <p:spPr bwMode="gray">
            <a:xfrm>
              <a:off x="5894005" y="1488719"/>
              <a:ext cx="165100" cy="160338"/>
            </a:xfrm>
            <a:prstGeom prst="rect">
              <a:avLst/>
            </a:prstGeom>
            <a:solidFill>
              <a:schemeClr val="accent3"/>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74" name="RectangleLegend4"/>
            <p:cNvSpPr>
              <a:spLocks noChangeArrowheads="1"/>
            </p:cNvSpPr>
            <p:nvPr/>
          </p:nvSpPr>
          <p:spPr bwMode="gray">
            <a:xfrm>
              <a:off x="5894005" y="1760182"/>
              <a:ext cx="165100" cy="160338"/>
            </a:xfrm>
            <a:prstGeom prst="rect">
              <a:avLst/>
            </a:prstGeom>
            <a:solidFill>
              <a:schemeClr val="accent4"/>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75" name="Legend1"/>
            <p:cNvSpPr>
              <a:spLocks noChangeArrowheads="1"/>
            </p:cNvSpPr>
            <p:nvPr>
              <p:custDataLst>
                <p:tags r:id="rId29"/>
              </p:custDataLst>
            </p:nvPr>
          </p:nvSpPr>
          <p:spPr bwMode="gray">
            <a:xfrm>
              <a:off x="6148005" y="919828"/>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sp>
          <p:nvSpPr>
            <p:cNvPr id="76" name="Legend2"/>
            <p:cNvSpPr>
              <a:spLocks noChangeArrowheads="1"/>
            </p:cNvSpPr>
            <p:nvPr>
              <p:custDataLst>
                <p:tags r:id="rId30"/>
              </p:custDataLst>
            </p:nvPr>
          </p:nvSpPr>
          <p:spPr bwMode="gray">
            <a:xfrm>
              <a:off x="6148005" y="1189703"/>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sp>
          <p:nvSpPr>
            <p:cNvPr id="77" name="Legend3"/>
            <p:cNvSpPr>
              <a:spLocks noChangeArrowheads="1"/>
            </p:cNvSpPr>
            <p:nvPr>
              <p:custDataLst>
                <p:tags r:id="rId31"/>
              </p:custDataLst>
            </p:nvPr>
          </p:nvSpPr>
          <p:spPr bwMode="gray">
            <a:xfrm>
              <a:off x="6148005" y="1461166"/>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sp>
          <p:nvSpPr>
            <p:cNvPr id="78" name="Legend4"/>
            <p:cNvSpPr>
              <a:spLocks noChangeArrowheads="1"/>
            </p:cNvSpPr>
            <p:nvPr>
              <p:custDataLst>
                <p:tags r:id="rId32"/>
              </p:custDataLst>
            </p:nvPr>
          </p:nvSpPr>
          <p:spPr bwMode="gray">
            <a:xfrm>
              <a:off x="6148005" y="1732629"/>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grpSp>
      <p:grpSp>
        <p:nvGrpSpPr>
          <p:cNvPr id="79" name="LegendMoons" hidden="1"/>
          <p:cNvGrpSpPr/>
          <p:nvPr/>
        </p:nvGrpSpPr>
        <p:grpSpPr>
          <a:xfrm>
            <a:off x="7792889" y="267414"/>
            <a:ext cx="916992" cy="1317003"/>
            <a:chOff x="5894005" y="2695123"/>
            <a:chExt cx="916992" cy="1317003"/>
          </a:xfrm>
        </p:grpSpPr>
        <p:grpSp>
          <p:nvGrpSpPr>
            <p:cNvPr id="80" name="MoonLegend1"/>
            <p:cNvGrpSpPr>
              <a:grpSpLocks noChangeAspect="1"/>
            </p:cNvGrpSpPr>
            <p:nvPr>
              <p:custDataLst>
                <p:tags r:id="rId9"/>
              </p:custDataLst>
            </p:nvPr>
          </p:nvGrpSpPr>
          <p:grpSpPr bwMode="gray">
            <a:xfrm>
              <a:off x="5894005" y="2695123"/>
              <a:ext cx="209550" cy="218282"/>
              <a:chOff x="4533" y="183"/>
              <a:chExt cx="144" cy="150"/>
            </a:xfrm>
          </p:grpSpPr>
          <p:sp>
            <p:nvSpPr>
              <p:cNvPr id="98" name="Oval 97"/>
              <p:cNvSpPr>
                <a:spLocks noChangeAspect="1" noChangeArrowheads="1"/>
              </p:cNvSpPr>
              <p:nvPr>
                <p:custDataLst>
                  <p:tags r:id="rId27"/>
                </p:custDataLst>
              </p:nvPr>
            </p:nvSpPr>
            <p:spPr bwMode="gray">
              <a:xfrm>
                <a:off x="4533" y="189"/>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99" name="Arc 98" hidden="1"/>
              <p:cNvSpPr>
                <a:spLocks noChangeAspect="1"/>
              </p:cNvSpPr>
              <p:nvPr>
                <p:custDataLst>
                  <p:tags r:id="rId28"/>
                </p:custDataLst>
              </p:nvPr>
            </p:nvSpPr>
            <p:spPr bwMode="gray">
              <a:xfrm>
                <a:off x="4533" y="183"/>
                <a:ext cx="144" cy="144"/>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grpSp>
        <p:grpSp>
          <p:nvGrpSpPr>
            <p:cNvPr id="81" name="MoonLegend2"/>
            <p:cNvGrpSpPr>
              <a:grpSpLocks noChangeAspect="1"/>
            </p:cNvGrpSpPr>
            <p:nvPr>
              <p:custDataLst>
                <p:tags r:id="rId10"/>
              </p:custDataLst>
            </p:nvPr>
          </p:nvGrpSpPr>
          <p:grpSpPr bwMode="gray">
            <a:xfrm>
              <a:off x="5894005" y="2977103"/>
              <a:ext cx="209550" cy="209551"/>
              <a:chOff x="1694" y="2051"/>
              <a:chExt cx="160" cy="160"/>
            </a:xfrm>
          </p:grpSpPr>
          <p:sp>
            <p:nvSpPr>
              <p:cNvPr id="96" name="Oval 41"/>
              <p:cNvSpPr>
                <a:spLocks noChangeAspect="1" noChangeArrowheads="1"/>
              </p:cNvSpPr>
              <p:nvPr>
                <p:custDataLst>
                  <p:tags r:id="rId25"/>
                </p:custDataLst>
              </p:nvPr>
            </p:nvSpPr>
            <p:spPr bwMode="gray">
              <a:xfrm>
                <a:off x="1694" y="2051"/>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97" name="Arc 42"/>
              <p:cNvSpPr>
                <a:spLocks noChangeAspect="1"/>
              </p:cNvSpPr>
              <p:nvPr>
                <p:custDataLst>
                  <p:tags r:id="rId26"/>
                </p:custDataLst>
              </p:nvPr>
            </p:nvSpPr>
            <p:spPr bwMode="gray">
              <a:xfrm>
                <a:off x="1694" y="2051"/>
                <a:ext cx="160" cy="160"/>
              </a:xfrm>
              <a:prstGeom prst="arc">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grpSp>
        <p:grpSp>
          <p:nvGrpSpPr>
            <p:cNvPr id="82" name="MoonLegend4"/>
            <p:cNvGrpSpPr>
              <a:grpSpLocks noChangeAspect="1"/>
            </p:cNvGrpSpPr>
            <p:nvPr>
              <p:custDataLst>
                <p:tags r:id="rId11"/>
              </p:custDataLst>
            </p:nvPr>
          </p:nvGrpSpPr>
          <p:grpSpPr bwMode="gray">
            <a:xfrm>
              <a:off x="5894005" y="3524395"/>
              <a:ext cx="209550" cy="209551"/>
              <a:chOff x="4495" y="1204"/>
              <a:chExt cx="160" cy="160"/>
            </a:xfrm>
          </p:grpSpPr>
          <p:sp>
            <p:nvSpPr>
              <p:cNvPr id="94" name="Oval 47"/>
              <p:cNvSpPr>
                <a:spLocks noChangeAspect="1" noChangeArrowheads="1"/>
              </p:cNvSpPr>
              <p:nvPr>
                <p:custDataLst>
                  <p:tags r:id="rId23"/>
                </p:custDataLst>
              </p:nvPr>
            </p:nvSpPr>
            <p:spPr bwMode="gray">
              <a:xfrm>
                <a:off x="4495" y="120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95" name="Arc 48"/>
              <p:cNvSpPr>
                <a:spLocks noChangeAspect="1"/>
              </p:cNvSpPr>
              <p:nvPr>
                <p:custDataLst>
                  <p:tags r:id="rId24"/>
                </p:custDataLst>
              </p:nvPr>
            </p:nvSpPr>
            <p:spPr bwMode="gray">
              <a:xfrm>
                <a:off x="4495" y="1204"/>
                <a:ext cx="160" cy="160"/>
              </a:xfrm>
              <a:prstGeom prst="arc">
                <a:avLst>
                  <a:gd name="adj1" fmla="val 16200000"/>
                  <a:gd name="adj2" fmla="val 108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grpSp>
        <p:grpSp>
          <p:nvGrpSpPr>
            <p:cNvPr id="83" name="MoonLegend5"/>
            <p:cNvGrpSpPr>
              <a:grpSpLocks noChangeAspect="1"/>
            </p:cNvGrpSpPr>
            <p:nvPr>
              <p:custDataLst>
                <p:tags r:id="rId12"/>
              </p:custDataLst>
            </p:nvPr>
          </p:nvGrpSpPr>
          <p:grpSpPr bwMode="gray">
            <a:xfrm>
              <a:off x="5894005" y="3799629"/>
              <a:ext cx="209550" cy="209551"/>
              <a:chOff x="4495" y="1447"/>
              <a:chExt cx="160" cy="160"/>
            </a:xfrm>
          </p:grpSpPr>
          <p:sp>
            <p:nvSpPr>
              <p:cNvPr id="92" name="Oval 50"/>
              <p:cNvSpPr>
                <a:spLocks noChangeAspect="1" noChangeArrowheads="1"/>
              </p:cNvSpPr>
              <p:nvPr>
                <p:custDataLst>
                  <p:tags r:id="rId21"/>
                </p:custDataLst>
              </p:nvPr>
            </p:nvSpPr>
            <p:spPr bwMode="gray">
              <a:xfrm>
                <a:off x="4495" y="1447"/>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93" name="Oval 51"/>
              <p:cNvSpPr>
                <a:spLocks noChangeAspect="1" noChangeArrowheads="1"/>
              </p:cNvSpPr>
              <p:nvPr>
                <p:custDataLst>
                  <p:tags r:id="rId22"/>
                </p:custDataLst>
              </p:nvPr>
            </p:nvSpPr>
            <p:spPr bwMode="gray">
              <a:xfrm>
                <a:off x="4495" y="1447"/>
                <a:ext cx="160" cy="160"/>
              </a:xfrm>
              <a:prstGeom prst="arc">
                <a:avLst>
                  <a:gd name="adj1" fmla="val 16200000"/>
                  <a:gd name="adj2" fmla="val 162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grpSp>
        <p:grpSp>
          <p:nvGrpSpPr>
            <p:cNvPr id="84" name="MoonLegend3"/>
            <p:cNvGrpSpPr>
              <a:grpSpLocks noChangeAspect="1"/>
            </p:cNvGrpSpPr>
            <p:nvPr>
              <p:custDataLst>
                <p:tags r:id="rId13"/>
              </p:custDataLst>
            </p:nvPr>
          </p:nvGrpSpPr>
          <p:grpSpPr bwMode="gray">
            <a:xfrm>
              <a:off x="5894005" y="3251543"/>
              <a:ext cx="209550" cy="209551"/>
              <a:chOff x="4495" y="1205"/>
              <a:chExt cx="160" cy="160"/>
            </a:xfrm>
          </p:grpSpPr>
          <p:sp>
            <p:nvSpPr>
              <p:cNvPr id="90" name="Oval 47"/>
              <p:cNvSpPr>
                <a:spLocks noChangeAspect="1" noChangeArrowheads="1"/>
              </p:cNvSpPr>
              <p:nvPr>
                <p:custDataLst>
                  <p:tags r:id="rId19"/>
                </p:custDataLst>
              </p:nvPr>
            </p:nvSpPr>
            <p:spPr bwMode="gray">
              <a:xfrm>
                <a:off x="4495" y="1205"/>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91" name="Arc 48"/>
              <p:cNvSpPr>
                <a:spLocks noChangeAspect="1"/>
              </p:cNvSpPr>
              <p:nvPr>
                <p:custDataLst>
                  <p:tags r:id="rId20"/>
                </p:custDataLst>
              </p:nvPr>
            </p:nvSpPr>
            <p:spPr bwMode="gray">
              <a:xfrm>
                <a:off x="4495" y="1205"/>
                <a:ext cx="160" cy="160"/>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grpSp>
        <p:sp>
          <p:nvSpPr>
            <p:cNvPr id="85" name="Legend1"/>
            <p:cNvSpPr>
              <a:spLocks noChangeArrowheads="1"/>
            </p:cNvSpPr>
            <p:nvPr>
              <p:custDataLst>
                <p:tags r:id="rId14"/>
              </p:custDataLst>
            </p:nvPr>
          </p:nvSpPr>
          <p:spPr bwMode="gray">
            <a:xfrm>
              <a:off x="6214680" y="2696542"/>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sp>
          <p:nvSpPr>
            <p:cNvPr id="86" name="Legend2"/>
            <p:cNvSpPr>
              <a:spLocks noChangeArrowheads="1"/>
            </p:cNvSpPr>
            <p:nvPr>
              <p:custDataLst>
                <p:tags r:id="rId15"/>
              </p:custDataLst>
            </p:nvPr>
          </p:nvSpPr>
          <p:spPr bwMode="gray">
            <a:xfrm>
              <a:off x="6214680" y="2974156"/>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a:latin typeface="+mn-lt"/>
                  <a:ea typeface="+mn-ea"/>
                </a:rPr>
                <a:t>Legend</a:t>
              </a:r>
              <a:endParaRPr lang="en-US" sz="1400" baseline="0" dirty="0">
                <a:latin typeface="+mn-lt"/>
                <a:ea typeface="+mn-ea"/>
              </a:endParaRPr>
            </a:p>
          </p:txBody>
        </p:sp>
        <p:sp>
          <p:nvSpPr>
            <p:cNvPr id="87" name="Legend3"/>
            <p:cNvSpPr>
              <a:spLocks noChangeArrowheads="1"/>
            </p:cNvSpPr>
            <p:nvPr>
              <p:custDataLst>
                <p:tags r:id="rId16"/>
              </p:custDataLst>
            </p:nvPr>
          </p:nvSpPr>
          <p:spPr bwMode="gray">
            <a:xfrm>
              <a:off x="6214680" y="3248596"/>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sp>
          <p:nvSpPr>
            <p:cNvPr id="88" name="Legend4"/>
            <p:cNvSpPr>
              <a:spLocks noChangeArrowheads="1"/>
            </p:cNvSpPr>
            <p:nvPr>
              <p:custDataLst>
                <p:tags r:id="rId17"/>
              </p:custDataLst>
            </p:nvPr>
          </p:nvSpPr>
          <p:spPr bwMode="gray">
            <a:xfrm>
              <a:off x="6214680" y="3521448"/>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sp>
          <p:nvSpPr>
            <p:cNvPr id="89" name="Legend5"/>
            <p:cNvSpPr>
              <a:spLocks noChangeArrowheads="1"/>
            </p:cNvSpPr>
            <p:nvPr>
              <p:custDataLst>
                <p:tags r:id="rId18"/>
              </p:custDataLst>
            </p:nvPr>
          </p:nvSpPr>
          <p:spPr bwMode="gray">
            <a:xfrm>
              <a:off x="6214680" y="3796682"/>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a:latin typeface="+mn-lt"/>
                  <a:ea typeface="+mn-ea"/>
                </a:rPr>
                <a:t>Legend</a:t>
              </a:r>
              <a:endParaRPr lang="en-US" sz="1400" baseline="0" dirty="0">
                <a:latin typeface="+mn-lt"/>
                <a:ea typeface="+mn-ea"/>
              </a:endParaRPr>
            </a:p>
          </p:txBody>
        </p:sp>
      </p:grpSp>
    </p:spTree>
    <p:extLst>
      <p:ext uri="{BB962C8B-B14F-4D97-AF65-F5344CB8AC3E}">
        <p14:creationId xmlns:p14="http://schemas.microsoft.com/office/powerpoint/2010/main" val="3832186886"/>
      </p:ext>
    </p:extLst>
  </p:cSld>
  <p:clrMap bg1="lt1" tx1="dk1" bg2="lt2" tx2="dk2" accent1="accent1" accent2="accent2" accent3="accent3" accent4="accent4" accent5="accent5" accent6="accent6" hlink="hlink" folHlink="folHlink"/>
  <p:sldLayoutIdLst>
    <p:sldLayoutId id="2147483801" r:id="rId1"/>
    <p:sldLayoutId id="2147483802" r:id="rId2"/>
    <p:sldLayoutId id="2147483803" r:id="rId3"/>
    <p:sldLayoutId id="2147483804" r:id="rId4"/>
  </p:sldLayoutIdLst>
  <p:txStyles>
    <p:titleStyle>
      <a:lvl1pPr algn="l" defTabSz="895350" rtl="0" eaLnBrk="1" fontAlgn="base" hangingPunct="1">
        <a:spcBef>
          <a:spcPct val="0"/>
        </a:spcBef>
        <a:spcAft>
          <a:spcPct val="0"/>
        </a:spcAft>
        <a:tabLst>
          <a:tab pos="269875" algn="l"/>
        </a:tabLst>
        <a:defRPr sz="2000" b="0" baseline="0">
          <a:solidFill>
            <a:schemeClr val="tx2"/>
          </a:solidFill>
          <a:latin typeface="+mj-lt"/>
          <a:ea typeface="+mj-ea"/>
          <a:cs typeface="+mj-cs"/>
        </a:defRPr>
      </a:lvl1pPr>
      <a:lvl2pPr algn="l" defTabSz="895350" rtl="0" eaLnBrk="1" fontAlgn="base" hangingPunct="1">
        <a:spcBef>
          <a:spcPct val="0"/>
        </a:spcBef>
        <a:spcAft>
          <a:spcPct val="0"/>
        </a:spcAft>
        <a:defRPr sz="1900" b="1">
          <a:solidFill>
            <a:schemeClr val="tx2"/>
          </a:solidFill>
          <a:latin typeface="Arial" charset="0"/>
        </a:defRPr>
      </a:lvl2pPr>
      <a:lvl3pPr algn="l" defTabSz="895350" rtl="0" eaLnBrk="1" fontAlgn="base" hangingPunct="1">
        <a:spcBef>
          <a:spcPct val="0"/>
        </a:spcBef>
        <a:spcAft>
          <a:spcPct val="0"/>
        </a:spcAft>
        <a:defRPr sz="1900" b="1">
          <a:solidFill>
            <a:schemeClr val="tx2"/>
          </a:solidFill>
          <a:latin typeface="Arial" charset="0"/>
        </a:defRPr>
      </a:lvl3pPr>
      <a:lvl4pPr algn="l" defTabSz="895350" rtl="0" eaLnBrk="1" fontAlgn="base" hangingPunct="1">
        <a:spcBef>
          <a:spcPct val="0"/>
        </a:spcBef>
        <a:spcAft>
          <a:spcPct val="0"/>
        </a:spcAft>
        <a:defRPr sz="1900" b="1">
          <a:solidFill>
            <a:schemeClr val="tx2"/>
          </a:solidFill>
          <a:latin typeface="Arial" charset="0"/>
        </a:defRPr>
      </a:lvl4pPr>
      <a:lvl5pPr algn="l" defTabSz="895350" rtl="0" eaLnBrk="1" fontAlgn="base" hangingPunct="1">
        <a:spcBef>
          <a:spcPct val="0"/>
        </a:spcBef>
        <a:spcAft>
          <a:spcPct val="0"/>
        </a:spcAft>
        <a:defRPr sz="1900" b="1">
          <a:solidFill>
            <a:schemeClr val="tx2"/>
          </a:solidFill>
          <a:latin typeface="Arial" charset="0"/>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p:titleStyle>
    <p:bodyStyle>
      <a:lvl1pPr marL="0" indent="0" algn="l" defTabSz="895350" rtl="0" eaLnBrk="1" fontAlgn="base" hangingPunct="1">
        <a:spcBef>
          <a:spcPct val="0"/>
        </a:spcBef>
        <a:spcAft>
          <a:spcPct val="0"/>
        </a:spcAft>
        <a:buClr>
          <a:schemeClr val="tx2"/>
        </a:buClr>
        <a:buSzPct val="100000"/>
        <a:defRPr sz="14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4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4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4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4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ext>
  </p:extLst>
</p:sldMaster>
</file>

<file path=ppt/slideMasters/slideMaster2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7"/>
            </p:custDataLst>
            <p:extLst>
              <p:ext uri="{D42A27DB-BD31-4B8C-83A1-F6EECF244321}">
                <p14:modId xmlns:p14="http://schemas.microsoft.com/office/powerpoint/2010/main" val="234433396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39284" name="think-cell Slide" r:id="rId36" imgW="270" imgH="270" progId="TCLayout.ActiveDocument.1">
                  <p:embed/>
                </p:oleObj>
              </mc:Choice>
              <mc:Fallback>
                <p:oleObj name="think-cell Slide" r:id="rId36" imgW="270" imgH="270" progId="TCLayout.ActiveDocument.1">
                  <p:embed/>
                  <p:pic>
                    <p:nvPicPr>
                      <p:cNvPr id="2" name="Object 1" hidden="1"/>
                      <p:cNvPicPr/>
                      <p:nvPr/>
                    </p:nvPicPr>
                    <p:blipFill>
                      <a:blip r:embed="rId37"/>
                      <a:stretch>
                        <a:fillRect/>
                      </a:stretch>
                    </p:blipFill>
                    <p:spPr>
                      <a:xfrm>
                        <a:off x="0" y="0"/>
                        <a:ext cx="158750" cy="158750"/>
                      </a:xfrm>
                      <a:prstGeom prst="rect">
                        <a:avLst/>
                      </a:prstGeom>
                    </p:spPr>
                  </p:pic>
                </p:oleObj>
              </mc:Fallback>
            </mc:AlternateContent>
          </a:graphicData>
        </a:graphic>
      </p:graphicFrame>
      <p:sp>
        <p:nvSpPr>
          <p:cNvPr id="6" name="Rectangle 5" hidden="1"/>
          <p:cNvSpPr/>
          <p:nvPr>
            <p:custDataLst>
              <p:tags r:id="rId8"/>
            </p:custDataLst>
          </p:nvPr>
        </p:nvSpPr>
        <p:spPr bwMode="auto">
          <a:xfrm>
            <a:off x="0" y="0"/>
            <a:ext cx="158750" cy="158750"/>
          </a:xfrm>
          <a:prstGeom prst="rect">
            <a:avLst/>
          </a:prstGeom>
          <a:solidFill>
            <a:schemeClr val="bg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dirty="0">
              <a:solidFill>
                <a:srgbClr val="000000"/>
              </a:solidFill>
              <a:sym typeface="Arial" panose="020B0604020202020204" pitchFamily="34" charset="0"/>
            </a:endParaRPr>
          </a:p>
        </p:txBody>
      </p:sp>
      <p:sp>
        <p:nvSpPr>
          <p:cNvPr id="1034" name="Working Draft" hidden="1"/>
          <p:cNvSpPr txBox="1">
            <a:spLocks noChangeArrowheads="1"/>
          </p:cNvSpPr>
          <p:nvPr/>
        </p:nvSpPr>
        <p:spPr bwMode="gray">
          <a:xfrm rot="5400000">
            <a:off x="7966656" y="1940591"/>
            <a:ext cx="1849865"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600" baseline="0">
                <a:solidFill>
                  <a:srgbClr val="808080"/>
                </a:solidFill>
                <a:latin typeface="+mn-lt"/>
                <a:ea typeface="+mn-ea"/>
              </a:rPr>
              <a:t>Last Modified 21/05/2018 17:44 India Standard Time</a:t>
            </a:r>
            <a:endParaRPr lang="en-US" baseline="0" dirty="0">
              <a:solidFill>
                <a:srgbClr val="808080"/>
              </a:solidFill>
              <a:latin typeface="+mn-lt"/>
              <a:ea typeface="+mn-ea"/>
            </a:endParaRPr>
          </a:p>
        </p:txBody>
      </p:sp>
      <p:sp>
        <p:nvSpPr>
          <p:cNvPr id="1035" name="Printed" hidden="1"/>
          <p:cNvSpPr txBox="1">
            <a:spLocks noChangeArrowheads="1"/>
          </p:cNvSpPr>
          <p:nvPr/>
        </p:nvSpPr>
        <p:spPr bwMode="gray">
          <a:xfrm rot="5400000">
            <a:off x="8768958" y="4114417"/>
            <a:ext cx="245260"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600" baseline="0" dirty="0">
                <a:solidFill>
                  <a:srgbClr val="808080"/>
                </a:solidFill>
                <a:latin typeface="+mn-lt"/>
                <a:ea typeface="+mn-ea"/>
              </a:rPr>
              <a:t>Printed</a:t>
            </a:r>
            <a:endParaRPr lang="en-US" baseline="0" dirty="0">
              <a:solidFill>
                <a:srgbClr val="808080"/>
              </a:solidFill>
              <a:latin typeface="+mn-lt"/>
              <a:ea typeface="+mn-ea"/>
            </a:endParaRPr>
          </a:p>
        </p:txBody>
      </p:sp>
      <p:sp>
        <p:nvSpPr>
          <p:cNvPr id="19" name="Title Placeholder 2"/>
          <p:cNvSpPr>
            <a:spLocks noGrp="1" noChangeArrowheads="1"/>
          </p:cNvSpPr>
          <p:nvPr>
            <p:ph type="title"/>
          </p:nvPr>
        </p:nvSpPr>
        <p:spPr bwMode="gray">
          <a:xfrm>
            <a:off x="119063" y="230188"/>
            <a:ext cx="8618537"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latinLnBrk="0"/>
            <a:r>
              <a:rPr lang="en-US"/>
              <a:t>Click to edit Master title style</a:t>
            </a:r>
            <a:endParaRPr lang="en-US" noProof="0" dirty="0"/>
          </a:p>
        </p:txBody>
      </p:sp>
      <p:sp>
        <p:nvSpPr>
          <p:cNvPr id="10" name="1. On-page tracker" hidden="1"/>
          <p:cNvSpPr>
            <a:spLocks noChangeArrowheads="1"/>
          </p:cNvSpPr>
          <p:nvPr/>
        </p:nvSpPr>
        <p:spPr bwMode="gray">
          <a:xfrm>
            <a:off x="119063" y="75764"/>
            <a:ext cx="490519"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800" cap="all" baseline="0" dirty="0">
                <a:solidFill>
                  <a:schemeClr val="accent6"/>
                </a:solidFill>
                <a:latin typeface="+mn-lt"/>
                <a:ea typeface="+mn-ea"/>
              </a:rPr>
              <a:t>Tracker</a:t>
            </a:r>
          </a:p>
        </p:txBody>
      </p:sp>
      <p:sp>
        <p:nvSpPr>
          <p:cNvPr id="11" name="3. Unit of measure" hidden="1"/>
          <p:cNvSpPr txBox="1">
            <a:spLocks noChangeArrowheads="1"/>
          </p:cNvSpPr>
          <p:nvPr/>
        </p:nvSpPr>
        <p:spPr bwMode="gray">
          <a:xfrm>
            <a:off x="119063" y="554865"/>
            <a:ext cx="8618537"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600" baseline="0" dirty="0">
                <a:solidFill>
                  <a:schemeClr val="accent6"/>
                </a:solidFill>
                <a:latin typeface="+mn-lt"/>
                <a:ea typeface="+mn-ea"/>
              </a:rPr>
              <a:t>Unit of measure</a:t>
            </a:r>
          </a:p>
        </p:txBody>
      </p:sp>
      <p:grpSp>
        <p:nvGrpSpPr>
          <p:cNvPr id="4" name="Slide Elements" hidden="1"/>
          <p:cNvGrpSpPr/>
          <p:nvPr/>
        </p:nvGrpSpPr>
        <p:grpSpPr bwMode="gray">
          <a:xfrm>
            <a:off x="119063" y="6305945"/>
            <a:ext cx="8618537" cy="325438"/>
            <a:chOff x="119063" y="6305945"/>
            <a:chExt cx="8618537" cy="325438"/>
          </a:xfrm>
        </p:grpSpPr>
        <p:sp>
          <p:nvSpPr>
            <p:cNvPr id="13" name="4. Footnote"/>
            <p:cNvSpPr txBox="1">
              <a:spLocks noChangeArrowheads="1"/>
            </p:cNvSpPr>
            <p:nvPr/>
          </p:nvSpPr>
          <p:spPr bwMode="gray">
            <a:xfrm>
              <a:off x="119063" y="6305945"/>
              <a:ext cx="8618537" cy="123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800" baseline="0" dirty="0">
                  <a:solidFill>
                    <a:schemeClr val="accent6"/>
                  </a:solidFill>
                  <a:latin typeface="+mn-lt"/>
                  <a:ea typeface="+mn-ea"/>
                </a:rPr>
                <a:t>1 Footnote</a:t>
              </a:r>
            </a:p>
          </p:txBody>
        </p:sp>
        <p:sp>
          <p:nvSpPr>
            <p:cNvPr id="14" name="5. Source"/>
            <p:cNvSpPr>
              <a:spLocks noChangeArrowheads="1"/>
            </p:cNvSpPr>
            <p:nvPr/>
          </p:nvSpPr>
          <p:spPr bwMode="gray">
            <a:xfrm>
              <a:off x="119063" y="6507558"/>
              <a:ext cx="7200000" cy="123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marL="609600" indent="-609600" defTabSz="895350">
                <a:tabLst>
                  <a:tab pos="612775" algn="l"/>
                </a:tabLst>
              </a:pPr>
              <a:r>
                <a:rPr lang="en-US" sz="800" baseline="0" dirty="0">
                  <a:solidFill>
                    <a:schemeClr val="accent6"/>
                  </a:solidFill>
                  <a:latin typeface="+mn-lt"/>
                  <a:ea typeface="+mn-ea"/>
                </a:rPr>
                <a:t>SOURCE: Source</a:t>
              </a:r>
            </a:p>
          </p:txBody>
        </p:sp>
      </p:grpSp>
      <p:sp>
        <p:nvSpPr>
          <p:cNvPr id="3" name="Text Placeholder 2"/>
          <p:cNvSpPr>
            <a:spLocks noGrp="1"/>
          </p:cNvSpPr>
          <p:nvPr>
            <p:ph type="body" idx="1"/>
          </p:nvPr>
        </p:nvSpPr>
        <p:spPr bwMode="gray">
          <a:xfrm>
            <a:off x="1452564" y="1951380"/>
            <a:ext cx="4302125" cy="1077218"/>
          </a:xfrm>
          <a:prstGeom prst="rect">
            <a:avLst/>
          </a:prstGeom>
        </p:spPr>
        <p:txBody>
          <a:bodyPr vert="horz" lIns="0" tIns="0" rIns="0" bIns="0" rtlCol="0">
            <a:spAutoFit/>
          </a:bodyPr>
          <a:lstStyle/>
          <a:p>
            <a:pPr lvl="0" latinLnBrk="0"/>
            <a:r>
              <a:rPr lang="en-US"/>
              <a:t>Edit Master text styles</a:t>
            </a:r>
          </a:p>
          <a:p>
            <a:pPr lvl="1" latinLnBrk="0"/>
            <a:r>
              <a:rPr lang="en-US"/>
              <a:t>Second level</a:t>
            </a:r>
          </a:p>
          <a:p>
            <a:pPr lvl="2" latinLnBrk="0"/>
            <a:r>
              <a:rPr lang="en-US"/>
              <a:t>Third level</a:t>
            </a:r>
          </a:p>
          <a:p>
            <a:pPr lvl="3" latinLnBrk="0"/>
            <a:r>
              <a:rPr lang="en-US"/>
              <a:t>Fourth level</a:t>
            </a:r>
          </a:p>
          <a:p>
            <a:pPr lvl="4" latinLnBrk="0"/>
            <a:r>
              <a:rPr lang="en-US"/>
              <a:t>Fifth level</a:t>
            </a:r>
            <a:endParaRPr lang="en-US" dirty="0"/>
          </a:p>
        </p:txBody>
      </p:sp>
      <p:grpSp>
        <p:nvGrpSpPr>
          <p:cNvPr id="15" name="ACET" hidden="1"/>
          <p:cNvGrpSpPr>
            <a:grpSpLocks/>
          </p:cNvGrpSpPr>
          <p:nvPr/>
        </p:nvGrpSpPr>
        <p:grpSpPr bwMode="gray">
          <a:xfrm>
            <a:off x="1452563" y="1257754"/>
            <a:ext cx="4264025" cy="508000"/>
            <a:chOff x="915" y="710"/>
            <a:chExt cx="2686" cy="320"/>
          </a:xfrm>
        </p:grpSpPr>
        <p:cxnSp>
          <p:nvCxnSpPr>
            <p:cNvPr id="16" name="AutoShape 249"/>
            <p:cNvCxnSpPr>
              <a:cxnSpLocks noChangeShapeType="1"/>
              <a:stCxn id="18" idx="4"/>
              <a:endCxn id="18" idx="6"/>
            </p:cNvCxnSpPr>
            <p:nvPr/>
          </p:nvCxnSpPr>
          <p:spPr bwMode="gray">
            <a:xfrm>
              <a:off x="915" y="1030"/>
              <a:ext cx="2686" cy="0"/>
            </a:xfrm>
            <a:prstGeom prst="straightConnector1">
              <a:avLst/>
            </a:prstGeom>
            <a:noFill/>
            <a:ln w="9525">
              <a:solidFill>
                <a:schemeClr val="accent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8" name="AutoShape 250"/>
            <p:cNvSpPr>
              <a:spLocks noChangeArrowheads="1"/>
            </p:cNvSpPr>
            <p:nvPr/>
          </p:nvSpPr>
          <p:spPr bwMode="gray">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US" b="1" baseline="0" dirty="0">
                  <a:solidFill>
                    <a:srgbClr val="000000"/>
                  </a:solidFill>
                  <a:latin typeface="+mn-lt"/>
                  <a:ea typeface="+mn-ea"/>
                </a:rPr>
                <a:t>Title</a:t>
              </a:r>
            </a:p>
            <a:p>
              <a:r>
                <a:rPr lang="en-US" baseline="0" dirty="0">
                  <a:solidFill>
                    <a:schemeClr val="accent6"/>
                  </a:solidFill>
                  <a:latin typeface="+mn-lt"/>
                  <a:ea typeface="+mn-ea"/>
                </a:rPr>
                <a:t>Unit of measure</a:t>
              </a:r>
            </a:p>
          </p:txBody>
        </p:sp>
      </p:grpSp>
      <p:grpSp>
        <p:nvGrpSpPr>
          <p:cNvPr id="17" name="McKSticker" hidden="1"/>
          <p:cNvGrpSpPr/>
          <p:nvPr/>
        </p:nvGrpSpPr>
        <p:grpSpPr bwMode="gray">
          <a:xfrm>
            <a:off x="8264265" y="285750"/>
            <a:ext cx="473335" cy="150811"/>
            <a:chOff x="8267440" y="285750"/>
            <a:chExt cx="473335" cy="150811"/>
          </a:xfrm>
        </p:grpSpPr>
        <p:sp>
          <p:nvSpPr>
            <p:cNvPr id="20" name="StickerRectangle"/>
            <p:cNvSpPr>
              <a:spLocks noChangeArrowheads="1"/>
            </p:cNvSpPr>
            <p:nvPr/>
          </p:nvSpPr>
          <p:spPr bwMode="gray">
            <a:xfrm>
              <a:off x="8267440" y="285750"/>
              <a:ext cx="473335" cy="150811"/>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a:buClr>
                  <a:srgbClr val="002960"/>
                </a:buClr>
              </a:pPr>
              <a:r>
                <a:rPr lang="en-US" sz="800" baseline="0" dirty="0">
                  <a:solidFill>
                    <a:schemeClr val="accent6"/>
                  </a:solidFill>
                  <a:latin typeface="+mn-lt"/>
                  <a:ea typeface="+mn-ea"/>
                </a:rPr>
                <a:t>STICKER</a:t>
              </a:r>
            </a:p>
          </p:txBody>
        </p:sp>
        <p:cxnSp>
          <p:nvCxnSpPr>
            <p:cNvPr id="21" name="AutoShape 31"/>
            <p:cNvCxnSpPr>
              <a:cxnSpLocks noChangeShapeType="1"/>
              <a:stCxn id="20" idx="2"/>
              <a:endCxn id="20" idx="4"/>
            </p:cNvCxnSpPr>
            <p:nvPr/>
          </p:nvCxnSpPr>
          <p:spPr bwMode="gray">
            <a:xfrm>
              <a:off x="8267440" y="285750"/>
              <a:ext cx="0" cy="150811"/>
            </a:xfrm>
            <a:prstGeom prst="straightConnector1">
              <a:avLst/>
            </a:prstGeom>
            <a:noFill/>
            <a:ln w="9525">
              <a:solidFill>
                <a:schemeClr val="accent6"/>
              </a:solidFill>
              <a:round/>
              <a:headEnd/>
              <a:tailEnd/>
            </a:ln>
            <a:extLst>
              <a:ext uri="{909E8E84-426E-40DD-AFC4-6F175D3DCCD1}">
                <a14:hiddenFill xmlns:a14="http://schemas.microsoft.com/office/drawing/2010/main">
                  <a:noFill/>
                </a14:hiddenFill>
              </a:ext>
            </a:extLst>
          </p:spPr>
        </p:cxnSp>
        <p:cxnSp>
          <p:nvCxnSpPr>
            <p:cNvPr id="22" name="AutoShape 32"/>
            <p:cNvCxnSpPr>
              <a:cxnSpLocks noChangeShapeType="1"/>
              <a:stCxn id="20" idx="4"/>
              <a:endCxn id="20" idx="6"/>
            </p:cNvCxnSpPr>
            <p:nvPr/>
          </p:nvCxnSpPr>
          <p:spPr bwMode="gray">
            <a:xfrm>
              <a:off x="8267440" y="436561"/>
              <a:ext cx="473335" cy="0"/>
            </a:xfrm>
            <a:prstGeom prst="straightConnector1">
              <a:avLst/>
            </a:prstGeom>
            <a:noFill/>
            <a:ln w="25400">
              <a:solidFill>
                <a:schemeClr val="accent6"/>
              </a:solidFill>
              <a:round/>
              <a:headEnd/>
              <a:tailEnd/>
            </a:ln>
            <a:extLst>
              <a:ext uri="{909E8E84-426E-40DD-AFC4-6F175D3DCCD1}">
                <a14:hiddenFill xmlns:a14="http://schemas.microsoft.com/office/drawing/2010/main">
                  <a:noFill/>
                </a14:hiddenFill>
              </a:ext>
            </a:extLst>
          </p:spPr>
        </p:cxnSp>
      </p:grpSp>
      <p:sp>
        <p:nvSpPr>
          <p:cNvPr id="23" name="SlideBottomBar" hidden="1"/>
          <p:cNvSpPr/>
          <p:nvPr/>
        </p:nvSpPr>
        <p:spPr>
          <a:xfrm>
            <a:off x="8437547" y="6182120"/>
            <a:ext cx="45719" cy="123825"/>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aseline="0" dirty="0">
              <a:solidFill>
                <a:schemeClr val="tx1"/>
              </a:solidFill>
              <a:latin typeface="+mn-lt"/>
              <a:ea typeface="+mn-ea"/>
            </a:endParaRPr>
          </a:p>
        </p:txBody>
      </p:sp>
      <p:sp>
        <p:nvSpPr>
          <p:cNvPr id="24" name="doc id" hidden="1"/>
          <p:cNvSpPr txBox="1">
            <a:spLocks noChangeArrowheads="1"/>
          </p:cNvSpPr>
          <p:nvPr/>
        </p:nvSpPr>
        <p:spPr bwMode="white">
          <a:xfrm>
            <a:off x="8104473" y="36513"/>
            <a:ext cx="634716" cy="115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hangingPunct="1">
              <a:defRPr/>
            </a:pPr>
            <a:endParaRPr lang="en-US" sz="800" baseline="0" dirty="0">
              <a:solidFill>
                <a:schemeClr val="accent1"/>
              </a:solidFill>
              <a:latin typeface="+mn-lt"/>
              <a:ea typeface="+mn-ea"/>
            </a:endParaRPr>
          </a:p>
        </p:txBody>
      </p:sp>
      <p:grpSp>
        <p:nvGrpSpPr>
          <p:cNvPr id="63" name="LegendLines" hidden="1"/>
          <p:cNvGrpSpPr/>
          <p:nvPr/>
        </p:nvGrpSpPr>
        <p:grpSpPr>
          <a:xfrm>
            <a:off x="7551589" y="267815"/>
            <a:ext cx="1158292" cy="761545"/>
            <a:chOff x="7607284" y="279400"/>
            <a:chExt cx="1158292" cy="761545"/>
          </a:xfrm>
        </p:grpSpPr>
        <p:sp>
          <p:nvSpPr>
            <p:cNvPr id="64" name="LineLegend1"/>
            <p:cNvSpPr>
              <a:spLocks noChangeShapeType="1"/>
            </p:cNvSpPr>
            <p:nvPr/>
          </p:nvSpPr>
          <p:spPr bwMode="gray">
            <a:xfrm>
              <a:off x="7607284" y="387122"/>
              <a:ext cx="457200"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65" name="LineLegend2"/>
            <p:cNvSpPr>
              <a:spLocks noChangeShapeType="1"/>
            </p:cNvSpPr>
            <p:nvPr/>
          </p:nvSpPr>
          <p:spPr bwMode="gray">
            <a:xfrm>
              <a:off x="7607284" y="653822"/>
              <a:ext cx="457200"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66" name="LineLegend3"/>
            <p:cNvSpPr>
              <a:spLocks noChangeShapeType="1"/>
            </p:cNvSpPr>
            <p:nvPr/>
          </p:nvSpPr>
          <p:spPr bwMode="gray">
            <a:xfrm>
              <a:off x="7607284" y="933223"/>
              <a:ext cx="457200"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67" name="Legend1"/>
            <p:cNvSpPr>
              <a:spLocks noChangeArrowheads="1"/>
            </p:cNvSpPr>
            <p:nvPr>
              <p:custDataLst>
                <p:tags r:id="rId33"/>
              </p:custDataLst>
            </p:nvPr>
          </p:nvSpPr>
          <p:spPr bwMode="gray">
            <a:xfrm>
              <a:off x="8169259" y="279400"/>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sp>
          <p:nvSpPr>
            <p:cNvPr id="68" name="Legend2"/>
            <p:cNvSpPr>
              <a:spLocks noChangeArrowheads="1"/>
            </p:cNvSpPr>
            <p:nvPr>
              <p:custDataLst>
                <p:tags r:id="rId34"/>
              </p:custDataLst>
            </p:nvPr>
          </p:nvSpPr>
          <p:spPr bwMode="gray">
            <a:xfrm>
              <a:off x="8169259" y="546100"/>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a:latin typeface="+mn-lt"/>
                  <a:ea typeface="+mn-ea"/>
                </a:rPr>
                <a:t>Legend</a:t>
              </a:r>
              <a:endParaRPr lang="en-US" sz="1400" baseline="0" dirty="0">
                <a:latin typeface="+mn-lt"/>
                <a:ea typeface="+mn-ea"/>
              </a:endParaRPr>
            </a:p>
          </p:txBody>
        </p:sp>
        <p:sp>
          <p:nvSpPr>
            <p:cNvPr id="69" name="Legend3"/>
            <p:cNvSpPr>
              <a:spLocks noChangeArrowheads="1"/>
            </p:cNvSpPr>
            <p:nvPr>
              <p:custDataLst>
                <p:tags r:id="rId35"/>
              </p:custDataLst>
            </p:nvPr>
          </p:nvSpPr>
          <p:spPr bwMode="gray">
            <a:xfrm>
              <a:off x="8169259" y="825501"/>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grpSp>
      <p:grpSp>
        <p:nvGrpSpPr>
          <p:cNvPr id="70" name="LegendBoxes" hidden="1"/>
          <p:cNvGrpSpPr/>
          <p:nvPr/>
        </p:nvGrpSpPr>
        <p:grpSpPr>
          <a:xfrm>
            <a:off x="7859564" y="267919"/>
            <a:ext cx="850317" cy="1028245"/>
            <a:chOff x="5894005" y="919828"/>
            <a:chExt cx="850317" cy="1028245"/>
          </a:xfrm>
        </p:grpSpPr>
        <p:sp>
          <p:nvSpPr>
            <p:cNvPr id="71" name="RectangleLegend1"/>
            <p:cNvSpPr>
              <a:spLocks noChangeArrowheads="1"/>
            </p:cNvSpPr>
            <p:nvPr/>
          </p:nvSpPr>
          <p:spPr bwMode="gray">
            <a:xfrm>
              <a:off x="5894005" y="947381"/>
              <a:ext cx="165100" cy="160338"/>
            </a:xfrm>
            <a:prstGeom prst="rect">
              <a:avLst/>
            </a:prstGeom>
            <a:solidFill>
              <a:schemeClr val="accent1"/>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72" name="RectangleLegend2"/>
            <p:cNvSpPr>
              <a:spLocks noChangeArrowheads="1"/>
            </p:cNvSpPr>
            <p:nvPr/>
          </p:nvSpPr>
          <p:spPr bwMode="gray">
            <a:xfrm>
              <a:off x="5894005" y="1217256"/>
              <a:ext cx="165100" cy="160338"/>
            </a:xfrm>
            <a:prstGeom prst="rect">
              <a:avLst/>
            </a:prstGeom>
            <a:solidFill>
              <a:schemeClr val="accent2"/>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73" name="RectangleLegend3"/>
            <p:cNvSpPr>
              <a:spLocks noChangeArrowheads="1"/>
            </p:cNvSpPr>
            <p:nvPr/>
          </p:nvSpPr>
          <p:spPr bwMode="gray">
            <a:xfrm>
              <a:off x="5894005" y="1488719"/>
              <a:ext cx="165100" cy="160338"/>
            </a:xfrm>
            <a:prstGeom prst="rect">
              <a:avLst/>
            </a:prstGeom>
            <a:solidFill>
              <a:schemeClr val="accent3"/>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74" name="RectangleLegend4"/>
            <p:cNvSpPr>
              <a:spLocks noChangeArrowheads="1"/>
            </p:cNvSpPr>
            <p:nvPr/>
          </p:nvSpPr>
          <p:spPr bwMode="gray">
            <a:xfrm>
              <a:off x="5894005" y="1760182"/>
              <a:ext cx="165100" cy="160338"/>
            </a:xfrm>
            <a:prstGeom prst="rect">
              <a:avLst/>
            </a:prstGeom>
            <a:solidFill>
              <a:schemeClr val="accent4"/>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75" name="Legend1"/>
            <p:cNvSpPr>
              <a:spLocks noChangeArrowheads="1"/>
            </p:cNvSpPr>
            <p:nvPr>
              <p:custDataLst>
                <p:tags r:id="rId29"/>
              </p:custDataLst>
            </p:nvPr>
          </p:nvSpPr>
          <p:spPr bwMode="gray">
            <a:xfrm>
              <a:off x="6148005" y="919828"/>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sp>
          <p:nvSpPr>
            <p:cNvPr id="76" name="Legend2"/>
            <p:cNvSpPr>
              <a:spLocks noChangeArrowheads="1"/>
            </p:cNvSpPr>
            <p:nvPr>
              <p:custDataLst>
                <p:tags r:id="rId30"/>
              </p:custDataLst>
            </p:nvPr>
          </p:nvSpPr>
          <p:spPr bwMode="gray">
            <a:xfrm>
              <a:off x="6148005" y="1189703"/>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sp>
          <p:nvSpPr>
            <p:cNvPr id="77" name="Legend3"/>
            <p:cNvSpPr>
              <a:spLocks noChangeArrowheads="1"/>
            </p:cNvSpPr>
            <p:nvPr>
              <p:custDataLst>
                <p:tags r:id="rId31"/>
              </p:custDataLst>
            </p:nvPr>
          </p:nvSpPr>
          <p:spPr bwMode="gray">
            <a:xfrm>
              <a:off x="6148005" y="1461166"/>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sp>
          <p:nvSpPr>
            <p:cNvPr id="78" name="Legend4"/>
            <p:cNvSpPr>
              <a:spLocks noChangeArrowheads="1"/>
            </p:cNvSpPr>
            <p:nvPr>
              <p:custDataLst>
                <p:tags r:id="rId32"/>
              </p:custDataLst>
            </p:nvPr>
          </p:nvSpPr>
          <p:spPr bwMode="gray">
            <a:xfrm>
              <a:off x="6148005" y="1732629"/>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grpSp>
      <p:grpSp>
        <p:nvGrpSpPr>
          <p:cNvPr id="79" name="LegendMoons" hidden="1"/>
          <p:cNvGrpSpPr/>
          <p:nvPr/>
        </p:nvGrpSpPr>
        <p:grpSpPr>
          <a:xfrm>
            <a:off x="7792889" y="267414"/>
            <a:ext cx="916992" cy="1317003"/>
            <a:chOff x="5894005" y="2695123"/>
            <a:chExt cx="916992" cy="1317003"/>
          </a:xfrm>
        </p:grpSpPr>
        <p:grpSp>
          <p:nvGrpSpPr>
            <p:cNvPr id="80" name="MoonLegend1"/>
            <p:cNvGrpSpPr>
              <a:grpSpLocks noChangeAspect="1"/>
            </p:cNvGrpSpPr>
            <p:nvPr>
              <p:custDataLst>
                <p:tags r:id="rId9"/>
              </p:custDataLst>
            </p:nvPr>
          </p:nvGrpSpPr>
          <p:grpSpPr bwMode="gray">
            <a:xfrm>
              <a:off x="5894005" y="2695123"/>
              <a:ext cx="209550" cy="218282"/>
              <a:chOff x="4533" y="183"/>
              <a:chExt cx="144" cy="150"/>
            </a:xfrm>
          </p:grpSpPr>
          <p:sp>
            <p:nvSpPr>
              <p:cNvPr id="98" name="Oval 97"/>
              <p:cNvSpPr>
                <a:spLocks noChangeAspect="1" noChangeArrowheads="1"/>
              </p:cNvSpPr>
              <p:nvPr>
                <p:custDataLst>
                  <p:tags r:id="rId27"/>
                </p:custDataLst>
              </p:nvPr>
            </p:nvSpPr>
            <p:spPr bwMode="gray">
              <a:xfrm>
                <a:off x="4533" y="189"/>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99" name="Arc 98" hidden="1"/>
              <p:cNvSpPr>
                <a:spLocks noChangeAspect="1"/>
              </p:cNvSpPr>
              <p:nvPr>
                <p:custDataLst>
                  <p:tags r:id="rId28"/>
                </p:custDataLst>
              </p:nvPr>
            </p:nvSpPr>
            <p:spPr bwMode="gray">
              <a:xfrm>
                <a:off x="4533" y="183"/>
                <a:ext cx="144" cy="144"/>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grpSp>
        <p:grpSp>
          <p:nvGrpSpPr>
            <p:cNvPr id="81" name="MoonLegend2"/>
            <p:cNvGrpSpPr>
              <a:grpSpLocks noChangeAspect="1"/>
            </p:cNvGrpSpPr>
            <p:nvPr>
              <p:custDataLst>
                <p:tags r:id="rId10"/>
              </p:custDataLst>
            </p:nvPr>
          </p:nvGrpSpPr>
          <p:grpSpPr bwMode="gray">
            <a:xfrm>
              <a:off x="5894005" y="2977103"/>
              <a:ext cx="209550" cy="209551"/>
              <a:chOff x="1694" y="2051"/>
              <a:chExt cx="160" cy="160"/>
            </a:xfrm>
          </p:grpSpPr>
          <p:sp>
            <p:nvSpPr>
              <p:cNvPr id="96" name="Oval 41"/>
              <p:cNvSpPr>
                <a:spLocks noChangeAspect="1" noChangeArrowheads="1"/>
              </p:cNvSpPr>
              <p:nvPr>
                <p:custDataLst>
                  <p:tags r:id="rId25"/>
                </p:custDataLst>
              </p:nvPr>
            </p:nvSpPr>
            <p:spPr bwMode="gray">
              <a:xfrm>
                <a:off x="1694" y="2051"/>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97" name="Arc 42"/>
              <p:cNvSpPr>
                <a:spLocks noChangeAspect="1"/>
              </p:cNvSpPr>
              <p:nvPr>
                <p:custDataLst>
                  <p:tags r:id="rId26"/>
                </p:custDataLst>
              </p:nvPr>
            </p:nvSpPr>
            <p:spPr bwMode="gray">
              <a:xfrm>
                <a:off x="1694" y="2051"/>
                <a:ext cx="160" cy="160"/>
              </a:xfrm>
              <a:prstGeom prst="arc">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grpSp>
        <p:grpSp>
          <p:nvGrpSpPr>
            <p:cNvPr id="82" name="MoonLegend4"/>
            <p:cNvGrpSpPr>
              <a:grpSpLocks noChangeAspect="1"/>
            </p:cNvGrpSpPr>
            <p:nvPr>
              <p:custDataLst>
                <p:tags r:id="rId11"/>
              </p:custDataLst>
            </p:nvPr>
          </p:nvGrpSpPr>
          <p:grpSpPr bwMode="gray">
            <a:xfrm>
              <a:off x="5894005" y="3524395"/>
              <a:ext cx="209550" cy="209551"/>
              <a:chOff x="4495" y="1204"/>
              <a:chExt cx="160" cy="160"/>
            </a:xfrm>
          </p:grpSpPr>
          <p:sp>
            <p:nvSpPr>
              <p:cNvPr id="94" name="Oval 47"/>
              <p:cNvSpPr>
                <a:spLocks noChangeAspect="1" noChangeArrowheads="1"/>
              </p:cNvSpPr>
              <p:nvPr>
                <p:custDataLst>
                  <p:tags r:id="rId23"/>
                </p:custDataLst>
              </p:nvPr>
            </p:nvSpPr>
            <p:spPr bwMode="gray">
              <a:xfrm>
                <a:off x="4495" y="120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95" name="Arc 48"/>
              <p:cNvSpPr>
                <a:spLocks noChangeAspect="1"/>
              </p:cNvSpPr>
              <p:nvPr>
                <p:custDataLst>
                  <p:tags r:id="rId24"/>
                </p:custDataLst>
              </p:nvPr>
            </p:nvSpPr>
            <p:spPr bwMode="gray">
              <a:xfrm>
                <a:off x="4495" y="1204"/>
                <a:ext cx="160" cy="160"/>
              </a:xfrm>
              <a:prstGeom prst="arc">
                <a:avLst>
                  <a:gd name="adj1" fmla="val 16200000"/>
                  <a:gd name="adj2" fmla="val 108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grpSp>
        <p:grpSp>
          <p:nvGrpSpPr>
            <p:cNvPr id="83" name="MoonLegend5"/>
            <p:cNvGrpSpPr>
              <a:grpSpLocks noChangeAspect="1"/>
            </p:cNvGrpSpPr>
            <p:nvPr>
              <p:custDataLst>
                <p:tags r:id="rId12"/>
              </p:custDataLst>
            </p:nvPr>
          </p:nvGrpSpPr>
          <p:grpSpPr bwMode="gray">
            <a:xfrm>
              <a:off x="5894005" y="3799629"/>
              <a:ext cx="209550" cy="209551"/>
              <a:chOff x="4495" y="1447"/>
              <a:chExt cx="160" cy="160"/>
            </a:xfrm>
          </p:grpSpPr>
          <p:sp>
            <p:nvSpPr>
              <p:cNvPr id="92" name="Oval 50"/>
              <p:cNvSpPr>
                <a:spLocks noChangeAspect="1" noChangeArrowheads="1"/>
              </p:cNvSpPr>
              <p:nvPr>
                <p:custDataLst>
                  <p:tags r:id="rId21"/>
                </p:custDataLst>
              </p:nvPr>
            </p:nvSpPr>
            <p:spPr bwMode="gray">
              <a:xfrm>
                <a:off x="4495" y="1447"/>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93" name="Oval 51"/>
              <p:cNvSpPr>
                <a:spLocks noChangeAspect="1" noChangeArrowheads="1"/>
              </p:cNvSpPr>
              <p:nvPr>
                <p:custDataLst>
                  <p:tags r:id="rId22"/>
                </p:custDataLst>
              </p:nvPr>
            </p:nvSpPr>
            <p:spPr bwMode="gray">
              <a:xfrm>
                <a:off x="4495" y="1447"/>
                <a:ext cx="160" cy="160"/>
              </a:xfrm>
              <a:prstGeom prst="arc">
                <a:avLst>
                  <a:gd name="adj1" fmla="val 16200000"/>
                  <a:gd name="adj2" fmla="val 162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grpSp>
        <p:grpSp>
          <p:nvGrpSpPr>
            <p:cNvPr id="84" name="MoonLegend3"/>
            <p:cNvGrpSpPr>
              <a:grpSpLocks noChangeAspect="1"/>
            </p:cNvGrpSpPr>
            <p:nvPr>
              <p:custDataLst>
                <p:tags r:id="rId13"/>
              </p:custDataLst>
            </p:nvPr>
          </p:nvGrpSpPr>
          <p:grpSpPr bwMode="gray">
            <a:xfrm>
              <a:off x="5894005" y="3251543"/>
              <a:ext cx="209550" cy="209551"/>
              <a:chOff x="4495" y="1205"/>
              <a:chExt cx="160" cy="160"/>
            </a:xfrm>
          </p:grpSpPr>
          <p:sp>
            <p:nvSpPr>
              <p:cNvPr id="90" name="Oval 47"/>
              <p:cNvSpPr>
                <a:spLocks noChangeAspect="1" noChangeArrowheads="1"/>
              </p:cNvSpPr>
              <p:nvPr>
                <p:custDataLst>
                  <p:tags r:id="rId19"/>
                </p:custDataLst>
              </p:nvPr>
            </p:nvSpPr>
            <p:spPr bwMode="gray">
              <a:xfrm>
                <a:off x="4495" y="1205"/>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91" name="Arc 48"/>
              <p:cNvSpPr>
                <a:spLocks noChangeAspect="1"/>
              </p:cNvSpPr>
              <p:nvPr>
                <p:custDataLst>
                  <p:tags r:id="rId20"/>
                </p:custDataLst>
              </p:nvPr>
            </p:nvSpPr>
            <p:spPr bwMode="gray">
              <a:xfrm>
                <a:off x="4495" y="1205"/>
                <a:ext cx="160" cy="160"/>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grpSp>
        <p:sp>
          <p:nvSpPr>
            <p:cNvPr id="85" name="Legend1"/>
            <p:cNvSpPr>
              <a:spLocks noChangeArrowheads="1"/>
            </p:cNvSpPr>
            <p:nvPr>
              <p:custDataLst>
                <p:tags r:id="rId14"/>
              </p:custDataLst>
            </p:nvPr>
          </p:nvSpPr>
          <p:spPr bwMode="gray">
            <a:xfrm>
              <a:off x="6214680" y="2696542"/>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sp>
          <p:nvSpPr>
            <p:cNvPr id="86" name="Legend2"/>
            <p:cNvSpPr>
              <a:spLocks noChangeArrowheads="1"/>
            </p:cNvSpPr>
            <p:nvPr>
              <p:custDataLst>
                <p:tags r:id="rId15"/>
              </p:custDataLst>
            </p:nvPr>
          </p:nvSpPr>
          <p:spPr bwMode="gray">
            <a:xfrm>
              <a:off x="6214680" y="2974156"/>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a:latin typeface="+mn-lt"/>
                  <a:ea typeface="+mn-ea"/>
                </a:rPr>
                <a:t>Legend</a:t>
              </a:r>
              <a:endParaRPr lang="en-US" sz="1400" baseline="0" dirty="0">
                <a:latin typeface="+mn-lt"/>
                <a:ea typeface="+mn-ea"/>
              </a:endParaRPr>
            </a:p>
          </p:txBody>
        </p:sp>
        <p:sp>
          <p:nvSpPr>
            <p:cNvPr id="87" name="Legend3"/>
            <p:cNvSpPr>
              <a:spLocks noChangeArrowheads="1"/>
            </p:cNvSpPr>
            <p:nvPr>
              <p:custDataLst>
                <p:tags r:id="rId16"/>
              </p:custDataLst>
            </p:nvPr>
          </p:nvSpPr>
          <p:spPr bwMode="gray">
            <a:xfrm>
              <a:off x="6214680" y="3248596"/>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sp>
          <p:nvSpPr>
            <p:cNvPr id="88" name="Legend4"/>
            <p:cNvSpPr>
              <a:spLocks noChangeArrowheads="1"/>
            </p:cNvSpPr>
            <p:nvPr>
              <p:custDataLst>
                <p:tags r:id="rId17"/>
              </p:custDataLst>
            </p:nvPr>
          </p:nvSpPr>
          <p:spPr bwMode="gray">
            <a:xfrm>
              <a:off x="6214680" y="3521448"/>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sp>
          <p:nvSpPr>
            <p:cNvPr id="89" name="Legend5"/>
            <p:cNvSpPr>
              <a:spLocks noChangeArrowheads="1"/>
            </p:cNvSpPr>
            <p:nvPr>
              <p:custDataLst>
                <p:tags r:id="rId18"/>
              </p:custDataLst>
            </p:nvPr>
          </p:nvSpPr>
          <p:spPr bwMode="gray">
            <a:xfrm>
              <a:off x="6214680" y="3796682"/>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a:latin typeface="+mn-lt"/>
                  <a:ea typeface="+mn-ea"/>
                </a:rPr>
                <a:t>Legend</a:t>
              </a:r>
              <a:endParaRPr lang="en-US" sz="1400" baseline="0" dirty="0">
                <a:latin typeface="+mn-lt"/>
                <a:ea typeface="+mn-ea"/>
              </a:endParaRPr>
            </a:p>
          </p:txBody>
        </p:sp>
      </p:grpSp>
    </p:spTree>
    <p:extLst>
      <p:ext uri="{BB962C8B-B14F-4D97-AF65-F5344CB8AC3E}">
        <p14:creationId xmlns:p14="http://schemas.microsoft.com/office/powerpoint/2010/main" val="4000790813"/>
      </p:ext>
    </p:extLst>
  </p:cSld>
  <p:clrMap bg1="lt1" tx1="dk1" bg2="lt2" tx2="dk2" accent1="accent1" accent2="accent2" accent3="accent3" accent4="accent4" accent5="accent5" accent6="accent6" hlink="hlink" folHlink="folHlink"/>
  <p:sldLayoutIdLst>
    <p:sldLayoutId id="2147483806" r:id="rId1"/>
    <p:sldLayoutId id="2147483807" r:id="rId2"/>
    <p:sldLayoutId id="2147483808" r:id="rId3"/>
    <p:sldLayoutId id="2147483809" r:id="rId4"/>
  </p:sldLayoutIdLst>
  <p:txStyles>
    <p:titleStyle>
      <a:lvl1pPr algn="l" defTabSz="895350" rtl="0" eaLnBrk="1" fontAlgn="base" hangingPunct="1">
        <a:spcBef>
          <a:spcPct val="0"/>
        </a:spcBef>
        <a:spcAft>
          <a:spcPct val="0"/>
        </a:spcAft>
        <a:tabLst>
          <a:tab pos="269875" algn="l"/>
        </a:tabLst>
        <a:defRPr sz="2000" b="0" baseline="0">
          <a:solidFill>
            <a:schemeClr val="tx2"/>
          </a:solidFill>
          <a:latin typeface="+mj-lt"/>
          <a:ea typeface="+mj-ea"/>
          <a:cs typeface="+mj-cs"/>
        </a:defRPr>
      </a:lvl1pPr>
      <a:lvl2pPr algn="l" defTabSz="895350" rtl="0" eaLnBrk="1" fontAlgn="base" hangingPunct="1">
        <a:spcBef>
          <a:spcPct val="0"/>
        </a:spcBef>
        <a:spcAft>
          <a:spcPct val="0"/>
        </a:spcAft>
        <a:defRPr sz="1900" b="1">
          <a:solidFill>
            <a:schemeClr val="tx2"/>
          </a:solidFill>
          <a:latin typeface="Arial" charset="0"/>
        </a:defRPr>
      </a:lvl2pPr>
      <a:lvl3pPr algn="l" defTabSz="895350" rtl="0" eaLnBrk="1" fontAlgn="base" hangingPunct="1">
        <a:spcBef>
          <a:spcPct val="0"/>
        </a:spcBef>
        <a:spcAft>
          <a:spcPct val="0"/>
        </a:spcAft>
        <a:defRPr sz="1900" b="1">
          <a:solidFill>
            <a:schemeClr val="tx2"/>
          </a:solidFill>
          <a:latin typeface="Arial" charset="0"/>
        </a:defRPr>
      </a:lvl3pPr>
      <a:lvl4pPr algn="l" defTabSz="895350" rtl="0" eaLnBrk="1" fontAlgn="base" hangingPunct="1">
        <a:spcBef>
          <a:spcPct val="0"/>
        </a:spcBef>
        <a:spcAft>
          <a:spcPct val="0"/>
        </a:spcAft>
        <a:defRPr sz="1900" b="1">
          <a:solidFill>
            <a:schemeClr val="tx2"/>
          </a:solidFill>
          <a:latin typeface="Arial" charset="0"/>
        </a:defRPr>
      </a:lvl4pPr>
      <a:lvl5pPr algn="l" defTabSz="895350" rtl="0" eaLnBrk="1" fontAlgn="base" hangingPunct="1">
        <a:spcBef>
          <a:spcPct val="0"/>
        </a:spcBef>
        <a:spcAft>
          <a:spcPct val="0"/>
        </a:spcAft>
        <a:defRPr sz="1900" b="1">
          <a:solidFill>
            <a:schemeClr val="tx2"/>
          </a:solidFill>
          <a:latin typeface="Arial" charset="0"/>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p:titleStyle>
    <p:bodyStyle>
      <a:lvl1pPr marL="0" indent="0" algn="l" defTabSz="895350" rtl="0" eaLnBrk="1" fontAlgn="base" hangingPunct="1">
        <a:spcBef>
          <a:spcPct val="0"/>
        </a:spcBef>
        <a:spcAft>
          <a:spcPct val="0"/>
        </a:spcAft>
        <a:buClr>
          <a:schemeClr val="tx2"/>
        </a:buClr>
        <a:buSzPct val="100000"/>
        <a:defRPr sz="14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4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4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4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4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ext>
  </p:extLst>
</p:sldMaster>
</file>

<file path=ppt/slideMasters/slideMaster2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7"/>
            </p:custDataLst>
            <p:extLst>
              <p:ext uri="{D42A27DB-BD31-4B8C-83A1-F6EECF244321}">
                <p14:modId xmlns:p14="http://schemas.microsoft.com/office/powerpoint/2010/main" val="3233749924"/>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4404" name="think-cell Slide" r:id="rId36" imgW="270" imgH="270" progId="TCLayout.ActiveDocument.1">
                  <p:embed/>
                </p:oleObj>
              </mc:Choice>
              <mc:Fallback>
                <p:oleObj name="think-cell Slide" r:id="rId36" imgW="270" imgH="270" progId="TCLayout.ActiveDocument.1">
                  <p:embed/>
                  <p:pic>
                    <p:nvPicPr>
                      <p:cNvPr id="2" name="Object 1" hidden="1"/>
                      <p:cNvPicPr/>
                      <p:nvPr/>
                    </p:nvPicPr>
                    <p:blipFill>
                      <a:blip r:embed="rId37"/>
                      <a:stretch>
                        <a:fillRect/>
                      </a:stretch>
                    </p:blipFill>
                    <p:spPr>
                      <a:xfrm>
                        <a:off x="0" y="0"/>
                        <a:ext cx="158750" cy="158750"/>
                      </a:xfrm>
                      <a:prstGeom prst="rect">
                        <a:avLst/>
                      </a:prstGeom>
                    </p:spPr>
                  </p:pic>
                </p:oleObj>
              </mc:Fallback>
            </mc:AlternateContent>
          </a:graphicData>
        </a:graphic>
      </p:graphicFrame>
      <p:sp>
        <p:nvSpPr>
          <p:cNvPr id="6" name="Rectangle 5" hidden="1"/>
          <p:cNvSpPr/>
          <p:nvPr>
            <p:custDataLst>
              <p:tags r:id="rId8"/>
            </p:custDataLst>
          </p:nvPr>
        </p:nvSpPr>
        <p:spPr bwMode="auto">
          <a:xfrm>
            <a:off x="0" y="0"/>
            <a:ext cx="158750" cy="158750"/>
          </a:xfrm>
          <a:prstGeom prst="rect">
            <a:avLst/>
          </a:prstGeom>
          <a:solidFill>
            <a:schemeClr val="bg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dirty="0">
              <a:solidFill>
                <a:srgbClr val="000000"/>
              </a:solidFill>
              <a:sym typeface="Arial" panose="020B0604020202020204" pitchFamily="34" charset="0"/>
            </a:endParaRPr>
          </a:p>
        </p:txBody>
      </p:sp>
      <p:sp>
        <p:nvSpPr>
          <p:cNvPr id="1034" name="Working Draft" hidden="1"/>
          <p:cNvSpPr txBox="1">
            <a:spLocks noChangeArrowheads="1"/>
          </p:cNvSpPr>
          <p:nvPr/>
        </p:nvSpPr>
        <p:spPr bwMode="gray">
          <a:xfrm rot="5400000">
            <a:off x="7966656" y="1940591"/>
            <a:ext cx="1849865"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600" baseline="0">
                <a:solidFill>
                  <a:srgbClr val="808080"/>
                </a:solidFill>
                <a:latin typeface="+mn-lt"/>
                <a:ea typeface="+mn-ea"/>
              </a:rPr>
              <a:t>Last Modified 21/05/2018 17:44 India Standard Time</a:t>
            </a:r>
            <a:endParaRPr lang="en-US" baseline="0" dirty="0">
              <a:solidFill>
                <a:srgbClr val="808080"/>
              </a:solidFill>
              <a:latin typeface="+mn-lt"/>
              <a:ea typeface="+mn-ea"/>
            </a:endParaRPr>
          </a:p>
        </p:txBody>
      </p:sp>
      <p:sp>
        <p:nvSpPr>
          <p:cNvPr id="1035" name="Printed" hidden="1"/>
          <p:cNvSpPr txBox="1">
            <a:spLocks noChangeArrowheads="1"/>
          </p:cNvSpPr>
          <p:nvPr/>
        </p:nvSpPr>
        <p:spPr bwMode="gray">
          <a:xfrm rot="5400000">
            <a:off x="8768958" y="4114417"/>
            <a:ext cx="245260"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600" baseline="0" dirty="0">
                <a:solidFill>
                  <a:srgbClr val="808080"/>
                </a:solidFill>
                <a:latin typeface="+mn-lt"/>
                <a:ea typeface="+mn-ea"/>
              </a:rPr>
              <a:t>Printed</a:t>
            </a:r>
            <a:endParaRPr lang="en-US" baseline="0" dirty="0">
              <a:solidFill>
                <a:srgbClr val="808080"/>
              </a:solidFill>
              <a:latin typeface="+mn-lt"/>
              <a:ea typeface="+mn-ea"/>
            </a:endParaRPr>
          </a:p>
        </p:txBody>
      </p:sp>
      <p:sp>
        <p:nvSpPr>
          <p:cNvPr id="19" name="Title Placeholder 2"/>
          <p:cNvSpPr>
            <a:spLocks noGrp="1" noChangeArrowheads="1"/>
          </p:cNvSpPr>
          <p:nvPr>
            <p:ph type="title"/>
          </p:nvPr>
        </p:nvSpPr>
        <p:spPr bwMode="gray">
          <a:xfrm>
            <a:off x="119063" y="230188"/>
            <a:ext cx="8618537"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latinLnBrk="0"/>
            <a:r>
              <a:rPr lang="en-US"/>
              <a:t>Click to edit Master title style</a:t>
            </a:r>
            <a:endParaRPr lang="en-US" noProof="0" dirty="0"/>
          </a:p>
        </p:txBody>
      </p:sp>
      <p:sp>
        <p:nvSpPr>
          <p:cNvPr id="10" name="1. On-page tracker" hidden="1"/>
          <p:cNvSpPr>
            <a:spLocks noChangeArrowheads="1"/>
          </p:cNvSpPr>
          <p:nvPr/>
        </p:nvSpPr>
        <p:spPr bwMode="gray">
          <a:xfrm>
            <a:off x="119063" y="75764"/>
            <a:ext cx="490519"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800" cap="all" baseline="0" dirty="0">
                <a:solidFill>
                  <a:schemeClr val="accent6"/>
                </a:solidFill>
                <a:latin typeface="+mn-lt"/>
                <a:ea typeface="+mn-ea"/>
              </a:rPr>
              <a:t>Tracker</a:t>
            </a:r>
          </a:p>
        </p:txBody>
      </p:sp>
      <p:sp>
        <p:nvSpPr>
          <p:cNvPr id="11" name="3. Unit of measure" hidden="1"/>
          <p:cNvSpPr txBox="1">
            <a:spLocks noChangeArrowheads="1"/>
          </p:cNvSpPr>
          <p:nvPr/>
        </p:nvSpPr>
        <p:spPr bwMode="gray">
          <a:xfrm>
            <a:off x="119063" y="554865"/>
            <a:ext cx="8618537"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600" baseline="0" dirty="0">
                <a:solidFill>
                  <a:schemeClr val="accent6"/>
                </a:solidFill>
                <a:latin typeface="+mn-lt"/>
                <a:ea typeface="+mn-ea"/>
              </a:rPr>
              <a:t>Unit of measure</a:t>
            </a:r>
          </a:p>
        </p:txBody>
      </p:sp>
      <p:grpSp>
        <p:nvGrpSpPr>
          <p:cNvPr id="4" name="Slide Elements" hidden="1"/>
          <p:cNvGrpSpPr/>
          <p:nvPr/>
        </p:nvGrpSpPr>
        <p:grpSpPr bwMode="gray">
          <a:xfrm>
            <a:off x="119063" y="6305945"/>
            <a:ext cx="8618537" cy="325438"/>
            <a:chOff x="119063" y="6305945"/>
            <a:chExt cx="8618537" cy="325438"/>
          </a:xfrm>
        </p:grpSpPr>
        <p:sp>
          <p:nvSpPr>
            <p:cNvPr id="13" name="4. Footnote"/>
            <p:cNvSpPr txBox="1">
              <a:spLocks noChangeArrowheads="1"/>
            </p:cNvSpPr>
            <p:nvPr/>
          </p:nvSpPr>
          <p:spPr bwMode="gray">
            <a:xfrm>
              <a:off x="119063" y="6305945"/>
              <a:ext cx="8618537" cy="123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800" baseline="0" dirty="0">
                  <a:solidFill>
                    <a:schemeClr val="accent6"/>
                  </a:solidFill>
                  <a:latin typeface="+mn-lt"/>
                  <a:ea typeface="+mn-ea"/>
                </a:rPr>
                <a:t>1 Footnote</a:t>
              </a:r>
            </a:p>
          </p:txBody>
        </p:sp>
        <p:sp>
          <p:nvSpPr>
            <p:cNvPr id="14" name="5. Source"/>
            <p:cNvSpPr>
              <a:spLocks noChangeArrowheads="1"/>
            </p:cNvSpPr>
            <p:nvPr/>
          </p:nvSpPr>
          <p:spPr bwMode="gray">
            <a:xfrm>
              <a:off x="119063" y="6507558"/>
              <a:ext cx="7200000" cy="123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marL="609600" indent="-609600" defTabSz="895350">
                <a:tabLst>
                  <a:tab pos="612775" algn="l"/>
                </a:tabLst>
              </a:pPr>
              <a:r>
                <a:rPr lang="en-US" sz="800" baseline="0" dirty="0">
                  <a:solidFill>
                    <a:schemeClr val="accent6"/>
                  </a:solidFill>
                  <a:latin typeface="+mn-lt"/>
                  <a:ea typeface="+mn-ea"/>
                </a:rPr>
                <a:t>SOURCE: Source</a:t>
              </a:r>
            </a:p>
          </p:txBody>
        </p:sp>
      </p:grpSp>
      <p:sp>
        <p:nvSpPr>
          <p:cNvPr id="3" name="Text Placeholder 2"/>
          <p:cNvSpPr>
            <a:spLocks noGrp="1"/>
          </p:cNvSpPr>
          <p:nvPr>
            <p:ph type="body" idx="1"/>
          </p:nvPr>
        </p:nvSpPr>
        <p:spPr bwMode="gray">
          <a:xfrm>
            <a:off x="1452564" y="1951380"/>
            <a:ext cx="4302125" cy="1077218"/>
          </a:xfrm>
          <a:prstGeom prst="rect">
            <a:avLst/>
          </a:prstGeom>
        </p:spPr>
        <p:txBody>
          <a:bodyPr vert="horz" lIns="0" tIns="0" rIns="0" bIns="0" rtlCol="0">
            <a:spAutoFit/>
          </a:bodyPr>
          <a:lstStyle/>
          <a:p>
            <a:pPr lvl="0" latinLnBrk="0"/>
            <a:r>
              <a:rPr lang="en-US"/>
              <a:t>Edit Master text styles</a:t>
            </a:r>
          </a:p>
          <a:p>
            <a:pPr lvl="1" latinLnBrk="0"/>
            <a:r>
              <a:rPr lang="en-US"/>
              <a:t>Second level</a:t>
            </a:r>
          </a:p>
          <a:p>
            <a:pPr lvl="2" latinLnBrk="0"/>
            <a:r>
              <a:rPr lang="en-US"/>
              <a:t>Third level</a:t>
            </a:r>
          </a:p>
          <a:p>
            <a:pPr lvl="3" latinLnBrk="0"/>
            <a:r>
              <a:rPr lang="en-US"/>
              <a:t>Fourth level</a:t>
            </a:r>
          </a:p>
          <a:p>
            <a:pPr lvl="4" latinLnBrk="0"/>
            <a:r>
              <a:rPr lang="en-US"/>
              <a:t>Fifth level</a:t>
            </a:r>
            <a:endParaRPr lang="en-US" dirty="0"/>
          </a:p>
        </p:txBody>
      </p:sp>
      <p:grpSp>
        <p:nvGrpSpPr>
          <p:cNvPr id="15" name="ACET" hidden="1"/>
          <p:cNvGrpSpPr>
            <a:grpSpLocks/>
          </p:cNvGrpSpPr>
          <p:nvPr/>
        </p:nvGrpSpPr>
        <p:grpSpPr bwMode="gray">
          <a:xfrm>
            <a:off x="1452563" y="1257754"/>
            <a:ext cx="4264025" cy="508000"/>
            <a:chOff x="915" y="710"/>
            <a:chExt cx="2686" cy="320"/>
          </a:xfrm>
        </p:grpSpPr>
        <p:cxnSp>
          <p:nvCxnSpPr>
            <p:cNvPr id="16" name="AutoShape 249"/>
            <p:cNvCxnSpPr>
              <a:cxnSpLocks noChangeShapeType="1"/>
              <a:stCxn id="18" idx="4"/>
              <a:endCxn id="18" idx="6"/>
            </p:cNvCxnSpPr>
            <p:nvPr/>
          </p:nvCxnSpPr>
          <p:spPr bwMode="gray">
            <a:xfrm>
              <a:off x="915" y="1030"/>
              <a:ext cx="2686" cy="0"/>
            </a:xfrm>
            <a:prstGeom prst="straightConnector1">
              <a:avLst/>
            </a:prstGeom>
            <a:noFill/>
            <a:ln w="9525">
              <a:solidFill>
                <a:schemeClr val="accent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8" name="AutoShape 250"/>
            <p:cNvSpPr>
              <a:spLocks noChangeArrowheads="1"/>
            </p:cNvSpPr>
            <p:nvPr/>
          </p:nvSpPr>
          <p:spPr bwMode="gray">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US" b="1" baseline="0" dirty="0">
                  <a:solidFill>
                    <a:srgbClr val="000000"/>
                  </a:solidFill>
                  <a:latin typeface="+mn-lt"/>
                  <a:ea typeface="+mn-ea"/>
                </a:rPr>
                <a:t>Title</a:t>
              </a:r>
            </a:p>
            <a:p>
              <a:r>
                <a:rPr lang="en-US" baseline="0" dirty="0">
                  <a:solidFill>
                    <a:schemeClr val="accent6"/>
                  </a:solidFill>
                  <a:latin typeface="+mn-lt"/>
                  <a:ea typeface="+mn-ea"/>
                </a:rPr>
                <a:t>Unit of measure</a:t>
              </a:r>
            </a:p>
          </p:txBody>
        </p:sp>
      </p:grpSp>
      <p:grpSp>
        <p:nvGrpSpPr>
          <p:cNvPr id="17" name="McKSticker" hidden="1"/>
          <p:cNvGrpSpPr/>
          <p:nvPr/>
        </p:nvGrpSpPr>
        <p:grpSpPr bwMode="gray">
          <a:xfrm>
            <a:off x="8264265" y="285750"/>
            <a:ext cx="473335" cy="150811"/>
            <a:chOff x="8267440" y="285750"/>
            <a:chExt cx="473335" cy="150811"/>
          </a:xfrm>
        </p:grpSpPr>
        <p:sp>
          <p:nvSpPr>
            <p:cNvPr id="20" name="StickerRectangle"/>
            <p:cNvSpPr>
              <a:spLocks noChangeArrowheads="1"/>
            </p:cNvSpPr>
            <p:nvPr/>
          </p:nvSpPr>
          <p:spPr bwMode="gray">
            <a:xfrm>
              <a:off x="8267440" y="285750"/>
              <a:ext cx="473335" cy="150811"/>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a:buClr>
                  <a:srgbClr val="002960"/>
                </a:buClr>
              </a:pPr>
              <a:r>
                <a:rPr lang="en-US" sz="800" baseline="0" dirty="0">
                  <a:solidFill>
                    <a:schemeClr val="accent6"/>
                  </a:solidFill>
                  <a:latin typeface="+mn-lt"/>
                  <a:ea typeface="+mn-ea"/>
                </a:rPr>
                <a:t>STICKER</a:t>
              </a:r>
            </a:p>
          </p:txBody>
        </p:sp>
        <p:cxnSp>
          <p:nvCxnSpPr>
            <p:cNvPr id="21" name="AutoShape 31"/>
            <p:cNvCxnSpPr>
              <a:cxnSpLocks noChangeShapeType="1"/>
              <a:stCxn id="20" idx="2"/>
              <a:endCxn id="20" idx="4"/>
            </p:cNvCxnSpPr>
            <p:nvPr/>
          </p:nvCxnSpPr>
          <p:spPr bwMode="gray">
            <a:xfrm>
              <a:off x="8267440" y="285750"/>
              <a:ext cx="0" cy="150811"/>
            </a:xfrm>
            <a:prstGeom prst="straightConnector1">
              <a:avLst/>
            </a:prstGeom>
            <a:noFill/>
            <a:ln w="9525">
              <a:solidFill>
                <a:schemeClr val="accent6"/>
              </a:solidFill>
              <a:round/>
              <a:headEnd/>
              <a:tailEnd/>
            </a:ln>
            <a:extLst>
              <a:ext uri="{909E8E84-426E-40DD-AFC4-6F175D3DCCD1}">
                <a14:hiddenFill xmlns:a14="http://schemas.microsoft.com/office/drawing/2010/main">
                  <a:noFill/>
                </a14:hiddenFill>
              </a:ext>
            </a:extLst>
          </p:spPr>
        </p:cxnSp>
        <p:cxnSp>
          <p:nvCxnSpPr>
            <p:cNvPr id="22" name="AutoShape 32"/>
            <p:cNvCxnSpPr>
              <a:cxnSpLocks noChangeShapeType="1"/>
              <a:stCxn id="20" idx="4"/>
              <a:endCxn id="20" idx="6"/>
            </p:cNvCxnSpPr>
            <p:nvPr/>
          </p:nvCxnSpPr>
          <p:spPr bwMode="gray">
            <a:xfrm>
              <a:off x="8267440" y="436561"/>
              <a:ext cx="473335" cy="0"/>
            </a:xfrm>
            <a:prstGeom prst="straightConnector1">
              <a:avLst/>
            </a:prstGeom>
            <a:noFill/>
            <a:ln w="25400">
              <a:solidFill>
                <a:schemeClr val="accent6"/>
              </a:solidFill>
              <a:round/>
              <a:headEnd/>
              <a:tailEnd/>
            </a:ln>
            <a:extLst>
              <a:ext uri="{909E8E84-426E-40DD-AFC4-6F175D3DCCD1}">
                <a14:hiddenFill xmlns:a14="http://schemas.microsoft.com/office/drawing/2010/main">
                  <a:noFill/>
                </a14:hiddenFill>
              </a:ext>
            </a:extLst>
          </p:spPr>
        </p:cxnSp>
      </p:grpSp>
      <p:sp>
        <p:nvSpPr>
          <p:cNvPr id="23" name="SlideBottomBar" hidden="1"/>
          <p:cNvSpPr/>
          <p:nvPr/>
        </p:nvSpPr>
        <p:spPr>
          <a:xfrm>
            <a:off x="8437547" y="6182120"/>
            <a:ext cx="45719" cy="123825"/>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aseline="0" dirty="0">
              <a:solidFill>
                <a:schemeClr val="tx1"/>
              </a:solidFill>
              <a:latin typeface="+mn-lt"/>
              <a:ea typeface="+mn-ea"/>
            </a:endParaRPr>
          </a:p>
        </p:txBody>
      </p:sp>
      <p:sp>
        <p:nvSpPr>
          <p:cNvPr id="24" name="doc id" hidden="1"/>
          <p:cNvSpPr txBox="1">
            <a:spLocks noChangeArrowheads="1"/>
          </p:cNvSpPr>
          <p:nvPr/>
        </p:nvSpPr>
        <p:spPr bwMode="white">
          <a:xfrm>
            <a:off x="8104473" y="36513"/>
            <a:ext cx="634716" cy="115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hangingPunct="1">
              <a:defRPr/>
            </a:pPr>
            <a:endParaRPr lang="en-US" sz="800" baseline="0" dirty="0">
              <a:solidFill>
                <a:schemeClr val="accent1"/>
              </a:solidFill>
              <a:latin typeface="+mn-lt"/>
              <a:ea typeface="+mn-ea"/>
            </a:endParaRPr>
          </a:p>
        </p:txBody>
      </p:sp>
      <p:grpSp>
        <p:nvGrpSpPr>
          <p:cNvPr id="63" name="LegendLines" hidden="1"/>
          <p:cNvGrpSpPr/>
          <p:nvPr/>
        </p:nvGrpSpPr>
        <p:grpSpPr>
          <a:xfrm>
            <a:off x="7551589" y="267815"/>
            <a:ext cx="1158292" cy="761545"/>
            <a:chOff x="7607284" y="279400"/>
            <a:chExt cx="1158292" cy="761545"/>
          </a:xfrm>
        </p:grpSpPr>
        <p:sp>
          <p:nvSpPr>
            <p:cNvPr id="64" name="LineLegend1"/>
            <p:cNvSpPr>
              <a:spLocks noChangeShapeType="1"/>
            </p:cNvSpPr>
            <p:nvPr/>
          </p:nvSpPr>
          <p:spPr bwMode="gray">
            <a:xfrm>
              <a:off x="7607284" y="387122"/>
              <a:ext cx="457200"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65" name="LineLegend2"/>
            <p:cNvSpPr>
              <a:spLocks noChangeShapeType="1"/>
            </p:cNvSpPr>
            <p:nvPr/>
          </p:nvSpPr>
          <p:spPr bwMode="gray">
            <a:xfrm>
              <a:off x="7607284" y="653822"/>
              <a:ext cx="457200"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66" name="LineLegend3"/>
            <p:cNvSpPr>
              <a:spLocks noChangeShapeType="1"/>
            </p:cNvSpPr>
            <p:nvPr/>
          </p:nvSpPr>
          <p:spPr bwMode="gray">
            <a:xfrm>
              <a:off x="7607284" y="933223"/>
              <a:ext cx="457200"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67" name="Legend1"/>
            <p:cNvSpPr>
              <a:spLocks noChangeArrowheads="1"/>
            </p:cNvSpPr>
            <p:nvPr>
              <p:custDataLst>
                <p:tags r:id="rId33"/>
              </p:custDataLst>
            </p:nvPr>
          </p:nvSpPr>
          <p:spPr bwMode="gray">
            <a:xfrm>
              <a:off x="8169259" y="279400"/>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sp>
          <p:nvSpPr>
            <p:cNvPr id="68" name="Legend2"/>
            <p:cNvSpPr>
              <a:spLocks noChangeArrowheads="1"/>
            </p:cNvSpPr>
            <p:nvPr>
              <p:custDataLst>
                <p:tags r:id="rId34"/>
              </p:custDataLst>
            </p:nvPr>
          </p:nvSpPr>
          <p:spPr bwMode="gray">
            <a:xfrm>
              <a:off x="8169259" y="546100"/>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a:latin typeface="+mn-lt"/>
                  <a:ea typeface="+mn-ea"/>
                </a:rPr>
                <a:t>Legend</a:t>
              </a:r>
              <a:endParaRPr lang="en-US" sz="1400" baseline="0" dirty="0">
                <a:latin typeface="+mn-lt"/>
                <a:ea typeface="+mn-ea"/>
              </a:endParaRPr>
            </a:p>
          </p:txBody>
        </p:sp>
        <p:sp>
          <p:nvSpPr>
            <p:cNvPr id="69" name="Legend3"/>
            <p:cNvSpPr>
              <a:spLocks noChangeArrowheads="1"/>
            </p:cNvSpPr>
            <p:nvPr>
              <p:custDataLst>
                <p:tags r:id="rId35"/>
              </p:custDataLst>
            </p:nvPr>
          </p:nvSpPr>
          <p:spPr bwMode="gray">
            <a:xfrm>
              <a:off x="8169259" y="825501"/>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grpSp>
      <p:grpSp>
        <p:nvGrpSpPr>
          <p:cNvPr id="70" name="LegendBoxes" hidden="1"/>
          <p:cNvGrpSpPr/>
          <p:nvPr/>
        </p:nvGrpSpPr>
        <p:grpSpPr>
          <a:xfrm>
            <a:off x="7859564" y="267919"/>
            <a:ext cx="850317" cy="1028245"/>
            <a:chOff x="5894005" y="919828"/>
            <a:chExt cx="850317" cy="1028245"/>
          </a:xfrm>
        </p:grpSpPr>
        <p:sp>
          <p:nvSpPr>
            <p:cNvPr id="71" name="RectangleLegend1"/>
            <p:cNvSpPr>
              <a:spLocks noChangeArrowheads="1"/>
            </p:cNvSpPr>
            <p:nvPr/>
          </p:nvSpPr>
          <p:spPr bwMode="gray">
            <a:xfrm>
              <a:off x="5894005" y="947381"/>
              <a:ext cx="165100" cy="160338"/>
            </a:xfrm>
            <a:prstGeom prst="rect">
              <a:avLst/>
            </a:prstGeom>
            <a:solidFill>
              <a:schemeClr val="accent1"/>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72" name="RectangleLegend2"/>
            <p:cNvSpPr>
              <a:spLocks noChangeArrowheads="1"/>
            </p:cNvSpPr>
            <p:nvPr/>
          </p:nvSpPr>
          <p:spPr bwMode="gray">
            <a:xfrm>
              <a:off x="5894005" y="1217256"/>
              <a:ext cx="165100" cy="160338"/>
            </a:xfrm>
            <a:prstGeom prst="rect">
              <a:avLst/>
            </a:prstGeom>
            <a:solidFill>
              <a:schemeClr val="accent2"/>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73" name="RectangleLegend3"/>
            <p:cNvSpPr>
              <a:spLocks noChangeArrowheads="1"/>
            </p:cNvSpPr>
            <p:nvPr/>
          </p:nvSpPr>
          <p:spPr bwMode="gray">
            <a:xfrm>
              <a:off x="5894005" y="1488719"/>
              <a:ext cx="165100" cy="160338"/>
            </a:xfrm>
            <a:prstGeom prst="rect">
              <a:avLst/>
            </a:prstGeom>
            <a:solidFill>
              <a:schemeClr val="accent3"/>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74" name="RectangleLegend4"/>
            <p:cNvSpPr>
              <a:spLocks noChangeArrowheads="1"/>
            </p:cNvSpPr>
            <p:nvPr/>
          </p:nvSpPr>
          <p:spPr bwMode="gray">
            <a:xfrm>
              <a:off x="5894005" y="1760182"/>
              <a:ext cx="165100" cy="160338"/>
            </a:xfrm>
            <a:prstGeom prst="rect">
              <a:avLst/>
            </a:prstGeom>
            <a:solidFill>
              <a:schemeClr val="accent4"/>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75" name="Legend1"/>
            <p:cNvSpPr>
              <a:spLocks noChangeArrowheads="1"/>
            </p:cNvSpPr>
            <p:nvPr>
              <p:custDataLst>
                <p:tags r:id="rId29"/>
              </p:custDataLst>
            </p:nvPr>
          </p:nvSpPr>
          <p:spPr bwMode="gray">
            <a:xfrm>
              <a:off x="6148005" y="919828"/>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sp>
          <p:nvSpPr>
            <p:cNvPr id="76" name="Legend2"/>
            <p:cNvSpPr>
              <a:spLocks noChangeArrowheads="1"/>
            </p:cNvSpPr>
            <p:nvPr>
              <p:custDataLst>
                <p:tags r:id="rId30"/>
              </p:custDataLst>
            </p:nvPr>
          </p:nvSpPr>
          <p:spPr bwMode="gray">
            <a:xfrm>
              <a:off x="6148005" y="1189703"/>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sp>
          <p:nvSpPr>
            <p:cNvPr id="77" name="Legend3"/>
            <p:cNvSpPr>
              <a:spLocks noChangeArrowheads="1"/>
            </p:cNvSpPr>
            <p:nvPr>
              <p:custDataLst>
                <p:tags r:id="rId31"/>
              </p:custDataLst>
            </p:nvPr>
          </p:nvSpPr>
          <p:spPr bwMode="gray">
            <a:xfrm>
              <a:off x="6148005" y="1461166"/>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sp>
          <p:nvSpPr>
            <p:cNvPr id="78" name="Legend4"/>
            <p:cNvSpPr>
              <a:spLocks noChangeArrowheads="1"/>
            </p:cNvSpPr>
            <p:nvPr>
              <p:custDataLst>
                <p:tags r:id="rId32"/>
              </p:custDataLst>
            </p:nvPr>
          </p:nvSpPr>
          <p:spPr bwMode="gray">
            <a:xfrm>
              <a:off x="6148005" y="1732629"/>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grpSp>
      <p:grpSp>
        <p:nvGrpSpPr>
          <p:cNvPr id="79" name="LegendMoons" hidden="1"/>
          <p:cNvGrpSpPr/>
          <p:nvPr/>
        </p:nvGrpSpPr>
        <p:grpSpPr>
          <a:xfrm>
            <a:off x="7792889" y="267414"/>
            <a:ext cx="916992" cy="1317003"/>
            <a:chOff x="5894005" y="2695123"/>
            <a:chExt cx="916992" cy="1317003"/>
          </a:xfrm>
        </p:grpSpPr>
        <p:grpSp>
          <p:nvGrpSpPr>
            <p:cNvPr id="80" name="MoonLegend1"/>
            <p:cNvGrpSpPr>
              <a:grpSpLocks noChangeAspect="1"/>
            </p:cNvGrpSpPr>
            <p:nvPr>
              <p:custDataLst>
                <p:tags r:id="rId9"/>
              </p:custDataLst>
            </p:nvPr>
          </p:nvGrpSpPr>
          <p:grpSpPr bwMode="gray">
            <a:xfrm>
              <a:off x="5894005" y="2695123"/>
              <a:ext cx="209550" cy="218282"/>
              <a:chOff x="4533" y="183"/>
              <a:chExt cx="144" cy="150"/>
            </a:xfrm>
          </p:grpSpPr>
          <p:sp>
            <p:nvSpPr>
              <p:cNvPr id="98" name="Oval 97"/>
              <p:cNvSpPr>
                <a:spLocks noChangeAspect="1" noChangeArrowheads="1"/>
              </p:cNvSpPr>
              <p:nvPr>
                <p:custDataLst>
                  <p:tags r:id="rId27"/>
                </p:custDataLst>
              </p:nvPr>
            </p:nvSpPr>
            <p:spPr bwMode="gray">
              <a:xfrm>
                <a:off x="4533" y="189"/>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99" name="Arc 98" hidden="1"/>
              <p:cNvSpPr>
                <a:spLocks noChangeAspect="1"/>
              </p:cNvSpPr>
              <p:nvPr>
                <p:custDataLst>
                  <p:tags r:id="rId28"/>
                </p:custDataLst>
              </p:nvPr>
            </p:nvSpPr>
            <p:spPr bwMode="gray">
              <a:xfrm>
                <a:off x="4533" y="183"/>
                <a:ext cx="144" cy="144"/>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grpSp>
        <p:grpSp>
          <p:nvGrpSpPr>
            <p:cNvPr id="81" name="MoonLegend2"/>
            <p:cNvGrpSpPr>
              <a:grpSpLocks noChangeAspect="1"/>
            </p:cNvGrpSpPr>
            <p:nvPr>
              <p:custDataLst>
                <p:tags r:id="rId10"/>
              </p:custDataLst>
            </p:nvPr>
          </p:nvGrpSpPr>
          <p:grpSpPr bwMode="gray">
            <a:xfrm>
              <a:off x="5894005" y="2977103"/>
              <a:ext cx="209550" cy="209551"/>
              <a:chOff x="1694" y="2051"/>
              <a:chExt cx="160" cy="160"/>
            </a:xfrm>
          </p:grpSpPr>
          <p:sp>
            <p:nvSpPr>
              <p:cNvPr id="96" name="Oval 41"/>
              <p:cNvSpPr>
                <a:spLocks noChangeAspect="1" noChangeArrowheads="1"/>
              </p:cNvSpPr>
              <p:nvPr>
                <p:custDataLst>
                  <p:tags r:id="rId25"/>
                </p:custDataLst>
              </p:nvPr>
            </p:nvSpPr>
            <p:spPr bwMode="gray">
              <a:xfrm>
                <a:off x="1694" y="2051"/>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97" name="Arc 42"/>
              <p:cNvSpPr>
                <a:spLocks noChangeAspect="1"/>
              </p:cNvSpPr>
              <p:nvPr>
                <p:custDataLst>
                  <p:tags r:id="rId26"/>
                </p:custDataLst>
              </p:nvPr>
            </p:nvSpPr>
            <p:spPr bwMode="gray">
              <a:xfrm>
                <a:off x="1694" y="2051"/>
                <a:ext cx="160" cy="160"/>
              </a:xfrm>
              <a:prstGeom prst="arc">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grpSp>
        <p:grpSp>
          <p:nvGrpSpPr>
            <p:cNvPr id="82" name="MoonLegend4"/>
            <p:cNvGrpSpPr>
              <a:grpSpLocks noChangeAspect="1"/>
            </p:cNvGrpSpPr>
            <p:nvPr>
              <p:custDataLst>
                <p:tags r:id="rId11"/>
              </p:custDataLst>
            </p:nvPr>
          </p:nvGrpSpPr>
          <p:grpSpPr bwMode="gray">
            <a:xfrm>
              <a:off x="5894005" y="3524395"/>
              <a:ext cx="209550" cy="209551"/>
              <a:chOff x="4495" y="1204"/>
              <a:chExt cx="160" cy="160"/>
            </a:xfrm>
          </p:grpSpPr>
          <p:sp>
            <p:nvSpPr>
              <p:cNvPr id="94" name="Oval 47"/>
              <p:cNvSpPr>
                <a:spLocks noChangeAspect="1" noChangeArrowheads="1"/>
              </p:cNvSpPr>
              <p:nvPr>
                <p:custDataLst>
                  <p:tags r:id="rId23"/>
                </p:custDataLst>
              </p:nvPr>
            </p:nvSpPr>
            <p:spPr bwMode="gray">
              <a:xfrm>
                <a:off x="4495" y="120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95" name="Arc 48"/>
              <p:cNvSpPr>
                <a:spLocks noChangeAspect="1"/>
              </p:cNvSpPr>
              <p:nvPr>
                <p:custDataLst>
                  <p:tags r:id="rId24"/>
                </p:custDataLst>
              </p:nvPr>
            </p:nvSpPr>
            <p:spPr bwMode="gray">
              <a:xfrm>
                <a:off x="4495" y="1204"/>
                <a:ext cx="160" cy="160"/>
              </a:xfrm>
              <a:prstGeom prst="arc">
                <a:avLst>
                  <a:gd name="adj1" fmla="val 16200000"/>
                  <a:gd name="adj2" fmla="val 108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grpSp>
        <p:grpSp>
          <p:nvGrpSpPr>
            <p:cNvPr id="83" name="MoonLegend5"/>
            <p:cNvGrpSpPr>
              <a:grpSpLocks noChangeAspect="1"/>
            </p:cNvGrpSpPr>
            <p:nvPr>
              <p:custDataLst>
                <p:tags r:id="rId12"/>
              </p:custDataLst>
            </p:nvPr>
          </p:nvGrpSpPr>
          <p:grpSpPr bwMode="gray">
            <a:xfrm>
              <a:off x="5894005" y="3799629"/>
              <a:ext cx="209550" cy="209551"/>
              <a:chOff x="4495" y="1447"/>
              <a:chExt cx="160" cy="160"/>
            </a:xfrm>
          </p:grpSpPr>
          <p:sp>
            <p:nvSpPr>
              <p:cNvPr id="92" name="Oval 50"/>
              <p:cNvSpPr>
                <a:spLocks noChangeAspect="1" noChangeArrowheads="1"/>
              </p:cNvSpPr>
              <p:nvPr>
                <p:custDataLst>
                  <p:tags r:id="rId21"/>
                </p:custDataLst>
              </p:nvPr>
            </p:nvSpPr>
            <p:spPr bwMode="gray">
              <a:xfrm>
                <a:off x="4495" y="1447"/>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93" name="Oval 51"/>
              <p:cNvSpPr>
                <a:spLocks noChangeAspect="1" noChangeArrowheads="1"/>
              </p:cNvSpPr>
              <p:nvPr>
                <p:custDataLst>
                  <p:tags r:id="rId22"/>
                </p:custDataLst>
              </p:nvPr>
            </p:nvSpPr>
            <p:spPr bwMode="gray">
              <a:xfrm>
                <a:off x="4495" y="1447"/>
                <a:ext cx="160" cy="160"/>
              </a:xfrm>
              <a:prstGeom prst="arc">
                <a:avLst>
                  <a:gd name="adj1" fmla="val 16200000"/>
                  <a:gd name="adj2" fmla="val 162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grpSp>
        <p:grpSp>
          <p:nvGrpSpPr>
            <p:cNvPr id="84" name="MoonLegend3"/>
            <p:cNvGrpSpPr>
              <a:grpSpLocks noChangeAspect="1"/>
            </p:cNvGrpSpPr>
            <p:nvPr>
              <p:custDataLst>
                <p:tags r:id="rId13"/>
              </p:custDataLst>
            </p:nvPr>
          </p:nvGrpSpPr>
          <p:grpSpPr bwMode="gray">
            <a:xfrm>
              <a:off x="5894005" y="3251543"/>
              <a:ext cx="209550" cy="209551"/>
              <a:chOff x="4495" y="1205"/>
              <a:chExt cx="160" cy="160"/>
            </a:xfrm>
          </p:grpSpPr>
          <p:sp>
            <p:nvSpPr>
              <p:cNvPr id="90" name="Oval 47"/>
              <p:cNvSpPr>
                <a:spLocks noChangeAspect="1" noChangeArrowheads="1"/>
              </p:cNvSpPr>
              <p:nvPr>
                <p:custDataLst>
                  <p:tags r:id="rId19"/>
                </p:custDataLst>
              </p:nvPr>
            </p:nvSpPr>
            <p:spPr bwMode="gray">
              <a:xfrm>
                <a:off x="4495" y="1205"/>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91" name="Arc 48"/>
              <p:cNvSpPr>
                <a:spLocks noChangeAspect="1"/>
              </p:cNvSpPr>
              <p:nvPr>
                <p:custDataLst>
                  <p:tags r:id="rId20"/>
                </p:custDataLst>
              </p:nvPr>
            </p:nvSpPr>
            <p:spPr bwMode="gray">
              <a:xfrm>
                <a:off x="4495" y="1205"/>
                <a:ext cx="160" cy="160"/>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grpSp>
        <p:sp>
          <p:nvSpPr>
            <p:cNvPr id="85" name="Legend1"/>
            <p:cNvSpPr>
              <a:spLocks noChangeArrowheads="1"/>
            </p:cNvSpPr>
            <p:nvPr>
              <p:custDataLst>
                <p:tags r:id="rId14"/>
              </p:custDataLst>
            </p:nvPr>
          </p:nvSpPr>
          <p:spPr bwMode="gray">
            <a:xfrm>
              <a:off x="6214680" y="2696542"/>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sp>
          <p:nvSpPr>
            <p:cNvPr id="86" name="Legend2"/>
            <p:cNvSpPr>
              <a:spLocks noChangeArrowheads="1"/>
            </p:cNvSpPr>
            <p:nvPr>
              <p:custDataLst>
                <p:tags r:id="rId15"/>
              </p:custDataLst>
            </p:nvPr>
          </p:nvSpPr>
          <p:spPr bwMode="gray">
            <a:xfrm>
              <a:off x="6214680" y="2974156"/>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a:latin typeface="+mn-lt"/>
                  <a:ea typeface="+mn-ea"/>
                </a:rPr>
                <a:t>Legend</a:t>
              </a:r>
              <a:endParaRPr lang="en-US" sz="1400" baseline="0" dirty="0">
                <a:latin typeface="+mn-lt"/>
                <a:ea typeface="+mn-ea"/>
              </a:endParaRPr>
            </a:p>
          </p:txBody>
        </p:sp>
        <p:sp>
          <p:nvSpPr>
            <p:cNvPr id="87" name="Legend3"/>
            <p:cNvSpPr>
              <a:spLocks noChangeArrowheads="1"/>
            </p:cNvSpPr>
            <p:nvPr>
              <p:custDataLst>
                <p:tags r:id="rId16"/>
              </p:custDataLst>
            </p:nvPr>
          </p:nvSpPr>
          <p:spPr bwMode="gray">
            <a:xfrm>
              <a:off x="6214680" y="3248596"/>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sp>
          <p:nvSpPr>
            <p:cNvPr id="88" name="Legend4"/>
            <p:cNvSpPr>
              <a:spLocks noChangeArrowheads="1"/>
            </p:cNvSpPr>
            <p:nvPr>
              <p:custDataLst>
                <p:tags r:id="rId17"/>
              </p:custDataLst>
            </p:nvPr>
          </p:nvSpPr>
          <p:spPr bwMode="gray">
            <a:xfrm>
              <a:off x="6214680" y="3521448"/>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sp>
          <p:nvSpPr>
            <p:cNvPr id="89" name="Legend5"/>
            <p:cNvSpPr>
              <a:spLocks noChangeArrowheads="1"/>
            </p:cNvSpPr>
            <p:nvPr>
              <p:custDataLst>
                <p:tags r:id="rId18"/>
              </p:custDataLst>
            </p:nvPr>
          </p:nvSpPr>
          <p:spPr bwMode="gray">
            <a:xfrm>
              <a:off x="6214680" y="3796682"/>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a:latin typeface="+mn-lt"/>
                  <a:ea typeface="+mn-ea"/>
                </a:rPr>
                <a:t>Legend</a:t>
              </a:r>
              <a:endParaRPr lang="en-US" sz="1400" baseline="0" dirty="0">
                <a:latin typeface="+mn-lt"/>
                <a:ea typeface="+mn-ea"/>
              </a:endParaRPr>
            </a:p>
          </p:txBody>
        </p:sp>
      </p:grpSp>
    </p:spTree>
    <p:extLst>
      <p:ext uri="{BB962C8B-B14F-4D97-AF65-F5344CB8AC3E}">
        <p14:creationId xmlns:p14="http://schemas.microsoft.com/office/powerpoint/2010/main" val="3869625807"/>
      </p:ext>
    </p:extLst>
  </p:cSld>
  <p:clrMap bg1="lt1" tx1="dk1" bg2="lt2" tx2="dk2" accent1="accent1" accent2="accent2" accent3="accent3" accent4="accent4" accent5="accent5" accent6="accent6" hlink="hlink" folHlink="folHlink"/>
  <p:sldLayoutIdLst>
    <p:sldLayoutId id="2147483811" r:id="rId1"/>
    <p:sldLayoutId id="2147483812" r:id="rId2"/>
    <p:sldLayoutId id="2147483813" r:id="rId3"/>
    <p:sldLayoutId id="2147483814" r:id="rId4"/>
  </p:sldLayoutIdLst>
  <p:txStyles>
    <p:titleStyle>
      <a:lvl1pPr algn="l" defTabSz="895350" rtl="0" eaLnBrk="1" fontAlgn="base" hangingPunct="1">
        <a:spcBef>
          <a:spcPct val="0"/>
        </a:spcBef>
        <a:spcAft>
          <a:spcPct val="0"/>
        </a:spcAft>
        <a:tabLst>
          <a:tab pos="269875" algn="l"/>
        </a:tabLst>
        <a:defRPr sz="2000" b="0" baseline="0">
          <a:solidFill>
            <a:schemeClr val="tx2"/>
          </a:solidFill>
          <a:latin typeface="+mj-lt"/>
          <a:ea typeface="+mj-ea"/>
          <a:cs typeface="+mj-cs"/>
        </a:defRPr>
      </a:lvl1pPr>
      <a:lvl2pPr algn="l" defTabSz="895350" rtl="0" eaLnBrk="1" fontAlgn="base" hangingPunct="1">
        <a:spcBef>
          <a:spcPct val="0"/>
        </a:spcBef>
        <a:spcAft>
          <a:spcPct val="0"/>
        </a:spcAft>
        <a:defRPr sz="1900" b="1">
          <a:solidFill>
            <a:schemeClr val="tx2"/>
          </a:solidFill>
          <a:latin typeface="Arial" charset="0"/>
        </a:defRPr>
      </a:lvl2pPr>
      <a:lvl3pPr algn="l" defTabSz="895350" rtl="0" eaLnBrk="1" fontAlgn="base" hangingPunct="1">
        <a:spcBef>
          <a:spcPct val="0"/>
        </a:spcBef>
        <a:spcAft>
          <a:spcPct val="0"/>
        </a:spcAft>
        <a:defRPr sz="1900" b="1">
          <a:solidFill>
            <a:schemeClr val="tx2"/>
          </a:solidFill>
          <a:latin typeface="Arial" charset="0"/>
        </a:defRPr>
      </a:lvl3pPr>
      <a:lvl4pPr algn="l" defTabSz="895350" rtl="0" eaLnBrk="1" fontAlgn="base" hangingPunct="1">
        <a:spcBef>
          <a:spcPct val="0"/>
        </a:spcBef>
        <a:spcAft>
          <a:spcPct val="0"/>
        </a:spcAft>
        <a:defRPr sz="1900" b="1">
          <a:solidFill>
            <a:schemeClr val="tx2"/>
          </a:solidFill>
          <a:latin typeface="Arial" charset="0"/>
        </a:defRPr>
      </a:lvl4pPr>
      <a:lvl5pPr algn="l" defTabSz="895350" rtl="0" eaLnBrk="1" fontAlgn="base" hangingPunct="1">
        <a:spcBef>
          <a:spcPct val="0"/>
        </a:spcBef>
        <a:spcAft>
          <a:spcPct val="0"/>
        </a:spcAft>
        <a:defRPr sz="1900" b="1">
          <a:solidFill>
            <a:schemeClr val="tx2"/>
          </a:solidFill>
          <a:latin typeface="Arial" charset="0"/>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p:titleStyle>
    <p:bodyStyle>
      <a:lvl1pPr marL="0" indent="0" algn="l" defTabSz="895350" rtl="0" eaLnBrk="1" fontAlgn="base" hangingPunct="1">
        <a:spcBef>
          <a:spcPct val="0"/>
        </a:spcBef>
        <a:spcAft>
          <a:spcPct val="0"/>
        </a:spcAft>
        <a:buClr>
          <a:schemeClr val="tx2"/>
        </a:buClr>
        <a:buSzPct val="100000"/>
        <a:defRPr sz="14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4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4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4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4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7"/>
            </p:custDataLst>
            <p:extLst>
              <p:ext uri="{D42A27DB-BD31-4B8C-83A1-F6EECF244321}">
                <p14:modId xmlns:p14="http://schemas.microsoft.com/office/powerpoint/2010/main" val="4253622507"/>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1284" name="think-cell Slide" r:id="rId36" imgW="270" imgH="270" progId="TCLayout.ActiveDocument.1">
                  <p:embed/>
                </p:oleObj>
              </mc:Choice>
              <mc:Fallback>
                <p:oleObj name="think-cell Slide" r:id="rId36" imgW="270" imgH="270" progId="TCLayout.ActiveDocument.1">
                  <p:embed/>
                  <p:pic>
                    <p:nvPicPr>
                      <p:cNvPr id="2" name="Object 1" hidden="1"/>
                      <p:cNvPicPr/>
                      <p:nvPr/>
                    </p:nvPicPr>
                    <p:blipFill>
                      <a:blip r:embed="rId37"/>
                      <a:stretch>
                        <a:fillRect/>
                      </a:stretch>
                    </p:blipFill>
                    <p:spPr>
                      <a:xfrm>
                        <a:off x="0" y="0"/>
                        <a:ext cx="158750" cy="158750"/>
                      </a:xfrm>
                      <a:prstGeom prst="rect">
                        <a:avLst/>
                      </a:prstGeom>
                    </p:spPr>
                  </p:pic>
                </p:oleObj>
              </mc:Fallback>
            </mc:AlternateContent>
          </a:graphicData>
        </a:graphic>
      </p:graphicFrame>
      <p:sp>
        <p:nvSpPr>
          <p:cNvPr id="6" name="Rectangle 5" hidden="1"/>
          <p:cNvSpPr/>
          <p:nvPr>
            <p:custDataLst>
              <p:tags r:id="rId8"/>
            </p:custDataLst>
          </p:nvPr>
        </p:nvSpPr>
        <p:spPr bwMode="auto">
          <a:xfrm>
            <a:off x="0" y="0"/>
            <a:ext cx="158750" cy="158750"/>
          </a:xfrm>
          <a:prstGeom prst="rect">
            <a:avLst/>
          </a:prstGeom>
          <a:solidFill>
            <a:schemeClr val="bg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dirty="0">
              <a:solidFill>
                <a:srgbClr val="000000"/>
              </a:solidFill>
              <a:sym typeface="Arial" panose="020B0604020202020204" pitchFamily="34" charset="0"/>
            </a:endParaRPr>
          </a:p>
        </p:txBody>
      </p:sp>
      <p:sp>
        <p:nvSpPr>
          <p:cNvPr id="1034" name="Working Draft" hidden="1"/>
          <p:cNvSpPr txBox="1">
            <a:spLocks noChangeArrowheads="1"/>
          </p:cNvSpPr>
          <p:nvPr/>
        </p:nvSpPr>
        <p:spPr bwMode="gray">
          <a:xfrm rot="5400000">
            <a:off x="7966656" y="1940591"/>
            <a:ext cx="1849865"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600" baseline="0">
                <a:solidFill>
                  <a:srgbClr val="808080"/>
                </a:solidFill>
                <a:latin typeface="+mn-lt"/>
                <a:ea typeface="+mn-ea"/>
              </a:rPr>
              <a:t>Last Modified 21/05/2018 17:44 India Standard Time</a:t>
            </a:r>
            <a:endParaRPr lang="en-US" baseline="0" dirty="0">
              <a:solidFill>
                <a:srgbClr val="808080"/>
              </a:solidFill>
              <a:latin typeface="+mn-lt"/>
              <a:ea typeface="+mn-ea"/>
            </a:endParaRPr>
          </a:p>
        </p:txBody>
      </p:sp>
      <p:sp>
        <p:nvSpPr>
          <p:cNvPr id="1035" name="Printed" hidden="1"/>
          <p:cNvSpPr txBox="1">
            <a:spLocks noChangeArrowheads="1"/>
          </p:cNvSpPr>
          <p:nvPr/>
        </p:nvSpPr>
        <p:spPr bwMode="gray">
          <a:xfrm rot="5400000">
            <a:off x="8768958" y="4114417"/>
            <a:ext cx="245260"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600" baseline="0" dirty="0">
                <a:solidFill>
                  <a:srgbClr val="808080"/>
                </a:solidFill>
                <a:latin typeface="+mn-lt"/>
                <a:ea typeface="+mn-ea"/>
              </a:rPr>
              <a:t>Printed</a:t>
            </a:r>
            <a:endParaRPr lang="en-US" baseline="0" dirty="0">
              <a:solidFill>
                <a:srgbClr val="808080"/>
              </a:solidFill>
              <a:latin typeface="+mn-lt"/>
              <a:ea typeface="+mn-ea"/>
            </a:endParaRPr>
          </a:p>
        </p:txBody>
      </p:sp>
      <p:sp>
        <p:nvSpPr>
          <p:cNvPr id="19" name="Title Placeholder 2"/>
          <p:cNvSpPr>
            <a:spLocks noGrp="1" noChangeArrowheads="1"/>
          </p:cNvSpPr>
          <p:nvPr>
            <p:ph type="title"/>
          </p:nvPr>
        </p:nvSpPr>
        <p:spPr bwMode="gray">
          <a:xfrm>
            <a:off x="119063" y="230188"/>
            <a:ext cx="8618537"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latinLnBrk="0"/>
            <a:r>
              <a:rPr lang="en-US"/>
              <a:t>Click to edit Master title style</a:t>
            </a:r>
            <a:endParaRPr lang="en-US" noProof="0" dirty="0"/>
          </a:p>
        </p:txBody>
      </p:sp>
      <p:sp>
        <p:nvSpPr>
          <p:cNvPr id="10" name="1. On-page tracker" hidden="1"/>
          <p:cNvSpPr>
            <a:spLocks noChangeArrowheads="1"/>
          </p:cNvSpPr>
          <p:nvPr/>
        </p:nvSpPr>
        <p:spPr bwMode="gray">
          <a:xfrm>
            <a:off x="119063" y="75764"/>
            <a:ext cx="490519"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800" cap="all" baseline="0" dirty="0">
                <a:solidFill>
                  <a:schemeClr val="accent6"/>
                </a:solidFill>
                <a:latin typeface="+mn-lt"/>
                <a:ea typeface="+mn-ea"/>
              </a:rPr>
              <a:t>Tracker</a:t>
            </a:r>
          </a:p>
        </p:txBody>
      </p:sp>
      <p:sp>
        <p:nvSpPr>
          <p:cNvPr id="11" name="3. Unit of measure" hidden="1"/>
          <p:cNvSpPr txBox="1">
            <a:spLocks noChangeArrowheads="1"/>
          </p:cNvSpPr>
          <p:nvPr/>
        </p:nvSpPr>
        <p:spPr bwMode="gray">
          <a:xfrm>
            <a:off x="119063" y="554865"/>
            <a:ext cx="8618537"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600" baseline="0" dirty="0">
                <a:solidFill>
                  <a:schemeClr val="accent6"/>
                </a:solidFill>
                <a:latin typeface="+mn-lt"/>
                <a:ea typeface="+mn-ea"/>
              </a:rPr>
              <a:t>Unit of measure</a:t>
            </a:r>
          </a:p>
        </p:txBody>
      </p:sp>
      <p:grpSp>
        <p:nvGrpSpPr>
          <p:cNvPr id="4" name="Slide Elements" hidden="1"/>
          <p:cNvGrpSpPr/>
          <p:nvPr/>
        </p:nvGrpSpPr>
        <p:grpSpPr bwMode="gray">
          <a:xfrm>
            <a:off x="119063" y="6305945"/>
            <a:ext cx="8618537" cy="325438"/>
            <a:chOff x="119063" y="6305945"/>
            <a:chExt cx="8618537" cy="325438"/>
          </a:xfrm>
        </p:grpSpPr>
        <p:sp>
          <p:nvSpPr>
            <p:cNvPr id="13" name="4. Footnote"/>
            <p:cNvSpPr txBox="1">
              <a:spLocks noChangeArrowheads="1"/>
            </p:cNvSpPr>
            <p:nvPr/>
          </p:nvSpPr>
          <p:spPr bwMode="gray">
            <a:xfrm>
              <a:off x="119063" y="6305945"/>
              <a:ext cx="8618537" cy="123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800" baseline="0" dirty="0">
                  <a:solidFill>
                    <a:schemeClr val="accent6"/>
                  </a:solidFill>
                  <a:latin typeface="+mn-lt"/>
                  <a:ea typeface="+mn-ea"/>
                </a:rPr>
                <a:t>1 Footnote</a:t>
              </a:r>
            </a:p>
          </p:txBody>
        </p:sp>
        <p:sp>
          <p:nvSpPr>
            <p:cNvPr id="14" name="5. Source"/>
            <p:cNvSpPr>
              <a:spLocks noChangeArrowheads="1"/>
            </p:cNvSpPr>
            <p:nvPr/>
          </p:nvSpPr>
          <p:spPr bwMode="gray">
            <a:xfrm>
              <a:off x="119063" y="6507558"/>
              <a:ext cx="7200000" cy="123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marL="609600" indent="-609600" defTabSz="895350">
                <a:tabLst>
                  <a:tab pos="612775" algn="l"/>
                </a:tabLst>
              </a:pPr>
              <a:r>
                <a:rPr lang="en-US" sz="800" baseline="0" dirty="0">
                  <a:solidFill>
                    <a:schemeClr val="accent6"/>
                  </a:solidFill>
                  <a:latin typeface="+mn-lt"/>
                  <a:ea typeface="+mn-ea"/>
                </a:rPr>
                <a:t>SOURCE: Source</a:t>
              </a:r>
            </a:p>
          </p:txBody>
        </p:sp>
      </p:grpSp>
      <p:sp>
        <p:nvSpPr>
          <p:cNvPr id="3" name="Text Placeholder 2"/>
          <p:cNvSpPr>
            <a:spLocks noGrp="1"/>
          </p:cNvSpPr>
          <p:nvPr>
            <p:ph type="body" idx="1"/>
          </p:nvPr>
        </p:nvSpPr>
        <p:spPr bwMode="gray">
          <a:xfrm>
            <a:off x="1452564" y="1951380"/>
            <a:ext cx="4302125" cy="1077218"/>
          </a:xfrm>
          <a:prstGeom prst="rect">
            <a:avLst/>
          </a:prstGeom>
        </p:spPr>
        <p:txBody>
          <a:bodyPr vert="horz" lIns="0" tIns="0" rIns="0" bIns="0" rtlCol="0">
            <a:spAutoFit/>
          </a:bodyPr>
          <a:lstStyle/>
          <a:p>
            <a:pPr lvl="0" latinLnBrk="0"/>
            <a:r>
              <a:rPr lang="en-US"/>
              <a:t>Edit Master text styles</a:t>
            </a:r>
          </a:p>
          <a:p>
            <a:pPr lvl="1" latinLnBrk="0"/>
            <a:r>
              <a:rPr lang="en-US"/>
              <a:t>Second level</a:t>
            </a:r>
          </a:p>
          <a:p>
            <a:pPr lvl="2" latinLnBrk="0"/>
            <a:r>
              <a:rPr lang="en-US"/>
              <a:t>Third level</a:t>
            </a:r>
          </a:p>
          <a:p>
            <a:pPr lvl="3" latinLnBrk="0"/>
            <a:r>
              <a:rPr lang="en-US"/>
              <a:t>Fourth level</a:t>
            </a:r>
          </a:p>
          <a:p>
            <a:pPr lvl="4" latinLnBrk="0"/>
            <a:r>
              <a:rPr lang="en-US"/>
              <a:t>Fifth level</a:t>
            </a:r>
            <a:endParaRPr lang="en-US" dirty="0"/>
          </a:p>
        </p:txBody>
      </p:sp>
      <p:grpSp>
        <p:nvGrpSpPr>
          <p:cNvPr id="15" name="ACET" hidden="1"/>
          <p:cNvGrpSpPr>
            <a:grpSpLocks/>
          </p:cNvGrpSpPr>
          <p:nvPr/>
        </p:nvGrpSpPr>
        <p:grpSpPr bwMode="gray">
          <a:xfrm>
            <a:off x="1452563" y="1257754"/>
            <a:ext cx="4264025" cy="508000"/>
            <a:chOff x="915" y="710"/>
            <a:chExt cx="2686" cy="320"/>
          </a:xfrm>
        </p:grpSpPr>
        <p:cxnSp>
          <p:nvCxnSpPr>
            <p:cNvPr id="16" name="AutoShape 249"/>
            <p:cNvCxnSpPr>
              <a:cxnSpLocks noChangeShapeType="1"/>
              <a:stCxn id="18" idx="4"/>
              <a:endCxn id="18" idx="6"/>
            </p:cNvCxnSpPr>
            <p:nvPr/>
          </p:nvCxnSpPr>
          <p:spPr bwMode="gray">
            <a:xfrm>
              <a:off x="915" y="1030"/>
              <a:ext cx="2686" cy="0"/>
            </a:xfrm>
            <a:prstGeom prst="straightConnector1">
              <a:avLst/>
            </a:prstGeom>
            <a:noFill/>
            <a:ln w="9525">
              <a:solidFill>
                <a:schemeClr val="accent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8" name="AutoShape 250"/>
            <p:cNvSpPr>
              <a:spLocks noChangeArrowheads="1"/>
            </p:cNvSpPr>
            <p:nvPr/>
          </p:nvSpPr>
          <p:spPr bwMode="gray">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US" b="1" baseline="0" dirty="0">
                  <a:solidFill>
                    <a:srgbClr val="000000"/>
                  </a:solidFill>
                  <a:latin typeface="+mn-lt"/>
                  <a:ea typeface="+mn-ea"/>
                </a:rPr>
                <a:t>Title</a:t>
              </a:r>
            </a:p>
            <a:p>
              <a:r>
                <a:rPr lang="en-US" baseline="0" dirty="0">
                  <a:solidFill>
                    <a:schemeClr val="accent6"/>
                  </a:solidFill>
                  <a:latin typeface="+mn-lt"/>
                  <a:ea typeface="+mn-ea"/>
                </a:rPr>
                <a:t>Unit of measure</a:t>
              </a:r>
            </a:p>
          </p:txBody>
        </p:sp>
      </p:grpSp>
      <p:grpSp>
        <p:nvGrpSpPr>
          <p:cNvPr id="17" name="McKSticker" hidden="1"/>
          <p:cNvGrpSpPr/>
          <p:nvPr/>
        </p:nvGrpSpPr>
        <p:grpSpPr bwMode="gray">
          <a:xfrm>
            <a:off x="8264265" y="285750"/>
            <a:ext cx="473335" cy="150811"/>
            <a:chOff x="8267440" y="285750"/>
            <a:chExt cx="473335" cy="150811"/>
          </a:xfrm>
        </p:grpSpPr>
        <p:sp>
          <p:nvSpPr>
            <p:cNvPr id="20" name="StickerRectangle"/>
            <p:cNvSpPr>
              <a:spLocks noChangeArrowheads="1"/>
            </p:cNvSpPr>
            <p:nvPr/>
          </p:nvSpPr>
          <p:spPr bwMode="gray">
            <a:xfrm>
              <a:off x="8267440" y="285750"/>
              <a:ext cx="473335" cy="150811"/>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a:buClr>
                  <a:srgbClr val="002960"/>
                </a:buClr>
              </a:pPr>
              <a:r>
                <a:rPr lang="en-US" sz="800" baseline="0" dirty="0">
                  <a:solidFill>
                    <a:schemeClr val="accent6"/>
                  </a:solidFill>
                  <a:latin typeface="+mn-lt"/>
                  <a:ea typeface="+mn-ea"/>
                </a:rPr>
                <a:t>STICKER</a:t>
              </a:r>
            </a:p>
          </p:txBody>
        </p:sp>
        <p:cxnSp>
          <p:nvCxnSpPr>
            <p:cNvPr id="21" name="AutoShape 31"/>
            <p:cNvCxnSpPr>
              <a:cxnSpLocks noChangeShapeType="1"/>
              <a:stCxn id="20" idx="2"/>
              <a:endCxn id="20" idx="4"/>
            </p:cNvCxnSpPr>
            <p:nvPr/>
          </p:nvCxnSpPr>
          <p:spPr bwMode="gray">
            <a:xfrm>
              <a:off x="8267440" y="285750"/>
              <a:ext cx="0" cy="150811"/>
            </a:xfrm>
            <a:prstGeom prst="straightConnector1">
              <a:avLst/>
            </a:prstGeom>
            <a:noFill/>
            <a:ln w="9525">
              <a:solidFill>
                <a:schemeClr val="accent6"/>
              </a:solidFill>
              <a:round/>
              <a:headEnd/>
              <a:tailEnd/>
            </a:ln>
            <a:extLst>
              <a:ext uri="{909E8E84-426E-40DD-AFC4-6F175D3DCCD1}">
                <a14:hiddenFill xmlns:a14="http://schemas.microsoft.com/office/drawing/2010/main">
                  <a:noFill/>
                </a14:hiddenFill>
              </a:ext>
            </a:extLst>
          </p:spPr>
        </p:cxnSp>
        <p:cxnSp>
          <p:nvCxnSpPr>
            <p:cNvPr id="22" name="AutoShape 32"/>
            <p:cNvCxnSpPr>
              <a:cxnSpLocks noChangeShapeType="1"/>
              <a:stCxn id="20" idx="4"/>
              <a:endCxn id="20" idx="6"/>
            </p:cNvCxnSpPr>
            <p:nvPr/>
          </p:nvCxnSpPr>
          <p:spPr bwMode="gray">
            <a:xfrm>
              <a:off x="8267440" y="436561"/>
              <a:ext cx="473335" cy="0"/>
            </a:xfrm>
            <a:prstGeom prst="straightConnector1">
              <a:avLst/>
            </a:prstGeom>
            <a:noFill/>
            <a:ln w="25400">
              <a:solidFill>
                <a:schemeClr val="accent6"/>
              </a:solidFill>
              <a:round/>
              <a:headEnd/>
              <a:tailEnd/>
            </a:ln>
            <a:extLst>
              <a:ext uri="{909E8E84-426E-40DD-AFC4-6F175D3DCCD1}">
                <a14:hiddenFill xmlns:a14="http://schemas.microsoft.com/office/drawing/2010/main">
                  <a:noFill/>
                </a14:hiddenFill>
              </a:ext>
            </a:extLst>
          </p:spPr>
        </p:cxnSp>
      </p:grpSp>
      <p:sp>
        <p:nvSpPr>
          <p:cNvPr id="23" name="SlideBottomBar" hidden="1"/>
          <p:cNvSpPr/>
          <p:nvPr/>
        </p:nvSpPr>
        <p:spPr>
          <a:xfrm>
            <a:off x="8437547" y="6182120"/>
            <a:ext cx="45719" cy="123825"/>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aseline="0" dirty="0">
              <a:solidFill>
                <a:schemeClr val="tx1"/>
              </a:solidFill>
              <a:latin typeface="+mn-lt"/>
              <a:ea typeface="+mn-ea"/>
            </a:endParaRPr>
          </a:p>
        </p:txBody>
      </p:sp>
      <p:sp>
        <p:nvSpPr>
          <p:cNvPr id="24" name="doc id" hidden="1"/>
          <p:cNvSpPr txBox="1">
            <a:spLocks noChangeArrowheads="1"/>
          </p:cNvSpPr>
          <p:nvPr/>
        </p:nvSpPr>
        <p:spPr bwMode="white">
          <a:xfrm>
            <a:off x="8104473" y="36513"/>
            <a:ext cx="634716" cy="115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hangingPunct="1">
              <a:defRPr/>
            </a:pPr>
            <a:endParaRPr lang="en-US" sz="800" baseline="0" dirty="0">
              <a:solidFill>
                <a:schemeClr val="accent1"/>
              </a:solidFill>
              <a:latin typeface="+mn-lt"/>
              <a:ea typeface="+mn-ea"/>
            </a:endParaRPr>
          </a:p>
        </p:txBody>
      </p:sp>
      <p:grpSp>
        <p:nvGrpSpPr>
          <p:cNvPr id="63" name="LegendLines" hidden="1"/>
          <p:cNvGrpSpPr/>
          <p:nvPr/>
        </p:nvGrpSpPr>
        <p:grpSpPr>
          <a:xfrm>
            <a:off x="7551589" y="267815"/>
            <a:ext cx="1158292" cy="761545"/>
            <a:chOff x="7607284" y="279400"/>
            <a:chExt cx="1158292" cy="761545"/>
          </a:xfrm>
        </p:grpSpPr>
        <p:sp>
          <p:nvSpPr>
            <p:cNvPr id="64" name="LineLegend1"/>
            <p:cNvSpPr>
              <a:spLocks noChangeShapeType="1"/>
            </p:cNvSpPr>
            <p:nvPr/>
          </p:nvSpPr>
          <p:spPr bwMode="gray">
            <a:xfrm>
              <a:off x="7607284" y="387122"/>
              <a:ext cx="457200"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65" name="LineLegend2"/>
            <p:cNvSpPr>
              <a:spLocks noChangeShapeType="1"/>
            </p:cNvSpPr>
            <p:nvPr/>
          </p:nvSpPr>
          <p:spPr bwMode="gray">
            <a:xfrm>
              <a:off x="7607284" y="653822"/>
              <a:ext cx="457200"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66" name="LineLegend3"/>
            <p:cNvSpPr>
              <a:spLocks noChangeShapeType="1"/>
            </p:cNvSpPr>
            <p:nvPr/>
          </p:nvSpPr>
          <p:spPr bwMode="gray">
            <a:xfrm>
              <a:off x="7607284" y="933223"/>
              <a:ext cx="457200"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67" name="Legend1"/>
            <p:cNvSpPr>
              <a:spLocks noChangeArrowheads="1"/>
            </p:cNvSpPr>
            <p:nvPr>
              <p:custDataLst>
                <p:tags r:id="rId33"/>
              </p:custDataLst>
            </p:nvPr>
          </p:nvSpPr>
          <p:spPr bwMode="gray">
            <a:xfrm>
              <a:off x="8169259" y="279400"/>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sp>
          <p:nvSpPr>
            <p:cNvPr id="68" name="Legend2"/>
            <p:cNvSpPr>
              <a:spLocks noChangeArrowheads="1"/>
            </p:cNvSpPr>
            <p:nvPr>
              <p:custDataLst>
                <p:tags r:id="rId34"/>
              </p:custDataLst>
            </p:nvPr>
          </p:nvSpPr>
          <p:spPr bwMode="gray">
            <a:xfrm>
              <a:off x="8169259" y="546100"/>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a:latin typeface="+mn-lt"/>
                  <a:ea typeface="+mn-ea"/>
                </a:rPr>
                <a:t>Legend</a:t>
              </a:r>
              <a:endParaRPr lang="en-US" sz="1400" baseline="0" dirty="0">
                <a:latin typeface="+mn-lt"/>
                <a:ea typeface="+mn-ea"/>
              </a:endParaRPr>
            </a:p>
          </p:txBody>
        </p:sp>
        <p:sp>
          <p:nvSpPr>
            <p:cNvPr id="69" name="Legend3"/>
            <p:cNvSpPr>
              <a:spLocks noChangeArrowheads="1"/>
            </p:cNvSpPr>
            <p:nvPr>
              <p:custDataLst>
                <p:tags r:id="rId35"/>
              </p:custDataLst>
            </p:nvPr>
          </p:nvSpPr>
          <p:spPr bwMode="gray">
            <a:xfrm>
              <a:off x="8169259" y="825501"/>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grpSp>
      <p:grpSp>
        <p:nvGrpSpPr>
          <p:cNvPr id="70" name="LegendBoxes" hidden="1"/>
          <p:cNvGrpSpPr/>
          <p:nvPr/>
        </p:nvGrpSpPr>
        <p:grpSpPr>
          <a:xfrm>
            <a:off x="7859564" y="267919"/>
            <a:ext cx="850317" cy="1028245"/>
            <a:chOff x="5894005" y="919828"/>
            <a:chExt cx="850317" cy="1028245"/>
          </a:xfrm>
        </p:grpSpPr>
        <p:sp>
          <p:nvSpPr>
            <p:cNvPr id="71" name="RectangleLegend1"/>
            <p:cNvSpPr>
              <a:spLocks noChangeArrowheads="1"/>
            </p:cNvSpPr>
            <p:nvPr/>
          </p:nvSpPr>
          <p:spPr bwMode="gray">
            <a:xfrm>
              <a:off x="5894005" y="947381"/>
              <a:ext cx="165100" cy="160338"/>
            </a:xfrm>
            <a:prstGeom prst="rect">
              <a:avLst/>
            </a:prstGeom>
            <a:solidFill>
              <a:schemeClr val="accent1"/>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72" name="RectangleLegend2"/>
            <p:cNvSpPr>
              <a:spLocks noChangeArrowheads="1"/>
            </p:cNvSpPr>
            <p:nvPr/>
          </p:nvSpPr>
          <p:spPr bwMode="gray">
            <a:xfrm>
              <a:off x="5894005" y="1217256"/>
              <a:ext cx="165100" cy="160338"/>
            </a:xfrm>
            <a:prstGeom prst="rect">
              <a:avLst/>
            </a:prstGeom>
            <a:solidFill>
              <a:schemeClr val="accent2"/>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73" name="RectangleLegend3"/>
            <p:cNvSpPr>
              <a:spLocks noChangeArrowheads="1"/>
            </p:cNvSpPr>
            <p:nvPr/>
          </p:nvSpPr>
          <p:spPr bwMode="gray">
            <a:xfrm>
              <a:off x="5894005" y="1488719"/>
              <a:ext cx="165100" cy="160338"/>
            </a:xfrm>
            <a:prstGeom prst="rect">
              <a:avLst/>
            </a:prstGeom>
            <a:solidFill>
              <a:schemeClr val="accent3"/>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74" name="RectangleLegend4"/>
            <p:cNvSpPr>
              <a:spLocks noChangeArrowheads="1"/>
            </p:cNvSpPr>
            <p:nvPr/>
          </p:nvSpPr>
          <p:spPr bwMode="gray">
            <a:xfrm>
              <a:off x="5894005" y="1760182"/>
              <a:ext cx="165100" cy="160338"/>
            </a:xfrm>
            <a:prstGeom prst="rect">
              <a:avLst/>
            </a:prstGeom>
            <a:solidFill>
              <a:schemeClr val="accent4"/>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75" name="Legend1"/>
            <p:cNvSpPr>
              <a:spLocks noChangeArrowheads="1"/>
            </p:cNvSpPr>
            <p:nvPr>
              <p:custDataLst>
                <p:tags r:id="rId29"/>
              </p:custDataLst>
            </p:nvPr>
          </p:nvSpPr>
          <p:spPr bwMode="gray">
            <a:xfrm>
              <a:off x="6148005" y="919828"/>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sp>
          <p:nvSpPr>
            <p:cNvPr id="76" name="Legend2"/>
            <p:cNvSpPr>
              <a:spLocks noChangeArrowheads="1"/>
            </p:cNvSpPr>
            <p:nvPr>
              <p:custDataLst>
                <p:tags r:id="rId30"/>
              </p:custDataLst>
            </p:nvPr>
          </p:nvSpPr>
          <p:spPr bwMode="gray">
            <a:xfrm>
              <a:off x="6148005" y="1189703"/>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sp>
          <p:nvSpPr>
            <p:cNvPr id="77" name="Legend3"/>
            <p:cNvSpPr>
              <a:spLocks noChangeArrowheads="1"/>
            </p:cNvSpPr>
            <p:nvPr>
              <p:custDataLst>
                <p:tags r:id="rId31"/>
              </p:custDataLst>
            </p:nvPr>
          </p:nvSpPr>
          <p:spPr bwMode="gray">
            <a:xfrm>
              <a:off x="6148005" y="1461166"/>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sp>
          <p:nvSpPr>
            <p:cNvPr id="78" name="Legend4"/>
            <p:cNvSpPr>
              <a:spLocks noChangeArrowheads="1"/>
            </p:cNvSpPr>
            <p:nvPr>
              <p:custDataLst>
                <p:tags r:id="rId32"/>
              </p:custDataLst>
            </p:nvPr>
          </p:nvSpPr>
          <p:spPr bwMode="gray">
            <a:xfrm>
              <a:off x="6148005" y="1732629"/>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grpSp>
      <p:grpSp>
        <p:nvGrpSpPr>
          <p:cNvPr id="79" name="LegendMoons" hidden="1"/>
          <p:cNvGrpSpPr/>
          <p:nvPr/>
        </p:nvGrpSpPr>
        <p:grpSpPr>
          <a:xfrm>
            <a:off x="7792889" y="267414"/>
            <a:ext cx="916992" cy="1317003"/>
            <a:chOff x="5894005" y="2695123"/>
            <a:chExt cx="916992" cy="1317003"/>
          </a:xfrm>
        </p:grpSpPr>
        <p:grpSp>
          <p:nvGrpSpPr>
            <p:cNvPr id="80" name="MoonLegend1"/>
            <p:cNvGrpSpPr>
              <a:grpSpLocks noChangeAspect="1"/>
            </p:cNvGrpSpPr>
            <p:nvPr>
              <p:custDataLst>
                <p:tags r:id="rId9"/>
              </p:custDataLst>
            </p:nvPr>
          </p:nvGrpSpPr>
          <p:grpSpPr bwMode="gray">
            <a:xfrm>
              <a:off x="5894005" y="2695123"/>
              <a:ext cx="209550" cy="218282"/>
              <a:chOff x="4533" y="183"/>
              <a:chExt cx="144" cy="150"/>
            </a:xfrm>
          </p:grpSpPr>
          <p:sp>
            <p:nvSpPr>
              <p:cNvPr id="98" name="Oval 97"/>
              <p:cNvSpPr>
                <a:spLocks noChangeAspect="1" noChangeArrowheads="1"/>
              </p:cNvSpPr>
              <p:nvPr>
                <p:custDataLst>
                  <p:tags r:id="rId27"/>
                </p:custDataLst>
              </p:nvPr>
            </p:nvSpPr>
            <p:spPr bwMode="gray">
              <a:xfrm>
                <a:off x="4533" y="189"/>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99" name="Arc 98" hidden="1"/>
              <p:cNvSpPr>
                <a:spLocks noChangeAspect="1"/>
              </p:cNvSpPr>
              <p:nvPr>
                <p:custDataLst>
                  <p:tags r:id="rId28"/>
                </p:custDataLst>
              </p:nvPr>
            </p:nvSpPr>
            <p:spPr bwMode="gray">
              <a:xfrm>
                <a:off x="4533" y="183"/>
                <a:ext cx="144" cy="144"/>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grpSp>
        <p:grpSp>
          <p:nvGrpSpPr>
            <p:cNvPr id="81" name="MoonLegend2"/>
            <p:cNvGrpSpPr>
              <a:grpSpLocks noChangeAspect="1"/>
            </p:cNvGrpSpPr>
            <p:nvPr>
              <p:custDataLst>
                <p:tags r:id="rId10"/>
              </p:custDataLst>
            </p:nvPr>
          </p:nvGrpSpPr>
          <p:grpSpPr bwMode="gray">
            <a:xfrm>
              <a:off x="5894005" y="2977103"/>
              <a:ext cx="209550" cy="209551"/>
              <a:chOff x="1694" y="2051"/>
              <a:chExt cx="160" cy="160"/>
            </a:xfrm>
          </p:grpSpPr>
          <p:sp>
            <p:nvSpPr>
              <p:cNvPr id="96" name="Oval 41"/>
              <p:cNvSpPr>
                <a:spLocks noChangeAspect="1" noChangeArrowheads="1"/>
              </p:cNvSpPr>
              <p:nvPr>
                <p:custDataLst>
                  <p:tags r:id="rId25"/>
                </p:custDataLst>
              </p:nvPr>
            </p:nvSpPr>
            <p:spPr bwMode="gray">
              <a:xfrm>
                <a:off x="1694" y="2051"/>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97" name="Arc 42"/>
              <p:cNvSpPr>
                <a:spLocks noChangeAspect="1"/>
              </p:cNvSpPr>
              <p:nvPr>
                <p:custDataLst>
                  <p:tags r:id="rId26"/>
                </p:custDataLst>
              </p:nvPr>
            </p:nvSpPr>
            <p:spPr bwMode="gray">
              <a:xfrm>
                <a:off x="1694" y="2051"/>
                <a:ext cx="160" cy="160"/>
              </a:xfrm>
              <a:prstGeom prst="arc">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grpSp>
        <p:grpSp>
          <p:nvGrpSpPr>
            <p:cNvPr id="82" name="MoonLegend4"/>
            <p:cNvGrpSpPr>
              <a:grpSpLocks noChangeAspect="1"/>
            </p:cNvGrpSpPr>
            <p:nvPr>
              <p:custDataLst>
                <p:tags r:id="rId11"/>
              </p:custDataLst>
            </p:nvPr>
          </p:nvGrpSpPr>
          <p:grpSpPr bwMode="gray">
            <a:xfrm>
              <a:off x="5894005" y="3524395"/>
              <a:ext cx="209550" cy="209551"/>
              <a:chOff x="4495" y="1204"/>
              <a:chExt cx="160" cy="160"/>
            </a:xfrm>
          </p:grpSpPr>
          <p:sp>
            <p:nvSpPr>
              <p:cNvPr id="94" name="Oval 47"/>
              <p:cNvSpPr>
                <a:spLocks noChangeAspect="1" noChangeArrowheads="1"/>
              </p:cNvSpPr>
              <p:nvPr>
                <p:custDataLst>
                  <p:tags r:id="rId23"/>
                </p:custDataLst>
              </p:nvPr>
            </p:nvSpPr>
            <p:spPr bwMode="gray">
              <a:xfrm>
                <a:off x="4495" y="120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95" name="Arc 48"/>
              <p:cNvSpPr>
                <a:spLocks noChangeAspect="1"/>
              </p:cNvSpPr>
              <p:nvPr>
                <p:custDataLst>
                  <p:tags r:id="rId24"/>
                </p:custDataLst>
              </p:nvPr>
            </p:nvSpPr>
            <p:spPr bwMode="gray">
              <a:xfrm>
                <a:off x="4495" y="1204"/>
                <a:ext cx="160" cy="160"/>
              </a:xfrm>
              <a:prstGeom prst="arc">
                <a:avLst>
                  <a:gd name="adj1" fmla="val 16200000"/>
                  <a:gd name="adj2" fmla="val 108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grpSp>
        <p:grpSp>
          <p:nvGrpSpPr>
            <p:cNvPr id="83" name="MoonLegend5"/>
            <p:cNvGrpSpPr>
              <a:grpSpLocks noChangeAspect="1"/>
            </p:cNvGrpSpPr>
            <p:nvPr>
              <p:custDataLst>
                <p:tags r:id="rId12"/>
              </p:custDataLst>
            </p:nvPr>
          </p:nvGrpSpPr>
          <p:grpSpPr bwMode="gray">
            <a:xfrm>
              <a:off x="5894005" y="3799629"/>
              <a:ext cx="209550" cy="209551"/>
              <a:chOff x="4495" y="1447"/>
              <a:chExt cx="160" cy="160"/>
            </a:xfrm>
          </p:grpSpPr>
          <p:sp>
            <p:nvSpPr>
              <p:cNvPr id="92" name="Oval 50"/>
              <p:cNvSpPr>
                <a:spLocks noChangeAspect="1" noChangeArrowheads="1"/>
              </p:cNvSpPr>
              <p:nvPr>
                <p:custDataLst>
                  <p:tags r:id="rId21"/>
                </p:custDataLst>
              </p:nvPr>
            </p:nvSpPr>
            <p:spPr bwMode="gray">
              <a:xfrm>
                <a:off x="4495" y="1447"/>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93" name="Oval 51"/>
              <p:cNvSpPr>
                <a:spLocks noChangeAspect="1" noChangeArrowheads="1"/>
              </p:cNvSpPr>
              <p:nvPr>
                <p:custDataLst>
                  <p:tags r:id="rId22"/>
                </p:custDataLst>
              </p:nvPr>
            </p:nvSpPr>
            <p:spPr bwMode="gray">
              <a:xfrm>
                <a:off x="4495" y="1447"/>
                <a:ext cx="160" cy="160"/>
              </a:xfrm>
              <a:prstGeom prst="arc">
                <a:avLst>
                  <a:gd name="adj1" fmla="val 16200000"/>
                  <a:gd name="adj2" fmla="val 162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grpSp>
        <p:grpSp>
          <p:nvGrpSpPr>
            <p:cNvPr id="84" name="MoonLegend3"/>
            <p:cNvGrpSpPr>
              <a:grpSpLocks noChangeAspect="1"/>
            </p:cNvGrpSpPr>
            <p:nvPr>
              <p:custDataLst>
                <p:tags r:id="rId13"/>
              </p:custDataLst>
            </p:nvPr>
          </p:nvGrpSpPr>
          <p:grpSpPr bwMode="gray">
            <a:xfrm>
              <a:off x="5894005" y="3251543"/>
              <a:ext cx="209550" cy="209551"/>
              <a:chOff x="4495" y="1205"/>
              <a:chExt cx="160" cy="160"/>
            </a:xfrm>
          </p:grpSpPr>
          <p:sp>
            <p:nvSpPr>
              <p:cNvPr id="90" name="Oval 47"/>
              <p:cNvSpPr>
                <a:spLocks noChangeAspect="1" noChangeArrowheads="1"/>
              </p:cNvSpPr>
              <p:nvPr>
                <p:custDataLst>
                  <p:tags r:id="rId19"/>
                </p:custDataLst>
              </p:nvPr>
            </p:nvSpPr>
            <p:spPr bwMode="gray">
              <a:xfrm>
                <a:off x="4495" y="1205"/>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91" name="Arc 48"/>
              <p:cNvSpPr>
                <a:spLocks noChangeAspect="1"/>
              </p:cNvSpPr>
              <p:nvPr>
                <p:custDataLst>
                  <p:tags r:id="rId20"/>
                </p:custDataLst>
              </p:nvPr>
            </p:nvSpPr>
            <p:spPr bwMode="gray">
              <a:xfrm>
                <a:off x="4495" y="1205"/>
                <a:ext cx="160" cy="160"/>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grpSp>
        <p:sp>
          <p:nvSpPr>
            <p:cNvPr id="85" name="Legend1"/>
            <p:cNvSpPr>
              <a:spLocks noChangeArrowheads="1"/>
            </p:cNvSpPr>
            <p:nvPr>
              <p:custDataLst>
                <p:tags r:id="rId14"/>
              </p:custDataLst>
            </p:nvPr>
          </p:nvSpPr>
          <p:spPr bwMode="gray">
            <a:xfrm>
              <a:off x="6214680" y="2696542"/>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sp>
          <p:nvSpPr>
            <p:cNvPr id="86" name="Legend2"/>
            <p:cNvSpPr>
              <a:spLocks noChangeArrowheads="1"/>
            </p:cNvSpPr>
            <p:nvPr>
              <p:custDataLst>
                <p:tags r:id="rId15"/>
              </p:custDataLst>
            </p:nvPr>
          </p:nvSpPr>
          <p:spPr bwMode="gray">
            <a:xfrm>
              <a:off x="6214680" y="2974156"/>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a:latin typeface="+mn-lt"/>
                  <a:ea typeface="+mn-ea"/>
                </a:rPr>
                <a:t>Legend</a:t>
              </a:r>
              <a:endParaRPr lang="en-US" sz="1400" baseline="0" dirty="0">
                <a:latin typeface="+mn-lt"/>
                <a:ea typeface="+mn-ea"/>
              </a:endParaRPr>
            </a:p>
          </p:txBody>
        </p:sp>
        <p:sp>
          <p:nvSpPr>
            <p:cNvPr id="87" name="Legend3"/>
            <p:cNvSpPr>
              <a:spLocks noChangeArrowheads="1"/>
            </p:cNvSpPr>
            <p:nvPr>
              <p:custDataLst>
                <p:tags r:id="rId16"/>
              </p:custDataLst>
            </p:nvPr>
          </p:nvSpPr>
          <p:spPr bwMode="gray">
            <a:xfrm>
              <a:off x="6214680" y="3248596"/>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sp>
          <p:nvSpPr>
            <p:cNvPr id="88" name="Legend4"/>
            <p:cNvSpPr>
              <a:spLocks noChangeArrowheads="1"/>
            </p:cNvSpPr>
            <p:nvPr>
              <p:custDataLst>
                <p:tags r:id="rId17"/>
              </p:custDataLst>
            </p:nvPr>
          </p:nvSpPr>
          <p:spPr bwMode="gray">
            <a:xfrm>
              <a:off x="6214680" y="3521448"/>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sp>
          <p:nvSpPr>
            <p:cNvPr id="89" name="Legend5"/>
            <p:cNvSpPr>
              <a:spLocks noChangeArrowheads="1"/>
            </p:cNvSpPr>
            <p:nvPr>
              <p:custDataLst>
                <p:tags r:id="rId18"/>
              </p:custDataLst>
            </p:nvPr>
          </p:nvSpPr>
          <p:spPr bwMode="gray">
            <a:xfrm>
              <a:off x="6214680" y="3796682"/>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a:latin typeface="+mn-lt"/>
                  <a:ea typeface="+mn-ea"/>
                </a:rPr>
                <a:t>Legend</a:t>
              </a:r>
              <a:endParaRPr lang="en-US" sz="1400" baseline="0" dirty="0">
                <a:latin typeface="+mn-lt"/>
                <a:ea typeface="+mn-ea"/>
              </a:endParaRPr>
            </a:p>
          </p:txBody>
        </p:sp>
      </p:grpSp>
    </p:spTree>
    <p:extLst>
      <p:ext uri="{BB962C8B-B14F-4D97-AF65-F5344CB8AC3E}">
        <p14:creationId xmlns:p14="http://schemas.microsoft.com/office/powerpoint/2010/main" val="4265092926"/>
      </p:ext>
    </p:extLst>
  </p:cSld>
  <p:clrMap bg1="lt1" tx1="dk1" bg2="lt2" tx2="dk2" accent1="accent1" accent2="accent2" accent3="accent3" accent4="accent4" accent5="accent5" accent6="accent6" hlink="hlink" folHlink="folHlink"/>
  <p:sldLayoutIdLst>
    <p:sldLayoutId id="2147483681" r:id="rId1"/>
    <p:sldLayoutId id="2147483682" r:id="rId2"/>
    <p:sldLayoutId id="2147483683" r:id="rId3"/>
    <p:sldLayoutId id="2147483684" r:id="rId4"/>
  </p:sldLayoutIdLst>
  <p:txStyles>
    <p:titleStyle>
      <a:lvl1pPr algn="l" defTabSz="895350" rtl="0" eaLnBrk="1" fontAlgn="base" hangingPunct="1">
        <a:spcBef>
          <a:spcPct val="0"/>
        </a:spcBef>
        <a:spcAft>
          <a:spcPct val="0"/>
        </a:spcAft>
        <a:tabLst>
          <a:tab pos="269875" algn="l"/>
        </a:tabLst>
        <a:defRPr sz="2000" b="0" baseline="0">
          <a:solidFill>
            <a:schemeClr val="tx2"/>
          </a:solidFill>
          <a:latin typeface="+mj-lt"/>
          <a:ea typeface="+mj-ea"/>
          <a:cs typeface="+mj-cs"/>
        </a:defRPr>
      </a:lvl1pPr>
      <a:lvl2pPr algn="l" defTabSz="895350" rtl="0" eaLnBrk="1" fontAlgn="base" hangingPunct="1">
        <a:spcBef>
          <a:spcPct val="0"/>
        </a:spcBef>
        <a:spcAft>
          <a:spcPct val="0"/>
        </a:spcAft>
        <a:defRPr sz="1900" b="1">
          <a:solidFill>
            <a:schemeClr val="tx2"/>
          </a:solidFill>
          <a:latin typeface="Arial" charset="0"/>
        </a:defRPr>
      </a:lvl2pPr>
      <a:lvl3pPr algn="l" defTabSz="895350" rtl="0" eaLnBrk="1" fontAlgn="base" hangingPunct="1">
        <a:spcBef>
          <a:spcPct val="0"/>
        </a:spcBef>
        <a:spcAft>
          <a:spcPct val="0"/>
        </a:spcAft>
        <a:defRPr sz="1900" b="1">
          <a:solidFill>
            <a:schemeClr val="tx2"/>
          </a:solidFill>
          <a:latin typeface="Arial" charset="0"/>
        </a:defRPr>
      </a:lvl3pPr>
      <a:lvl4pPr algn="l" defTabSz="895350" rtl="0" eaLnBrk="1" fontAlgn="base" hangingPunct="1">
        <a:spcBef>
          <a:spcPct val="0"/>
        </a:spcBef>
        <a:spcAft>
          <a:spcPct val="0"/>
        </a:spcAft>
        <a:defRPr sz="1900" b="1">
          <a:solidFill>
            <a:schemeClr val="tx2"/>
          </a:solidFill>
          <a:latin typeface="Arial" charset="0"/>
        </a:defRPr>
      </a:lvl4pPr>
      <a:lvl5pPr algn="l" defTabSz="895350" rtl="0" eaLnBrk="1" fontAlgn="base" hangingPunct="1">
        <a:spcBef>
          <a:spcPct val="0"/>
        </a:spcBef>
        <a:spcAft>
          <a:spcPct val="0"/>
        </a:spcAft>
        <a:defRPr sz="1900" b="1">
          <a:solidFill>
            <a:schemeClr val="tx2"/>
          </a:solidFill>
          <a:latin typeface="Arial" charset="0"/>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p:titleStyle>
    <p:bodyStyle>
      <a:lvl1pPr marL="0" indent="0" algn="l" defTabSz="895350" rtl="0" eaLnBrk="1" fontAlgn="base" hangingPunct="1">
        <a:spcBef>
          <a:spcPct val="0"/>
        </a:spcBef>
        <a:spcAft>
          <a:spcPct val="0"/>
        </a:spcAft>
        <a:buClr>
          <a:schemeClr val="tx2"/>
        </a:buClr>
        <a:buSzPct val="100000"/>
        <a:defRPr sz="14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4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4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4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4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ext>
  </p:extLst>
</p:sldMaster>
</file>

<file path=ppt/slideMasters/slideMaster30.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7"/>
            </p:custDataLst>
            <p:extLst>
              <p:ext uri="{D42A27DB-BD31-4B8C-83A1-F6EECF244321}">
                <p14:modId xmlns:p14="http://schemas.microsoft.com/office/powerpoint/2010/main" val="3287452761"/>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9524" name="think-cell Slide" r:id="rId36" imgW="270" imgH="270" progId="TCLayout.ActiveDocument.1">
                  <p:embed/>
                </p:oleObj>
              </mc:Choice>
              <mc:Fallback>
                <p:oleObj name="think-cell Slide" r:id="rId36" imgW="270" imgH="270" progId="TCLayout.ActiveDocument.1">
                  <p:embed/>
                  <p:pic>
                    <p:nvPicPr>
                      <p:cNvPr id="2" name="Object 1" hidden="1"/>
                      <p:cNvPicPr/>
                      <p:nvPr/>
                    </p:nvPicPr>
                    <p:blipFill>
                      <a:blip r:embed="rId37"/>
                      <a:stretch>
                        <a:fillRect/>
                      </a:stretch>
                    </p:blipFill>
                    <p:spPr>
                      <a:xfrm>
                        <a:off x="0" y="0"/>
                        <a:ext cx="158750" cy="158750"/>
                      </a:xfrm>
                      <a:prstGeom prst="rect">
                        <a:avLst/>
                      </a:prstGeom>
                    </p:spPr>
                  </p:pic>
                </p:oleObj>
              </mc:Fallback>
            </mc:AlternateContent>
          </a:graphicData>
        </a:graphic>
      </p:graphicFrame>
      <p:sp>
        <p:nvSpPr>
          <p:cNvPr id="6" name="Rectangle 5" hidden="1"/>
          <p:cNvSpPr/>
          <p:nvPr>
            <p:custDataLst>
              <p:tags r:id="rId8"/>
            </p:custDataLst>
          </p:nvPr>
        </p:nvSpPr>
        <p:spPr bwMode="auto">
          <a:xfrm>
            <a:off x="0" y="0"/>
            <a:ext cx="158750" cy="158750"/>
          </a:xfrm>
          <a:prstGeom prst="rect">
            <a:avLst/>
          </a:prstGeom>
          <a:solidFill>
            <a:schemeClr val="bg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dirty="0">
              <a:solidFill>
                <a:srgbClr val="000000"/>
              </a:solidFill>
              <a:sym typeface="Arial" panose="020B0604020202020204" pitchFamily="34" charset="0"/>
            </a:endParaRPr>
          </a:p>
        </p:txBody>
      </p:sp>
      <p:sp>
        <p:nvSpPr>
          <p:cNvPr id="1034" name="Working Draft" hidden="1"/>
          <p:cNvSpPr txBox="1">
            <a:spLocks noChangeArrowheads="1"/>
          </p:cNvSpPr>
          <p:nvPr/>
        </p:nvSpPr>
        <p:spPr bwMode="gray">
          <a:xfrm rot="5400000">
            <a:off x="7966656" y="1940591"/>
            <a:ext cx="1849865"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600" baseline="0">
                <a:solidFill>
                  <a:srgbClr val="808080"/>
                </a:solidFill>
                <a:latin typeface="+mn-lt"/>
                <a:ea typeface="+mn-ea"/>
              </a:rPr>
              <a:t>Last Modified 21/05/2018 17:44 India Standard Time</a:t>
            </a:r>
            <a:endParaRPr lang="en-US" baseline="0" dirty="0">
              <a:solidFill>
                <a:srgbClr val="808080"/>
              </a:solidFill>
              <a:latin typeface="+mn-lt"/>
              <a:ea typeface="+mn-ea"/>
            </a:endParaRPr>
          </a:p>
        </p:txBody>
      </p:sp>
      <p:sp>
        <p:nvSpPr>
          <p:cNvPr id="1035" name="Printed" hidden="1"/>
          <p:cNvSpPr txBox="1">
            <a:spLocks noChangeArrowheads="1"/>
          </p:cNvSpPr>
          <p:nvPr/>
        </p:nvSpPr>
        <p:spPr bwMode="gray">
          <a:xfrm rot="5400000">
            <a:off x="8768958" y="4114417"/>
            <a:ext cx="245260"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600" baseline="0" dirty="0">
                <a:solidFill>
                  <a:srgbClr val="808080"/>
                </a:solidFill>
                <a:latin typeface="+mn-lt"/>
                <a:ea typeface="+mn-ea"/>
              </a:rPr>
              <a:t>Printed</a:t>
            </a:r>
            <a:endParaRPr lang="en-US" baseline="0" dirty="0">
              <a:solidFill>
                <a:srgbClr val="808080"/>
              </a:solidFill>
              <a:latin typeface="+mn-lt"/>
              <a:ea typeface="+mn-ea"/>
            </a:endParaRPr>
          </a:p>
        </p:txBody>
      </p:sp>
      <p:sp>
        <p:nvSpPr>
          <p:cNvPr id="19" name="Title Placeholder 2"/>
          <p:cNvSpPr>
            <a:spLocks noGrp="1" noChangeArrowheads="1"/>
          </p:cNvSpPr>
          <p:nvPr>
            <p:ph type="title"/>
          </p:nvPr>
        </p:nvSpPr>
        <p:spPr bwMode="gray">
          <a:xfrm>
            <a:off x="119063" y="230188"/>
            <a:ext cx="8618537"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latinLnBrk="0"/>
            <a:r>
              <a:rPr lang="en-US"/>
              <a:t>Click to edit Master title style</a:t>
            </a:r>
            <a:endParaRPr lang="en-US" noProof="0" dirty="0"/>
          </a:p>
        </p:txBody>
      </p:sp>
      <p:sp>
        <p:nvSpPr>
          <p:cNvPr id="10" name="1. On-page tracker" hidden="1"/>
          <p:cNvSpPr>
            <a:spLocks noChangeArrowheads="1"/>
          </p:cNvSpPr>
          <p:nvPr/>
        </p:nvSpPr>
        <p:spPr bwMode="gray">
          <a:xfrm>
            <a:off x="119063" y="75764"/>
            <a:ext cx="490519"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800" cap="all" baseline="0" dirty="0">
                <a:solidFill>
                  <a:schemeClr val="accent6"/>
                </a:solidFill>
                <a:latin typeface="+mn-lt"/>
                <a:ea typeface="+mn-ea"/>
              </a:rPr>
              <a:t>Tracker</a:t>
            </a:r>
          </a:p>
        </p:txBody>
      </p:sp>
      <p:sp>
        <p:nvSpPr>
          <p:cNvPr id="11" name="3. Unit of measure" hidden="1"/>
          <p:cNvSpPr txBox="1">
            <a:spLocks noChangeArrowheads="1"/>
          </p:cNvSpPr>
          <p:nvPr/>
        </p:nvSpPr>
        <p:spPr bwMode="gray">
          <a:xfrm>
            <a:off x="119063" y="554865"/>
            <a:ext cx="8618537"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600" baseline="0" dirty="0">
                <a:solidFill>
                  <a:schemeClr val="accent6"/>
                </a:solidFill>
                <a:latin typeface="+mn-lt"/>
                <a:ea typeface="+mn-ea"/>
              </a:rPr>
              <a:t>Unit of measure</a:t>
            </a:r>
          </a:p>
        </p:txBody>
      </p:sp>
      <p:grpSp>
        <p:nvGrpSpPr>
          <p:cNvPr id="4" name="Slide Elements" hidden="1"/>
          <p:cNvGrpSpPr/>
          <p:nvPr/>
        </p:nvGrpSpPr>
        <p:grpSpPr bwMode="gray">
          <a:xfrm>
            <a:off x="119063" y="6305945"/>
            <a:ext cx="8618537" cy="325438"/>
            <a:chOff x="119063" y="6305945"/>
            <a:chExt cx="8618537" cy="325438"/>
          </a:xfrm>
        </p:grpSpPr>
        <p:sp>
          <p:nvSpPr>
            <p:cNvPr id="13" name="4. Footnote"/>
            <p:cNvSpPr txBox="1">
              <a:spLocks noChangeArrowheads="1"/>
            </p:cNvSpPr>
            <p:nvPr/>
          </p:nvSpPr>
          <p:spPr bwMode="gray">
            <a:xfrm>
              <a:off x="119063" y="6305945"/>
              <a:ext cx="8618537" cy="123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800" baseline="0" dirty="0">
                  <a:solidFill>
                    <a:schemeClr val="accent6"/>
                  </a:solidFill>
                  <a:latin typeface="+mn-lt"/>
                  <a:ea typeface="+mn-ea"/>
                </a:rPr>
                <a:t>1 Footnote</a:t>
              </a:r>
            </a:p>
          </p:txBody>
        </p:sp>
        <p:sp>
          <p:nvSpPr>
            <p:cNvPr id="14" name="5. Source"/>
            <p:cNvSpPr>
              <a:spLocks noChangeArrowheads="1"/>
            </p:cNvSpPr>
            <p:nvPr/>
          </p:nvSpPr>
          <p:spPr bwMode="gray">
            <a:xfrm>
              <a:off x="119063" y="6507558"/>
              <a:ext cx="7200000" cy="123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marL="609600" indent="-609600" defTabSz="895350">
                <a:tabLst>
                  <a:tab pos="612775" algn="l"/>
                </a:tabLst>
              </a:pPr>
              <a:r>
                <a:rPr lang="en-US" sz="800" baseline="0" dirty="0">
                  <a:solidFill>
                    <a:schemeClr val="accent6"/>
                  </a:solidFill>
                  <a:latin typeface="+mn-lt"/>
                  <a:ea typeface="+mn-ea"/>
                </a:rPr>
                <a:t>SOURCE: Source</a:t>
              </a:r>
            </a:p>
          </p:txBody>
        </p:sp>
      </p:grpSp>
      <p:sp>
        <p:nvSpPr>
          <p:cNvPr id="3" name="Text Placeholder 2"/>
          <p:cNvSpPr>
            <a:spLocks noGrp="1"/>
          </p:cNvSpPr>
          <p:nvPr>
            <p:ph type="body" idx="1"/>
          </p:nvPr>
        </p:nvSpPr>
        <p:spPr bwMode="gray">
          <a:xfrm>
            <a:off x="1452564" y="1951380"/>
            <a:ext cx="4302125" cy="1077218"/>
          </a:xfrm>
          <a:prstGeom prst="rect">
            <a:avLst/>
          </a:prstGeom>
        </p:spPr>
        <p:txBody>
          <a:bodyPr vert="horz" lIns="0" tIns="0" rIns="0" bIns="0" rtlCol="0">
            <a:spAutoFit/>
          </a:bodyPr>
          <a:lstStyle/>
          <a:p>
            <a:pPr lvl="0" latinLnBrk="0"/>
            <a:r>
              <a:rPr lang="en-US"/>
              <a:t>Edit Master text styles</a:t>
            </a:r>
          </a:p>
          <a:p>
            <a:pPr lvl="1" latinLnBrk="0"/>
            <a:r>
              <a:rPr lang="en-US"/>
              <a:t>Second level</a:t>
            </a:r>
          </a:p>
          <a:p>
            <a:pPr lvl="2" latinLnBrk="0"/>
            <a:r>
              <a:rPr lang="en-US"/>
              <a:t>Third level</a:t>
            </a:r>
          </a:p>
          <a:p>
            <a:pPr lvl="3" latinLnBrk="0"/>
            <a:r>
              <a:rPr lang="en-US"/>
              <a:t>Fourth level</a:t>
            </a:r>
          </a:p>
          <a:p>
            <a:pPr lvl="4" latinLnBrk="0"/>
            <a:r>
              <a:rPr lang="en-US"/>
              <a:t>Fifth level</a:t>
            </a:r>
            <a:endParaRPr lang="en-US" dirty="0"/>
          </a:p>
        </p:txBody>
      </p:sp>
      <p:grpSp>
        <p:nvGrpSpPr>
          <p:cNvPr id="15" name="ACET" hidden="1"/>
          <p:cNvGrpSpPr>
            <a:grpSpLocks/>
          </p:cNvGrpSpPr>
          <p:nvPr/>
        </p:nvGrpSpPr>
        <p:grpSpPr bwMode="gray">
          <a:xfrm>
            <a:off x="1452563" y="1257754"/>
            <a:ext cx="4264025" cy="508000"/>
            <a:chOff x="915" y="710"/>
            <a:chExt cx="2686" cy="320"/>
          </a:xfrm>
        </p:grpSpPr>
        <p:cxnSp>
          <p:nvCxnSpPr>
            <p:cNvPr id="16" name="AutoShape 249"/>
            <p:cNvCxnSpPr>
              <a:cxnSpLocks noChangeShapeType="1"/>
              <a:stCxn id="18" idx="4"/>
              <a:endCxn id="18" idx="6"/>
            </p:cNvCxnSpPr>
            <p:nvPr/>
          </p:nvCxnSpPr>
          <p:spPr bwMode="gray">
            <a:xfrm>
              <a:off x="915" y="1030"/>
              <a:ext cx="2686" cy="0"/>
            </a:xfrm>
            <a:prstGeom prst="straightConnector1">
              <a:avLst/>
            </a:prstGeom>
            <a:noFill/>
            <a:ln w="9525">
              <a:solidFill>
                <a:schemeClr val="accent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8" name="AutoShape 250"/>
            <p:cNvSpPr>
              <a:spLocks noChangeArrowheads="1"/>
            </p:cNvSpPr>
            <p:nvPr/>
          </p:nvSpPr>
          <p:spPr bwMode="gray">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US" b="1" baseline="0" dirty="0">
                  <a:solidFill>
                    <a:srgbClr val="000000"/>
                  </a:solidFill>
                  <a:latin typeface="+mn-lt"/>
                  <a:ea typeface="+mn-ea"/>
                </a:rPr>
                <a:t>Title</a:t>
              </a:r>
            </a:p>
            <a:p>
              <a:r>
                <a:rPr lang="en-US" baseline="0" dirty="0">
                  <a:solidFill>
                    <a:schemeClr val="accent6"/>
                  </a:solidFill>
                  <a:latin typeface="+mn-lt"/>
                  <a:ea typeface="+mn-ea"/>
                </a:rPr>
                <a:t>Unit of measure</a:t>
              </a:r>
            </a:p>
          </p:txBody>
        </p:sp>
      </p:grpSp>
      <p:grpSp>
        <p:nvGrpSpPr>
          <p:cNvPr id="17" name="McKSticker" hidden="1"/>
          <p:cNvGrpSpPr/>
          <p:nvPr/>
        </p:nvGrpSpPr>
        <p:grpSpPr bwMode="gray">
          <a:xfrm>
            <a:off x="8264265" y="285750"/>
            <a:ext cx="473335" cy="150811"/>
            <a:chOff x="8267440" y="285750"/>
            <a:chExt cx="473335" cy="150811"/>
          </a:xfrm>
        </p:grpSpPr>
        <p:sp>
          <p:nvSpPr>
            <p:cNvPr id="20" name="StickerRectangle"/>
            <p:cNvSpPr>
              <a:spLocks noChangeArrowheads="1"/>
            </p:cNvSpPr>
            <p:nvPr/>
          </p:nvSpPr>
          <p:spPr bwMode="gray">
            <a:xfrm>
              <a:off x="8267440" y="285750"/>
              <a:ext cx="473335" cy="150811"/>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a:buClr>
                  <a:srgbClr val="002960"/>
                </a:buClr>
              </a:pPr>
              <a:r>
                <a:rPr lang="en-US" sz="800" baseline="0" dirty="0">
                  <a:solidFill>
                    <a:schemeClr val="accent6"/>
                  </a:solidFill>
                  <a:latin typeface="+mn-lt"/>
                  <a:ea typeface="+mn-ea"/>
                </a:rPr>
                <a:t>STICKER</a:t>
              </a:r>
            </a:p>
          </p:txBody>
        </p:sp>
        <p:cxnSp>
          <p:nvCxnSpPr>
            <p:cNvPr id="21" name="AutoShape 31"/>
            <p:cNvCxnSpPr>
              <a:cxnSpLocks noChangeShapeType="1"/>
              <a:stCxn id="20" idx="2"/>
              <a:endCxn id="20" idx="4"/>
            </p:cNvCxnSpPr>
            <p:nvPr/>
          </p:nvCxnSpPr>
          <p:spPr bwMode="gray">
            <a:xfrm>
              <a:off x="8267440" y="285750"/>
              <a:ext cx="0" cy="150811"/>
            </a:xfrm>
            <a:prstGeom prst="straightConnector1">
              <a:avLst/>
            </a:prstGeom>
            <a:noFill/>
            <a:ln w="9525">
              <a:solidFill>
                <a:schemeClr val="accent6"/>
              </a:solidFill>
              <a:round/>
              <a:headEnd/>
              <a:tailEnd/>
            </a:ln>
            <a:extLst>
              <a:ext uri="{909E8E84-426E-40DD-AFC4-6F175D3DCCD1}">
                <a14:hiddenFill xmlns:a14="http://schemas.microsoft.com/office/drawing/2010/main">
                  <a:noFill/>
                </a14:hiddenFill>
              </a:ext>
            </a:extLst>
          </p:spPr>
        </p:cxnSp>
        <p:cxnSp>
          <p:nvCxnSpPr>
            <p:cNvPr id="22" name="AutoShape 32"/>
            <p:cNvCxnSpPr>
              <a:cxnSpLocks noChangeShapeType="1"/>
              <a:stCxn id="20" idx="4"/>
              <a:endCxn id="20" idx="6"/>
            </p:cNvCxnSpPr>
            <p:nvPr/>
          </p:nvCxnSpPr>
          <p:spPr bwMode="gray">
            <a:xfrm>
              <a:off x="8267440" y="436561"/>
              <a:ext cx="473335" cy="0"/>
            </a:xfrm>
            <a:prstGeom prst="straightConnector1">
              <a:avLst/>
            </a:prstGeom>
            <a:noFill/>
            <a:ln w="25400">
              <a:solidFill>
                <a:schemeClr val="accent6"/>
              </a:solidFill>
              <a:round/>
              <a:headEnd/>
              <a:tailEnd/>
            </a:ln>
            <a:extLst>
              <a:ext uri="{909E8E84-426E-40DD-AFC4-6F175D3DCCD1}">
                <a14:hiddenFill xmlns:a14="http://schemas.microsoft.com/office/drawing/2010/main">
                  <a:noFill/>
                </a14:hiddenFill>
              </a:ext>
            </a:extLst>
          </p:spPr>
        </p:cxnSp>
      </p:grpSp>
      <p:sp>
        <p:nvSpPr>
          <p:cNvPr id="23" name="SlideBottomBar" hidden="1"/>
          <p:cNvSpPr/>
          <p:nvPr/>
        </p:nvSpPr>
        <p:spPr>
          <a:xfrm>
            <a:off x="8437547" y="6182120"/>
            <a:ext cx="45719" cy="123825"/>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aseline="0" dirty="0">
              <a:solidFill>
                <a:schemeClr val="tx1"/>
              </a:solidFill>
              <a:latin typeface="+mn-lt"/>
              <a:ea typeface="+mn-ea"/>
            </a:endParaRPr>
          </a:p>
        </p:txBody>
      </p:sp>
      <p:sp>
        <p:nvSpPr>
          <p:cNvPr id="24" name="doc id" hidden="1"/>
          <p:cNvSpPr txBox="1">
            <a:spLocks noChangeArrowheads="1"/>
          </p:cNvSpPr>
          <p:nvPr/>
        </p:nvSpPr>
        <p:spPr bwMode="white">
          <a:xfrm>
            <a:off x="8104473" y="36513"/>
            <a:ext cx="634716" cy="115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hangingPunct="1">
              <a:defRPr/>
            </a:pPr>
            <a:endParaRPr lang="en-US" sz="800" baseline="0" dirty="0">
              <a:solidFill>
                <a:schemeClr val="accent1"/>
              </a:solidFill>
              <a:latin typeface="+mn-lt"/>
              <a:ea typeface="+mn-ea"/>
            </a:endParaRPr>
          </a:p>
        </p:txBody>
      </p:sp>
      <p:grpSp>
        <p:nvGrpSpPr>
          <p:cNvPr id="63" name="LegendLines" hidden="1"/>
          <p:cNvGrpSpPr/>
          <p:nvPr/>
        </p:nvGrpSpPr>
        <p:grpSpPr>
          <a:xfrm>
            <a:off x="7551589" y="267815"/>
            <a:ext cx="1158292" cy="761545"/>
            <a:chOff x="7607284" y="279400"/>
            <a:chExt cx="1158292" cy="761545"/>
          </a:xfrm>
        </p:grpSpPr>
        <p:sp>
          <p:nvSpPr>
            <p:cNvPr id="64" name="LineLegend1"/>
            <p:cNvSpPr>
              <a:spLocks noChangeShapeType="1"/>
            </p:cNvSpPr>
            <p:nvPr/>
          </p:nvSpPr>
          <p:spPr bwMode="gray">
            <a:xfrm>
              <a:off x="7607284" y="387122"/>
              <a:ext cx="457200"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65" name="LineLegend2"/>
            <p:cNvSpPr>
              <a:spLocks noChangeShapeType="1"/>
            </p:cNvSpPr>
            <p:nvPr/>
          </p:nvSpPr>
          <p:spPr bwMode="gray">
            <a:xfrm>
              <a:off x="7607284" y="653822"/>
              <a:ext cx="457200"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66" name="LineLegend3"/>
            <p:cNvSpPr>
              <a:spLocks noChangeShapeType="1"/>
            </p:cNvSpPr>
            <p:nvPr/>
          </p:nvSpPr>
          <p:spPr bwMode="gray">
            <a:xfrm>
              <a:off x="7607284" y="933223"/>
              <a:ext cx="457200"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67" name="Legend1"/>
            <p:cNvSpPr>
              <a:spLocks noChangeArrowheads="1"/>
            </p:cNvSpPr>
            <p:nvPr>
              <p:custDataLst>
                <p:tags r:id="rId33"/>
              </p:custDataLst>
            </p:nvPr>
          </p:nvSpPr>
          <p:spPr bwMode="gray">
            <a:xfrm>
              <a:off x="8169259" y="279400"/>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sp>
          <p:nvSpPr>
            <p:cNvPr id="68" name="Legend2"/>
            <p:cNvSpPr>
              <a:spLocks noChangeArrowheads="1"/>
            </p:cNvSpPr>
            <p:nvPr>
              <p:custDataLst>
                <p:tags r:id="rId34"/>
              </p:custDataLst>
            </p:nvPr>
          </p:nvSpPr>
          <p:spPr bwMode="gray">
            <a:xfrm>
              <a:off x="8169259" y="546100"/>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a:latin typeface="+mn-lt"/>
                  <a:ea typeface="+mn-ea"/>
                </a:rPr>
                <a:t>Legend</a:t>
              </a:r>
              <a:endParaRPr lang="en-US" sz="1400" baseline="0" dirty="0">
                <a:latin typeface="+mn-lt"/>
                <a:ea typeface="+mn-ea"/>
              </a:endParaRPr>
            </a:p>
          </p:txBody>
        </p:sp>
        <p:sp>
          <p:nvSpPr>
            <p:cNvPr id="69" name="Legend3"/>
            <p:cNvSpPr>
              <a:spLocks noChangeArrowheads="1"/>
            </p:cNvSpPr>
            <p:nvPr>
              <p:custDataLst>
                <p:tags r:id="rId35"/>
              </p:custDataLst>
            </p:nvPr>
          </p:nvSpPr>
          <p:spPr bwMode="gray">
            <a:xfrm>
              <a:off x="8169259" y="825501"/>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grpSp>
      <p:grpSp>
        <p:nvGrpSpPr>
          <p:cNvPr id="70" name="LegendBoxes" hidden="1"/>
          <p:cNvGrpSpPr/>
          <p:nvPr/>
        </p:nvGrpSpPr>
        <p:grpSpPr>
          <a:xfrm>
            <a:off x="7859564" y="267919"/>
            <a:ext cx="850317" cy="1028245"/>
            <a:chOff x="5894005" y="919828"/>
            <a:chExt cx="850317" cy="1028245"/>
          </a:xfrm>
        </p:grpSpPr>
        <p:sp>
          <p:nvSpPr>
            <p:cNvPr id="71" name="RectangleLegend1"/>
            <p:cNvSpPr>
              <a:spLocks noChangeArrowheads="1"/>
            </p:cNvSpPr>
            <p:nvPr/>
          </p:nvSpPr>
          <p:spPr bwMode="gray">
            <a:xfrm>
              <a:off x="5894005" y="947381"/>
              <a:ext cx="165100" cy="160338"/>
            </a:xfrm>
            <a:prstGeom prst="rect">
              <a:avLst/>
            </a:prstGeom>
            <a:solidFill>
              <a:schemeClr val="accent1"/>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72" name="RectangleLegend2"/>
            <p:cNvSpPr>
              <a:spLocks noChangeArrowheads="1"/>
            </p:cNvSpPr>
            <p:nvPr/>
          </p:nvSpPr>
          <p:spPr bwMode="gray">
            <a:xfrm>
              <a:off x="5894005" y="1217256"/>
              <a:ext cx="165100" cy="160338"/>
            </a:xfrm>
            <a:prstGeom prst="rect">
              <a:avLst/>
            </a:prstGeom>
            <a:solidFill>
              <a:schemeClr val="accent2"/>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73" name="RectangleLegend3"/>
            <p:cNvSpPr>
              <a:spLocks noChangeArrowheads="1"/>
            </p:cNvSpPr>
            <p:nvPr/>
          </p:nvSpPr>
          <p:spPr bwMode="gray">
            <a:xfrm>
              <a:off x="5894005" y="1488719"/>
              <a:ext cx="165100" cy="160338"/>
            </a:xfrm>
            <a:prstGeom prst="rect">
              <a:avLst/>
            </a:prstGeom>
            <a:solidFill>
              <a:schemeClr val="accent3"/>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74" name="RectangleLegend4"/>
            <p:cNvSpPr>
              <a:spLocks noChangeArrowheads="1"/>
            </p:cNvSpPr>
            <p:nvPr/>
          </p:nvSpPr>
          <p:spPr bwMode="gray">
            <a:xfrm>
              <a:off x="5894005" y="1760182"/>
              <a:ext cx="165100" cy="160338"/>
            </a:xfrm>
            <a:prstGeom prst="rect">
              <a:avLst/>
            </a:prstGeom>
            <a:solidFill>
              <a:schemeClr val="accent4"/>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75" name="Legend1"/>
            <p:cNvSpPr>
              <a:spLocks noChangeArrowheads="1"/>
            </p:cNvSpPr>
            <p:nvPr>
              <p:custDataLst>
                <p:tags r:id="rId29"/>
              </p:custDataLst>
            </p:nvPr>
          </p:nvSpPr>
          <p:spPr bwMode="gray">
            <a:xfrm>
              <a:off x="6148005" y="919828"/>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sp>
          <p:nvSpPr>
            <p:cNvPr id="76" name="Legend2"/>
            <p:cNvSpPr>
              <a:spLocks noChangeArrowheads="1"/>
            </p:cNvSpPr>
            <p:nvPr>
              <p:custDataLst>
                <p:tags r:id="rId30"/>
              </p:custDataLst>
            </p:nvPr>
          </p:nvSpPr>
          <p:spPr bwMode="gray">
            <a:xfrm>
              <a:off x="6148005" y="1189703"/>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sp>
          <p:nvSpPr>
            <p:cNvPr id="77" name="Legend3"/>
            <p:cNvSpPr>
              <a:spLocks noChangeArrowheads="1"/>
            </p:cNvSpPr>
            <p:nvPr>
              <p:custDataLst>
                <p:tags r:id="rId31"/>
              </p:custDataLst>
            </p:nvPr>
          </p:nvSpPr>
          <p:spPr bwMode="gray">
            <a:xfrm>
              <a:off x="6148005" y="1461166"/>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sp>
          <p:nvSpPr>
            <p:cNvPr id="78" name="Legend4"/>
            <p:cNvSpPr>
              <a:spLocks noChangeArrowheads="1"/>
            </p:cNvSpPr>
            <p:nvPr>
              <p:custDataLst>
                <p:tags r:id="rId32"/>
              </p:custDataLst>
            </p:nvPr>
          </p:nvSpPr>
          <p:spPr bwMode="gray">
            <a:xfrm>
              <a:off x="6148005" y="1732629"/>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grpSp>
      <p:grpSp>
        <p:nvGrpSpPr>
          <p:cNvPr id="79" name="LegendMoons" hidden="1"/>
          <p:cNvGrpSpPr/>
          <p:nvPr/>
        </p:nvGrpSpPr>
        <p:grpSpPr>
          <a:xfrm>
            <a:off x="7792889" y="267414"/>
            <a:ext cx="916992" cy="1317003"/>
            <a:chOff x="5894005" y="2695123"/>
            <a:chExt cx="916992" cy="1317003"/>
          </a:xfrm>
        </p:grpSpPr>
        <p:grpSp>
          <p:nvGrpSpPr>
            <p:cNvPr id="80" name="MoonLegend1"/>
            <p:cNvGrpSpPr>
              <a:grpSpLocks noChangeAspect="1"/>
            </p:cNvGrpSpPr>
            <p:nvPr>
              <p:custDataLst>
                <p:tags r:id="rId9"/>
              </p:custDataLst>
            </p:nvPr>
          </p:nvGrpSpPr>
          <p:grpSpPr bwMode="gray">
            <a:xfrm>
              <a:off x="5894005" y="2695123"/>
              <a:ext cx="209550" cy="218282"/>
              <a:chOff x="4533" y="183"/>
              <a:chExt cx="144" cy="150"/>
            </a:xfrm>
          </p:grpSpPr>
          <p:sp>
            <p:nvSpPr>
              <p:cNvPr id="98" name="Oval 97"/>
              <p:cNvSpPr>
                <a:spLocks noChangeAspect="1" noChangeArrowheads="1"/>
              </p:cNvSpPr>
              <p:nvPr>
                <p:custDataLst>
                  <p:tags r:id="rId27"/>
                </p:custDataLst>
              </p:nvPr>
            </p:nvSpPr>
            <p:spPr bwMode="gray">
              <a:xfrm>
                <a:off x="4533" y="189"/>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99" name="Arc 98" hidden="1"/>
              <p:cNvSpPr>
                <a:spLocks noChangeAspect="1"/>
              </p:cNvSpPr>
              <p:nvPr>
                <p:custDataLst>
                  <p:tags r:id="rId28"/>
                </p:custDataLst>
              </p:nvPr>
            </p:nvSpPr>
            <p:spPr bwMode="gray">
              <a:xfrm>
                <a:off x="4533" y="183"/>
                <a:ext cx="144" cy="144"/>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grpSp>
        <p:grpSp>
          <p:nvGrpSpPr>
            <p:cNvPr id="81" name="MoonLegend2"/>
            <p:cNvGrpSpPr>
              <a:grpSpLocks noChangeAspect="1"/>
            </p:cNvGrpSpPr>
            <p:nvPr>
              <p:custDataLst>
                <p:tags r:id="rId10"/>
              </p:custDataLst>
            </p:nvPr>
          </p:nvGrpSpPr>
          <p:grpSpPr bwMode="gray">
            <a:xfrm>
              <a:off x="5894005" y="2977103"/>
              <a:ext cx="209550" cy="209551"/>
              <a:chOff x="1694" y="2051"/>
              <a:chExt cx="160" cy="160"/>
            </a:xfrm>
          </p:grpSpPr>
          <p:sp>
            <p:nvSpPr>
              <p:cNvPr id="96" name="Oval 41"/>
              <p:cNvSpPr>
                <a:spLocks noChangeAspect="1" noChangeArrowheads="1"/>
              </p:cNvSpPr>
              <p:nvPr>
                <p:custDataLst>
                  <p:tags r:id="rId25"/>
                </p:custDataLst>
              </p:nvPr>
            </p:nvSpPr>
            <p:spPr bwMode="gray">
              <a:xfrm>
                <a:off x="1694" y="2051"/>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97" name="Arc 42"/>
              <p:cNvSpPr>
                <a:spLocks noChangeAspect="1"/>
              </p:cNvSpPr>
              <p:nvPr>
                <p:custDataLst>
                  <p:tags r:id="rId26"/>
                </p:custDataLst>
              </p:nvPr>
            </p:nvSpPr>
            <p:spPr bwMode="gray">
              <a:xfrm>
                <a:off x="1694" y="2051"/>
                <a:ext cx="160" cy="160"/>
              </a:xfrm>
              <a:prstGeom prst="arc">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grpSp>
        <p:grpSp>
          <p:nvGrpSpPr>
            <p:cNvPr id="82" name="MoonLegend4"/>
            <p:cNvGrpSpPr>
              <a:grpSpLocks noChangeAspect="1"/>
            </p:cNvGrpSpPr>
            <p:nvPr>
              <p:custDataLst>
                <p:tags r:id="rId11"/>
              </p:custDataLst>
            </p:nvPr>
          </p:nvGrpSpPr>
          <p:grpSpPr bwMode="gray">
            <a:xfrm>
              <a:off x="5894005" y="3524395"/>
              <a:ext cx="209550" cy="209551"/>
              <a:chOff x="4495" y="1204"/>
              <a:chExt cx="160" cy="160"/>
            </a:xfrm>
          </p:grpSpPr>
          <p:sp>
            <p:nvSpPr>
              <p:cNvPr id="94" name="Oval 47"/>
              <p:cNvSpPr>
                <a:spLocks noChangeAspect="1" noChangeArrowheads="1"/>
              </p:cNvSpPr>
              <p:nvPr>
                <p:custDataLst>
                  <p:tags r:id="rId23"/>
                </p:custDataLst>
              </p:nvPr>
            </p:nvSpPr>
            <p:spPr bwMode="gray">
              <a:xfrm>
                <a:off x="4495" y="120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95" name="Arc 48"/>
              <p:cNvSpPr>
                <a:spLocks noChangeAspect="1"/>
              </p:cNvSpPr>
              <p:nvPr>
                <p:custDataLst>
                  <p:tags r:id="rId24"/>
                </p:custDataLst>
              </p:nvPr>
            </p:nvSpPr>
            <p:spPr bwMode="gray">
              <a:xfrm>
                <a:off x="4495" y="1204"/>
                <a:ext cx="160" cy="160"/>
              </a:xfrm>
              <a:prstGeom prst="arc">
                <a:avLst>
                  <a:gd name="adj1" fmla="val 16200000"/>
                  <a:gd name="adj2" fmla="val 108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grpSp>
        <p:grpSp>
          <p:nvGrpSpPr>
            <p:cNvPr id="83" name="MoonLegend5"/>
            <p:cNvGrpSpPr>
              <a:grpSpLocks noChangeAspect="1"/>
            </p:cNvGrpSpPr>
            <p:nvPr>
              <p:custDataLst>
                <p:tags r:id="rId12"/>
              </p:custDataLst>
            </p:nvPr>
          </p:nvGrpSpPr>
          <p:grpSpPr bwMode="gray">
            <a:xfrm>
              <a:off x="5894005" y="3799629"/>
              <a:ext cx="209550" cy="209551"/>
              <a:chOff x="4495" y="1447"/>
              <a:chExt cx="160" cy="160"/>
            </a:xfrm>
          </p:grpSpPr>
          <p:sp>
            <p:nvSpPr>
              <p:cNvPr id="92" name="Oval 50"/>
              <p:cNvSpPr>
                <a:spLocks noChangeAspect="1" noChangeArrowheads="1"/>
              </p:cNvSpPr>
              <p:nvPr>
                <p:custDataLst>
                  <p:tags r:id="rId21"/>
                </p:custDataLst>
              </p:nvPr>
            </p:nvSpPr>
            <p:spPr bwMode="gray">
              <a:xfrm>
                <a:off x="4495" y="1447"/>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93" name="Oval 51"/>
              <p:cNvSpPr>
                <a:spLocks noChangeAspect="1" noChangeArrowheads="1"/>
              </p:cNvSpPr>
              <p:nvPr>
                <p:custDataLst>
                  <p:tags r:id="rId22"/>
                </p:custDataLst>
              </p:nvPr>
            </p:nvSpPr>
            <p:spPr bwMode="gray">
              <a:xfrm>
                <a:off x="4495" y="1447"/>
                <a:ext cx="160" cy="160"/>
              </a:xfrm>
              <a:prstGeom prst="arc">
                <a:avLst>
                  <a:gd name="adj1" fmla="val 16200000"/>
                  <a:gd name="adj2" fmla="val 162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grpSp>
        <p:grpSp>
          <p:nvGrpSpPr>
            <p:cNvPr id="84" name="MoonLegend3"/>
            <p:cNvGrpSpPr>
              <a:grpSpLocks noChangeAspect="1"/>
            </p:cNvGrpSpPr>
            <p:nvPr>
              <p:custDataLst>
                <p:tags r:id="rId13"/>
              </p:custDataLst>
            </p:nvPr>
          </p:nvGrpSpPr>
          <p:grpSpPr bwMode="gray">
            <a:xfrm>
              <a:off x="5894005" y="3251543"/>
              <a:ext cx="209550" cy="209551"/>
              <a:chOff x="4495" y="1205"/>
              <a:chExt cx="160" cy="160"/>
            </a:xfrm>
          </p:grpSpPr>
          <p:sp>
            <p:nvSpPr>
              <p:cNvPr id="90" name="Oval 47"/>
              <p:cNvSpPr>
                <a:spLocks noChangeAspect="1" noChangeArrowheads="1"/>
              </p:cNvSpPr>
              <p:nvPr>
                <p:custDataLst>
                  <p:tags r:id="rId19"/>
                </p:custDataLst>
              </p:nvPr>
            </p:nvSpPr>
            <p:spPr bwMode="gray">
              <a:xfrm>
                <a:off x="4495" y="1205"/>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91" name="Arc 48"/>
              <p:cNvSpPr>
                <a:spLocks noChangeAspect="1"/>
              </p:cNvSpPr>
              <p:nvPr>
                <p:custDataLst>
                  <p:tags r:id="rId20"/>
                </p:custDataLst>
              </p:nvPr>
            </p:nvSpPr>
            <p:spPr bwMode="gray">
              <a:xfrm>
                <a:off x="4495" y="1205"/>
                <a:ext cx="160" cy="160"/>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grpSp>
        <p:sp>
          <p:nvSpPr>
            <p:cNvPr id="85" name="Legend1"/>
            <p:cNvSpPr>
              <a:spLocks noChangeArrowheads="1"/>
            </p:cNvSpPr>
            <p:nvPr>
              <p:custDataLst>
                <p:tags r:id="rId14"/>
              </p:custDataLst>
            </p:nvPr>
          </p:nvSpPr>
          <p:spPr bwMode="gray">
            <a:xfrm>
              <a:off x="6214680" y="2696542"/>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sp>
          <p:nvSpPr>
            <p:cNvPr id="86" name="Legend2"/>
            <p:cNvSpPr>
              <a:spLocks noChangeArrowheads="1"/>
            </p:cNvSpPr>
            <p:nvPr>
              <p:custDataLst>
                <p:tags r:id="rId15"/>
              </p:custDataLst>
            </p:nvPr>
          </p:nvSpPr>
          <p:spPr bwMode="gray">
            <a:xfrm>
              <a:off x="6214680" y="2974156"/>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a:latin typeface="+mn-lt"/>
                  <a:ea typeface="+mn-ea"/>
                </a:rPr>
                <a:t>Legend</a:t>
              </a:r>
              <a:endParaRPr lang="en-US" sz="1400" baseline="0" dirty="0">
                <a:latin typeface="+mn-lt"/>
                <a:ea typeface="+mn-ea"/>
              </a:endParaRPr>
            </a:p>
          </p:txBody>
        </p:sp>
        <p:sp>
          <p:nvSpPr>
            <p:cNvPr id="87" name="Legend3"/>
            <p:cNvSpPr>
              <a:spLocks noChangeArrowheads="1"/>
            </p:cNvSpPr>
            <p:nvPr>
              <p:custDataLst>
                <p:tags r:id="rId16"/>
              </p:custDataLst>
            </p:nvPr>
          </p:nvSpPr>
          <p:spPr bwMode="gray">
            <a:xfrm>
              <a:off x="6214680" y="3248596"/>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sp>
          <p:nvSpPr>
            <p:cNvPr id="88" name="Legend4"/>
            <p:cNvSpPr>
              <a:spLocks noChangeArrowheads="1"/>
            </p:cNvSpPr>
            <p:nvPr>
              <p:custDataLst>
                <p:tags r:id="rId17"/>
              </p:custDataLst>
            </p:nvPr>
          </p:nvSpPr>
          <p:spPr bwMode="gray">
            <a:xfrm>
              <a:off x="6214680" y="3521448"/>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sp>
          <p:nvSpPr>
            <p:cNvPr id="89" name="Legend5"/>
            <p:cNvSpPr>
              <a:spLocks noChangeArrowheads="1"/>
            </p:cNvSpPr>
            <p:nvPr>
              <p:custDataLst>
                <p:tags r:id="rId18"/>
              </p:custDataLst>
            </p:nvPr>
          </p:nvSpPr>
          <p:spPr bwMode="gray">
            <a:xfrm>
              <a:off x="6214680" y="3796682"/>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a:latin typeface="+mn-lt"/>
                  <a:ea typeface="+mn-ea"/>
                </a:rPr>
                <a:t>Legend</a:t>
              </a:r>
              <a:endParaRPr lang="en-US" sz="1400" baseline="0" dirty="0">
                <a:latin typeface="+mn-lt"/>
                <a:ea typeface="+mn-ea"/>
              </a:endParaRPr>
            </a:p>
          </p:txBody>
        </p:sp>
      </p:grpSp>
    </p:spTree>
    <p:extLst>
      <p:ext uri="{BB962C8B-B14F-4D97-AF65-F5344CB8AC3E}">
        <p14:creationId xmlns:p14="http://schemas.microsoft.com/office/powerpoint/2010/main" val="2340612237"/>
      </p:ext>
    </p:extLst>
  </p:cSld>
  <p:clrMap bg1="lt1" tx1="dk1" bg2="lt2" tx2="dk2" accent1="accent1" accent2="accent2" accent3="accent3" accent4="accent4" accent5="accent5" accent6="accent6" hlink="hlink" folHlink="folHlink"/>
  <p:sldLayoutIdLst>
    <p:sldLayoutId id="2147483816" r:id="rId1"/>
    <p:sldLayoutId id="2147483817" r:id="rId2"/>
    <p:sldLayoutId id="2147483818" r:id="rId3"/>
    <p:sldLayoutId id="2147483819" r:id="rId4"/>
  </p:sldLayoutIdLst>
  <p:txStyles>
    <p:titleStyle>
      <a:lvl1pPr algn="l" defTabSz="895350" rtl="0" eaLnBrk="1" fontAlgn="base" hangingPunct="1">
        <a:spcBef>
          <a:spcPct val="0"/>
        </a:spcBef>
        <a:spcAft>
          <a:spcPct val="0"/>
        </a:spcAft>
        <a:tabLst>
          <a:tab pos="269875" algn="l"/>
        </a:tabLst>
        <a:defRPr sz="2000" b="0" baseline="0">
          <a:solidFill>
            <a:schemeClr val="tx2"/>
          </a:solidFill>
          <a:latin typeface="+mj-lt"/>
          <a:ea typeface="+mj-ea"/>
          <a:cs typeface="+mj-cs"/>
        </a:defRPr>
      </a:lvl1pPr>
      <a:lvl2pPr algn="l" defTabSz="895350" rtl="0" eaLnBrk="1" fontAlgn="base" hangingPunct="1">
        <a:spcBef>
          <a:spcPct val="0"/>
        </a:spcBef>
        <a:spcAft>
          <a:spcPct val="0"/>
        </a:spcAft>
        <a:defRPr sz="1900" b="1">
          <a:solidFill>
            <a:schemeClr val="tx2"/>
          </a:solidFill>
          <a:latin typeface="Arial" charset="0"/>
        </a:defRPr>
      </a:lvl2pPr>
      <a:lvl3pPr algn="l" defTabSz="895350" rtl="0" eaLnBrk="1" fontAlgn="base" hangingPunct="1">
        <a:spcBef>
          <a:spcPct val="0"/>
        </a:spcBef>
        <a:spcAft>
          <a:spcPct val="0"/>
        </a:spcAft>
        <a:defRPr sz="1900" b="1">
          <a:solidFill>
            <a:schemeClr val="tx2"/>
          </a:solidFill>
          <a:latin typeface="Arial" charset="0"/>
        </a:defRPr>
      </a:lvl3pPr>
      <a:lvl4pPr algn="l" defTabSz="895350" rtl="0" eaLnBrk="1" fontAlgn="base" hangingPunct="1">
        <a:spcBef>
          <a:spcPct val="0"/>
        </a:spcBef>
        <a:spcAft>
          <a:spcPct val="0"/>
        </a:spcAft>
        <a:defRPr sz="1900" b="1">
          <a:solidFill>
            <a:schemeClr val="tx2"/>
          </a:solidFill>
          <a:latin typeface="Arial" charset="0"/>
        </a:defRPr>
      </a:lvl4pPr>
      <a:lvl5pPr algn="l" defTabSz="895350" rtl="0" eaLnBrk="1" fontAlgn="base" hangingPunct="1">
        <a:spcBef>
          <a:spcPct val="0"/>
        </a:spcBef>
        <a:spcAft>
          <a:spcPct val="0"/>
        </a:spcAft>
        <a:defRPr sz="1900" b="1">
          <a:solidFill>
            <a:schemeClr val="tx2"/>
          </a:solidFill>
          <a:latin typeface="Arial" charset="0"/>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p:titleStyle>
    <p:bodyStyle>
      <a:lvl1pPr marL="0" indent="0" algn="l" defTabSz="895350" rtl="0" eaLnBrk="1" fontAlgn="base" hangingPunct="1">
        <a:spcBef>
          <a:spcPct val="0"/>
        </a:spcBef>
        <a:spcAft>
          <a:spcPct val="0"/>
        </a:spcAft>
        <a:buClr>
          <a:schemeClr val="tx2"/>
        </a:buClr>
        <a:buSzPct val="100000"/>
        <a:defRPr sz="14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4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4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4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4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ext>
  </p:extLst>
</p:sldMaster>
</file>

<file path=ppt/slideMasters/slideMaster3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7"/>
            </p:custDataLst>
            <p:extLst>
              <p:ext uri="{D42A27DB-BD31-4B8C-83A1-F6EECF244321}">
                <p14:modId xmlns:p14="http://schemas.microsoft.com/office/powerpoint/2010/main" val="221691724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4644" name="think-cell Slide" r:id="rId36" imgW="270" imgH="270" progId="TCLayout.ActiveDocument.1">
                  <p:embed/>
                </p:oleObj>
              </mc:Choice>
              <mc:Fallback>
                <p:oleObj name="think-cell Slide" r:id="rId36" imgW="270" imgH="270" progId="TCLayout.ActiveDocument.1">
                  <p:embed/>
                  <p:pic>
                    <p:nvPicPr>
                      <p:cNvPr id="2" name="Object 1" hidden="1"/>
                      <p:cNvPicPr/>
                      <p:nvPr/>
                    </p:nvPicPr>
                    <p:blipFill>
                      <a:blip r:embed="rId37"/>
                      <a:stretch>
                        <a:fillRect/>
                      </a:stretch>
                    </p:blipFill>
                    <p:spPr>
                      <a:xfrm>
                        <a:off x="0" y="0"/>
                        <a:ext cx="158750" cy="158750"/>
                      </a:xfrm>
                      <a:prstGeom prst="rect">
                        <a:avLst/>
                      </a:prstGeom>
                    </p:spPr>
                  </p:pic>
                </p:oleObj>
              </mc:Fallback>
            </mc:AlternateContent>
          </a:graphicData>
        </a:graphic>
      </p:graphicFrame>
      <p:sp>
        <p:nvSpPr>
          <p:cNvPr id="6" name="Rectangle 5" hidden="1"/>
          <p:cNvSpPr/>
          <p:nvPr>
            <p:custDataLst>
              <p:tags r:id="rId8"/>
            </p:custDataLst>
          </p:nvPr>
        </p:nvSpPr>
        <p:spPr bwMode="auto">
          <a:xfrm>
            <a:off x="0" y="0"/>
            <a:ext cx="158750" cy="158750"/>
          </a:xfrm>
          <a:prstGeom prst="rect">
            <a:avLst/>
          </a:prstGeom>
          <a:solidFill>
            <a:schemeClr val="bg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dirty="0">
              <a:solidFill>
                <a:srgbClr val="000000"/>
              </a:solidFill>
              <a:sym typeface="Arial" panose="020B0604020202020204" pitchFamily="34" charset="0"/>
            </a:endParaRPr>
          </a:p>
        </p:txBody>
      </p:sp>
      <p:sp>
        <p:nvSpPr>
          <p:cNvPr id="1034" name="Working Draft" hidden="1"/>
          <p:cNvSpPr txBox="1">
            <a:spLocks noChangeArrowheads="1"/>
          </p:cNvSpPr>
          <p:nvPr/>
        </p:nvSpPr>
        <p:spPr bwMode="gray">
          <a:xfrm rot="5400000">
            <a:off x="7966656" y="1940591"/>
            <a:ext cx="1849865"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600" baseline="0">
                <a:solidFill>
                  <a:srgbClr val="808080"/>
                </a:solidFill>
                <a:latin typeface="+mn-lt"/>
                <a:ea typeface="+mn-ea"/>
              </a:rPr>
              <a:t>Last Modified 21/05/2018 17:44 India Standard Time</a:t>
            </a:r>
            <a:endParaRPr lang="en-US" baseline="0" dirty="0">
              <a:solidFill>
                <a:srgbClr val="808080"/>
              </a:solidFill>
              <a:latin typeface="+mn-lt"/>
              <a:ea typeface="+mn-ea"/>
            </a:endParaRPr>
          </a:p>
        </p:txBody>
      </p:sp>
      <p:sp>
        <p:nvSpPr>
          <p:cNvPr id="1035" name="Printed" hidden="1"/>
          <p:cNvSpPr txBox="1">
            <a:spLocks noChangeArrowheads="1"/>
          </p:cNvSpPr>
          <p:nvPr/>
        </p:nvSpPr>
        <p:spPr bwMode="gray">
          <a:xfrm rot="5400000">
            <a:off x="8768958" y="4114417"/>
            <a:ext cx="245260"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600" baseline="0" dirty="0">
                <a:solidFill>
                  <a:srgbClr val="808080"/>
                </a:solidFill>
                <a:latin typeface="+mn-lt"/>
                <a:ea typeface="+mn-ea"/>
              </a:rPr>
              <a:t>Printed</a:t>
            </a:r>
            <a:endParaRPr lang="en-US" baseline="0" dirty="0">
              <a:solidFill>
                <a:srgbClr val="808080"/>
              </a:solidFill>
              <a:latin typeface="+mn-lt"/>
              <a:ea typeface="+mn-ea"/>
            </a:endParaRPr>
          </a:p>
        </p:txBody>
      </p:sp>
      <p:sp>
        <p:nvSpPr>
          <p:cNvPr id="19" name="Title Placeholder 2"/>
          <p:cNvSpPr>
            <a:spLocks noGrp="1" noChangeArrowheads="1"/>
          </p:cNvSpPr>
          <p:nvPr>
            <p:ph type="title"/>
          </p:nvPr>
        </p:nvSpPr>
        <p:spPr bwMode="gray">
          <a:xfrm>
            <a:off x="119063" y="230188"/>
            <a:ext cx="8618537"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latinLnBrk="0"/>
            <a:r>
              <a:rPr lang="en-US"/>
              <a:t>Click to edit Master title style</a:t>
            </a:r>
            <a:endParaRPr lang="en-US" noProof="0" dirty="0"/>
          </a:p>
        </p:txBody>
      </p:sp>
      <p:sp>
        <p:nvSpPr>
          <p:cNvPr id="10" name="1. On-page tracker" hidden="1"/>
          <p:cNvSpPr>
            <a:spLocks noChangeArrowheads="1"/>
          </p:cNvSpPr>
          <p:nvPr/>
        </p:nvSpPr>
        <p:spPr bwMode="gray">
          <a:xfrm>
            <a:off x="119063" y="75764"/>
            <a:ext cx="490519"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800" cap="all" baseline="0" dirty="0">
                <a:solidFill>
                  <a:schemeClr val="accent6"/>
                </a:solidFill>
                <a:latin typeface="+mn-lt"/>
                <a:ea typeface="+mn-ea"/>
              </a:rPr>
              <a:t>Tracker</a:t>
            </a:r>
          </a:p>
        </p:txBody>
      </p:sp>
      <p:sp>
        <p:nvSpPr>
          <p:cNvPr id="11" name="3. Unit of measure" hidden="1"/>
          <p:cNvSpPr txBox="1">
            <a:spLocks noChangeArrowheads="1"/>
          </p:cNvSpPr>
          <p:nvPr/>
        </p:nvSpPr>
        <p:spPr bwMode="gray">
          <a:xfrm>
            <a:off x="119063" y="554865"/>
            <a:ext cx="8618537"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600" baseline="0" dirty="0">
                <a:solidFill>
                  <a:schemeClr val="accent6"/>
                </a:solidFill>
                <a:latin typeface="+mn-lt"/>
                <a:ea typeface="+mn-ea"/>
              </a:rPr>
              <a:t>Unit of measure</a:t>
            </a:r>
          </a:p>
        </p:txBody>
      </p:sp>
      <p:grpSp>
        <p:nvGrpSpPr>
          <p:cNvPr id="4" name="Slide Elements" hidden="1"/>
          <p:cNvGrpSpPr/>
          <p:nvPr/>
        </p:nvGrpSpPr>
        <p:grpSpPr bwMode="gray">
          <a:xfrm>
            <a:off x="119063" y="6305945"/>
            <a:ext cx="8618537" cy="325438"/>
            <a:chOff x="119063" y="6305945"/>
            <a:chExt cx="8618537" cy="325438"/>
          </a:xfrm>
        </p:grpSpPr>
        <p:sp>
          <p:nvSpPr>
            <p:cNvPr id="13" name="4. Footnote"/>
            <p:cNvSpPr txBox="1">
              <a:spLocks noChangeArrowheads="1"/>
            </p:cNvSpPr>
            <p:nvPr/>
          </p:nvSpPr>
          <p:spPr bwMode="gray">
            <a:xfrm>
              <a:off x="119063" y="6305945"/>
              <a:ext cx="8618537" cy="123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800" baseline="0" dirty="0">
                  <a:solidFill>
                    <a:schemeClr val="accent6"/>
                  </a:solidFill>
                  <a:latin typeface="+mn-lt"/>
                  <a:ea typeface="+mn-ea"/>
                </a:rPr>
                <a:t>1 Footnote</a:t>
              </a:r>
            </a:p>
          </p:txBody>
        </p:sp>
        <p:sp>
          <p:nvSpPr>
            <p:cNvPr id="14" name="5. Source"/>
            <p:cNvSpPr>
              <a:spLocks noChangeArrowheads="1"/>
            </p:cNvSpPr>
            <p:nvPr/>
          </p:nvSpPr>
          <p:spPr bwMode="gray">
            <a:xfrm>
              <a:off x="119063" y="6507558"/>
              <a:ext cx="7200000" cy="123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marL="609600" indent="-609600" defTabSz="895350">
                <a:tabLst>
                  <a:tab pos="612775" algn="l"/>
                </a:tabLst>
              </a:pPr>
              <a:r>
                <a:rPr lang="en-US" sz="800" baseline="0" dirty="0">
                  <a:solidFill>
                    <a:schemeClr val="accent6"/>
                  </a:solidFill>
                  <a:latin typeface="+mn-lt"/>
                  <a:ea typeface="+mn-ea"/>
                </a:rPr>
                <a:t>SOURCE: Source</a:t>
              </a:r>
            </a:p>
          </p:txBody>
        </p:sp>
      </p:grpSp>
      <p:sp>
        <p:nvSpPr>
          <p:cNvPr id="3" name="Text Placeholder 2"/>
          <p:cNvSpPr>
            <a:spLocks noGrp="1"/>
          </p:cNvSpPr>
          <p:nvPr>
            <p:ph type="body" idx="1"/>
          </p:nvPr>
        </p:nvSpPr>
        <p:spPr bwMode="gray">
          <a:xfrm>
            <a:off x="1452564" y="1951380"/>
            <a:ext cx="4302125" cy="1077218"/>
          </a:xfrm>
          <a:prstGeom prst="rect">
            <a:avLst/>
          </a:prstGeom>
        </p:spPr>
        <p:txBody>
          <a:bodyPr vert="horz" lIns="0" tIns="0" rIns="0" bIns="0" rtlCol="0">
            <a:spAutoFit/>
          </a:bodyPr>
          <a:lstStyle/>
          <a:p>
            <a:pPr lvl="0" latinLnBrk="0"/>
            <a:r>
              <a:rPr lang="en-US"/>
              <a:t>Edit Master text styles</a:t>
            </a:r>
          </a:p>
          <a:p>
            <a:pPr lvl="1" latinLnBrk="0"/>
            <a:r>
              <a:rPr lang="en-US"/>
              <a:t>Second level</a:t>
            </a:r>
          </a:p>
          <a:p>
            <a:pPr lvl="2" latinLnBrk="0"/>
            <a:r>
              <a:rPr lang="en-US"/>
              <a:t>Third level</a:t>
            </a:r>
          </a:p>
          <a:p>
            <a:pPr lvl="3" latinLnBrk="0"/>
            <a:r>
              <a:rPr lang="en-US"/>
              <a:t>Fourth level</a:t>
            </a:r>
          </a:p>
          <a:p>
            <a:pPr lvl="4" latinLnBrk="0"/>
            <a:r>
              <a:rPr lang="en-US"/>
              <a:t>Fifth level</a:t>
            </a:r>
            <a:endParaRPr lang="en-US" dirty="0"/>
          </a:p>
        </p:txBody>
      </p:sp>
      <p:grpSp>
        <p:nvGrpSpPr>
          <p:cNvPr id="15" name="ACET" hidden="1"/>
          <p:cNvGrpSpPr>
            <a:grpSpLocks/>
          </p:cNvGrpSpPr>
          <p:nvPr/>
        </p:nvGrpSpPr>
        <p:grpSpPr bwMode="gray">
          <a:xfrm>
            <a:off x="1452563" y="1257754"/>
            <a:ext cx="4264025" cy="508000"/>
            <a:chOff x="915" y="710"/>
            <a:chExt cx="2686" cy="320"/>
          </a:xfrm>
        </p:grpSpPr>
        <p:cxnSp>
          <p:nvCxnSpPr>
            <p:cNvPr id="16" name="AutoShape 249"/>
            <p:cNvCxnSpPr>
              <a:cxnSpLocks noChangeShapeType="1"/>
              <a:stCxn id="18" idx="4"/>
              <a:endCxn id="18" idx="6"/>
            </p:cNvCxnSpPr>
            <p:nvPr/>
          </p:nvCxnSpPr>
          <p:spPr bwMode="gray">
            <a:xfrm>
              <a:off x="915" y="1030"/>
              <a:ext cx="2686" cy="0"/>
            </a:xfrm>
            <a:prstGeom prst="straightConnector1">
              <a:avLst/>
            </a:prstGeom>
            <a:noFill/>
            <a:ln w="9525">
              <a:solidFill>
                <a:schemeClr val="accent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8" name="AutoShape 250"/>
            <p:cNvSpPr>
              <a:spLocks noChangeArrowheads="1"/>
            </p:cNvSpPr>
            <p:nvPr/>
          </p:nvSpPr>
          <p:spPr bwMode="gray">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US" b="1" baseline="0" dirty="0">
                  <a:solidFill>
                    <a:srgbClr val="000000"/>
                  </a:solidFill>
                  <a:latin typeface="+mn-lt"/>
                  <a:ea typeface="+mn-ea"/>
                </a:rPr>
                <a:t>Title</a:t>
              </a:r>
            </a:p>
            <a:p>
              <a:r>
                <a:rPr lang="en-US" baseline="0" dirty="0">
                  <a:solidFill>
                    <a:schemeClr val="accent6"/>
                  </a:solidFill>
                  <a:latin typeface="+mn-lt"/>
                  <a:ea typeface="+mn-ea"/>
                </a:rPr>
                <a:t>Unit of measure</a:t>
              </a:r>
            </a:p>
          </p:txBody>
        </p:sp>
      </p:grpSp>
      <p:grpSp>
        <p:nvGrpSpPr>
          <p:cNvPr id="17" name="McKSticker" hidden="1"/>
          <p:cNvGrpSpPr/>
          <p:nvPr/>
        </p:nvGrpSpPr>
        <p:grpSpPr bwMode="gray">
          <a:xfrm>
            <a:off x="8264265" y="285750"/>
            <a:ext cx="473335" cy="150811"/>
            <a:chOff x="8267440" y="285750"/>
            <a:chExt cx="473335" cy="150811"/>
          </a:xfrm>
        </p:grpSpPr>
        <p:sp>
          <p:nvSpPr>
            <p:cNvPr id="20" name="StickerRectangle"/>
            <p:cNvSpPr>
              <a:spLocks noChangeArrowheads="1"/>
            </p:cNvSpPr>
            <p:nvPr/>
          </p:nvSpPr>
          <p:spPr bwMode="gray">
            <a:xfrm>
              <a:off x="8267440" y="285750"/>
              <a:ext cx="473335" cy="150811"/>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a:buClr>
                  <a:srgbClr val="002960"/>
                </a:buClr>
              </a:pPr>
              <a:r>
                <a:rPr lang="en-US" sz="800" baseline="0" dirty="0">
                  <a:solidFill>
                    <a:schemeClr val="accent6"/>
                  </a:solidFill>
                  <a:latin typeface="+mn-lt"/>
                  <a:ea typeface="+mn-ea"/>
                </a:rPr>
                <a:t>STICKER</a:t>
              </a:r>
            </a:p>
          </p:txBody>
        </p:sp>
        <p:cxnSp>
          <p:nvCxnSpPr>
            <p:cNvPr id="21" name="AutoShape 31"/>
            <p:cNvCxnSpPr>
              <a:cxnSpLocks noChangeShapeType="1"/>
              <a:stCxn id="20" idx="2"/>
              <a:endCxn id="20" idx="4"/>
            </p:cNvCxnSpPr>
            <p:nvPr/>
          </p:nvCxnSpPr>
          <p:spPr bwMode="gray">
            <a:xfrm>
              <a:off x="8267440" y="285750"/>
              <a:ext cx="0" cy="150811"/>
            </a:xfrm>
            <a:prstGeom prst="straightConnector1">
              <a:avLst/>
            </a:prstGeom>
            <a:noFill/>
            <a:ln w="9525">
              <a:solidFill>
                <a:schemeClr val="accent6"/>
              </a:solidFill>
              <a:round/>
              <a:headEnd/>
              <a:tailEnd/>
            </a:ln>
            <a:extLst>
              <a:ext uri="{909E8E84-426E-40DD-AFC4-6F175D3DCCD1}">
                <a14:hiddenFill xmlns:a14="http://schemas.microsoft.com/office/drawing/2010/main">
                  <a:noFill/>
                </a14:hiddenFill>
              </a:ext>
            </a:extLst>
          </p:spPr>
        </p:cxnSp>
        <p:cxnSp>
          <p:nvCxnSpPr>
            <p:cNvPr id="22" name="AutoShape 32"/>
            <p:cNvCxnSpPr>
              <a:cxnSpLocks noChangeShapeType="1"/>
              <a:stCxn id="20" idx="4"/>
              <a:endCxn id="20" idx="6"/>
            </p:cNvCxnSpPr>
            <p:nvPr/>
          </p:nvCxnSpPr>
          <p:spPr bwMode="gray">
            <a:xfrm>
              <a:off x="8267440" y="436561"/>
              <a:ext cx="473335" cy="0"/>
            </a:xfrm>
            <a:prstGeom prst="straightConnector1">
              <a:avLst/>
            </a:prstGeom>
            <a:noFill/>
            <a:ln w="25400">
              <a:solidFill>
                <a:schemeClr val="accent6"/>
              </a:solidFill>
              <a:round/>
              <a:headEnd/>
              <a:tailEnd/>
            </a:ln>
            <a:extLst>
              <a:ext uri="{909E8E84-426E-40DD-AFC4-6F175D3DCCD1}">
                <a14:hiddenFill xmlns:a14="http://schemas.microsoft.com/office/drawing/2010/main">
                  <a:noFill/>
                </a14:hiddenFill>
              </a:ext>
            </a:extLst>
          </p:spPr>
        </p:cxnSp>
      </p:grpSp>
      <p:sp>
        <p:nvSpPr>
          <p:cNvPr id="23" name="SlideBottomBar" hidden="1"/>
          <p:cNvSpPr/>
          <p:nvPr/>
        </p:nvSpPr>
        <p:spPr>
          <a:xfrm>
            <a:off x="8437547" y="6182120"/>
            <a:ext cx="45719" cy="123825"/>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aseline="0" dirty="0">
              <a:solidFill>
                <a:schemeClr val="tx1"/>
              </a:solidFill>
              <a:latin typeface="+mn-lt"/>
              <a:ea typeface="+mn-ea"/>
            </a:endParaRPr>
          </a:p>
        </p:txBody>
      </p:sp>
      <p:sp>
        <p:nvSpPr>
          <p:cNvPr id="24" name="doc id" hidden="1"/>
          <p:cNvSpPr txBox="1">
            <a:spLocks noChangeArrowheads="1"/>
          </p:cNvSpPr>
          <p:nvPr/>
        </p:nvSpPr>
        <p:spPr bwMode="white">
          <a:xfrm>
            <a:off x="8104473" y="36513"/>
            <a:ext cx="634716" cy="115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hangingPunct="1">
              <a:defRPr/>
            </a:pPr>
            <a:endParaRPr lang="en-US" sz="800" baseline="0" dirty="0">
              <a:solidFill>
                <a:schemeClr val="accent1"/>
              </a:solidFill>
              <a:latin typeface="+mn-lt"/>
              <a:ea typeface="+mn-ea"/>
            </a:endParaRPr>
          </a:p>
        </p:txBody>
      </p:sp>
      <p:grpSp>
        <p:nvGrpSpPr>
          <p:cNvPr id="63" name="LegendLines" hidden="1"/>
          <p:cNvGrpSpPr/>
          <p:nvPr/>
        </p:nvGrpSpPr>
        <p:grpSpPr>
          <a:xfrm>
            <a:off x="7551589" y="267815"/>
            <a:ext cx="1158292" cy="761545"/>
            <a:chOff x="7607284" y="279400"/>
            <a:chExt cx="1158292" cy="761545"/>
          </a:xfrm>
        </p:grpSpPr>
        <p:sp>
          <p:nvSpPr>
            <p:cNvPr id="64" name="LineLegend1"/>
            <p:cNvSpPr>
              <a:spLocks noChangeShapeType="1"/>
            </p:cNvSpPr>
            <p:nvPr/>
          </p:nvSpPr>
          <p:spPr bwMode="gray">
            <a:xfrm>
              <a:off x="7607284" y="387122"/>
              <a:ext cx="457200"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65" name="LineLegend2"/>
            <p:cNvSpPr>
              <a:spLocks noChangeShapeType="1"/>
            </p:cNvSpPr>
            <p:nvPr/>
          </p:nvSpPr>
          <p:spPr bwMode="gray">
            <a:xfrm>
              <a:off x="7607284" y="653822"/>
              <a:ext cx="457200"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66" name="LineLegend3"/>
            <p:cNvSpPr>
              <a:spLocks noChangeShapeType="1"/>
            </p:cNvSpPr>
            <p:nvPr/>
          </p:nvSpPr>
          <p:spPr bwMode="gray">
            <a:xfrm>
              <a:off x="7607284" y="933223"/>
              <a:ext cx="457200"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67" name="Legend1"/>
            <p:cNvSpPr>
              <a:spLocks noChangeArrowheads="1"/>
            </p:cNvSpPr>
            <p:nvPr>
              <p:custDataLst>
                <p:tags r:id="rId33"/>
              </p:custDataLst>
            </p:nvPr>
          </p:nvSpPr>
          <p:spPr bwMode="gray">
            <a:xfrm>
              <a:off x="8169259" y="279400"/>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sp>
          <p:nvSpPr>
            <p:cNvPr id="68" name="Legend2"/>
            <p:cNvSpPr>
              <a:spLocks noChangeArrowheads="1"/>
            </p:cNvSpPr>
            <p:nvPr>
              <p:custDataLst>
                <p:tags r:id="rId34"/>
              </p:custDataLst>
            </p:nvPr>
          </p:nvSpPr>
          <p:spPr bwMode="gray">
            <a:xfrm>
              <a:off x="8169259" y="546100"/>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a:latin typeface="+mn-lt"/>
                  <a:ea typeface="+mn-ea"/>
                </a:rPr>
                <a:t>Legend</a:t>
              </a:r>
              <a:endParaRPr lang="en-US" sz="1400" baseline="0" dirty="0">
                <a:latin typeface="+mn-lt"/>
                <a:ea typeface="+mn-ea"/>
              </a:endParaRPr>
            </a:p>
          </p:txBody>
        </p:sp>
        <p:sp>
          <p:nvSpPr>
            <p:cNvPr id="69" name="Legend3"/>
            <p:cNvSpPr>
              <a:spLocks noChangeArrowheads="1"/>
            </p:cNvSpPr>
            <p:nvPr>
              <p:custDataLst>
                <p:tags r:id="rId35"/>
              </p:custDataLst>
            </p:nvPr>
          </p:nvSpPr>
          <p:spPr bwMode="gray">
            <a:xfrm>
              <a:off x="8169259" y="825501"/>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grpSp>
      <p:grpSp>
        <p:nvGrpSpPr>
          <p:cNvPr id="70" name="LegendBoxes" hidden="1"/>
          <p:cNvGrpSpPr/>
          <p:nvPr/>
        </p:nvGrpSpPr>
        <p:grpSpPr>
          <a:xfrm>
            <a:off x="7859564" y="267919"/>
            <a:ext cx="850317" cy="1028245"/>
            <a:chOff x="5894005" y="919828"/>
            <a:chExt cx="850317" cy="1028245"/>
          </a:xfrm>
        </p:grpSpPr>
        <p:sp>
          <p:nvSpPr>
            <p:cNvPr id="71" name="RectangleLegend1"/>
            <p:cNvSpPr>
              <a:spLocks noChangeArrowheads="1"/>
            </p:cNvSpPr>
            <p:nvPr/>
          </p:nvSpPr>
          <p:spPr bwMode="gray">
            <a:xfrm>
              <a:off x="5894005" y="947381"/>
              <a:ext cx="165100" cy="160338"/>
            </a:xfrm>
            <a:prstGeom prst="rect">
              <a:avLst/>
            </a:prstGeom>
            <a:solidFill>
              <a:schemeClr val="accent1"/>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72" name="RectangleLegend2"/>
            <p:cNvSpPr>
              <a:spLocks noChangeArrowheads="1"/>
            </p:cNvSpPr>
            <p:nvPr/>
          </p:nvSpPr>
          <p:spPr bwMode="gray">
            <a:xfrm>
              <a:off x="5894005" y="1217256"/>
              <a:ext cx="165100" cy="160338"/>
            </a:xfrm>
            <a:prstGeom prst="rect">
              <a:avLst/>
            </a:prstGeom>
            <a:solidFill>
              <a:schemeClr val="accent2"/>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73" name="RectangleLegend3"/>
            <p:cNvSpPr>
              <a:spLocks noChangeArrowheads="1"/>
            </p:cNvSpPr>
            <p:nvPr/>
          </p:nvSpPr>
          <p:spPr bwMode="gray">
            <a:xfrm>
              <a:off x="5894005" y="1488719"/>
              <a:ext cx="165100" cy="160338"/>
            </a:xfrm>
            <a:prstGeom prst="rect">
              <a:avLst/>
            </a:prstGeom>
            <a:solidFill>
              <a:schemeClr val="accent3"/>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74" name="RectangleLegend4"/>
            <p:cNvSpPr>
              <a:spLocks noChangeArrowheads="1"/>
            </p:cNvSpPr>
            <p:nvPr/>
          </p:nvSpPr>
          <p:spPr bwMode="gray">
            <a:xfrm>
              <a:off x="5894005" y="1760182"/>
              <a:ext cx="165100" cy="160338"/>
            </a:xfrm>
            <a:prstGeom prst="rect">
              <a:avLst/>
            </a:prstGeom>
            <a:solidFill>
              <a:schemeClr val="accent4"/>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75" name="Legend1"/>
            <p:cNvSpPr>
              <a:spLocks noChangeArrowheads="1"/>
            </p:cNvSpPr>
            <p:nvPr>
              <p:custDataLst>
                <p:tags r:id="rId29"/>
              </p:custDataLst>
            </p:nvPr>
          </p:nvSpPr>
          <p:spPr bwMode="gray">
            <a:xfrm>
              <a:off x="6148005" y="919828"/>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sp>
          <p:nvSpPr>
            <p:cNvPr id="76" name="Legend2"/>
            <p:cNvSpPr>
              <a:spLocks noChangeArrowheads="1"/>
            </p:cNvSpPr>
            <p:nvPr>
              <p:custDataLst>
                <p:tags r:id="rId30"/>
              </p:custDataLst>
            </p:nvPr>
          </p:nvSpPr>
          <p:spPr bwMode="gray">
            <a:xfrm>
              <a:off x="6148005" y="1189703"/>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sp>
          <p:nvSpPr>
            <p:cNvPr id="77" name="Legend3"/>
            <p:cNvSpPr>
              <a:spLocks noChangeArrowheads="1"/>
            </p:cNvSpPr>
            <p:nvPr>
              <p:custDataLst>
                <p:tags r:id="rId31"/>
              </p:custDataLst>
            </p:nvPr>
          </p:nvSpPr>
          <p:spPr bwMode="gray">
            <a:xfrm>
              <a:off x="6148005" y="1461166"/>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sp>
          <p:nvSpPr>
            <p:cNvPr id="78" name="Legend4"/>
            <p:cNvSpPr>
              <a:spLocks noChangeArrowheads="1"/>
            </p:cNvSpPr>
            <p:nvPr>
              <p:custDataLst>
                <p:tags r:id="rId32"/>
              </p:custDataLst>
            </p:nvPr>
          </p:nvSpPr>
          <p:spPr bwMode="gray">
            <a:xfrm>
              <a:off x="6148005" y="1732629"/>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grpSp>
      <p:grpSp>
        <p:nvGrpSpPr>
          <p:cNvPr id="79" name="LegendMoons" hidden="1"/>
          <p:cNvGrpSpPr/>
          <p:nvPr/>
        </p:nvGrpSpPr>
        <p:grpSpPr>
          <a:xfrm>
            <a:off x="7792889" y="267414"/>
            <a:ext cx="916992" cy="1317003"/>
            <a:chOff x="5894005" y="2695123"/>
            <a:chExt cx="916992" cy="1317003"/>
          </a:xfrm>
        </p:grpSpPr>
        <p:grpSp>
          <p:nvGrpSpPr>
            <p:cNvPr id="80" name="MoonLegend1"/>
            <p:cNvGrpSpPr>
              <a:grpSpLocks noChangeAspect="1"/>
            </p:cNvGrpSpPr>
            <p:nvPr>
              <p:custDataLst>
                <p:tags r:id="rId9"/>
              </p:custDataLst>
            </p:nvPr>
          </p:nvGrpSpPr>
          <p:grpSpPr bwMode="gray">
            <a:xfrm>
              <a:off x="5894005" y="2695123"/>
              <a:ext cx="209550" cy="218282"/>
              <a:chOff x="4533" y="183"/>
              <a:chExt cx="144" cy="150"/>
            </a:xfrm>
          </p:grpSpPr>
          <p:sp>
            <p:nvSpPr>
              <p:cNvPr id="98" name="Oval 97"/>
              <p:cNvSpPr>
                <a:spLocks noChangeAspect="1" noChangeArrowheads="1"/>
              </p:cNvSpPr>
              <p:nvPr>
                <p:custDataLst>
                  <p:tags r:id="rId27"/>
                </p:custDataLst>
              </p:nvPr>
            </p:nvSpPr>
            <p:spPr bwMode="gray">
              <a:xfrm>
                <a:off x="4533" y="189"/>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99" name="Arc 98" hidden="1"/>
              <p:cNvSpPr>
                <a:spLocks noChangeAspect="1"/>
              </p:cNvSpPr>
              <p:nvPr>
                <p:custDataLst>
                  <p:tags r:id="rId28"/>
                </p:custDataLst>
              </p:nvPr>
            </p:nvSpPr>
            <p:spPr bwMode="gray">
              <a:xfrm>
                <a:off x="4533" y="183"/>
                <a:ext cx="144" cy="144"/>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grpSp>
        <p:grpSp>
          <p:nvGrpSpPr>
            <p:cNvPr id="81" name="MoonLegend2"/>
            <p:cNvGrpSpPr>
              <a:grpSpLocks noChangeAspect="1"/>
            </p:cNvGrpSpPr>
            <p:nvPr>
              <p:custDataLst>
                <p:tags r:id="rId10"/>
              </p:custDataLst>
            </p:nvPr>
          </p:nvGrpSpPr>
          <p:grpSpPr bwMode="gray">
            <a:xfrm>
              <a:off x="5894005" y="2977103"/>
              <a:ext cx="209550" cy="209551"/>
              <a:chOff x="1694" y="2051"/>
              <a:chExt cx="160" cy="160"/>
            </a:xfrm>
          </p:grpSpPr>
          <p:sp>
            <p:nvSpPr>
              <p:cNvPr id="96" name="Oval 41"/>
              <p:cNvSpPr>
                <a:spLocks noChangeAspect="1" noChangeArrowheads="1"/>
              </p:cNvSpPr>
              <p:nvPr>
                <p:custDataLst>
                  <p:tags r:id="rId25"/>
                </p:custDataLst>
              </p:nvPr>
            </p:nvSpPr>
            <p:spPr bwMode="gray">
              <a:xfrm>
                <a:off x="1694" y="2051"/>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97" name="Arc 42"/>
              <p:cNvSpPr>
                <a:spLocks noChangeAspect="1"/>
              </p:cNvSpPr>
              <p:nvPr>
                <p:custDataLst>
                  <p:tags r:id="rId26"/>
                </p:custDataLst>
              </p:nvPr>
            </p:nvSpPr>
            <p:spPr bwMode="gray">
              <a:xfrm>
                <a:off x="1694" y="2051"/>
                <a:ext cx="160" cy="160"/>
              </a:xfrm>
              <a:prstGeom prst="arc">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grpSp>
        <p:grpSp>
          <p:nvGrpSpPr>
            <p:cNvPr id="82" name="MoonLegend4"/>
            <p:cNvGrpSpPr>
              <a:grpSpLocks noChangeAspect="1"/>
            </p:cNvGrpSpPr>
            <p:nvPr>
              <p:custDataLst>
                <p:tags r:id="rId11"/>
              </p:custDataLst>
            </p:nvPr>
          </p:nvGrpSpPr>
          <p:grpSpPr bwMode="gray">
            <a:xfrm>
              <a:off x="5894005" y="3524395"/>
              <a:ext cx="209550" cy="209551"/>
              <a:chOff x="4495" y="1204"/>
              <a:chExt cx="160" cy="160"/>
            </a:xfrm>
          </p:grpSpPr>
          <p:sp>
            <p:nvSpPr>
              <p:cNvPr id="94" name="Oval 47"/>
              <p:cNvSpPr>
                <a:spLocks noChangeAspect="1" noChangeArrowheads="1"/>
              </p:cNvSpPr>
              <p:nvPr>
                <p:custDataLst>
                  <p:tags r:id="rId23"/>
                </p:custDataLst>
              </p:nvPr>
            </p:nvSpPr>
            <p:spPr bwMode="gray">
              <a:xfrm>
                <a:off x="4495" y="120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95" name="Arc 48"/>
              <p:cNvSpPr>
                <a:spLocks noChangeAspect="1"/>
              </p:cNvSpPr>
              <p:nvPr>
                <p:custDataLst>
                  <p:tags r:id="rId24"/>
                </p:custDataLst>
              </p:nvPr>
            </p:nvSpPr>
            <p:spPr bwMode="gray">
              <a:xfrm>
                <a:off x="4495" y="1204"/>
                <a:ext cx="160" cy="160"/>
              </a:xfrm>
              <a:prstGeom prst="arc">
                <a:avLst>
                  <a:gd name="adj1" fmla="val 16200000"/>
                  <a:gd name="adj2" fmla="val 108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grpSp>
        <p:grpSp>
          <p:nvGrpSpPr>
            <p:cNvPr id="83" name="MoonLegend5"/>
            <p:cNvGrpSpPr>
              <a:grpSpLocks noChangeAspect="1"/>
            </p:cNvGrpSpPr>
            <p:nvPr>
              <p:custDataLst>
                <p:tags r:id="rId12"/>
              </p:custDataLst>
            </p:nvPr>
          </p:nvGrpSpPr>
          <p:grpSpPr bwMode="gray">
            <a:xfrm>
              <a:off x="5894005" y="3799629"/>
              <a:ext cx="209550" cy="209551"/>
              <a:chOff x="4495" y="1447"/>
              <a:chExt cx="160" cy="160"/>
            </a:xfrm>
          </p:grpSpPr>
          <p:sp>
            <p:nvSpPr>
              <p:cNvPr id="92" name="Oval 50"/>
              <p:cNvSpPr>
                <a:spLocks noChangeAspect="1" noChangeArrowheads="1"/>
              </p:cNvSpPr>
              <p:nvPr>
                <p:custDataLst>
                  <p:tags r:id="rId21"/>
                </p:custDataLst>
              </p:nvPr>
            </p:nvSpPr>
            <p:spPr bwMode="gray">
              <a:xfrm>
                <a:off x="4495" y="1447"/>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93" name="Oval 51"/>
              <p:cNvSpPr>
                <a:spLocks noChangeAspect="1" noChangeArrowheads="1"/>
              </p:cNvSpPr>
              <p:nvPr>
                <p:custDataLst>
                  <p:tags r:id="rId22"/>
                </p:custDataLst>
              </p:nvPr>
            </p:nvSpPr>
            <p:spPr bwMode="gray">
              <a:xfrm>
                <a:off x="4495" y="1447"/>
                <a:ext cx="160" cy="160"/>
              </a:xfrm>
              <a:prstGeom prst="arc">
                <a:avLst>
                  <a:gd name="adj1" fmla="val 16200000"/>
                  <a:gd name="adj2" fmla="val 162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grpSp>
        <p:grpSp>
          <p:nvGrpSpPr>
            <p:cNvPr id="84" name="MoonLegend3"/>
            <p:cNvGrpSpPr>
              <a:grpSpLocks noChangeAspect="1"/>
            </p:cNvGrpSpPr>
            <p:nvPr>
              <p:custDataLst>
                <p:tags r:id="rId13"/>
              </p:custDataLst>
            </p:nvPr>
          </p:nvGrpSpPr>
          <p:grpSpPr bwMode="gray">
            <a:xfrm>
              <a:off x="5894005" y="3251543"/>
              <a:ext cx="209550" cy="209551"/>
              <a:chOff x="4495" y="1205"/>
              <a:chExt cx="160" cy="160"/>
            </a:xfrm>
          </p:grpSpPr>
          <p:sp>
            <p:nvSpPr>
              <p:cNvPr id="90" name="Oval 47"/>
              <p:cNvSpPr>
                <a:spLocks noChangeAspect="1" noChangeArrowheads="1"/>
              </p:cNvSpPr>
              <p:nvPr>
                <p:custDataLst>
                  <p:tags r:id="rId19"/>
                </p:custDataLst>
              </p:nvPr>
            </p:nvSpPr>
            <p:spPr bwMode="gray">
              <a:xfrm>
                <a:off x="4495" y="1205"/>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91" name="Arc 48"/>
              <p:cNvSpPr>
                <a:spLocks noChangeAspect="1"/>
              </p:cNvSpPr>
              <p:nvPr>
                <p:custDataLst>
                  <p:tags r:id="rId20"/>
                </p:custDataLst>
              </p:nvPr>
            </p:nvSpPr>
            <p:spPr bwMode="gray">
              <a:xfrm>
                <a:off x="4495" y="1205"/>
                <a:ext cx="160" cy="160"/>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grpSp>
        <p:sp>
          <p:nvSpPr>
            <p:cNvPr id="85" name="Legend1"/>
            <p:cNvSpPr>
              <a:spLocks noChangeArrowheads="1"/>
            </p:cNvSpPr>
            <p:nvPr>
              <p:custDataLst>
                <p:tags r:id="rId14"/>
              </p:custDataLst>
            </p:nvPr>
          </p:nvSpPr>
          <p:spPr bwMode="gray">
            <a:xfrm>
              <a:off x="6214680" y="2696542"/>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sp>
          <p:nvSpPr>
            <p:cNvPr id="86" name="Legend2"/>
            <p:cNvSpPr>
              <a:spLocks noChangeArrowheads="1"/>
            </p:cNvSpPr>
            <p:nvPr>
              <p:custDataLst>
                <p:tags r:id="rId15"/>
              </p:custDataLst>
            </p:nvPr>
          </p:nvSpPr>
          <p:spPr bwMode="gray">
            <a:xfrm>
              <a:off x="6214680" y="2974156"/>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a:latin typeface="+mn-lt"/>
                  <a:ea typeface="+mn-ea"/>
                </a:rPr>
                <a:t>Legend</a:t>
              </a:r>
              <a:endParaRPr lang="en-US" sz="1400" baseline="0" dirty="0">
                <a:latin typeface="+mn-lt"/>
                <a:ea typeface="+mn-ea"/>
              </a:endParaRPr>
            </a:p>
          </p:txBody>
        </p:sp>
        <p:sp>
          <p:nvSpPr>
            <p:cNvPr id="87" name="Legend3"/>
            <p:cNvSpPr>
              <a:spLocks noChangeArrowheads="1"/>
            </p:cNvSpPr>
            <p:nvPr>
              <p:custDataLst>
                <p:tags r:id="rId16"/>
              </p:custDataLst>
            </p:nvPr>
          </p:nvSpPr>
          <p:spPr bwMode="gray">
            <a:xfrm>
              <a:off x="6214680" y="3248596"/>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sp>
          <p:nvSpPr>
            <p:cNvPr id="88" name="Legend4"/>
            <p:cNvSpPr>
              <a:spLocks noChangeArrowheads="1"/>
            </p:cNvSpPr>
            <p:nvPr>
              <p:custDataLst>
                <p:tags r:id="rId17"/>
              </p:custDataLst>
            </p:nvPr>
          </p:nvSpPr>
          <p:spPr bwMode="gray">
            <a:xfrm>
              <a:off x="6214680" y="3521448"/>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sp>
          <p:nvSpPr>
            <p:cNvPr id="89" name="Legend5"/>
            <p:cNvSpPr>
              <a:spLocks noChangeArrowheads="1"/>
            </p:cNvSpPr>
            <p:nvPr>
              <p:custDataLst>
                <p:tags r:id="rId18"/>
              </p:custDataLst>
            </p:nvPr>
          </p:nvSpPr>
          <p:spPr bwMode="gray">
            <a:xfrm>
              <a:off x="6214680" y="3796682"/>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a:latin typeface="+mn-lt"/>
                  <a:ea typeface="+mn-ea"/>
                </a:rPr>
                <a:t>Legend</a:t>
              </a:r>
              <a:endParaRPr lang="en-US" sz="1400" baseline="0" dirty="0">
                <a:latin typeface="+mn-lt"/>
                <a:ea typeface="+mn-ea"/>
              </a:endParaRPr>
            </a:p>
          </p:txBody>
        </p:sp>
      </p:grpSp>
    </p:spTree>
    <p:extLst>
      <p:ext uri="{BB962C8B-B14F-4D97-AF65-F5344CB8AC3E}">
        <p14:creationId xmlns:p14="http://schemas.microsoft.com/office/powerpoint/2010/main" val="4085993760"/>
      </p:ext>
    </p:extLst>
  </p:cSld>
  <p:clrMap bg1="lt1" tx1="dk1" bg2="lt2" tx2="dk2" accent1="accent1" accent2="accent2" accent3="accent3" accent4="accent4" accent5="accent5" accent6="accent6" hlink="hlink" folHlink="folHlink"/>
  <p:sldLayoutIdLst>
    <p:sldLayoutId id="2147483821" r:id="rId1"/>
    <p:sldLayoutId id="2147483822" r:id="rId2"/>
    <p:sldLayoutId id="2147483823" r:id="rId3"/>
    <p:sldLayoutId id="2147483824" r:id="rId4"/>
  </p:sldLayoutIdLst>
  <p:txStyles>
    <p:titleStyle>
      <a:lvl1pPr algn="l" defTabSz="895350" rtl="0" eaLnBrk="1" fontAlgn="base" hangingPunct="1">
        <a:spcBef>
          <a:spcPct val="0"/>
        </a:spcBef>
        <a:spcAft>
          <a:spcPct val="0"/>
        </a:spcAft>
        <a:tabLst>
          <a:tab pos="269875" algn="l"/>
        </a:tabLst>
        <a:defRPr sz="2000" b="0" baseline="0">
          <a:solidFill>
            <a:schemeClr val="tx2"/>
          </a:solidFill>
          <a:latin typeface="+mj-lt"/>
          <a:ea typeface="+mj-ea"/>
          <a:cs typeface="+mj-cs"/>
        </a:defRPr>
      </a:lvl1pPr>
      <a:lvl2pPr algn="l" defTabSz="895350" rtl="0" eaLnBrk="1" fontAlgn="base" hangingPunct="1">
        <a:spcBef>
          <a:spcPct val="0"/>
        </a:spcBef>
        <a:spcAft>
          <a:spcPct val="0"/>
        </a:spcAft>
        <a:defRPr sz="1900" b="1">
          <a:solidFill>
            <a:schemeClr val="tx2"/>
          </a:solidFill>
          <a:latin typeface="Arial" charset="0"/>
        </a:defRPr>
      </a:lvl2pPr>
      <a:lvl3pPr algn="l" defTabSz="895350" rtl="0" eaLnBrk="1" fontAlgn="base" hangingPunct="1">
        <a:spcBef>
          <a:spcPct val="0"/>
        </a:spcBef>
        <a:spcAft>
          <a:spcPct val="0"/>
        </a:spcAft>
        <a:defRPr sz="1900" b="1">
          <a:solidFill>
            <a:schemeClr val="tx2"/>
          </a:solidFill>
          <a:latin typeface="Arial" charset="0"/>
        </a:defRPr>
      </a:lvl3pPr>
      <a:lvl4pPr algn="l" defTabSz="895350" rtl="0" eaLnBrk="1" fontAlgn="base" hangingPunct="1">
        <a:spcBef>
          <a:spcPct val="0"/>
        </a:spcBef>
        <a:spcAft>
          <a:spcPct val="0"/>
        </a:spcAft>
        <a:defRPr sz="1900" b="1">
          <a:solidFill>
            <a:schemeClr val="tx2"/>
          </a:solidFill>
          <a:latin typeface="Arial" charset="0"/>
        </a:defRPr>
      </a:lvl4pPr>
      <a:lvl5pPr algn="l" defTabSz="895350" rtl="0" eaLnBrk="1" fontAlgn="base" hangingPunct="1">
        <a:spcBef>
          <a:spcPct val="0"/>
        </a:spcBef>
        <a:spcAft>
          <a:spcPct val="0"/>
        </a:spcAft>
        <a:defRPr sz="1900" b="1">
          <a:solidFill>
            <a:schemeClr val="tx2"/>
          </a:solidFill>
          <a:latin typeface="Arial" charset="0"/>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p:titleStyle>
    <p:bodyStyle>
      <a:lvl1pPr marL="0" indent="0" algn="l" defTabSz="895350" rtl="0" eaLnBrk="1" fontAlgn="base" hangingPunct="1">
        <a:spcBef>
          <a:spcPct val="0"/>
        </a:spcBef>
        <a:spcAft>
          <a:spcPct val="0"/>
        </a:spcAft>
        <a:buClr>
          <a:schemeClr val="tx2"/>
        </a:buClr>
        <a:buSzPct val="100000"/>
        <a:defRPr sz="14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4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4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4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4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ext>
  </p:extLst>
</p:sldMaster>
</file>

<file path=ppt/slideMasters/slideMaster3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7"/>
            </p:custDataLst>
            <p:extLst>
              <p:ext uri="{D42A27DB-BD31-4B8C-83A1-F6EECF244321}">
                <p14:modId xmlns:p14="http://schemas.microsoft.com/office/powerpoint/2010/main" val="1369821301"/>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9764" name="think-cell Slide" r:id="rId36" imgW="270" imgH="270" progId="TCLayout.ActiveDocument.1">
                  <p:embed/>
                </p:oleObj>
              </mc:Choice>
              <mc:Fallback>
                <p:oleObj name="think-cell Slide" r:id="rId36" imgW="270" imgH="270" progId="TCLayout.ActiveDocument.1">
                  <p:embed/>
                  <p:pic>
                    <p:nvPicPr>
                      <p:cNvPr id="2" name="Object 1" hidden="1"/>
                      <p:cNvPicPr/>
                      <p:nvPr/>
                    </p:nvPicPr>
                    <p:blipFill>
                      <a:blip r:embed="rId37"/>
                      <a:stretch>
                        <a:fillRect/>
                      </a:stretch>
                    </p:blipFill>
                    <p:spPr>
                      <a:xfrm>
                        <a:off x="0" y="0"/>
                        <a:ext cx="158750" cy="158750"/>
                      </a:xfrm>
                      <a:prstGeom prst="rect">
                        <a:avLst/>
                      </a:prstGeom>
                    </p:spPr>
                  </p:pic>
                </p:oleObj>
              </mc:Fallback>
            </mc:AlternateContent>
          </a:graphicData>
        </a:graphic>
      </p:graphicFrame>
      <p:sp>
        <p:nvSpPr>
          <p:cNvPr id="6" name="Rectangle 5" hidden="1"/>
          <p:cNvSpPr/>
          <p:nvPr>
            <p:custDataLst>
              <p:tags r:id="rId8"/>
            </p:custDataLst>
          </p:nvPr>
        </p:nvSpPr>
        <p:spPr bwMode="auto">
          <a:xfrm>
            <a:off x="0" y="0"/>
            <a:ext cx="158750" cy="158750"/>
          </a:xfrm>
          <a:prstGeom prst="rect">
            <a:avLst/>
          </a:prstGeom>
          <a:solidFill>
            <a:schemeClr val="bg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dirty="0">
              <a:solidFill>
                <a:srgbClr val="000000"/>
              </a:solidFill>
              <a:sym typeface="Arial" panose="020B0604020202020204" pitchFamily="34" charset="0"/>
            </a:endParaRPr>
          </a:p>
        </p:txBody>
      </p:sp>
      <p:sp>
        <p:nvSpPr>
          <p:cNvPr id="1034" name="Working Draft" hidden="1"/>
          <p:cNvSpPr txBox="1">
            <a:spLocks noChangeArrowheads="1"/>
          </p:cNvSpPr>
          <p:nvPr/>
        </p:nvSpPr>
        <p:spPr bwMode="gray">
          <a:xfrm rot="5400000">
            <a:off x="7966656" y="1940591"/>
            <a:ext cx="1849865"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600" baseline="0">
                <a:solidFill>
                  <a:srgbClr val="808080"/>
                </a:solidFill>
                <a:latin typeface="+mn-lt"/>
                <a:ea typeface="+mn-ea"/>
              </a:rPr>
              <a:t>Last Modified 21/05/2018 17:44 India Standard Time</a:t>
            </a:r>
            <a:endParaRPr lang="en-US" baseline="0" dirty="0">
              <a:solidFill>
                <a:srgbClr val="808080"/>
              </a:solidFill>
              <a:latin typeface="+mn-lt"/>
              <a:ea typeface="+mn-ea"/>
            </a:endParaRPr>
          </a:p>
        </p:txBody>
      </p:sp>
      <p:sp>
        <p:nvSpPr>
          <p:cNvPr id="1035" name="Printed" hidden="1"/>
          <p:cNvSpPr txBox="1">
            <a:spLocks noChangeArrowheads="1"/>
          </p:cNvSpPr>
          <p:nvPr/>
        </p:nvSpPr>
        <p:spPr bwMode="gray">
          <a:xfrm rot="5400000">
            <a:off x="8768958" y="4114417"/>
            <a:ext cx="245260"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600" baseline="0" dirty="0">
                <a:solidFill>
                  <a:srgbClr val="808080"/>
                </a:solidFill>
                <a:latin typeface="+mn-lt"/>
                <a:ea typeface="+mn-ea"/>
              </a:rPr>
              <a:t>Printed</a:t>
            </a:r>
            <a:endParaRPr lang="en-US" baseline="0" dirty="0">
              <a:solidFill>
                <a:srgbClr val="808080"/>
              </a:solidFill>
              <a:latin typeface="+mn-lt"/>
              <a:ea typeface="+mn-ea"/>
            </a:endParaRPr>
          </a:p>
        </p:txBody>
      </p:sp>
      <p:sp>
        <p:nvSpPr>
          <p:cNvPr id="19" name="Title Placeholder 2"/>
          <p:cNvSpPr>
            <a:spLocks noGrp="1" noChangeArrowheads="1"/>
          </p:cNvSpPr>
          <p:nvPr>
            <p:ph type="title"/>
          </p:nvPr>
        </p:nvSpPr>
        <p:spPr bwMode="gray">
          <a:xfrm>
            <a:off x="119063" y="230188"/>
            <a:ext cx="8618537"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latinLnBrk="0"/>
            <a:r>
              <a:rPr lang="en-US"/>
              <a:t>Click to edit Master title style</a:t>
            </a:r>
            <a:endParaRPr lang="en-US" noProof="0" dirty="0"/>
          </a:p>
        </p:txBody>
      </p:sp>
      <p:sp>
        <p:nvSpPr>
          <p:cNvPr id="10" name="1. On-page tracker" hidden="1"/>
          <p:cNvSpPr>
            <a:spLocks noChangeArrowheads="1"/>
          </p:cNvSpPr>
          <p:nvPr/>
        </p:nvSpPr>
        <p:spPr bwMode="gray">
          <a:xfrm>
            <a:off x="119063" y="75764"/>
            <a:ext cx="490519"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800" cap="all" baseline="0" dirty="0">
                <a:solidFill>
                  <a:schemeClr val="accent6"/>
                </a:solidFill>
                <a:latin typeface="+mn-lt"/>
                <a:ea typeface="+mn-ea"/>
              </a:rPr>
              <a:t>Tracker</a:t>
            </a:r>
          </a:p>
        </p:txBody>
      </p:sp>
      <p:sp>
        <p:nvSpPr>
          <p:cNvPr id="11" name="3. Unit of measure" hidden="1"/>
          <p:cNvSpPr txBox="1">
            <a:spLocks noChangeArrowheads="1"/>
          </p:cNvSpPr>
          <p:nvPr/>
        </p:nvSpPr>
        <p:spPr bwMode="gray">
          <a:xfrm>
            <a:off x="119063" y="554865"/>
            <a:ext cx="8618537"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600" baseline="0" dirty="0">
                <a:solidFill>
                  <a:schemeClr val="accent6"/>
                </a:solidFill>
                <a:latin typeface="+mn-lt"/>
                <a:ea typeface="+mn-ea"/>
              </a:rPr>
              <a:t>Unit of measure</a:t>
            </a:r>
          </a:p>
        </p:txBody>
      </p:sp>
      <p:grpSp>
        <p:nvGrpSpPr>
          <p:cNvPr id="4" name="Slide Elements" hidden="1"/>
          <p:cNvGrpSpPr/>
          <p:nvPr/>
        </p:nvGrpSpPr>
        <p:grpSpPr bwMode="gray">
          <a:xfrm>
            <a:off x="119063" y="6305945"/>
            <a:ext cx="8618537" cy="325438"/>
            <a:chOff x="119063" y="6305945"/>
            <a:chExt cx="8618537" cy="325438"/>
          </a:xfrm>
        </p:grpSpPr>
        <p:sp>
          <p:nvSpPr>
            <p:cNvPr id="13" name="4. Footnote"/>
            <p:cNvSpPr txBox="1">
              <a:spLocks noChangeArrowheads="1"/>
            </p:cNvSpPr>
            <p:nvPr/>
          </p:nvSpPr>
          <p:spPr bwMode="gray">
            <a:xfrm>
              <a:off x="119063" y="6305945"/>
              <a:ext cx="8618537" cy="123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800" baseline="0" dirty="0">
                  <a:solidFill>
                    <a:schemeClr val="accent6"/>
                  </a:solidFill>
                  <a:latin typeface="+mn-lt"/>
                  <a:ea typeface="+mn-ea"/>
                </a:rPr>
                <a:t>1 Footnote</a:t>
              </a:r>
            </a:p>
          </p:txBody>
        </p:sp>
        <p:sp>
          <p:nvSpPr>
            <p:cNvPr id="14" name="5. Source"/>
            <p:cNvSpPr>
              <a:spLocks noChangeArrowheads="1"/>
            </p:cNvSpPr>
            <p:nvPr/>
          </p:nvSpPr>
          <p:spPr bwMode="gray">
            <a:xfrm>
              <a:off x="119063" y="6507558"/>
              <a:ext cx="7200000" cy="123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marL="609600" indent="-609600" defTabSz="895350">
                <a:tabLst>
                  <a:tab pos="612775" algn="l"/>
                </a:tabLst>
              </a:pPr>
              <a:r>
                <a:rPr lang="en-US" sz="800" baseline="0" dirty="0">
                  <a:solidFill>
                    <a:schemeClr val="accent6"/>
                  </a:solidFill>
                  <a:latin typeface="+mn-lt"/>
                  <a:ea typeface="+mn-ea"/>
                </a:rPr>
                <a:t>SOURCE: Source</a:t>
              </a:r>
            </a:p>
          </p:txBody>
        </p:sp>
      </p:grpSp>
      <p:sp>
        <p:nvSpPr>
          <p:cNvPr id="3" name="Text Placeholder 2"/>
          <p:cNvSpPr>
            <a:spLocks noGrp="1"/>
          </p:cNvSpPr>
          <p:nvPr>
            <p:ph type="body" idx="1"/>
          </p:nvPr>
        </p:nvSpPr>
        <p:spPr bwMode="gray">
          <a:xfrm>
            <a:off x="1452564" y="1951380"/>
            <a:ext cx="4302125" cy="1077218"/>
          </a:xfrm>
          <a:prstGeom prst="rect">
            <a:avLst/>
          </a:prstGeom>
        </p:spPr>
        <p:txBody>
          <a:bodyPr vert="horz" lIns="0" tIns="0" rIns="0" bIns="0" rtlCol="0">
            <a:spAutoFit/>
          </a:bodyPr>
          <a:lstStyle/>
          <a:p>
            <a:pPr lvl="0" latinLnBrk="0"/>
            <a:r>
              <a:rPr lang="en-US"/>
              <a:t>Edit Master text styles</a:t>
            </a:r>
          </a:p>
          <a:p>
            <a:pPr lvl="1" latinLnBrk="0"/>
            <a:r>
              <a:rPr lang="en-US"/>
              <a:t>Second level</a:t>
            </a:r>
          </a:p>
          <a:p>
            <a:pPr lvl="2" latinLnBrk="0"/>
            <a:r>
              <a:rPr lang="en-US"/>
              <a:t>Third level</a:t>
            </a:r>
          </a:p>
          <a:p>
            <a:pPr lvl="3" latinLnBrk="0"/>
            <a:r>
              <a:rPr lang="en-US"/>
              <a:t>Fourth level</a:t>
            </a:r>
          </a:p>
          <a:p>
            <a:pPr lvl="4" latinLnBrk="0"/>
            <a:r>
              <a:rPr lang="en-US"/>
              <a:t>Fifth level</a:t>
            </a:r>
            <a:endParaRPr lang="en-US" dirty="0"/>
          </a:p>
        </p:txBody>
      </p:sp>
      <p:grpSp>
        <p:nvGrpSpPr>
          <p:cNvPr id="15" name="ACET" hidden="1"/>
          <p:cNvGrpSpPr>
            <a:grpSpLocks/>
          </p:cNvGrpSpPr>
          <p:nvPr/>
        </p:nvGrpSpPr>
        <p:grpSpPr bwMode="gray">
          <a:xfrm>
            <a:off x="1452563" y="1257754"/>
            <a:ext cx="4264025" cy="508000"/>
            <a:chOff x="915" y="710"/>
            <a:chExt cx="2686" cy="320"/>
          </a:xfrm>
        </p:grpSpPr>
        <p:cxnSp>
          <p:nvCxnSpPr>
            <p:cNvPr id="16" name="AutoShape 249"/>
            <p:cNvCxnSpPr>
              <a:cxnSpLocks noChangeShapeType="1"/>
              <a:stCxn id="18" idx="4"/>
              <a:endCxn id="18" idx="6"/>
            </p:cNvCxnSpPr>
            <p:nvPr/>
          </p:nvCxnSpPr>
          <p:spPr bwMode="gray">
            <a:xfrm>
              <a:off x="915" y="1030"/>
              <a:ext cx="2686" cy="0"/>
            </a:xfrm>
            <a:prstGeom prst="straightConnector1">
              <a:avLst/>
            </a:prstGeom>
            <a:noFill/>
            <a:ln w="9525">
              <a:solidFill>
                <a:schemeClr val="accent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8" name="AutoShape 250"/>
            <p:cNvSpPr>
              <a:spLocks noChangeArrowheads="1"/>
            </p:cNvSpPr>
            <p:nvPr/>
          </p:nvSpPr>
          <p:spPr bwMode="gray">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US" b="1" baseline="0" dirty="0">
                  <a:solidFill>
                    <a:srgbClr val="000000"/>
                  </a:solidFill>
                  <a:latin typeface="+mn-lt"/>
                  <a:ea typeface="+mn-ea"/>
                </a:rPr>
                <a:t>Title</a:t>
              </a:r>
            </a:p>
            <a:p>
              <a:r>
                <a:rPr lang="en-US" baseline="0" dirty="0">
                  <a:solidFill>
                    <a:schemeClr val="accent6"/>
                  </a:solidFill>
                  <a:latin typeface="+mn-lt"/>
                  <a:ea typeface="+mn-ea"/>
                </a:rPr>
                <a:t>Unit of measure</a:t>
              </a:r>
            </a:p>
          </p:txBody>
        </p:sp>
      </p:grpSp>
      <p:grpSp>
        <p:nvGrpSpPr>
          <p:cNvPr id="17" name="McKSticker" hidden="1"/>
          <p:cNvGrpSpPr/>
          <p:nvPr/>
        </p:nvGrpSpPr>
        <p:grpSpPr bwMode="gray">
          <a:xfrm>
            <a:off x="8264265" y="285750"/>
            <a:ext cx="473335" cy="150811"/>
            <a:chOff x="8267440" y="285750"/>
            <a:chExt cx="473335" cy="150811"/>
          </a:xfrm>
        </p:grpSpPr>
        <p:sp>
          <p:nvSpPr>
            <p:cNvPr id="20" name="StickerRectangle"/>
            <p:cNvSpPr>
              <a:spLocks noChangeArrowheads="1"/>
            </p:cNvSpPr>
            <p:nvPr/>
          </p:nvSpPr>
          <p:spPr bwMode="gray">
            <a:xfrm>
              <a:off x="8267440" y="285750"/>
              <a:ext cx="473335" cy="150811"/>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a:buClr>
                  <a:srgbClr val="002960"/>
                </a:buClr>
              </a:pPr>
              <a:r>
                <a:rPr lang="en-US" sz="800" baseline="0" dirty="0">
                  <a:solidFill>
                    <a:schemeClr val="accent6"/>
                  </a:solidFill>
                  <a:latin typeface="+mn-lt"/>
                  <a:ea typeface="+mn-ea"/>
                </a:rPr>
                <a:t>STICKER</a:t>
              </a:r>
            </a:p>
          </p:txBody>
        </p:sp>
        <p:cxnSp>
          <p:nvCxnSpPr>
            <p:cNvPr id="21" name="AutoShape 31"/>
            <p:cNvCxnSpPr>
              <a:cxnSpLocks noChangeShapeType="1"/>
              <a:stCxn id="20" idx="2"/>
              <a:endCxn id="20" idx="4"/>
            </p:cNvCxnSpPr>
            <p:nvPr/>
          </p:nvCxnSpPr>
          <p:spPr bwMode="gray">
            <a:xfrm>
              <a:off x="8267440" y="285750"/>
              <a:ext cx="0" cy="150811"/>
            </a:xfrm>
            <a:prstGeom prst="straightConnector1">
              <a:avLst/>
            </a:prstGeom>
            <a:noFill/>
            <a:ln w="9525">
              <a:solidFill>
                <a:schemeClr val="accent6"/>
              </a:solidFill>
              <a:round/>
              <a:headEnd/>
              <a:tailEnd/>
            </a:ln>
            <a:extLst>
              <a:ext uri="{909E8E84-426E-40DD-AFC4-6F175D3DCCD1}">
                <a14:hiddenFill xmlns:a14="http://schemas.microsoft.com/office/drawing/2010/main">
                  <a:noFill/>
                </a14:hiddenFill>
              </a:ext>
            </a:extLst>
          </p:spPr>
        </p:cxnSp>
        <p:cxnSp>
          <p:nvCxnSpPr>
            <p:cNvPr id="22" name="AutoShape 32"/>
            <p:cNvCxnSpPr>
              <a:cxnSpLocks noChangeShapeType="1"/>
              <a:stCxn id="20" idx="4"/>
              <a:endCxn id="20" idx="6"/>
            </p:cNvCxnSpPr>
            <p:nvPr/>
          </p:nvCxnSpPr>
          <p:spPr bwMode="gray">
            <a:xfrm>
              <a:off x="8267440" y="436561"/>
              <a:ext cx="473335" cy="0"/>
            </a:xfrm>
            <a:prstGeom prst="straightConnector1">
              <a:avLst/>
            </a:prstGeom>
            <a:noFill/>
            <a:ln w="25400">
              <a:solidFill>
                <a:schemeClr val="accent6"/>
              </a:solidFill>
              <a:round/>
              <a:headEnd/>
              <a:tailEnd/>
            </a:ln>
            <a:extLst>
              <a:ext uri="{909E8E84-426E-40DD-AFC4-6F175D3DCCD1}">
                <a14:hiddenFill xmlns:a14="http://schemas.microsoft.com/office/drawing/2010/main">
                  <a:noFill/>
                </a14:hiddenFill>
              </a:ext>
            </a:extLst>
          </p:spPr>
        </p:cxnSp>
      </p:grpSp>
      <p:sp>
        <p:nvSpPr>
          <p:cNvPr id="23" name="SlideBottomBar" hidden="1"/>
          <p:cNvSpPr/>
          <p:nvPr/>
        </p:nvSpPr>
        <p:spPr>
          <a:xfrm>
            <a:off x="8437547" y="6182120"/>
            <a:ext cx="45719" cy="123825"/>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aseline="0" dirty="0">
              <a:solidFill>
                <a:schemeClr val="tx1"/>
              </a:solidFill>
              <a:latin typeface="+mn-lt"/>
              <a:ea typeface="+mn-ea"/>
            </a:endParaRPr>
          </a:p>
        </p:txBody>
      </p:sp>
      <p:sp>
        <p:nvSpPr>
          <p:cNvPr id="24" name="doc id" hidden="1"/>
          <p:cNvSpPr txBox="1">
            <a:spLocks noChangeArrowheads="1"/>
          </p:cNvSpPr>
          <p:nvPr/>
        </p:nvSpPr>
        <p:spPr bwMode="white">
          <a:xfrm>
            <a:off x="8104473" y="36513"/>
            <a:ext cx="634716" cy="115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hangingPunct="1">
              <a:defRPr/>
            </a:pPr>
            <a:endParaRPr lang="en-US" sz="800" baseline="0" dirty="0">
              <a:solidFill>
                <a:schemeClr val="accent1"/>
              </a:solidFill>
              <a:latin typeface="+mn-lt"/>
              <a:ea typeface="+mn-ea"/>
            </a:endParaRPr>
          </a:p>
        </p:txBody>
      </p:sp>
      <p:grpSp>
        <p:nvGrpSpPr>
          <p:cNvPr id="63" name="LegendLines" hidden="1"/>
          <p:cNvGrpSpPr/>
          <p:nvPr/>
        </p:nvGrpSpPr>
        <p:grpSpPr>
          <a:xfrm>
            <a:off x="7551589" y="267815"/>
            <a:ext cx="1158292" cy="761545"/>
            <a:chOff x="7607284" y="279400"/>
            <a:chExt cx="1158292" cy="761545"/>
          </a:xfrm>
        </p:grpSpPr>
        <p:sp>
          <p:nvSpPr>
            <p:cNvPr id="64" name="LineLegend1"/>
            <p:cNvSpPr>
              <a:spLocks noChangeShapeType="1"/>
            </p:cNvSpPr>
            <p:nvPr/>
          </p:nvSpPr>
          <p:spPr bwMode="gray">
            <a:xfrm>
              <a:off x="7607284" y="387122"/>
              <a:ext cx="457200"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65" name="LineLegend2"/>
            <p:cNvSpPr>
              <a:spLocks noChangeShapeType="1"/>
            </p:cNvSpPr>
            <p:nvPr/>
          </p:nvSpPr>
          <p:spPr bwMode="gray">
            <a:xfrm>
              <a:off x="7607284" y="653822"/>
              <a:ext cx="457200"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66" name="LineLegend3"/>
            <p:cNvSpPr>
              <a:spLocks noChangeShapeType="1"/>
            </p:cNvSpPr>
            <p:nvPr/>
          </p:nvSpPr>
          <p:spPr bwMode="gray">
            <a:xfrm>
              <a:off x="7607284" y="933223"/>
              <a:ext cx="457200"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67" name="Legend1"/>
            <p:cNvSpPr>
              <a:spLocks noChangeArrowheads="1"/>
            </p:cNvSpPr>
            <p:nvPr>
              <p:custDataLst>
                <p:tags r:id="rId33"/>
              </p:custDataLst>
            </p:nvPr>
          </p:nvSpPr>
          <p:spPr bwMode="gray">
            <a:xfrm>
              <a:off x="8169259" y="279400"/>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sp>
          <p:nvSpPr>
            <p:cNvPr id="68" name="Legend2"/>
            <p:cNvSpPr>
              <a:spLocks noChangeArrowheads="1"/>
            </p:cNvSpPr>
            <p:nvPr>
              <p:custDataLst>
                <p:tags r:id="rId34"/>
              </p:custDataLst>
            </p:nvPr>
          </p:nvSpPr>
          <p:spPr bwMode="gray">
            <a:xfrm>
              <a:off x="8169259" y="546100"/>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a:latin typeface="+mn-lt"/>
                  <a:ea typeface="+mn-ea"/>
                </a:rPr>
                <a:t>Legend</a:t>
              </a:r>
              <a:endParaRPr lang="en-US" sz="1400" baseline="0" dirty="0">
                <a:latin typeface="+mn-lt"/>
                <a:ea typeface="+mn-ea"/>
              </a:endParaRPr>
            </a:p>
          </p:txBody>
        </p:sp>
        <p:sp>
          <p:nvSpPr>
            <p:cNvPr id="69" name="Legend3"/>
            <p:cNvSpPr>
              <a:spLocks noChangeArrowheads="1"/>
            </p:cNvSpPr>
            <p:nvPr>
              <p:custDataLst>
                <p:tags r:id="rId35"/>
              </p:custDataLst>
            </p:nvPr>
          </p:nvSpPr>
          <p:spPr bwMode="gray">
            <a:xfrm>
              <a:off x="8169259" y="825501"/>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grpSp>
      <p:grpSp>
        <p:nvGrpSpPr>
          <p:cNvPr id="70" name="LegendBoxes" hidden="1"/>
          <p:cNvGrpSpPr/>
          <p:nvPr/>
        </p:nvGrpSpPr>
        <p:grpSpPr>
          <a:xfrm>
            <a:off x="7859564" y="267919"/>
            <a:ext cx="850317" cy="1028245"/>
            <a:chOff x="5894005" y="919828"/>
            <a:chExt cx="850317" cy="1028245"/>
          </a:xfrm>
        </p:grpSpPr>
        <p:sp>
          <p:nvSpPr>
            <p:cNvPr id="71" name="RectangleLegend1"/>
            <p:cNvSpPr>
              <a:spLocks noChangeArrowheads="1"/>
            </p:cNvSpPr>
            <p:nvPr/>
          </p:nvSpPr>
          <p:spPr bwMode="gray">
            <a:xfrm>
              <a:off x="5894005" y="947381"/>
              <a:ext cx="165100" cy="160338"/>
            </a:xfrm>
            <a:prstGeom prst="rect">
              <a:avLst/>
            </a:prstGeom>
            <a:solidFill>
              <a:schemeClr val="accent1"/>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72" name="RectangleLegend2"/>
            <p:cNvSpPr>
              <a:spLocks noChangeArrowheads="1"/>
            </p:cNvSpPr>
            <p:nvPr/>
          </p:nvSpPr>
          <p:spPr bwMode="gray">
            <a:xfrm>
              <a:off x="5894005" y="1217256"/>
              <a:ext cx="165100" cy="160338"/>
            </a:xfrm>
            <a:prstGeom prst="rect">
              <a:avLst/>
            </a:prstGeom>
            <a:solidFill>
              <a:schemeClr val="accent2"/>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73" name="RectangleLegend3"/>
            <p:cNvSpPr>
              <a:spLocks noChangeArrowheads="1"/>
            </p:cNvSpPr>
            <p:nvPr/>
          </p:nvSpPr>
          <p:spPr bwMode="gray">
            <a:xfrm>
              <a:off x="5894005" y="1488719"/>
              <a:ext cx="165100" cy="160338"/>
            </a:xfrm>
            <a:prstGeom prst="rect">
              <a:avLst/>
            </a:prstGeom>
            <a:solidFill>
              <a:schemeClr val="accent3"/>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74" name="RectangleLegend4"/>
            <p:cNvSpPr>
              <a:spLocks noChangeArrowheads="1"/>
            </p:cNvSpPr>
            <p:nvPr/>
          </p:nvSpPr>
          <p:spPr bwMode="gray">
            <a:xfrm>
              <a:off x="5894005" y="1760182"/>
              <a:ext cx="165100" cy="160338"/>
            </a:xfrm>
            <a:prstGeom prst="rect">
              <a:avLst/>
            </a:prstGeom>
            <a:solidFill>
              <a:schemeClr val="accent4"/>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75" name="Legend1"/>
            <p:cNvSpPr>
              <a:spLocks noChangeArrowheads="1"/>
            </p:cNvSpPr>
            <p:nvPr>
              <p:custDataLst>
                <p:tags r:id="rId29"/>
              </p:custDataLst>
            </p:nvPr>
          </p:nvSpPr>
          <p:spPr bwMode="gray">
            <a:xfrm>
              <a:off x="6148005" y="919828"/>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sp>
          <p:nvSpPr>
            <p:cNvPr id="76" name="Legend2"/>
            <p:cNvSpPr>
              <a:spLocks noChangeArrowheads="1"/>
            </p:cNvSpPr>
            <p:nvPr>
              <p:custDataLst>
                <p:tags r:id="rId30"/>
              </p:custDataLst>
            </p:nvPr>
          </p:nvSpPr>
          <p:spPr bwMode="gray">
            <a:xfrm>
              <a:off x="6148005" y="1189703"/>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sp>
          <p:nvSpPr>
            <p:cNvPr id="77" name="Legend3"/>
            <p:cNvSpPr>
              <a:spLocks noChangeArrowheads="1"/>
            </p:cNvSpPr>
            <p:nvPr>
              <p:custDataLst>
                <p:tags r:id="rId31"/>
              </p:custDataLst>
            </p:nvPr>
          </p:nvSpPr>
          <p:spPr bwMode="gray">
            <a:xfrm>
              <a:off x="6148005" y="1461166"/>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sp>
          <p:nvSpPr>
            <p:cNvPr id="78" name="Legend4"/>
            <p:cNvSpPr>
              <a:spLocks noChangeArrowheads="1"/>
            </p:cNvSpPr>
            <p:nvPr>
              <p:custDataLst>
                <p:tags r:id="rId32"/>
              </p:custDataLst>
            </p:nvPr>
          </p:nvSpPr>
          <p:spPr bwMode="gray">
            <a:xfrm>
              <a:off x="6148005" y="1732629"/>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grpSp>
      <p:grpSp>
        <p:nvGrpSpPr>
          <p:cNvPr id="79" name="LegendMoons" hidden="1"/>
          <p:cNvGrpSpPr/>
          <p:nvPr/>
        </p:nvGrpSpPr>
        <p:grpSpPr>
          <a:xfrm>
            <a:off x="7792889" y="267414"/>
            <a:ext cx="916992" cy="1317003"/>
            <a:chOff x="5894005" y="2695123"/>
            <a:chExt cx="916992" cy="1317003"/>
          </a:xfrm>
        </p:grpSpPr>
        <p:grpSp>
          <p:nvGrpSpPr>
            <p:cNvPr id="80" name="MoonLegend1"/>
            <p:cNvGrpSpPr>
              <a:grpSpLocks noChangeAspect="1"/>
            </p:cNvGrpSpPr>
            <p:nvPr>
              <p:custDataLst>
                <p:tags r:id="rId9"/>
              </p:custDataLst>
            </p:nvPr>
          </p:nvGrpSpPr>
          <p:grpSpPr bwMode="gray">
            <a:xfrm>
              <a:off x="5894005" y="2695123"/>
              <a:ext cx="209550" cy="218282"/>
              <a:chOff x="4533" y="183"/>
              <a:chExt cx="144" cy="150"/>
            </a:xfrm>
          </p:grpSpPr>
          <p:sp>
            <p:nvSpPr>
              <p:cNvPr id="98" name="Oval 97"/>
              <p:cNvSpPr>
                <a:spLocks noChangeAspect="1" noChangeArrowheads="1"/>
              </p:cNvSpPr>
              <p:nvPr>
                <p:custDataLst>
                  <p:tags r:id="rId27"/>
                </p:custDataLst>
              </p:nvPr>
            </p:nvSpPr>
            <p:spPr bwMode="gray">
              <a:xfrm>
                <a:off x="4533" y="189"/>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99" name="Arc 98" hidden="1"/>
              <p:cNvSpPr>
                <a:spLocks noChangeAspect="1"/>
              </p:cNvSpPr>
              <p:nvPr>
                <p:custDataLst>
                  <p:tags r:id="rId28"/>
                </p:custDataLst>
              </p:nvPr>
            </p:nvSpPr>
            <p:spPr bwMode="gray">
              <a:xfrm>
                <a:off x="4533" y="183"/>
                <a:ext cx="144" cy="144"/>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grpSp>
        <p:grpSp>
          <p:nvGrpSpPr>
            <p:cNvPr id="81" name="MoonLegend2"/>
            <p:cNvGrpSpPr>
              <a:grpSpLocks noChangeAspect="1"/>
            </p:cNvGrpSpPr>
            <p:nvPr>
              <p:custDataLst>
                <p:tags r:id="rId10"/>
              </p:custDataLst>
            </p:nvPr>
          </p:nvGrpSpPr>
          <p:grpSpPr bwMode="gray">
            <a:xfrm>
              <a:off x="5894005" y="2977103"/>
              <a:ext cx="209550" cy="209551"/>
              <a:chOff x="1694" y="2051"/>
              <a:chExt cx="160" cy="160"/>
            </a:xfrm>
          </p:grpSpPr>
          <p:sp>
            <p:nvSpPr>
              <p:cNvPr id="96" name="Oval 41"/>
              <p:cNvSpPr>
                <a:spLocks noChangeAspect="1" noChangeArrowheads="1"/>
              </p:cNvSpPr>
              <p:nvPr>
                <p:custDataLst>
                  <p:tags r:id="rId25"/>
                </p:custDataLst>
              </p:nvPr>
            </p:nvSpPr>
            <p:spPr bwMode="gray">
              <a:xfrm>
                <a:off x="1694" y="2051"/>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97" name="Arc 42"/>
              <p:cNvSpPr>
                <a:spLocks noChangeAspect="1"/>
              </p:cNvSpPr>
              <p:nvPr>
                <p:custDataLst>
                  <p:tags r:id="rId26"/>
                </p:custDataLst>
              </p:nvPr>
            </p:nvSpPr>
            <p:spPr bwMode="gray">
              <a:xfrm>
                <a:off x="1694" y="2051"/>
                <a:ext cx="160" cy="160"/>
              </a:xfrm>
              <a:prstGeom prst="arc">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grpSp>
        <p:grpSp>
          <p:nvGrpSpPr>
            <p:cNvPr id="82" name="MoonLegend4"/>
            <p:cNvGrpSpPr>
              <a:grpSpLocks noChangeAspect="1"/>
            </p:cNvGrpSpPr>
            <p:nvPr>
              <p:custDataLst>
                <p:tags r:id="rId11"/>
              </p:custDataLst>
            </p:nvPr>
          </p:nvGrpSpPr>
          <p:grpSpPr bwMode="gray">
            <a:xfrm>
              <a:off x="5894005" y="3524395"/>
              <a:ext cx="209550" cy="209551"/>
              <a:chOff x="4495" y="1204"/>
              <a:chExt cx="160" cy="160"/>
            </a:xfrm>
          </p:grpSpPr>
          <p:sp>
            <p:nvSpPr>
              <p:cNvPr id="94" name="Oval 47"/>
              <p:cNvSpPr>
                <a:spLocks noChangeAspect="1" noChangeArrowheads="1"/>
              </p:cNvSpPr>
              <p:nvPr>
                <p:custDataLst>
                  <p:tags r:id="rId23"/>
                </p:custDataLst>
              </p:nvPr>
            </p:nvSpPr>
            <p:spPr bwMode="gray">
              <a:xfrm>
                <a:off x="4495" y="120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95" name="Arc 48"/>
              <p:cNvSpPr>
                <a:spLocks noChangeAspect="1"/>
              </p:cNvSpPr>
              <p:nvPr>
                <p:custDataLst>
                  <p:tags r:id="rId24"/>
                </p:custDataLst>
              </p:nvPr>
            </p:nvSpPr>
            <p:spPr bwMode="gray">
              <a:xfrm>
                <a:off x="4495" y="1204"/>
                <a:ext cx="160" cy="160"/>
              </a:xfrm>
              <a:prstGeom prst="arc">
                <a:avLst>
                  <a:gd name="adj1" fmla="val 16200000"/>
                  <a:gd name="adj2" fmla="val 108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grpSp>
        <p:grpSp>
          <p:nvGrpSpPr>
            <p:cNvPr id="83" name="MoonLegend5"/>
            <p:cNvGrpSpPr>
              <a:grpSpLocks noChangeAspect="1"/>
            </p:cNvGrpSpPr>
            <p:nvPr>
              <p:custDataLst>
                <p:tags r:id="rId12"/>
              </p:custDataLst>
            </p:nvPr>
          </p:nvGrpSpPr>
          <p:grpSpPr bwMode="gray">
            <a:xfrm>
              <a:off x="5894005" y="3799629"/>
              <a:ext cx="209550" cy="209551"/>
              <a:chOff x="4495" y="1447"/>
              <a:chExt cx="160" cy="160"/>
            </a:xfrm>
          </p:grpSpPr>
          <p:sp>
            <p:nvSpPr>
              <p:cNvPr id="92" name="Oval 50"/>
              <p:cNvSpPr>
                <a:spLocks noChangeAspect="1" noChangeArrowheads="1"/>
              </p:cNvSpPr>
              <p:nvPr>
                <p:custDataLst>
                  <p:tags r:id="rId21"/>
                </p:custDataLst>
              </p:nvPr>
            </p:nvSpPr>
            <p:spPr bwMode="gray">
              <a:xfrm>
                <a:off x="4495" y="1447"/>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93" name="Oval 51"/>
              <p:cNvSpPr>
                <a:spLocks noChangeAspect="1" noChangeArrowheads="1"/>
              </p:cNvSpPr>
              <p:nvPr>
                <p:custDataLst>
                  <p:tags r:id="rId22"/>
                </p:custDataLst>
              </p:nvPr>
            </p:nvSpPr>
            <p:spPr bwMode="gray">
              <a:xfrm>
                <a:off x="4495" y="1447"/>
                <a:ext cx="160" cy="160"/>
              </a:xfrm>
              <a:prstGeom prst="arc">
                <a:avLst>
                  <a:gd name="adj1" fmla="val 16200000"/>
                  <a:gd name="adj2" fmla="val 162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grpSp>
        <p:grpSp>
          <p:nvGrpSpPr>
            <p:cNvPr id="84" name="MoonLegend3"/>
            <p:cNvGrpSpPr>
              <a:grpSpLocks noChangeAspect="1"/>
            </p:cNvGrpSpPr>
            <p:nvPr>
              <p:custDataLst>
                <p:tags r:id="rId13"/>
              </p:custDataLst>
            </p:nvPr>
          </p:nvGrpSpPr>
          <p:grpSpPr bwMode="gray">
            <a:xfrm>
              <a:off x="5894005" y="3251543"/>
              <a:ext cx="209550" cy="209551"/>
              <a:chOff x="4495" y="1205"/>
              <a:chExt cx="160" cy="160"/>
            </a:xfrm>
          </p:grpSpPr>
          <p:sp>
            <p:nvSpPr>
              <p:cNvPr id="90" name="Oval 47"/>
              <p:cNvSpPr>
                <a:spLocks noChangeAspect="1" noChangeArrowheads="1"/>
              </p:cNvSpPr>
              <p:nvPr>
                <p:custDataLst>
                  <p:tags r:id="rId19"/>
                </p:custDataLst>
              </p:nvPr>
            </p:nvSpPr>
            <p:spPr bwMode="gray">
              <a:xfrm>
                <a:off x="4495" y="1205"/>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91" name="Arc 48"/>
              <p:cNvSpPr>
                <a:spLocks noChangeAspect="1"/>
              </p:cNvSpPr>
              <p:nvPr>
                <p:custDataLst>
                  <p:tags r:id="rId20"/>
                </p:custDataLst>
              </p:nvPr>
            </p:nvSpPr>
            <p:spPr bwMode="gray">
              <a:xfrm>
                <a:off x="4495" y="1205"/>
                <a:ext cx="160" cy="160"/>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grpSp>
        <p:sp>
          <p:nvSpPr>
            <p:cNvPr id="85" name="Legend1"/>
            <p:cNvSpPr>
              <a:spLocks noChangeArrowheads="1"/>
            </p:cNvSpPr>
            <p:nvPr>
              <p:custDataLst>
                <p:tags r:id="rId14"/>
              </p:custDataLst>
            </p:nvPr>
          </p:nvSpPr>
          <p:spPr bwMode="gray">
            <a:xfrm>
              <a:off x="6214680" y="2696542"/>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sp>
          <p:nvSpPr>
            <p:cNvPr id="86" name="Legend2"/>
            <p:cNvSpPr>
              <a:spLocks noChangeArrowheads="1"/>
            </p:cNvSpPr>
            <p:nvPr>
              <p:custDataLst>
                <p:tags r:id="rId15"/>
              </p:custDataLst>
            </p:nvPr>
          </p:nvSpPr>
          <p:spPr bwMode="gray">
            <a:xfrm>
              <a:off x="6214680" y="2974156"/>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a:latin typeface="+mn-lt"/>
                  <a:ea typeface="+mn-ea"/>
                </a:rPr>
                <a:t>Legend</a:t>
              </a:r>
              <a:endParaRPr lang="en-US" sz="1400" baseline="0" dirty="0">
                <a:latin typeface="+mn-lt"/>
                <a:ea typeface="+mn-ea"/>
              </a:endParaRPr>
            </a:p>
          </p:txBody>
        </p:sp>
        <p:sp>
          <p:nvSpPr>
            <p:cNvPr id="87" name="Legend3"/>
            <p:cNvSpPr>
              <a:spLocks noChangeArrowheads="1"/>
            </p:cNvSpPr>
            <p:nvPr>
              <p:custDataLst>
                <p:tags r:id="rId16"/>
              </p:custDataLst>
            </p:nvPr>
          </p:nvSpPr>
          <p:spPr bwMode="gray">
            <a:xfrm>
              <a:off x="6214680" y="3248596"/>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sp>
          <p:nvSpPr>
            <p:cNvPr id="88" name="Legend4"/>
            <p:cNvSpPr>
              <a:spLocks noChangeArrowheads="1"/>
            </p:cNvSpPr>
            <p:nvPr>
              <p:custDataLst>
                <p:tags r:id="rId17"/>
              </p:custDataLst>
            </p:nvPr>
          </p:nvSpPr>
          <p:spPr bwMode="gray">
            <a:xfrm>
              <a:off x="6214680" y="3521448"/>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sp>
          <p:nvSpPr>
            <p:cNvPr id="89" name="Legend5"/>
            <p:cNvSpPr>
              <a:spLocks noChangeArrowheads="1"/>
            </p:cNvSpPr>
            <p:nvPr>
              <p:custDataLst>
                <p:tags r:id="rId18"/>
              </p:custDataLst>
            </p:nvPr>
          </p:nvSpPr>
          <p:spPr bwMode="gray">
            <a:xfrm>
              <a:off x="6214680" y="3796682"/>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a:latin typeface="+mn-lt"/>
                  <a:ea typeface="+mn-ea"/>
                </a:rPr>
                <a:t>Legend</a:t>
              </a:r>
              <a:endParaRPr lang="en-US" sz="1400" baseline="0" dirty="0">
                <a:latin typeface="+mn-lt"/>
                <a:ea typeface="+mn-ea"/>
              </a:endParaRPr>
            </a:p>
          </p:txBody>
        </p:sp>
      </p:grpSp>
    </p:spTree>
    <p:extLst>
      <p:ext uri="{BB962C8B-B14F-4D97-AF65-F5344CB8AC3E}">
        <p14:creationId xmlns:p14="http://schemas.microsoft.com/office/powerpoint/2010/main" val="2666623304"/>
      </p:ext>
    </p:extLst>
  </p:cSld>
  <p:clrMap bg1="lt1" tx1="dk1" bg2="lt2" tx2="dk2" accent1="accent1" accent2="accent2" accent3="accent3" accent4="accent4" accent5="accent5" accent6="accent6" hlink="hlink" folHlink="folHlink"/>
  <p:sldLayoutIdLst>
    <p:sldLayoutId id="2147483826" r:id="rId1"/>
    <p:sldLayoutId id="2147483827" r:id="rId2"/>
    <p:sldLayoutId id="2147483828" r:id="rId3"/>
    <p:sldLayoutId id="2147483829" r:id="rId4"/>
  </p:sldLayoutIdLst>
  <p:txStyles>
    <p:titleStyle>
      <a:lvl1pPr algn="l" defTabSz="895350" rtl="0" eaLnBrk="1" fontAlgn="base" hangingPunct="1">
        <a:spcBef>
          <a:spcPct val="0"/>
        </a:spcBef>
        <a:spcAft>
          <a:spcPct val="0"/>
        </a:spcAft>
        <a:tabLst>
          <a:tab pos="269875" algn="l"/>
        </a:tabLst>
        <a:defRPr sz="2000" b="0" baseline="0">
          <a:solidFill>
            <a:schemeClr val="tx2"/>
          </a:solidFill>
          <a:latin typeface="+mj-lt"/>
          <a:ea typeface="+mj-ea"/>
          <a:cs typeface="+mj-cs"/>
        </a:defRPr>
      </a:lvl1pPr>
      <a:lvl2pPr algn="l" defTabSz="895350" rtl="0" eaLnBrk="1" fontAlgn="base" hangingPunct="1">
        <a:spcBef>
          <a:spcPct val="0"/>
        </a:spcBef>
        <a:spcAft>
          <a:spcPct val="0"/>
        </a:spcAft>
        <a:defRPr sz="1900" b="1">
          <a:solidFill>
            <a:schemeClr val="tx2"/>
          </a:solidFill>
          <a:latin typeface="Arial" charset="0"/>
        </a:defRPr>
      </a:lvl2pPr>
      <a:lvl3pPr algn="l" defTabSz="895350" rtl="0" eaLnBrk="1" fontAlgn="base" hangingPunct="1">
        <a:spcBef>
          <a:spcPct val="0"/>
        </a:spcBef>
        <a:spcAft>
          <a:spcPct val="0"/>
        </a:spcAft>
        <a:defRPr sz="1900" b="1">
          <a:solidFill>
            <a:schemeClr val="tx2"/>
          </a:solidFill>
          <a:latin typeface="Arial" charset="0"/>
        </a:defRPr>
      </a:lvl3pPr>
      <a:lvl4pPr algn="l" defTabSz="895350" rtl="0" eaLnBrk="1" fontAlgn="base" hangingPunct="1">
        <a:spcBef>
          <a:spcPct val="0"/>
        </a:spcBef>
        <a:spcAft>
          <a:spcPct val="0"/>
        </a:spcAft>
        <a:defRPr sz="1900" b="1">
          <a:solidFill>
            <a:schemeClr val="tx2"/>
          </a:solidFill>
          <a:latin typeface="Arial" charset="0"/>
        </a:defRPr>
      </a:lvl4pPr>
      <a:lvl5pPr algn="l" defTabSz="895350" rtl="0" eaLnBrk="1" fontAlgn="base" hangingPunct="1">
        <a:spcBef>
          <a:spcPct val="0"/>
        </a:spcBef>
        <a:spcAft>
          <a:spcPct val="0"/>
        </a:spcAft>
        <a:defRPr sz="1900" b="1">
          <a:solidFill>
            <a:schemeClr val="tx2"/>
          </a:solidFill>
          <a:latin typeface="Arial" charset="0"/>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p:titleStyle>
    <p:bodyStyle>
      <a:lvl1pPr marL="0" indent="0" algn="l" defTabSz="895350" rtl="0" eaLnBrk="1" fontAlgn="base" hangingPunct="1">
        <a:spcBef>
          <a:spcPct val="0"/>
        </a:spcBef>
        <a:spcAft>
          <a:spcPct val="0"/>
        </a:spcAft>
        <a:buClr>
          <a:schemeClr val="tx2"/>
        </a:buClr>
        <a:buSzPct val="100000"/>
        <a:defRPr sz="14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4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4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4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4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ext>
  </p:extLst>
</p:sldMaster>
</file>

<file path=ppt/slideMasters/slideMaster3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6"/>
            </p:custDataLst>
            <p:extLst>
              <p:ext uri="{D42A27DB-BD31-4B8C-83A1-F6EECF244321}">
                <p14:modId xmlns:p14="http://schemas.microsoft.com/office/powerpoint/2010/main" val="1990983793"/>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64884" name="think-cell Slide" r:id="rId35" imgW="270" imgH="270" progId="TCLayout.ActiveDocument.1">
                  <p:embed/>
                </p:oleObj>
              </mc:Choice>
              <mc:Fallback>
                <p:oleObj name="think-cell Slide" r:id="rId35" imgW="270" imgH="270" progId="TCLayout.ActiveDocument.1">
                  <p:embed/>
                  <p:pic>
                    <p:nvPicPr>
                      <p:cNvPr id="2" name="Object 1" hidden="1"/>
                      <p:cNvPicPr/>
                      <p:nvPr/>
                    </p:nvPicPr>
                    <p:blipFill>
                      <a:blip r:embed="rId36"/>
                      <a:stretch>
                        <a:fillRect/>
                      </a:stretch>
                    </p:blipFill>
                    <p:spPr>
                      <a:xfrm>
                        <a:off x="0" y="0"/>
                        <a:ext cx="158750" cy="158750"/>
                      </a:xfrm>
                      <a:prstGeom prst="rect">
                        <a:avLst/>
                      </a:prstGeom>
                    </p:spPr>
                  </p:pic>
                </p:oleObj>
              </mc:Fallback>
            </mc:AlternateContent>
          </a:graphicData>
        </a:graphic>
      </p:graphicFrame>
      <p:sp>
        <p:nvSpPr>
          <p:cNvPr id="6" name="Rectangle 5" hidden="1"/>
          <p:cNvSpPr/>
          <p:nvPr>
            <p:custDataLst>
              <p:tags r:id="rId7"/>
            </p:custDataLst>
          </p:nvPr>
        </p:nvSpPr>
        <p:spPr bwMode="auto">
          <a:xfrm>
            <a:off x="0" y="0"/>
            <a:ext cx="158750" cy="158750"/>
          </a:xfrm>
          <a:prstGeom prst="rect">
            <a:avLst/>
          </a:prstGeom>
          <a:solidFill>
            <a:schemeClr val="bg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dirty="0">
              <a:solidFill>
                <a:srgbClr val="000000"/>
              </a:solidFill>
              <a:sym typeface="Arial" panose="020B0604020202020204" pitchFamily="34" charset="0"/>
            </a:endParaRPr>
          </a:p>
        </p:txBody>
      </p:sp>
      <p:sp>
        <p:nvSpPr>
          <p:cNvPr id="1034" name="Working Draft" hidden="1"/>
          <p:cNvSpPr txBox="1">
            <a:spLocks noChangeArrowheads="1"/>
          </p:cNvSpPr>
          <p:nvPr/>
        </p:nvSpPr>
        <p:spPr bwMode="gray">
          <a:xfrm rot="5400000">
            <a:off x="7966656" y="1940591"/>
            <a:ext cx="1849865"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600" baseline="0">
                <a:solidFill>
                  <a:srgbClr val="808080"/>
                </a:solidFill>
                <a:latin typeface="+mn-lt"/>
                <a:ea typeface="+mn-ea"/>
              </a:rPr>
              <a:t>Last Modified 21/05/2018 17:44 India Standard Time</a:t>
            </a:r>
            <a:endParaRPr lang="en-US" baseline="0" dirty="0">
              <a:solidFill>
                <a:srgbClr val="808080"/>
              </a:solidFill>
              <a:latin typeface="+mn-lt"/>
              <a:ea typeface="+mn-ea"/>
            </a:endParaRPr>
          </a:p>
        </p:txBody>
      </p:sp>
      <p:sp>
        <p:nvSpPr>
          <p:cNvPr id="1035" name="Printed" hidden="1"/>
          <p:cNvSpPr txBox="1">
            <a:spLocks noChangeArrowheads="1"/>
          </p:cNvSpPr>
          <p:nvPr/>
        </p:nvSpPr>
        <p:spPr bwMode="gray">
          <a:xfrm rot="5400000">
            <a:off x="8768958" y="4114417"/>
            <a:ext cx="245260"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600" baseline="0" dirty="0">
                <a:solidFill>
                  <a:srgbClr val="808080"/>
                </a:solidFill>
                <a:latin typeface="+mn-lt"/>
                <a:ea typeface="+mn-ea"/>
              </a:rPr>
              <a:t>Printed</a:t>
            </a:r>
            <a:endParaRPr lang="en-US" baseline="0" dirty="0">
              <a:solidFill>
                <a:srgbClr val="808080"/>
              </a:solidFill>
              <a:latin typeface="+mn-lt"/>
              <a:ea typeface="+mn-ea"/>
            </a:endParaRPr>
          </a:p>
        </p:txBody>
      </p:sp>
      <p:sp>
        <p:nvSpPr>
          <p:cNvPr id="19" name="Title Placeholder 2"/>
          <p:cNvSpPr>
            <a:spLocks noGrp="1" noChangeArrowheads="1"/>
          </p:cNvSpPr>
          <p:nvPr>
            <p:ph type="title"/>
          </p:nvPr>
        </p:nvSpPr>
        <p:spPr bwMode="gray">
          <a:xfrm>
            <a:off x="119063" y="230188"/>
            <a:ext cx="8618537"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latinLnBrk="0"/>
            <a:r>
              <a:rPr lang="en-US"/>
              <a:t>Click to edit Master title style</a:t>
            </a:r>
            <a:endParaRPr lang="en-US" noProof="0" dirty="0"/>
          </a:p>
        </p:txBody>
      </p:sp>
      <p:sp>
        <p:nvSpPr>
          <p:cNvPr id="10" name="1. On-page tracker" hidden="1"/>
          <p:cNvSpPr>
            <a:spLocks noChangeArrowheads="1"/>
          </p:cNvSpPr>
          <p:nvPr/>
        </p:nvSpPr>
        <p:spPr bwMode="gray">
          <a:xfrm>
            <a:off x="119063" y="75764"/>
            <a:ext cx="490519"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800" cap="all" baseline="0" dirty="0">
                <a:solidFill>
                  <a:schemeClr val="accent6"/>
                </a:solidFill>
                <a:latin typeface="+mn-lt"/>
                <a:ea typeface="+mn-ea"/>
              </a:rPr>
              <a:t>Tracker</a:t>
            </a:r>
          </a:p>
        </p:txBody>
      </p:sp>
      <p:sp>
        <p:nvSpPr>
          <p:cNvPr id="11" name="3. Unit of measure" hidden="1"/>
          <p:cNvSpPr txBox="1">
            <a:spLocks noChangeArrowheads="1"/>
          </p:cNvSpPr>
          <p:nvPr/>
        </p:nvSpPr>
        <p:spPr bwMode="gray">
          <a:xfrm>
            <a:off x="119063" y="554865"/>
            <a:ext cx="8618537"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600" baseline="0" dirty="0">
                <a:solidFill>
                  <a:schemeClr val="accent6"/>
                </a:solidFill>
                <a:latin typeface="+mn-lt"/>
                <a:ea typeface="+mn-ea"/>
              </a:rPr>
              <a:t>Unit of measure</a:t>
            </a:r>
          </a:p>
        </p:txBody>
      </p:sp>
      <p:grpSp>
        <p:nvGrpSpPr>
          <p:cNvPr id="4" name="Slide Elements" hidden="1"/>
          <p:cNvGrpSpPr/>
          <p:nvPr/>
        </p:nvGrpSpPr>
        <p:grpSpPr bwMode="gray">
          <a:xfrm>
            <a:off x="119063" y="6305945"/>
            <a:ext cx="8618537" cy="325438"/>
            <a:chOff x="119063" y="6305945"/>
            <a:chExt cx="8618537" cy="325438"/>
          </a:xfrm>
        </p:grpSpPr>
        <p:sp>
          <p:nvSpPr>
            <p:cNvPr id="13" name="4. Footnote"/>
            <p:cNvSpPr txBox="1">
              <a:spLocks noChangeArrowheads="1"/>
            </p:cNvSpPr>
            <p:nvPr/>
          </p:nvSpPr>
          <p:spPr bwMode="gray">
            <a:xfrm>
              <a:off x="119063" y="6305945"/>
              <a:ext cx="8618537" cy="123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800" baseline="0" dirty="0">
                  <a:solidFill>
                    <a:schemeClr val="accent6"/>
                  </a:solidFill>
                  <a:latin typeface="+mn-lt"/>
                  <a:ea typeface="+mn-ea"/>
                </a:rPr>
                <a:t>1 Footnote</a:t>
              </a:r>
            </a:p>
          </p:txBody>
        </p:sp>
        <p:sp>
          <p:nvSpPr>
            <p:cNvPr id="14" name="5. Source"/>
            <p:cNvSpPr>
              <a:spLocks noChangeArrowheads="1"/>
            </p:cNvSpPr>
            <p:nvPr/>
          </p:nvSpPr>
          <p:spPr bwMode="gray">
            <a:xfrm>
              <a:off x="119063" y="6507558"/>
              <a:ext cx="7200000" cy="123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marL="609600" indent="-609600" defTabSz="895350">
                <a:tabLst>
                  <a:tab pos="612775" algn="l"/>
                </a:tabLst>
              </a:pPr>
              <a:r>
                <a:rPr lang="en-US" sz="800" baseline="0" dirty="0">
                  <a:solidFill>
                    <a:schemeClr val="accent6"/>
                  </a:solidFill>
                  <a:latin typeface="+mn-lt"/>
                  <a:ea typeface="+mn-ea"/>
                </a:rPr>
                <a:t>SOURCE: Source</a:t>
              </a:r>
            </a:p>
          </p:txBody>
        </p:sp>
      </p:grpSp>
      <p:sp>
        <p:nvSpPr>
          <p:cNvPr id="3" name="Text Placeholder 2"/>
          <p:cNvSpPr>
            <a:spLocks noGrp="1"/>
          </p:cNvSpPr>
          <p:nvPr>
            <p:ph type="body" idx="1"/>
          </p:nvPr>
        </p:nvSpPr>
        <p:spPr bwMode="gray">
          <a:xfrm>
            <a:off x="1452564" y="1951380"/>
            <a:ext cx="4302125" cy="1077218"/>
          </a:xfrm>
          <a:prstGeom prst="rect">
            <a:avLst/>
          </a:prstGeom>
        </p:spPr>
        <p:txBody>
          <a:bodyPr vert="horz" lIns="0" tIns="0" rIns="0" bIns="0" rtlCol="0">
            <a:spAutoFit/>
          </a:bodyPr>
          <a:lstStyle/>
          <a:p>
            <a:pPr lvl="0" latinLnBrk="0"/>
            <a:r>
              <a:rPr lang="en-US"/>
              <a:t>Edit Master text styles</a:t>
            </a:r>
          </a:p>
          <a:p>
            <a:pPr lvl="1" latinLnBrk="0"/>
            <a:r>
              <a:rPr lang="en-US"/>
              <a:t>Second level</a:t>
            </a:r>
          </a:p>
          <a:p>
            <a:pPr lvl="2" latinLnBrk="0"/>
            <a:r>
              <a:rPr lang="en-US"/>
              <a:t>Third level</a:t>
            </a:r>
          </a:p>
          <a:p>
            <a:pPr lvl="3" latinLnBrk="0"/>
            <a:r>
              <a:rPr lang="en-US"/>
              <a:t>Fourth level</a:t>
            </a:r>
          </a:p>
          <a:p>
            <a:pPr lvl="4" latinLnBrk="0"/>
            <a:r>
              <a:rPr lang="en-US"/>
              <a:t>Fifth level</a:t>
            </a:r>
            <a:endParaRPr lang="en-US" dirty="0"/>
          </a:p>
        </p:txBody>
      </p:sp>
      <p:grpSp>
        <p:nvGrpSpPr>
          <p:cNvPr id="15" name="ACET" hidden="1"/>
          <p:cNvGrpSpPr>
            <a:grpSpLocks/>
          </p:cNvGrpSpPr>
          <p:nvPr/>
        </p:nvGrpSpPr>
        <p:grpSpPr bwMode="gray">
          <a:xfrm>
            <a:off x="1452563" y="1257754"/>
            <a:ext cx="4264025" cy="508000"/>
            <a:chOff x="915" y="710"/>
            <a:chExt cx="2686" cy="320"/>
          </a:xfrm>
        </p:grpSpPr>
        <p:cxnSp>
          <p:nvCxnSpPr>
            <p:cNvPr id="16" name="AutoShape 249"/>
            <p:cNvCxnSpPr>
              <a:cxnSpLocks noChangeShapeType="1"/>
              <a:stCxn id="18" idx="4"/>
              <a:endCxn id="18" idx="6"/>
            </p:cNvCxnSpPr>
            <p:nvPr/>
          </p:nvCxnSpPr>
          <p:spPr bwMode="gray">
            <a:xfrm>
              <a:off x="915" y="1030"/>
              <a:ext cx="2686" cy="0"/>
            </a:xfrm>
            <a:prstGeom prst="straightConnector1">
              <a:avLst/>
            </a:prstGeom>
            <a:noFill/>
            <a:ln w="9525">
              <a:solidFill>
                <a:schemeClr val="accent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8" name="AutoShape 250"/>
            <p:cNvSpPr>
              <a:spLocks noChangeArrowheads="1"/>
            </p:cNvSpPr>
            <p:nvPr/>
          </p:nvSpPr>
          <p:spPr bwMode="gray">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US" b="1" baseline="0" dirty="0">
                  <a:solidFill>
                    <a:srgbClr val="000000"/>
                  </a:solidFill>
                  <a:latin typeface="+mn-lt"/>
                  <a:ea typeface="+mn-ea"/>
                </a:rPr>
                <a:t>Title</a:t>
              </a:r>
            </a:p>
            <a:p>
              <a:r>
                <a:rPr lang="en-US" baseline="0" dirty="0">
                  <a:solidFill>
                    <a:schemeClr val="accent6"/>
                  </a:solidFill>
                  <a:latin typeface="+mn-lt"/>
                  <a:ea typeface="+mn-ea"/>
                </a:rPr>
                <a:t>Unit of measure</a:t>
              </a:r>
            </a:p>
          </p:txBody>
        </p:sp>
      </p:grpSp>
      <p:grpSp>
        <p:nvGrpSpPr>
          <p:cNvPr id="17" name="McKSticker" hidden="1"/>
          <p:cNvGrpSpPr/>
          <p:nvPr/>
        </p:nvGrpSpPr>
        <p:grpSpPr bwMode="gray">
          <a:xfrm>
            <a:off x="8264265" y="285750"/>
            <a:ext cx="473335" cy="150811"/>
            <a:chOff x="8267440" y="285750"/>
            <a:chExt cx="473335" cy="150811"/>
          </a:xfrm>
        </p:grpSpPr>
        <p:sp>
          <p:nvSpPr>
            <p:cNvPr id="20" name="StickerRectangle"/>
            <p:cNvSpPr>
              <a:spLocks noChangeArrowheads="1"/>
            </p:cNvSpPr>
            <p:nvPr/>
          </p:nvSpPr>
          <p:spPr bwMode="gray">
            <a:xfrm>
              <a:off x="8267440" y="285750"/>
              <a:ext cx="473335" cy="150811"/>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a:buClr>
                  <a:srgbClr val="002960"/>
                </a:buClr>
              </a:pPr>
              <a:r>
                <a:rPr lang="en-US" sz="800" baseline="0" dirty="0">
                  <a:solidFill>
                    <a:schemeClr val="accent6"/>
                  </a:solidFill>
                  <a:latin typeface="+mn-lt"/>
                  <a:ea typeface="+mn-ea"/>
                </a:rPr>
                <a:t>STICKER</a:t>
              </a:r>
            </a:p>
          </p:txBody>
        </p:sp>
        <p:cxnSp>
          <p:nvCxnSpPr>
            <p:cNvPr id="21" name="AutoShape 31"/>
            <p:cNvCxnSpPr>
              <a:cxnSpLocks noChangeShapeType="1"/>
              <a:stCxn id="20" idx="2"/>
              <a:endCxn id="20" idx="4"/>
            </p:cNvCxnSpPr>
            <p:nvPr/>
          </p:nvCxnSpPr>
          <p:spPr bwMode="gray">
            <a:xfrm>
              <a:off x="8267440" y="285750"/>
              <a:ext cx="0" cy="150811"/>
            </a:xfrm>
            <a:prstGeom prst="straightConnector1">
              <a:avLst/>
            </a:prstGeom>
            <a:noFill/>
            <a:ln w="9525">
              <a:solidFill>
                <a:schemeClr val="accent6"/>
              </a:solidFill>
              <a:round/>
              <a:headEnd/>
              <a:tailEnd/>
            </a:ln>
            <a:extLst>
              <a:ext uri="{909E8E84-426E-40DD-AFC4-6F175D3DCCD1}">
                <a14:hiddenFill xmlns:a14="http://schemas.microsoft.com/office/drawing/2010/main">
                  <a:noFill/>
                </a14:hiddenFill>
              </a:ext>
            </a:extLst>
          </p:spPr>
        </p:cxnSp>
        <p:cxnSp>
          <p:nvCxnSpPr>
            <p:cNvPr id="22" name="AutoShape 32"/>
            <p:cNvCxnSpPr>
              <a:cxnSpLocks noChangeShapeType="1"/>
              <a:stCxn id="20" idx="4"/>
              <a:endCxn id="20" idx="6"/>
            </p:cNvCxnSpPr>
            <p:nvPr/>
          </p:nvCxnSpPr>
          <p:spPr bwMode="gray">
            <a:xfrm>
              <a:off x="8267440" y="436561"/>
              <a:ext cx="473335" cy="0"/>
            </a:xfrm>
            <a:prstGeom prst="straightConnector1">
              <a:avLst/>
            </a:prstGeom>
            <a:noFill/>
            <a:ln w="25400">
              <a:solidFill>
                <a:schemeClr val="accent6"/>
              </a:solidFill>
              <a:round/>
              <a:headEnd/>
              <a:tailEnd/>
            </a:ln>
            <a:extLst>
              <a:ext uri="{909E8E84-426E-40DD-AFC4-6F175D3DCCD1}">
                <a14:hiddenFill xmlns:a14="http://schemas.microsoft.com/office/drawing/2010/main">
                  <a:noFill/>
                </a14:hiddenFill>
              </a:ext>
            </a:extLst>
          </p:spPr>
        </p:cxnSp>
      </p:grpSp>
      <p:sp>
        <p:nvSpPr>
          <p:cNvPr id="23" name="SlideBottomBar" hidden="1"/>
          <p:cNvSpPr/>
          <p:nvPr/>
        </p:nvSpPr>
        <p:spPr>
          <a:xfrm>
            <a:off x="8437547" y="6182120"/>
            <a:ext cx="45719" cy="123825"/>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aseline="0" dirty="0">
              <a:solidFill>
                <a:schemeClr val="tx1"/>
              </a:solidFill>
              <a:latin typeface="+mn-lt"/>
              <a:ea typeface="+mn-ea"/>
            </a:endParaRPr>
          </a:p>
        </p:txBody>
      </p:sp>
      <p:sp>
        <p:nvSpPr>
          <p:cNvPr id="24" name="doc id" hidden="1"/>
          <p:cNvSpPr txBox="1">
            <a:spLocks noChangeArrowheads="1"/>
          </p:cNvSpPr>
          <p:nvPr/>
        </p:nvSpPr>
        <p:spPr bwMode="white">
          <a:xfrm>
            <a:off x="8104473" y="36513"/>
            <a:ext cx="634716" cy="115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hangingPunct="1">
              <a:defRPr/>
            </a:pPr>
            <a:endParaRPr lang="en-US" sz="800" baseline="0" dirty="0">
              <a:solidFill>
                <a:schemeClr val="accent1"/>
              </a:solidFill>
              <a:latin typeface="+mn-lt"/>
              <a:ea typeface="+mn-ea"/>
            </a:endParaRPr>
          </a:p>
        </p:txBody>
      </p:sp>
      <p:grpSp>
        <p:nvGrpSpPr>
          <p:cNvPr id="63" name="LegendLines" hidden="1"/>
          <p:cNvGrpSpPr/>
          <p:nvPr/>
        </p:nvGrpSpPr>
        <p:grpSpPr>
          <a:xfrm>
            <a:off x="7551589" y="267815"/>
            <a:ext cx="1158292" cy="761545"/>
            <a:chOff x="7607284" y="279400"/>
            <a:chExt cx="1158292" cy="761545"/>
          </a:xfrm>
        </p:grpSpPr>
        <p:sp>
          <p:nvSpPr>
            <p:cNvPr id="64" name="LineLegend1"/>
            <p:cNvSpPr>
              <a:spLocks noChangeShapeType="1"/>
            </p:cNvSpPr>
            <p:nvPr/>
          </p:nvSpPr>
          <p:spPr bwMode="gray">
            <a:xfrm>
              <a:off x="7607284" y="387122"/>
              <a:ext cx="457200"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65" name="LineLegend2"/>
            <p:cNvSpPr>
              <a:spLocks noChangeShapeType="1"/>
            </p:cNvSpPr>
            <p:nvPr/>
          </p:nvSpPr>
          <p:spPr bwMode="gray">
            <a:xfrm>
              <a:off x="7607284" y="653822"/>
              <a:ext cx="457200"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66" name="LineLegend3"/>
            <p:cNvSpPr>
              <a:spLocks noChangeShapeType="1"/>
            </p:cNvSpPr>
            <p:nvPr/>
          </p:nvSpPr>
          <p:spPr bwMode="gray">
            <a:xfrm>
              <a:off x="7607284" y="933223"/>
              <a:ext cx="457200"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67" name="Legend1"/>
            <p:cNvSpPr>
              <a:spLocks noChangeArrowheads="1"/>
            </p:cNvSpPr>
            <p:nvPr>
              <p:custDataLst>
                <p:tags r:id="rId32"/>
              </p:custDataLst>
            </p:nvPr>
          </p:nvSpPr>
          <p:spPr bwMode="gray">
            <a:xfrm>
              <a:off x="8169259" y="279400"/>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sp>
          <p:nvSpPr>
            <p:cNvPr id="68" name="Legend2"/>
            <p:cNvSpPr>
              <a:spLocks noChangeArrowheads="1"/>
            </p:cNvSpPr>
            <p:nvPr>
              <p:custDataLst>
                <p:tags r:id="rId33"/>
              </p:custDataLst>
            </p:nvPr>
          </p:nvSpPr>
          <p:spPr bwMode="gray">
            <a:xfrm>
              <a:off x="8169259" y="546100"/>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a:latin typeface="+mn-lt"/>
                  <a:ea typeface="+mn-ea"/>
                </a:rPr>
                <a:t>Legend</a:t>
              </a:r>
              <a:endParaRPr lang="en-US" sz="1400" baseline="0" dirty="0">
                <a:latin typeface="+mn-lt"/>
                <a:ea typeface="+mn-ea"/>
              </a:endParaRPr>
            </a:p>
          </p:txBody>
        </p:sp>
        <p:sp>
          <p:nvSpPr>
            <p:cNvPr id="69" name="Legend3"/>
            <p:cNvSpPr>
              <a:spLocks noChangeArrowheads="1"/>
            </p:cNvSpPr>
            <p:nvPr>
              <p:custDataLst>
                <p:tags r:id="rId34"/>
              </p:custDataLst>
            </p:nvPr>
          </p:nvSpPr>
          <p:spPr bwMode="gray">
            <a:xfrm>
              <a:off x="8169259" y="825501"/>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grpSp>
      <p:grpSp>
        <p:nvGrpSpPr>
          <p:cNvPr id="70" name="LegendBoxes" hidden="1"/>
          <p:cNvGrpSpPr/>
          <p:nvPr/>
        </p:nvGrpSpPr>
        <p:grpSpPr>
          <a:xfrm>
            <a:off x="7859564" y="267919"/>
            <a:ext cx="850317" cy="1028245"/>
            <a:chOff x="5894005" y="919828"/>
            <a:chExt cx="850317" cy="1028245"/>
          </a:xfrm>
        </p:grpSpPr>
        <p:sp>
          <p:nvSpPr>
            <p:cNvPr id="71" name="RectangleLegend1"/>
            <p:cNvSpPr>
              <a:spLocks noChangeArrowheads="1"/>
            </p:cNvSpPr>
            <p:nvPr/>
          </p:nvSpPr>
          <p:spPr bwMode="gray">
            <a:xfrm>
              <a:off x="5894005" y="947381"/>
              <a:ext cx="165100" cy="160338"/>
            </a:xfrm>
            <a:prstGeom prst="rect">
              <a:avLst/>
            </a:prstGeom>
            <a:solidFill>
              <a:schemeClr val="accent1"/>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72" name="RectangleLegend2"/>
            <p:cNvSpPr>
              <a:spLocks noChangeArrowheads="1"/>
            </p:cNvSpPr>
            <p:nvPr/>
          </p:nvSpPr>
          <p:spPr bwMode="gray">
            <a:xfrm>
              <a:off x="5894005" y="1217256"/>
              <a:ext cx="165100" cy="160338"/>
            </a:xfrm>
            <a:prstGeom prst="rect">
              <a:avLst/>
            </a:prstGeom>
            <a:solidFill>
              <a:schemeClr val="accent2"/>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73" name="RectangleLegend3"/>
            <p:cNvSpPr>
              <a:spLocks noChangeArrowheads="1"/>
            </p:cNvSpPr>
            <p:nvPr/>
          </p:nvSpPr>
          <p:spPr bwMode="gray">
            <a:xfrm>
              <a:off x="5894005" y="1488719"/>
              <a:ext cx="165100" cy="160338"/>
            </a:xfrm>
            <a:prstGeom prst="rect">
              <a:avLst/>
            </a:prstGeom>
            <a:solidFill>
              <a:schemeClr val="accent3"/>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74" name="RectangleLegend4"/>
            <p:cNvSpPr>
              <a:spLocks noChangeArrowheads="1"/>
            </p:cNvSpPr>
            <p:nvPr/>
          </p:nvSpPr>
          <p:spPr bwMode="gray">
            <a:xfrm>
              <a:off x="5894005" y="1760182"/>
              <a:ext cx="165100" cy="160338"/>
            </a:xfrm>
            <a:prstGeom prst="rect">
              <a:avLst/>
            </a:prstGeom>
            <a:solidFill>
              <a:schemeClr val="accent4"/>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75" name="Legend1"/>
            <p:cNvSpPr>
              <a:spLocks noChangeArrowheads="1"/>
            </p:cNvSpPr>
            <p:nvPr>
              <p:custDataLst>
                <p:tags r:id="rId28"/>
              </p:custDataLst>
            </p:nvPr>
          </p:nvSpPr>
          <p:spPr bwMode="gray">
            <a:xfrm>
              <a:off x="6148005" y="919828"/>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sp>
          <p:nvSpPr>
            <p:cNvPr id="76" name="Legend2"/>
            <p:cNvSpPr>
              <a:spLocks noChangeArrowheads="1"/>
            </p:cNvSpPr>
            <p:nvPr>
              <p:custDataLst>
                <p:tags r:id="rId29"/>
              </p:custDataLst>
            </p:nvPr>
          </p:nvSpPr>
          <p:spPr bwMode="gray">
            <a:xfrm>
              <a:off x="6148005" y="1189703"/>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sp>
          <p:nvSpPr>
            <p:cNvPr id="77" name="Legend3"/>
            <p:cNvSpPr>
              <a:spLocks noChangeArrowheads="1"/>
            </p:cNvSpPr>
            <p:nvPr>
              <p:custDataLst>
                <p:tags r:id="rId30"/>
              </p:custDataLst>
            </p:nvPr>
          </p:nvSpPr>
          <p:spPr bwMode="gray">
            <a:xfrm>
              <a:off x="6148005" y="1461166"/>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sp>
          <p:nvSpPr>
            <p:cNvPr id="78" name="Legend4"/>
            <p:cNvSpPr>
              <a:spLocks noChangeArrowheads="1"/>
            </p:cNvSpPr>
            <p:nvPr>
              <p:custDataLst>
                <p:tags r:id="rId31"/>
              </p:custDataLst>
            </p:nvPr>
          </p:nvSpPr>
          <p:spPr bwMode="gray">
            <a:xfrm>
              <a:off x="6148005" y="1732629"/>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grpSp>
      <p:grpSp>
        <p:nvGrpSpPr>
          <p:cNvPr id="79" name="LegendMoons" hidden="1"/>
          <p:cNvGrpSpPr/>
          <p:nvPr/>
        </p:nvGrpSpPr>
        <p:grpSpPr>
          <a:xfrm>
            <a:off x="7792889" y="267414"/>
            <a:ext cx="916992" cy="1317003"/>
            <a:chOff x="5894005" y="2695123"/>
            <a:chExt cx="916992" cy="1317003"/>
          </a:xfrm>
        </p:grpSpPr>
        <p:grpSp>
          <p:nvGrpSpPr>
            <p:cNvPr id="80" name="MoonLegend1"/>
            <p:cNvGrpSpPr>
              <a:grpSpLocks noChangeAspect="1"/>
            </p:cNvGrpSpPr>
            <p:nvPr>
              <p:custDataLst>
                <p:tags r:id="rId8"/>
              </p:custDataLst>
            </p:nvPr>
          </p:nvGrpSpPr>
          <p:grpSpPr bwMode="gray">
            <a:xfrm>
              <a:off x="5894005" y="2695123"/>
              <a:ext cx="209550" cy="218282"/>
              <a:chOff x="4533" y="183"/>
              <a:chExt cx="144" cy="150"/>
            </a:xfrm>
          </p:grpSpPr>
          <p:sp>
            <p:nvSpPr>
              <p:cNvPr id="98" name="Oval 97"/>
              <p:cNvSpPr>
                <a:spLocks noChangeAspect="1" noChangeArrowheads="1"/>
              </p:cNvSpPr>
              <p:nvPr>
                <p:custDataLst>
                  <p:tags r:id="rId26"/>
                </p:custDataLst>
              </p:nvPr>
            </p:nvSpPr>
            <p:spPr bwMode="gray">
              <a:xfrm>
                <a:off x="4533" y="189"/>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99" name="Arc 98" hidden="1"/>
              <p:cNvSpPr>
                <a:spLocks noChangeAspect="1"/>
              </p:cNvSpPr>
              <p:nvPr>
                <p:custDataLst>
                  <p:tags r:id="rId27"/>
                </p:custDataLst>
              </p:nvPr>
            </p:nvSpPr>
            <p:spPr bwMode="gray">
              <a:xfrm>
                <a:off x="4533" y="183"/>
                <a:ext cx="144" cy="144"/>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grpSp>
        <p:grpSp>
          <p:nvGrpSpPr>
            <p:cNvPr id="81" name="MoonLegend2"/>
            <p:cNvGrpSpPr>
              <a:grpSpLocks noChangeAspect="1"/>
            </p:cNvGrpSpPr>
            <p:nvPr>
              <p:custDataLst>
                <p:tags r:id="rId9"/>
              </p:custDataLst>
            </p:nvPr>
          </p:nvGrpSpPr>
          <p:grpSpPr bwMode="gray">
            <a:xfrm>
              <a:off x="5894005" y="2977103"/>
              <a:ext cx="209550" cy="209551"/>
              <a:chOff x="1694" y="2051"/>
              <a:chExt cx="160" cy="160"/>
            </a:xfrm>
          </p:grpSpPr>
          <p:sp>
            <p:nvSpPr>
              <p:cNvPr id="96" name="Oval 41"/>
              <p:cNvSpPr>
                <a:spLocks noChangeAspect="1" noChangeArrowheads="1"/>
              </p:cNvSpPr>
              <p:nvPr>
                <p:custDataLst>
                  <p:tags r:id="rId24"/>
                </p:custDataLst>
              </p:nvPr>
            </p:nvSpPr>
            <p:spPr bwMode="gray">
              <a:xfrm>
                <a:off x="1694" y="2051"/>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97" name="Arc 42"/>
              <p:cNvSpPr>
                <a:spLocks noChangeAspect="1"/>
              </p:cNvSpPr>
              <p:nvPr>
                <p:custDataLst>
                  <p:tags r:id="rId25"/>
                </p:custDataLst>
              </p:nvPr>
            </p:nvSpPr>
            <p:spPr bwMode="gray">
              <a:xfrm>
                <a:off x="1694" y="2051"/>
                <a:ext cx="160" cy="160"/>
              </a:xfrm>
              <a:prstGeom prst="arc">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grpSp>
        <p:grpSp>
          <p:nvGrpSpPr>
            <p:cNvPr id="82" name="MoonLegend4"/>
            <p:cNvGrpSpPr>
              <a:grpSpLocks noChangeAspect="1"/>
            </p:cNvGrpSpPr>
            <p:nvPr>
              <p:custDataLst>
                <p:tags r:id="rId10"/>
              </p:custDataLst>
            </p:nvPr>
          </p:nvGrpSpPr>
          <p:grpSpPr bwMode="gray">
            <a:xfrm>
              <a:off x="5894005" y="3524395"/>
              <a:ext cx="209550" cy="209551"/>
              <a:chOff x="4495" y="1204"/>
              <a:chExt cx="160" cy="160"/>
            </a:xfrm>
          </p:grpSpPr>
          <p:sp>
            <p:nvSpPr>
              <p:cNvPr id="94" name="Oval 47"/>
              <p:cNvSpPr>
                <a:spLocks noChangeAspect="1" noChangeArrowheads="1"/>
              </p:cNvSpPr>
              <p:nvPr>
                <p:custDataLst>
                  <p:tags r:id="rId22"/>
                </p:custDataLst>
              </p:nvPr>
            </p:nvSpPr>
            <p:spPr bwMode="gray">
              <a:xfrm>
                <a:off x="4495" y="120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95" name="Arc 48"/>
              <p:cNvSpPr>
                <a:spLocks noChangeAspect="1"/>
              </p:cNvSpPr>
              <p:nvPr>
                <p:custDataLst>
                  <p:tags r:id="rId23"/>
                </p:custDataLst>
              </p:nvPr>
            </p:nvSpPr>
            <p:spPr bwMode="gray">
              <a:xfrm>
                <a:off x="4495" y="1204"/>
                <a:ext cx="160" cy="160"/>
              </a:xfrm>
              <a:prstGeom prst="arc">
                <a:avLst>
                  <a:gd name="adj1" fmla="val 16200000"/>
                  <a:gd name="adj2" fmla="val 108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grpSp>
        <p:grpSp>
          <p:nvGrpSpPr>
            <p:cNvPr id="83" name="MoonLegend5"/>
            <p:cNvGrpSpPr>
              <a:grpSpLocks noChangeAspect="1"/>
            </p:cNvGrpSpPr>
            <p:nvPr>
              <p:custDataLst>
                <p:tags r:id="rId11"/>
              </p:custDataLst>
            </p:nvPr>
          </p:nvGrpSpPr>
          <p:grpSpPr bwMode="gray">
            <a:xfrm>
              <a:off x="5894005" y="3799629"/>
              <a:ext cx="209550" cy="209551"/>
              <a:chOff x="4495" y="1447"/>
              <a:chExt cx="160" cy="160"/>
            </a:xfrm>
          </p:grpSpPr>
          <p:sp>
            <p:nvSpPr>
              <p:cNvPr id="92" name="Oval 50"/>
              <p:cNvSpPr>
                <a:spLocks noChangeAspect="1" noChangeArrowheads="1"/>
              </p:cNvSpPr>
              <p:nvPr>
                <p:custDataLst>
                  <p:tags r:id="rId20"/>
                </p:custDataLst>
              </p:nvPr>
            </p:nvSpPr>
            <p:spPr bwMode="gray">
              <a:xfrm>
                <a:off x="4495" y="1447"/>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93" name="Oval 51"/>
              <p:cNvSpPr>
                <a:spLocks noChangeAspect="1" noChangeArrowheads="1"/>
              </p:cNvSpPr>
              <p:nvPr>
                <p:custDataLst>
                  <p:tags r:id="rId21"/>
                </p:custDataLst>
              </p:nvPr>
            </p:nvSpPr>
            <p:spPr bwMode="gray">
              <a:xfrm>
                <a:off x="4495" y="1447"/>
                <a:ext cx="160" cy="160"/>
              </a:xfrm>
              <a:prstGeom prst="arc">
                <a:avLst>
                  <a:gd name="adj1" fmla="val 16200000"/>
                  <a:gd name="adj2" fmla="val 162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grpSp>
        <p:grpSp>
          <p:nvGrpSpPr>
            <p:cNvPr id="84" name="MoonLegend3"/>
            <p:cNvGrpSpPr>
              <a:grpSpLocks noChangeAspect="1"/>
            </p:cNvGrpSpPr>
            <p:nvPr>
              <p:custDataLst>
                <p:tags r:id="rId12"/>
              </p:custDataLst>
            </p:nvPr>
          </p:nvGrpSpPr>
          <p:grpSpPr bwMode="gray">
            <a:xfrm>
              <a:off x="5894005" y="3251543"/>
              <a:ext cx="209550" cy="209551"/>
              <a:chOff x="4495" y="1205"/>
              <a:chExt cx="160" cy="160"/>
            </a:xfrm>
          </p:grpSpPr>
          <p:sp>
            <p:nvSpPr>
              <p:cNvPr id="90" name="Oval 47"/>
              <p:cNvSpPr>
                <a:spLocks noChangeAspect="1" noChangeArrowheads="1"/>
              </p:cNvSpPr>
              <p:nvPr>
                <p:custDataLst>
                  <p:tags r:id="rId18"/>
                </p:custDataLst>
              </p:nvPr>
            </p:nvSpPr>
            <p:spPr bwMode="gray">
              <a:xfrm>
                <a:off x="4495" y="1205"/>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91" name="Arc 48"/>
              <p:cNvSpPr>
                <a:spLocks noChangeAspect="1"/>
              </p:cNvSpPr>
              <p:nvPr>
                <p:custDataLst>
                  <p:tags r:id="rId19"/>
                </p:custDataLst>
              </p:nvPr>
            </p:nvSpPr>
            <p:spPr bwMode="gray">
              <a:xfrm>
                <a:off x="4495" y="1205"/>
                <a:ext cx="160" cy="160"/>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grpSp>
        <p:sp>
          <p:nvSpPr>
            <p:cNvPr id="85" name="Legend1"/>
            <p:cNvSpPr>
              <a:spLocks noChangeArrowheads="1"/>
            </p:cNvSpPr>
            <p:nvPr>
              <p:custDataLst>
                <p:tags r:id="rId13"/>
              </p:custDataLst>
            </p:nvPr>
          </p:nvSpPr>
          <p:spPr bwMode="gray">
            <a:xfrm>
              <a:off x="6214680" y="2696542"/>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sp>
          <p:nvSpPr>
            <p:cNvPr id="86" name="Legend2"/>
            <p:cNvSpPr>
              <a:spLocks noChangeArrowheads="1"/>
            </p:cNvSpPr>
            <p:nvPr>
              <p:custDataLst>
                <p:tags r:id="rId14"/>
              </p:custDataLst>
            </p:nvPr>
          </p:nvSpPr>
          <p:spPr bwMode="gray">
            <a:xfrm>
              <a:off x="6214680" y="2974156"/>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a:latin typeface="+mn-lt"/>
                  <a:ea typeface="+mn-ea"/>
                </a:rPr>
                <a:t>Legend</a:t>
              </a:r>
              <a:endParaRPr lang="en-US" sz="1400" baseline="0" dirty="0">
                <a:latin typeface="+mn-lt"/>
                <a:ea typeface="+mn-ea"/>
              </a:endParaRPr>
            </a:p>
          </p:txBody>
        </p:sp>
        <p:sp>
          <p:nvSpPr>
            <p:cNvPr id="87" name="Legend3"/>
            <p:cNvSpPr>
              <a:spLocks noChangeArrowheads="1"/>
            </p:cNvSpPr>
            <p:nvPr>
              <p:custDataLst>
                <p:tags r:id="rId15"/>
              </p:custDataLst>
            </p:nvPr>
          </p:nvSpPr>
          <p:spPr bwMode="gray">
            <a:xfrm>
              <a:off x="6214680" y="3248596"/>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sp>
          <p:nvSpPr>
            <p:cNvPr id="88" name="Legend4"/>
            <p:cNvSpPr>
              <a:spLocks noChangeArrowheads="1"/>
            </p:cNvSpPr>
            <p:nvPr>
              <p:custDataLst>
                <p:tags r:id="rId16"/>
              </p:custDataLst>
            </p:nvPr>
          </p:nvSpPr>
          <p:spPr bwMode="gray">
            <a:xfrm>
              <a:off x="6214680" y="3521448"/>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sp>
          <p:nvSpPr>
            <p:cNvPr id="89" name="Legend5"/>
            <p:cNvSpPr>
              <a:spLocks noChangeArrowheads="1"/>
            </p:cNvSpPr>
            <p:nvPr>
              <p:custDataLst>
                <p:tags r:id="rId17"/>
              </p:custDataLst>
            </p:nvPr>
          </p:nvSpPr>
          <p:spPr bwMode="gray">
            <a:xfrm>
              <a:off x="6214680" y="3796682"/>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a:latin typeface="+mn-lt"/>
                  <a:ea typeface="+mn-ea"/>
                </a:rPr>
                <a:t>Legend</a:t>
              </a:r>
              <a:endParaRPr lang="en-US" sz="1400" baseline="0" dirty="0">
                <a:latin typeface="+mn-lt"/>
                <a:ea typeface="+mn-ea"/>
              </a:endParaRPr>
            </a:p>
          </p:txBody>
        </p:sp>
      </p:grpSp>
    </p:spTree>
    <p:extLst>
      <p:ext uri="{BB962C8B-B14F-4D97-AF65-F5344CB8AC3E}">
        <p14:creationId xmlns:p14="http://schemas.microsoft.com/office/powerpoint/2010/main" val="959051248"/>
      </p:ext>
    </p:extLst>
  </p:cSld>
  <p:clrMap bg1="lt1" tx1="dk1" bg2="lt2" tx2="dk2" accent1="accent1" accent2="accent2" accent3="accent3" accent4="accent4" accent5="accent5" accent6="accent6" hlink="hlink" folHlink="folHlink"/>
  <p:sldLayoutIdLst>
    <p:sldLayoutId id="2147483831" r:id="rId1"/>
    <p:sldLayoutId id="2147483832" r:id="rId2"/>
    <p:sldLayoutId id="2147483833" r:id="rId3"/>
  </p:sldLayoutIdLst>
  <p:txStyles>
    <p:titleStyle>
      <a:lvl1pPr algn="l" defTabSz="895350" rtl="0" eaLnBrk="1" fontAlgn="base" hangingPunct="1">
        <a:spcBef>
          <a:spcPct val="0"/>
        </a:spcBef>
        <a:spcAft>
          <a:spcPct val="0"/>
        </a:spcAft>
        <a:tabLst>
          <a:tab pos="269875" algn="l"/>
        </a:tabLst>
        <a:defRPr sz="2000" b="0" baseline="0">
          <a:solidFill>
            <a:schemeClr val="tx2"/>
          </a:solidFill>
          <a:latin typeface="+mj-lt"/>
          <a:ea typeface="+mj-ea"/>
          <a:cs typeface="+mj-cs"/>
        </a:defRPr>
      </a:lvl1pPr>
      <a:lvl2pPr algn="l" defTabSz="895350" rtl="0" eaLnBrk="1" fontAlgn="base" hangingPunct="1">
        <a:spcBef>
          <a:spcPct val="0"/>
        </a:spcBef>
        <a:spcAft>
          <a:spcPct val="0"/>
        </a:spcAft>
        <a:defRPr sz="1900" b="1">
          <a:solidFill>
            <a:schemeClr val="tx2"/>
          </a:solidFill>
          <a:latin typeface="Arial" charset="0"/>
        </a:defRPr>
      </a:lvl2pPr>
      <a:lvl3pPr algn="l" defTabSz="895350" rtl="0" eaLnBrk="1" fontAlgn="base" hangingPunct="1">
        <a:spcBef>
          <a:spcPct val="0"/>
        </a:spcBef>
        <a:spcAft>
          <a:spcPct val="0"/>
        </a:spcAft>
        <a:defRPr sz="1900" b="1">
          <a:solidFill>
            <a:schemeClr val="tx2"/>
          </a:solidFill>
          <a:latin typeface="Arial" charset="0"/>
        </a:defRPr>
      </a:lvl3pPr>
      <a:lvl4pPr algn="l" defTabSz="895350" rtl="0" eaLnBrk="1" fontAlgn="base" hangingPunct="1">
        <a:spcBef>
          <a:spcPct val="0"/>
        </a:spcBef>
        <a:spcAft>
          <a:spcPct val="0"/>
        </a:spcAft>
        <a:defRPr sz="1900" b="1">
          <a:solidFill>
            <a:schemeClr val="tx2"/>
          </a:solidFill>
          <a:latin typeface="Arial" charset="0"/>
        </a:defRPr>
      </a:lvl4pPr>
      <a:lvl5pPr algn="l" defTabSz="895350" rtl="0" eaLnBrk="1" fontAlgn="base" hangingPunct="1">
        <a:spcBef>
          <a:spcPct val="0"/>
        </a:spcBef>
        <a:spcAft>
          <a:spcPct val="0"/>
        </a:spcAft>
        <a:defRPr sz="1900" b="1">
          <a:solidFill>
            <a:schemeClr val="tx2"/>
          </a:solidFill>
          <a:latin typeface="Arial" charset="0"/>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p:titleStyle>
    <p:bodyStyle>
      <a:lvl1pPr marL="0" indent="0" algn="l" defTabSz="895350" rtl="0" eaLnBrk="1" fontAlgn="base" hangingPunct="1">
        <a:spcBef>
          <a:spcPct val="0"/>
        </a:spcBef>
        <a:spcAft>
          <a:spcPct val="0"/>
        </a:spcAft>
        <a:buClr>
          <a:schemeClr val="tx2"/>
        </a:buClr>
        <a:buSzPct val="100000"/>
        <a:defRPr sz="14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4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4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4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4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ext>
  </p:extLst>
</p:sldMaster>
</file>

<file path=ppt/slideMasters/slideMaster3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7"/>
            </p:custDataLst>
            <p:extLst>
              <p:ext uri="{D42A27DB-BD31-4B8C-83A1-F6EECF244321}">
                <p14:modId xmlns:p14="http://schemas.microsoft.com/office/powerpoint/2010/main" val="3694983445"/>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68980" name="think-cell Slide" r:id="rId36" imgW="270" imgH="270" progId="TCLayout.ActiveDocument.1">
                  <p:embed/>
                </p:oleObj>
              </mc:Choice>
              <mc:Fallback>
                <p:oleObj name="think-cell Slide" r:id="rId36" imgW="270" imgH="270" progId="TCLayout.ActiveDocument.1">
                  <p:embed/>
                  <p:pic>
                    <p:nvPicPr>
                      <p:cNvPr id="2" name="Object 1" hidden="1"/>
                      <p:cNvPicPr/>
                      <p:nvPr/>
                    </p:nvPicPr>
                    <p:blipFill>
                      <a:blip r:embed="rId37"/>
                      <a:stretch>
                        <a:fillRect/>
                      </a:stretch>
                    </p:blipFill>
                    <p:spPr>
                      <a:xfrm>
                        <a:off x="0" y="0"/>
                        <a:ext cx="158750" cy="158750"/>
                      </a:xfrm>
                      <a:prstGeom prst="rect">
                        <a:avLst/>
                      </a:prstGeom>
                    </p:spPr>
                  </p:pic>
                </p:oleObj>
              </mc:Fallback>
            </mc:AlternateContent>
          </a:graphicData>
        </a:graphic>
      </p:graphicFrame>
      <p:sp>
        <p:nvSpPr>
          <p:cNvPr id="6" name="Rectangle 5" hidden="1"/>
          <p:cNvSpPr/>
          <p:nvPr>
            <p:custDataLst>
              <p:tags r:id="rId8"/>
            </p:custDataLst>
          </p:nvPr>
        </p:nvSpPr>
        <p:spPr bwMode="auto">
          <a:xfrm>
            <a:off x="0" y="0"/>
            <a:ext cx="158750" cy="158750"/>
          </a:xfrm>
          <a:prstGeom prst="rect">
            <a:avLst/>
          </a:prstGeom>
          <a:solidFill>
            <a:schemeClr val="bg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dirty="0">
              <a:solidFill>
                <a:srgbClr val="000000"/>
              </a:solidFill>
              <a:sym typeface="Arial" panose="020B0604020202020204" pitchFamily="34" charset="0"/>
            </a:endParaRPr>
          </a:p>
        </p:txBody>
      </p:sp>
      <p:sp>
        <p:nvSpPr>
          <p:cNvPr id="1034" name="Working Draft" hidden="1"/>
          <p:cNvSpPr txBox="1">
            <a:spLocks noChangeArrowheads="1"/>
          </p:cNvSpPr>
          <p:nvPr/>
        </p:nvSpPr>
        <p:spPr bwMode="gray">
          <a:xfrm rot="5400000">
            <a:off x="7966656" y="1940591"/>
            <a:ext cx="1849865"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600" baseline="0">
                <a:solidFill>
                  <a:srgbClr val="808080"/>
                </a:solidFill>
                <a:latin typeface="+mn-lt"/>
                <a:ea typeface="+mn-ea"/>
              </a:rPr>
              <a:t>Last Modified 21/05/2018 17:44 India Standard Time</a:t>
            </a:r>
            <a:endParaRPr lang="en-US" baseline="0" dirty="0">
              <a:solidFill>
                <a:srgbClr val="808080"/>
              </a:solidFill>
              <a:latin typeface="+mn-lt"/>
              <a:ea typeface="+mn-ea"/>
            </a:endParaRPr>
          </a:p>
        </p:txBody>
      </p:sp>
      <p:sp>
        <p:nvSpPr>
          <p:cNvPr id="1035" name="Printed" hidden="1"/>
          <p:cNvSpPr txBox="1">
            <a:spLocks noChangeArrowheads="1"/>
          </p:cNvSpPr>
          <p:nvPr/>
        </p:nvSpPr>
        <p:spPr bwMode="gray">
          <a:xfrm rot="5400000">
            <a:off x="8768958" y="4114417"/>
            <a:ext cx="245260"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600" baseline="0" dirty="0">
                <a:solidFill>
                  <a:srgbClr val="808080"/>
                </a:solidFill>
                <a:latin typeface="+mn-lt"/>
                <a:ea typeface="+mn-ea"/>
              </a:rPr>
              <a:t>Printed</a:t>
            </a:r>
            <a:endParaRPr lang="en-US" baseline="0" dirty="0">
              <a:solidFill>
                <a:srgbClr val="808080"/>
              </a:solidFill>
              <a:latin typeface="+mn-lt"/>
              <a:ea typeface="+mn-ea"/>
            </a:endParaRPr>
          </a:p>
        </p:txBody>
      </p:sp>
      <p:sp>
        <p:nvSpPr>
          <p:cNvPr id="19" name="Title Placeholder 2"/>
          <p:cNvSpPr>
            <a:spLocks noGrp="1" noChangeArrowheads="1"/>
          </p:cNvSpPr>
          <p:nvPr>
            <p:ph type="title"/>
          </p:nvPr>
        </p:nvSpPr>
        <p:spPr bwMode="gray">
          <a:xfrm>
            <a:off x="119063" y="230188"/>
            <a:ext cx="8618537"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latinLnBrk="0"/>
            <a:r>
              <a:rPr lang="en-US"/>
              <a:t>Click to edit Master title style</a:t>
            </a:r>
            <a:endParaRPr lang="en-US" noProof="0" dirty="0"/>
          </a:p>
        </p:txBody>
      </p:sp>
      <p:sp>
        <p:nvSpPr>
          <p:cNvPr id="10" name="1. On-page tracker" hidden="1"/>
          <p:cNvSpPr>
            <a:spLocks noChangeArrowheads="1"/>
          </p:cNvSpPr>
          <p:nvPr/>
        </p:nvSpPr>
        <p:spPr bwMode="gray">
          <a:xfrm>
            <a:off x="119063" y="75764"/>
            <a:ext cx="490519"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800" cap="all" baseline="0" dirty="0">
                <a:solidFill>
                  <a:schemeClr val="accent6"/>
                </a:solidFill>
                <a:latin typeface="+mn-lt"/>
                <a:ea typeface="+mn-ea"/>
              </a:rPr>
              <a:t>Tracker</a:t>
            </a:r>
          </a:p>
        </p:txBody>
      </p:sp>
      <p:sp>
        <p:nvSpPr>
          <p:cNvPr id="11" name="3. Unit of measure" hidden="1"/>
          <p:cNvSpPr txBox="1">
            <a:spLocks noChangeArrowheads="1"/>
          </p:cNvSpPr>
          <p:nvPr/>
        </p:nvSpPr>
        <p:spPr bwMode="gray">
          <a:xfrm>
            <a:off x="119063" y="554865"/>
            <a:ext cx="8618537"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600" baseline="0" dirty="0">
                <a:solidFill>
                  <a:schemeClr val="accent6"/>
                </a:solidFill>
                <a:latin typeface="+mn-lt"/>
                <a:ea typeface="+mn-ea"/>
              </a:rPr>
              <a:t>Unit of measure</a:t>
            </a:r>
          </a:p>
        </p:txBody>
      </p:sp>
      <p:grpSp>
        <p:nvGrpSpPr>
          <p:cNvPr id="4" name="Slide Elements" hidden="1"/>
          <p:cNvGrpSpPr/>
          <p:nvPr/>
        </p:nvGrpSpPr>
        <p:grpSpPr bwMode="gray">
          <a:xfrm>
            <a:off x="119063" y="6305945"/>
            <a:ext cx="8618537" cy="325438"/>
            <a:chOff x="119063" y="6305945"/>
            <a:chExt cx="8618537" cy="325438"/>
          </a:xfrm>
        </p:grpSpPr>
        <p:sp>
          <p:nvSpPr>
            <p:cNvPr id="13" name="4. Footnote"/>
            <p:cNvSpPr txBox="1">
              <a:spLocks noChangeArrowheads="1"/>
            </p:cNvSpPr>
            <p:nvPr/>
          </p:nvSpPr>
          <p:spPr bwMode="gray">
            <a:xfrm>
              <a:off x="119063" y="6305945"/>
              <a:ext cx="8618537" cy="123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800" baseline="0" dirty="0">
                  <a:solidFill>
                    <a:schemeClr val="accent6"/>
                  </a:solidFill>
                  <a:latin typeface="+mn-lt"/>
                  <a:ea typeface="+mn-ea"/>
                </a:rPr>
                <a:t>1 Footnote</a:t>
              </a:r>
            </a:p>
          </p:txBody>
        </p:sp>
        <p:sp>
          <p:nvSpPr>
            <p:cNvPr id="14" name="5. Source"/>
            <p:cNvSpPr>
              <a:spLocks noChangeArrowheads="1"/>
            </p:cNvSpPr>
            <p:nvPr/>
          </p:nvSpPr>
          <p:spPr bwMode="gray">
            <a:xfrm>
              <a:off x="119063" y="6507558"/>
              <a:ext cx="7200000" cy="123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marL="609600" indent="-609600" defTabSz="895350">
                <a:tabLst>
                  <a:tab pos="612775" algn="l"/>
                </a:tabLst>
              </a:pPr>
              <a:r>
                <a:rPr lang="en-US" sz="800" baseline="0" dirty="0">
                  <a:solidFill>
                    <a:schemeClr val="accent6"/>
                  </a:solidFill>
                  <a:latin typeface="+mn-lt"/>
                  <a:ea typeface="+mn-ea"/>
                </a:rPr>
                <a:t>SOURCE: Source</a:t>
              </a:r>
            </a:p>
          </p:txBody>
        </p:sp>
      </p:grpSp>
      <p:sp>
        <p:nvSpPr>
          <p:cNvPr id="3" name="Text Placeholder 2"/>
          <p:cNvSpPr>
            <a:spLocks noGrp="1"/>
          </p:cNvSpPr>
          <p:nvPr>
            <p:ph type="body" idx="1"/>
          </p:nvPr>
        </p:nvSpPr>
        <p:spPr bwMode="gray">
          <a:xfrm>
            <a:off x="1452564" y="1951380"/>
            <a:ext cx="4302125" cy="1077218"/>
          </a:xfrm>
          <a:prstGeom prst="rect">
            <a:avLst/>
          </a:prstGeom>
        </p:spPr>
        <p:txBody>
          <a:bodyPr vert="horz" lIns="0" tIns="0" rIns="0" bIns="0" rtlCol="0">
            <a:spAutoFit/>
          </a:bodyPr>
          <a:lstStyle/>
          <a:p>
            <a:pPr lvl="0" latinLnBrk="0"/>
            <a:r>
              <a:rPr lang="en-US"/>
              <a:t>Edit Master text styles</a:t>
            </a:r>
          </a:p>
          <a:p>
            <a:pPr lvl="1" latinLnBrk="0"/>
            <a:r>
              <a:rPr lang="en-US"/>
              <a:t>Second level</a:t>
            </a:r>
          </a:p>
          <a:p>
            <a:pPr lvl="2" latinLnBrk="0"/>
            <a:r>
              <a:rPr lang="en-US"/>
              <a:t>Third level</a:t>
            </a:r>
          </a:p>
          <a:p>
            <a:pPr lvl="3" latinLnBrk="0"/>
            <a:r>
              <a:rPr lang="en-US"/>
              <a:t>Fourth level</a:t>
            </a:r>
          </a:p>
          <a:p>
            <a:pPr lvl="4" latinLnBrk="0"/>
            <a:r>
              <a:rPr lang="en-US"/>
              <a:t>Fifth level</a:t>
            </a:r>
            <a:endParaRPr lang="en-US" dirty="0"/>
          </a:p>
        </p:txBody>
      </p:sp>
      <p:grpSp>
        <p:nvGrpSpPr>
          <p:cNvPr id="15" name="ACET" hidden="1"/>
          <p:cNvGrpSpPr>
            <a:grpSpLocks/>
          </p:cNvGrpSpPr>
          <p:nvPr/>
        </p:nvGrpSpPr>
        <p:grpSpPr bwMode="gray">
          <a:xfrm>
            <a:off x="1452563" y="1257754"/>
            <a:ext cx="4264025" cy="508000"/>
            <a:chOff x="915" y="710"/>
            <a:chExt cx="2686" cy="320"/>
          </a:xfrm>
        </p:grpSpPr>
        <p:cxnSp>
          <p:nvCxnSpPr>
            <p:cNvPr id="16" name="AutoShape 249"/>
            <p:cNvCxnSpPr>
              <a:cxnSpLocks noChangeShapeType="1"/>
              <a:stCxn id="18" idx="4"/>
              <a:endCxn id="18" idx="6"/>
            </p:cNvCxnSpPr>
            <p:nvPr/>
          </p:nvCxnSpPr>
          <p:spPr bwMode="gray">
            <a:xfrm>
              <a:off x="915" y="1030"/>
              <a:ext cx="2686" cy="0"/>
            </a:xfrm>
            <a:prstGeom prst="straightConnector1">
              <a:avLst/>
            </a:prstGeom>
            <a:noFill/>
            <a:ln w="9525">
              <a:solidFill>
                <a:schemeClr val="accent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8" name="AutoShape 250"/>
            <p:cNvSpPr>
              <a:spLocks noChangeArrowheads="1"/>
            </p:cNvSpPr>
            <p:nvPr/>
          </p:nvSpPr>
          <p:spPr bwMode="gray">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US" b="1" baseline="0" dirty="0">
                  <a:solidFill>
                    <a:srgbClr val="000000"/>
                  </a:solidFill>
                  <a:latin typeface="+mn-lt"/>
                  <a:ea typeface="+mn-ea"/>
                </a:rPr>
                <a:t>Title</a:t>
              </a:r>
            </a:p>
            <a:p>
              <a:r>
                <a:rPr lang="en-US" baseline="0" dirty="0">
                  <a:solidFill>
                    <a:schemeClr val="accent6"/>
                  </a:solidFill>
                  <a:latin typeface="+mn-lt"/>
                  <a:ea typeface="+mn-ea"/>
                </a:rPr>
                <a:t>Unit of measure</a:t>
              </a:r>
            </a:p>
          </p:txBody>
        </p:sp>
      </p:grpSp>
      <p:grpSp>
        <p:nvGrpSpPr>
          <p:cNvPr id="17" name="McKSticker" hidden="1"/>
          <p:cNvGrpSpPr/>
          <p:nvPr/>
        </p:nvGrpSpPr>
        <p:grpSpPr bwMode="gray">
          <a:xfrm>
            <a:off x="8264265" y="285750"/>
            <a:ext cx="473335" cy="150811"/>
            <a:chOff x="8267440" y="285750"/>
            <a:chExt cx="473335" cy="150811"/>
          </a:xfrm>
        </p:grpSpPr>
        <p:sp>
          <p:nvSpPr>
            <p:cNvPr id="20" name="StickerRectangle"/>
            <p:cNvSpPr>
              <a:spLocks noChangeArrowheads="1"/>
            </p:cNvSpPr>
            <p:nvPr/>
          </p:nvSpPr>
          <p:spPr bwMode="gray">
            <a:xfrm>
              <a:off x="8267440" y="285750"/>
              <a:ext cx="473335" cy="150811"/>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a:buClr>
                  <a:srgbClr val="002960"/>
                </a:buClr>
              </a:pPr>
              <a:r>
                <a:rPr lang="en-US" sz="800" baseline="0" dirty="0">
                  <a:solidFill>
                    <a:schemeClr val="accent6"/>
                  </a:solidFill>
                  <a:latin typeface="+mn-lt"/>
                  <a:ea typeface="+mn-ea"/>
                </a:rPr>
                <a:t>STICKER</a:t>
              </a:r>
            </a:p>
          </p:txBody>
        </p:sp>
        <p:cxnSp>
          <p:nvCxnSpPr>
            <p:cNvPr id="21" name="AutoShape 31"/>
            <p:cNvCxnSpPr>
              <a:cxnSpLocks noChangeShapeType="1"/>
              <a:stCxn id="20" idx="2"/>
              <a:endCxn id="20" idx="4"/>
            </p:cNvCxnSpPr>
            <p:nvPr/>
          </p:nvCxnSpPr>
          <p:spPr bwMode="gray">
            <a:xfrm>
              <a:off x="8267440" y="285750"/>
              <a:ext cx="0" cy="150811"/>
            </a:xfrm>
            <a:prstGeom prst="straightConnector1">
              <a:avLst/>
            </a:prstGeom>
            <a:noFill/>
            <a:ln w="9525">
              <a:solidFill>
                <a:schemeClr val="accent6"/>
              </a:solidFill>
              <a:round/>
              <a:headEnd/>
              <a:tailEnd/>
            </a:ln>
            <a:extLst>
              <a:ext uri="{909E8E84-426E-40DD-AFC4-6F175D3DCCD1}">
                <a14:hiddenFill xmlns:a14="http://schemas.microsoft.com/office/drawing/2010/main">
                  <a:noFill/>
                </a14:hiddenFill>
              </a:ext>
            </a:extLst>
          </p:spPr>
        </p:cxnSp>
        <p:cxnSp>
          <p:nvCxnSpPr>
            <p:cNvPr id="22" name="AutoShape 32"/>
            <p:cNvCxnSpPr>
              <a:cxnSpLocks noChangeShapeType="1"/>
              <a:stCxn id="20" idx="4"/>
              <a:endCxn id="20" idx="6"/>
            </p:cNvCxnSpPr>
            <p:nvPr/>
          </p:nvCxnSpPr>
          <p:spPr bwMode="gray">
            <a:xfrm>
              <a:off x="8267440" y="436561"/>
              <a:ext cx="473335" cy="0"/>
            </a:xfrm>
            <a:prstGeom prst="straightConnector1">
              <a:avLst/>
            </a:prstGeom>
            <a:noFill/>
            <a:ln w="25400">
              <a:solidFill>
                <a:schemeClr val="accent6"/>
              </a:solidFill>
              <a:round/>
              <a:headEnd/>
              <a:tailEnd/>
            </a:ln>
            <a:extLst>
              <a:ext uri="{909E8E84-426E-40DD-AFC4-6F175D3DCCD1}">
                <a14:hiddenFill xmlns:a14="http://schemas.microsoft.com/office/drawing/2010/main">
                  <a:noFill/>
                </a14:hiddenFill>
              </a:ext>
            </a:extLst>
          </p:spPr>
        </p:cxnSp>
      </p:grpSp>
      <p:sp>
        <p:nvSpPr>
          <p:cNvPr id="23" name="SlideBottomBar" hidden="1"/>
          <p:cNvSpPr/>
          <p:nvPr/>
        </p:nvSpPr>
        <p:spPr>
          <a:xfrm>
            <a:off x="8437547" y="6182120"/>
            <a:ext cx="45719" cy="123825"/>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aseline="0" dirty="0">
              <a:solidFill>
                <a:schemeClr val="tx1"/>
              </a:solidFill>
              <a:latin typeface="+mn-lt"/>
              <a:ea typeface="+mn-ea"/>
            </a:endParaRPr>
          </a:p>
        </p:txBody>
      </p:sp>
      <p:sp>
        <p:nvSpPr>
          <p:cNvPr id="24" name="doc id" hidden="1"/>
          <p:cNvSpPr txBox="1">
            <a:spLocks noChangeArrowheads="1"/>
          </p:cNvSpPr>
          <p:nvPr/>
        </p:nvSpPr>
        <p:spPr bwMode="white">
          <a:xfrm>
            <a:off x="8104473" y="36513"/>
            <a:ext cx="634716" cy="115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hangingPunct="1">
              <a:defRPr/>
            </a:pPr>
            <a:endParaRPr lang="en-US" sz="800" baseline="0" dirty="0">
              <a:solidFill>
                <a:schemeClr val="accent1"/>
              </a:solidFill>
              <a:latin typeface="+mn-lt"/>
              <a:ea typeface="+mn-ea"/>
            </a:endParaRPr>
          </a:p>
        </p:txBody>
      </p:sp>
      <p:grpSp>
        <p:nvGrpSpPr>
          <p:cNvPr id="63" name="LegendLines" hidden="1"/>
          <p:cNvGrpSpPr/>
          <p:nvPr/>
        </p:nvGrpSpPr>
        <p:grpSpPr>
          <a:xfrm>
            <a:off x="7551589" y="267815"/>
            <a:ext cx="1158292" cy="761545"/>
            <a:chOff x="7607284" y="279400"/>
            <a:chExt cx="1158292" cy="761545"/>
          </a:xfrm>
        </p:grpSpPr>
        <p:sp>
          <p:nvSpPr>
            <p:cNvPr id="64" name="LineLegend1"/>
            <p:cNvSpPr>
              <a:spLocks noChangeShapeType="1"/>
            </p:cNvSpPr>
            <p:nvPr/>
          </p:nvSpPr>
          <p:spPr bwMode="gray">
            <a:xfrm>
              <a:off x="7607284" y="387122"/>
              <a:ext cx="457200"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65" name="LineLegend2"/>
            <p:cNvSpPr>
              <a:spLocks noChangeShapeType="1"/>
            </p:cNvSpPr>
            <p:nvPr/>
          </p:nvSpPr>
          <p:spPr bwMode="gray">
            <a:xfrm>
              <a:off x="7607284" y="653822"/>
              <a:ext cx="457200"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66" name="LineLegend3"/>
            <p:cNvSpPr>
              <a:spLocks noChangeShapeType="1"/>
            </p:cNvSpPr>
            <p:nvPr/>
          </p:nvSpPr>
          <p:spPr bwMode="gray">
            <a:xfrm>
              <a:off x="7607284" y="933223"/>
              <a:ext cx="457200"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67" name="Legend1"/>
            <p:cNvSpPr>
              <a:spLocks noChangeArrowheads="1"/>
            </p:cNvSpPr>
            <p:nvPr>
              <p:custDataLst>
                <p:tags r:id="rId33"/>
              </p:custDataLst>
            </p:nvPr>
          </p:nvSpPr>
          <p:spPr bwMode="gray">
            <a:xfrm>
              <a:off x="8169259" y="279400"/>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sp>
          <p:nvSpPr>
            <p:cNvPr id="68" name="Legend2"/>
            <p:cNvSpPr>
              <a:spLocks noChangeArrowheads="1"/>
            </p:cNvSpPr>
            <p:nvPr>
              <p:custDataLst>
                <p:tags r:id="rId34"/>
              </p:custDataLst>
            </p:nvPr>
          </p:nvSpPr>
          <p:spPr bwMode="gray">
            <a:xfrm>
              <a:off x="8169259" y="546100"/>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a:latin typeface="+mn-lt"/>
                  <a:ea typeface="+mn-ea"/>
                </a:rPr>
                <a:t>Legend</a:t>
              </a:r>
              <a:endParaRPr lang="en-US" sz="1400" baseline="0" dirty="0">
                <a:latin typeface="+mn-lt"/>
                <a:ea typeface="+mn-ea"/>
              </a:endParaRPr>
            </a:p>
          </p:txBody>
        </p:sp>
        <p:sp>
          <p:nvSpPr>
            <p:cNvPr id="69" name="Legend3"/>
            <p:cNvSpPr>
              <a:spLocks noChangeArrowheads="1"/>
            </p:cNvSpPr>
            <p:nvPr>
              <p:custDataLst>
                <p:tags r:id="rId35"/>
              </p:custDataLst>
            </p:nvPr>
          </p:nvSpPr>
          <p:spPr bwMode="gray">
            <a:xfrm>
              <a:off x="8169259" y="825501"/>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grpSp>
      <p:grpSp>
        <p:nvGrpSpPr>
          <p:cNvPr id="70" name="LegendBoxes" hidden="1"/>
          <p:cNvGrpSpPr/>
          <p:nvPr/>
        </p:nvGrpSpPr>
        <p:grpSpPr>
          <a:xfrm>
            <a:off x="7859564" y="267919"/>
            <a:ext cx="850317" cy="1028245"/>
            <a:chOff x="5894005" y="919828"/>
            <a:chExt cx="850317" cy="1028245"/>
          </a:xfrm>
        </p:grpSpPr>
        <p:sp>
          <p:nvSpPr>
            <p:cNvPr id="71" name="RectangleLegend1"/>
            <p:cNvSpPr>
              <a:spLocks noChangeArrowheads="1"/>
            </p:cNvSpPr>
            <p:nvPr/>
          </p:nvSpPr>
          <p:spPr bwMode="gray">
            <a:xfrm>
              <a:off x="5894005" y="947381"/>
              <a:ext cx="165100" cy="160338"/>
            </a:xfrm>
            <a:prstGeom prst="rect">
              <a:avLst/>
            </a:prstGeom>
            <a:solidFill>
              <a:schemeClr val="accent1"/>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72" name="RectangleLegend2"/>
            <p:cNvSpPr>
              <a:spLocks noChangeArrowheads="1"/>
            </p:cNvSpPr>
            <p:nvPr/>
          </p:nvSpPr>
          <p:spPr bwMode="gray">
            <a:xfrm>
              <a:off x="5894005" y="1217256"/>
              <a:ext cx="165100" cy="160338"/>
            </a:xfrm>
            <a:prstGeom prst="rect">
              <a:avLst/>
            </a:prstGeom>
            <a:solidFill>
              <a:schemeClr val="accent2"/>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73" name="RectangleLegend3"/>
            <p:cNvSpPr>
              <a:spLocks noChangeArrowheads="1"/>
            </p:cNvSpPr>
            <p:nvPr/>
          </p:nvSpPr>
          <p:spPr bwMode="gray">
            <a:xfrm>
              <a:off x="5894005" y="1488719"/>
              <a:ext cx="165100" cy="160338"/>
            </a:xfrm>
            <a:prstGeom prst="rect">
              <a:avLst/>
            </a:prstGeom>
            <a:solidFill>
              <a:schemeClr val="accent3"/>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74" name="RectangleLegend4"/>
            <p:cNvSpPr>
              <a:spLocks noChangeArrowheads="1"/>
            </p:cNvSpPr>
            <p:nvPr/>
          </p:nvSpPr>
          <p:spPr bwMode="gray">
            <a:xfrm>
              <a:off x="5894005" y="1760182"/>
              <a:ext cx="165100" cy="160338"/>
            </a:xfrm>
            <a:prstGeom prst="rect">
              <a:avLst/>
            </a:prstGeom>
            <a:solidFill>
              <a:schemeClr val="accent4"/>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75" name="Legend1"/>
            <p:cNvSpPr>
              <a:spLocks noChangeArrowheads="1"/>
            </p:cNvSpPr>
            <p:nvPr>
              <p:custDataLst>
                <p:tags r:id="rId29"/>
              </p:custDataLst>
            </p:nvPr>
          </p:nvSpPr>
          <p:spPr bwMode="gray">
            <a:xfrm>
              <a:off x="6148005" y="919828"/>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sp>
          <p:nvSpPr>
            <p:cNvPr id="76" name="Legend2"/>
            <p:cNvSpPr>
              <a:spLocks noChangeArrowheads="1"/>
            </p:cNvSpPr>
            <p:nvPr>
              <p:custDataLst>
                <p:tags r:id="rId30"/>
              </p:custDataLst>
            </p:nvPr>
          </p:nvSpPr>
          <p:spPr bwMode="gray">
            <a:xfrm>
              <a:off x="6148005" y="1189703"/>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sp>
          <p:nvSpPr>
            <p:cNvPr id="77" name="Legend3"/>
            <p:cNvSpPr>
              <a:spLocks noChangeArrowheads="1"/>
            </p:cNvSpPr>
            <p:nvPr>
              <p:custDataLst>
                <p:tags r:id="rId31"/>
              </p:custDataLst>
            </p:nvPr>
          </p:nvSpPr>
          <p:spPr bwMode="gray">
            <a:xfrm>
              <a:off x="6148005" y="1461166"/>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sp>
          <p:nvSpPr>
            <p:cNvPr id="78" name="Legend4"/>
            <p:cNvSpPr>
              <a:spLocks noChangeArrowheads="1"/>
            </p:cNvSpPr>
            <p:nvPr>
              <p:custDataLst>
                <p:tags r:id="rId32"/>
              </p:custDataLst>
            </p:nvPr>
          </p:nvSpPr>
          <p:spPr bwMode="gray">
            <a:xfrm>
              <a:off x="6148005" y="1732629"/>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grpSp>
      <p:grpSp>
        <p:nvGrpSpPr>
          <p:cNvPr id="79" name="LegendMoons" hidden="1"/>
          <p:cNvGrpSpPr/>
          <p:nvPr/>
        </p:nvGrpSpPr>
        <p:grpSpPr>
          <a:xfrm>
            <a:off x="7792889" y="267414"/>
            <a:ext cx="916992" cy="1317003"/>
            <a:chOff x="5894005" y="2695123"/>
            <a:chExt cx="916992" cy="1317003"/>
          </a:xfrm>
        </p:grpSpPr>
        <p:grpSp>
          <p:nvGrpSpPr>
            <p:cNvPr id="80" name="MoonLegend1"/>
            <p:cNvGrpSpPr>
              <a:grpSpLocks noChangeAspect="1"/>
            </p:cNvGrpSpPr>
            <p:nvPr>
              <p:custDataLst>
                <p:tags r:id="rId9"/>
              </p:custDataLst>
            </p:nvPr>
          </p:nvGrpSpPr>
          <p:grpSpPr bwMode="gray">
            <a:xfrm>
              <a:off x="5894005" y="2695123"/>
              <a:ext cx="209550" cy="218282"/>
              <a:chOff x="4533" y="183"/>
              <a:chExt cx="144" cy="150"/>
            </a:xfrm>
          </p:grpSpPr>
          <p:sp>
            <p:nvSpPr>
              <p:cNvPr id="98" name="Oval 97"/>
              <p:cNvSpPr>
                <a:spLocks noChangeAspect="1" noChangeArrowheads="1"/>
              </p:cNvSpPr>
              <p:nvPr>
                <p:custDataLst>
                  <p:tags r:id="rId27"/>
                </p:custDataLst>
              </p:nvPr>
            </p:nvSpPr>
            <p:spPr bwMode="gray">
              <a:xfrm>
                <a:off x="4533" y="189"/>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99" name="Arc 98" hidden="1"/>
              <p:cNvSpPr>
                <a:spLocks noChangeAspect="1"/>
              </p:cNvSpPr>
              <p:nvPr>
                <p:custDataLst>
                  <p:tags r:id="rId28"/>
                </p:custDataLst>
              </p:nvPr>
            </p:nvSpPr>
            <p:spPr bwMode="gray">
              <a:xfrm>
                <a:off x="4533" y="183"/>
                <a:ext cx="144" cy="144"/>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grpSp>
        <p:grpSp>
          <p:nvGrpSpPr>
            <p:cNvPr id="81" name="MoonLegend2"/>
            <p:cNvGrpSpPr>
              <a:grpSpLocks noChangeAspect="1"/>
            </p:cNvGrpSpPr>
            <p:nvPr>
              <p:custDataLst>
                <p:tags r:id="rId10"/>
              </p:custDataLst>
            </p:nvPr>
          </p:nvGrpSpPr>
          <p:grpSpPr bwMode="gray">
            <a:xfrm>
              <a:off x="5894005" y="2977103"/>
              <a:ext cx="209550" cy="209551"/>
              <a:chOff x="1694" y="2051"/>
              <a:chExt cx="160" cy="160"/>
            </a:xfrm>
          </p:grpSpPr>
          <p:sp>
            <p:nvSpPr>
              <p:cNvPr id="96" name="Oval 41"/>
              <p:cNvSpPr>
                <a:spLocks noChangeAspect="1" noChangeArrowheads="1"/>
              </p:cNvSpPr>
              <p:nvPr>
                <p:custDataLst>
                  <p:tags r:id="rId25"/>
                </p:custDataLst>
              </p:nvPr>
            </p:nvSpPr>
            <p:spPr bwMode="gray">
              <a:xfrm>
                <a:off x="1694" y="2051"/>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97" name="Arc 42"/>
              <p:cNvSpPr>
                <a:spLocks noChangeAspect="1"/>
              </p:cNvSpPr>
              <p:nvPr>
                <p:custDataLst>
                  <p:tags r:id="rId26"/>
                </p:custDataLst>
              </p:nvPr>
            </p:nvSpPr>
            <p:spPr bwMode="gray">
              <a:xfrm>
                <a:off x="1694" y="2051"/>
                <a:ext cx="160" cy="160"/>
              </a:xfrm>
              <a:prstGeom prst="arc">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grpSp>
        <p:grpSp>
          <p:nvGrpSpPr>
            <p:cNvPr id="82" name="MoonLegend4"/>
            <p:cNvGrpSpPr>
              <a:grpSpLocks noChangeAspect="1"/>
            </p:cNvGrpSpPr>
            <p:nvPr>
              <p:custDataLst>
                <p:tags r:id="rId11"/>
              </p:custDataLst>
            </p:nvPr>
          </p:nvGrpSpPr>
          <p:grpSpPr bwMode="gray">
            <a:xfrm>
              <a:off x="5894005" y="3524395"/>
              <a:ext cx="209550" cy="209551"/>
              <a:chOff x="4495" y="1204"/>
              <a:chExt cx="160" cy="160"/>
            </a:xfrm>
          </p:grpSpPr>
          <p:sp>
            <p:nvSpPr>
              <p:cNvPr id="94" name="Oval 47"/>
              <p:cNvSpPr>
                <a:spLocks noChangeAspect="1" noChangeArrowheads="1"/>
              </p:cNvSpPr>
              <p:nvPr>
                <p:custDataLst>
                  <p:tags r:id="rId23"/>
                </p:custDataLst>
              </p:nvPr>
            </p:nvSpPr>
            <p:spPr bwMode="gray">
              <a:xfrm>
                <a:off x="4495" y="120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95" name="Arc 48"/>
              <p:cNvSpPr>
                <a:spLocks noChangeAspect="1"/>
              </p:cNvSpPr>
              <p:nvPr>
                <p:custDataLst>
                  <p:tags r:id="rId24"/>
                </p:custDataLst>
              </p:nvPr>
            </p:nvSpPr>
            <p:spPr bwMode="gray">
              <a:xfrm>
                <a:off x="4495" y="1204"/>
                <a:ext cx="160" cy="160"/>
              </a:xfrm>
              <a:prstGeom prst="arc">
                <a:avLst>
                  <a:gd name="adj1" fmla="val 16200000"/>
                  <a:gd name="adj2" fmla="val 108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grpSp>
        <p:grpSp>
          <p:nvGrpSpPr>
            <p:cNvPr id="83" name="MoonLegend5"/>
            <p:cNvGrpSpPr>
              <a:grpSpLocks noChangeAspect="1"/>
            </p:cNvGrpSpPr>
            <p:nvPr>
              <p:custDataLst>
                <p:tags r:id="rId12"/>
              </p:custDataLst>
            </p:nvPr>
          </p:nvGrpSpPr>
          <p:grpSpPr bwMode="gray">
            <a:xfrm>
              <a:off x="5894005" y="3799629"/>
              <a:ext cx="209550" cy="209551"/>
              <a:chOff x="4495" y="1447"/>
              <a:chExt cx="160" cy="160"/>
            </a:xfrm>
          </p:grpSpPr>
          <p:sp>
            <p:nvSpPr>
              <p:cNvPr id="92" name="Oval 50"/>
              <p:cNvSpPr>
                <a:spLocks noChangeAspect="1" noChangeArrowheads="1"/>
              </p:cNvSpPr>
              <p:nvPr>
                <p:custDataLst>
                  <p:tags r:id="rId21"/>
                </p:custDataLst>
              </p:nvPr>
            </p:nvSpPr>
            <p:spPr bwMode="gray">
              <a:xfrm>
                <a:off x="4495" y="1447"/>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93" name="Oval 51"/>
              <p:cNvSpPr>
                <a:spLocks noChangeAspect="1" noChangeArrowheads="1"/>
              </p:cNvSpPr>
              <p:nvPr>
                <p:custDataLst>
                  <p:tags r:id="rId22"/>
                </p:custDataLst>
              </p:nvPr>
            </p:nvSpPr>
            <p:spPr bwMode="gray">
              <a:xfrm>
                <a:off x="4495" y="1447"/>
                <a:ext cx="160" cy="160"/>
              </a:xfrm>
              <a:prstGeom prst="arc">
                <a:avLst>
                  <a:gd name="adj1" fmla="val 16200000"/>
                  <a:gd name="adj2" fmla="val 162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grpSp>
        <p:grpSp>
          <p:nvGrpSpPr>
            <p:cNvPr id="84" name="MoonLegend3"/>
            <p:cNvGrpSpPr>
              <a:grpSpLocks noChangeAspect="1"/>
            </p:cNvGrpSpPr>
            <p:nvPr>
              <p:custDataLst>
                <p:tags r:id="rId13"/>
              </p:custDataLst>
            </p:nvPr>
          </p:nvGrpSpPr>
          <p:grpSpPr bwMode="gray">
            <a:xfrm>
              <a:off x="5894005" y="3251543"/>
              <a:ext cx="209550" cy="209551"/>
              <a:chOff x="4495" y="1205"/>
              <a:chExt cx="160" cy="160"/>
            </a:xfrm>
          </p:grpSpPr>
          <p:sp>
            <p:nvSpPr>
              <p:cNvPr id="90" name="Oval 47"/>
              <p:cNvSpPr>
                <a:spLocks noChangeAspect="1" noChangeArrowheads="1"/>
              </p:cNvSpPr>
              <p:nvPr>
                <p:custDataLst>
                  <p:tags r:id="rId19"/>
                </p:custDataLst>
              </p:nvPr>
            </p:nvSpPr>
            <p:spPr bwMode="gray">
              <a:xfrm>
                <a:off x="4495" y="1205"/>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91" name="Arc 48"/>
              <p:cNvSpPr>
                <a:spLocks noChangeAspect="1"/>
              </p:cNvSpPr>
              <p:nvPr>
                <p:custDataLst>
                  <p:tags r:id="rId20"/>
                </p:custDataLst>
              </p:nvPr>
            </p:nvSpPr>
            <p:spPr bwMode="gray">
              <a:xfrm>
                <a:off x="4495" y="1205"/>
                <a:ext cx="160" cy="160"/>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grpSp>
        <p:sp>
          <p:nvSpPr>
            <p:cNvPr id="85" name="Legend1"/>
            <p:cNvSpPr>
              <a:spLocks noChangeArrowheads="1"/>
            </p:cNvSpPr>
            <p:nvPr>
              <p:custDataLst>
                <p:tags r:id="rId14"/>
              </p:custDataLst>
            </p:nvPr>
          </p:nvSpPr>
          <p:spPr bwMode="gray">
            <a:xfrm>
              <a:off x="6214680" y="2696542"/>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sp>
          <p:nvSpPr>
            <p:cNvPr id="86" name="Legend2"/>
            <p:cNvSpPr>
              <a:spLocks noChangeArrowheads="1"/>
            </p:cNvSpPr>
            <p:nvPr>
              <p:custDataLst>
                <p:tags r:id="rId15"/>
              </p:custDataLst>
            </p:nvPr>
          </p:nvSpPr>
          <p:spPr bwMode="gray">
            <a:xfrm>
              <a:off x="6214680" y="2974156"/>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a:latin typeface="+mn-lt"/>
                  <a:ea typeface="+mn-ea"/>
                </a:rPr>
                <a:t>Legend</a:t>
              </a:r>
              <a:endParaRPr lang="en-US" sz="1400" baseline="0" dirty="0">
                <a:latin typeface="+mn-lt"/>
                <a:ea typeface="+mn-ea"/>
              </a:endParaRPr>
            </a:p>
          </p:txBody>
        </p:sp>
        <p:sp>
          <p:nvSpPr>
            <p:cNvPr id="87" name="Legend3"/>
            <p:cNvSpPr>
              <a:spLocks noChangeArrowheads="1"/>
            </p:cNvSpPr>
            <p:nvPr>
              <p:custDataLst>
                <p:tags r:id="rId16"/>
              </p:custDataLst>
            </p:nvPr>
          </p:nvSpPr>
          <p:spPr bwMode="gray">
            <a:xfrm>
              <a:off x="6214680" y="3248596"/>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sp>
          <p:nvSpPr>
            <p:cNvPr id="88" name="Legend4"/>
            <p:cNvSpPr>
              <a:spLocks noChangeArrowheads="1"/>
            </p:cNvSpPr>
            <p:nvPr>
              <p:custDataLst>
                <p:tags r:id="rId17"/>
              </p:custDataLst>
            </p:nvPr>
          </p:nvSpPr>
          <p:spPr bwMode="gray">
            <a:xfrm>
              <a:off x="6214680" y="3521448"/>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sp>
          <p:nvSpPr>
            <p:cNvPr id="89" name="Legend5"/>
            <p:cNvSpPr>
              <a:spLocks noChangeArrowheads="1"/>
            </p:cNvSpPr>
            <p:nvPr>
              <p:custDataLst>
                <p:tags r:id="rId18"/>
              </p:custDataLst>
            </p:nvPr>
          </p:nvSpPr>
          <p:spPr bwMode="gray">
            <a:xfrm>
              <a:off x="6214680" y="3796682"/>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a:latin typeface="+mn-lt"/>
                  <a:ea typeface="+mn-ea"/>
                </a:rPr>
                <a:t>Legend</a:t>
              </a:r>
              <a:endParaRPr lang="en-US" sz="1400" baseline="0" dirty="0">
                <a:latin typeface="+mn-lt"/>
                <a:ea typeface="+mn-ea"/>
              </a:endParaRPr>
            </a:p>
          </p:txBody>
        </p:sp>
      </p:grpSp>
    </p:spTree>
    <p:extLst>
      <p:ext uri="{BB962C8B-B14F-4D97-AF65-F5344CB8AC3E}">
        <p14:creationId xmlns:p14="http://schemas.microsoft.com/office/powerpoint/2010/main" val="2964025570"/>
      </p:ext>
    </p:extLst>
  </p:cSld>
  <p:clrMap bg1="lt1" tx1="dk1" bg2="lt2" tx2="dk2" accent1="accent1" accent2="accent2" accent3="accent3" accent4="accent4" accent5="accent5" accent6="accent6" hlink="hlink" folHlink="folHlink"/>
  <p:sldLayoutIdLst>
    <p:sldLayoutId id="2147483836" r:id="rId1"/>
    <p:sldLayoutId id="2147483837" r:id="rId2"/>
    <p:sldLayoutId id="2147483838" r:id="rId3"/>
    <p:sldLayoutId id="2147483839" r:id="rId4"/>
  </p:sldLayoutIdLst>
  <p:txStyles>
    <p:titleStyle>
      <a:lvl1pPr algn="l" defTabSz="895350" rtl="0" eaLnBrk="1" fontAlgn="base" hangingPunct="1">
        <a:spcBef>
          <a:spcPct val="0"/>
        </a:spcBef>
        <a:spcAft>
          <a:spcPct val="0"/>
        </a:spcAft>
        <a:tabLst>
          <a:tab pos="269875" algn="l"/>
        </a:tabLst>
        <a:defRPr sz="2000" b="0" baseline="0">
          <a:solidFill>
            <a:schemeClr val="tx2"/>
          </a:solidFill>
          <a:latin typeface="+mj-lt"/>
          <a:ea typeface="+mj-ea"/>
          <a:cs typeface="+mj-cs"/>
        </a:defRPr>
      </a:lvl1pPr>
      <a:lvl2pPr algn="l" defTabSz="895350" rtl="0" eaLnBrk="1" fontAlgn="base" hangingPunct="1">
        <a:spcBef>
          <a:spcPct val="0"/>
        </a:spcBef>
        <a:spcAft>
          <a:spcPct val="0"/>
        </a:spcAft>
        <a:defRPr sz="1900" b="1">
          <a:solidFill>
            <a:schemeClr val="tx2"/>
          </a:solidFill>
          <a:latin typeface="Arial" charset="0"/>
        </a:defRPr>
      </a:lvl2pPr>
      <a:lvl3pPr algn="l" defTabSz="895350" rtl="0" eaLnBrk="1" fontAlgn="base" hangingPunct="1">
        <a:spcBef>
          <a:spcPct val="0"/>
        </a:spcBef>
        <a:spcAft>
          <a:spcPct val="0"/>
        </a:spcAft>
        <a:defRPr sz="1900" b="1">
          <a:solidFill>
            <a:schemeClr val="tx2"/>
          </a:solidFill>
          <a:latin typeface="Arial" charset="0"/>
        </a:defRPr>
      </a:lvl3pPr>
      <a:lvl4pPr algn="l" defTabSz="895350" rtl="0" eaLnBrk="1" fontAlgn="base" hangingPunct="1">
        <a:spcBef>
          <a:spcPct val="0"/>
        </a:spcBef>
        <a:spcAft>
          <a:spcPct val="0"/>
        </a:spcAft>
        <a:defRPr sz="1900" b="1">
          <a:solidFill>
            <a:schemeClr val="tx2"/>
          </a:solidFill>
          <a:latin typeface="Arial" charset="0"/>
        </a:defRPr>
      </a:lvl4pPr>
      <a:lvl5pPr algn="l" defTabSz="895350" rtl="0" eaLnBrk="1" fontAlgn="base" hangingPunct="1">
        <a:spcBef>
          <a:spcPct val="0"/>
        </a:spcBef>
        <a:spcAft>
          <a:spcPct val="0"/>
        </a:spcAft>
        <a:defRPr sz="1900" b="1">
          <a:solidFill>
            <a:schemeClr val="tx2"/>
          </a:solidFill>
          <a:latin typeface="Arial" charset="0"/>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p:titleStyle>
    <p:bodyStyle>
      <a:lvl1pPr marL="0" indent="0" algn="l" defTabSz="895350" rtl="0" eaLnBrk="1" fontAlgn="base" hangingPunct="1">
        <a:spcBef>
          <a:spcPct val="0"/>
        </a:spcBef>
        <a:spcAft>
          <a:spcPct val="0"/>
        </a:spcAft>
        <a:buClr>
          <a:schemeClr val="tx2"/>
        </a:buClr>
        <a:buSzPct val="100000"/>
        <a:defRPr sz="14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4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4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4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4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ext>
  </p:extLst>
</p:sldMaster>
</file>

<file path=ppt/slideMasters/slideMaster3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7"/>
            </p:custDataLst>
            <p:extLst>
              <p:ext uri="{D42A27DB-BD31-4B8C-83A1-F6EECF244321}">
                <p14:modId xmlns:p14="http://schemas.microsoft.com/office/powerpoint/2010/main" val="3675761358"/>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74100" name="think-cell Slide" r:id="rId36" imgW="270" imgH="270" progId="TCLayout.ActiveDocument.1">
                  <p:embed/>
                </p:oleObj>
              </mc:Choice>
              <mc:Fallback>
                <p:oleObj name="think-cell Slide" r:id="rId36" imgW="270" imgH="270" progId="TCLayout.ActiveDocument.1">
                  <p:embed/>
                  <p:pic>
                    <p:nvPicPr>
                      <p:cNvPr id="2" name="Object 1" hidden="1"/>
                      <p:cNvPicPr/>
                      <p:nvPr/>
                    </p:nvPicPr>
                    <p:blipFill>
                      <a:blip r:embed="rId37"/>
                      <a:stretch>
                        <a:fillRect/>
                      </a:stretch>
                    </p:blipFill>
                    <p:spPr>
                      <a:xfrm>
                        <a:off x="0" y="0"/>
                        <a:ext cx="158750" cy="158750"/>
                      </a:xfrm>
                      <a:prstGeom prst="rect">
                        <a:avLst/>
                      </a:prstGeom>
                    </p:spPr>
                  </p:pic>
                </p:oleObj>
              </mc:Fallback>
            </mc:AlternateContent>
          </a:graphicData>
        </a:graphic>
      </p:graphicFrame>
      <p:sp>
        <p:nvSpPr>
          <p:cNvPr id="6" name="Rectangle 5" hidden="1"/>
          <p:cNvSpPr/>
          <p:nvPr>
            <p:custDataLst>
              <p:tags r:id="rId8"/>
            </p:custDataLst>
          </p:nvPr>
        </p:nvSpPr>
        <p:spPr bwMode="auto">
          <a:xfrm>
            <a:off x="0" y="0"/>
            <a:ext cx="158750" cy="158750"/>
          </a:xfrm>
          <a:prstGeom prst="rect">
            <a:avLst/>
          </a:prstGeom>
          <a:solidFill>
            <a:schemeClr val="bg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dirty="0">
              <a:solidFill>
                <a:srgbClr val="000000"/>
              </a:solidFill>
              <a:sym typeface="Arial" panose="020B0604020202020204" pitchFamily="34" charset="0"/>
            </a:endParaRPr>
          </a:p>
        </p:txBody>
      </p:sp>
      <p:sp>
        <p:nvSpPr>
          <p:cNvPr id="1034" name="Working Draft" hidden="1"/>
          <p:cNvSpPr txBox="1">
            <a:spLocks noChangeArrowheads="1"/>
          </p:cNvSpPr>
          <p:nvPr/>
        </p:nvSpPr>
        <p:spPr bwMode="gray">
          <a:xfrm rot="5400000">
            <a:off x="7966656" y="1940591"/>
            <a:ext cx="1849865"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600" baseline="0">
                <a:solidFill>
                  <a:srgbClr val="808080"/>
                </a:solidFill>
                <a:latin typeface="+mn-lt"/>
                <a:ea typeface="+mn-ea"/>
              </a:rPr>
              <a:t>Last Modified 21/05/2018 17:44 India Standard Time</a:t>
            </a:r>
            <a:endParaRPr lang="en-US" baseline="0" dirty="0">
              <a:solidFill>
                <a:srgbClr val="808080"/>
              </a:solidFill>
              <a:latin typeface="+mn-lt"/>
              <a:ea typeface="+mn-ea"/>
            </a:endParaRPr>
          </a:p>
        </p:txBody>
      </p:sp>
      <p:sp>
        <p:nvSpPr>
          <p:cNvPr id="1035" name="Printed" hidden="1"/>
          <p:cNvSpPr txBox="1">
            <a:spLocks noChangeArrowheads="1"/>
          </p:cNvSpPr>
          <p:nvPr/>
        </p:nvSpPr>
        <p:spPr bwMode="gray">
          <a:xfrm rot="5400000">
            <a:off x="8768958" y="4114417"/>
            <a:ext cx="245260"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600" baseline="0" dirty="0">
                <a:solidFill>
                  <a:srgbClr val="808080"/>
                </a:solidFill>
                <a:latin typeface="+mn-lt"/>
                <a:ea typeface="+mn-ea"/>
              </a:rPr>
              <a:t>Printed</a:t>
            </a:r>
            <a:endParaRPr lang="en-US" baseline="0" dirty="0">
              <a:solidFill>
                <a:srgbClr val="808080"/>
              </a:solidFill>
              <a:latin typeface="+mn-lt"/>
              <a:ea typeface="+mn-ea"/>
            </a:endParaRPr>
          </a:p>
        </p:txBody>
      </p:sp>
      <p:sp>
        <p:nvSpPr>
          <p:cNvPr id="19" name="Title Placeholder 2"/>
          <p:cNvSpPr>
            <a:spLocks noGrp="1" noChangeArrowheads="1"/>
          </p:cNvSpPr>
          <p:nvPr>
            <p:ph type="title"/>
          </p:nvPr>
        </p:nvSpPr>
        <p:spPr bwMode="gray">
          <a:xfrm>
            <a:off x="119063" y="230188"/>
            <a:ext cx="8618537"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latinLnBrk="0"/>
            <a:r>
              <a:rPr lang="en-US"/>
              <a:t>Click to edit Master title style</a:t>
            </a:r>
            <a:endParaRPr lang="en-US" noProof="0" dirty="0"/>
          </a:p>
        </p:txBody>
      </p:sp>
      <p:sp>
        <p:nvSpPr>
          <p:cNvPr id="10" name="1. On-page tracker" hidden="1"/>
          <p:cNvSpPr>
            <a:spLocks noChangeArrowheads="1"/>
          </p:cNvSpPr>
          <p:nvPr/>
        </p:nvSpPr>
        <p:spPr bwMode="gray">
          <a:xfrm>
            <a:off x="119063" y="75764"/>
            <a:ext cx="490519"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800" cap="all" baseline="0" dirty="0">
                <a:solidFill>
                  <a:schemeClr val="accent6"/>
                </a:solidFill>
                <a:latin typeface="+mn-lt"/>
                <a:ea typeface="+mn-ea"/>
              </a:rPr>
              <a:t>Tracker</a:t>
            </a:r>
          </a:p>
        </p:txBody>
      </p:sp>
      <p:sp>
        <p:nvSpPr>
          <p:cNvPr id="11" name="3. Unit of measure" hidden="1"/>
          <p:cNvSpPr txBox="1">
            <a:spLocks noChangeArrowheads="1"/>
          </p:cNvSpPr>
          <p:nvPr/>
        </p:nvSpPr>
        <p:spPr bwMode="gray">
          <a:xfrm>
            <a:off x="119063" y="554865"/>
            <a:ext cx="8618537"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600" baseline="0" dirty="0">
                <a:solidFill>
                  <a:schemeClr val="accent6"/>
                </a:solidFill>
                <a:latin typeface="+mn-lt"/>
                <a:ea typeface="+mn-ea"/>
              </a:rPr>
              <a:t>Unit of measure</a:t>
            </a:r>
          </a:p>
        </p:txBody>
      </p:sp>
      <p:grpSp>
        <p:nvGrpSpPr>
          <p:cNvPr id="4" name="Slide Elements" hidden="1"/>
          <p:cNvGrpSpPr/>
          <p:nvPr/>
        </p:nvGrpSpPr>
        <p:grpSpPr bwMode="gray">
          <a:xfrm>
            <a:off x="119063" y="6305945"/>
            <a:ext cx="8618537" cy="325438"/>
            <a:chOff x="119063" y="6305945"/>
            <a:chExt cx="8618537" cy="325438"/>
          </a:xfrm>
        </p:grpSpPr>
        <p:sp>
          <p:nvSpPr>
            <p:cNvPr id="13" name="4. Footnote"/>
            <p:cNvSpPr txBox="1">
              <a:spLocks noChangeArrowheads="1"/>
            </p:cNvSpPr>
            <p:nvPr/>
          </p:nvSpPr>
          <p:spPr bwMode="gray">
            <a:xfrm>
              <a:off x="119063" y="6305945"/>
              <a:ext cx="8618537" cy="123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800" baseline="0" dirty="0">
                  <a:solidFill>
                    <a:schemeClr val="accent6"/>
                  </a:solidFill>
                  <a:latin typeface="+mn-lt"/>
                  <a:ea typeface="+mn-ea"/>
                </a:rPr>
                <a:t>1 Footnote</a:t>
              </a:r>
            </a:p>
          </p:txBody>
        </p:sp>
        <p:sp>
          <p:nvSpPr>
            <p:cNvPr id="14" name="5. Source"/>
            <p:cNvSpPr>
              <a:spLocks noChangeArrowheads="1"/>
            </p:cNvSpPr>
            <p:nvPr/>
          </p:nvSpPr>
          <p:spPr bwMode="gray">
            <a:xfrm>
              <a:off x="119063" y="6507558"/>
              <a:ext cx="7200000" cy="123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marL="609600" indent="-609600" defTabSz="895350">
                <a:tabLst>
                  <a:tab pos="612775" algn="l"/>
                </a:tabLst>
              </a:pPr>
              <a:r>
                <a:rPr lang="en-US" sz="800" baseline="0" dirty="0">
                  <a:solidFill>
                    <a:schemeClr val="accent6"/>
                  </a:solidFill>
                  <a:latin typeface="+mn-lt"/>
                  <a:ea typeface="+mn-ea"/>
                </a:rPr>
                <a:t>SOURCE: Source</a:t>
              </a:r>
            </a:p>
          </p:txBody>
        </p:sp>
      </p:grpSp>
      <p:sp>
        <p:nvSpPr>
          <p:cNvPr id="3" name="Text Placeholder 2"/>
          <p:cNvSpPr>
            <a:spLocks noGrp="1"/>
          </p:cNvSpPr>
          <p:nvPr>
            <p:ph type="body" idx="1"/>
          </p:nvPr>
        </p:nvSpPr>
        <p:spPr bwMode="gray">
          <a:xfrm>
            <a:off x="1452564" y="1951380"/>
            <a:ext cx="4302125" cy="1077218"/>
          </a:xfrm>
          <a:prstGeom prst="rect">
            <a:avLst/>
          </a:prstGeom>
        </p:spPr>
        <p:txBody>
          <a:bodyPr vert="horz" lIns="0" tIns="0" rIns="0" bIns="0" rtlCol="0">
            <a:spAutoFit/>
          </a:bodyPr>
          <a:lstStyle/>
          <a:p>
            <a:pPr lvl="0" latinLnBrk="0"/>
            <a:r>
              <a:rPr lang="en-US"/>
              <a:t>Edit Master text styles</a:t>
            </a:r>
          </a:p>
          <a:p>
            <a:pPr lvl="1" latinLnBrk="0"/>
            <a:r>
              <a:rPr lang="en-US"/>
              <a:t>Second level</a:t>
            </a:r>
          </a:p>
          <a:p>
            <a:pPr lvl="2" latinLnBrk="0"/>
            <a:r>
              <a:rPr lang="en-US"/>
              <a:t>Third level</a:t>
            </a:r>
          </a:p>
          <a:p>
            <a:pPr lvl="3" latinLnBrk="0"/>
            <a:r>
              <a:rPr lang="en-US"/>
              <a:t>Fourth level</a:t>
            </a:r>
          </a:p>
          <a:p>
            <a:pPr lvl="4" latinLnBrk="0"/>
            <a:r>
              <a:rPr lang="en-US"/>
              <a:t>Fifth level</a:t>
            </a:r>
            <a:endParaRPr lang="en-US" dirty="0"/>
          </a:p>
        </p:txBody>
      </p:sp>
      <p:grpSp>
        <p:nvGrpSpPr>
          <p:cNvPr id="15" name="ACET" hidden="1"/>
          <p:cNvGrpSpPr>
            <a:grpSpLocks/>
          </p:cNvGrpSpPr>
          <p:nvPr/>
        </p:nvGrpSpPr>
        <p:grpSpPr bwMode="gray">
          <a:xfrm>
            <a:off x="1452563" y="1257754"/>
            <a:ext cx="4264025" cy="508000"/>
            <a:chOff x="915" y="710"/>
            <a:chExt cx="2686" cy="320"/>
          </a:xfrm>
        </p:grpSpPr>
        <p:cxnSp>
          <p:nvCxnSpPr>
            <p:cNvPr id="16" name="AutoShape 249"/>
            <p:cNvCxnSpPr>
              <a:cxnSpLocks noChangeShapeType="1"/>
              <a:stCxn id="18" idx="4"/>
              <a:endCxn id="18" idx="6"/>
            </p:cNvCxnSpPr>
            <p:nvPr/>
          </p:nvCxnSpPr>
          <p:spPr bwMode="gray">
            <a:xfrm>
              <a:off x="915" y="1030"/>
              <a:ext cx="2686" cy="0"/>
            </a:xfrm>
            <a:prstGeom prst="straightConnector1">
              <a:avLst/>
            </a:prstGeom>
            <a:noFill/>
            <a:ln w="9525">
              <a:solidFill>
                <a:schemeClr val="accent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8" name="AutoShape 250"/>
            <p:cNvSpPr>
              <a:spLocks noChangeArrowheads="1"/>
            </p:cNvSpPr>
            <p:nvPr/>
          </p:nvSpPr>
          <p:spPr bwMode="gray">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US" b="1" baseline="0" dirty="0">
                  <a:solidFill>
                    <a:srgbClr val="000000"/>
                  </a:solidFill>
                  <a:latin typeface="+mn-lt"/>
                  <a:ea typeface="+mn-ea"/>
                </a:rPr>
                <a:t>Title</a:t>
              </a:r>
            </a:p>
            <a:p>
              <a:r>
                <a:rPr lang="en-US" baseline="0" dirty="0">
                  <a:solidFill>
                    <a:schemeClr val="accent6"/>
                  </a:solidFill>
                  <a:latin typeface="+mn-lt"/>
                  <a:ea typeface="+mn-ea"/>
                </a:rPr>
                <a:t>Unit of measure</a:t>
              </a:r>
            </a:p>
          </p:txBody>
        </p:sp>
      </p:grpSp>
      <p:grpSp>
        <p:nvGrpSpPr>
          <p:cNvPr id="17" name="McKSticker" hidden="1"/>
          <p:cNvGrpSpPr/>
          <p:nvPr/>
        </p:nvGrpSpPr>
        <p:grpSpPr bwMode="gray">
          <a:xfrm>
            <a:off x="8264265" y="285750"/>
            <a:ext cx="473335" cy="150811"/>
            <a:chOff x="8267440" y="285750"/>
            <a:chExt cx="473335" cy="150811"/>
          </a:xfrm>
        </p:grpSpPr>
        <p:sp>
          <p:nvSpPr>
            <p:cNvPr id="20" name="StickerRectangle"/>
            <p:cNvSpPr>
              <a:spLocks noChangeArrowheads="1"/>
            </p:cNvSpPr>
            <p:nvPr/>
          </p:nvSpPr>
          <p:spPr bwMode="gray">
            <a:xfrm>
              <a:off x="8267440" y="285750"/>
              <a:ext cx="473335" cy="150811"/>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a:buClr>
                  <a:srgbClr val="002960"/>
                </a:buClr>
              </a:pPr>
              <a:r>
                <a:rPr lang="en-US" sz="800" baseline="0" dirty="0">
                  <a:solidFill>
                    <a:schemeClr val="accent6"/>
                  </a:solidFill>
                  <a:latin typeface="+mn-lt"/>
                  <a:ea typeface="+mn-ea"/>
                </a:rPr>
                <a:t>STICKER</a:t>
              </a:r>
            </a:p>
          </p:txBody>
        </p:sp>
        <p:cxnSp>
          <p:nvCxnSpPr>
            <p:cNvPr id="21" name="AutoShape 31"/>
            <p:cNvCxnSpPr>
              <a:cxnSpLocks noChangeShapeType="1"/>
              <a:stCxn id="20" idx="2"/>
              <a:endCxn id="20" idx="4"/>
            </p:cNvCxnSpPr>
            <p:nvPr/>
          </p:nvCxnSpPr>
          <p:spPr bwMode="gray">
            <a:xfrm>
              <a:off x="8267440" y="285750"/>
              <a:ext cx="0" cy="150811"/>
            </a:xfrm>
            <a:prstGeom prst="straightConnector1">
              <a:avLst/>
            </a:prstGeom>
            <a:noFill/>
            <a:ln w="9525">
              <a:solidFill>
                <a:schemeClr val="accent6"/>
              </a:solidFill>
              <a:round/>
              <a:headEnd/>
              <a:tailEnd/>
            </a:ln>
            <a:extLst>
              <a:ext uri="{909E8E84-426E-40DD-AFC4-6F175D3DCCD1}">
                <a14:hiddenFill xmlns:a14="http://schemas.microsoft.com/office/drawing/2010/main">
                  <a:noFill/>
                </a14:hiddenFill>
              </a:ext>
            </a:extLst>
          </p:spPr>
        </p:cxnSp>
        <p:cxnSp>
          <p:nvCxnSpPr>
            <p:cNvPr id="22" name="AutoShape 32"/>
            <p:cNvCxnSpPr>
              <a:cxnSpLocks noChangeShapeType="1"/>
              <a:stCxn id="20" idx="4"/>
              <a:endCxn id="20" idx="6"/>
            </p:cNvCxnSpPr>
            <p:nvPr/>
          </p:nvCxnSpPr>
          <p:spPr bwMode="gray">
            <a:xfrm>
              <a:off x="8267440" y="436561"/>
              <a:ext cx="473335" cy="0"/>
            </a:xfrm>
            <a:prstGeom prst="straightConnector1">
              <a:avLst/>
            </a:prstGeom>
            <a:noFill/>
            <a:ln w="25400">
              <a:solidFill>
                <a:schemeClr val="accent6"/>
              </a:solidFill>
              <a:round/>
              <a:headEnd/>
              <a:tailEnd/>
            </a:ln>
            <a:extLst>
              <a:ext uri="{909E8E84-426E-40DD-AFC4-6F175D3DCCD1}">
                <a14:hiddenFill xmlns:a14="http://schemas.microsoft.com/office/drawing/2010/main">
                  <a:noFill/>
                </a14:hiddenFill>
              </a:ext>
            </a:extLst>
          </p:spPr>
        </p:cxnSp>
      </p:grpSp>
      <p:sp>
        <p:nvSpPr>
          <p:cNvPr id="23" name="SlideBottomBar" hidden="1"/>
          <p:cNvSpPr/>
          <p:nvPr/>
        </p:nvSpPr>
        <p:spPr>
          <a:xfrm>
            <a:off x="8437547" y="6182120"/>
            <a:ext cx="45719" cy="123825"/>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aseline="0" dirty="0">
              <a:solidFill>
                <a:schemeClr val="tx1"/>
              </a:solidFill>
              <a:latin typeface="+mn-lt"/>
              <a:ea typeface="+mn-ea"/>
            </a:endParaRPr>
          </a:p>
        </p:txBody>
      </p:sp>
      <p:sp>
        <p:nvSpPr>
          <p:cNvPr id="24" name="doc id" hidden="1"/>
          <p:cNvSpPr txBox="1">
            <a:spLocks noChangeArrowheads="1"/>
          </p:cNvSpPr>
          <p:nvPr/>
        </p:nvSpPr>
        <p:spPr bwMode="white">
          <a:xfrm>
            <a:off x="8104473" y="36513"/>
            <a:ext cx="634716" cy="115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hangingPunct="1">
              <a:defRPr/>
            </a:pPr>
            <a:endParaRPr lang="en-US" sz="800" baseline="0" dirty="0">
              <a:solidFill>
                <a:schemeClr val="accent1"/>
              </a:solidFill>
              <a:latin typeface="+mn-lt"/>
              <a:ea typeface="+mn-ea"/>
            </a:endParaRPr>
          </a:p>
        </p:txBody>
      </p:sp>
      <p:grpSp>
        <p:nvGrpSpPr>
          <p:cNvPr id="63" name="LegendLines" hidden="1"/>
          <p:cNvGrpSpPr/>
          <p:nvPr/>
        </p:nvGrpSpPr>
        <p:grpSpPr>
          <a:xfrm>
            <a:off x="7551589" y="267815"/>
            <a:ext cx="1158292" cy="761545"/>
            <a:chOff x="7607284" y="279400"/>
            <a:chExt cx="1158292" cy="761545"/>
          </a:xfrm>
        </p:grpSpPr>
        <p:sp>
          <p:nvSpPr>
            <p:cNvPr id="64" name="LineLegend1"/>
            <p:cNvSpPr>
              <a:spLocks noChangeShapeType="1"/>
            </p:cNvSpPr>
            <p:nvPr/>
          </p:nvSpPr>
          <p:spPr bwMode="gray">
            <a:xfrm>
              <a:off x="7607284" y="387122"/>
              <a:ext cx="457200"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65" name="LineLegend2"/>
            <p:cNvSpPr>
              <a:spLocks noChangeShapeType="1"/>
            </p:cNvSpPr>
            <p:nvPr/>
          </p:nvSpPr>
          <p:spPr bwMode="gray">
            <a:xfrm>
              <a:off x="7607284" y="653822"/>
              <a:ext cx="457200"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66" name="LineLegend3"/>
            <p:cNvSpPr>
              <a:spLocks noChangeShapeType="1"/>
            </p:cNvSpPr>
            <p:nvPr/>
          </p:nvSpPr>
          <p:spPr bwMode="gray">
            <a:xfrm>
              <a:off x="7607284" y="933223"/>
              <a:ext cx="457200"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67" name="Legend1"/>
            <p:cNvSpPr>
              <a:spLocks noChangeArrowheads="1"/>
            </p:cNvSpPr>
            <p:nvPr>
              <p:custDataLst>
                <p:tags r:id="rId33"/>
              </p:custDataLst>
            </p:nvPr>
          </p:nvSpPr>
          <p:spPr bwMode="gray">
            <a:xfrm>
              <a:off x="8169259" y="279400"/>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sp>
          <p:nvSpPr>
            <p:cNvPr id="68" name="Legend2"/>
            <p:cNvSpPr>
              <a:spLocks noChangeArrowheads="1"/>
            </p:cNvSpPr>
            <p:nvPr>
              <p:custDataLst>
                <p:tags r:id="rId34"/>
              </p:custDataLst>
            </p:nvPr>
          </p:nvSpPr>
          <p:spPr bwMode="gray">
            <a:xfrm>
              <a:off x="8169259" y="546100"/>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a:latin typeface="+mn-lt"/>
                  <a:ea typeface="+mn-ea"/>
                </a:rPr>
                <a:t>Legend</a:t>
              </a:r>
              <a:endParaRPr lang="en-US" sz="1400" baseline="0" dirty="0">
                <a:latin typeface="+mn-lt"/>
                <a:ea typeface="+mn-ea"/>
              </a:endParaRPr>
            </a:p>
          </p:txBody>
        </p:sp>
        <p:sp>
          <p:nvSpPr>
            <p:cNvPr id="69" name="Legend3"/>
            <p:cNvSpPr>
              <a:spLocks noChangeArrowheads="1"/>
            </p:cNvSpPr>
            <p:nvPr>
              <p:custDataLst>
                <p:tags r:id="rId35"/>
              </p:custDataLst>
            </p:nvPr>
          </p:nvSpPr>
          <p:spPr bwMode="gray">
            <a:xfrm>
              <a:off x="8169259" y="825501"/>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grpSp>
      <p:grpSp>
        <p:nvGrpSpPr>
          <p:cNvPr id="70" name="LegendBoxes" hidden="1"/>
          <p:cNvGrpSpPr/>
          <p:nvPr/>
        </p:nvGrpSpPr>
        <p:grpSpPr>
          <a:xfrm>
            <a:off x="7859564" y="267919"/>
            <a:ext cx="850317" cy="1028245"/>
            <a:chOff x="5894005" y="919828"/>
            <a:chExt cx="850317" cy="1028245"/>
          </a:xfrm>
        </p:grpSpPr>
        <p:sp>
          <p:nvSpPr>
            <p:cNvPr id="71" name="RectangleLegend1"/>
            <p:cNvSpPr>
              <a:spLocks noChangeArrowheads="1"/>
            </p:cNvSpPr>
            <p:nvPr/>
          </p:nvSpPr>
          <p:spPr bwMode="gray">
            <a:xfrm>
              <a:off x="5894005" y="947381"/>
              <a:ext cx="165100" cy="160338"/>
            </a:xfrm>
            <a:prstGeom prst="rect">
              <a:avLst/>
            </a:prstGeom>
            <a:solidFill>
              <a:schemeClr val="accent1"/>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72" name="RectangleLegend2"/>
            <p:cNvSpPr>
              <a:spLocks noChangeArrowheads="1"/>
            </p:cNvSpPr>
            <p:nvPr/>
          </p:nvSpPr>
          <p:spPr bwMode="gray">
            <a:xfrm>
              <a:off x="5894005" y="1217256"/>
              <a:ext cx="165100" cy="160338"/>
            </a:xfrm>
            <a:prstGeom prst="rect">
              <a:avLst/>
            </a:prstGeom>
            <a:solidFill>
              <a:schemeClr val="accent2"/>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73" name="RectangleLegend3"/>
            <p:cNvSpPr>
              <a:spLocks noChangeArrowheads="1"/>
            </p:cNvSpPr>
            <p:nvPr/>
          </p:nvSpPr>
          <p:spPr bwMode="gray">
            <a:xfrm>
              <a:off x="5894005" y="1488719"/>
              <a:ext cx="165100" cy="160338"/>
            </a:xfrm>
            <a:prstGeom prst="rect">
              <a:avLst/>
            </a:prstGeom>
            <a:solidFill>
              <a:schemeClr val="accent3"/>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74" name="RectangleLegend4"/>
            <p:cNvSpPr>
              <a:spLocks noChangeArrowheads="1"/>
            </p:cNvSpPr>
            <p:nvPr/>
          </p:nvSpPr>
          <p:spPr bwMode="gray">
            <a:xfrm>
              <a:off x="5894005" y="1760182"/>
              <a:ext cx="165100" cy="160338"/>
            </a:xfrm>
            <a:prstGeom prst="rect">
              <a:avLst/>
            </a:prstGeom>
            <a:solidFill>
              <a:schemeClr val="accent4"/>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75" name="Legend1"/>
            <p:cNvSpPr>
              <a:spLocks noChangeArrowheads="1"/>
            </p:cNvSpPr>
            <p:nvPr>
              <p:custDataLst>
                <p:tags r:id="rId29"/>
              </p:custDataLst>
            </p:nvPr>
          </p:nvSpPr>
          <p:spPr bwMode="gray">
            <a:xfrm>
              <a:off x="6148005" y="919828"/>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sp>
          <p:nvSpPr>
            <p:cNvPr id="76" name="Legend2"/>
            <p:cNvSpPr>
              <a:spLocks noChangeArrowheads="1"/>
            </p:cNvSpPr>
            <p:nvPr>
              <p:custDataLst>
                <p:tags r:id="rId30"/>
              </p:custDataLst>
            </p:nvPr>
          </p:nvSpPr>
          <p:spPr bwMode="gray">
            <a:xfrm>
              <a:off x="6148005" y="1189703"/>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sp>
          <p:nvSpPr>
            <p:cNvPr id="77" name="Legend3"/>
            <p:cNvSpPr>
              <a:spLocks noChangeArrowheads="1"/>
            </p:cNvSpPr>
            <p:nvPr>
              <p:custDataLst>
                <p:tags r:id="rId31"/>
              </p:custDataLst>
            </p:nvPr>
          </p:nvSpPr>
          <p:spPr bwMode="gray">
            <a:xfrm>
              <a:off x="6148005" y="1461166"/>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sp>
          <p:nvSpPr>
            <p:cNvPr id="78" name="Legend4"/>
            <p:cNvSpPr>
              <a:spLocks noChangeArrowheads="1"/>
            </p:cNvSpPr>
            <p:nvPr>
              <p:custDataLst>
                <p:tags r:id="rId32"/>
              </p:custDataLst>
            </p:nvPr>
          </p:nvSpPr>
          <p:spPr bwMode="gray">
            <a:xfrm>
              <a:off x="6148005" y="1732629"/>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grpSp>
      <p:grpSp>
        <p:nvGrpSpPr>
          <p:cNvPr id="79" name="LegendMoons" hidden="1"/>
          <p:cNvGrpSpPr/>
          <p:nvPr/>
        </p:nvGrpSpPr>
        <p:grpSpPr>
          <a:xfrm>
            <a:off x="7792889" y="267414"/>
            <a:ext cx="916992" cy="1317003"/>
            <a:chOff x="5894005" y="2695123"/>
            <a:chExt cx="916992" cy="1317003"/>
          </a:xfrm>
        </p:grpSpPr>
        <p:grpSp>
          <p:nvGrpSpPr>
            <p:cNvPr id="80" name="MoonLegend1"/>
            <p:cNvGrpSpPr>
              <a:grpSpLocks noChangeAspect="1"/>
            </p:cNvGrpSpPr>
            <p:nvPr>
              <p:custDataLst>
                <p:tags r:id="rId9"/>
              </p:custDataLst>
            </p:nvPr>
          </p:nvGrpSpPr>
          <p:grpSpPr bwMode="gray">
            <a:xfrm>
              <a:off x="5894005" y="2695123"/>
              <a:ext cx="209550" cy="218282"/>
              <a:chOff x="4533" y="183"/>
              <a:chExt cx="144" cy="150"/>
            </a:xfrm>
          </p:grpSpPr>
          <p:sp>
            <p:nvSpPr>
              <p:cNvPr id="98" name="Oval 97"/>
              <p:cNvSpPr>
                <a:spLocks noChangeAspect="1" noChangeArrowheads="1"/>
              </p:cNvSpPr>
              <p:nvPr>
                <p:custDataLst>
                  <p:tags r:id="rId27"/>
                </p:custDataLst>
              </p:nvPr>
            </p:nvSpPr>
            <p:spPr bwMode="gray">
              <a:xfrm>
                <a:off x="4533" y="189"/>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99" name="Arc 98" hidden="1"/>
              <p:cNvSpPr>
                <a:spLocks noChangeAspect="1"/>
              </p:cNvSpPr>
              <p:nvPr>
                <p:custDataLst>
                  <p:tags r:id="rId28"/>
                </p:custDataLst>
              </p:nvPr>
            </p:nvSpPr>
            <p:spPr bwMode="gray">
              <a:xfrm>
                <a:off x="4533" y="183"/>
                <a:ext cx="144" cy="144"/>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grpSp>
        <p:grpSp>
          <p:nvGrpSpPr>
            <p:cNvPr id="81" name="MoonLegend2"/>
            <p:cNvGrpSpPr>
              <a:grpSpLocks noChangeAspect="1"/>
            </p:cNvGrpSpPr>
            <p:nvPr>
              <p:custDataLst>
                <p:tags r:id="rId10"/>
              </p:custDataLst>
            </p:nvPr>
          </p:nvGrpSpPr>
          <p:grpSpPr bwMode="gray">
            <a:xfrm>
              <a:off x="5894005" y="2977103"/>
              <a:ext cx="209550" cy="209551"/>
              <a:chOff x="1694" y="2051"/>
              <a:chExt cx="160" cy="160"/>
            </a:xfrm>
          </p:grpSpPr>
          <p:sp>
            <p:nvSpPr>
              <p:cNvPr id="96" name="Oval 41"/>
              <p:cNvSpPr>
                <a:spLocks noChangeAspect="1" noChangeArrowheads="1"/>
              </p:cNvSpPr>
              <p:nvPr>
                <p:custDataLst>
                  <p:tags r:id="rId25"/>
                </p:custDataLst>
              </p:nvPr>
            </p:nvSpPr>
            <p:spPr bwMode="gray">
              <a:xfrm>
                <a:off x="1694" y="2051"/>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97" name="Arc 42"/>
              <p:cNvSpPr>
                <a:spLocks noChangeAspect="1"/>
              </p:cNvSpPr>
              <p:nvPr>
                <p:custDataLst>
                  <p:tags r:id="rId26"/>
                </p:custDataLst>
              </p:nvPr>
            </p:nvSpPr>
            <p:spPr bwMode="gray">
              <a:xfrm>
                <a:off x="1694" y="2051"/>
                <a:ext cx="160" cy="160"/>
              </a:xfrm>
              <a:prstGeom prst="arc">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grpSp>
        <p:grpSp>
          <p:nvGrpSpPr>
            <p:cNvPr id="82" name="MoonLegend4"/>
            <p:cNvGrpSpPr>
              <a:grpSpLocks noChangeAspect="1"/>
            </p:cNvGrpSpPr>
            <p:nvPr>
              <p:custDataLst>
                <p:tags r:id="rId11"/>
              </p:custDataLst>
            </p:nvPr>
          </p:nvGrpSpPr>
          <p:grpSpPr bwMode="gray">
            <a:xfrm>
              <a:off x="5894005" y="3524395"/>
              <a:ext cx="209550" cy="209551"/>
              <a:chOff x="4495" y="1204"/>
              <a:chExt cx="160" cy="160"/>
            </a:xfrm>
          </p:grpSpPr>
          <p:sp>
            <p:nvSpPr>
              <p:cNvPr id="94" name="Oval 47"/>
              <p:cNvSpPr>
                <a:spLocks noChangeAspect="1" noChangeArrowheads="1"/>
              </p:cNvSpPr>
              <p:nvPr>
                <p:custDataLst>
                  <p:tags r:id="rId23"/>
                </p:custDataLst>
              </p:nvPr>
            </p:nvSpPr>
            <p:spPr bwMode="gray">
              <a:xfrm>
                <a:off x="4495" y="120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95" name="Arc 48"/>
              <p:cNvSpPr>
                <a:spLocks noChangeAspect="1"/>
              </p:cNvSpPr>
              <p:nvPr>
                <p:custDataLst>
                  <p:tags r:id="rId24"/>
                </p:custDataLst>
              </p:nvPr>
            </p:nvSpPr>
            <p:spPr bwMode="gray">
              <a:xfrm>
                <a:off x="4495" y="1204"/>
                <a:ext cx="160" cy="160"/>
              </a:xfrm>
              <a:prstGeom prst="arc">
                <a:avLst>
                  <a:gd name="adj1" fmla="val 16200000"/>
                  <a:gd name="adj2" fmla="val 108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grpSp>
        <p:grpSp>
          <p:nvGrpSpPr>
            <p:cNvPr id="83" name="MoonLegend5"/>
            <p:cNvGrpSpPr>
              <a:grpSpLocks noChangeAspect="1"/>
            </p:cNvGrpSpPr>
            <p:nvPr>
              <p:custDataLst>
                <p:tags r:id="rId12"/>
              </p:custDataLst>
            </p:nvPr>
          </p:nvGrpSpPr>
          <p:grpSpPr bwMode="gray">
            <a:xfrm>
              <a:off x="5894005" y="3799629"/>
              <a:ext cx="209550" cy="209551"/>
              <a:chOff x="4495" y="1447"/>
              <a:chExt cx="160" cy="160"/>
            </a:xfrm>
          </p:grpSpPr>
          <p:sp>
            <p:nvSpPr>
              <p:cNvPr id="92" name="Oval 50"/>
              <p:cNvSpPr>
                <a:spLocks noChangeAspect="1" noChangeArrowheads="1"/>
              </p:cNvSpPr>
              <p:nvPr>
                <p:custDataLst>
                  <p:tags r:id="rId21"/>
                </p:custDataLst>
              </p:nvPr>
            </p:nvSpPr>
            <p:spPr bwMode="gray">
              <a:xfrm>
                <a:off x="4495" y="1447"/>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93" name="Oval 51"/>
              <p:cNvSpPr>
                <a:spLocks noChangeAspect="1" noChangeArrowheads="1"/>
              </p:cNvSpPr>
              <p:nvPr>
                <p:custDataLst>
                  <p:tags r:id="rId22"/>
                </p:custDataLst>
              </p:nvPr>
            </p:nvSpPr>
            <p:spPr bwMode="gray">
              <a:xfrm>
                <a:off x="4495" y="1447"/>
                <a:ext cx="160" cy="160"/>
              </a:xfrm>
              <a:prstGeom prst="arc">
                <a:avLst>
                  <a:gd name="adj1" fmla="val 16200000"/>
                  <a:gd name="adj2" fmla="val 162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grpSp>
        <p:grpSp>
          <p:nvGrpSpPr>
            <p:cNvPr id="84" name="MoonLegend3"/>
            <p:cNvGrpSpPr>
              <a:grpSpLocks noChangeAspect="1"/>
            </p:cNvGrpSpPr>
            <p:nvPr>
              <p:custDataLst>
                <p:tags r:id="rId13"/>
              </p:custDataLst>
            </p:nvPr>
          </p:nvGrpSpPr>
          <p:grpSpPr bwMode="gray">
            <a:xfrm>
              <a:off x="5894005" y="3251543"/>
              <a:ext cx="209550" cy="209551"/>
              <a:chOff x="4495" y="1205"/>
              <a:chExt cx="160" cy="160"/>
            </a:xfrm>
          </p:grpSpPr>
          <p:sp>
            <p:nvSpPr>
              <p:cNvPr id="90" name="Oval 47"/>
              <p:cNvSpPr>
                <a:spLocks noChangeAspect="1" noChangeArrowheads="1"/>
              </p:cNvSpPr>
              <p:nvPr>
                <p:custDataLst>
                  <p:tags r:id="rId19"/>
                </p:custDataLst>
              </p:nvPr>
            </p:nvSpPr>
            <p:spPr bwMode="gray">
              <a:xfrm>
                <a:off x="4495" y="1205"/>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91" name="Arc 48"/>
              <p:cNvSpPr>
                <a:spLocks noChangeAspect="1"/>
              </p:cNvSpPr>
              <p:nvPr>
                <p:custDataLst>
                  <p:tags r:id="rId20"/>
                </p:custDataLst>
              </p:nvPr>
            </p:nvSpPr>
            <p:spPr bwMode="gray">
              <a:xfrm>
                <a:off x="4495" y="1205"/>
                <a:ext cx="160" cy="160"/>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grpSp>
        <p:sp>
          <p:nvSpPr>
            <p:cNvPr id="85" name="Legend1"/>
            <p:cNvSpPr>
              <a:spLocks noChangeArrowheads="1"/>
            </p:cNvSpPr>
            <p:nvPr>
              <p:custDataLst>
                <p:tags r:id="rId14"/>
              </p:custDataLst>
            </p:nvPr>
          </p:nvSpPr>
          <p:spPr bwMode="gray">
            <a:xfrm>
              <a:off x="6214680" y="2696542"/>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sp>
          <p:nvSpPr>
            <p:cNvPr id="86" name="Legend2"/>
            <p:cNvSpPr>
              <a:spLocks noChangeArrowheads="1"/>
            </p:cNvSpPr>
            <p:nvPr>
              <p:custDataLst>
                <p:tags r:id="rId15"/>
              </p:custDataLst>
            </p:nvPr>
          </p:nvSpPr>
          <p:spPr bwMode="gray">
            <a:xfrm>
              <a:off x="6214680" y="2974156"/>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a:latin typeface="+mn-lt"/>
                  <a:ea typeface="+mn-ea"/>
                </a:rPr>
                <a:t>Legend</a:t>
              </a:r>
              <a:endParaRPr lang="en-US" sz="1400" baseline="0" dirty="0">
                <a:latin typeface="+mn-lt"/>
                <a:ea typeface="+mn-ea"/>
              </a:endParaRPr>
            </a:p>
          </p:txBody>
        </p:sp>
        <p:sp>
          <p:nvSpPr>
            <p:cNvPr id="87" name="Legend3"/>
            <p:cNvSpPr>
              <a:spLocks noChangeArrowheads="1"/>
            </p:cNvSpPr>
            <p:nvPr>
              <p:custDataLst>
                <p:tags r:id="rId16"/>
              </p:custDataLst>
            </p:nvPr>
          </p:nvSpPr>
          <p:spPr bwMode="gray">
            <a:xfrm>
              <a:off x="6214680" y="3248596"/>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sp>
          <p:nvSpPr>
            <p:cNvPr id="88" name="Legend4"/>
            <p:cNvSpPr>
              <a:spLocks noChangeArrowheads="1"/>
            </p:cNvSpPr>
            <p:nvPr>
              <p:custDataLst>
                <p:tags r:id="rId17"/>
              </p:custDataLst>
            </p:nvPr>
          </p:nvSpPr>
          <p:spPr bwMode="gray">
            <a:xfrm>
              <a:off x="6214680" y="3521448"/>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sp>
          <p:nvSpPr>
            <p:cNvPr id="89" name="Legend5"/>
            <p:cNvSpPr>
              <a:spLocks noChangeArrowheads="1"/>
            </p:cNvSpPr>
            <p:nvPr>
              <p:custDataLst>
                <p:tags r:id="rId18"/>
              </p:custDataLst>
            </p:nvPr>
          </p:nvSpPr>
          <p:spPr bwMode="gray">
            <a:xfrm>
              <a:off x="6214680" y="3796682"/>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a:latin typeface="+mn-lt"/>
                  <a:ea typeface="+mn-ea"/>
                </a:rPr>
                <a:t>Legend</a:t>
              </a:r>
              <a:endParaRPr lang="en-US" sz="1400" baseline="0" dirty="0">
                <a:latin typeface="+mn-lt"/>
                <a:ea typeface="+mn-ea"/>
              </a:endParaRPr>
            </a:p>
          </p:txBody>
        </p:sp>
      </p:grpSp>
    </p:spTree>
    <p:extLst>
      <p:ext uri="{BB962C8B-B14F-4D97-AF65-F5344CB8AC3E}">
        <p14:creationId xmlns:p14="http://schemas.microsoft.com/office/powerpoint/2010/main" val="4060856811"/>
      </p:ext>
    </p:extLst>
  </p:cSld>
  <p:clrMap bg1="lt1" tx1="dk1" bg2="lt2" tx2="dk2" accent1="accent1" accent2="accent2" accent3="accent3" accent4="accent4" accent5="accent5" accent6="accent6" hlink="hlink" folHlink="folHlink"/>
  <p:sldLayoutIdLst>
    <p:sldLayoutId id="2147483841" r:id="rId1"/>
    <p:sldLayoutId id="2147483842" r:id="rId2"/>
    <p:sldLayoutId id="2147483843" r:id="rId3"/>
    <p:sldLayoutId id="2147483844" r:id="rId4"/>
  </p:sldLayoutIdLst>
  <p:txStyles>
    <p:titleStyle>
      <a:lvl1pPr algn="l" defTabSz="895350" rtl="0" eaLnBrk="1" fontAlgn="base" hangingPunct="1">
        <a:spcBef>
          <a:spcPct val="0"/>
        </a:spcBef>
        <a:spcAft>
          <a:spcPct val="0"/>
        </a:spcAft>
        <a:tabLst>
          <a:tab pos="269875" algn="l"/>
        </a:tabLst>
        <a:defRPr sz="2000" b="0" baseline="0">
          <a:solidFill>
            <a:schemeClr val="tx2"/>
          </a:solidFill>
          <a:latin typeface="+mj-lt"/>
          <a:ea typeface="+mj-ea"/>
          <a:cs typeface="+mj-cs"/>
        </a:defRPr>
      </a:lvl1pPr>
      <a:lvl2pPr algn="l" defTabSz="895350" rtl="0" eaLnBrk="1" fontAlgn="base" hangingPunct="1">
        <a:spcBef>
          <a:spcPct val="0"/>
        </a:spcBef>
        <a:spcAft>
          <a:spcPct val="0"/>
        </a:spcAft>
        <a:defRPr sz="1900" b="1">
          <a:solidFill>
            <a:schemeClr val="tx2"/>
          </a:solidFill>
          <a:latin typeface="Arial" charset="0"/>
        </a:defRPr>
      </a:lvl2pPr>
      <a:lvl3pPr algn="l" defTabSz="895350" rtl="0" eaLnBrk="1" fontAlgn="base" hangingPunct="1">
        <a:spcBef>
          <a:spcPct val="0"/>
        </a:spcBef>
        <a:spcAft>
          <a:spcPct val="0"/>
        </a:spcAft>
        <a:defRPr sz="1900" b="1">
          <a:solidFill>
            <a:schemeClr val="tx2"/>
          </a:solidFill>
          <a:latin typeface="Arial" charset="0"/>
        </a:defRPr>
      </a:lvl3pPr>
      <a:lvl4pPr algn="l" defTabSz="895350" rtl="0" eaLnBrk="1" fontAlgn="base" hangingPunct="1">
        <a:spcBef>
          <a:spcPct val="0"/>
        </a:spcBef>
        <a:spcAft>
          <a:spcPct val="0"/>
        </a:spcAft>
        <a:defRPr sz="1900" b="1">
          <a:solidFill>
            <a:schemeClr val="tx2"/>
          </a:solidFill>
          <a:latin typeface="Arial" charset="0"/>
        </a:defRPr>
      </a:lvl4pPr>
      <a:lvl5pPr algn="l" defTabSz="895350" rtl="0" eaLnBrk="1" fontAlgn="base" hangingPunct="1">
        <a:spcBef>
          <a:spcPct val="0"/>
        </a:spcBef>
        <a:spcAft>
          <a:spcPct val="0"/>
        </a:spcAft>
        <a:defRPr sz="1900" b="1">
          <a:solidFill>
            <a:schemeClr val="tx2"/>
          </a:solidFill>
          <a:latin typeface="Arial" charset="0"/>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p:titleStyle>
    <p:bodyStyle>
      <a:lvl1pPr marL="0" indent="0" algn="l" defTabSz="895350" rtl="0" eaLnBrk="1" fontAlgn="base" hangingPunct="1">
        <a:spcBef>
          <a:spcPct val="0"/>
        </a:spcBef>
        <a:spcAft>
          <a:spcPct val="0"/>
        </a:spcAft>
        <a:buClr>
          <a:schemeClr val="tx2"/>
        </a:buClr>
        <a:buSzPct val="100000"/>
        <a:defRPr sz="14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4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4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4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4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ext>
  </p:extLst>
</p:sldMaster>
</file>

<file path=ppt/slideMasters/slideMaster3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7"/>
            </p:custDataLst>
            <p:extLst>
              <p:ext uri="{D42A27DB-BD31-4B8C-83A1-F6EECF244321}">
                <p14:modId xmlns:p14="http://schemas.microsoft.com/office/powerpoint/2010/main" val="1551887099"/>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79220" name="think-cell Slide" r:id="rId36" imgW="270" imgH="270" progId="TCLayout.ActiveDocument.1">
                  <p:embed/>
                </p:oleObj>
              </mc:Choice>
              <mc:Fallback>
                <p:oleObj name="think-cell Slide" r:id="rId36" imgW="270" imgH="270" progId="TCLayout.ActiveDocument.1">
                  <p:embed/>
                  <p:pic>
                    <p:nvPicPr>
                      <p:cNvPr id="2" name="Object 1" hidden="1"/>
                      <p:cNvPicPr/>
                      <p:nvPr/>
                    </p:nvPicPr>
                    <p:blipFill>
                      <a:blip r:embed="rId37"/>
                      <a:stretch>
                        <a:fillRect/>
                      </a:stretch>
                    </p:blipFill>
                    <p:spPr>
                      <a:xfrm>
                        <a:off x="0" y="0"/>
                        <a:ext cx="158750" cy="158750"/>
                      </a:xfrm>
                      <a:prstGeom prst="rect">
                        <a:avLst/>
                      </a:prstGeom>
                    </p:spPr>
                  </p:pic>
                </p:oleObj>
              </mc:Fallback>
            </mc:AlternateContent>
          </a:graphicData>
        </a:graphic>
      </p:graphicFrame>
      <p:sp>
        <p:nvSpPr>
          <p:cNvPr id="6" name="Rectangle 5" hidden="1"/>
          <p:cNvSpPr/>
          <p:nvPr>
            <p:custDataLst>
              <p:tags r:id="rId8"/>
            </p:custDataLst>
          </p:nvPr>
        </p:nvSpPr>
        <p:spPr bwMode="auto">
          <a:xfrm>
            <a:off x="0" y="0"/>
            <a:ext cx="158750" cy="158750"/>
          </a:xfrm>
          <a:prstGeom prst="rect">
            <a:avLst/>
          </a:prstGeom>
          <a:solidFill>
            <a:schemeClr val="bg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dirty="0">
              <a:solidFill>
                <a:srgbClr val="000000"/>
              </a:solidFill>
              <a:sym typeface="Arial" panose="020B0604020202020204" pitchFamily="34" charset="0"/>
            </a:endParaRPr>
          </a:p>
        </p:txBody>
      </p:sp>
      <p:sp>
        <p:nvSpPr>
          <p:cNvPr id="1034" name="Working Draft" hidden="1"/>
          <p:cNvSpPr txBox="1">
            <a:spLocks noChangeArrowheads="1"/>
          </p:cNvSpPr>
          <p:nvPr/>
        </p:nvSpPr>
        <p:spPr bwMode="gray">
          <a:xfrm rot="5400000">
            <a:off x="7966656" y="1940591"/>
            <a:ext cx="1849865"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600" baseline="0">
                <a:solidFill>
                  <a:srgbClr val="808080"/>
                </a:solidFill>
                <a:latin typeface="+mn-lt"/>
                <a:ea typeface="+mn-ea"/>
              </a:rPr>
              <a:t>Last Modified 21/05/2018 17:44 India Standard Time</a:t>
            </a:r>
            <a:endParaRPr lang="en-US" baseline="0" dirty="0">
              <a:solidFill>
                <a:srgbClr val="808080"/>
              </a:solidFill>
              <a:latin typeface="+mn-lt"/>
              <a:ea typeface="+mn-ea"/>
            </a:endParaRPr>
          </a:p>
        </p:txBody>
      </p:sp>
      <p:sp>
        <p:nvSpPr>
          <p:cNvPr id="1035" name="Printed" hidden="1"/>
          <p:cNvSpPr txBox="1">
            <a:spLocks noChangeArrowheads="1"/>
          </p:cNvSpPr>
          <p:nvPr/>
        </p:nvSpPr>
        <p:spPr bwMode="gray">
          <a:xfrm rot="5400000">
            <a:off x="8768958" y="4114417"/>
            <a:ext cx="245260"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600" baseline="0" dirty="0">
                <a:solidFill>
                  <a:srgbClr val="808080"/>
                </a:solidFill>
                <a:latin typeface="+mn-lt"/>
                <a:ea typeface="+mn-ea"/>
              </a:rPr>
              <a:t>Printed</a:t>
            </a:r>
            <a:endParaRPr lang="en-US" baseline="0" dirty="0">
              <a:solidFill>
                <a:srgbClr val="808080"/>
              </a:solidFill>
              <a:latin typeface="+mn-lt"/>
              <a:ea typeface="+mn-ea"/>
            </a:endParaRPr>
          </a:p>
        </p:txBody>
      </p:sp>
      <p:sp>
        <p:nvSpPr>
          <p:cNvPr id="19" name="Title Placeholder 2"/>
          <p:cNvSpPr>
            <a:spLocks noGrp="1" noChangeArrowheads="1"/>
          </p:cNvSpPr>
          <p:nvPr>
            <p:ph type="title"/>
          </p:nvPr>
        </p:nvSpPr>
        <p:spPr bwMode="gray">
          <a:xfrm>
            <a:off x="119063" y="230188"/>
            <a:ext cx="8618537"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latinLnBrk="0"/>
            <a:r>
              <a:rPr lang="en-US"/>
              <a:t>Click to edit Master title style</a:t>
            </a:r>
            <a:endParaRPr lang="en-US" noProof="0" dirty="0"/>
          </a:p>
        </p:txBody>
      </p:sp>
      <p:sp>
        <p:nvSpPr>
          <p:cNvPr id="10" name="1. On-page tracker" hidden="1"/>
          <p:cNvSpPr>
            <a:spLocks noChangeArrowheads="1"/>
          </p:cNvSpPr>
          <p:nvPr/>
        </p:nvSpPr>
        <p:spPr bwMode="gray">
          <a:xfrm>
            <a:off x="119063" y="75764"/>
            <a:ext cx="490519"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800" cap="all" baseline="0" dirty="0">
                <a:solidFill>
                  <a:schemeClr val="accent6"/>
                </a:solidFill>
                <a:latin typeface="+mn-lt"/>
                <a:ea typeface="+mn-ea"/>
              </a:rPr>
              <a:t>Tracker</a:t>
            </a:r>
          </a:p>
        </p:txBody>
      </p:sp>
      <p:sp>
        <p:nvSpPr>
          <p:cNvPr id="11" name="3. Unit of measure" hidden="1"/>
          <p:cNvSpPr txBox="1">
            <a:spLocks noChangeArrowheads="1"/>
          </p:cNvSpPr>
          <p:nvPr/>
        </p:nvSpPr>
        <p:spPr bwMode="gray">
          <a:xfrm>
            <a:off x="119063" y="554865"/>
            <a:ext cx="8618537"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600" baseline="0" dirty="0">
                <a:solidFill>
                  <a:schemeClr val="accent6"/>
                </a:solidFill>
                <a:latin typeface="+mn-lt"/>
                <a:ea typeface="+mn-ea"/>
              </a:rPr>
              <a:t>Unit of measure</a:t>
            </a:r>
          </a:p>
        </p:txBody>
      </p:sp>
      <p:grpSp>
        <p:nvGrpSpPr>
          <p:cNvPr id="4" name="Slide Elements" hidden="1"/>
          <p:cNvGrpSpPr/>
          <p:nvPr/>
        </p:nvGrpSpPr>
        <p:grpSpPr bwMode="gray">
          <a:xfrm>
            <a:off x="119063" y="6305945"/>
            <a:ext cx="8618537" cy="325438"/>
            <a:chOff x="119063" y="6305945"/>
            <a:chExt cx="8618537" cy="325438"/>
          </a:xfrm>
        </p:grpSpPr>
        <p:sp>
          <p:nvSpPr>
            <p:cNvPr id="13" name="4. Footnote"/>
            <p:cNvSpPr txBox="1">
              <a:spLocks noChangeArrowheads="1"/>
            </p:cNvSpPr>
            <p:nvPr/>
          </p:nvSpPr>
          <p:spPr bwMode="gray">
            <a:xfrm>
              <a:off x="119063" y="6305945"/>
              <a:ext cx="8618537" cy="123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800" baseline="0" dirty="0">
                  <a:solidFill>
                    <a:schemeClr val="accent6"/>
                  </a:solidFill>
                  <a:latin typeface="+mn-lt"/>
                  <a:ea typeface="+mn-ea"/>
                </a:rPr>
                <a:t>1 Footnote</a:t>
              </a:r>
            </a:p>
          </p:txBody>
        </p:sp>
        <p:sp>
          <p:nvSpPr>
            <p:cNvPr id="14" name="5. Source"/>
            <p:cNvSpPr>
              <a:spLocks noChangeArrowheads="1"/>
            </p:cNvSpPr>
            <p:nvPr/>
          </p:nvSpPr>
          <p:spPr bwMode="gray">
            <a:xfrm>
              <a:off x="119063" y="6507558"/>
              <a:ext cx="7200000" cy="123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marL="609600" indent="-609600" defTabSz="895350">
                <a:tabLst>
                  <a:tab pos="612775" algn="l"/>
                </a:tabLst>
              </a:pPr>
              <a:r>
                <a:rPr lang="en-US" sz="800" baseline="0" dirty="0">
                  <a:solidFill>
                    <a:schemeClr val="accent6"/>
                  </a:solidFill>
                  <a:latin typeface="+mn-lt"/>
                  <a:ea typeface="+mn-ea"/>
                </a:rPr>
                <a:t>SOURCE: Source</a:t>
              </a:r>
            </a:p>
          </p:txBody>
        </p:sp>
      </p:grpSp>
      <p:sp>
        <p:nvSpPr>
          <p:cNvPr id="3" name="Text Placeholder 2"/>
          <p:cNvSpPr>
            <a:spLocks noGrp="1"/>
          </p:cNvSpPr>
          <p:nvPr>
            <p:ph type="body" idx="1"/>
          </p:nvPr>
        </p:nvSpPr>
        <p:spPr bwMode="gray">
          <a:xfrm>
            <a:off x="1452564" y="1951380"/>
            <a:ext cx="4302125" cy="1077218"/>
          </a:xfrm>
          <a:prstGeom prst="rect">
            <a:avLst/>
          </a:prstGeom>
        </p:spPr>
        <p:txBody>
          <a:bodyPr vert="horz" lIns="0" tIns="0" rIns="0" bIns="0" rtlCol="0">
            <a:spAutoFit/>
          </a:bodyPr>
          <a:lstStyle/>
          <a:p>
            <a:pPr lvl="0" latinLnBrk="0"/>
            <a:r>
              <a:rPr lang="en-US"/>
              <a:t>Edit Master text styles</a:t>
            </a:r>
          </a:p>
          <a:p>
            <a:pPr lvl="1" latinLnBrk="0"/>
            <a:r>
              <a:rPr lang="en-US"/>
              <a:t>Second level</a:t>
            </a:r>
          </a:p>
          <a:p>
            <a:pPr lvl="2" latinLnBrk="0"/>
            <a:r>
              <a:rPr lang="en-US"/>
              <a:t>Third level</a:t>
            </a:r>
          </a:p>
          <a:p>
            <a:pPr lvl="3" latinLnBrk="0"/>
            <a:r>
              <a:rPr lang="en-US"/>
              <a:t>Fourth level</a:t>
            </a:r>
          </a:p>
          <a:p>
            <a:pPr lvl="4" latinLnBrk="0"/>
            <a:r>
              <a:rPr lang="en-US"/>
              <a:t>Fifth level</a:t>
            </a:r>
            <a:endParaRPr lang="en-US" dirty="0"/>
          </a:p>
        </p:txBody>
      </p:sp>
      <p:grpSp>
        <p:nvGrpSpPr>
          <p:cNvPr id="15" name="ACET" hidden="1"/>
          <p:cNvGrpSpPr>
            <a:grpSpLocks/>
          </p:cNvGrpSpPr>
          <p:nvPr/>
        </p:nvGrpSpPr>
        <p:grpSpPr bwMode="gray">
          <a:xfrm>
            <a:off x="1452563" y="1257754"/>
            <a:ext cx="4264025" cy="508000"/>
            <a:chOff x="915" y="710"/>
            <a:chExt cx="2686" cy="320"/>
          </a:xfrm>
        </p:grpSpPr>
        <p:cxnSp>
          <p:nvCxnSpPr>
            <p:cNvPr id="16" name="AutoShape 249"/>
            <p:cNvCxnSpPr>
              <a:cxnSpLocks noChangeShapeType="1"/>
              <a:stCxn id="18" idx="4"/>
              <a:endCxn id="18" idx="6"/>
            </p:cNvCxnSpPr>
            <p:nvPr/>
          </p:nvCxnSpPr>
          <p:spPr bwMode="gray">
            <a:xfrm>
              <a:off x="915" y="1030"/>
              <a:ext cx="2686" cy="0"/>
            </a:xfrm>
            <a:prstGeom prst="straightConnector1">
              <a:avLst/>
            </a:prstGeom>
            <a:noFill/>
            <a:ln w="9525">
              <a:solidFill>
                <a:schemeClr val="accent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8" name="AutoShape 250"/>
            <p:cNvSpPr>
              <a:spLocks noChangeArrowheads="1"/>
            </p:cNvSpPr>
            <p:nvPr/>
          </p:nvSpPr>
          <p:spPr bwMode="gray">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US" b="1" baseline="0" dirty="0">
                  <a:solidFill>
                    <a:srgbClr val="000000"/>
                  </a:solidFill>
                  <a:latin typeface="+mn-lt"/>
                  <a:ea typeface="+mn-ea"/>
                </a:rPr>
                <a:t>Title</a:t>
              </a:r>
            </a:p>
            <a:p>
              <a:r>
                <a:rPr lang="en-US" baseline="0" dirty="0">
                  <a:solidFill>
                    <a:schemeClr val="accent6"/>
                  </a:solidFill>
                  <a:latin typeface="+mn-lt"/>
                  <a:ea typeface="+mn-ea"/>
                </a:rPr>
                <a:t>Unit of measure</a:t>
              </a:r>
            </a:p>
          </p:txBody>
        </p:sp>
      </p:grpSp>
      <p:grpSp>
        <p:nvGrpSpPr>
          <p:cNvPr id="17" name="McKSticker" hidden="1"/>
          <p:cNvGrpSpPr/>
          <p:nvPr/>
        </p:nvGrpSpPr>
        <p:grpSpPr bwMode="gray">
          <a:xfrm>
            <a:off x="8264265" y="285750"/>
            <a:ext cx="473335" cy="150811"/>
            <a:chOff x="8267440" y="285750"/>
            <a:chExt cx="473335" cy="150811"/>
          </a:xfrm>
        </p:grpSpPr>
        <p:sp>
          <p:nvSpPr>
            <p:cNvPr id="20" name="StickerRectangle"/>
            <p:cNvSpPr>
              <a:spLocks noChangeArrowheads="1"/>
            </p:cNvSpPr>
            <p:nvPr/>
          </p:nvSpPr>
          <p:spPr bwMode="gray">
            <a:xfrm>
              <a:off x="8267440" y="285750"/>
              <a:ext cx="473335" cy="150811"/>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a:buClr>
                  <a:srgbClr val="002960"/>
                </a:buClr>
              </a:pPr>
              <a:r>
                <a:rPr lang="en-US" sz="800" baseline="0" dirty="0">
                  <a:solidFill>
                    <a:schemeClr val="accent6"/>
                  </a:solidFill>
                  <a:latin typeface="+mn-lt"/>
                  <a:ea typeface="+mn-ea"/>
                </a:rPr>
                <a:t>STICKER</a:t>
              </a:r>
            </a:p>
          </p:txBody>
        </p:sp>
        <p:cxnSp>
          <p:nvCxnSpPr>
            <p:cNvPr id="21" name="AutoShape 31"/>
            <p:cNvCxnSpPr>
              <a:cxnSpLocks noChangeShapeType="1"/>
              <a:stCxn id="20" idx="2"/>
              <a:endCxn id="20" idx="4"/>
            </p:cNvCxnSpPr>
            <p:nvPr/>
          </p:nvCxnSpPr>
          <p:spPr bwMode="gray">
            <a:xfrm>
              <a:off x="8267440" y="285750"/>
              <a:ext cx="0" cy="150811"/>
            </a:xfrm>
            <a:prstGeom prst="straightConnector1">
              <a:avLst/>
            </a:prstGeom>
            <a:noFill/>
            <a:ln w="9525">
              <a:solidFill>
                <a:schemeClr val="accent6"/>
              </a:solidFill>
              <a:round/>
              <a:headEnd/>
              <a:tailEnd/>
            </a:ln>
            <a:extLst>
              <a:ext uri="{909E8E84-426E-40DD-AFC4-6F175D3DCCD1}">
                <a14:hiddenFill xmlns:a14="http://schemas.microsoft.com/office/drawing/2010/main">
                  <a:noFill/>
                </a14:hiddenFill>
              </a:ext>
            </a:extLst>
          </p:spPr>
        </p:cxnSp>
        <p:cxnSp>
          <p:nvCxnSpPr>
            <p:cNvPr id="22" name="AutoShape 32"/>
            <p:cNvCxnSpPr>
              <a:cxnSpLocks noChangeShapeType="1"/>
              <a:stCxn id="20" idx="4"/>
              <a:endCxn id="20" idx="6"/>
            </p:cNvCxnSpPr>
            <p:nvPr/>
          </p:nvCxnSpPr>
          <p:spPr bwMode="gray">
            <a:xfrm>
              <a:off x="8267440" y="436561"/>
              <a:ext cx="473335" cy="0"/>
            </a:xfrm>
            <a:prstGeom prst="straightConnector1">
              <a:avLst/>
            </a:prstGeom>
            <a:noFill/>
            <a:ln w="25400">
              <a:solidFill>
                <a:schemeClr val="accent6"/>
              </a:solidFill>
              <a:round/>
              <a:headEnd/>
              <a:tailEnd/>
            </a:ln>
            <a:extLst>
              <a:ext uri="{909E8E84-426E-40DD-AFC4-6F175D3DCCD1}">
                <a14:hiddenFill xmlns:a14="http://schemas.microsoft.com/office/drawing/2010/main">
                  <a:noFill/>
                </a14:hiddenFill>
              </a:ext>
            </a:extLst>
          </p:spPr>
        </p:cxnSp>
      </p:grpSp>
      <p:sp>
        <p:nvSpPr>
          <p:cNvPr id="23" name="SlideBottomBar" hidden="1"/>
          <p:cNvSpPr/>
          <p:nvPr/>
        </p:nvSpPr>
        <p:spPr>
          <a:xfrm>
            <a:off x="8437547" y="6182120"/>
            <a:ext cx="45719" cy="123825"/>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aseline="0" dirty="0">
              <a:solidFill>
                <a:schemeClr val="tx1"/>
              </a:solidFill>
              <a:latin typeface="+mn-lt"/>
              <a:ea typeface="+mn-ea"/>
            </a:endParaRPr>
          </a:p>
        </p:txBody>
      </p:sp>
      <p:sp>
        <p:nvSpPr>
          <p:cNvPr id="24" name="doc id" hidden="1"/>
          <p:cNvSpPr txBox="1">
            <a:spLocks noChangeArrowheads="1"/>
          </p:cNvSpPr>
          <p:nvPr/>
        </p:nvSpPr>
        <p:spPr bwMode="white">
          <a:xfrm>
            <a:off x="8104473" y="36513"/>
            <a:ext cx="634716" cy="115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hangingPunct="1">
              <a:defRPr/>
            </a:pPr>
            <a:endParaRPr lang="en-US" sz="800" baseline="0" dirty="0">
              <a:solidFill>
                <a:schemeClr val="accent1"/>
              </a:solidFill>
              <a:latin typeface="+mn-lt"/>
              <a:ea typeface="+mn-ea"/>
            </a:endParaRPr>
          </a:p>
        </p:txBody>
      </p:sp>
      <p:grpSp>
        <p:nvGrpSpPr>
          <p:cNvPr id="63" name="LegendLines" hidden="1"/>
          <p:cNvGrpSpPr/>
          <p:nvPr/>
        </p:nvGrpSpPr>
        <p:grpSpPr>
          <a:xfrm>
            <a:off x="7551589" y="267815"/>
            <a:ext cx="1158292" cy="761545"/>
            <a:chOff x="7607284" y="279400"/>
            <a:chExt cx="1158292" cy="761545"/>
          </a:xfrm>
        </p:grpSpPr>
        <p:sp>
          <p:nvSpPr>
            <p:cNvPr id="64" name="LineLegend1"/>
            <p:cNvSpPr>
              <a:spLocks noChangeShapeType="1"/>
            </p:cNvSpPr>
            <p:nvPr/>
          </p:nvSpPr>
          <p:spPr bwMode="gray">
            <a:xfrm>
              <a:off x="7607284" y="387122"/>
              <a:ext cx="457200"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65" name="LineLegend2"/>
            <p:cNvSpPr>
              <a:spLocks noChangeShapeType="1"/>
            </p:cNvSpPr>
            <p:nvPr/>
          </p:nvSpPr>
          <p:spPr bwMode="gray">
            <a:xfrm>
              <a:off x="7607284" y="653822"/>
              <a:ext cx="457200"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66" name="LineLegend3"/>
            <p:cNvSpPr>
              <a:spLocks noChangeShapeType="1"/>
            </p:cNvSpPr>
            <p:nvPr/>
          </p:nvSpPr>
          <p:spPr bwMode="gray">
            <a:xfrm>
              <a:off x="7607284" y="933223"/>
              <a:ext cx="457200"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67" name="Legend1"/>
            <p:cNvSpPr>
              <a:spLocks noChangeArrowheads="1"/>
            </p:cNvSpPr>
            <p:nvPr>
              <p:custDataLst>
                <p:tags r:id="rId33"/>
              </p:custDataLst>
            </p:nvPr>
          </p:nvSpPr>
          <p:spPr bwMode="gray">
            <a:xfrm>
              <a:off x="8169259" y="279400"/>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sp>
          <p:nvSpPr>
            <p:cNvPr id="68" name="Legend2"/>
            <p:cNvSpPr>
              <a:spLocks noChangeArrowheads="1"/>
            </p:cNvSpPr>
            <p:nvPr>
              <p:custDataLst>
                <p:tags r:id="rId34"/>
              </p:custDataLst>
            </p:nvPr>
          </p:nvSpPr>
          <p:spPr bwMode="gray">
            <a:xfrm>
              <a:off x="8169259" y="546100"/>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a:latin typeface="+mn-lt"/>
                  <a:ea typeface="+mn-ea"/>
                </a:rPr>
                <a:t>Legend</a:t>
              </a:r>
              <a:endParaRPr lang="en-US" sz="1400" baseline="0" dirty="0">
                <a:latin typeface="+mn-lt"/>
                <a:ea typeface="+mn-ea"/>
              </a:endParaRPr>
            </a:p>
          </p:txBody>
        </p:sp>
        <p:sp>
          <p:nvSpPr>
            <p:cNvPr id="69" name="Legend3"/>
            <p:cNvSpPr>
              <a:spLocks noChangeArrowheads="1"/>
            </p:cNvSpPr>
            <p:nvPr>
              <p:custDataLst>
                <p:tags r:id="rId35"/>
              </p:custDataLst>
            </p:nvPr>
          </p:nvSpPr>
          <p:spPr bwMode="gray">
            <a:xfrm>
              <a:off x="8169259" y="825501"/>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grpSp>
      <p:grpSp>
        <p:nvGrpSpPr>
          <p:cNvPr id="70" name="LegendBoxes" hidden="1"/>
          <p:cNvGrpSpPr/>
          <p:nvPr/>
        </p:nvGrpSpPr>
        <p:grpSpPr>
          <a:xfrm>
            <a:off x="7859564" y="267919"/>
            <a:ext cx="850317" cy="1028245"/>
            <a:chOff x="5894005" y="919828"/>
            <a:chExt cx="850317" cy="1028245"/>
          </a:xfrm>
        </p:grpSpPr>
        <p:sp>
          <p:nvSpPr>
            <p:cNvPr id="71" name="RectangleLegend1"/>
            <p:cNvSpPr>
              <a:spLocks noChangeArrowheads="1"/>
            </p:cNvSpPr>
            <p:nvPr/>
          </p:nvSpPr>
          <p:spPr bwMode="gray">
            <a:xfrm>
              <a:off x="5894005" y="947381"/>
              <a:ext cx="165100" cy="160338"/>
            </a:xfrm>
            <a:prstGeom prst="rect">
              <a:avLst/>
            </a:prstGeom>
            <a:solidFill>
              <a:schemeClr val="accent1"/>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72" name="RectangleLegend2"/>
            <p:cNvSpPr>
              <a:spLocks noChangeArrowheads="1"/>
            </p:cNvSpPr>
            <p:nvPr/>
          </p:nvSpPr>
          <p:spPr bwMode="gray">
            <a:xfrm>
              <a:off x="5894005" y="1217256"/>
              <a:ext cx="165100" cy="160338"/>
            </a:xfrm>
            <a:prstGeom prst="rect">
              <a:avLst/>
            </a:prstGeom>
            <a:solidFill>
              <a:schemeClr val="accent2"/>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73" name="RectangleLegend3"/>
            <p:cNvSpPr>
              <a:spLocks noChangeArrowheads="1"/>
            </p:cNvSpPr>
            <p:nvPr/>
          </p:nvSpPr>
          <p:spPr bwMode="gray">
            <a:xfrm>
              <a:off x="5894005" y="1488719"/>
              <a:ext cx="165100" cy="160338"/>
            </a:xfrm>
            <a:prstGeom prst="rect">
              <a:avLst/>
            </a:prstGeom>
            <a:solidFill>
              <a:schemeClr val="accent3"/>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74" name="RectangleLegend4"/>
            <p:cNvSpPr>
              <a:spLocks noChangeArrowheads="1"/>
            </p:cNvSpPr>
            <p:nvPr/>
          </p:nvSpPr>
          <p:spPr bwMode="gray">
            <a:xfrm>
              <a:off x="5894005" y="1760182"/>
              <a:ext cx="165100" cy="160338"/>
            </a:xfrm>
            <a:prstGeom prst="rect">
              <a:avLst/>
            </a:prstGeom>
            <a:solidFill>
              <a:schemeClr val="accent4"/>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75" name="Legend1"/>
            <p:cNvSpPr>
              <a:spLocks noChangeArrowheads="1"/>
            </p:cNvSpPr>
            <p:nvPr>
              <p:custDataLst>
                <p:tags r:id="rId29"/>
              </p:custDataLst>
            </p:nvPr>
          </p:nvSpPr>
          <p:spPr bwMode="gray">
            <a:xfrm>
              <a:off x="6148005" y="919828"/>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sp>
          <p:nvSpPr>
            <p:cNvPr id="76" name="Legend2"/>
            <p:cNvSpPr>
              <a:spLocks noChangeArrowheads="1"/>
            </p:cNvSpPr>
            <p:nvPr>
              <p:custDataLst>
                <p:tags r:id="rId30"/>
              </p:custDataLst>
            </p:nvPr>
          </p:nvSpPr>
          <p:spPr bwMode="gray">
            <a:xfrm>
              <a:off x="6148005" y="1189703"/>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sp>
          <p:nvSpPr>
            <p:cNvPr id="77" name="Legend3"/>
            <p:cNvSpPr>
              <a:spLocks noChangeArrowheads="1"/>
            </p:cNvSpPr>
            <p:nvPr>
              <p:custDataLst>
                <p:tags r:id="rId31"/>
              </p:custDataLst>
            </p:nvPr>
          </p:nvSpPr>
          <p:spPr bwMode="gray">
            <a:xfrm>
              <a:off x="6148005" y="1461166"/>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sp>
          <p:nvSpPr>
            <p:cNvPr id="78" name="Legend4"/>
            <p:cNvSpPr>
              <a:spLocks noChangeArrowheads="1"/>
            </p:cNvSpPr>
            <p:nvPr>
              <p:custDataLst>
                <p:tags r:id="rId32"/>
              </p:custDataLst>
            </p:nvPr>
          </p:nvSpPr>
          <p:spPr bwMode="gray">
            <a:xfrm>
              <a:off x="6148005" y="1732629"/>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grpSp>
      <p:grpSp>
        <p:nvGrpSpPr>
          <p:cNvPr id="79" name="LegendMoons" hidden="1"/>
          <p:cNvGrpSpPr/>
          <p:nvPr/>
        </p:nvGrpSpPr>
        <p:grpSpPr>
          <a:xfrm>
            <a:off x="7792889" y="267414"/>
            <a:ext cx="916992" cy="1317003"/>
            <a:chOff x="5894005" y="2695123"/>
            <a:chExt cx="916992" cy="1317003"/>
          </a:xfrm>
        </p:grpSpPr>
        <p:grpSp>
          <p:nvGrpSpPr>
            <p:cNvPr id="80" name="MoonLegend1"/>
            <p:cNvGrpSpPr>
              <a:grpSpLocks noChangeAspect="1"/>
            </p:cNvGrpSpPr>
            <p:nvPr>
              <p:custDataLst>
                <p:tags r:id="rId9"/>
              </p:custDataLst>
            </p:nvPr>
          </p:nvGrpSpPr>
          <p:grpSpPr bwMode="gray">
            <a:xfrm>
              <a:off x="5894005" y="2695123"/>
              <a:ext cx="209550" cy="218282"/>
              <a:chOff x="4533" y="183"/>
              <a:chExt cx="144" cy="150"/>
            </a:xfrm>
          </p:grpSpPr>
          <p:sp>
            <p:nvSpPr>
              <p:cNvPr id="98" name="Oval 97"/>
              <p:cNvSpPr>
                <a:spLocks noChangeAspect="1" noChangeArrowheads="1"/>
              </p:cNvSpPr>
              <p:nvPr>
                <p:custDataLst>
                  <p:tags r:id="rId27"/>
                </p:custDataLst>
              </p:nvPr>
            </p:nvSpPr>
            <p:spPr bwMode="gray">
              <a:xfrm>
                <a:off x="4533" y="189"/>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99" name="Arc 98" hidden="1"/>
              <p:cNvSpPr>
                <a:spLocks noChangeAspect="1"/>
              </p:cNvSpPr>
              <p:nvPr>
                <p:custDataLst>
                  <p:tags r:id="rId28"/>
                </p:custDataLst>
              </p:nvPr>
            </p:nvSpPr>
            <p:spPr bwMode="gray">
              <a:xfrm>
                <a:off x="4533" y="183"/>
                <a:ext cx="144" cy="144"/>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grpSp>
        <p:grpSp>
          <p:nvGrpSpPr>
            <p:cNvPr id="81" name="MoonLegend2"/>
            <p:cNvGrpSpPr>
              <a:grpSpLocks noChangeAspect="1"/>
            </p:cNvGrpSpPr>
            <p:nvPr>
              <p:custDataLst>
                <p:tags r:id="rId10"/>
              </p:custDataLst>
            </p:nvPr>
          </p:nvGrpSpPr>
          <p:grpSpPr bwMode="gray">
            <a:xfrm>
              <a:off x="5894005" y="2977103"/>
              <a:ext cx="209550" cy="209551"/>
              <a:chOff x="1694" y="2051"/>
              <a:chExt cx="160" cy="160"/>
            </a:xfrm>
          </p:grpSpPr>
          <p:sp>
            <p:nvSpPr>
              <p:cNvPr id="96" name="Oval 41"/>
              <p:cNvSpPr>
                <a:spLocks noChangeAspect="1" noChangeArrowheads="1"/>
              </p:cNvSpPr>
              <p:nvPr>
                <p:custDataLst>
                  <p:tags r:id="rId25"/>
                </p:custDataLst>
              </p:nvPr>
            </p:nvSpPr>
            <p:spPr bwMode="gray">
              <a:xfrm>
                <a:off x="1694" y="2051"/>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97" name="Arc 42"/>
              <p:cNvSpPr>
                <a:spLocks noChangeAspect="1"/>
              </p:cNvSpPr>
              <p:nvPr>
                <p:custDataLst>
                  <p:tags r:id="rId26"/>
                </p:custDataLst>
              </p:nvPr>
            </p:nvSpPr>
            <p:spPr bwMode="gray">
              <a:xfrm>
                <a:off x="1694" y="2051"/>
                <a:ext cx="160" cy="160"/>
              </a:xfrm>
              <a:prstGeom prst="arc">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grpSp>
        <p:grpSp>
          <p:nvGrpSpPr>
            <p:cNvPr id="82" name="MoonLegend4"/>
            <p:cNvGrpSpPr>
              <a:grpSpLocks noChangeAspect="1"/>
            </p:cNvGrpSpPr>
            <p:nvPr>
              <p:custDataLst>
                <p:tags r:id="rId11"/>
              </p:custDataLst>
            </p:nvPr>
          </p:nvGrpSpPr>
          <p:grpSpPr bwMode="gray">
            <a:xfrm>
              <a:off x="5894005" y="3524395"/>
              <a:ext cx="209550" cy="209551"/>
              <a:chOff x="4495" y="1204"/>
              <a:chExt cx="160" cy="160"/>
            </a:xfrm>
          </p:grpSpPr>
          <p:sp>
            <p:nvSpPr>
              <p:cNvPr id="94" name="Oval 47"/>
              <p:cNvSpPr>
                <a:spLocks noChangeAspect="1" noChangeArrowheads="1"/>
              </p:cNvSpPr>
              <p:nvPr>
                <p:custDataLst>
                  <p:tags r:id="rId23"/>
                </p:custDataLst>
              </p:nvPr>
            </p:nvSpPr>
            <p:spPr bwMode="gray">
              <a:xfrm>
                <a:off x="4495" y="120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95" name="Arc 48"/>
              <p:cNvSpPr>
                <a:spLocks noChangeAspect="1"/>
              </p:cNvSpPr>
              <p:nvPr>
                <p:custDataLst>
                  <p:tags r:id="rId24"/>
                </p:custDataLst>
              </p:nvPr>
            </p:nvSpPr>
            <p:spPr bwMode="gray">
              <a:xfrm>
                <a:off x="4495" y="1204"/>
                <a:ext cx="160" cy="160"/>
              </a:xfrm>
              <a:prstGeom prst="arc">
                <a:avLst>
                  <a:gd name="adj1" fmla="val 16200000"/>
                  <a:gd name="adj2" fmla="val 108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grpSp>
        <p:grpSp>
          <p:nvGrpSpPr>
            <p:cNvPr id="83" name="MoonLegend5"/>
            <p:cNvGrpSpPr>
              <a:grpSpLocks noChangeAspect="1"/>
            </p:cNvGrpSpPr>
            <p:nvPr>
              <p:custDataLst>
                <p:tags r:id="rId12"/>
              </p:custDataLst>
            </p:nvPr>
          </p:nvGrpSpPr>
          <p:grpSpPr bwMode="gray">
            <a:xfrm>
              <a:off x="5894005" y="3799629"/>
              <a:ext cx="209550" cy="209551"/>
              <a:chOff x="4495" y="1447"/>
              <a:chExt cx="160" cy="160"/>
            </a:xfrm>
          </p:grpSpPr>
          <p:sp>
            <p:nvSpPr>
              <p:cNvPr id="92" name="Oval 50"/>
              <p:cNvSpPr>
                <a:spLocks noChangeAspect="1" noChangeArrowheads="1"/>
              </p:cNvSpPr>
              <p:nvPr>
                <p:custDataLst>
                  <p:tags r:id="rId21"/>
                </p:custDataLst>
              </p:nvPr>
            </p:nvSpPr>
            <p:spPr bwMode="gray">
              <a:xfrm>
                <a:off x="4495" y="1447"/>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93" name="Oval 51"/>
              <p:cNvSpPr>
                <a:spLocks noChangeAspect="1" noChangeArrowheads="1"/>
              </p:cNvSpPr>
              <p:nvPr>
                <p:custDataLst>
                  <p:tags r:id="rId22"/>
                </p:custDataLst>
              </p:nvPr>
            </p:nvSpPr>
            <p:spPr bwMode="gray">
              <a:xfrm>
                <a:off x="4495" y="1447"/>
                <a:ext cx="160" cy="160"/>
              </a:xfrm>
              <a:prstGeom prst="arc">
                <a:avLst>
                  <a:gd name="adj1" fmla="val 16200000"/>
                  <a:gd name="adj2" fmla="val 162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grpSp>
        <p:grpSp>
          <p:nvGrpSpPr>
            <p:cNvPr id="84" name="MoonLegend3"/>
            <p:cNvGrpSpPr>
              <a:grpSpLocks noChangeAspect="1"/>
            </p:cNvGrpSpPr>
            <p:nvPr>
              <p:custDataLst>
                <p:tags r:id="rId13"/>
              </p:custDataLst>
            </p:nvPr>
          </p:nvGrpSpPr>
          <p:grpSpPr bwMode="gray">
            <a:xfrm>
              <a:off x="5894005" y="3251543"/>
              <a:ext cx="209550" cy="209551"/>
              <a:chOff x="4495" y="1205"/>
              <a:chExt cx="160" cy="160"/>
            </a:xfrm>
          </p:grpSpPr>
          <p:sp>
            <p:nvSpPr>
              <p:cNvPr id="90" name="Oval 47"/>
              <p:cNvSpPr>
                <a:spLocks noChangeAspect="1" noChangeArrowheads="1"/>
              </p:cNvSpPr>
              <p:nvPr>
                <p:custDataLst>
                  <p:tags r:id="rId19"/>
                </p:custDataLst>
              </p:nvPr>
            </p:nvSpPr>
            <p:spPr bwMode="gray">
              <a:xfrm>
                <a:off x="4495" y="1205"/>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91" name="Arc 48"/>
              <p:cNvSpPr>
                <a:spLocks noChangeAspect="1"/>
              </p:cNvSpPr>
              <p:nvPr>
                <p:custDataLst>
                  <p:tags r:id="rId20"/>
                </p:custDataLst>
              </p:nvPr>
            </p:nvSpPr>
            <p:spPr bwMode="gray">
              <a:xfrm>
                <a:off x="4495" y="1205"/>
                <a:ext cx="160" cy="160"/>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grpSp>
        <p:sp>
          <p:nvSpPr>
            <p:cNvPr id="85" name="Legend1"/>
            <p:cNvSpPr>
              <a:spLocks noChangeArrowheads="1"/>
            </p:cNvSpPr>
            <p:nvPr>
              <p:custDataLst>
                <p:tags r:id="rId14"/>
              </p:custDataLst>
            </p:nvPr>
          </p:nvSpPr>
          <p:spPr bwMode="gray">
            <a:xfrm>
              <a:off x="6214680" y="2696542"/>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sp>
          <p:nvSpPr>
            <p:cNvPr id="86" name="Legend2"/>
            <p:cNvSpPr>
              <a:spLocks noChangeArrowheads="1"/>
            </p:cNvSpPr>
            <p:nvPr>
              <p:custDataLst>
                <p:tags r:id="rId15"/>
              </p:custDataLst>
            </p:nvPr>
          </p:nvSpPr>
          <p:spPr bwMode="gray">
            <a:xfrm>
              <a:off x="6214680" y="2974156"/>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a:latin typeface="+mn-lt"/>
                  <a:ea typeface="+mn-ea"/>
                </a:rPr>
                <a:t>Legend</a:t>
              </a:r>
              <a:endParaRPr lang="en-US" sz="1400" baseline="0" dirty="0">
                <a:latin typeface="+mn-lt"/>
                <a:ea typeface="+mn-ea"/>
              </a:endParaRPr>
            </a:p>
          </p:txBody>
        </p:sp>
        <p:sp>
          <p:nvSpPr>
            <p:cNvPr id="87" name="Legend3"/>
            <p:cNvSpPr>
              <a:spLocks noChangeArrowheads="1"/>
            </p:cNvSpPr>
            <p:nvPr>
              <p:custDataLst>
                <p:tags r:id="rId16"/>
              </p:custDataLst>
            </p:nvPr>
          </p:nvSpPr>
          <p:spPr bwMode="gray">
            <a:xfrm>
              <a:off x="6214680" y="3248596"/>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sp>
          <p:nvSpPr>
            <p:cNvPr id="88" name="Legend4"/>
            <p:cNvSpPr>
              <a:spLocks noChangeArrowheads="1"/>
            </p:cNvSpPr>
            <p:nvPr>
              <p:custDataLst>
                <p:tags r:id="rId17"/>
              </p:custDataLst>
            </p:nvPr>
          </p:nvSpPr>
          <p:spPr bwMode="gray">
            <a:xfrm>
              <a:off x="6214680" y="3521448"/>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sp>
          <p:nvSpPr>
            <p:cNvPr id="89" name="Legend5"/>
            <p:cNvSpPr>
              <a:spLocks noChangeArrowheads="1"/>
            </p:cNvSpPr>
            <p:nvPr>
              <p:custDataLst>
                <p:tags r:id="rId18"/>
              </p:custDataLst>
            </p:nvPr>
          </p:nvSpPr>
          <p:spPr bwMode="gray">
            <a:xfrm>
              <a:off x="6214680" y="3796682"/>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a:latin typeface="+mn-lt"/>
                  <a:ea typeface="+mn-ea"/>
                </a:rPr>
                <a:t>Legend</a:t>
              </a:r>
              <a:endParaRPr lang="en-US" sz="1400" baseline="0" dirty="0">
                <a:latin typeface="+mn-lt"/>
                <a:ea typeface="+mn-ea"/>
              </a:endParaRPr>
            </a:p>
          </p:txBody>
        </p:sp>
      </p:grpSp>
    </p:spTree>
    <p:extLst>
      <p:ext uri="{BB962C8B-B14F-4D97-AF65-F5344CB8AC3E}">
        <p14:creationId xmlns:p14="http://schemas.microsoft.com/office/powerpoint/2010/main" val="3239917270"/>
      </p:ext>
    </p:extLst>
  </p:cSld>
  <p:clrMap bg1="lt1" tx1="dk1" bg2="lt2" tx2="dk2" accent1="accent1" accent2="accent2" accent3="accent3" accent4="accent4" accent5="accent5" accent6="accent6" hlink="hlink" folHlink="folHlink"/>
  <p:sldLayoutIdLst>
    <p:sldLayoutId id="2147483846" r:id="rId1"/>
    <p:sldLayoutId id="2147483847" r:id="rId2"/>
    <p:sldLayoutId id="2147483848" r:id="rId3"/>
    <p:sldLayoutId id="2147483849" r:id="rId4"/>
  </p:sldLayoutIdLst>
  <p:txStyles>
    <p:titleStyle>
      <a:lvl1pPr algn="l" defTabSz="895350" rtl="0" eaLnBrk="1" fontAlgn="base" hangingPunct="1">
        <a:spcBef>
          <a:spcPct val="0"/>
        </a:spcBef>
        <a:spcAft>
          <a:spcPct val="0"/>
        </a:spcAft>
        <a:tabLst>
          <a:tab pos="269875" algn="l"/>
        </a:tabLst>
        <a:defRPr sz="2000" b="0" baseline="0">
          <a:solidFill>
            <a:schemeClr val="tx2"/>
          </a:solidFill>
          <a:latin typeface="+mj-lt"/>
          <a:ea typeface="+mj-ea"/>
          <a:cs typeface="+mj-cs"/>
        </a:defRPr>
      </a:lvl1pPr>
      <a:lvl2pPr algn="l" defTabSz="895350" rtl="0" eaLnBrk="1" fontAlgn="base" hangingPunct="1">
        <a:spcBef>
          <a:spcPct val="0"/>
        </a:spcBef>
        <a:spcAft>
          <a:spcPct val="0"/>
        </a:spcAft>
        <a:defRPr sz="1900" b="1">
          <a:solidFill>
            <a:schemeClr val="tx2"/>
          </a:solidFill>
          <a:latin typeface="Arial" charset="0"/>
        </a:defRPr>
      </a:lvl2pPr>
      <a:lvl3pPr algn="l" defTabSz="895350" rtl="0" eaLnBrk="1" fontAlgn="base" hangingPunct="1">
        <a:spcBef>
          <a:spcPct val="0"/>
        </a:spcBef>
        <a:spcAft>
          <a:spcPct val="0"/>
        </a:spcAft>
        <a:defRPr sz="1900" b="1">
          <a:solidFill>
            <a:schemeClr val="tx2"/>
          </a:solidFill>
          <a:latin typeface="Arial" charset="0"/>
        </a:defRPr>
      </a:lvl3pPr>
      <a:lvl4pPr algn="l" defTabSz="895350" rtl="0" eaLnBrk="1" fontAlgn="base" hangingPunct="1">
        <a:spcBef>
          <a:spcPct val="0"/>
        </a:spcBef>
        <a:spcAft>
          <a:spcPct val="0"/>
        </a:spcAft>
        <a:defRPr sz="1900" b="1">
          <a:solidFill>
            <a:schemeClr val="tx2"/>
          </a:solidFill>
          <a:latin typeface="Arial" charset="0"/>
        </a:defRPr>
      </a:lvl4pPr>
      <a:lvl5pPr algn="l" defTabSz="895350" rtl="0" eaLnBrk="1" fontAlgn="base" hangingPunct="1">
        <a:spcBef>
          <a:spcPct val="0"/>
        </a:spcBef>
        <a:spcAft>
          <a:spcPct val="0"/>
        </a:spcAft>
        <a:defRPr sz="1900" b="1">
          <a:solidFill>
            <a:schemeClr val="tx2"/>
          </a:solidFill>
          <a:latin typeface="Arial" charset="0"/>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p:titleStyle>
    <p:bodyStyle>
      <a:lvl1pPr marL="0" indent="0" algn="l" defTabSz="895350" rtl="0" eaLnBrk="1" fontAlgn="base" hangingPunct="1">
        <a:spcBef>
          <a:spcPct val="0"/>
        </a:spcBef>
        <a:spcAft>
          <a:spcPct val="0"/>
        </a:spcAft>
        <a:buClr>
          <a:schemeClr val="tx2"/>
        </a:buClr>
        <a:buSzPct val="100000"/>
        <a:defRPr sz="14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4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4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4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4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ext>
  </p:extLst>
</p:sldMaster>
</file>

<file path=ppt/slideMasters/slideMaster3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7"/>
            </p:custDataLst>
            <p:extLst>
              <p:ext uri="{D42A27DB-BD31-4B8C-83A1-F6EECF244321}">
                <p14:modId xmlns:p14="http://schemas.microsoft.com/office/powerpoint/2010/main" val="1826428413"/>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84340" name="think-cell Slide" r:id="rId36" imgW="270" imgH="270" progId="TCLayout.ActiveDocument.1">
                  <p:embed/>
                </p:oleObj>
              </mc:Choice>
              <mc:Fallback>
                <p:oleObj name="think-cell Slide" r:id="rId36" imgW="270" imgH="270" progId="TCLayout.ActiveDocument.1">
                  <p:embed/>
                  <p:pic>
                    <p:nvPicPr>
                      <p:cNvPr id="2" name="Object 1" hidden="1"/>
                      <p:cNvPicPr/>
                      <p:nvPr/>
                    </p:nvPicPr>
                    <p:blipFill>
                      <a:blip r:embed="rId37"/>
                      <a:stretch>
                        <a:fillRect/>
                      </a:stretch>
                    </p:blipFill>
                    <p:spPr>
                      <a:xfrm>
                        <a:off x="0" y="0"/>
                        <a:ext cx="158750" cy="158750"/>
                      </a:xfrm>
                      <a:prstGeom prst="rect">
                        <a:avLst/>
                      </a:prstGeom>
                    </p:spPr>
                  </p:pic>
                </p:oleObj>
              </mc:Fallback>
            </mc:AlternateContent>
          </a:graphicData>
        </a:graphic>
      </p:graphicFrame>
      <p:sp>
        <p:nvSpPr>
          <p:cNvPr id="6" name="Rectangle 5" hidden="1"/>
          <p:cNvSpPr/>
          <p:nvPr>
            <p:custDataLst>
              <p:tags r:id="rId8"/>
            </p:custDataLst>
          </p:nvPr>
        </p:nvSpPr>
        <p:spPr bwMode="auto">
          <a:xfrm>
            <a:off x="0" y="0"/>
            <a:ext cx="158750" cy="158750"/>
          </a:xfrm>
          <a:prstGeom prst="rect">
            <a:avLst/>
          </a:prstGeom>
          <a:solidFill>
            <a:schemeClr val="bg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dirty="0">
              <a:solidFill>
                <a:srgbClr val="000000"/>
              </a:solidFill>
              <a:sym typeface="Arial" panose="020B0604020202020204" pitchFamily="34" charset="0"/>
            </a:endParaRPr>
          </a:p>
        </p:txBody>
      </p:sp>
      <p:sp>
        <p:nvSpPr>
          <p:cNvPr id="1034" name="Working Draft" hidden="1"/>
          <p:cNvSpPr txBox="1">
            <a:spLocks noChangeArrowheads="1"/>
          </p:cNvSpPr>
          <p:nvPr/>
        </p:nvSpPr>
        <p:spPr bwMode="gray">
          <a:xfrm rot="5400000">
            <a:off x="7966656" y="1940591"/>
            <a:ext cx="1849865"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600" baseline="0">
                <a:solidFill>
                  <a:srgbClr val="808080"/>
                </a:solidFill>
                <a:latin typeface="+mn-lt"/>
                <a:ea typeface="+mn-ea"/>
              </a:rPr>
              <a:t>Last Modified 21/05/2018 17:44 India Standard Time</a:t>
            </a:r>
            <a:endParaRPr lang="en-US" baseline="0" dirty="0">
              <a:solidFill>
                <a:srgbClr val="808080"/>
              </a:solidFill>
              <a:latin typeface="+mn-lt"/>
              <a:ea typeface="+mn-ea"/>
            </a:endParaRPr>
          </a:p>
        </p:txBody>
      </p:sp>
      <p:sp>
        <p:nvSpPr>
          <p:cNvPr id="1035" name="Printed" hidden="1"/>
          <p:cNvSpPr txBox="1">
            <a:spLocks noChangeArrowheads="1"/>
          </p:cNvSpPr>
          <p:nvPr/>
        </p:nvSpPr>
        <p:spPr bwMode="gray">
          <a:xfrm rot="5400000">
            <a:off x="8768958" y="4114417"/>
            <a:ext cx="245260"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600" baseline="0" dirty="0">
                <a:solidFill>
                  <a:srgbClr val="808080"/>
                </a:solidFill>
                <a:latin typeface="+mn-lt"/>
                <a:ea typeface="+mn-ea"/>
              </a:rPr>
              <a:t>Printed</a:t>
            </a:r>
            <a:endParaRPr lang="en-US" baseline="0" dirty="0">
              <a:solidFill>
                <a:srgbClr val="808080"/>
              </a:solidFill>
              <a:latin typeface="+mn-lt"/>
              <a:ea typeface="+mn-ea"/>
            </a:endParaRPr>
          </a:p>
        </p:txBody>
      </p:sp>
      <p:sp>
        <p:nvSpPr>
          <p:cNvPr id="19" name="Title Placeholder 2"/>
          <p:cNvSpPr>
            <a:spLocks noGrp="1" noChangeArrowheads="1"/>
          </p:cNvSpPr>
          <p:nvPr>
            <p:ph type="title"/>
          </p:nvPr>
        </p:nvSpPr>
        <p:spPr bwMode="gray">
          <a:xfrm>
            <a:off x="119063" y="230188"/>
            <a:ext cx="8618537"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latinLnBrk="0"/>
            <a:r>
              <a:rPr lang="en-US"/>
              <a:t>Click to edit Master title style</a:t>
            </a:r>
            <a:endParaRPr lang="en-US" noProof="0" dirty="0"/>
          </a:p>
        </p:txBody>
      </p:sp>
      <p:sp>
        <p:nvSpPr>
          <p:cNvPr id="10" name="1. On-page tracker" hidden="1"/>
          <p:cNvSpPr>
            <a:spLocks noChangeArrowheads="1"/>
          </p:cNvSpPr>
          <p:nvPr/>
        </p:nvSpPr>
        <p:spPr bwMode="gray">
          <a:xfrm>
            <a:off x="119063" y="75764"/>
            <a:ext cx="490519"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800" cap="all" baseline="0" dirty="0">
                <a:solidFill>
                  <a:schemeClr val="accent6"/>
                </a:solidFill>
                <a:latin typeface="+mn-lt"/>
                <a:ea typeface="+mn-ea"/>
              </a:rPr>
              <a:t>Tracker</a:t>
            </a:r>
          </a:p>
        </p:txBody>
      </p:sp>
      <p:sp>
        <p:nvSpPr>
          <p:cNvPr id="11" name="3. Unit of measure" hidden="1"/>
          <p:cNvSpPr txBox="1">
            <a:spLocks noChangeArrowheads="1"/>
          </p:cNvSpPr>
          <p:nvPr/>
        </p:nvSpPr>
        <p:spPr bwMode="gray">
          <a:xfrm>
            <a:off x="119063" y="554865"/>
            <a:ext cx="8618537"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600" baseline="0" dirty="0">
                <a:solidFill>
                  <a:schemeClr val="accent6"/>
                </a:solidFill>
                <a:latin typeface="+mn-lt"/>
                <a:ea typeface="+mn-ea"/>
              </a:rPr>
              <a:t>Unit of measure</a:t>
            </a:r>
          </a:p>
        </p:txBody>
      </p:sp>
      <p:grpSp>
        <p:nvGrpSpPr>
          <p:cNvPr id="4" name="Slide Elements" hidden="1"/>
          <p:cNvGrpSpPr/>
          <p:nvPr/>
        </p:nvGrpSpPr>
        <p:grpSpPr bwMode="gray">
          <a:xfrm>
            <a:off x="119063" y="6305945"/>
            <a:ext cx="8618537" cy="325438"/>
            <a:chOff x="119063" y="6305945"/>
            <a:chExt cx="8618537" cy="325438"/>
          </a:xfrm>
        </p:grpSpPr>
        <p:sp>
          <p:nvSpPr>
            <p:cNvPr id="13" name="4. Footnote"/>
            <p:cNvSpPr txBox="1">
              <a:spLocks noChangeArrowheads="1"/>
            </p:cNvSpPr>
            <p:nvPr/>
          </p:nvSpPr>
          <p:spPr bwMode="gray">
            <a:xfrm>
              <a:off x="119063" y="6305945"/>
              <a:ext cx="8618537" cy="123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800" baseline="0" dirty="0">
                  <a:solidFill>
                    <a:schemeClr val="accent6"/>
                  </a:solidFill>
                  <a:latin typeface="+mn-lt"/>
                  <a:ea typeface="+mn-ea"/>
                </a:rPr>
                <a:t>1 Footnote</a:t>
              </a:r>
            </a:p>
          </p:txBody>
        </p:sp>
        <p:sp>
          <p:nvSpPr>
            <p:cNvPr id="14" name="5. Source"/>
            <p:cNvSpPr>
              <a:spLocks noChangeArrowheads="1"/>
            </p:cNvSpPr>
            <p:nvPr/>
          </p:nvSpPr>
          <p:spPr bwMode="gray">
            <a:xfrm>
              <a:off x="119063" y="6507558"/>
              <a:ext cx="7200000" cy="123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marL="609600" indent="-609600" defTabSz="895350">
                <a:tabLst>
                  <a:tab pos="612775" algn="l"/>
                </a:tabLst>
              </a:pPr>
              <a:r>
                <a:rPr lang="en-US" sz="800" baseline="0" dirty="0">
                  <a:solidFill>
                    <a:schemeClr val="accent6"/>
                  </a:solidFill>
                  <a:latin typeface="+mn-lt"/>
                  <a:ea typeface="+mn-ea"/>
                </a:rPr>
                <a:t>SOURCE: Source</a:t>
              </a:r>
            </a:p>
          </p:txBody>
        </p:sp>
      </p:grpSp>
      <p:sp>
        <p:nvSpPr>
          <p:cNvPr id="3" name="Text Placeholder 2"/>
          <p:cNvSpPr>
            <a:spLocks noGrp="1"/>
          </p:cNvSpPr>
          <p:nvPr>
            <p:ph type="body" idx="1"/>
          </p:nvPr>
        </p:nvSpPr>
        <p:spPr bwMode="gray">
          <a:xfrm>
            <a:off x="1452564" y="1951380"/>
            <a:ext cx="4302125" cy="1077218"/>
          </a:xfrm>
          <a:prstGeom prst="rect">
            <a:avLst/>
          </a:prstGeom>
        </p:spPr>
        <p:txBody>
          <a:bodyPr vert="horz" lIns="0" tIns="0" rIns="0" bIns="0" rtlCol="0">
            <a:spAutoFit/>
          </a:bodyPr>
          <a:lstStyle/>
          <a:p>
            <a:pPr lvl="0" latinLnBrk="0"/>
            <a:r>
              <a:rPr lang="en-US"/>
              <a:t>Edit Master text styles</a:t>
            </a:r>
          </a:p>
          <a:p>
            <a:pPr lvl="1" latinLnBrk="0"/>
            <a:r>
              <a:rPr lang="en-US"/>
              <a:t>Second level</a:t>
            </a:r>
          </a:p>
          <a:p>
            <a:pPr lvl="2" latinLnBrk="0"/>
            <a:r>
              <a:rPr lang="en-US"/>
              <a:t>Third level</a:t>
            </a:r>
          </a:p>
          <a:p>
            <a:pPr lvl="3" latinLnBrk="0"/>
            <a:r>
              <a:rPr lang="en-US"/>
              <a:t>Fourth level</a:t>
            </a:r>
          </a:p>
          <a:p>
            <a:pPr lvl="4" latinLnBrk="0"/>
            <a:r>
              <a:rPr lang="en-US"/>
              <a:t>Fifth level</a:t>
            </a:r>
            <a:endParaRPr lang="en-US" dirty="0"/>
          </a:p>
        </p:txBody>
      </p:sp>
      <p:grpSp>
        <p:nvGrpSpPr>
          <p:cNvPr id="15" name="ACET" hidden="1"/>
          <p:cNvGrpSpPr>
            <a:grpSpLocks/>
          </p:cNvGrpSpPr>
          <p:nvPr/>
        </p:nvGrpSpPr>
        <p:grpSpPr bwMode="gray">
          <a:xfrm>
            <a:off x="1452563" y="1257754"/>
            <a:ext cx="4264025" cy="508000"/>
            <a:chOff x="915" y="710"/>
            <a:chExt cx="2686" cy="320"/>
          </a:xfrm>
        </p:grpSpPr>
        <p:cxnSp>
          <p:nvCxnSpPr>
            <p:cNvPr id="16" name="AutoShape 249"/>
            <p:cNvCxnSpPr>
              <a:cxnSpLocks noChangeShapeType="1"/>
              <a:stCxn id="18" idx="4"/>
              <a:endCxn id="18" idx="6"/>
            </p:cNvCxnSpPr>
            <p:nvPr/>
          </p:nvCxnSpPr>
          <p:spPr bwMode="gray">
            <a:xfrm>
              <a:off x="915" y="1030"/>
              <a:ext cx="2686" cy="0"/>
            </a:xfrm>
            <a:prstGeom prst="straightConnector1">
              <a:avLst/>
            </a:prstGeom>
            <a:noFill/>
            <a:ln w="9525">
              <a:solidFill>
                <a:schemeClr val="accent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8" name="AutoShape 250"/>
            <p:cNvSpPr>
              <a:spLocks noChangeArrowheads="1"/>
            </p:cNvSpPr>
            <p:nvPr/>
          </p:nvSpPr>
          <p:spPr bwMode="gray">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US" b="1" baseline="0" dirty="0">
                  <a:solidFill>
                    <a:srgbClr val="000000"/>
                  </a:solidFill>
                  <a:latin typeface="+mn-lt"/>
                  <a:ea typeface="+mn-ea"/>
                </a:rPr>
                <a:t>Title</a:t>
              </a:r>
            </a:p>
            <a:p>
              <a:r>
                <a:rPr lang="en-US" baseline="0" dirty="0">
                  <a:solidFill>
                    <a:schemeClr val="accent6"/>
                  </a:solidFill>
                  <a:latin typeface="+mn-lt"/>
                  <a:ea typeface="+mn-ea"/>
                </a:rPr>
                <a:t>Unit of measure</a:t>
              </a:r>
            </a:p>
          </p:txBody>
        </p:sp>
      </p:grpSp>
      <p:grpSp>
        <p:nvGrpSpPr>
          <p:cNvPr id="17" name="McKSticker" hidden="1"/>
          <p:cNvGrpSpPr/>
          <p:nvPr/>
        </p:nvGrpSpPr>
        <p:grpSpPr bwMode="gray">
          <a:xfrm>
            <a:off x="8264265" y="285750"/>
            <a:ext cx="473335" cy="150811"/>
            <a:chOff x="8267440" y="285750"/>
            <a:chExt cx="473335" cy="150811"/>
          </a:xfrm>
        </p:grpSpPr>
        <p:sp>
          <p:nvSpPr>
            <p:cNvPr id="20" name="StickerRectangle"/>
            <p:cNvSpPr>
              <a:spLocks noChangeArrowheads="1"/>
            </p:cNvSpPr>
            <p:nvPr/>
          </p:nvSpPr>
          <p:spPr bwMode="gray">
            <a:xfrm>
              <a:off x="8267440" y="285750"/>
              <a:ext cx="473335" cy="150811"/>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a:buClr>
                  <a:srgbClr val="002960"/>
                </a:buClr>
              </a:pPr>
              <a:r>
                <a:rPr lang="en-US" sz="800" baseline="0" dirty="0">
                  <a:solidFill>
                    <a:schemeClr val="accent6"/>
                  </a:solidFill>
                  <a:latin typeface="+mn-lt"/>
                  <a:ea typeface="+mn-ea"/>
                </a:rPr>
                <a:t>STICKER</a:t>
              </a:r>
            </a:p>
          </p:txBody>
        </p:sp>
        <p:cxnSp>
          <p:nvCxnSpPr>
            <p:cNvPr id="21" name="AutoShape 31"/>
            <p:cNvCxnSpPr>
              <a:cxnSpLocks noChangeShapeType="1"/>
              <a:stCxn id="20" idx="2"/>
              <a:endCxn id="20" idx="4"/>
            </p:cNvCxnSpPr>
            <p:nvPr/>
          </p:nvCxnSpPr>
          <p:spPr bwMode="gray">
            <a:xfrm>
              <a:off x="8267440" y="285750"/>
              <a:ext cx="0" cy="150811"/>
            </a:xfrm>
            <a:prstGeom prst="straightConnector1">
              <a:avLst/>
            </a:prstGeom>
            <a:noFill/>
            <a:ln w="9525">
              <a:solidFill>
                <a:schemeClr val="accent6"/>
              </a:solidFill>
              <a:round/>
              <a:headEnd/>
              <a:tailEnd/>
            </a:ln>
            <a:extLst>
              <a:ext uri="{909E8E84-426E-40DD-AFC4-6F175D3DCCD1}">
                <a14:hiddenFill xmlns:a14="http://schemas.microsoft.com/office/drawing/2010/main">
                  <a:noFill/>
                </a14:hiddenFill>
              </a:ext>
            </a:extLst>
          </p:spPr>
        </p:cxnSp>
        <p:cxnSp>
          <p:nvCxnSpPr>
            <p:cNvPr id="22" name="AutoShape 32"/>
            <p:cNvCxnSpPr>
              <a:cxnSpLocks noChangeShapeType="1"/>
              <a:stCxn id="20" idx="4"/>
              <a:endCxn id="20" idx="6"/>
            </p:cNvCxnSpPr>
            <p:nvPr/>
          </p:nvCxnSpPr>
          <p:spPr bwMode="gray">
            <a:xfrm>
              <a:off x="8267440" y="436561"/>
              <a:ext cx="473335" cy="0"/>
            </a:xfrm>
            <a:prstGeom prst="straightConnector1">
              <a:avLst/>
            </a:prstGeom>
            <a:noFill/>
            <a:ln w="25400">
              <a:solidFill>
                <a:schemeClr val="accent6"/>
              </a:solidFill>
              <a:round/>
              <a:headEnd/>
              <a:tailEnd/>
            </a:ln>
            <a:extLst>
              <a:ext uri="{909E8E84-426E-40DD-AFC4-6F175D3DCCD1}">
                <a14:hiddenFill xmlns:a14="http://schemas.microsoft.com/office/drawing/2010/main">
                  <a:noFill/>
                </a14:hiddenFill>
              </a:ext>
            </a:extLst>
          </p:spPr>
        </p:cxnSp>
      </p:grpSp>
      <p:sp>
        <p:nvSpPr>
          <p:cNvPr id="23" name="SlideBottomBar" hidden="1"/>
          <p:cNvSpPr/>
          <p:nvPr/>
        </p:nvSpPr>
        <p:spPr>
          <a:xfrm>
            <a:off x="8437547" y="6182120"/>
            <a:ext cx="45719" cy="123825"/>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aseline="0" dirty="0">
              <a:solidFill>
                <a:schemeClr val="tx1"/>
              </a:solidFill>
              <a:latin typeface="+mn-lt"/>
              <a:ea typeface="+mn-ea"/>
            </a:endParaRPr>
          </a:p>
        </p:txBody>
      </p:sp>
      <p:sp>
        <p:nvSpPr>
          <p:cNvPr id="24" name="doc id" hidden="1"/>
          <p:cNvSpPr txBox="1">
            <a:spLocks noChangeArrowheads="1"/>
          </p:cNvSpPr>
          <p:nvPr/>
        </p:nvSpPr>
        <p:spPr bwMode="white">
          <a:xfrm>
            <a:off x="8104473" y="36513"/>
            <a:ext cx="634716" cy="115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hangingPunct="1">
              <a:defRPr/>
            </a:pPr>
            <a:endParaRPr lang="en-US" sz="800" baseline="0" dirty="0">
              <a:solidFill>
                <a:schemeClr val="accent1"/>
              </a:solidFill>
              <a:latin typeface="+mn-lt"/>
              <a:ea typeface="+mn-ea"/>
            </a:endParaRPr>
          </a:p>
        </p:txBody>
      </p:sp>
      <p:grpSp>
        <p:nvGrpSpPr>
          <p:cNvPr id="63" name="LegendLines" hidden="1"/>
          <p:cNvGrpSpPr/>
          <p:nvPr/>
        </p:nvGrpSpPr>
        <p:grpSpPr>
          <a:xfrm>
            <a:off x="7551589" y="267815"/>
            <a:ext cx="1158292" cy="761545"/>
            <a:chOff x="7607284" y="279400"/>
            <a:chExt cx="1158292" cy="761545"/>
          </a:xfrm>
        </p:grpSpPr>
        <p:sp>
          <p:nvSpPr>
            <p:cNvPr id="64" name="LineLegend1"/>
            <p:cNvSpPr>
              <a:spLocks noChangeShapeType="1"/>
            </p:cNvSpPr>
            <p:nvPr/>
          </p:nvSpPr>
          <p:spPr bwMode="gray">
            <a:xfrm>
              <a:off x="7607284" y="387122"/>
              <a:ext cx="457200"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65" name="LineLegend2"/>
            <p:cNvSpPr>
              <a:spLocks noChangeShapeType="1"/>
            </p:cNvSpPr>
            <p:nvPr/>
          </p:nvSpPr>
          <p:spPr bwMode="gray">
            <a:xfrm>
              <a:off x="7607284" y="653822"/>
              <a:ext cx="457200"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66" name="LineLegend3"/>
            <p:cNvSpPr>
              <a:spLocks noChangeShapeType="1"/>
            </p:cNvSpPr>
            <p:nvPr/>
          </p:nvSpPr>
          <p:spPr bwMode="gray">
            <a:xfrm>
              <a:off x="7607284" y="933223"/>
              <a:ext cx="457200"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67" name="Legend1"/>
            <p:cNvSpPr>
              <a:spLocks noChangeArrowheads="1"/>
            </p:cNvSpPr>
            <p:nvPr>
              <p:custDataLst>
                <p:tags r:id="rId33"/>
              </p:custDataLst>
            </p:nvPr>
          </p:nvSpPr>
          <p:spPr bwMode="gray">
            <a:xfrm>
              <a:off x="8169259" y="279400"/>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sp>
          <p:nvSpPr>
            <p:cNvPr id="68" name="Legend2"/>
            <p:cNvSpPr>
              <a:spLocks noChangeArrowheads="1"/>
            </p:cNvSpPr>
            <p:nvPr>
              <p:custDataLst>
                <p:tags r:id="rId34"/>
              </p:custDataLst>
            </p:nvPr>
          </p:nvSpPr>
          <p:spPr bwMode="gray">
            <a:xfrm>
              <a:off x="8169259" y="546100"/>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a:latin typeface="+mn-lt"/>
                  <a:ea typeface="+mn-ea"/>
                </a:rPr>
                <a:t>Legend</a:t>
              </a:r>
              <a:endParaRPr lang="en-US" sz="1400" baseline="0" dirty="0">
                <a:latin typeface="+mn-lt"/>
                <a:ea typeface="+mn-ea"/>
              </a:endParaRPr>
            </a:p>
          </p:txBody>
        </p:sp>
        <p:sp>
          <p:nvSpPr>
            <p:cNvPr id="69" name="Legend3"/>
            <p:cNvSpPr>
              <a:spLocks noChangeArrowheads="1"/>
            </p:cNvSpPr>
            <p:nvPr>
              <p:custDataLst>
                <p:tags r:id="rId35"/>
              </p:custDataLst>
            </p:nvPr>
          </p:nvSpPr>
          <p:spPr bwMode="gray">
            <a:xfrm>
              <a:off x="8169259" y="825501"/>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grpSp>
      <p:grpSp>
        <p:nvGrpSpPr>
          <p:cNvPr id="70" name="LegendBoxes" hidden="1"/>
          <p:cNvGrpSpPr/>
          <p:nvPr/>
        </p:nvGrpSpPr>
        <p:grpSpPr>
          <a:xfrm>
            <a:off x="7859564" y="267919"/>
            <a:ext cx="850317" cy="1028245"/>
            <a:chOff x="5894005" y="919828"/>
            <a:chExt cx="850317" cy="1028245"/>
          </a:xfrm>
        </p:grpSpPr>
        <p:sp>
          <p:nvSpPr>
            <p:cNvPr id="71" name="RectangleLegend1"/>
            <p:cNvSpPr>
              <a:spLocks noChangeArrowheads="1"/>
            </p:cNvSpPr>
            <p:nvPr/>
          </p:nvSpPr>
          <p:spPr bwMode="gray">
            <a:xfrm>
              <a:off x="5894005" y="947381"/>
              <a:ext cx="165100" cy="160338"/>
            </a:xfrm>
            <a:prstGeom prst="rect">
              <a:avLst/>
            </a:prstGeom>
            <a:solidFill>
              <a:schemeClr val="accent1"/>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72" name="RectangleLegend2"/>
            <p:cNvSpPr>
              <a:spLocks noChangeArrowheads="1"/>
            </p:cNvSpPr>
            <p:nvPr/>
          </p:nvSpPr>
          <p:spPr bwMode="gray">
            <a:xfrm>
              <a:off x="5894005" y="1217256"/>
              <a:ext cx="165100" cy="160338"/>
            </a:xfrm>
            <a:prstGeom prst="rect">
              <a:avLst/>
            </a:prstGeom>
            <a:solidFill>
              <a:schemeClr val="accent2"/>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73" name="RectangleLegend3"/>
            <p:cNvSpPr>
              <a:spLocks noChangeArrowheads="1"/>
            </p:cNvSpPr>
            <p:nvPr/>
          </p:nvSpPr>
          <p:spPr bwMode="gray">
            <a:xfrm>
              <a:off x="5894005" y="1488719"/>
              <a:ext cx="165100" cy="160338"/>
            </a:xfrm>
            <a:prstGeom prst="rect">
              <a:avLst/>
            </a:prstGeom>
            <a:solidFill>
              <a:schemeClr val="accent3"/>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74" name="RectangleLegend4"/>
            <p:cNvSpPr>
              <a:spLocks noChangeArrowheads="1"/>
            </p:cNvSpPr>
            <p:nvPr/>
          </p:nvSpPr>
          <p:spPr bwMode="gray">
            <a:xfrm>
              <a:off x="5894005" y="1760182"/>
              <a:ext cx="165100" cy="160338"/>
            </a:xfrm>
            <a:prstGeom prst="rect">
              <a:avLst/>
            </a:prstGeom>
            <a:solidFill>
              <a:schemeClr val="accent4"/>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75" name="Legend1"/>
            <p:cNvSpPr>
              <a:spLocks noChangeArrowheads="1"/>
            </p:cNvSpPr>
            <p:nvPr>
              <p:custDataLst>
                <p:tags r:id="rId29"/>
              </p:custDataLst>
            </p:nvPr>
          </p:nvSpPr>
          <p:spPr bwMode="gray">
            <a:xfrm>
              <a:off x="6148005" y="919828"/>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sp>
          <p:nvSpPr>
            <p:cNvPr id="76" name="Legend2"/>
            <p:cNvSpPr>
              <a:spLocks noChangeArrowheads="1"/>
            </p:cNvSpPr>
            <p:nvPr>
              <p:custDataLst>
                <p:tags r:id="rId30"/>
              </p:custDataLst>
            </p:nvPr>
          </p:nvSpPr>
          <p:spPr bwMode="gray">
            <a:xfrm>
              <a:off x="6148005" y="1189703"/>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sp>
          <p:nvSpPr>
            <p:cNvPr id="77" name="Legend3"/>
            <p:cNvSpPr>
              <a:spLocks noChangeArrowheads="1"/>
            </p:cNvSpPr>
            <p:nvPr>
              <p:custDataLst>
                <p:tags r:id="rId31"/>
              </p:custDataLst>
            </p:nvPr>
          </p:nvSpPr>
          <p:spPr bwMode="gray">
            <a:xfrm>
              <a:off x="6148005" y="1461166"/>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sp>
          <p:nvSpPr>
            <p:cNvPr id="78" name="Legend4"/>
            <p:cNvSpPr>
              <a:spLocks noChangeArrowheads="1"/>
            </p:cNvSpPr>
            <p:nvPr>
              <p:custDataLst>
                <p:tags r:id="rId32"/>
              </p:custDataLst>
            </p:nvPr>
          </p:nvSpPr>
          <p:spPr bwMode="gray">
            <a:xfrm>
              <a:off x="6148005" y="1732629"/>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grpSp>
      <p:grpSp>
        <p:nvGrpSpPr>
          <p:cNvPr id="79" name="LegendMoons" hidden="1"/>
          <p:cNvGrpSpPr/>
          <p:nvPr/>
        </p:nvGrpSpPr>
        <p:grpSpPr>
          <a:xfrm>
            <a:off x="7792889" y="267414"/>
            <a:ext cx="916992" cy="1317003"/>
            <a:chOff x="5894005" y="2695123"/>
            <a:chExt cx="916992" cy="1317003"/>
          </a:xfrm>
        </p:grpSpPr>
        <p:grpSp>
          <p:nvGrpSpPr>
            <p:cNvPr id="80" name="MoonLegend1"/>
            <p:cNvGrpSpPr>
              <a:grpSpLocks noChangeAspect="1"/>
            </p:cNvGrpSpPr>
            <p:nvPr>
              <p:custDataLst>
                <p:tags r:id="rId9"/>
              </p:custDataLst>
            </p:nvPr>
          </p:nvGrpSpPr>
          <p:grpSpPr bwMode="gray">
            <a:xfrm>
              <a:off x="5894005" y="2695123"/>
              <a:ext cx="209550" cy="218282"/>
              <a:chOff x="4533" y="183"/>
              <a:chExt cx="144" cy="150"/>
            </a:xfrm>
          </p:grpSpPr>
          <p:sp>
            <p:nvSpPr>
              <p:cNvPr id="98" name="Oval 97"/>
              <p:cNvSpPr>
                <a:spLocks noChangeAspect="1" noChangeArrowheads="1"/>
              </p:cNvSpPr>
              <p:nvPr>
                <p:custDataLst>
                  <p:tags r:id="rId27"/>
                </p:custDataLst>
              </p:nvPr>
            </p:nvSpPr>
            <p:spPr bwMode="gray">
              <a:xfrm>
                <a:off x="4533" y="189"/>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99" name="Arc 98" hidden="1"/>
              <p:cNvSpPr>
                <a:spLocks noChangeAspect="1"/>
              </p:cNvSpPr>
              <p:nvPr>
                <p:custDataLst>
                  <p:tags r:id="rId28"/>
                </p:custDataLst>
              </p:nvPr>
            </p:nvSpPr>
            <p:spPr bwMode="gray">
              <a:xfrm>
                <a:off x="4533" y="183"/>
                <a:ext cx="144" cy="144"/>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grpSp>
        <p:grpSp>
          <p:nvGrpSpPr>
            <p:cNvPr id="81" name="MoonLegend2"/>
            <p:cNvGrpSpPr>
              <a:grpSpLocks noChangeAspect="1"/>
            </p:cNvGrpSpPr>
            <p:nvPr>
              <p:custDataLst>
                <p:tags r:id="rId10"/>
              </p:custDataLst>
            </p:nvPr>
          </p:nvGrpSpPr>
          <p:grpSpPr bwMode="gray">
            <a:xfrm>
              <a:off x="5894005" y="2977103"/>
              <a:ext cx="209550" cy="209551"/>
              <a:chOff x="1694" y="2051"/>
              <a:chExt cx="160" cy="160"/>
            </a:xfrm>
          </p:grpSpPr>
          <p:sp>
            <p:nvSpPr>
              <p:cNvPr id="96" name="Oval 41"/>
              <p:cNvSpPr>
                <a:spLocks noChangeAspect="1" noChangeArrowheads="1"/>
              </p:cNvSpPr>
              <p:nvPr>
                <p:custDataLst>
                  <p:tags r:id="rId25"/>
                </p:custDataLst>
              </p:nvPr>
            </p:nvSpPr>
            <p:spPr bwMode="gray">
              <a:xfrm>
                <a:off x="1694" y="2051"/>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97" name="Arc 42"/>
              <p:cNvSpPr>
                <a:spLocks noChangeAspect="1"/>
              </p:cNvSpPr>
              <p:nvPr>
                <p:custDataLst>
                  <p:tags r:id="rId26"/>
                </p:custDataLst>
              </p:nvPr>
            </p:nvSpPr>
            <p:spPr bwMode="gray">
              <a:xfrm>
                <a:off x="1694" y="2051"/>
                <a:ext cx="160" cy="160"/>
              </a:xfrm>
              <a:prstGeom prst="arc">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grpSp>
        <p:grpSp>
          <p:nvGrpSpPr>
            <p:cNvPr id="82" name="MoonLegend4"/>
            <p:cNvGrpSpPr>
              <a:grpSpLocks noChangeAspect="1"/>
            </p:cNvGrpSpPr>
            <p:nvPr>
              <p:custDataLst>
                <p:tags r:id="rId11"/>
              </p:custDataLst>
            </p:nvPr>
          </p:nvGrpSpPr>
          <p:grpSpPr bwMode="gray">
            <a:xfrm>
              <a:off x="5894005" y="3524395"/>
              <a:ext cx="209550" cy="209551"/>
              <a:chOff x="4495" y="1204"/>
              <a:chExt cx="160" cy="160"/>
            </a:xfrm>
          </p:grpSpPr>
          <p:sp>
            <p:nvSpPr>
              <p:cNvPr id="94" name="Oval 47"/>
              <p:cNvSpPr>
                <a:spLocks noChangeAspect="1" noChangeArrowheads="1"/>
              </p:cNvSpPr>
              <p:nvPr>
                <p:custDataLst>
                  <p:tags r:id="rId23"/>
                </p:custDataLst>
              </p:nvPr>
            </p:nvSpPr>
            <p:spPr bwMode="gray">
              <a:xfrm>
                <a:off x="4495" y="120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95" name="Arc 48"/>
              <p:cNvSpPr>
                <a:spLocks noChangeAspect="1"/>
              </p:cNvSpPr>
              <p:nvPr>
                <p:custDataLst>
                  <p:tags r:id="rId24"/>
                </p:custDataLst>
              </p:nvPr>
            </p:nvSpPr>
            <p:spPr bwMode="gray">
              <a:xfrm>
                <a:off x="4495" y="1204"/>
                <a:ext cx="160" cy="160"/>
              </a:xfrm>
              <a:prstGeom prst="arc">
                <a:avLst>
                  <a:gd name="adj1" fmla="val 16200000"/>
                  <a:gd name="adj2" fmla="val 108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grpSp>
        <p:grpSp>
          <p:nvGrpSpPr>
            <p:cNvPr id="83" name="MoonLegend5"/>
            <p:cNvGrpSpPr>
              <a:grpSpLocks noChangeAspect="1"/>
            </p:cNvGrpSpPr>
            <p:nvPr>
              <p:custDataLst>
                <p:tags r:id="rId12"/>
              </p:custDataLst>
            </p:nvPr>
          </p:nvGrpSpPr>
          <p:grpSpPr bwMode="gray">
            <a:xfrm>
              <a:off x="5894005" y="3799629"/>
              <a:ext cx="209550" cy="209551"/>
              <a:chOff x="4495" y="1447"/>
              <a:chExt cx="160" cy="160"/>
            </a:xfrm>
          </p:grpSpPr>
          <p:sp>
            <p:nvSpPr>
              <p:cNvPr id="92" name="Oval 50"/>
              <p:cNvSpPr>
                <a:spLocks noChangeAspect="1" noChangeArrowheads="1"/>
              </p:cNvSpPr>
              <p:nvPr>
                <p:custDataLst>
                  <p:tags r:id="rId21"/>
                </p:custDataLst>
              </p:nvPr>
            </p:nvSpPr>
            <p:spPr bwMode="gray">
              <a:xfrm>
                <a:off x="4495" y="1447"/>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93" name="Oval 51"/>
              <p:cNvSpPr>
                <a:spLocks noChangeAspect="1" noChangeArrowheads="1"/>
              </p:cNvSpPr>
              <p:nvPr>
                <p:custDataLst>
                  <p:tags r:id="rId22"/>
                </p:custDataLst>
              </p:nvPr>
            </p:nvSpPr>
            <p:spPr bwMode="gray">
              <a:xfrm>
                <a:off x="4495" y="1447"/>
                <a:ext cx="160" cy="160"/>
              </a:xfrm>
              <a:prstGeom prst="arc">
                <a:avLst>
                  <a:gd name="adj1" fmla="val 16200000"/>
                  <a:gd name="adj2" fmla="val 162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grpSp>
        <p:grpSp>
          <p:nvGrpSpPr>
            <p:cNvPr id="84" name="MoonLegend3"/>
            <p:cNvGrpSpPr>
              <a:grpSpLocks noChangeAspect="1"/>
            </p:cNvGrpSpPr>
            <p:nvPr>
              <p:custDataLst>
                <p:tags r:id="rId13"/>
              </p:custDataLst>
            </p:nvPr>
          </p:nvGrpSpPr>
          <p:grpSpPr bwMode="gray">
            <a:xfrm>
              <a:off x="5894005" y="3251543"/>
              <a:ext cx="209550" cy="209551"/>
              <a:chOff x="4495" y="1205"/>
              <a:chExt cx="160" cy="160"/>
            </a:xfrm>
          </p:grpSpPr>
          <p:sp>
            <p:nvSpPr>
              <p:cNvPr id="90" name="Oval 47"/>
              <p:cNvSpPr>
                <a:spLocks noChangeAspect="1" noChangeArrowheads="1"/>
              </p:cNvSpPr>
              <p:nvPr>
                <p:custDataLst>
                  <p:tags r:id="rId19"/>
                </p:custDataLst>
              </p:nvPr>
            </p:nvSpPr>
            <p:spPr bwMode="gray">
              <a:xfrm>
                <a:off x="4495" y="1205"/>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91" name="Arc 48"/>
              <p:cNvSpPr>
                <a:spLocks noChangeAspect="1"/>
              </p:cNvSpPr>
              <p:nvPr>
                <p:custDataLst>
                  <p:tags r:id="rId20"/>
                </p:custDataLst>
              </p:nvPr>
            </p:nvSpPr>
            <p:spPr bwMode="gray">
              <a:xfrm>
                <a:off x="4495" y="1205"/>
                <a:ext cx="160" cy="160"/>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grpSp>
        <p:sp>
          <p:nvSpPr>
            <p:cNvPr id="85" name="Legend1"/>
            <p:cNvSpPr>
              <a:spLocks noChangeArrowheads="1"/>
            </p:cNvSpPr>
            <p:nvPr>
              <p:custDataLst>
                <p:tags r:id="rId14"/>
              </p:custDataLst>
            </p:nvPr>
          </p:nvSpPr>
          <p:spPr bwMode="gray">
            <a:xfrm>
              <a:off x="6214680" y="2696542"/>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sp>
          <p:nvSpPr>
            <p:cNvPr id="86" name="Legend2"/>
            <p:cNvSpPr>
              <a:spLocks noChangeArrowheads="1"/>
            </p:cNvSpPr>
            <p:nvPr>
              <p:custDataLst>
                <p:tags r:id="rId15"/>
              </p:custDataLst>
            </p:nvPr>
          </p:nvSpPr>
          <p:spPr bwMode="gray">
            <a:xfrm>
              <a:off x="6214680" y="2974156"/>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a:latin typeface="+mn-lt"/>
                  <a:ea typeface="+mn-ea"/>
                </a:rPr>
                <a:t>Legend</a:t>
              </a:r>
              <a:endParaRPr lang="en-US" sz="1400" baseline="0" dirty="0">
                <a:latin typeface="+mn-lt"/>
                <a:ea typeface="+mn-ea"/>
              </a:endParaRPr>
            </a:p>
          </p:txBody>
        </p:sp>
        <p:sp>
          <p:nvSpPr>
            <p:cNvPr id="87" name="Legend3"/>
            <p:cNvSpPr>
              <a:spLocks noChangeArrowheads="1"/>
            </p:cNvSpPr>
            <p:nvPr>
              <p:custDataLst>
                <p:tags r:id="rId16"/>
              </p:custDataLst>
            </p:nvPr>
          </p:nvSpPr>
          <p:spPr bwMode="gray">
            <a:xfrm>
              <a:off x="6214680" y="3248596"/>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sp>
          <p:nvSpPr>
            <p:cNvPr id="88" name="Legend4"/>
            <p:cNvSpPr>
              <a:spLocks noChangeArrowheads="1"/>
            </p:cNvSpPr>
            <p:nvPr>
              <p:custDataLst>
                <p:tags r:id="rId17"/>
              </p:custDataLst>
            </p:nvPr>
          </p:nvSpPr>
          <p:spPr bwMode="gray">
            <a:xfrm>
              <a:off x="6214680" y="3521448"/>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sp>
          <p:nvSpPr>
            <p:cNvPr id="89" name="Legend5"/>
            <p:cNvSpPr>
              <a:spLocks noChangeArrowheads="1"/>
            </p:cNvSpPr>
            <p:nvPr>
              <p:custDataLst>
                <p:tags r:id="rId18"/>
              </p:custDataLst>
            </p:nvPr>
          </p:nvSpPr>
          <p:spPr bwMode="gray">
            <a:xfrm>
              <a:off x="6214680" y="3796682"/>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a:latin typeface="+mn-lt"/>
                  <a:ea typeface="+mn-ea"/>
                </a:rPr>
                <a:t>Legend</a:t>
              </a:r>
              <a:endParaRPr lang="en-US" sz="1400" baseline="0" dirty="0">
                <a:latin typeface="+mn-lt"/>
                <a:ea typeface="+mn-ea"/>
              </a:endParaRPr>
            </a:p>
          </p:txBody>
        </p:sp>
      </p:grpSp>
    </p:spTree>
    <p:extLst>
      <p:ext uri="{BB962C8B-B14F-4D97-AF65-F5344CB8AC3E}">
        <p14:creationId xmlns:p14="http://schemas.microsoft.com/office/powerpoint/2010/main" val="3346528286"/>
      </p:ext>
    </p:extLst>
  </p:cSld>
  <p:clrMap bg1="lt1" tx1="dk1" bg2="lt2" tx2="dk2" accent1="accent1" accent2="accent2" accent3="accent3" accent4="accent4" accent5="accent5" accent6="accent6" hlink="hlink" folHlink="folHlink"/>
  <p:sldLayoutIdLst>
    <p:sldLayoutId id="2147483851" r:id="rId1"/>
    <p:sldLayoutId id="2147483852" r:id="rId2"/>
    <p:sldLayoutId id="2147483853" r:id="rId3"/>
    <p:sldLayoutId id="2147483854" r:id="rId4"/>
  </p:sldLayoutIdLst>
  <p:txStyles>
    <p:titleStyle>
      <a:lvl1pPr algn="l" defTabSz="895350" rtl="0" eaLnBrk="1" fontAlgn="base" hangingPunct="1">
        <a:spcBef>
          <a:spcPct val="0"/>
        </a:spcBef>
        <a:spcAft>
          <a:spcPct val="0"/>
        </a:spcAft>
        <a:tabLst>
          <a:tab pos="269875" algn="l"/>
        </a:tabLst>
        <a:defRPr sz="2000" b="0" baseline="0">
          <a:solidFill>
            <a:schemeClr val="tx2"/>
          </a:solidFill>
          <a:latin typeface="+mj-lt"/>
          <a:ea typeface="+mj-ea"/>
          <a:cs typeface="+mj-cs"/>
        </a:defRPr>
      </a:lvl1pPr>
      <a:lvl2pPr algn="l" defTabSz="895350" rtl="0" eaLnBrk="1" fontAlgn="base" hangingPunct="1">
        <a:spcBef>
          <a:spcPct val="0"/>
        </a:spcBef>
        <a:spcAft>
          <a:spcPct val="0"/>
        </a:spcAft>
        <a:defRPr sz="1900" b="1">
          <a:solidFill>
            <a:schemeClr val="tx2"/>
          </a:solidFill>
          <a:latin typeface="Arial" charset="0"/>
        </a:defRPr>
      </a:lvl2pPr>
      <a:lvl3pPr algn="l" defTabSz="895350" rtl="0" eaLnBrk="1" fontAlgn="base" hangingPunct="1">
        <a:spcBef>
          <a:spcPct val="0"/>
        </a:spcBef>
        <a:spcAft>
          <a:spcPct val="0"/>
        </a:spcAft>
        <a:defRPr sz="1900" b="1">
          <a:solidFill>
            <a:schemeClr val="tx2"/>
          </a:solidFill>
          <a:latin typeface="Arial" charset="0"/>
        </a:defRPr>
      </a:lvl3pPr>
      <a:lvl4pPr algn="l" defTabSz="895350" rtl="0" eaLnBrk="1" fontAlgn="base" hangingPunct="1">
        <a:spcBef>
          <a:spcPct val="0"/>
        </a:spcBef>
        <a:spcAft>
          <a:spcPct val="0"/>
        </a:spcAft>
        <a:defRPr sz="1900" b="1">
          <a:solidFill>
            <a:schemeClr val="tx2"/>
          </a:solidFill>
          <a:latin typeface="Arial" charset="0"/>
        </a:defRPr>
      </a:lvl4pPr>
      <a:lvl5pPr algn="l" defTabSz="895350" rtl="0" eaLnBrk="1" fontAlgn="base" hangingPunct="1">
        <a:spcBef>
          <a:spcPct val="0"/>
        </a:spcBef>
        <a:spcAft>
          <a:spcPct val="0"/>
        </a:spcAft>
        <a:defRPr sz="1900" b="1">
          <a:solidFill>
            <a:schemeClr val="tx2"/>
          </a:solidFill>
          <a:latin typeface="Arial" charset="0"/>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p:titleStyle>
    <p:bodyStyle>
      <a:lvl1pPr marL="0" indent="0" algn="l" defTabSz="895350" rtl="0" eaLnBrk="1" fontAlgn="base" hangingPunct="1">
        <a:spcBef>
          <a:spcPct val="0"/>
        </a:spcBef>
        <a:spcAft>
          <a:spcPct val="0"/>
        </a:spcAft>
        <a:buClr>
          <a:schemeClr val="tx2"/>
        </a:buClr>
        <a:buSzPct val="100000"/>
        <a:defRPr sz="14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4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4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4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4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ext>
  </p:extLst>
</p:sldMaster>
</file>

<file path=ppt/slideMasters/slideMaster3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7"/>
            </p:custDataLst>
            <p:extLst>
              <p:ext uri="{D42A27DB-BD31-4B8C-83A1-F6EECF244321}">
                <p14:modId xmlns:p14="http://schemas.microsoft.com/office/powerpoint/2010/main" val="88998496"/>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89460" name="think-cell Slide" r:id="rId36" imgW="270" imgH="270" progId="TCLayout.ActiveDocument.1">
                  <p:embed/>
                </p:oleObj>
              </mc:Choice>
              <mc:Fallback>
                <p:oleObj name="think-cell Slide" r:id="rId36" imgW="270" imgH="270" progId="TCLayout.ActiveDocument.1">
                  <p:embed/>
                  <p:pic>
                    <p:nvPicPr>
                      <p:cNvPr id="2" name="Object 1" hidden="1"/>
                      <p:cNvPicPr/>
                      <p:nvPr/>
                    </p:nvPicPr>
                    <p:blipFill>
                      <a:blip r:embed="rId37"/>
                      <a:stretch>
                        <a:fillRect/>
                      </a:stretch>
                    </p:blipFill>
                    <p:spPr>
                      <a:xfrm>
                        <a:off x="0" y="0"/>
                        <a:ext cx="158750" cy="158750"/>
                      </a:xfrm>
                      <a:prstGeom prst="rect">
                        <a:avLst/>
                      </a:prstGeom>
                    </p:spPr>
                  </p:pic>
                </p:oleObj>
              </mc:Fallback>
            </mc:AlternateContent>
          </a:graphicData>
        </a:graphic>
      </p:graphicFrame>
      <p:sp>
        <p:nvSpPr>
          <p:cNvPr id="6" name="Rectangle 5" hidden="1"/>
          <p:cNvSpPr/>
          <p:nvPr>
            <p:custDataLst>
              <p:tags r:id="rId8"/>
            </p:custDataLst>
          </p:nvPr>
        </p:nvSpPr>
        <p:spPr bwMode="auto">
          <a:xfrm>
            <a:off x="0" y="0"/>
            <a:ext cx="158750" cy="158750"/>
          </a:xfrm>
          <a:prstGeom prst="rect">
            <a:avLst/>
          </a:prstGeom>
          <a:solidFill>
            <a:schemeClr val="bg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dirty="0">
              <a:solidFill>
                <a:srgbClr val="000000"/>
              </a:solidFill>
              <a:sym typeface="Arial" panose="020B0604020202020204" pitchFamily="34" charset="0"/>
            </a:endParaRPr>
          </a:p>
        </p:txBody>
      </p:sp>
      <p:sp>
        <p:nvSpPr>
          <p:cNvPr id="1034" name="Working Draft" hidden="1"/>
          <p:cNvSpPr txBox="1">
            <a:spLocks noChangeArrowheads="1"/>
          </p:cNvSpPr>
          <p:nvPr/>
        </p:nvSpPr>
        <p:spPr bwMode="gray">
          <a:xfrm rot="5400000">
            <a:off x="7966656" y="1940591"/>
            <a:ext cx="1849865"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600" baseline="0">
                <a:solidFill>
                  <a:srgbClr val="808080"/>
                </a:solidFill>
                <a:latin typeface="+mn-lt"/>
                <a:ea typeface="+mn-ea"/>
              </a:rPr>
              <a:t>Last Modified 21/05/2018 17:44 India Standard Time</a:t>
            </a:r>
            <a:endParaRPr lang="en-US" baseline="0" dirty="0">
              <a:solidFill>
                <a:srgbClr val="808080"/>
              </a:solidFill>
              <a:latin typeface="+mn-lt"/>
              <a:ea typeface="+mn-ea"/>
            </a:endParaRPr>
          </a:p>
        </p:txBody>
      </p:sp>
      <p:sp>
        <p:nvSpPr>
          <p:cNvPr id="1035" name="Printed" hidden="1"/>
          <p:cNvSpPr txBox="1">
            <a:spLocks noChangeArrowheads="1"/>
          </p:cNvSpPr>
          <p:nvPr/>
        </p:nvSpPr>
        <p:spPr bwMode="gray">
          <a:xfrm rot="5400000">
            <a:off x="8768958" y="4114417"/>
            <a:ext cx="245260"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600" baseline="0" dirty="0">
                <a:solidFill>
                  <a:srgbClr val="808080"/>
                </a:solidFill>
                <a:latin typeface="+mn-lt"/>
                <a:ea typeface="+mn-ea"/>
              </a:rPr>
              <a:t>Printed</a:t>
            </a:r>
            <a:endParaRPr lang="en-US" baseline="0" dirty="0">
              <a:solidFill>
                <a:srgbClr val="808080"/>
              </a:solidFill>
              <a:latin typeface="+mn-lt"/>
              <a:ea typeface="+mn-ea"/>
            </a:endParaRPr>
          </a:p>
        </p:txBody>
      </p:sp>
      <p:sp>
        <p:nvSpPr>
          <p:cNvPr id="19" name="Title Placeholder 2"/>
          <p:cNvSpPr>
            <a:spLocks noGrp="1" noChangeArrowheads="1"/>
          </p:cNvSpPr>
          <p:nvPr>
            <p:ph type="title"/>
          </p:nvPr>
        </p:nvSpPr>
        <p:spPr bwMode="gray">
          <a:xfrm>
            <a:off x="119063" y="230188"/>
            <a:ext cx="8618537"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latinLnBrk="0"/>
            <a:r>
              <a:rPr lang="en-US"/>
              <a:t>Click to edit Master title style</a:t>
            </a:r>
            <a:endParaRPr lang="en-US" noProof="0" dirty="0"/>
          </a:p>
        </p:txBody>
      </p:sp>
      <p:sp>
        <p:nvSpPr>
          <p:cNvPr id="10" name="1. On-page tracker" hidden="1"/>
          <p:cNvSpPr>
            <a:spLocks noChangeArrowheads="1"/>
          </p:cNvSpPr>
          <p:nvPr/>
        </p:nvSpPr>
        <p:spPr bwMode="gray">
          <a:xfrm>
            <a:off x="119063" y="75764"/>
            <a:ext cx="490519"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800" cap="all" baseline="0" dirty="0">
                <a:solidFill>
                  <a:schemeClr val="accent6"/>
                </a:solidFill>
                <a:latin typeface="+mn-lt"/>
                <a:ea typeface="+mn-ea"/>
              </a:rPr>
              <a:t>Tracker</a:t>
            </a:r>
          </a:p>
        </p:txBody>
      </p:sp>
      <p:sp>
        <p:nvSpPr>
          <p:cNvPr id="11" name="3. Unit of measure" hidden="1"/>
          <p:cNvSpPr txBox="1">
            <a:spLocks noChangeArrowheads="1"/>
          </p:cNvSpPr>
          <p:nvPr/>
        </p:nvSpPr>
        <p:spPr bwMode="gray">
          <a:xfrm>
            <a:off x="119063" y="554865"/>
            <a:ext cx="8618537"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600" baseline="0" dirty="0">
                <a:solidFill>
                  <a:schemeClr val="accent6"/>
                </a:solidFill>
                <a:latin typeface="+mn-lt"/>
                <a:ea typeface="+mn-ea"/>
              </a:rPr>
              <a:t>Unit of measure</a:t>
            </a:r>
          </a:p>
        </p:txBody>
      </p:sp>
      <p:grpSp>
        <p:nvGrpSpPr>
          <p:cNvPr id="4" name="Slide Elements" hidden="1"/>
          <p:cNvGrpSpPr/>
          <p:nvPr/>
        </p:nvGrpSpPr>
        <p:grpSpPr bwMode="gray">
          <a:xfrm>
            <a:off x="119063" y="6305945"/>
            <a:ext cx="8618537" cy="325438"/>
            <a:chOff x="119063" y="6305945"/>
            <a:chExt cx="8618537" cy="325438"/>
          </a:xfrm>
        </p:grpSpPr>
        <p:sp>
          <p:nvSpPr>
            <p:cNvPr id="13" name="4. Footnote"/>
            <p:cNvSpPr txBox="1">
              <a:spLocks noChangeArrowheads="1"/>
            </p:cNvSpPr>
            <p:nvPr/>
          </p:nvSpPr>
          <p:spPr bwMode="gray">
            <a:xfrm>
              <a:off x="119063" y="6305945"/>
              <a:ext cx="8618537" cy="123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800" baseline="0" dirty="0">
                  <a:solidFill>
                    <a:schemeClr val="accent6"/>
                  </a:solidFill>
                  <a:latin typeface="+mn-lt"/>
                  <a:ea typeface="+mn-ea"/>
                </a:rPr>
                <a:t>1 Footnote</a:t>
              </a:r>
            </a:p>
          </p:txBody>
        </p:sp>
        <p:sp>
          <p:nvSpPr>
            <p:cNvPr id="14" name="5. Source"/>
            <p:cNvSpPr>
              <a:spLocks noChangeArrowheads="1"/>
            </p:cNvSpPr>
            <p:nvPr/>
          </p:nvSpPr>
          <p:spPr bwMode="gray">
            <a:xfrm>
              <a:off x="119063" y="6507558"/>
              <a:ext cx="7200000" cy="123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marL="609600" indent="-609600" defTabSz="895350">
                <a:tabLst>
                  <a:tab pos="612775" algn="l"/>
                </a:tabLst>
              </a:pPr>
              <a:r>
                <a:rPr lang="en-US" sz="800" baseline="0" dirty="0">
                  <a:solidFill>
                    <a:schemeClr val="accent6"/>
                  </a:solidFill>
                  <a:latin typeface="+mn-lt"/>
                  <a:ea typeface="+mn-ea"/>
                </a:rPr>
                <a:t>SOURCE: Source</a:t>
              </a:r>
            </a:p>
          </p:txBody>
        </p:sp>
      </p:grpSp>
      <p:sp>
        <p:nvSpPr>
          <p:cNvPr id="3" name="Text Placeholder 2"/>
          <p:cNvSpPr>
            <a:spLocks noGrp="1"/>
          </p:cNvSpPr>
          <p:nvPr>
            <p:ph type="body" idx="1"/>
          </p:nvPr>
        </p:nvSpPr>
        <p:spPr bwMode="gray">
          <a:xfrm>
            <a:off x="1452564" y="1951380"/>
            <a:ext cx="4302125" cy="1077218"/>
          </a:xfrm>
          <a:prstGeom prst="rect">
            <a:avLst/>
          </a:prstGeom>
        </p:spPr>
        <p:txBody>
          <a:bodyPr vert="horz" lIns="0" tIns="0" rIns="0" bIns="0" rtlCol="0">
            <a:spAutoFit/>
          </a:bodyPr>
          <a:lstStyle/>
          <a:p>
            <a:pPr lvl="0" latinLnBrk="0"/>
            <a:r>
              <a:rPr lang="en-US"/>
              <a:t>Edit Master text styles</a:t>
            </a:r>
          </a:p>
          <a:p>
            <a:pPr lvl="1" latinLnBrk="0"/>
            <a:r>
              <a:rPr lang="en-US"/>
              <a:t>Second level</a:t>
            </a:r>
          </a:p>
          <a:p>
            <a:pPr lvl="2" latinLnBrk="0"/>
            <a:r>
              <a:rPr lang="en-US"/>
              <a:t>Third level</a:t>
            </a:r>
          </a:p>
          <a:p>
            <a:pPr lvl="3" latinLnBrk="0"/>
            <a:r>
              <a:rPr lang="en-US"/>
              <a:t>Fourth level</a:t>
            </a:r>
          </a:p>
          <a:p>
            <a:pPr lvl="4" latinLnBrk="0"/>
            <a:r>
              <a:rPr lang="en-US"/>
              <a:t>Fifth level</a:t>
            </a:r>
            <a:endParaRPr lang="en-US" dirty="0"/>
          </a:p>
        </p:txBody>
      </p:sp>
      <p:grpSp>
        <p:nvGrpSpPr>
          <p:cNvPr id="15" name="ACET" hidden="1"/>
          <p:cNvGrpSpPr>
            <a:grpSpLocks/>
          </p:cNvGrpSpPr>
          <p:nvPr/>
        </p:nvGrpSpPr>
        <p:grpSpPr bwMode="gray">
          <a:xfrm>
            <a:off x="1452563" y="1257754"/>
            <a:ext cx="4264025" cy="508000"/>
            <a:chOff x="915" y="710"/>
            <a:chExt cx="2686" cy="320"/>
          </a:xfrm>
        </p:grpSpPr>
        <p:cxnSp>
          <p:nvCxnSpPr>
            <p:cNvPr id="16" name="AutoShape 249"/>
            <p:cNvCxnSpPr>
              <a:cxnSpLocks noChangeShapeType="1"/>
              <a:stCxn id="18" idx="4"/>
              <a:endCxn id="18" idx="6"/>
            </p:cNvCxnSpPr>
            <p:nvPr/>
          </p:nvCxnSpPr>
          <p:spPr bwMode="gray">
            <a:xfrm>
              <a:off x="915" y="1030"/>
              <a:ext cx="2686" cy="0"/>
            </a:xfrm>
            <a:prstGeom prst="straightConnector1">
              <a:avLst/>
            </a:prstGeom>
            <a:noFill/>
            <a:ln w="9525">
              <a:solidFill>
                <a:schemeClr val="accent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8" name="AutoShape 250"/>
            <p:cNvSpPr>
              <a:spLocks noChangeArrowheads="1"/>
            </p:cNvSpPr>
            <p:nvPr/>
          </p:nvSpPr>
          <p:spPr bwMode="gray">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US" b="1" baseline="0" dirty="0">
                  <a:solidFill>
                    <a:srgbClr val="000000"/>
                  </a:solidFill>
                  <a:latin typeface="+mn-lt"/>
                  <a:ea typeface="+mn-ea"/>
                </a:rPr>
                <a:t>Title</a:t>
              </a:r>
            </a:p>
            <a:p>
              <a:r>
                <a:rPr lang="en-US" baseline="0" dirty="0">
                  <a:solidFill>
                    <a:schemeClr val="accent6"/>
                  </a:solidFill>
                  <a:latin typeface="+mn-lt"/>
                  <a:ea typeface="+mn-ea"/>
                </a:rPr>
                <a:t>Unit of measure</a:t>
              </a:r>
            </a:p>
          </p:txBody>
        </p:sp>
      </p:grpSp>
      <p:grpSp>
        <p:nvGrpSpPr>
          <p:cNvPr id="17" name="McKSticker" hidden="1"/>
          <p:cNvGrpSpPr/>
          <p:nvPr/>
        </p:nvGrpSpPr>
        <p:grpSpPr bwMode="gray">
          <a:xfrm>
            <a:off x="8264265" y="285750"/>
            <a:ext cx="473335" cy="150811"/>
            <a:chOff x="8267440" y="285750"/>
            <a:chExt cx="473335" cy="150811"/>
          </a:xfrm>
        </p:grpSpPr>
        <p:sp>
          <p:nvSpPr>
            <p:cNvPr id="20" name="StickerRectangle"/>
            <p:cNvSpPr>
              <a:spLocks noChangeArrowheads="1"/>
            </p:cNvSpPr>
            <p:nvPr/>
          </p:nvSpPr>
          <p:spPr bwMode="gray">
            <a:xfrm>
              <a:off x="8267440" y="285750"/>
              <a:ext cx="473335" cy="150811"/>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a:buClr>
                  <a:srgbClr val="002960"/>
                </a:buClr>
              </a:pPr>
              <a:r>
                <a:rPr lang="en-US" sz="800" baseline="0" dirty="0">
                  <a:solidFill>
                    <a:schemeClr val="accent6"/>
                  </a:solidFill>
                  <a:latin typeface="+mn-lt"/>
                  <a:ea typeface="+mn-ea"/>
                </a:rPr>
                <a:t>STICKER</a:t>
              </a:r>
            </a:p>
          </p:txBody>
        </p:sp>
        <p:cxnSp>
          <p:nvCxnSpPr>
            <p:cNvPr id="21" name="AutoShape 31"/>
            <p:cNvCxnSpPr>
              <a:cxnSpLocks noChangeShapeType="1"/>
              <a:stCxn id="20" idx="2"/>
              <a:endCxn id="20" idx="4"/>
            </p:cNvCxnSpPr>
            <p:nvPr/>
          </p:nvCxnSpPr>
          <p:spPr bwMode="gray">
            <a:xfrm>
              <a:off x="8267440" y="285750"/>
              <a:ext cx="0" cy="150811"/>
            </a:xfrm>
            <a:prstGeom prst="straightConnector1">
              <a:avLst/>
            </a:prstGeom>
            <a:noFill/>
            <a:ln w="9525">
              <a:solidFill>
                <a:schemeClr val="accent6"/>
              </a:solidFill>
              <a:round/>
              <a:headEnd/>
              <a:tailEnd/>
            </a:ln>
            <a:extLst>
              <a:ext uri="{909E8E84-426E-40DD-AFC4-6F175D3DCCD1}">
                <a14:hiddenFill xmlns:a14="http://schemas.microsoft.com/office/drawing/2010/main">
                  <a:noFill/>
                </a14:hiddenFill>
              </a:ext>
            </a:extLst>
          </p:spPr>
        </p:cxnSp>
        <p:cxnSp>
          <p:nvCxnSpPr>
            <p:cNvPr id="22" name="AutoShape 32"/>
            <p:cNvCxnSpPr>
              <a:cxnSpLocks noChangeShapeType="1"/>
              <a:stCxn id="20" idx="4"/>
              <a:endCxn id="20" idx="6"/>
            </p:cNvCxnSpPr>
            <p:nvPr/>
          </p:nvCxnSpPr>
          <p:spPr bwMode="gray">
            <a:xfrm>
              <a:off x="8267440" y="436561"/>
              <a:ext cx="473335" cy="0"/>
            </a:xfrm>
            <a:prstGeom prst="straightConnector1">
              <a:avLst/>
            </a:prstGeom>
            <a:noFill/>
            <a:ln w="25400">
              <a:solidFill>
                <a:schemeClr val="accent6"/>
              </a:solidFill>
              <a:round/>
              <a:headEnd/>
              <a:tailEnd/>
            </a:ln>
            <a:extLst>
              <a:ext uri="{909E8E84-426E-40DD-AFC4-6F175D3DCCD1}">
                <a14:hiddenFill xmlns:a14="http://schemas.microsoft.com/office/drawing/2010/main">
                  <a:noFill/>
                </a14:hiddenFill>
              </a:ext>
            </a:extLst>
          </p:spPr>
        </p:cxnSp>
      </p:grpSp>
      <p:sp>
        <p:nvSpPr>
          <p:cNvPr id="23" name="SlideBottomBar" hidden="1"/>
          <p:cNvSpPr/>
          <p:nvPr/>
        </p:nvSpPr>
        <p:spPr>
          <a:xfrm>
            <a:off x="8437547" y="6182120"/>
            <a:ext cx="45719" cy="123825"/>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aseline="0" dirty="0">
              <a:solidFill>
                <a:schemeClr val="tx1"/>
              </a:solidFill>
              <a:latin typeface="+mn-lt"/>
              <a:ea typeface="+mn-ea"/>
            </a:endParaRPr>
          </a:p>
        </p:txBody>
      </p:sp>
      <p:sp>
        <p:nvSpPr>
          <p:cNvPr id="24" name="doc id" hidden="1"/>
          <p:cNvSpPr txBox="1">
            <a:spLocks noChangeArrowheads="1"/>
          </p:cNvSpPr>
          <p:nvPr/>
        </p:nvSpPr>
        <p:spPr bwMode="white">
          <a:xfrm>
            <a:off x="8104473" y="36513"/>
            <a:ext cx="634716" cy="115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hangingPunct="1">
              <a:defRPr/>
            </a:pPr>
            <a:endParaRPr lang="en-US" sz="800" baseline="0" dirty="0">
              <a:solidFill>
                <a:schemeClr val="accent1"/>
              </a:solidFill>
              <a:latin typeface="+mn-lt"/>
              <a:ea typeface="+mn-ea"/>
            </a:endParaRPr>
          </a:p>
        </p:txBody>
      </p:sp>
      <p:grpSp>
        <p:nvGrpSpPr>
          <p:cNvPr id="63" name="LegendLines" hidden="1"/>
          <p:cNvGrpSpPr/>
          <p:nvPr/>
        </p:nvGrpSpPr>
        <p:grpSpPr>
          <a:xfrm>
            <a:off x="7551589" y="267815"/>
            <a:ext cx="1158292" cy="761545"/>
            <a:chOff x="7607284" y="279400"/>
            <a:chExt cx="1158292" cy="761545"/>
          </a:xfrm>
        </p:grpSpPr>
        <p:sp>
          <p:nvSpPr>
            <p:cNvPr id="64" name="LineLegend1"/>
            <p:cNvSpPr>
              <a:spLocks noChangeShapeType="1"/>
            </p:cNvSpPr>
            <p:nvPr/>
          </p:nvSpPr>
          <p:spPr bwMode="gray">
            <a:xfrm>
              <a:off x="7607284" y="387122"/>
              <a:ext cx="457200"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65" name="LineLegend2"/>
            <p:cNvSpPr>
              <a:spLocks noChangeShapeType="1"/>
            </p:cNvSpPr>
            <p:nvPr/>
          </p:nvSpPr>
          <p:spPr bwMode="gray">
            <a:xfrm>
              <a:off x="7607284" y="653822"/>
              <a:ext cx="457200"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66" name="LineLegend3"/>
            <p:cNvSpPr>
              <a:spLocks noChangeShapeType="1"/>
            </p:cNvSpPr>
            <p:nvPr/>
          </p:nvSpPr>
          <p:spPr bwMode="gray">
            <a:xfrm>
              <a:off x="7607284" y="933223"/>
              <a:ext cx="457200"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67" name="Legend1"/>
            <p:cNvSpPr>
              <a:spLocks noChangeArrowheads="1"/>
            </p:cNvSpPr>
            <p:nvPr>
              <p:custDataLst>
                <p:tags r:id="rId33"/>
              </p:custDataLst>
            </p:nvPr>
          </p:nvSpPr>
          <p:spPr bwMode="gray">
            <a:xfrm>
              <a:off x="8169259" y="279400"/>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sp>
          <p:nvSpPr>
            <p:cNvPr id="68" name="Legend2"/>
            <p:cNvSpPr>
              <a:spLocks noChangeArrowheads="1"/>
            </p:cNvSpPr>
            <p:nvPr>
              <p:custDataLst>
                <p:tags r:id="rId34"/>
              </p:custDataLst>
            </p:nvPr>
          </p:nvSpPr>
          <p:spPr bwMode="gray">
            <a:xfrm>
              <a:off x="8169259" y="546100"/>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a:latin typeface="+mn-lt"/>
                  <a:ea typeface="+mn-ea"/>
                </a:rPr>
                <a:t>Legend</a:t>
              </a:r>
              <a:endParaRPr lang="en-US" sz="1400" baseline="0" dirty="0">
                <a:latin typeface="+mn-lt"/>
                <a:ea typeface="+mn-ea"/>
              </a:endParaRPr>
            </a:p>
          </p:txBody>
        </p:sp>
        <p:sp>
          <p:nvSpPr>
            <p:cNvPr id="69" name="Legend3"/>
            <p:cNvSpPr>
              <a:spLocks noChangeArrowheads="1"/>
            </p:cNvSpPr>
            <p:nvPr>
              <p:custDataLst>
                <p:tags r:id="rId35"/>
              </p:custDataLst>
            </p:nvPr>
          </p:nvSpPr>
          <p:spPr bwMode="gray">
            <a:xfrm>
              <a:off x="8169259" y="825501"/>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grpSp>
      <p:grpSp>
        <p:nvGrpSpPr>
          <p:cNvPr id="70" name="LegendBoxes" hidden="1"/>
          <p:cNvGrpSpPr/>
          <p:nvPr/>
        </p:nvGrpSpPr>
        <p:grpSpPr>
          <a:xfrm>
            <a:off x="7859564" y="267919"/>
            <a:ext cx="850317" cy="1028245"/>
            <a:chOff x="5894005" y="919828"/>
            <a:chExt cx="850317" cy="1028245"/>
          </a:xfrm>
        </p:grpSpPr>
        <p:sp>
          <p:nvSpPr>
            <p:cNvPr id="71" name="RectangleLegend1"/>
            <p:cNvSpPr>
              <a:spLocks noChangeArrowheads="1"/>
            </p:cNvSpPr>
            <p:nvPr/>
          </p:nvSpPr>
          <p:spPr bwMode="gray">
            <a:xfrm>
              <a:off x="5894005" y="947381"/>
              <a:ext cx="165100" cy="160338"/>
            </a:xfrm>
            <a:prstGeom prst="rect">
              <a:avLst/>
            </a:prstGeom>
            <a:solidFill>
              <a:schemeClr val="accent1"/>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72" name="RectangleLegend2"/>
            <p:cNvSpPr>
              <a:spLocks noChangeArrowheads="1"/>
            </p:cNvSpPr>
            <p:nvPr/>
          </p:nvSpPr>
          <p:spPr bwMode="gray">
            <a:xfrm>
              <a:off x="5894005" y="1217256"/>
              <a:ext cx="165100" cy="160338"/>
            </a:xfrm>
            <a:prstGeom prst="rect">
              <a:avLst/>
            </a:prstGeom>
            <a:solidFill>
              <a:schemeClr val="accent2"/>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73" name="RectangleLegend3"/>
            <p:cNvSpPr>
              <a:spLocks noChangeArrowheads="1"/>
            </p:cNvSpPr>
            <p:nvPr/>
          </p:nvSpPr>
          <p:spPr bwMode="gray">
            <a:xfrm>
              <a:off x="5894005" y="1488719"/>
              <a:ext cx="165100" cy="160338"/>
            </a:xfrm>
            <a:prstGeom prst="rect">
              <a:avLst/>
            </a:prstGeom>
            <a:solidFill>
              <a:schemeClr val="accent3"/>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74" name="RectangleLegend4"/>
            <p:cNvSpPr>
              <a:spLocks noChangeArrowheads="1"/>
            </p:cNvSpPr>
            <p:nvPr/>
          </p:nvSpPr>
          <p:spPr bwMode="gray">
            <a:xfrm>
              <a:off x="5894005" y="1760182"/>
              <a:ext cx="165100" cy="160338"/>
            </a:xfrm>
            <a:prstGeom prst="rect">
              <a:avLst/>
            </a:prstGeom>
            <a:solidFill>
              <a:schemeClr val="accent4"/>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75" name="Legend1"/>
            <p:cNvSpPr>
              <a:spLocks noChangeArrowheads="1"/>
            </p:cNvSpPr>
            <p:nvPr>
              <p:custDataLst>
                <p:tags r:id="rId29"/>
              </p:custDataLst>
            </p:nvPr>
          </p:nvSpPr>
          <p:spPr bwMode="gray">
            <a:xfrm>
              <a:off x="6148005" y="919828"/>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sp>
          <p:nvSpPr>
            <p:cNvPr id="76" name="Legend2"/>
            <p:cNvSpPr>
              <a:spLocks noChangeArrowheads="1"/>
            </p:cNvSpPr>
            <p:nvPr>
              <p:custDataLst>
                <p:tags r:id="rId30"/>
              </p:custDataLst>
            </p:nvPr>
          </p:nvSpPr>
          <p:spPr bwMode="gray">
            <a:xfrm>
              <a:off x="6148005" y="1189703"/>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sp>
          <p:nvSpPr>
            <p:cNvPr id="77" name="Legend3"/>
            <p:cNvSpPr>
              <a:spLocks noChangeArrowheads="1"/>
            </p:cNvSpPr>
            <p:nvPr>
              <p:custDataLst>
                <p:tags r:id="rId31"/>
              </p:custDataLst>
            </p:nvPr>
          </p:nvSpPr>
          <p:spPr bwMode="gray">
            <a:xfrm>
              <a:off x="6148005" y="1461166"/>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sp>
          <p:nvSpPr>
            <p:cNvPr id="78" name="Legend4"/>
            <p:cNvSpPr>
              <a:spLocks noChangeArrowheads="1"/>
            </p:cNvSpPr>
            <p:nvPr>
              <p:custDataLst>
                <p:tags r:id="rId32"/>
              </p:custDataLst>
            </p:nvPr>
          </p:nvSpPr>
          <p:spPr bwMode="gray">
            <a:xfrm>
              <a:off x="6148005" y="1732629"/>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grpSp>
      <p:grpSp>
        <p:nvGrpSpPr>
          <p:cNvPr id="79" name="LegendMoons" hidden="1"/>
          <p:cNvGrpSpPr/>
          <p:nvPr/>
        </p:nvGrpSpPr>
        <p:grpSpPr>
          <a:xfrm>
            <a:off x="7792889" y="267414"/>
            <a:ext cx="916992" cy="1317003"/>
            <a:chOff x="5894005" y="2695123"/>
            <a:chExt cx="916992" cy="1317003"/>
          </a:xfrm>
        </p:grpSpPr>
        <p:grpSp>
          <p:nvGrpSpPr>
            <p:cNvPr id="80" name="MoonLegend1"/>
            <p:cNvGrpSpPr>
              <a:grpSpLocks noChangeAspect="1"/>
            </p:cNvGrpSpPr>
            <p:nvPr>
              <p:custDataLst>
                <p:tags r:id="rId9"/>
              </p:custDataLst>
            </p:nvPr>
          </p:nvGrpSpPr>
          <p:grpSpPr bwMode="gray">
            <a:xfrm>
              <a:off x="5894005" y="2695123"/>
              <a:ext cx="209550" cy="218282"/>
              <a:chOff x="4533" y="183"/>
              <a:chExt cx="144" cy="150"/>
            </a:xfrm>
          </p:grpSpPr>
          <p:sp>
            <p:nvSpPr>
              <p:cNvPr id="98" name="Oval 97"/>
              <p:cNvSpPr>
                <a:spLocks noChangeAspect="1" noChangeArrowheads="1"/>
              </p:cNvSpPr>
              <p:nvPr>
                <p:custDataLst>
                  <p:tags r:id="rId27"/>
                </p:custDataLst>
              </p:nvPr>
            </p:nvSpPr>
            <p:spPr bwMode="gray">
              <a:xfrm>
                <a:off x="4533" y="189"/>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99" name="Arc 98" hidden="1"/>
              <p:cNvSpPr>
                <a:spLocks noChangeAspect="1"/>
              </p:cNvSpPr>
              <p:nvPr>
                <p:custDataLst>
                  <p:tags r:id="rId28"/>
                </p:custDataLst>
              </p:nvPr>
            </p:nvSpPr>
            <p:spPr bwMode="gray">
              <a:xfrm>
                <a:off x="4533" y="183"/>
                <a:ext cx="144" cy="144"/>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grpSp>
        <p:grpSp>
          <p:nvGrpSpPr>
            <p:cNvPr id="81" name="MoonLegend2"/>
            <p:cNvGrpSpPr>
              <a:grpSpLocks noChangeAspect="1"/>
            </p:cNvGrpSpPr>
            <p:nvPr>
              <p:custDataLst>
                <p:tags r:id="rId10"/>
              </p:custDataLst>
            </p:nvPr>
          </p:nvGrpSpPr>
          <p:grpSpPr bwMode="gray">
            <a:xfrm>
              <a:off x="5894005" y="2977103"/>
              <a:ext cx="209550" cy="209551"/>
              <a:chOff x="1694" y="2051"/>
              <a:chExt cx="160" cy="160"/>
            </a:xfrm>
          </p:grpSpPr>
          <p:sp>
            <p:nvSpPr>
              <p:cNvPr id="96" name="Oval 41"/>
              <p:cNvSpPr>
                <a:spLocks noChangeAspect="1" noChangeArrowheads="1"/>
              </p:cNvSpPr>
              <p:nvPr>
                <p:custDataLst>
                  <p:tags r:id="rId25"/>
                </p:custDataLst>
              </p:nvPr>
            </p:nvSpPr>
            <p:spPr bwMode="gray">
              <a:xfrm>
                <a:off x="1694" y="2051"/>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97" name="Arc 42"/>
              <p:cNvSpPr>
                <a:spLocks noChangeAspect="1"/>
              </p:cNvSpPr>
              <p:nvPr>
                <p:custDataLst>
                  <p:tags r:id="rId26"/>
                </p:custDataLst>
              </p:nvPr>
            </p:nvSpPr>
            <p:spPr bwMode="gray">
              <a:xfrm>
                <a:off x="1694" y="2051"/>
                <a:ext cx="160" cy="160"/>
              </a:xfrm>
              <a:prstGeom prst="arc">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grpSp>
        <p:grpSp>
          <p:nvGrpSpPr>
            <p:cNvPr id="82" name="MoonLegend4"/>
            <p:cNvGrpSpPr>
              <a:grpSpLocks noChangeAspect="1"/>
            </p:cNvGrpSpPr>
            <p:nvPr>
              <p:custDataLst>
                <p:tags r:id="rId11"/>
              </p:custDataLst>
            </p:nvPr>
          </p:nvGrpSpPr>
          <p:grpSpPr bwMode="gray">
            <a:xfrm>
              <a:off x="5894005" y="3524395"/>
              <a:ext cx="209550" cy="209551"/>
              <a:chOff x="4495" y="1204"/>
              <a:chExt cx="160" cy="160"/>
            </a:xfrm>
          </p:grpSpPr>
          <p:sp>
            <p:nvSpPr>
              <p:cNvPr id="94" name="Oval 47"/>
              <p:cNvSpPr>
                <a:spLocks noChangeAspect="1" noChangeArrowheads="1"/>
              </p:cNvSpPr>
              <p:nvPr>
                <p:custDataLst>
                  <p:tags r:id="rId23"/>
                </p:custDataLst>
              </p:nvPr>
            </p:nvSpPr>
            <p:spPr bwMode="gray">
              <a:xfrm>
                <a:off x="4495" y="120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95" name="Arc 48"/>
              <p:cNvSpPr>
                <a:spLocks noChangeAspect="1"/>
              </p:cNvSpPr>
              <p:nvPr>
                <p:custDataLst>
                  <p:tags r:id="rId24"/>
                </p:custDataLst>
              </p:nvPr>
            </p:nvSpPr>
            <p:spPr bwMode="gray">
              <a:xfrm>
                <a:off x="4495" y="1204"/>
                <a:ext cx="160" cy="160"/>
              </a:xfrm>
              <a:prstGeom prst="arc">
                <a:avLst>
                  <a:gd name="adj1" fmla="val 16200000"/>
                  <a:gd name="adj2" fmla="val 108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grpSp>
        <p:grpSp>
          <p:nvGrpSpPr>
            <p:cNvPr id="83" name="MoonLegend5"/>
            <p:cNvGrpSpPr>
              <a:grpSpLocks noChangeAspect="1"/>
            </p:cNvGrpSpPr>
            <p:nvPr>
              <p:custDataLst>
                <p:tags r:id="rId12"/>
              </p:custDataLst>
            </p:nvPr>
          </p:nvGrpSpPr>
          <p:grpSpPr bwMode="gray">
            <a:xfrm>
              <a:off x="5894005" y="3799629"/>
              <a:ext cx="209550" cy="209551"/>
              <a:chOff x="4495" y="1447"/>
              <a:chExt cx="160" cy="160"/>
            </a:xfrm>
          </p:grpSpPr>
          <p:sp>
            <p:nvSpPr>
              <p:cNvPr id="92" name="Oval 50"/>
              <p:cNvSpPr>
                <a:spLocks noChangeAspect="1" noChangeArrowheads="1"/>
              </p:cNvSpPr>
              <p:nvPr>
                <p:custDataLst>
                  <p:tags r:id="rId21"/>
                </p:custDataLst>
              </p:nvPr>
            </p:nvSpPr>
            <p:spPr bwMode="gray">
              <a:xfrm>
                <a:off x="4495" y="1447"/>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93" name="Oval 51"/>
              <p:cNvSpPr>
                <a:spLocks noChangeAspect="1" noChangeArrowheads="1"/>
              </p:cNvSpPr>
              <p:nvPr>
                <p:custDataLst>
                  <p:tags r:id="rId22"/>
                </p:custDataLst>
              </p:nvPr>
            </p:nvSpPr>
            <p:spPr bwMode="gray">
              <a:xfrm>
                <a:off x="4495" y="1447"/>
                <a:ext cx="160" cy="160"/>
              </a:xfrm>
              <a:prstGeom prst="arc">
                <a:avLst>
                  <a:gd name="adj1" fmla="val 16200000"/>
                  <a:gd name="adj2" fmla="val 162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grpSp>
        <p:grpSp>
          <p:nvGrpSpPr>
            <p:cNvPr id="84" name="MoonLegend3"/>
            <p:cNvGrpSpPr>
              <a:grpSpLocks noChangeAspect="1"/>
            </p:cNvGrpSpPr>
            <p:nvPr>
              <p:custDataLst>
                <p:tags r:id="rId13"/>
              </p:custDataLst>
            </p:nvPr>
          </p:nvGrpSpPr>
          <p:grpSpPr bwMode="gray">
            <a:xfrm>
              <a:off x="5894005" y="3251543"/>
              <a:ext cx="209550" cy="209551"/>
              <a:chOff x="4495" y="1205"/>
              <a:chExt cx="160" cy="160"/>
            </a:xfrm>
          </p:grpSpPr>
          <p:sp>
            <p:nvSpPr>
              <p:cNvPr id="90" name="Oval 47"/>
              <p:cNvSpPr>
                <a:spLocks noChangeAspect="1" noChangeArrowheads="1"/>
              </p:cNvSpPr>
              <p:nvPr>
                <p:custDataLst>
                  <p:tags r:id="rId19"/>
                </p:custDataLst>
              </p:nvPr>
            </p:nvSpPr>
            <p:spPr bwMode="gray">
              <a:xfrm>
                <a:off x="4495" y="1205"/>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91" name="Arc 48"/>
              <p:cNvSpPr>
                <a:spLocks noChangeAspect="1"/>
              </p:cNvSpPr>
              <p:nvPr>
                <p:custDataLst>
                  <p:tags r:id="rId20"/>
                </p:custDataLst>
              </p:nvPr>
            </p:nvSpPr>
            <p:spPr bwMode="gray">
              <a:xfrm>
                <a:off x="4495" y="1205"/>
                <a:ext cx="160" cy="160"/>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grpSp>
        <p:sp>
          <p:nvSpPr>
            <p:cNvPr id="85" name="Legend1"/>
            <p:cNvSpPr>
              <a:spLocks noChangeArrowheads="1"/>
            </p:cNvSpPr>
            <p:nvPr>
              <p:custDataLst>
                <p:tags r:id="rId14"/>
              </p:custDataLst>
            </p:nvPr>
          </p:nvSpPr>
          <p:spPr bwMode="gray">
            <a:xfrm>
              <a:off x="6214680" y="2696542"/>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sp>
          <p:nvSpPr>
            <p:cNvPr id="86" name="Legend2"/>
            <p:cNvSpPr>
              <a:spLocks noChangeArrowheads="1"/>
            </p:cNvSpPr>
            <p:nvPr>
              <p:custDataLst>
                <p:tags r:id="rId15"/>
              </p:custDataLst>
            </p:nvPr>
          </p:nvSpPr>
          <p:spPr bwMode="gray">
            <a:xfrm>
              <a:off x="6214680" y="2974156"/>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a:latin typeface="+mn-lt"/>
                  <a:ea typeface="+mn-ea"/>
                </a:rPr>
                <a:t>Legend</a:t>
              </a:r>
              <a:endParaRPr lang="en-US" sz="1400" baseline="0" dirty="0">
                <a:latin typeface="+mn-lt"/>
                <a:ea typeface="+mn-ea"/>
              </a:endParaRPr>
            </a:p>
          </p:txBody>
        </p:sp>
        <p:sp>
          <p:nvSpPr>
            <p:cNvPr id="87" name="Legend3"/>
            <p:cNvSpPr>
              <a:spLocks noChangeArrowheads="1"/>
            </p:cNvSpPr>
            <p:nvPr>
              <p:custDataLst>
                <p:tags r:id="rId16"/>
              </p:custDataLst>
            </p:nvPr>
          </p:nvSpPr>
          <p:spPr bwMode="gray">
            <a:xfrm>
              <a:off x="6214680" y="3248596"/>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sp>
          <p:nvSpPr>
            <p:cNvPr id="88" name="Legend4"/>
            <p:cNvSpPr>
              <a:spLocks noChangeArrowheads="1"/>
            </p:cNvSpPr>
            <p:nvPr>
              <p:custDataLst>
                <p:tags r:id="rId17"/>
              </p:custDataLst>
            </p:nvPr>
          </p:nvSpPr>
          <p:spPr bwMode="gray">
            <a:xfrm>
              <a:off x="6214680" y="3521448"/>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sp>
          <p:nvSpPr>
            <p:cNvPr id="89" name="Legend5"/>
            <p:cNvSpPr>
              <a:spLocks noChangeArrowheads="1"/>
            </p:cNvSpPr>
            <p:nvPr>
              <p:custDataLst>
                <p:tags r:id="rId18"/>
              </p:custDataLst>
            </p:nvPr>
          </p:nvSpPr>
          <p:spPr bwMode="gray">
            <a:xfrm>
              <a:off x="6214680" y="3796682"/>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a:latin typeface="+mn-lt"/>
                  <a:ea typeface="+mn-ea"/>
                </a:rPr>
                <a:t>Legend</a:t>
              </a:r>
              <a:endParaRPr lang="en-US" sz="1400" baseline="0" dirty="0">
                <a:latin typeface="+mn-lt"/>
                <a:ea typeface="+mn-ea"/>
              </a:endParaRPr>
            </a:p>
          </p:txBody>
        </p:sp>
      </p:grpSp>
    </p:spTree>
    <p:extLst>
      <p:ext uri="{BB962C8B-B14F-4D97-AF65-F5344CB8AC3E}">
        <p14:creationId xmlns:p14="http://schemas.microsoft.com/office/powerpoint/2010/main" val="812163947"/>
      </p:ext>
    </p:extLst>
  </p:cSld>
  <p:clrMap bg1="lt1" tx1="dk1" bg2="lt2" tx2="dk2" accent1="accent1" accent2="accent2" accent3="accent3" accent4="accent4" accent5="accent5" accent6="accent6" hlink="hlink" folHlink="folHlink"/>
  <p:sldLayoutIdLst>
    <p:sldLayoutId id="2147483856" r:id="rId1"/>
    <p:sldLayoutId id="2147483857" r:id="rId2"/>
    <p:sldLayoutId id="2147483858" r:id="rId3"/>
    <p:sldLayoutId id="2147483859" r:id="rId4"/>
  </p:sldLayoutIdLst>
  <p:txStyles>
    <p:titleStyle>
      <a:lvl1pPr algn="l" defTabSz="895350" rtl="0" eaLnBrk="1" fontAlgn="base" hangingPunct="1">
        <a:spcBef>
          <a:spcPct val="0"/>
        </a:spcBef>
        <a:spcAft>
          <a:spcPct val="0"/>
        </a:spcAft>
        <a:tabLst>
          <a:tab pos="269875" algn="l"/>
        </a:tabLst>
        <a:defRPr sz="2000" b="0" baseline="0">
          <a:solidFill>
            <a:schemeClr val="tx2"/>
          </a:solidFill>
          <a:latin typeface="+mj-lt"/>
          <a:ea typeface="+mj-ea"/>
          <a:cs typeface="+mj-cs"/>
        </a:defRPr>
      </a:lvl1pPr>
      <a:lvl2pPr algn="l" defTabSz="895350" rtl="0" eaLnBrk="1" fontAlgn="base" hangingPunct="1">
        <a:spcBef>
          <a:spcPct val="0"/>
        </a:spcBef>
        <a:spcAft>
          <a:spcPct val="0"/>
        </a:spcAft>
        <a:defRPr sz="1900" b="1">
          <a:solidFill>
            <a:schemeClr val="tx2"/>
          </a:solidFill>
          <a:latin typeface="Arial" charset="0"/>
        </a:defRPr>
      </a:lvl2pPr>
      <a:lvl3pPr algn="l" defTabSz="895350" rtl="0" eaLnBrk="1" fontAlgn="base" hangingPunct="1">
        <a:spcBef>
          <a:spcPct val="0"/>
        </a:spcBef>
        <a:spcAft>
          <a:spcPct val="0"/>
        </a:spcAft>
        <a:defRPr sz="1900" b="1">
          <a:solidFill>
            <a:schemeClr val="tx2"/>
          </a:solidFill>
          <a:latin typeface="Arial" charset="0"/>
        </a:defRPr>
      </a:lvl3pPr>
      <a:lvl4pPr algn="l" defTabSz="895350" rtl="0" eaLnBrk="1" fontAlgn="base" hangingPunct="1">
        <a:spcBef>
          <a:spcPct val="0"/>
        </a:spcBef>
        <a:spcAft>
          <a:spcPct val="0"/>
        </a:spcAft>
        <a:defRPr sz="1900" b="1">
          <a:solidFill>
            <a:schemeClr val="tx2"/>
          </a:solidFill>
          <a:latin typeface="Arial" charset="0"/>
        </a:defRPr>
      </a:lvl4pPr>
      <a:lvl5pPr algn="l" defTabSz="895350" rtl="0" eaLnBrk="1" fontAlgn="base" hangingPunct="1">
        <a:spcBef>
          <a:spcPct val="0"/>
        </a:spcBef>
        <a:spcAft>
          <a:spcPct val="0"/>
        </a:spcAft>
        <a:defRPr sz="1900" b="1">
          <a:solidFill>
            <a:schemeClr val="tx2"/>
          </a:solidFill>
          <a:latin typeface="Arial" charset="0"/>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p:titleStyle>
    <p:bodyStyle>
      <a:lvl1pPr marL="0" indent="0" algn="l" defTabSz="895350" rtl="0" eaLnBrk="1" fontAlgn="base" hangingPunct="1">
        <a:spcBef>
          <a:spcPct val="0"/>
        </a:spcBef>
        <a:spcAft>
          <a:spcPct val="0"/>
        </a:spcAft>
        <a:buClr>
          <a:schemeClr val="tx2"/>
        </a:buClr>
        <a:buSzPct val="100000"/>
        <a:defRPr sz="14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4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4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4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4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ext>
  </p:extLst>
</p:sldMaster>
</file>

<file path=ppt/slideMasters/slideMaster3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7"/>
            </p:custDataLst>
            <p:extLst>
              <p:ext uri="{D42A27DB-BD31-4B8C-83A1-F6EECF244321}">
                <p14:modId xmlns:p14="http://schemas.microsoft.com/office/powerpoint/2010/main" val="1725304653"/>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94580" name="think-cell Slide" r:id="rId36" imgW="270" imgH="270" progId="TCLayout.ActiveDocument.1">
                  <p:embed/>
                </p:oleObj>
              </mc:Choice>
              <mc:Fallback>
                <p:oleObj name="think-cell Slide" r:id="rId36" imgW="270" imgH="270" progId="TCLayout.ActiveDocument.1">
                  <p:embed/>
                  <p:pic>
                    <p:nvPicPr>
                      <p:cNvPr id="2" name="Object 1" hidden="1"/>
                      <p:cNvPicPr/>
                      <p:nvPr/>
                    </p:nvPicPr>
                    <p:blipFill>
                      <a:blip r:embed="rId37"/>
                      <a:stretch>
                        <a:fillRect/>
                      </a:stretch>
                    </p:blipFill>
                    <p:spPr>
                      <a:xfrm>
                        <a:off x="0" y="0"/>
                        <a:ext cx="158750" cy="158750"/>
                      </a:xfrm>
                      <a:prstGeom prst="rect">
                        <a:avLst/>
                      </a:prstGeom>
                    </p:spPr>
                  </p:pic>
                </p:oleObj>
              </mc:Fallback>
            </mc:AlternateContent>
          </a:graphicData>
        </a:graphic>
      </p:graphicFrame>
      <p:sp>
        <p:nvSpPr>
          <p:cNvPr id="6" name="Rectangle 5" hidden="1"/>
          <p:cNvSpPr/>
          <p:nvPr>
            <p:custDataLst>
              <p:tags r:id="rId8"/>
            </p:custDataLst>
          </p:nvPr>
        </p:nvSpPr>
        <p:spPr bwMode="auto">
          <a:xfrm>
            <a:off x="0" y="0"/>
            <a:ext cx="158750" cy="158750"/>
          </a:xfrm>
          <a:prstGeom prst="rect">
            <a:avLst/>
          </a:prstGeom>
          <a:solidFill>
            <a:schemeClr val="bg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dirty="0">
              <a:solidFill>
                <a:srgbClr val="000000"/>
              </a:solidFill>
              <a:sym typeface="Arial" panose="020B0604020202020204" pitchFamily="34" charset="0"/>
            </a:endParaRPr>
          </a:p>
        </p:txBody>
      </p:sp>
      <p:sp>
        <p:nvSpPr>
          <p:cNvPr id="1034" name="Working Draft" hidden="1"/>
          <p:cNvSpPr txBox="1">
            <a:spLocks noChangeArrowheads="1"/>
          </p:cNvSpPr>
          <p:nvPr/>
        </p:nvSpPr>
        <p:spPr bwMode="gray">
          <a:xfrm rot="5400000">
            <a:off x="7966656" y="1940591"/>
            <a:ext cx="1849865"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600" baseline="0">
                <a:solidFill>
                  <a:srgbClr val="808080"/>
                </a:solidFill>
                <a:latin typeface="+mn-lt"/>
                <a:ea typeface="+mn-ea"/>
              </a:rPr>
              <a:t>Last Modified 21/05/2018 17:44 India Standard Time</a:t>
            </a:r>
            <a:endParaRPr lang="en-US" baseline="0" dirty="0">
              <a:solidFill>
                <a:srgbClr val="808080"/>
              </a:solidFill>
              <a:latin typeface="+mn-lt"/>
              <a:ea typeface="+mn-ea"/>
            </a:endParaRPr>
          </a:p>
        </p:txBody>
      </p:sp>
      <p:sp>
        <p:nvSpPr>
          <p:cNvPr id="1035" name="Printed" hidden="1"/>
          <p:cNvSpPr txBox="1">
            <a:spLocks noChangeArrowheads="1"/>
          </p:cNvSpPr>
          <p:nvPr/>
        </p:nvSpPr>
        <p:spPr bwMode="gray">
          <a:xfrm rot="5400000">
            <a:off x="8768958" y="4114417"/>
            <a:ext cx="245260"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600" baseline="0" dirty="0">
                <a:solidFill>
                  <a:srgbClr val="808080"/>
                </a:solidFill>
                <a:latin typeface="+mn-lt"/>
                <a:ea typeface="+mn-ea"/>
              </a:rPr>
              <a:t>Printed</a:t>
            </a:r>
            <a:endParaRPr lang="en-US" baseline="0" dirty="0">
              <a:solidFill>
                <a:srgbClr val="808080"/>
              </a:solidFill>
              <a:latin typeface="+mn-lt"/>
              <a:ea typeface="+mn-ea"/>
            </a:endParaRPr>
          </a:p>
        </p:txBody>
      </p:sp>
      <p:sp>
        <p:nvSpPr>
          <p:cNvPr id="19" name="Title Placeholder 2"/>
          <p:cNvSpPr>
            <a:spLocks noGrp="1" noChangeArrowheads="1"/>
          </p:cNvSpPr>
          <p:nvPr>
            <p:ph type="title"/>
          </p:nvPr>
        </p:nvSpPr>
        <p:spPr bwMode="gray">
          <a:xfrm>
            <a:off x="119063" y="230188"/>
            <a:ext cx="8618537"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latinLnBrk="0"/>
            <a:r>
              <a:rPr lang="en-US"/>
              <a:t>Click to edit Master title style</a:t>
            </a:r>
            <a:endParaRPr lang="en-US" noProof="0" dirty="0"/>
          </a:p>
        </p:txBody>
      </p:sp>
      <p:sp>
        <p:nvSpPr>
          <p:cNvPr id="10" name="1. On-page tracker" hidden="1"/>
          <p:cNvSpPr>
            <a:spLocks noChangeArrowheads="1"/>
          </p:cNvSpPr>
          <p:nvPr/>
        </p:nvSpPr>
        <p:spPr bwMode="gray">
          <a:xfrm>
            <a:off x="119063" y="75764"/>
            <a:ext cx="490519"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800" cap="all" baseline="0" dirty="0">
                <a:solidFill>
                  <a:schemeClr val="accent6"/>
                </a:solidFill>
                <a:latin typeface="+mn-lt"/>
                <a:ea typeface="+mn-ea"/>
              </a:rPr>
              <a:t>Tracker</a:t>
            </a:r>
          </a:p>
        </p:txBody>
      </p:sp>
      <p:sp>
        <p:nvSpPr>
          <p:cNvPr id="11" name="3. Unit of measure" hidden="1"/>
          <p:cNvSpPr txBox="1">
            <a:spLocks noChangeArrowheads="1"/>
          </p:cNvSpPr>
          <p:nvPr/>
        </p:nvSpPr>
        <p:spPr bwMode="gray">
          <a:xfrm>
            <a:off x="119063" y="554865"/>
            <a:ext cx="8618537"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600" baseline="0" dirty="0">
                <a:solidFill>
                  <a:schemeClr val="accent6"/>
                </a:solidFill>
                <a:latin typeface="+mn-lt"/>
                <a:ea typeface="+mn-ea"/>
              </a:rPr>
              <a:t>Unit of measure</a:t>
            </a:r>
          </a:p>
        </p:txBody>
      </p:sp>
      <p:grpSp>
        <p:nvGrpSpPr>
          <p:cNvPr id="4" name="Slide Elements" hidden="1"/>
          <p:cNvGrpSpPr/>
          <p:nvPr/>
        </p:nvGrpSpPr>
        <p:grpSpPr bwMode="gray">
          <a:xfrm>
            <a:off x="119063" y="6305945"/>
            <a:ext cx="8618537" cy="325438"/>
            <a:chOff x="119063" y="6305945"/>
            <a:chExt cx="8618537" cy="325438"/>
          </a:xfrm>
        </p:grpSpPr>
        <p:sp>
          <p:nvSpPr>
            <p:cNvPr id="13" name="4. Footnote"/>
            <p:cNvSpPr txBox="1">
              <a:spLocks noChangeArrowheads="1"/>
            </p:cNvSpPr>
            <p:nvPr/>
          </p:nvSpPr>
          <p:spPr bwMode="gray">
            <a:xfrm>
              <a:off x="119063" y="6305945"/>
              <a:ext cx="8618537" cy="123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800" baseline="0" dirty="0">
                  <a:solidFill>
                    <a:schemeClr val="accent6"/>
                  </a:solidFill>
                  <a:latin typeface="+mn-lt"/>
                  <a:ea typeface="+mn-ea"/>
                </a:rPr>
                <a:t>1 Footnote</a:t>
              </a:r>
            </a:p>
          </p:txBody>
        </p:sp>
        <p:sp>
          <p:nvSpPr>
            <p:cNvPr id="14" name="5. Source"/>
            <p:cNvSpPr>
              <a:spLocks noChangeArrowheads="1"/>
            </p:cNvSpPr>
            <p:nvPr/>
          </p:nvSpPr>
          <p:spPr bwMode="gray">
            <a:xfrm>
              <a:off x="119063" y="6507558"/>
              <a:ext cx="7200000" cy="123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marL="609600" indent="-609600" defTabSz="895350">
                <a:tabLst>
                  <a:tab pos="612775" algn="l"/>
                </a:tabLst>
              </a:pPr>
              <a:r>
                <a:rPr lang="en-US" sz="800" baseline="0" dirty="0">
                  <a:solidFill>
                    <a:schemeClr val="accent6"/>
                  </a:solidFill>
                  <a:latin typeface="+mn-lt"/>
                  <a:ea typeface="+mn-ea"/>
                </a:rPr>
                <a:t>SOURCE: Source</a:t>
              </a:r>
            </a:p>
          </p:txBody>
        </p:sp>
      </p:grpSp>
      <p:sp>
        <p:nvSpPr>
          <p:cNvPr id="3" name="Text Placeholder 2"/>
          <p:cNvSpPr>
            <a:spLocks noGrp="1"/>
          </p:cNvSpPr>
          <p:nvPr>
            <p:ph type="body" idx="1"/>
          </p:nvPr>
        </p:nvSpPr>
        <p:spPr bwMode="gray">
          <a:xfrm>
            <a:off x="1452564" y="1951380"/>
            <a:ext cx="4302125" cy="1077218"/>
          </a:xfrm>
          <a:prstGeom prst="rect">
            <a:avLst/>
          </a:prstGeom>
        </p:spPr>
        <p:txBody>
          <a:bodyPr vert="horz" lIns="0" tIns="0" rIns="0" bIns="0" rtlCol="0">
            <a:spAutoFit/>
          </a:bodyPr>
          <a:lstStyle/>
          <a:p>
            <a:pPr lvl="0" latinLnBrk="0"/>
            <a:r>
              <a:rPr lang="en-US"/>
              <a:t>Edit Master text styles</a:t>
            </a:r>
          </a:p>
          <a:p>
            <a:pPr lvl="1" latinLnBrk="0"/>
            <a:r>
              <a:rPr lang="en-US"/>
              <a:t>Second level</a:t>
            </a:r>
          </a:p>
          <a:p>
            <a:pPr lvl="2" latinLnBrk="0"/>
            <a:r>
              <a:rPr lang="en-US"/>
              <a:t>Third level</a:t>
            </a:r>
          </a:p>
          <a:p>
            <a:pPr lvl="3" latinLnBrk="0"/>
            <a:r>
              <a:rPr lang="en-US"/>
              <a:t>Fourth level</a:t>
            </a:r>
          </a:p>
          <a:p>
            <a:pPr lvl="4" latinLnBrk="0"/>
            <a:r>
              <a:rPr lang="en-US"/>
              <a:t>Fifth level</a:t>
            </a:r>
            <a:endParaRPr lang="en-US" dirty="0"/>
          </a:p>
        </p:txBody>
      </p:sp>
      <p:grpSp>
        <p:nvGrpSpPr>
          <p:cNvPr id="15" name="ACET" hidden="1"/>
          <p:cNvGrpSpPr>
            <a:grpSpLocks/>
          </p:cNvGrpSpPr>
          <p:nvPr/>
        </p:nvGrpSpPr>
        <p:grpSpPr bwMode="gray">
          <a:xfrm>
            <a:off x="1452563" y="1257754"/>
            <a:ext cx="4264025" cy="508000"/>
            <a:chOff x="915" y="710"/>
            <a:chExt cx="2686" cy="320"/>
          </a:xfrm>
        </p:grpSpPr>
        <p:cxnSp>
          <p:nvCxnSpPr>
            <p:cNvPr id="16" name="AutoShape 249"/>
            <p:cNvCxnSpPr>
              <a:cxnSpLocks noChangeShapeType="1"/>
              <a:stCxn id="18" idx="4"/>
              <a:endCxn id="18" idx="6"/>
            </p:cNvCxnSpPr>
            <p:nvPr/>
          </p:nvCxnSpPr>
          <p:spPr bwMode="gray">
            <a:xfrm>
              <a:off x="915" y="1030"/>
              <a:ext cx="2686" cy="0"/>
            </a:xfrm>
            <a:prstGeom prst="straightConnector1">
              <a:avLst/>
            </a:prstGeom>
            <a:noFill/>
            <a:ln w="9525">
              <a:solidFill>
                <a:schemeClr val="accent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8" name="AutoShape 250"/>
            <p:cNvSpPr>
              <a:spLocks noChangeArrowheads="1"/>
            </p:cNvSpPr>
            <p:nvPr/>
          </p:nvSpPr>
          <p:spPr bwMode="gray">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US" b="1" baseline="0" dirty="0">
                  <a:solidFill>
                    <a:srgbClr val="000000"/>
                  </a:solidFill>
                  <a:latin typeface="+mn-lt"/>
                  <a:ea typeface="+mn-ea"/>
                </a:rPr>
                <a:t>Title</a:t>
              </a:r>
            </a:p>
            <a:p>
              <a:r>
                <a:rPr lang="en-US" baseline="0" dirty="0">
                  <a:solidFill>
                    <a:schemeClr val="accent6"/>
                  </a:solidFill>
                  <a:latin typeface="+mn-lt"/>
                  <a:ea typeface="+mn-ea"/>
                </a:rPr>
                <a:t>Unit of measure</a:t>
              </a:r>
            </a:p>
          </p:txBody>
        </p:sp>
      </p:grpSp>
      <p:grpSp>
        <p:nvGrpSpPr>
          <p:cNvPr id="17" name="McKSticker" hidden="1"/>
          <p:cNvGrpSpPr/>
          <p:nvPr/>
        </p:nvGrpSpPr>
        <p:grpSpPr bwMode="gray">
          <a:xfrm>
            <a:off x="8264265" y="285750"/>
            <a:ext cx="473335" cy="150811"/>
            <a:chOff x="8267440" y="285750"/>
            <a:chExt cx="473335" cy="150811"/>
          </a:xfrm>
        </p:grpSpPr>
        <p:sp>
          <p:nvSpPr>
            <p:cNvPr id="20" name="StickerRectangle"/>
            <p:cNvSpPr>
              <a:spLocks noChangeArrowheads="1"/>
            </p:cNvSpPr>
            <p:nvPr/>
          </p:nvSpPr>
          <p:spPr bwMode="gray">
            <a:xfrm>
              <a:off x="8267440" y="285750"/>
              <a:ext cx="473335" cy="150811"/>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a:buClr>
                  <a:srgbClr val="002960"/>
                </a:buClr>
              </a:pPr>
              <a:r>
                <a:rPr lang="en-US" sz="800" baseline="0" dirty="0">
                  <a:solidFill>
                    <a:schemeClr val="accent6"/>
                  </a:solidFill>
                  <a:latin typeface="+mn-lt"/>
                  <a:ea typeface="+mn-ea"/>
                </a:rPr>
                <a:t>STICKER</a:t>
              </a:r>
            </a:p>
          </p:txBody>
        </p:sp>
        <p:cxnSp>
          <p:nvCxnSpPr>
            <p:cNvPr id="21" name="AutoShape 31"/>
            <p:cNvCxnSpPr>
              <a:cxnSpLocks noChangeShapeType="1"/>
              <a:stCxn id="20" idx="2"/>
              <a:endCxn id="20" idx="4"/>
            </p:cNvCxnSpPr>
            <p:nvPr/>
          </p:nvCxnSpPr>
          <p:spPr bwMode="gray">
            <a:xfrm>
              <a:off x="8267440" y="285750"/>
              <a:ext cx="0" cy="150811"/>
            </a:xfrm>
            <a:prstGeom prst="straightConnector1">
              <a:avLst/>
            </a:prstGeom>
            <a:noFill/>
            <a:ln w="9525">
              <a:solidFill>
                <a:schemeClr val="accent6"/>
              </a:solidFill>
              <a:round/>
              <a:headEnd/>
              <a:tailEnd/>
            </a:ln>
            <a:extLst>
              <a:ext uri="{909E8E84-426E-40DD-AFC4-6F175D3DCCD1}">
                <a14:hiddenFill xmlns:a14="http://schemas.microsoft.com/office/drawing/2010/main">
                  <a:noFill/>
                </a14:hiddenFill>
              </a:ext>
            </a:extLst>
          </p:spPr>
        </p:cxnSp>
        <p:cxnSp>
          <p:nvCxnSpPr>
            <p:cNvPr id="22" name="AutoShape 32"/>
            <p:cNvCxnSpPr>
              <a:cxnSpLocks noChangeShapeType="1"/>
              <a:stCxn id="20" idx="4"/>
              <a:endCxn id="20" idx="6"/>
            </p:cNvCxnSpPr>
            <p:nvPr/>
          </p:nvCxnSpPr>
          <p:spPr bwMode="gray">
            <a:xfrm>
              <a:off x="8267440" y="436561"/>
              <a:ext cx="473335" cy="0"/>
            </a:xfrm>
            <a:prstGeom prst="straightConnector1">
              <a:avLst/>
            </a:prstGeom>
            <a:noFill/>
            <a:ln w="25400">
              <a:solidFill>
                <a:schemeClr val="accent6"/>
              </a:solidFill>
              <a:round/>
              <a:headEnd/>
              <a:tailEnd/>
            </a:ln>
            <a:extLst>
              <a:ext uri="{909E8E84-426E-40DD-AFC4-6F175D3DCCD1}">
                <a14:hiddenFill xmlns:a14="http://schemas.microsoft.com/office/drawing/2010/main">
                  <a:noFill/>
                </a14:hiddenFill>
              </a:ext>
            </a:extLst>
          </p:spPr>
        </p:cxnSp>
      </p:grpSp>
      <p:sp>
        <p:nvSpPr>
          <p:cNvPr id="23" name="SlideBottomBar" hidden="1"/>
          <p:cNvSpPr/>
          <p:nvPr/>
        </p:nvSpPr>
        <p:spPr>
          <a:xfrm>
            <a:off x="8437547" y="6182120"/>
            <a:ext cx="45719" cy="123825"/>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aseline="0" dirty="0">
              <a:solidFill>
                <a:schemeClr val="tx1"/>
              </a:solidFill>
              <a:latin typeface="+mn-lt"/>
              <a:ea typeface="+mn-ea"/>
            </a:endParaRPr>
          </a:p>
        </p:txBody>
      </p:sp>
      <p:sp>
        <p:nvSpPr>
          <p:cNvPr id="24" name="doc id" hidden="1"/>
          <p:cNvSpPr txBox="1">
            <a:spLocks noChangeArrowheads="1"/>
          </p:cNvSpPr>
          <p:nvPr/>
        </p:nvSpPr>
        <p:spPr bwMode="white">
          <a:xfrm>
            <a:off x="8104473" y="36513"/>
            <a:ext cx="634716" cy="115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hangingPunct="1">
              <a:defRPr/>
            </a:pPr>
            <a:endParaRPr lang="en-US" sz="800" baseline="0" dirty="0">
              <a:solidFill>
                <a:schemeClr val="accent1"/>
              </a:solidFill>
              <a:latin typeface="+mn-lt"/>
              <a:ea typeface="+mn-ea"/>
            </a:endParaRPr>
          </a:p>
        </p:txBody>
      </p:sp>
      <p:grpSp>
        <p:nvGrpSpPr>
          <p:cNvPr id="63" name="LegendLines" hidden="1"/>
          <p:cNvGrpSpPr/>
          <p:nvPr/>
        </p:nvGrpSpPr>
        <p:grpSpPr>
          <a:xfrm>
            <a:off x="7551589" y="267815"/>
            <a:ext cx="1158292" cy="761545"/>
            <a:chOff x="7607284" y="279400"/>
            <a:chExt cx="1158292" cy="761545"/>
          </a:xfrm>
        </p:grpSpPr>
        <p:sp>
          <p:nvSpPr>
            <p:cNvPr id="64" name="LineLegend1"/>
            <p:cNvSpPr>
              <a:spLocks noChangeShapeType="1"/>
            </p:cNvSpPr>
            <p:nvPr/>
          </p:nvSpPr>
          <p:spPr bwMode="gray">
            <a:xfrm>
              <a:off x="7607284" y="387122"/>
              <a:ext cx="457200"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65" name="LineLegend2"/>
            <p:cNvSpPr>
              <a:spLocks noChangeShapeType="1"/>
            </p:cNvSpPr>
            <p:nvPr/>
          </p:nvSpPr>
          <p:spPr bwMode="gray">
            <a:xfrm>
              <a:off x="7607284" y="653822"/>
              <a:ext cx="457200"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66" name="LineLegend3"/>
            <p:cNvSpPr>
              <a:spLocks noChangeShapeType="1"/>
            </p:cNvSpPr>
            <p:nvPr/>
          </p:nvSpPr>
          <p:spPr bwMode="gray">
            <a:xfrm>
              <a:off x="7607284" y="933223"/>
              <a:ext cx="457200"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67" name="Legend1"/>
            <p:cNvSpPr>
              <a:spLocks noChangeArrowheads="1"/>
            </p:cNvSpPr>
            <p:nvPr>
              <p:custDataLst>
                <p:tags r:id="rId33"/>
              </p:custDataLst>
            </p:nvPr>
          </p:nvSpPr>
          <p:spPr bwMode="gray">
            <a:xfrm>
              <a:off x="8169259" y="279400"/>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sp>
          <p:nvSpPr>
            <p:cNvPr id="68" name="Legend2"/>
            <p:cNvSpPr>
              <a:spLocks noChangeArrowheads="1"/>
            </p:cNvSpPr>
            <p:nvPr>
              <p:custDataLst>
                <p:tags r:id="rId34"/>
              </p:custDataLst>
            </p:nvPr>
          </p:nvSpPr>
          <p:spPr bwMode="gray">
            <a:xfrm>
              <a:off x="8169259" y="546100"/>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a:latin typeface="+mn-lt"/>
                  <a:ea typeface="+mn-ea"/>
                </a:rPr>
                <a:t>Legend</a:t>
              </a:r>
              <a:endParaRPr lang="en-US" sz="1400" baseline="0" dirty="0">
                <a:latin typeface="+mn-lt"/>
                <a:ea typeface="+mn-ea"/>
              </a:endParaRPr>
            </a:p>
          </p:txBody>
        </p:sp>
        <p:sp>
          <p:nvSpPr>
            <p:cNvPr id="69" name="Legend3"/>
            <p:cNvSpPr>
              <a:spLocks noChangeArrowheads="1"/>
            </p:cNvSpPr>
            <p:nvPr>
              <p:custDataLst>
                <p:tags r:id="rId35"/>
              </p:custDataLst>
            </p:nvPr>
          </p:nvSpPr>
          <p:spPr bwMode="gray">
            <a:xfrm>
              <a:off x="8169259" y="825501"/>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grpSp>
      <p:grpSp>
        <p:nvGrpSpPr>
          <p:cNvPr id="70" name="LegendBoxes" hidden="1"/>
          <p:cNvGrpSpPr/>
          <p:nvPr/>
        </p:nvGrpSpPr>
        <p:grpSpPr>
          <a:xfrm>
            <a:off x="7859564" y="267919"/>
            <a:ext cx="850317" cy="1028245"/>
            <a:chOff x="5894005" y="919828"/>
            <a:chExt cx="850317" cy="1028245"/>
          </a:xfrm>
        </p:grpSpPr>
        <p:sp>
          <p:nvSpPr>
            <p:cNvPr id="71" name="RectangleLegend1"/>
            <p:cNvSpPr>
              <a:spLocks noChangeArrowheads="1"/>
            </p:cNvSpPr>
            <p:nvPr/>
          </p:nvSpPr>
          <p:spPr bwMode="gray">
            <a:xfrm>
              <a:off x="5894005" y="947381"/>
              <a:ext cx="165100" cy="160338"/>
            </a:xfrm>
            <a:prstGeom prst="rect">
              <a:avLst/>
            </a:prstGeom>
            <a:solidFill>
              <a:schemeClr val="accent1"/>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72" name="RectangleLegend2"/>
            <p:cNvSpPr>
              <a:spLocks noChangeArrowheads="1"/>
            </p:cNvSpPr>
            <p:nvPr/>
          </p:nvSpPr>
          <p:spPr bwMode="gray">
            <a:xfrm>
              <a:off x="5894005" y="1217256"/>
              <a:ext cx="165100" cy="160338"/>
            </a:xfrm>
            <a:prstGeom prst="rect">
              <a:avLst/>
            </a:prstGeom>
            <a:solidFill>
              <a:schemeClr val="accent2"/>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73" name="RectangleLegend3"/>
            <p:cNvSpPr>
              <a:spLocks noChangeArrowheads="1"/>
            </p:cNvSpPr>
            <p:nvPr/>
          </p:nvSpPr>
          <p:spPr bwMode="gray">
            <a:xfrm>
              <a:off x="5894005" y="1488719"/>
              <a:ext cx="165100" cy="160338"/>
            </a:xfrm>
            <a:prstGeom prst="rect">
              <a:avLst/>
            </a:prstGeom>
            <a:solidFill>
              <a:schemeClr val="accent3"/>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74" name="RectangleLegend4"/>
            <p:cNvSpPr>
              <a:spLocks noChangeArrowheads="1"/>
            </p:cNvSpPr>
            <p:nvPr/>
          </p:nvSpPr>
          <p:spPr bwMode="gray">
            <a:xfrm>
              <a:off x="5894005" y="1760182"/>
              <a:ext cx="165100" cy="160338"/>
            </a:xfrm>
            <a:prstGeom prst="rect">
              <a:avLst/>
            </a:prstGeom>
            <a:solidFill>
              <a:schemeClr val="accent4"/>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75" name="Legend1"/>
            <p:cNvSpPr>
              <a:spLocks noChangeArrowheads="1"/>
            </p:cNvSpPr>
            <p:nvPr>
              <p:custDataLst>
                <p:tags r:id="rId29"/>
              </p:custDataLst>
            </p:nvPr>
          </p:nvSpPr>
          <p:spPr bwMode="gray">
            <a:xfrm>
              <a:off x="6148005" y="919828"/>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sp>
          <p:nvSpPr>
            <p:cNvPr id="76" name="Legend2"/>
            <p:cNvSpPr>
              <a:spLocks noChangeArrowheads="1"/>
            </p:cNvSpPr>
            <p:nvPr>
              <p:custDataLst>
                <p:tags r:id="rId30"/>
              </p:custDataLst>
            </p:nvPr>
          </p:nvSpPr>
          <p:spPr bwMode="gray">
            <a:xfrm>
              <a:off x="6148005" y="1189703"/>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sp>
          <p:nvSpPr>
            <p:cNvPr id="77" name="Legend3"/>
            <p:cNvSpPr>
              <a:spLocks noChangeArrowheads="1"/>
            </p:cNvSpPr>
            <p:nvPr>
              <p:custDataLst>
                <p:tags r:id="rId31"/>
              </p:custDataLst>
            </p:nvPr>
          </p:nvSpPr>
          <p:spPr bwMode="gray">
            <a:xfrm>
              <a:off x="6148005" y="1461166"/>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sp>
          <p:nvSpPr>
            <p:cNvPr id="78" name="Legend4"/>
            <p:cNvSpPr>
              <a:spLocks noChangeArrowheads="1"/>
            </p:cNvSpPr>
            <p:nvPr>
              <p:custDataLst>
                <p:tags r:id="rId32"/>
              </p:custDataLst>
            </p:nvPr>
          </p:nvSpPr>
          <p:spPr bwMode="gray">
            <a:xfrm>
              <a:off x="6148005" y="1732629"/>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grpSp>
      <p:grpSp>
        <p:nvGrpSpPr>
          <p:cNvPr id="79" name="LegendMoons" hidden="1"/>
          <p:cNvGrpSpPr/>
          <p:nvPr/>
        </p:nvGrpSpPr>
        <p:grpSpPr>
          <a:xfrm>
            <a:off x="7792889" y="267414"/>
            <a:ext cx="916992" cy="1317003"/>
            <a:chOff x="5894005" y="2695123"/>
            <a:chExt cx="916992" cy="1317003"/>
          </a:xfrm>
        </p:grpSpPr>
        <p:grpSp>
          <p:nvGrpSpPr>
            <p:cNvPr id="80" name="MoonLegend1"/>
            <p:cNvGrpSpPr>
              <a:grpSpLocks noChangeAspect="1"/>
            </p:cNvGrpSpPr>
            <p:nvPr>
              <p:custDataLst>
                <p:tags r:id="rId9"/>
              </p:custDataLst>
            </p:nvPr>
          </p:nvGrpSpPr>
          <p:grpSpPr bwMode="gray">
            <a:xfrm>
              <a:off x="5894005" y="2695123"/>
              <a:ext cx="209550" cy="218282"/>
              <a:chOff x="4533" y="183"/>
              <a:chExt cx="144" cy="150"/>
            </a:xfrm>
          </p:grpSpPr>
          <p:sp>
            <p:nvSpPr>
              <p:cNvPr id="98" name="Oval 97"/>
              <p:cNvSpPr>
                <a:spLocks noChangeAspect="1" noChangeArrowheads="1"/>
              </p:cNvSpPr>
              <p:nvPr>
                <p:custDataLst>
                  <p:tags r:id="rId27"/>
                </p:custDataLst>
              </p:nvPr>
            </p:nvSpPr>
            <p:spPr bwMode="gray">
              <a:xfrm>
                <a:off x="4533" y="189"/>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99" name="Arc 98" hidden="1"/>
              <p:cNvSpPr>
                <a:spLocks noChangeAspect="1"/>
              </p:cNvSpPr>
              <p:nvPr>
                <p:custDataLst>
                  <p:tags r:id="rId28"/>
                </p:custDataLst>
              </p:nvPr>
            </p:nvSpPr>
            <p:spPr bwMode="gray">
              <a:xfrm>
                <a:off x="4533" y="183"/>
                <a:ext cx="144" cy="144"/>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grpSp>
        <p:grpSp>
          <p:nvGrpSpPr>
            <p:cNvPr id="81" name="MoonLegend2"/>
            <p:cNvGrpSpPr>
              <a:grpSpLocks noChangeAspect="1"/>
            </p:cNvGrpSpPr>
            <p:nvPr>
              <p:custDataLst>
                <p:tags r:id="rId10"/>
              </p:custDataLst>
            </p:nvPr>
          </p:nvGrpSpPr>
          <p:grpSpPr bwMode="gray">
            <a:xfrm>
              <a:off x="5894005" y="2977103"/>
              <a:ext cx="209550" cy="209551"/>
              <a:chOff x="1694" y="2051"/>
              <a:chExt cx="160" cy="160"/>
            </a:xfrm>
          </p:grpSpPr>
          <p:sp>
            <p:nvSpPr>
              <p:cNvPr id="96" name="Oval 41"/>
              <p:cNvSpPr>
                <a:spLocks noChangeAspect="1" noChangeArrowheads="1"/>
              </p:cNvSpPr>
              <p:nvPr>
                <p:custDataLst>
                  <p:tags r:id="rId25"/>
                </p:custDataLst>
              </p:nvPr>
            </p:nvSpPr>
            <p:spPr bwMode="gray">
              <a:xfrm>
                <a:off x="1694" y="2051"/>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97" name="Arc 42"/>
              <p:cNvSpPr>
                <a:spLocks noChangeAspect="1"/>
              </p:cNvSpPr>
              <p:nvPr>
                <p:custDataLst>
                  <p:tags r:id="rId26"/>
                </p:custDataLst>
              </p:nvPr>
            </p:nvSpPr>
            <p:spPr bwMode="gray">
              <a:xfrm>
                <a:off x="1694" y="2051"/>
                <a:ext cx="160" cy="160"/>
              </a:xfrm>
              <a:prstGeom prst="arc">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grpSp>
        <p:grpSp>
          <p:nvGrpSpPr>
            <p:cNvPr id="82" name="MoonLegend4"/>
            <p:cNvGrpSpPr>
              <a:grpSpLocks noChangeAspect="1"/>
            </p:cNvGrpSpPr>
            <p:nvPr>
              <p:custDataLst>
                <p:tags r:id="rId11"/>
              </p:custDataLst>
            </p:nvPr>
          </p:nvGrpSpPr>
          <p:grpSpPr bwMode="gray">
            <a:xfrm>
              <a:off x="5894005" y="3524395"/>
              <a:ext cx="209550" cy="209551"/>
              <a:chOff x="4495" y="1204"/>
              <a:chExt cx="160" cy="160"/>
            </a:xfrm>
          </p:grpSpPr>
          <p:sp>
            <p:nvSpPr>
              <p:cNvPr id="94" name="Oval 47"/>
              <p:cNvSpPr>
                <a:spLocks noChangeAspect="1" noChangeArrowheads="1"/>
              </p:cNvSpPr>
              <p:nvPr>
                <p:custDataLst>
                  <p:tags r:id="rId23"/>
                </p:custDataLst>
              </p:nvPr>
            </p:nvSpPr>
            <p:spPr bwMode="gray">
              <a:xfrm>
                <a:off x="4495" y="120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95" name="Arc 48"/>
              <p:cNvSpPr>
                <a:spLocks noChangeAspect="1"/>
              </p:cNvSpPr>
              <p:nvPr>
                <p:custDataLst>
                  <p:tags r:id="rId24"/>
                </p:custDataLst>
              </p:nvPr>
            </p:nvSpPr>
            <p:spPr bwMode="gray">
              <a:xfrm>
                <a:off x="4495" y="1204"/>
                <a:ext cx="160" cy="160"/>
              </a:xfrm>
              <a:prstGeom prst="arc">
                <a:avLst>
                  <a:gd name="adj1" fmla="val 16200000"/>
                  <a:gd name="adj2" fmla="val 108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grpSp>
        <p:grpSp>
          <p:nvGrpSpPr>
            <p:cNvPr id="83" name="MoonLegend5"/>
            <p:cNvGrpSpPr>
              <a:grpSpLocks noChangeAspect="1"/>
            </p:cNvGrpSpPr>
            <p:nvPr>
              <p:custDataLst>
                <p:tags r:id="rId12"/>
              </p:custDataLst>
            </p:nvPr>
          </p:nvGrpSpPr>
          <p:grpSpPr bwMode="gray">
            <a:xfrm>
              <a:off x="5894005" y="3799629"/>
              <a:ext cx="209550" cy="209551"/>
              <a:chOff x="4495" y="1447"/>
              <a:chExt cx="160" cy="160"/>
            </a:xfrm>
          </p:grpSpPr>
          <p:sp>
            <p:nvSpPr>
              <p:cNvPr id="92" name="Oval 50"/>
              <p:cNvSpPr>
                <a:spLocks noChangeAspect="1" noChangeArrowheads="1"/>
              </p:cNvSpPr>
              <p:nvPr>
                <p:custDataLst>
                  <p:tags r:id="rId21"/>
                </p:custDataLst>
              </p:nvPr>
            </p:nvSpPr>
            <p:spPr bwMode="gray">
              <a:xfrm>
                <a:off x="4495" y="1447"/>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93" name="Oval 51"/>
              <p:cNvSpPr>
                <a:spLocks noChangeAspect="1" noChangeArrowheads="1"/>
              </p:cNvSpPr>
              <p:nvPr>
                <p:custDataLst>
                  <p:tags r:id="rId22"/>
                </p:custDataLst>
              </p:nvPr>
            </p:nvSpPr>
            <p:spPr bwMode="gray">
              <a:xfrm>
                <a:off x="4495" y="1447"/>
                <a:ext cx="160" cy="160"/>
              </a:xfrm>
              <a:prstGeom prst="arc">
                <a:avLst>
                  <a:gd name="adj1" fmla="val 16200000"/>
                  <a:gd name="adj2" fmla="val 162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grpSp>
        <p:grpSp>
          <p:nvGrpSpPr>
            <p:cNvPr id="84" name="MoonLegend3"/>
            <p:cNvGrpSpPr>
              <a:grpSpLocks noChangeAspect="1"/>
            </p:cNvGrpSpPr>
            <p:nvPr>
              <p:custDataLst>
                <p:tags r:id="rId13"/>
              </p:custDataLst>
            </p:nvPr>
          </p:nvGrpSpPr>
          <p:grpSpPr bwMode="gray">
            <a:xfrm>
              <a:off x="5894005" y="3251543"/>
              <a:ext cx="209550" cy="209551"/>
              <a:chOff x="4495" y="1205"/>
              <a:chExt cx="160" cy="160"/>
            </a:xfrm>
          </p:grpSpPr>
          <p:sp>
            <p:nvSpPr>
              <p:cNvPr id="90" name="Oval 47"/>
              <p:cNvSpPr>
                <a:spLocks noChangeAspect="1" noChangeArrowheads="1"/>
              </p:cNvSpPr>
              <p:nvPr>
                <p:custDataLst>
                  <p:tags r:id="rId19"/>
                </p:custDataLst>
              </p:nvPr>
            </p:nvSpPr>
            <p:spPr bwMode="gray">
              <a:xfrm>
                <a:off x="4495" y="1205"/>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91" name="Arc 48"/>
              <p:cNvSpPr>
                <a:spLocks noChangeAspect="1"/>
              </p:cNvSpPr>
              <p:nvPr>
                <p:custDataLst>
                  <p:tags r:id="rId20"/>
                </p:custDataLst>
              </p:nvPr>
            </p:nvSpPr>
            <p:spPr bwMode="gray">
              <a:xfrm>
                <a:off x="4495" y="1205"/>
                <a:ext cx="160" cy="160"/>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grpSp>
        <p:sp>
          <p:nvSpPr>
            <p:cNvPr id="85" name="Legend1"/>
            <p:cNvSpPr>
              <a:spLocks noChangeArrowheads="1"/>
            </p:cNvSpPr>
            <p:nvPr>
              <p:custDataLst>
                <p:tags r:id="rId14"/>
              </p:custDataLst>
            </p:nvPr>
          </p:nvSpPr>
          <p:spPr bwMode="gray">
            <a:xfrm>
              <a:off x="6214680" y="2696542"/>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sp>
          <p:nvSpPr>
            <p:cNvPr id="86" name="Legend2"/>
            <p:cNvSpPr>
              <a:spLocks noChangeArrowheads="1"/>
            </p:cNvSpPr>
            <p:nvPr>
              <p:custDataLst>
                <p:tags r:id="rId15"/>
              </p:custDataLst>
            </p:nvPr>
          </p:nvSpPr>
          <p:spPr bwMode="gray">
            <a:xfrm>
              <a:off x="6214680" y="2974156"/>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a:latin typeface="+mn-lt"/>
                  <a:ea typeface="+mn-ea"/>
                </a:rPr>
                <a:t>Legend</a:t>
              </a:r>
              <a:endParaRPr lang="en-US" sz="1400" baseline="0" dirty="0">
                <a:latin typeface="+mn-lt"/>
                <a:ea typeface="+mn-ea"/>
              </a:endParaRPr>
            </a:p>
          </p:txBody>
        </p:sp>
        <p:sp>
          <p:nvSpPr>
            <p:cNvPr id="87" name="Legend3"/>
            <p:cNvSpPr>
              <a:spLocks noChangeArrowheads="1"/>
            </p:cNvSpPr>
            <p:nvPr>
              <p:custDataLst>
                <p:tags r:id="rId16"/>
              </p:custDataLst>
            </p:nvPr>
          </p:nvSpPr>
          <p:spPr bwMode="gray">
            <a:xfrm>
              <a:off x="6214680" y="3248596"/>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sp>
          <p:nvSpPr>
            <p:cNvPr id="88" name="Legend4"/>
            <p:cNvSpPr>
              <a:spLocks noChangeArrowheads="1"/>
            </p:cNvSpPr>
            <p:nvPr>
              <p:custDataLst>
                <p:tags r:id="rId17"/>
              </p:custDataLst>
            </p:nvPr>
          </p:nvSpPr>
          <p:spPr bwMode="gray">
            <a:xfrm>
              <a:off x="6214680" y="3521448"/>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sp>
          <p:nvSpPr>
            <p:cNvPr id="89" name="Legend5"/>
            <p:cNvSpPr>
              <a:spLocks noChangeArrowheads="1"/>
            </p:cNvSpPr>
            <p:nvPr>
              <p:custDataLst>
                <p:tags r:id="rId18"/>
              </p:custDataLst>
            </p:nvPr>
          </p:nvSpPr>
          <p:spPr bwMode="gray">
            <a:xfrm>
              <a:off x="6214680" y="3796682"/>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a:latin typeface="+mn-lt"/>
                  <a:ea typeface="+mn-ea"/>
                </a:rPr>
                <a:t>Legend</a:t>
              </a:r>
              <a:endParaRPr lang="en-US" sz="1400" baseline="0" dirty="0">
                <a:latin typeface="+mn-lt"/>
                <a:ea typeface="+mn-ea"/>
              </a:endParaRPr>
            </a:p>
          </p:txBody>
        </p:sp>
      </p:grpSp>
    </p:spTree>
    <p:extLst>
      <p:ext uri="{BB962C8B-B14F-4D97-AF65-F5344CB8AC3E}">
        <p14:creationId xmlns:p14="http://schemas.microsoft.com/office/powerpoint/2010/main" val="499211477"/>
      </p:ext>
    </p:extLst>
  </p:cSld>
  <p:clrMap bg1="lt1" tx1="dk1" bg2="lt2" tx2="dk2" accent1="accent1" accent2="accent2" accent3="accent3" accent4="accent4" accent5="accent5" accent6="accent6" hlink="hlink" folHlink="folHlink"/>
  <p:sldLayoutIdLst>
    <p:sldLayoutId id="2147483861" r:id="rId1"/>
    <p:sldLayoutId id="2147483862" r:id="rId2"/>
    <p:sldLayoutId id="2147483863" r:id="rId3"/>
    <p:sldLayoutId id="2147483864" r:id="rId4"/>
  </p:sldLayoutIdLst>
  <p:txStyles>
    <p:titleStyle>
      <a:lvl1pPr algn="l" defTabSz="895350" rtl="0" eaLnBrk="1" fontAlgn="base" hangingPunct="1">
        <a:spcBef>
          <a:spcPct val="0"/>
        </a:spcBef>
        <a:spcAft>
          <a:spcPct val="0"/>
        </a:spcAft>
        <a:tabLst>
          <a:tab pos="269875" algn="l"/>
        </a:tabLst>
        <a:defRPr sz="2000" b="0" baseline="0">
          <a:solidFill>
            <a:schemeClr val="tx2"/>
          </a:solidFill>
          <a:latin typeface="+mj-lt"/>
          <a:ea typeface="+mj-ea"/>
          <a:cs typeface="+mj-cs"/>
        </a:defRPr>
      </a:lvl1pPr>
      <a:lvl2pPr algn="l" defTabSz="895350" rtl="0" eaLnBrk="1" fontAlgn="base" hangingPunct="1">
        <a:spcBef>
          <a:spcPct val="0"/>
        </a:spcBef>
        <a:spcAft>
          <a:spcPct val="0"/>
        </a:spcAft>
        <a:defRPr sz="1900" b="1">
          <a:solidFill>
            <a:schemeClr val="tx2"/>
          </a:solidFill>
          <a:latin typeface="Arial" charset="0"/>
        </a:defRPr>
      </a:lvl2pPr>
      <a:lvl3pPr algn="l" defTabSz="895350" rtl="0" eaLnBrk="1" fontAlgn="base" hangingPunct="1">
        <a:spcBef>
          <a:spcPct val="0"/>
        </a:spcBef>
        <a:spcAft>
          <a:spcPct val="0"/>
        </a:spcAft>
        <a:defRPr sz="1900" b="1">
          <a:solidFill>
            <a:schemeClr val="tx2"/>
          </a:solidFill>
          <a:latin typeface="Arial" charset="0"/>
        </a:defRPr>
      </a:lvl3pPr>
      <a:lvl4pPr algn="l" defTabSz="895350" rtl="0" eaLnBrk="1" fontAlgn="base" hangingPunct="1">
        <a:spcBef>
          <a:spcPct val="0"/>
        </a:spcBef>
        <a:spcAft>
          <a:spcPct val="0"/>
        </a:spcAft>
        <a:defRPr sz="1900" b="1">
          <a:solidFill>
            <a:schemeClr val="tx2"/>
          </a:solidFill>
          <a:latin typeface="Arial" charset="0"/>
        </a:defRPr>
      </a:lvl4pPr>
      <a:lvl5pPr algn="l" defTabSz="895350" rtl="0" eaLnBrk="1" fontAlgn="base" hangingPunct="1">
        <a:spcBef>
          <a:spcPct val="0"/>
        </a:spcBef>
        <a:spcAft>
          <a:spcPct val="0"/>
        </a:spcAft>
        <a:defRPr sz="1900" b="1">
          <a:solidFill>
            <a:schemeClr val="tx2"/>
          </a:solidFill>
          <a:latin typeface="Arial" charset="0"/>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p:titleStyle>
    <p:bodyStyle>
      <a:lvl1pPr marL="0" indent="0" algn="l" defTabSz="895350" rtl="0" eaLnBrk="1" fontAlgn="base" hangingPunct="1">
        <a:spcBef>
          <a:spcPct val="0"/>
        </a:spcBef>
        <a:spcAft>
          <a:spcPct val="0"/>
        </a:spcAft>
        <a:buClr>
          <a:schemeClr val="tx2"/>
        </a:buClr>
        <a:buSzPct val="100000"/>
        <a:defRPr sz="14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4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4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4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4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7"/>
            </p:custDataLst>
            <p:extLst>
              <p:ext uri="{D42A27DB-BD31-4B8C-83A1-F6EECF244321}">
                <p14:modId xmlns:p14="http://schemas.microsoft.com/office/powerpoint/2010/main" val="107263644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6404" name="think-cell Slide" r:id="rId36" imgW="270" imgH="270" progId="TCLayout.ActiveDocument.1">
                  <p:embed/>
                </p:oleObj>
              </mc:Choice>
              <mc:Fallback>
                <p:oleObj name="think-cell Slide" r:id="rId36" imgW="270" imgH="270" progId="TCLayout.ActiveDocument.1">
                  <p:embed/>
                  <p:pic>
                    <p:nvPicPr>
                      <p:cNvPr id="2" name="Object 1" hidden="1"/>
                      <p:cNvPicPr/>
                      <p:nvPr/>
                    </p:nvPicPr>
                    <p:blipFill>
                      <a:blip r:embed="rId37"/>
                      <a:stretch>
                        <a:fillRect/>
                      </a:stretch>
                    </p:blipFill>
                    <p:spPr>
                      <a:xfrm>
                        <a:off x="0" y="0"/>
                        <a:ext cx="158750" cy="158750"/>
                      </a:xfrm>
                      <a:prstGeom prst="rect">
                        <a:avLst/>
                      </a:prstGeom>
                    </p:spPr>
                  </p:pic>
                </p:oleObj>
              </mc:Fallback>
            </mc:AlternateContent>
          </a:graphicData>
        </a:graphic>
      </p:graphicFrame>
      <p:sp>
        <p:nvSpPr>
          <p:cNvPr id="6" name="Rectangle 5" hidden="1"/>
          <p:cNvSpPr/>
          <p:nvPr>
            <p:custDataLst>
              <p:tags r:id="rId8"/>
            </p:custDataLst>
          </p:nvPr>
        </p:nvSpPr>
        <p:spPr bwMode="auto">
          <a:xfrm>
            <a:off x="0" y="0"/>
            <a:ext cx="158750" cy="158750"/>
          </a:xfrm>
          <a:prstGeom prst="rect">
            <a:avLst/>
          </a:prstGeom>
          <a:solidFill>
            <a:schemeClr val="bg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dirty="0">
              <a:solidFill>
                <a:srgbClr val="000000"/>
              </a:solidFill>
              <a:sym typeface="Arial" panose="020B0604020202020204" pitchFamily="34" charset="0"/>
            </a:endParaRPr>
          </a:p>
        </p:txBody>
      </p:sp>
      <p:sp>
        <p:nvSpPr>
          <p:cNvPr id="1034" name="Working Draft" hidden="1"/>
          <p:cNvSpPr txBox="1">
            <a:spLocks noChangeArrowheads="1"/>
          </p:cNvSpPr>
          <p:nvPr/>
        </p:nvSpPr>
        <p:spPr bwMode="gray">
          <a:xfrm rot="5400000">
            <a:off x="7966656" y="1940591"/>
            <a:ext cx="1849865"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600" baseline="0">
                <a:solidFill>
                  <a:srgbClr val="808080"/>
                </a:solidFill>
                <a:latin typeface="+mn-lt"/>
                <a:ea typeface="+mn-ea"/>
              </a:rPr>
              <a:t>Last Modified 21/05/2018 17:44 India Standard Time</a:t>
            </a:r>
            <a:endParaRPr lang="en-US" baseline="0" dirty="0">
              <a:solidFill>
                <a:srgbClr val="808080"/>
              </a:solidFill>
              <a:latin typeface="+mn-lt"/>
              <a:ea typeface="+mn-ea"/>
            </a:endParaRPr>
          </a:p>
        </p:txBody>
      </p:sp>
      <p:sp>
        <p:nvSpPr>
          <p:cNvPr id="1035" name="Printed" hidden="1"/>
          <p:cNvSpPr txBox="1">
            <a:spLocks noChangeArrowheads="1"/>
          </p:cNvSpPr>
          <p:nvPr/>
        </p:nvSpPr>
        <p:spPr bwMode="gray">
          <a:xfrm rot="5400000">
            <a:off x="8768958" y="4114417"/>
            <a:ext cx="245260"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600" baseline="0" dirty="0">
                <a:solidFill>
                  <a:srgbClr val="808080"/>
                </a:solidFill>
                <a:latin typeface="+mn-lt"/>
                <a:ea typeface="+mn-ea"/>
              </a:rPr>
              <a:t>Printed</a:t>
            </a:r>
            <a:endParaRPr lang="en-US" baseline="0" dirty="0">
              <a:solidFill>
                <a:srgbClr val="808080"/>
              </a:solidFill>
              <a:latin typeface="+mn-lt"/>
              <a:ea typeface="+mn-ea"/>
            </a:endParaRPr>
          </a:p>
        </p:txBody>
      </p:sp>
      <p:sp>
        <p:nvSpPr>
          <p:cNvPr id="19" name="Title Placeholder 2"/>
          <p:cNvSpPr>
            <a:spLocks noGrp="1" noChangeArrowheads="1"/>
          </p:cNvSpPr>
          <p:nvPr>
            <p:ph type="title"/>
          </p:nvPr>
        </p:nvSpPr>
        <p:spPr bwMode="gray">
          <a:xfrm>
            <a:off x="119063" y="230188"/>
            <a:ext cx="8618537"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latinLnBrk="0"/>
            <a:r>
              <a:rPr lang="en-US"/>
              <a:t>Click to edit Master title style</a:t>
            </a:r>
            <a:endParaRPr lang="en-US" noProof="0" dirty="0"/>
          </a:p>
        </p:txBody>
      </p:sp>
      <p:sp>
        <p:nvSpPr>
          <p:cNvPr id="10" name="1. On-page tracker" hidden="1"/>
          <p:cNvSpPr>
            <a:spLocks noChangeArrowheads="1"/>
          </p:cNvSpPr>
          <p:nvPr/>
        </p:nvSpPr>
        <p:spPr bwMode="gray">
          <a:xfrm>
            <a:off x="119063" y="75764"/>
            <a:ext cx="490519"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800" cap="all" baseline="0" dirty="0">
                <a:solidFill>
                  <a:schemeClr val="accent6"/>
                </a:solidFill>
                <a:latin typeface="+mn-lt"/>
                <a:ea typeface="+mn-ea"/>
              </a:rPr>
              <a:t>Tracker</a:t>
            </a:r>
          </a:p>
        </p:txBody>
      </p:sp>
      <p:sp>
        <p:nvSpPr>
          <p:cNvPr id="11" name="3. Unit of measure" hidden="1"/>
          <p:cNvSpPr txBox="1">
            <a:spLocks noChangeArrowheads="1"/>
          </p:cNvSpPr>
          <p:nvPr/>
        </p:nvSpPr>
        <p:spPr bwMode="gray">
          <a:xfrm>
            <a:off x="119063" y="554865"/>
            <a:ext cx="8618537"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600" baseline="0" dirty="0">
                <a:solidFill>
                  <a:schemeClr val="accent6"/>
                </a:solidFill>
                <a:latin typeface="+mn-lt"/>
                <a:ea typeface="+mn-ea"/>
              </a:rPr>
              <a:t>Unit of measure</a:t>
            </a:r>
          </a:p>
        </p:txBody>
      </p:sp>
      <p:grpSp>
        <p:nvGrpSpPr>
          <p:cNvPr id="4" name="Slide Elements" hidden="1"/>
          <p:cNvGrpSpPr/>
          <p:nvPr/>
        </p:nvGrpSpPr>
        <p:grpSpPr bwMode="gray">
          <a:xfrm>
            <a:off x="119063" y="6305945"/>
            <a:ext cx="8618537" cy="325438"/>
            <a:chOff x="119063" y="6305945"/>
            <a:chExt cx="8618537" cy="325438"/>
          </a:xfrm>
        </p:grpSpPr>
        <p:sp>
          <p:nvSpPr>
            <p:cNvPr id="13" name="4. Footnote"/>
            <p:cNvSpPr txBox="1">
              <a:spLocks noChangeArrowheads="1"/>
            </p:cNvSpPr>
            <p:nvPr/>
          </p:nvSpPr>
          <p:spPr bwMode="gray">
            <a:xfrm>
              <a:off x="119063" y="6305945"/>
              <a:ext cx="8618537" cy="123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800" baseline="0" dirty="0">
                  <a:solidFill>
                    <a:schemeClr val="accent6"/>
                  </a:solidFill>
                  <a:latin typeface="+mn-lt"/>
                  <a:ea typeface="+mn-ea"/>
                </a:rPr>
                <a:t>1 Footnote</a:t>
              </a:r>
            </a:p>
          </p:txBody>
        </p:sp>
        <p:sp>
          <p:nvSpPr>
            <p:cNvPr id="14" name="5. Source"/>
            <p:cNvSpPr>
              <a:spLocks noChangeArrowheads="1"/>
            </p:cNvSpPr>
            <p:nvPr/>
          </p:nvSpPr>
          <p:spPr bwMode="gray">
            <a:xfrm>
              <a:off x="119063" y="6507558"/>
              <a:ext cx="7200000" cy="123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marL="609600" indent="-609600" defTabSz="895350">
                <a:tabLst>
                  <a:tab pos="612775" algn="l"/>
                </a:tabLst>
              </a:pPr>
              <a:r>
                <a:rPr lang="en-US" sz="800" baseline="0" dirty="0">
                  <a:solidFill>
                    <a:schemeClr val="accent6"/>
                  </a:solidFill>
                  <a:latin typeface="+mn-lt"/>
                  <a:ea typeface="+mn-ea"/>
                </a:rPr>
                <a:t>SOURCE: Source</a:t>
              </a:r>
            </a:p>
          </p:txBody>
        </p:sp>
      </p:grpSp>
      <p:sp>
        <p:nvSpPr>
          <p:cNvPr id="3" name="Text Placeholder 2"/>
          <p:cNvSpPr>
            <a:spLocks noGrp="1"/>
          </p:cNvSpPr>
          <p:nvPr>
            <p:ph type="body" idx="1"/>
          </p:nvPr>
        </p:nvSpPr>
        <p:spPr bwMode="gray">
          <a:xfrm>
            <a:off x="1452564" y="1951380"/>
            <a:ext cx="4302125" cy="1077218"/>
          </a:xfrm>
          <a:prstGeom prst="rect">
            <a:avLst/>
          </a:prstGeom>
        </p:spPr>
        <p:txBody>
          <a:bodyPr vert="horz" lIns="0" tIns="0" rIns="0" bIns="0" rtlCol="0">
            <a:spAutoFit/>
          </a:bodyPr>
          <a:lstStyle/>
          <a:p>
            <a:pPr lvl="0" latinLnBrk="0"/>
            <a:r>
              <a:rPr lang="en-US"/>
              <a:t>Edit Master text styles</a:t>
            </a:r>
          </a:p>
          <a:p>
            <a:pPr lvl="1" latinLnBrk="0"/>
            <a:r>
              <a:rPr lang="en-US"/>
              <a:t>Second level</a:t>
            </a:r>
          </a:p>
          <a:p>
            <a:pPr lvl="2" latinLnBrk="0"/>
            <a:r>
              <a:rPr lang="en-US"/>
              <a:t>Third level</a:t>
            </a:r>
          </a:p>
          <a:p>
            <a:pPr lvl="3" latinLnBrk="0"/>
            <a:r>
              <a:rPr lang="en-US"/>
              <a:t>Fourth level</a:t>
            </a:r>
          </a:p>
          <a:p>
            <a:pPr lvl="4" latinLnBrk="0"/>
            <a:r>
              <a:rPr lang="en-US"/>
              <a:t>Fifth level</a:t>
            </a:r>
            <a:endParaRPr lang="en-US" dirty="0"/>
          </a:p>
        </p:txBody>
      </p:sp>
      <p:grpSp>
        <p:nvGrpSpPr>
          <p:cNvPr id="15" name="ACET" hidden="1"/>
          <p:cNvGrpSpPr>
            <a:grpSpLocks/>
          </p:cNvGrpSpPr>
          <p:nvPr/>
        </p:nvGrpSpPr>
        <p:grpSpPr bwMode="gray">
          <a:xfrm>
            <a:off x="1452563" y="1257754"/>
            <a:ext cx="4264025" cy="508000"/>
            <a:chOff x="915" y="710"/>
            <a:chExt cx="2686" cy="320"/>
          </a:xfrm>
        </p:grpSpPr>
        <p:cxnSp>
          <p:nvCxnSpPr>
            <p:cNvPr id="16" name="AutoShape 249"/>
            <p:cNvCxnSpPr>
              <a:cxnSpLocks noChangeShapeType="1"/>
              <a:stCxn id="18" idx="4"/>
              <a:endCxn id="18" idx="6"/>
            </p:cNvCxnSpPr>
            <p:nvPr/>
          </p:nvCxnSpPr>
          <p:spPr bwMode="gray">
            <a:xfrm>
              <a:off x="915" y="1030"/>
              <a:ext cx="2686" cy="0"/>
            </a:xfrm>
            <a:prstGeom prst="straightConnector1">
              <a:avLst/>
            </a:prstGeom>
            <a:noFill/>
            <a:ln w="9525">
              <a:solidFill>
                <a:schemeClr val="accent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8" name="AutoShape 250"/>
            <p:cNvSpPr>
              <a:spLocks noChangeArrowheads="1"/>
            </p:cNvSpPr>
            <p:nvPr/>
          </p:nvSpPr>
          <p:spPr bwMode="gray">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US" b="1" baseline="0" dirty="0">
                  <a:solidFill>
                    <a:srgbClr val="000000"/>
                  </a:solidFill>
                  <a:latin typeface="+mn-lt"/>
                  <a:ea typeface="+mn-ea"/>
                </a:rPr>
                <a:t>Title</a:t>
              </a:r>
            </a:p>
            <a:p>
              <a:r>
                <a:rPr lang="en-US" baseline="0" dirty="0">
                  <a:solidFill>
                    <a:schemeClr val="accent6"/>
                  </a:solidFill>
                  <a:latin typeface="+mn-lt"/>
                  <a:ea typeface="+mn-ea"/>
                </a:rPr>
                <a:t>Unit of measure</a:t>
              </a:r>
            </a:p>
          </p:txBody>
        </p:sp>
      </p:grpSp>
      <p:grpSp>
        <p:nvGrpSpPr>
          <p:cNvPr id="17" name="McKSticker" hidden="1"/>
          <p:cNvGrpSpPr/>
          <p:nvPr/>
        </p:nvGrpSpPr>
        <p:grpSpPr bwMode="gray">
          <a:xfrm>
            <a:off x="8264265" y="285750"/>
            <a:ext cx="473335" cy="150811"/>
            <a:chOff x="8267440" y="285750"/>
            <a:chExt cx="473335" cy="150811"/>
          </a:xfrm>
        </p:grpSpPr>
        <p:sp>
          <p:nvSpPr>
            <p:cNvPr id="20" name="StickerRectangle"/>
            <p:cNvSpPr>
              <a:spLocks noChangeArrowheads="1"/>
            </p:cNvSpPr>
            <p:nvPr/>
          </p:nvSpPr>
          <p:spPr bwMode="gray">
            <a:xfrm>
              <a:off x="8267440" y="285750"/>
              <a:ext cx="473335" cy="150811"/>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a:buClr>
                  <a:srgbClr val="002960"/>
                </a:buClr>
              </a:pPr>
              <a:r>
                <a:rPr lang="en-US" sz="800" baseline="0" dirty="0">
                  <a:solidFill>
                    <a:schemeClr val="accent6"/>
                  </a:solidFill>
                  <a:latin typeface="+mn-lt"/>
                  <a:ea typeface="+mn-ea"/>
                </a:rPr>
                <a:t>STICKER</a:t>
              </a:r>
            </a:p>
          </p:txBody>
        </p:sp>
        <p:cxnSp>
          <p:nvCxnSpPr>
            <p:cNvPr id="21" name="AutoShape 31"/>
            <p:cNvCxnSpPr>
              <a:cxnSpLocks noChangeShapeType="1"/>
              <a:stCxn id="20" idx="2"/>
              <a:endCxn id="20" idx="4"/>
            </p:cNvCxnSpPr>
            <p:nvPr/>
          </p:nvCxnSpPr>
          <p:spPr bwMode="gray">
            <a:xfrm>
              <a:off x="8267440" y="285750"/>
              <a:ext cx="0" cy="150811"/>
            </a:xfrm>
            <a:prstGeom prst="straightConnector1">
              <a:avLst/>
            </a:prstGeom>
            <a:noFill/>
            <a:ln w="9525">
              <a:solidFill>
                <a:schemeClr val="accent6"/>
              </a:solidFill>
              <a:round/>
              <a:headEnd/>
              <a:tailEnd/>
            </a:ln>
            <a:extLst>
              <a:ext uri="{909E8E84-426E-40DD-AFC4-6F175D3DCCD1}">
                <a14:hiddenFill xmlns:a14="http://schemas.microsoft.com/office/drawing/2010/main">
                  <a:noFill/>
                </a14:hiddenFill>
              </a:ext>
            </a:extLst>
          </p:spPr>
        </p:cxnSp>
        <p:cxnSp>
          <p:nvCxnSpPr>
            <p:cNvPr id="22" name="AutoShape 32"/>
            <p:cNvCxnSpPr>
              <a:cxnSpLocks noChangeShapeType="1"/>
              <a:stCxn id="20" idx="4"/>
              <a:endCxn id="20" idx="6"/>
            </p:cNvCxnSpPr>
            <p:nvPr/>
          </p:nvCxnSpPr>
          <p:spPr bwMode="gray">
            <a:xfrm>
              <a:off x="8267440" y="436561"/>
              <a:ext cx="473335" cy="0"/>
            </a:xfrm>
            <a:prstGeom prst="straightConnector1">
              <a:avLst/>
            </a:prstGeom>
            <a:noFill/>
            <a:ln w="25400">
              <a:solidFill>
                <a:schemeClr val="accent6"/>
              </a:solidFill>
              <a:round/>
              <a:headEnd/>
              <a:tailEnd/>
            </a:ln>
            <a:extLst>
              <a:ext uri="{909E8E84-426E-40DD-AFC4-6F175D3DCCD1}">
                <a14:hiddenFill xmlns:a14="http://schemas.microsoft.com/office/drawing/2010/main">
                  <a:noFill/>
                </a14:hiddenFill>
              </a:ext>
            </a:extLst>
          </p:spPr>
        </p:cxnSp>
      </p:grpSp>
      <p:sp>
        <p:nvSpPr>
          <p:cNvPr id="23" name="SlideBottomBar" hidden="1"/>
          <p:cNvSpPr/>
          <p:nvPr/>
        </p:nvSpPr>
        <p:spPr>
          <a:xfrm>
            <a:off x="8437547" y="6182120"/>
            <a:ext cx="45719" cy="123825"/>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aseline="0" dirty="0">
              <a:solidFill>
                <a:schemeClr val="tx1"/>
              </a:solidFill>
              <a:latin typeface="+mn-lt"/>
              <a:ea typeface="+mn-ea"/>
            </a:endParaRPr>
          </a:p>
        </p:txBody>
      </p:sp>
      <p:sp>
        <p:nvSpPr>
          <p:cNvPr id="24" name="doc id" hidden="1"/>
          <p:cNvSpPr txBox="1">
            <a:spLocks noChangeArrowheads="1"/>
          </p:cNvSpPr>
          <p:nvPr/>
        </p:nvSpPr>
        <p:spPr bwMode="white">
          <a:xfrm>
            <a:off x="8104473" y="36513"/>
            <a:ext cx="634716" cy="115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hangingPunct="1">
              <a:defRPr/>
            </a:pPr>
            <a:endParaRPr lang="en-US" sz="800" baseline="0" dirty="0">
              <a:solidFill>
                <a:schemeClr val="accent1"/>
              </a:solidFill>
              <a:latin typeface="+mn-lt"/>
              <a:ea typeface="+mn-ea"/>
            </a:endParaRPr>
          </a:p>
        </p:txBody>
      </p:sp>
      <p:grpSp>
        <p:nvGrpSpPr>
          <p:cNvPr id="63" name="LegendLines" hidden="1"/>
          <p:cNvGrpSpPr/>
          <p:nvPr/>
        </p:nvGrpSpPr>
        <p:grpSpPr>
          <a:xfrm>
            <a:off x="7551589" y="267815"/>
            <a:ext cx="1158292" cy="761545"/>
            <a:chOff x="7607284" y="279400"/>
            <a:chExt cx="1158292" cy="761545"/>
          </a:xfrm>
        </p:grpSpPr>
        <p:sp>
          <p:nvSpPr>
            <p:cNvPr id="64" name="LineLegend1"/>
            <p:cNvSpPr>
              <a:spLocks noChangeShapeType="1"/>
            </p:cNvSpPr>
            <p:nvPr/>
          </p:nvSpPr>
          <p:spPr bwMode="gray">
            <a:xfrm>
              <a:off x="7607284" y="387122"/>
              <a:ext cx="457200"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65" name="LineLegend2"/>
            <p:cNvSpPr>
              <a:spLocks noChangeShapeType="1"/>
            </p:cNvSpPr>
            <p:nvPr/>
          </p:nvSpPr>
          <p:spPr bwMode="gray">
            <a:xfrm>
              <a:off x="7607284" y="653822"/>
              <a:ext cx="457200"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66" name="LineLegend3"/>
            <p:cNvSpPr>
              <a:spLocks noChangeShapeType="1"/>
            </p:cNvSpPr>
            <p:nvPr/>
          </p:nvSpPr>
          <p:spPr bwMode="gray">
            <a:xfrm>
              <a:off x="7607284" y="933223"/>
              <a:ext cx="457200"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67" name="Legend1"/>
            <p:cNvSpPr>
              <a:spLocks noChangeArrowheads="1"/>
            </p:cNvSpPr>
            <p:nvPr>
              <p:custDataLst>
                <p:tags r:id="rId33"/>
              </p:custDataLst>
            </p:nvPr>
          </p:nvSpPr>
          <p:spPr bwMode="gray">
            <a:xfrm>
              <a:off x="8169259" y="279400"/>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sp>
          <p:nvSpPr>
            <p:cNvPr id="68" name="Legend2"/>
            <p:cNvSpPr>
              <a:spLocks noChangeArrowheads="1"/>
            </p:cNvSpPr>
            <p:nvPr>
              <p:custDataLst>
                <p:tags r:id="rId34"/>
              </p:custDataLst>
            </p:nvPr>
          </p:nvSpPr>
          <p:spPr bwMode="gray">
            <a:xfrm>
              <a:off x="8169259" y="546100"/>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a:latin typeface="+mn-lt"/>
                  <a:ea typeface="+mn-ea"/>
                </a:rPr>
                <a:t>Legend</a:t>
              </a:r>
              <a:endParaRPr lang="en-US" sz="1400" baseline="0" dirty="0">
                <a:latin typeface="+mn-lt"/>
                <a:ea typeface="+mn-ea"/>
              </a:endParaRPr>
            </a:p>
          </p:txBody>
        </p:sp>
        <p:sp>
          <p:nvSpPr>
            <p:cNvPr id="69" name="Legend3"/>
            <p:cNvSpPr>
              <a:spLocks noChangeArrowheads="1"/>
            </p:cNvSpPr>
            <p:nvPr>
              <p:custDataLst>
                <p:tags r:id="rId35"/>
              </p:custDataLst>
            </p:nvPr>
          </p:nvSpPr>
          <p:spPr bwMode="gray">
            <a:xfrm>
              <a:off x="8169259" y="825501"/>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grpSp>
      <p:grpSp>
        <p:nvGrpSpPr>
          <p:cNvPr id="70" name="LegendBoxes" hidden="1"/>
          <p:cNvGrpSpPr/>
          <p:nvPr/>
        </p:nvGrpSpPr>
        <p:grpSpPr>
          <a:xfrm>
            <a:off x="7859564" y="267919"/>
            <a:ext cx="850317" cy="1028245"/>
            <a:chOff x="5894005" y="919828"/>
            <a:chExt cx="850317" cy="1028245"/>
          </a:xfrm>
        </p:grpSpPr>
        <p:sp>
          <p:nvSpPr>
            <p:cNvPr id="71" name="RectangleLegend1"/>
            <p:cNvSpPr>
              <a:spLocks noChangeArrowheads="1"/>
            </p:cNvSpPr>
            <p:nvPr/>
          </p:nvSpPr>
          <p:spPr bwMode="gray">
            <a:xfrm>
              <a:off x="5894005" y="947381"/>
              <a:ext cx="165100" cy="160338"/>
            </a:xfrm>
            <a:prstGeom prst="rect">
              <a:avLst/>
            </a:prstGeom>
            <a:solidFill>
              <a:schemeClr val="accent1"/>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72" name="RectangleLegend2"/>
            <p:cNvSpPr>
              <a:spLocks noChangeArrowheads="1"/>
            </p:cNvSpPr>
            <p:nvPr/>
          </p:nvSpPr>
          <p:spPr bwMode="gray">
            <a:xfrm>
              <a:off x="5894005" y="1217256"/>
              <a:ext cx="165100" cy="160338"/>
            </a:xfrm>
            <a:prstGeom prst="rect">
              <a:avLst/>
            </a:prstGeom>
            <a:solidFill>
              <a:schemeClr val="accent2"/>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73" name="RectangleLegend3"/>
            <p:cNvSpPr>
              <a:spLocks noChangeArrowheads="1"/>
            </p:cNvSpPr>
            <p:nvPr/>
          </p:nvSpPr>
          <p:spPr bwMode="gray">
            <a:xfrm>
              <a:off x="5894005" y="1488719"/>
              <a:ext cx="165100" cy="160338"/>
            </a:xfrm>
            <a:prstGeom prst="rect">
              <a:avLst/>
            </a:prstGeom>
            <a:solidFill>
              <a:schemeClr val="accent3"/>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74" name="RectangleLegend4"/>
            <p:cNvSpPr>
              <a:spLocks noChangeArrowheads="1"/>
            </p:cNvSpPr>
            <p:nvPr/>
          </p:nvSpPr>
          <p:spPr bwMode="gray">
            <a:xfrm>
              <a:off x="5894005" y="1760182"/>
              <a:ext cx="165100" cy="160338"/>
            </a:xfrm>
            <a:prstGeom prst="rect">
              <a:avLst/>
            </a:prstGeom>
            <a:solidFill>
              <a:schemeClr val="accent4"/>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75" name="Legend1"/>
            <p:cNvSpPr>
              <a:spLocks noChangeArrowheads="1"/>
            </p:cNvSpPr>
            <p:nvPr>
              <p:custDataLst>
                <p:tags r:id="rId29"/>
              </p:custDataLst>
            </p:nvPr>
          </p:nvSpPr>
          <p:spPr bwMode="gray">
            <a:xfrm>
              <a:off x="6148005" y="919828"/>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sp>
          <p:nvSpPr>
            <p:cNvPr id="76" name="Legend2"/>
            <p:cNvSpPr>
              <a:spLocks noChangeArrowheads="1"/>
            </p:cNvSpPr>
            <p:nvPr>
              <p:custDataLst>
                <p:tags r:id="rId30"/>
              </p:custDataLst>
            </p:nvPr>
          </p:nvSpPr>
          <p:spPr bwMode="gray">
            <a:xfrm>
              <a:off x="6148005" y="1189703"/>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sp>
          <p:nvSpPr>
            <p:cNvPr id="77" name="Legend3"/>
            <p:cNvSpPr>
              <a:spLocks noChangeArrowheads="1"/>
            </p:cNvSpPr>
            <p:nvPr>
              <p:custDataLst>
                <p:tags r:id="rId31"/>
              </p:custDataLst>
            </p:nvPr>
          </p:nvSpPr>
          <p:spPr bwMode="gray">
            <a:xfrm>
              <a:off x="6148005" y="1461166"/>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sp>
          <p:nvSpPr>
            <p:cNvPr id="78" name="Legend4"/>
            <p:cNvSpPr>
              <a:spLocks noChangeArrowheads="1"/>
            </p:cNvSpPr>
            <p:nvPr>
              <p:custDataLst>
                <p:tags r:id="rId32"/>
              </p:custDataLst>
            </p:nvPr>
          </p:nvSpPr>
          <p:spPr bwMode="gray">
            <a:xfrm>
              <a:off x="6148005" y="1732629"/>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grpSp>
      <p:grpSp>
        <p:nvGrpSpPr>
          <p:cNvPr id="79" name="LegendMoons" hidden="1"/>
          <p:cNvGrpSpPr/>
          <p:nvPr/>
        </p:nvGrpSpPr>
        <p:grpSpPr>
          <a:xfrm>
            <a:off x="7792889" y="267414"/>
            <a:ext cx="916992" cy="1317003"/>
            <a:chOff x="5894005" y="2695123"/>
            <a:chExt cx="916992" cy="1317003"/>
          </a:xfrm>
        </p:grpSpPr>
        <p:grpSp>
          <p:nvGrpSpPr>
            <p:cNvPr id="80" name="MoonLegend1"/>
            <p:cNvGrpSpPr>
              <a:grpSpLocks noChangeAspect="1"/>
            </p:cNvGrpSpPr>
            <p:nvPr>
              <p:custDataLst>
                <p:tags r:id="rId9"/>
              </p:custDataLst>
            </p:nvPr>
          </p:nvGrpSpPr>
          <p:grpSpPr bwMode="gray">
            <a:xfrm>
              <a:off x="5894005" y="2695123"/>
              <a:ext cx="209550" cy="218282"/>
              <a:chOff x="4533" y="183"/>
              <a:chExt cx="144" cy="150"/>
            </a:xfrm>
          </p:grpSpPr>
          <p:sp>
            <p:nvSpPr>
              <p:cNvPr id="98" name="Oval 97"/>
              <p:cNvSpPr>
                <a:spLocks noChangeAspect="1" noChangeArrowheads="1"/>
              </p:cNvSpPr>
              <p:nvPr>
                <p:custDataLst>
                  <p:tags r:id="rId27"/>
                </p:custDataLst>
              </p:nvPr>
            </p:nvSpPr>
            <p:spPr bwMode="gray">
              <a:xfrm>
                <a:off x="4533" y="189"/>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99" name="Arc 98" hidden="1"/>
              <p:cNvSpPr>
                <a:spLocks noChangeAspect="1"/>
              </p:cNvSpPr>
              <p:nvPr>
                <p:custDataLst>
                  <p:tags r:id="rId28"/>
                </p:custDataLst>
              </p:nvPr>
            </p:nvSpPr>
            <p:spPr bwMode="gray">
              <a:xfrm>
                <a:off x="4533" y="183"/>
                <a:ext cx="144" cy="144"/>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grpSp>
        <p:grpSp>
          <p:nvGrpSpPr>
            <p:cNvPr id="81" name="MoonLegend2"/>
            <p:cNvGrpSpPr>
              <a:grpSpLocks noChangeAspect="1"/>
            </p:cNvGrpSpPr>
            <p:nvPr>
              <p:custDataLst>
                <p:tags r:id="rId10"/>
              </p:custDataLst>
            </p:nvPr>
          </p:nvGrpSpPr>
          <p:grpSpPr bwMode="gray">
            <a:xfrm>
              <a:off x="5894005" y="2977103"/>
              <a:ext cx="209550" cy="209551"/>
              <a:chOff x="1694" y="2051"/>
              <a:chExt cx="160" cy="160"/>
            </a:xfrm>
          </p:grpSpPr>
          <p:sp>
            <p:nvSpPr>
              <p:cNvPr id="96" name="Oval 41"/>
              <p:cNvSpPr>
                <a:spLocks noChangeAspect="1" noChangeArrowheads="1"/>
              </p:cNvSpPr>
              <p:nvPr>
                <p:custDataLst>
                  <p:tags r:id="rId25"/>
                </p:custDataLst>
              </p:nvPr>
            </p:nvSpPr>
            <p:spPr bwMode="gray">
              <a:xfrm>
                <a:off x="1694" y="2051"/>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97" name="Arc 42"/>
              <p:cNvSpPr>
                <a:spLocks noChangeAspect="1"/>
              </p:cNvSpPr>
              <p:nvPr>
                <p:custDataLst>
                  <p:tags r:id="rId26"/>
                </p:custDataLst>
              </p:nvPr>
            </p:nvSpPr>
            <p:spPr bwMode="gray">
              <a:xfrm>
                <a:off x="1694" y="2051"/>
                <a:ext cx="160" cy="160"/>
              </a:xfrm>
              <a:prstGeom prst="arc">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grpSp>
        <p:grpSp>
          <p:nvGrpSpPr>
            <p:cNvPr id="82" name="MoonLegend4"/>
            <p:cNvGrpSpPr>
              <a:grpSpLocks noChangeAspect="1"/>
            </p:cNvGrpSpPr>
            <p:nvPr>
              <p:custDataLst>
                <p:tags r:id="rId11"/>
              </p:custDataLst>
            </p:nvPr>
          </p:nvGrpSpPr>
          <p:grpSpPr bwMode="gray">
            <a:xfrm>
              <a:off x="5894005" y="3524395"/>
              <a:ext cx="209550" cy="209551"/>
              <a:chOff x="4495" y="1204"/>
              <a:chExt cx="160" cy="160"/>
            </a:xfrm>
          </p:grpSpPr>
          <p:sp>
            <p:nvSpPr>
              <p:cNvPr id="94" name="Oval 47"/>
              <p:cNvSpPr>
                <a:spLocks noChangeAspect="1" noChangeArrowheads="1"/>
              </p:cNvSpPr>
              <p:nvPr>
                <p:custDataLst>
                  <p:tags r:id="rId23"/>
                </p:custDataLst>
              </p:nvPr>
            </p:nvSpPr>
            <p:spPr bwMode="gray">
              <a:xfrm>
                <a:off x="4495" y="120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95" name="Arc 48"/>
              <p:cNvSpPr>
                <a:spLocks noChangeAspect="1"/>
              </p:cNvSpPr>
              <p:nvPr>
                <p:custDataLst>
                  <p:tags r:id="rId24"/>
                </p:custDataLst>
              </p:nvPr>
            </p:nvSpPr>
            <p:spPr bwMode="gray">
              <a:xfrm>
                <a:off x="4495" y="1204"/>
                <a:ext cx="160" cy="160"/>
              </a:xfrm>
              <a:prstGeom prst="arc">
                <a:avLst>
                  <a:gd name="adj1" fmla="val 16200000"/>
                  <a:gd name="adj2" fmla="val 108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grpSp>
        <p:grpSp>
          <p:nvGrpSpPr>
            <p:cNvPr id="83" name="MoonLegend5"/>
            <p:cNvGrpSpPr>
              <a:grpSpLocks noChangeAspect="1"/>
            </p:cNvGrpSpPr>
            <p:nvPr>
              <p:custDataLst>
                <p:tags r:id="rId12"/>
              </p:custDataLst>
            </p:nvPr>
          </p:nvGrpSpPr>
          <p:grpSpPr bwMode="gray">
            <a:xfrm>
              <a:off x="5894005" y="3799629"/>
              <a:ext cx="209550" cy="209551"/>
              <a:chOff x="4495" y="1447"/>
              <a:chExt cx="160" cy="160"/>
            </a:xfrm>
          </p:grpSpPr>
          <p:sp>
            <p:nvSpPr>
              <p:cNvPr id="92" name="Oval 50"/>
              <p:cNvSpPr>
                <a:spLocks noChangeAspect="1" noChangeArrowheads="1"/>
              </p:cNvSpPr>
              <p:nvPr>
                <p:custDataLst>
                  <p:tags r:id="rId21"/>
                </p:custDataLst>
              </p:nvPr>
            </p:nvSpPr>
            <p:spPr bwMode="gray">
              <a:xfrm>
                <a:off x="4495" y="1447"/>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93" name="Oval 51"/>
              <p:cNvSpPr>
                <a:spLocks noChangeAspect="1" noChangeArrowheads="1"/>
              </p:cNvSpPr>
              <p:nvPr>
                <p:custDataLst>
                  <p:tags r:id="rId22"/>
                </p:custDataLst>
              </p:nvPr>
            </p:nvSpPr>
            <p:spPr bwMode="gray">
              <a:xfrm>
                <a:off x="4495" y="1447"/>
                <a:ext cx="160" cy="160"/>
              </a:xfrm>
              <a:prstGeom prst="arc">
                <a:avLst>
                  <a:gd name="adj1" fmla="val 16200000"/>
                  <a:gd name="adj2" fmla="val 162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grpSp>
        <p:grpSp>
          <p:nvGrpSpPr>
            <p:cNvPr id="84" name="MoonLegend3"/>
            <p:cNvGrpSpPr>
              <a:grpSpLocks noChangeAspect="1"/>
            </p:cNvGrpSpPr>
            <p:nvPr>
              <p:custDataLst>
                <p:tags r:id="rId13"/>
              </p:custDataLst>
            </p:nvPr>
          </p:nvGrpSpPr>
          <p:grpSpPr bwMode="gray">
            <a:xfrm>
              <a:off x="5894005" y="3251543"/>
              <a:ext cx="209550" cy="209551"/>
              <a:chOff x="4495" y="1205"/>
              <a:chExt cx="160" cy="160"/>
            </a:xfrm>
          </p:grpSpPr>
          <p:sp>
            <p:nvSpPr>
              <p:cNvPr id="90" name="Oval 47"/>
              <p:cNvSpPr>
                <a:spLocks noChangeAspect="1" noChangeArrowheads="1"/>
              </p:cNvSpPr>
              <p:nvPr>
                <p:custDataLst>
                  <p:tags r:id="rId19"/>
                </p:custDataLst>
              </p:nvPr>
            </p:nvSpPr>
            <p:spPr bwMode="gray">
              <a:xfrm>
                <a:off x="4495" y="1205"/>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91" name="Arc 48"/>
              <p:cNvSpPr>
                <a:spLocks noChangeAspect="1"/>
              </p:cNvSpPr>
              <p:nvPr>
                <p:custDataLst>
                  <p:tags r:id="rId20"/>
                </p:custDataLst>
              </p:nvPr>
            </p:nvSpPr>
            <p:spPr bwMode="gray">
              <a:xfrm>
                <a:off x="4495" y="1205"/>
                <a:ext cx="160" cy="160"/>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grpSp>
        <p:sp>
          <p:nvSpPr>
            <p:cNvPr id="85" name="Legend1"/>
            <p:cNvSpPr>
              <a:spLocks noChangeArrowheads="1"/>
            </p:cNvSpPr>
            <p:nvPr>
              <p:custDataLst>
                <p:tags r:id="rId14"/>
              </p:custDataLst>
            </p:nvPr>
          </p:nvSpPr>
          <p:spPr bwMode="gray">
            <a:xfrm>
              <a:off x="6214680" y="2696542"/>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sp>
          <p:nvSpPr>
            <p:cNvPr id="86" name="Legend2"/>
            <p:cNvSpPr>
              <a:spLocks noChangeArrowheads="1"/>
            </p:cNvSpPr>
            <p:nvPr>
              <p:custDataLst>
                <p:tags r:id="rId15"/>
              </p:custDataLst>
            </p:nvPr>
          </p:nvSpPr>
          <p:spPr bwMode="gray">
            <a:xfrm>
              <a:off x="6214680" y="2974156"/>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a:latin typeface="+mn-lt"/>
                  <a:ea typeface="+mn-ea"/>
                </a:rPr>
                <a:t>Legend</a:t>
              </a:r>
              <a:endParaRPr lang="en-US" sz="1400" baseline="0" dirty="0">
                <a:latin typeface="+mn-lt"/>
                <a:ea typeface="+mn-ea"/>
              </a:endParaRPr>
            </a:p>
          </p:txBody>
        </p:sp>
        <p:sp>
          <p:nvSpPr>
            <p:cNvPr id="87" name="Legend3"/>
            <p:cNvSpPr>
              <a:spLocks noChangeArrowheads="1"/>
            </p:cNvSpPr>
            <p:nvPr>
              <p:custDataLst>
                <p:tags r:id="rId16"/>
              </p:custDataLst>
            </p:nvPr>
          </p:nvSpPr>
          <p:spPr bwMode="gray">
            <a:xfrm>
              <a:off x="6214680" y="3248596"/>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sp>
          <p:nvSpPr>
            <p:cNvPr id="88" name="Legend4"/>
            <p:cNvSpPr>
              <a:spLocks noChangeArrowheads="1"/>
            </p:cNvSpPr>
            <p:nvPr>
              <p:custDataLst>
                <p:tags r:id="rId17"/>
              </p:custDataLst>
            </p:nvPr>
          </p:nvSpPr>
          <p:spPr bwMode="gray">
            <a:xfrm>
              <a:off x="6214680" y="3521448"/>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sp>
          <p:nvSpPr>
            <p:cNvPr id="89" name="Legend5"/>
            <p:cNvSpPr>
              <a:spLocks noChangeArrowheads="1"/>
            </p:cNvSpPr>
            <p:nvPr>
              <p:custDataLst>
                <p:tags r:id="rId18"/>
              </p:custDataLst>
            </p:nvPr>
          </p:nvSpPr>
          <p:spPr bwMode="gray">
            <a:xfrm>
              <a:off x="6214680" y="3796682"/>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a:latin typeface="+mn-lt"/>
                  <a:ea typeface="+mn-ea"/>
                </a:rPr>
                <a:t>Legend</a:t>
              </a:r>
              <a:endParaRPr lang="en-US" sz="1400" baseline="0" dirty="0">
                <a:latin typeface="+mn-lt"/>
                <a:ea typeface="+mn-ea"/>
              </a:endParaRPr>
            </a:p>
          </p:txBody>
        </p:sp>
      </p:grpSp>
    </p:spTree>
    <p:extLst>
      <p:ext uri="{BB962C8B-B14F-4D97-AF65-F5344CB8AC3E}">
        <p14:creationId xmlns:p14="http://schemas.microsoft.com/office/powerpoint/2010/main" val="380601744"/>
      </p:ext>
    </p:extLst>
  </p:cSld>
  <p:clrMap bg1="lt1" tx1="dk1" bg2="lt2" tx2="dk2" accent1="accent1" accent2="accent2" accent3="accent3" accent4="accent4" accent5="accent5" accent6="accent6" hlink="hlink" folHlink="folHlink"/>
  <p:sldLayoutIdLst>
    <p:sldLayoutId id="2147483686" r:id="rId1"/>
    <p:sldLayoutId id="2147483687" r:id="rId2"/>
    <p:sldLayoutId id="2147483688" r:id="rId3"/>
    <p:sldLayoutId id="2147483689" r:id="rId4"/>
  </p:sldLayoutIdLst>
  <p:txStyles>
    <p:titleStyle>
      <a:lvl1pPr algn="l" defTabSz="895350" rtl="0" eaLnBrk="1" fontAlgn="base" hangingPunct="1">
        <a:spcBef>
          <a:spcPct val="0"/>
        </a:spcBef>
        <a:spcAft>
          <a:spcPct val="0"/>
        </a:spcAft>
        <a:tabLst>
          <a:tab pos="269875" algn="l"/>
        </a:tabLst>
        <a:defRPr sz="2000" b="0" baseline="0">
          <a:solidFill>
            <a:schemeClr val="tx2"/>
          </a:solidFill>
          <a:latin typeface="+mj-lt"/>
          <a:ea typeface="+mj-ea"/>
          <a:cs typeface="+mj-cs"/>
        </a:defRPr>
      </a:lvl1pPr>
      <a:lvl2pPr algn="l" defTabSz="895350" rtl="0" eaLnBrk="1" fontAlgn="base" hangingPunct="1">
        <a:spcBef>
          <a:spcPct val="0"/>
        </a:spcBef>
        <a:spcAft>
          <a:spcPct val="0"/>
        </a:spcAft>
        <a:defRPr sz="1900" b="1">
          <a:solidFill>
            <a:schemeClr val="tx2"/>
          </a:solidFill>
          <a:latin typeface="Arial" charset="0"/>
        </a:defRPr>
      </a:lvl2pPr>
      <a:lvl3pPr algn="l" defTabSz="895350" rtl="0" eaLnBrk="1" fontAlgn="base" hangingPunct="1">
        <a:spcBef>
          <a:spcPct val="0"/>
        </a:spcBef>
        <a:spcAft>
          <a:spcPct val="0"/>
        </a:spcAft>
        <a:defRPr sz="1900" b="1">
          <a:solidFill>
            <a:schemeClr val="tx2"/>
          </a:solidFill>
          <a:latin typeface="Arial" charset="0"/>
        </a:defRPr>
      </a:lvl3pPr>
      <a:lvl4pPr algn="l" defTabSz="895350" rtl="0" eaLnBrk="1" fontAlgn="base" hangingPunct="1">
        <a:spcBef>
          <a:spcPct val="0"/>
        </a:spcBef>
        <a:spcAft>
          <a:spcPct val="0"/>
        </a:spcAft>
        <a:defRPr sz="1900" b="1">
          <a:solidFill>
            <a:schemeClr val="tx2"/>
          </a:solidFill>
          <a:latin typeface="Arial" charset="0"/>
        </a:defRPr>
      </a:lvl4pPr>
      <a:lvl5pPr algn="l" defTabSz="895350" rtl="0" eaLnBrk="1" fontAlgn="base" hangingPunct="1">
        <a:spcBef>
          <a:spcPct val="0"/>
        </a:spcBef>
        <a:spcAft>
          <a:spcPct val="0"/>
        </a:spcAft>
        <a:defRPr sz="1900" b="1">
          <a:solidFill>
            <a:schemeClr val="tx2"/>
          </a:solidFill>
          <a:latin typeface="Arial" charset="0"/>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p:titleStyle>
    <p:bodyStyle>
      <a:lvl1pPr marL="0" indent="0" algn="l" defTabSz="895350" rtl="0" eaLnBrk="1" fontAlgn="base" hangingPunct="1">
        <a:spcBef>
          <a:spcPct val="0"/>
        </a:spcBef>
        <a:spcAft>
          <a:spcPct val="0"/>
        </a:spcAft>
        <a:buClr>
          <a:schemeClr val="tx2"/>
        </a:buClr>
        <a:buSzPct val="100000"/>
        <a:defRPr sz="14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4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4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4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4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ext>
  </p:extLst>
</p:sldMaster>
</file>

<file path=ppt/slideMasters/slideMaster40.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7"/>
            </p:custDataLst>
            <p:extLst>
              <p:ext uri="{D42A27DB-BD31-4B8C-83A1-F6EECF244321}">
                <p14:modId xmlns:p14="http://schemas.microsoft.com/office/powerpoint/2010/main" val="3084345526"/>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99700" name="think-cell Slide" r:id="rId36" imgW="270" imgH="270" progId="TCLayout.ActiveDocument.1">
                  <p:embed/>
                </p:oleObj>
              </mc:Choice>
              <mc:Fallback>
                <p:oleObj name="think-cell Slide" r:id="rId36" imgW="270" imgH="270" progId="TCLayout.ActiveDocument.1">
                  <p:embed/>
                  <p:pic>
                    <p:nvPicPr>
                      <p:cNvPr id="2" name="Object 1" hidden="1"/>
                      <p:cNvPicPr/>
                      <p:nvPr/>
                    </p:nvPicPr>
                    <p:blipFill>
                      <a:blip r:embed="rId37"/>
                      <a:stretch>
                        <a:fillRect/>
                      </a:stretch>
                    </p:blipFill>
                    <p:spPr>
                      <a:xfrm>
                        <a:off x="0" y="0"/>
                        <a:ext cx="158750" cy="158750"/>
                      </a:xfrm>
                      <a:prstGeom prst="rect">
                        <a:avLst/>
                      </a:prstGeom>
                    </p:spPr>
                  </p:pic>
                </p:oleObj>
              </mc:Fallback>
            </mc:AlternateContent>
          </a:graphicData>
        </a:graphic>
      </p:graphicFrame>
      <p:sp>
        <p:nvSpPr>
          <p:cNvPr id="6" name="Rectangle 5" hidden="1"/>
          <p:cNvSpPr/>
          <p:nvPr>
            <p:custDataLst>
              <p:tags r:id="rId8"/>
            </p:custDataLst>
          </p:nvPr>
        </p:nvSpPr>
        <p:spPr bwMode="auto">
          <a:xfrm>
            <a:off x="0" y="0"/>
            <a:ext cx="158750" cy="158750"/>
          </a:xfrm>
          <a:prstGeom prst="rect">
            <a:avLst/>
          </a:prstGeom>
          <a:solidFill>
            <a:schemeClr val="bg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dirty="0">
              <a:solidFill>
                <a:srgbClr val="000000"/>
              </a:solidFill>
              <a:sym typeface="Arial" panose="020B0604020202020204" pitchFamily="34" charset="0"/>
            </a:endParaRPr>
          </a:p>
        </p:txBody>
      </p:sp>
      <p:sp>
        <p:nvSpPr>
          <p:cNvPr id="1034" name="Working Draft" hidden="1"/>
          <p:cNvSpPr txBox="1">
            <a:spLocks noChangeArrowheads="1"/>
          </p:cNvSpPr>
          <p:nvPr/>
        </p:nvSpPr>
        <p:spPr bwMode="gray">
          <a:xfrm rot="5400000">
            <a:off x="7966656" y="1940591"/>
            <a:ext cx="1849865"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600" baseline="0">
                <a:solidFill>
                  <a:srgbClr val="808080"/>
                </a:solidFill>
                <a:latin typeface="+mn-lt"/>
                <a:ea typeface="+mn-ea"/>
              </a:rPr>
              <a:t>Last Modified 21/05/2018 17:44 India Standard Time</a:t>
            </a:r>
            <a:endParaRPr lang="en-US" baseline="0" dirty="0">
              <a:solidFill>
                <a:srgbClr val="808080"/>
              </a:solidFill>
              <a:latin typeface="+mn-lt"/>
              <a:ea typeface="+mn-ea"/>
            </a:endParaRPr>
          </a:p>
        </p:txBody>
      </p:sp>
      <p:sp>
        <p:nvSpPr>
          <p:cNvPr id="1035" name="Printed" hidden="1"/>
          <p:cNvSpPr txBox="1">
            <a:spLocks noChangeArrowheads="1"/>
          </p:cNvSpPr>
          <p:nvPr/>
        </p:nvSpPr>
        <p:spPr bwMode="gray">
          <a:xfrm rot="5400000">
            <a:off x="8768958" y="4114417"/>
            <a:ext cx="245260"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600" baseline="0" dirty="0">
                <a:solidFill>
                  <a:srgbClr val="808080"/>
                </a:solidFill>
                <a:latin typeface="+mn-lt"/>
                <a:ea typeface="+mn-ea"/>
              </a:rPr>
              <a:t>Printed</a:t>
            </a:r>
            <a:endParaRPr lang="en-US" baseline="0" dirty="0">
              <a:solidFill>
                <a:srgbClr val="808080"/>
              </a:solidFill>
              <a:latin typeface="+mn-lt"/>
              <a:ea typeface="+mn-ea"/>
            </a:endParaRPr>
          </a:p>
        </p:txBody>
      </p:sp>
      <p:sp>
        <p:nvSpPr>
          <p:cNvPr id="19" name="Title Placeholder 2"/>
          <p:cNvSpPr>
            <a:spLocks noGrp="1" noChangeArrowheads="1"/>
          </p:cNvSpPr>
          <p:nvPr>
            <p:ph type="title"/>
          </p:nvPr>
        </p:nvSpPr>
        <p:spPr bwMode="gray">
          <a:xfrm>
            <a:off x="119063" y="230188"/>
            <a:ext cx="8618537"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latinLnBrk="0"/>
            <a:r>
              <a:rPr lang="en-US"/>
              <a:t>Click to edit Master title style</a:t>
            </a:r>
            <a:endParaRPr lang="en-US" noProof="0" dirty="0"/>
          </a:p>
        </p:txBody>
      </p:sp>
      <p:sp>
        <p:nvSpPr>
          <p:cNvPr id="10" name="1. On-page tracker" hidden="1"/>
          <p:cNvSpPr>
            <a:spLocks noChangeArrowheads="1"/>
          </p:cNvSpPr>
          <p:nvPr/>
        </p:nvSpPr>
        <p:spPr bwMode="gray">
          <a:xfrm>
            <a:off x="119063" y="75764"/>
            <a:ext cx="490519"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800" cap="all" baseline="0" dirty="0">
                <a:solidFill>
                  <a:schemeClr val="accent6"/>
                </a:solidFill>
                <a:latin typeface="+mn-lt"/>
                <a:ea typeface="+mn-ea"/>
              </a:rPr>
              <a:t>Tracker</a:t>
            </a:r>
          </a:p>
        </p:txBody>
      </p:sp>
      <p:sp>
        <p:nvSpPr>
          <p:cNvPr id="11" name="3. Unit of measure" hidden="1"/>
          <p:cNvSpPr txBox="1">
            <a:spLocks noChangeArrowheads="1"/>
          </p:cNvSpPr>
          <p:nvPr/>
        </p:nvSpPr>
        <p:spPr bwMode="gray">
          <a:xfrm>
            <a:off x="119063" y="554865"/>
            <a:ext cx="8618537"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600" baseline="0" dirty="0">
                <a:solidFill>
                  <a:schemeClr val="accent6"/>
                </a:solidFill>
                <a:latin typeface="+mn-lt"/>
                <a:ea typeface="+mn-ea"/>
              </a:rPr>
              <a:t>Unit of measure</a:t>
            </a:r>
          </a:p>
        </p:txBody>
      </p:sp>
      <p:grpSp>
        <p:nvGrpSpPr>
          <p:cNvPr id="4" name="Slide Elements" hidden="1"/>
          <p:cNvGrpSpPr/>
          <p:nvPr/>
        </p:nvGrpSpPr>
        <p:grpSpPr bwMode="gray">
          <a:xfrm>
            <a:off x="119063" y="6305945"/>
            <a:ext cx="8618537" cy="325438"/>
            <a:chOff x="119063" y="6305945"/>
            <a:chExt cx="8618537" cy="325438"/>
          </a:xfrm>
        </p:grpSpPr>
        <p:sp>
          <p:nvSpPr>
            <p:cNvPr id="13" name="4. Footnote"/>
            <p:cNvSpPr txBox="1">
              <a:spLocks noChangeArrowheads="1"/>
            </p:cNvSpPr>
            <p:nvPr/>
          </p:nvSpPr>
          <p:spPr bwMode="gray">
            <a:xfrm>
              <a:off x="119063" y="6305945"/>
              <a:ext cx="8618537" cy="123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800" baseline="0" dirty="0">
                  <a:solidFill>
                    <a:schemeClr val="accent6"/>
                  </a:solidFill>
                  <a:latin typeface="+mn-lt"/>
                  <a:ea typeface="+mn-ea"/>
                </a:rPr>
                <a:t>1 Footnote</a:t>
              </a:r>
            </a:p>
          </p:txBody>
        </p:sp>
        <p:sp>
          <p:nvSpPr>
            <p:cNvPr id="14" name="5. Source"/>
            <p:cNvSpPr>
              <a:spLocks noChangeArrowheads="1"/>
            </p:cNvSpPr>
            <p:nvPr/>
          </p:nvSpPr>
          <p:spPr bwMode="gray">
            <a:xfrm>
              <a:off x="119063" y="6507558"/>
              <a:ext cx="7200000" cy="123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marL="609600" indent="-609600" defTabSz="895350">
                <a:tabLst>
                  <a:tab pos="612775" algn="l"/>
                </a:tabLst>
              </a:pPr>
              <a:r>
                <a:rPr lang="en-US" sz="800" baseline="0" dirty="0">
                  <a:solidFill>
                    <a:schemeClr val="accent6"/>
                  </a:solidFill>
                  <a:latin typeface="+mn-lt"/>
                  <a:ea typeface="+mn-ea"/>
                </a:rPr>
                <a:t>SOURCE: Source</a:t>
              </a:r>
            </a:p>
          </p:txBody>
        </p:sp>
      </p:grpSp>
      <p:sp>
        <p:nvSpPr>
          <p:cNvPr id="3" name="Text Placeholder 2"/>
          <p:cNvSpPr>
            <a:spLocks noGrp="1"/>
          </p:cNvSpPr>
          <p:nvPr>
            <p:ph type="body" idx="1"/>
          </p:nvPr>
        </p:nvSpPr>
        <p:spPr bwMode="gray">
          <a:xfrm>
            <a:off x="1452564" y="1951380"/>
            <a:ext cx="4302125" cy="1077218"/>
          </a:xfrm>
          <a:prstGeom prst="rect">
            <a:avLst/>
          </a:prstGeom>
        </p:spPr>
        <p:txBody>
          <a:bodyPr vert="horz" lIns="0" tIns="0" rIns="0" bIns="0" rtlCol="0">
            <a:spAutoFit/>
          </a:bodyPr>
          <a:lstStyle/>
          <a:p>
            <a:pPr lvl="0" latinLnBrk="0"/>
            <a:r>
              <a:rPr lang="en-US"/>
              <a:t>Edit Master text styles</a:t>
            </a:r>
          </a:p>
          <a:p>
            <a:pPr lvl="1" latinLnBrk="0"/>
            <a:r>
              <a:rPr lang="en-US"/>
              <a:t>Second level</a:t>
            </a:r>
          </a:p>
          <a:p>
            <a:pPr lvl="2" latinLnBrk="0"/>
            <a:r>
              <a:rPr lang="en-US"/>
              <a:t>Third level</a:t>
            </a:r>
          </a:p>
          <a:p>
            <a:pPr lvl="3" latinLnBrk="0"/>
            <a:r>
              <a:rPr lang="en-US"/>
              <a:t>Fourth level</a:t>
            </a:r>
          </a:p>
          <a:p>
            <a:pPr lvl="4" latinLnBrk="0"/>
            <a:r>
              <a:rPr lang="en-US"/>
              <a:t>Fifth level</a:t>
            </a:r>
            <a:endParaRPr lang="en-US" dirty="0"/>
          </a:p>
        </p:txBody>
      </p:sp>
      <p:grpSp>
        <p:nvGrpSpPr>
          <p:cNvPr id="15" name="ACET" hidden="1"/>
          <p:cNvGrpSpPr>
            <a:grpSpLocks/>
          </p:cNvGrpSpPr>
          <p:nvPr/>
        </p:nvGrpSpPr>
        <p:grpSpPr bwMode="gray">
          <a:xfrm>
            <a:off x="1452563" y="1257754"/>
            <a:ext cx="4264025" cy="508000"/>
            <a:chOff x="915" y="710"/>
            <a:chExt cx="2686" cy="320"/>
          </a:xfrm>
        </p:grpSpPr>
        <p:cxnSp>
          <p:nvCxnSpPr>
            <p:cNvPr id="16" name="AutoShape 249"/>
            <p:cNvCxnSpPr>
              <a:cxnSpLocks noChangeShapeType="1"/>
              <a:stCxn id="18" idx="4"/>
              <a:endCxn id="18" idx="6"/>
            </p:cNvCxnSpPr>
            <p:nvPr/>
          </p:nvCxnSpPr>
          <p:spPr bwMode="gray">
            <a:xfrm>
              <a:off x="915" y="1030"/>
              <a:ext cx="2686" cy="0"/>
            </a:xfrm>
            <a:prstGeom prst="straightConnector1">
              <a:avLst/>
            </a:prstGeom>
            <a:noFill/>
            <a:ln w="9525">
              <a:solidFill>
                <a:schemeClr val="accent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8" name="AutoShape 250"/>
            <p:cNvSpPr>
              <a:spLocks noChangeArrowheads="1"/>
            </p:cNvSpPr>
            <p:nvPr/>
          </p:nvSpPr>
          <p:spPr bwMode="gray">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US" b="1" baseline="0" dirty="0">
                  <a:solidFill>
                    <a:srgbClr val="000000"/>
                  </a:solidFill>
                  <a:latin typeface="+mn-lt"/>
                  <a:ea typeface="+mn-ea"/>
                </a:rPr>
                <a:t>Title</a:t>
              </a:r>
            </a:p>
            <a:p>
              <a:r>
                <a:rPr lang="en-US" baseline="0" dirty="0">
                  <a:solidFill>
                    <a:schemeClr val="accent6"/>
                  </a:solidFill>
                  <a:latin typeface="+mn-lt"/>
                  <a:ea typeface="+mn-ea"/>
                </a:rPr>
                <a:t>Unit of measure</a:t>
              </a:r>
            </a:p>
          </p:txBody>
        </p:sp>
      </p:grpSp>
      <p:grpSp>
        <p:nvGrpSpPr>
          <p:cNvPr id="17" name="McKSticker" hidden="1"/>
          <p:cNvGrpSpPr/>
          <p:nvPr/>
        </p:nvGrpSpPr>
        <p:grpSpPr bwMode="gray">
          <a:xfrm>
            <a:off x="8264265" y="285750"/>
            <a:ext cx="473335" cy="150811"/>
            <a:chOff x="8267440" y="285750"/>
            <a:chExt cx="473335" cy="150811"/>
          </a:xfrm>
        </p:grpSpPr>
        <p:sp>
          <p:nvSpPr>
            <p:cNvPr id="20" name="StickerRectangle"/>
            <p:cNvSpPr>
              <a:spLocks noChangeArrowheads="1"/>
            </p:cNvSpPr>
            <p:nvPr/>
          </p:nvSpPr>
          <p:spPr bwMode="gray">
            <a:xfrm>
              <a:off x="8267440" y="285750"/>
              <a:ext cx="473335" cy="150811"/>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a:buClr>
                  <a:srgbClr val="002960"/>
                </a:buClr>
              </a:pPr>
              <a:r>
                <a:rPr lang="en-US" sz="800" baseline="0" dirty="0">
                  <a:solidFill>
                    <a:schemeClr val="accent6"/>
                  </a:solidFill>
                  <a:latin typeface="+mn-lt"/>
                  <a:ea typeface="+mn-ea"/>
                </a:rPr>
                <a:t>STICKER</a:t>
              </a:r>
            </a:p>
          </p:txBody>
        </p:sp>
        <p:cxnSp>
          <p:nvCxnSpPr>
            <p:cNvPr id="21" name="AutoShape 31"/>
            <p:cNvCxnSpPr>
              <a:cxnSpLocks noChangeShapeType="1"/>
              <a:stCxn id="20" idx="2"/>
              <a:endCxn id="20" idx="4"/>
            </p:cNvCxnSpPr>
            <p:nvPr/>
          </p:nvCxnSpPr>
          <p:spPr bwMode="gray">
            <a:xfrm>
              <a:off x="8267440" y="285750"/>
              <a:ext cx="0" cy="150811"/>
            </a:xfrm>
            <a:prstGeom prst="straightConnector1">
              <a:avLst/>
            </a:prstGeom>
            <a:noFill/>
            <a:ln w="9525">
              <a:solidFill>
                <a:schemeClr val="accent6"/>
              </a:solidFill>
              <a:round/>
              <a:headEnd/>
              <a:tailEnd/>
            </a:ln>
            <a:extLst>
              <a:ext uri="{909E8E84-426E-40DD-AFC4-6F175D3DCCD1}">
                <a14:hiddenFill xmlns:a14="http://schemas.microsoft.com/office/drawing/2010/main">
                  <a:noFill/>
                </a14:hiddenFill>
              </a:ext>
            </a:extLst>
          </p:spPr>
        </p:cxnSp>
        <p:cxnSp>
          <p:nvCxnSpPr>
            <p:cNvPr id="22" name="AutoShape 32"/>
            <p:cNvCxnSpPr>
              <a:cxnSpLocks noChangeShapeType="1"/>
              <a:stCxn id="20" idx="4"/>
              <a:endCxn id="20" idx="6"/>
            </p:cNvCxnSpPr>
            <p:nvPr/>
          </p:nvCxnSpPr>
          <p:spPr bwMode="gray">
            <a:xfrm>
              <a:off x="8267440" y="436561"/>
              <a:ext cx="473335" cy="0"/>
            </a:xfrm>
            <a:prstGeom prst="straightConnector1">
              <a:avLst/>
            </a:prstGeom>
            <a:noFill/>
            <a:ln w="25400">
              <a:solidFill>
                <a:schemeClr val="accent6"/>
              </a:solidFill>
              <a:round/>
              <a:headEnd/>
              <a:tailEnd/>
            </a:ln>
            <a:extLst>
              <a:ext uri="{909E8E84-426E-40DD-AFC4-6F175D3DCCD1}">
                <a14:hiddenFill xmlns:a14="http://schemas.microsoft.com/office/drawing/2010/main">
                  <a:noFill/>
                </a14:hiddenFill>
              </a:ext>
            </a:extLst>
          </p:spPr>
        </p:cxnSp>
      </p:grpSp>
      <p:sp>
        <p:nvSpPr>
          <p:cNvPr id="23" name="SlideBottomBar" hidden="1"/>
          <p:cNvSpPr/>
          <p:nvPr/>
        </p:nvSpPr>
        <p:spPr>
          <a:xfrm>
            <a:off x="8437547" y="6182120"/>
            <a:ext cx="45719" cy="123825"/>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aseline="0" dirty="0">
              <a:solidFill>
                <a:schemeClr val="tx1"/>
              </a:solidFill>
              <a:latin typeface="+mn-lt"/>
              <a:ea typeface="+mn-ea"/>
            </a:endParaRPr>
          </a:p>
        </p:txBody>
      </p:sp>
      <p:sp>
        <p:nvSpPr>
          <p:cNvPr id="24" name="doc id" hidden="1"/>
          <p:cNvSpPr txBox="1">
            <a:spLocks noChangeArrowheads="1"/>
          </p:cNvSpPr>
          <p:nvPr/>
        </p:nvSpPr>
        <p:spPr bwMode="white">
          <a:xfrm>
            <a:off x="8104473" y="36513"/>
            <a:ext cx="634716" cy="115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hangingPunct="1">
              <a:defRPr/>
            </a:pPr>
            <a:endParaRPr lang="en-US" sz="800" baseline="0" dirty="0">
              <a:solidFill>
                <a:schemeClr val="accent1"/>
              </a:solidFill>
              <a:latin typeface="+mn-lt"/>
              <a:ea typeface="+mn-ea"/>
            </a:endParaRPr>
          </a:p>
        </p:txBody>
      </p:sp>
      <p:grpSp>
        <p:nvGrpSpPr>
          <p:cNvPr id="63" name="LegendLines" hidden="1"/>
          <p:cNvGrpSpPr/>
          <p:nvPr/>
        </p:nvGrpSpPr>
        <p:grpSpPr>
          <a:xfrm>
            <a:off x="7551589" y="267815"/>
            <a:ext cx="1158292" cy="761545"/>
            <a:chOff x="7607284" y="279400"/>
            <a:chExt cx="1158292" cy="761545"/>
          </a:xfrm>
        </p:grpSpPr>
        <p:sp>
          <p:nvSpPr>
            <p:cNvPr id="64" name="LineLegend1"/>
            <p:cNvSpPr>
              <a:spLocks noChangeShapeType="1"/>
            </p:cNvSpPr>
            <p:nvPr/>
          </p:nvSpPr>
          <p:spPr bwMode="gray">
            <a:xfrm>
              <a:off x="7607284" y="387122"/>
              <a:ext cx="457200"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65" name="LineLegend2"/>
            <p:cNvSpPr>
              <a:spLocks noChangeShapeType="1"/>
            </p:cNvSpPr>
            <p:nvPr/>
          </p:nvSpPr>
          <p:spPr bwMode="gray">
            <a:xfrm>
              <a:off x="7607284" y="653822"/>
              <a:ext cx="457200"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66" name="LineLegend3"/>
            <p:cNvSpPr>
              <a:spLocks noChangeShapeType="1"/>
            </p:cNvSpPr>
            <p:nvPr/>
          </p:nvSpPr>
          <p:spPr bwMode="gray">
            <a:xfrm>
              <a:off x="7607284" y="933223"/>
              <a:ext cx="457200"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67" name="Legend1"/>
            <p:cNvSpPr>
              <a:spLocks noChangeArrowheads="1"/>
            </p:cNvSpPr>
            <p:nvPr>
              <p:custDataLst>
                <p:tags r:id="rId33"/>
              </p:custDataLst>
            </p:nvPr>
          </p:nvSpPr>
          <p:spPr bwMode="gray">
            <a:xfrm>
              <a:off x="8169259" y="279400"/>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sp>
          <p:nvSpPr>
            <p:cNvPr id="68" name="Legend2"/>
            <p:cNvSpPr>
              <a:spLocks noChangeArrowheads="1"/>
            </p:cNvSpPr>
            <p:nvPr>
              <p:custDataLst>
                <p:tags r:id="rId34"/>
              </p:custDataLst>
            </p:nvPr>
          </p:nvSpPr>
          <p:spPr bwMode="gray">
            <a:xfrm>
              <a:off x="8169259" y="546100"/>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a:latin typeface="+mn-lt"/>
                  <a:ea typeface="+mn-ea"/>
                </a:rPr>
                <a:t>Legend</a:t>
              </a:r>
              <a:endParaRPr lang="en-US" sz="1400" baseline="0" dirty="0">
                <a:latin typeface="+mn-lt"/>
                <a:ea typeface="+mn-ea"/>
              </a:endParaRPr>
            </a:p>
          </p:txBody>
        </p:sp>
        <p:sp>
          <p:nvSpPr>
            <p:cNvPr id="69" name="Legend3"/>
            <p:cNvSpPr>
              <a:spLocks noChangeArrowheads="1"/>
            </p:cNvSpPr>
            <p:nvPr>
              <p:custDataLst>
                <p:tags r:id="rId35"/>
              </p:custDataLst>
            </p:nvPr>
          </p:nvSpPr>
          <p:spPr bwMode="gray">
            <a:xfrm>
              <a:off x="8169259" y="825501"/>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grpSp>
      <p:grpSp>
        <p:nvGrpSpPr>
          <p:cNvPr id="70" name="LegendBoxes" hidden="1"/>
          <p:cNvGrpSpPr/>
          <p:nvPr/>
        </p:nvGrpSpPr>
        <p:grpSpPr>
          <a:xfrm>
            <a:off x="7859564" y="267919"/>
            <a:ext cx="850317" cy="1028245"/>
            <a:chOff x="5894005" y="919828"/>
            <a:chExt cx="850317" cy="1028245"/>
          </a:xfrm>
        </p:grpSpPr>
        <p:sp>
          <p:nvSpPr>
            <p:cNvPr id="71" name="RectangleLegend1"/>
            <p:cNvSpPr>
              <a:spLocks noChangeArrowheads="1"/>
            </p:cNvSpPr>
            <p:nvPr/>
          </p:nvSpPr>
          <p:spPr bwMode="gray">
            <a:xfrm>
              <a:off x="5894005" y="947381"/>
              <a:ext cx="165100" cy="160338"/>
            </a:xfrm>
            <a:prstGeom prst="rect">
              <a:avLst/>
            </a:prstGeom>
            <a:solidFill>
              <a:schemeClr val="accent1"/>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72" name="RectangleLegend2"/>
            <p:cNvSpPr>
              <a:spLocks noChangeArrowheads="1"/>
            </p:cNvSpPr>
            <p:nvPr/>
          </p:nvSpPr>
          <p:spPr bwMode="gray">
            <a:xfrm>
              <a:off x="5894005" y="1217256"/>
              <a:ext cx="165100" cy="160338"/>
            </a:xfrm>
            <a:prstGeom prst="rect">
              <a:avLst/>
            </a:prstGeom>
            <a:solidFill>
              <a:schemeClr val="accent2"/>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73" name="RectangleLegend3"/>
            <p:cNvSpPr>
              <a:spLocks noChangeArrowheads="1"/>
            </p:cNvSpPr>
            <p:nvPr/>
          </p:nvSpPr>
          <p:spPr bwMode="gray">
            <a:xfrm>
              <a:off x="5894005" y="1488719"/>
              <a:ext cx="165100" cy="160338"/>
            </a:xfrm>
            <a:prstGeom prst="rect">
              <a:avLst/>
            </a:prstGeom>
            <a:solidFill>
              <a:schemeClr val="accent3"/>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74" name="RectangleLegend4"/>
            <p:cNvSpPr>
              <a:spLocks noChangeArrowheads="1"/>
            </p:cNvSpPr>
            <p:nvPr/>
          </p:nvSpPr>
          <p:spPr bwMode="gray">
            <a:xfrm>
              <a:off x="5894005" y="1760182"/>
              <a:ext cx="165100" cy="160338"/>
            </a:xfrm>
            <a:prstGeom prst="rect">
              <a:avLst/>
            </a:prstGeom>
            <a:solidFill>
              <a:schemeClr val="accent4"/>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75" name="Legend1"/>
            <p:cNvSpPr>
              <a:spLocks noChangeArrowheads="1"/>
            </p:cNvSpPr>
            <p:nvPr>
              <p:custDataLst>
                <p:tags r:id="rId29"/>
              </p:custDataLst>
            </p:nvPr>
          </p:nvSpPr>
          <p:spPr bwMode="gray">
            <a:xfrm>
              <a:off x="6148005" y="919828"/>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sp>
          <p:nvSpPr>
            <p:cNvPr id="76" name="Legend2"/>
            <p:cNvSpPr>
              <a:spLocks noChangeArrowheads="1"/>
            </p:cNvSpPr>
            <p:nvPr>
              <p:custDataLst>
                <p:tags r:id="rId30"/>
              </p:custDataLst>
            </p:nvPr>
          </p:nvSpPr>
          <p:spPr bwMode="gray">
            <a:xfrm>
              <a:off x="6148005" y="1189703"/>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sp>
          <p:nvSpPr>
            <p:cNvPr id="77" name="Legend3"/>
            <p:cNvSpPr>
              <a:spLocks noChangeArrowheads="1"/>
            </p:cNvSpPr>
            <p:nvPr>
              <p:custDataLst>
                <p:tags r:id="rId31"/>
              </p:custDataLst>
            </p:nvPr>
          </p:nvSpPr>
          <p:spPr bwMode="gray">
            <a:xfrm>
              <a:off x="6148005" y="1461166"/>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sp>
          <p:nvSpPr>
            <p:cNvPr id="78" name="Legend4"/>
            <p:cNvSpPr>
              <a:spLocks noChangeArrowheads="1"/>
            </p:cNvSpPr>
            <p:nvPr>
              <p:custDataLst>
                <p:tags r:id="rId32"/>
              </p:custDataLst>
            </p:nvPr>
          </p:nvSpPr>
          <p:spPr bwMode="gray">
            <a:xfrm>
              <a:off x="6148005" y="1732629"/>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grpSp>
      <p:grpSp>
        <p:nvGrpSpPr>
          <p:cNvPr id="79" name="LegendMoons" hidden="1"/>
          <p:cNvGrpSpPr/>
          <p:nvPr/>
        </p:nvGrpSpPr>
        <p:grpSpPr>
          <a:xfrm>
            <a:off x="7792889" y="267414"/>
            <a:ext cx="916992" cy="1317003"/>
            <a:chOff x="5894005" y="2695123"/>
            <a:chExt cx="916992" cy="1317003"/>
          </a:xfrm>
        </p:grpSpPr>
        <p:grpSp>
          <p:nvGrpSpPr>
            <p:cNvPr id="80" name="MoonLegend1"/>
            <p:cNvGrpSpPr>
              <a:grpSpLocks noChangeAspect="1"/>
            </p:cNvGrpSpPr>
            <p:nvPr>
              <p:custDataLst>
                <p:tags r:id="rId9"/>
              </p:custDataLst>
            </p:nvPr>
          </p:nvGrpSpPr>
          <p:grpSpPr bwMode="gray">
            <a:xfrm>
              <a:off x="5894005" y="2695123"/>
              <a:ext cx="209550" cy="218282"/>
              <a:chOff x="4533" y="183"/>
              <a:chExt cx="144" cy="150"/>
            </a:xfrm>
          </p:grpSpPr>
          <p:sp>
            <p:nvSpPr>
              <p:cNvPr id="98" name="Oval 97"/>
              <p:cNvSpPr>
                <a:spLocks noChangeAspect="1" noChangeArrowheads="1"/>
              </p:cNvSpPr>
              <p:nvPr>
                <p:custDataLst>
                  <p:tags r:id="rId27"/>
                </p:custDataLst>
              </p:nvPr>
            </p:nvSpPr>
            <p:spPr bwMode="gray">
              <a:xfrm>
                <a:off x="4533" y="189"/>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99" name="Arc 98" hidden="1"/>
              <p:cNvSpPr>
                <a:spLocks noChangeAspect="1"/>
              </p:cNvSpPr>
              <p:nvPr>
                <p:custDataLst>
                  <p:tags r:id="rId28"/>
                </p:custDataLst>
              </p:nvPr>
            </p:nvSpPr>
            <p:spPr bwMode="gray">
              <a:xfrm>
                <a:off x="4533" y="183"/>
                <a:ext cx="144" cy="144"/>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grpSp>
        <p:grpSp>
          <p:nvGrpSpPr>
            <p:cNvPr id="81" name="MoonLegend2"/>
            <p:cNvGrpSpPr>
              <a:grpSpLocks noChangeAspect="1"/>
            </p:cNvGrpSpPr>
            <p:nvPr>
              <p:custDataLst>
                <p:tags r:id="rId10"/>
              </p:custDataLst>
            </p:nvPr>
          </p:nvGrpSpPr>
          <p:grpSpPr bwMode="gray">
            <a:xfrm>
              <a:off x="5894005" y="2977103"/>
              <a:ext cx="209550" cy="209551"/>
              <a:chOff x="1694" y="2051"/>
              <a:chExt cx="160" cy="160"/>
            </a:xfrm>
          </p:grpSpPr>
          <p:sp>
            <p:nvSpPr>
              <p:cNvPr id="96" name="Oval 41"/>
              <p:cNvSpPr>
                <a:spLocks noChangeAspect="1" noChangeArrowheads="1"/>
              </p:cNvSpPr>
              <p:nvPr>
                <p:custDataLst>
                  <p:tags r:id="rId25"/>
                </p:custDataLst>
              </p:nvPr>
            </p:nvSpPr>
            <p:spPr bwMode="gray">
              <a:xfrm>
                <a:off x="1694" y="2051"/>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97" name="Arc 42"/>
              <p:cNvSpPr>
                <a:spLocks noChangeAspect="1"/>
              </p:cNvSpPr>
              <p:nvPr>
                <p:custDataLst>
                  <p:tags r:id="rId26"/>
                </p:custDataLst>
              </p:nvPr>
            </p:nvSpPr>
            <p:spPr bwMode="gray">
              <a:xfrm>
                <a:off x="1694" y="2051"/>
                <a:ext cx="160" cy="160"/>
              </a:xfrm>
              <a:prstGeom prst="arc">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grpSp>
        <p:grpSp>
          <p:nvGrpSpPr>
            <p:cNvPr id="82" name="MoonLegend4"/>
            <p:cNvGrpSpPr>
              <a:grpSpLocks noChangeAspect="1"/>
            </p:cNvGrpSpPr>
            <p:nvPr>
              <p:custDataLst>
                <p:tags r:id="rId11"/>
              </p:custDataLst>
            </p:nvPr>
          </p:nvGrpSpPr>
          <p:grpSpPr bwMode="gray">
            <a:xfrm>
              <a:off x="5894005" y="3524395"/>
              <a:ext cx="209550" cy="209551"/>
              <a:chOff x="4495" y="1204"/>
              <a:chExt cx="160" cy="160"/>
            </a:xfrm>
          </p:grpSpPr>
          <p:sp>
            <p:nvSpPr>
              <p:cNvPr id="94" name="Oval 47"/>
              <p:cNvSpPr>
                <a:spLocks noChangeAspect="1" noChangeArrowheads="1"/>
              </p:cNvSpPr>
              <p:nvPr>
                <p:custDataLst>
                  <p:tags r:id="rId23"/>
                </p:custDataLst>
              </p:nvPr>
            </p:nvSpPr>
            <p:spPr bwMode="gray">
              <a:xfrm>
                <a:off x="4495" y="120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95" name="Arc 48"/>
              <p:cNvSpPr>
                <a:spLocks noChangeAspect="1"/>
              </p:cNvSpPr>
              <p:nvPr>
                <p:custDataLst>
                  <p:tags r:id="rId24"/>
                </p:custDataLst>
              </p:nvPr>
            </p:nvSpPr>
            <p:spPr bwMode="gray">
              <a:xfrm>
                <a:off x="4495" y="1204"/>
                <a:ext cx="160" cy="160"/>
              </a:xfrm>
              <a:prstGeom prst="arc">
                <a:avLst>
                  <a:gd name="adj1" fmla="val 16200000"/>
                  <a:gd name="adj2" fmla="val 108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grpSp>
        <p:grpSp>
          <p:nvGrpSpPr>
            <p:cNvPr id="83" name="MoonLegend5"/>
            <p:cNvGrpSpPr>
              <a:grpSpLocks noChangeAspect="1"/>
            </p:cNvGrpSpPr>
            <p:nvPr>
              <p:custDataLst>
                <p:tags r:id="rId12"/>
              </p:custDataLst>
            </p:nvPr>
          </p:nvGrpSpPr>
          <p:grpSpPr bwMode="gray">
            <a:xfrm>
              <a:off x="5894005" y="3799629"/>
              <a:ext cx="209550" cy="209551"/>
              <a:chOff x="4495" y="1447"/>
              <a:chExt cx="160" cy="160"/>
            </a:xfrm>
          </p:grpSpPr>
          <p:sp>
            <p:nvSpPr>
              <p:cNvPr id="92" name="Oval 50"/>
              <p:cNvSpPr>
                <a:spLocks noChangeAspect="1" noChangeArrowheads="1"/>
              </p:cNvSpPr>
              <p:nvPr>
                <p:custDataLst>
                  <p:tags r:id="rId21"/>
                </p:custDataLst>
              </p:nvPr>
            </p:nvSpPr>
            <p:spPr bwMode="gray">
              <a:xfrm>
                <a:off x="4495" y="1447"/>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93" name="Oval 51"/>
              <p:cNvSpPr>
                <a:spLocks noChangeAspect="1" noChangeArrowheads="1"/>
              </p:cNvSpPr>
              <p:nvPr>
                <p:custDataLst>
                  <p:tags r:id="rId22"/>
                </p:custDataLst>
              </p:nvPr>
            </p:nvSpPr>
            <p:spPr bwMode="gray">
              <a:xfrm>
                <a:off x="4495" y="1447"/>
                <a:ext cx="160" cy="160"/>
              </a:xfrm>
              <a:prstGeom prst="arc">
                <a:avLst>
                  <a:gd name="adj1" fmla="val 16200000"/>
                  <a:gd name="adj2" fmla="val 162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grpSp>
        <p:grpSp>
          <p:nvGrpSpPr>
            <p:cNvPr id="84" name="MoonLegend3"/>
            <p:cNvGrpSpPr>
              <a:grpSpLocks noChangeAspect="1"/>
            </p:cNvGrpSpPr>
            <p:nvPr>
              <p:custDataLst>
                <p:tags r:id="rId13"/>
              </p:custDataLst>
            </p:nvPr>
          </p:nvGrpSpPr>
          <p:grpSpPr bwMode="gray">
            <a:xfrm>
              <a:off x="5894005" y="3251543"/>
              <a:ext cx="209550" cy="209551"/>
              <a:chOff x="4495" y="1205"/>
              <a:chExt cx="160" cy="160"/>
            </a:xfrm>
          </p:grpSpPr>
          <p:sp>
            <p:nvSpPr>
              <p:cNvPr id="90" name="Oval 47"/>
              <p:cNvSpPr>
                <a:spLocks noChangeAspect="1" noChangeArrowheads="1"/>
              </p:cNvSpPr>
              <p:nvPr>
                <p:custDataLst>
                  <p:tags r:id="rId19"/>
                </p:custDataLst>
              </p:nvPr>
            </p:nvSpPr>
            <p:spPr bwMode="gray">
              <a:xfrm>
                <a:off x="4495" y="1205"/>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91" name="Arc 48"/>
              <p:cNvSpPr>
                <a:spLocks noChangeAspect="1"/>
              </p:cNvSpPr>
              <p:nvPr>
                <p:custDataLst>
                  <p:tags r:id="rId20"/>
                </p:custDataLst>
              </p:nvPr>
            </p:nvSpPr>
            <p:spPr bwMode="gray">
              <a:xfrm>
                <a:off x="4495" y="1205"/>
                <a:ext cx="160" cy="160"/>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grpSp>
        <p:sp>
          <p:nvSpPr>
            <p:cNvPr id="85" name="Legend1"/>
            <p:cNvSpPr>
              <a:spLocks noChangeArrowheads="1"/>
            </p:cNvSpPr>
            <p:nvPr>
              <p:custDataLst>
                <p:tags r:id="rId14"/>
              </p:custDataLst>
            </p:nvPr>
          </p:nvSpPr>
          <p:spPr bwMode="gray">
            <a:xfrm>
              <a:off x="6214680" y="2696542"/>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sp>
          <p:nvSpPr>
            <p:cNvPr id="86" name="Legend2"/>
            <p:cNvSpPr>
              <a:spLocks noChangeArrowheads="1"/>
            </p:cNvSpPr>
            <p:nvPr>
              <p:custDataLst>
                <p:tags r:id="rId15"/>
              </p:custDataLst>
            </p:nvPr>
          </p:nvSpPr>
          <p:spPr bwMode="gray">
            <a:xfrm>
              <a:off x="6214680" y="2974156"/>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a:latin typeface="+mn-lt"/>
                  <a:ea typeface="+mn-ea"/>
                </a:rPr>
                <a:t>Legend</a:t>
              </a:r>
              <a:endParaRPr lang="en-US" sz="1400" baseline="0" dirty="0">
                <a:latin typeface="+mn-lt"/>
                <a:ea typeface="+mn-ea"/>
              </a:endParaRPr>
            </a:p>
          </p:txBody>
        </p:sp>
        <p:sp>
          <p:nvSpPr>
            <p:cNvPr id="87" name="Legend3"/>
            <p:cNvSpPr>
              <a:spLocks noChangeArrowheads="1"/>
            </p:cNvSpPr>
            <p:nvPr>
              <p:custDataLst>
                <p:tags r:id="rId16"/>
              </p:custDataLst>
            </p:nvPr>
          </p:nvSpPr>
          <p:spPr bwMode="gray">
            <a:xfrm>
              <a:off x="6214680" y="3248596"/>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sp>
          <p:nvSpPr>
            <p:cNvPr id="88" name="Legend4"/>
            <p:cNvSpPr>
              <a:spLocks noChangeArrowheads="1"/>
            </p:cNvSpPr>
            <p:nvPr>
              <p:custDataLst>
                <p:tags r:id="rId17"/>
              </p:custDataLst>
            </p:nvPr>
          </p:nvSpPr>
          <p:spPr bwMode="gray">
            <a:xfrm>
              <a:off x="6214680" y="3521448"/>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sp>
          <p:nvSpPr>
            <p:cNvPr id="89" name="Legend5"/>
            <p:cNvSpPr>
              <a:spLocks noChangeArrowheads="1"/>
            </p:cNvSpPr>
            <p:nvPr>
              <p:custDataLst>
                <p:tags r:id="rId18"/>
              </p:custDataLst>
            </p:nvPr>
          </p:nvSpPr>
          <p:spPr bwMode="gray">
            <a:xfrm>
              <a:off x="6214680" y="3796682"/>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a:latin typeface="+mn-lt"/>
                  <a:ea typeface="+mn-ea"/>
                </a:rPr>
                <a:t>Legend</a:t>
              </a:r>
              <a:endParaRPr lang="en-US" sz="1400" baseline="0" dirty="0">
                <a:latin typeface="+mn-lt"/>
                <a:ea typeface="+mn-ea"/>
              </a:endParaRPr>
            </a:p>
          </p:txBody>
        </p:sp>
      </p:grpSp>
    </p:spTree>
    <p:extLst>
      <p:ext uri="{BB962C8B-B14F-4D97-AF65-F5344CB8AC3E}">
        <p14:creationId xmlns:p14="http://schemas.microsoft.com/office/powerpoint/2010/main" val="3336119187"/>
      </p:ext>
    </p:extLst>
  </p:cSld>
  <p:clrMap bg1="lt1" tx1="dk1" bg2="lt2" tx2="dk2" accent1="accent1" accent2="accent2" accent3="accent3" accent4="accent4" accent5="accent5" accent6="accent6" hlink="hlink" folHlink="folHlink"/>
  <p:sldLayoutIdLst>
    <p:sldLayoutId id="2147483866" r:id="rId1"/>
    <p:sldLayoutId id="2147483867" r:id="rId2"/>
    <p:sldLayoutId id="2147483868" r:id="rId3"/>
    <p:sldLayoutId id="2147483869" r:id="rId4"/>
  </p:sldLayoutIdLst>
  <p:txStyles>
    <p:titleStyle>
      <a:lvl1pPr algn="l" defTabSz="895350" rtl="0" eaLnBrk="1" fontAlgn="base" hangingPunct="1">
        <a:spcBef>
          <a:spcPct val="0"/>
        </a:spcBef>
        <a:spcAft>
          <a:spcPct val="0"/>
        </a:spcAft>
        <a:tabLst>
          <a:tab pos="269875" algn="l"/>
        </a:tabLst>
        <a:defRPr sz="2000" b="0" baseline="0">
          <a:solidFill>
            <a:schemeClr val="tx2"/>
          </a:solidFill>
          <a:latin typeface="+mj-lt"/>
          <a:ea typeface="+mj-ea"/>
          <a:cs typeface="+mj-cs"/>
        </a:defRPr>
      </a:lvl1pPr>
      <a:lvl2pPr algn="l" defTabSz="895350" rtl="0" eaLnBrk="1" fontAlgn="base" hangingPunct="1">
        <a:spcBef>
          <a:spcPct val="0"/>
        </a:spcBef>
        <a:spcAft>
          <a:spcPct val="0"/>
        </a:spcAft>
        <a:defRPr sz="1900" b="1">
          <a:solidFill>
            <a:schemeClr val="tx2"/>
          </a:solidFill>
          <a:latin typeface="Arial" charset="0"/>
        </a:defRPr>
      </a:lvl2pPr>
      <a:lvl3pPr algn="l" defTabSz="895350" rtl="0" eaLnBrk="1" fontAlgn="base" hangingPunct="1">
        <a:spcBef>
          <a:spcPct val="0"/>
        </a:spcBef>
        <a:spcAft>
          <a:spcPct val="0"/>
        </a:spcAft>
        <a:defRPr sz="1900" b="1">
          <a:solidFill>
            <a:schemeClr val="tx2"/>
          </a:solidFill>
          <a:latin typeface="Arial" charset="0"/>
        </a:defRPr>
      </a:lvl3pPr>
      <a:lvl4pPr algn="l" defTabSz="895350" rtl="0" eaLnBrk="1" fontAlgn="base" hangingPunct="1">
        <a:spcBef>
          <a:spcPct val="0"/>
        </a:spcBef>
        <a:spcAft>
          <a:spcPct val="0"/>
        </a:spcAft>
        <a:defRPr sz="1900" b="1">
          <a:solidFill>
            <a:schemeClr val="tx2"/>
          </a:solidFill>
          <a:latin typeface="Arial" charset="0"/>
        </a:defRPr>
      </a:lvl4pPr>
      <a:lvl5pPr algn="l" defTabSz="895350" rtl="0" eaLnBrk="1" fontAlgn="base" hangingPunct="1">
        <a:spcBef>
          <a:spcPct val="0"/>
        </a:spcBef>
        <a:spcAft>
          <a:spcPct val="0"/>
        </a:spcAft>
        <a:defRPr sz="1900" b="1">
          <a:solidFill>
            <a:schemeClr val="tx2"/>
          </a:solidFill>
          <a:latin typeface="Arial" charset="0"/>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p:titleStyle>
    <p:bodyStyle>
      <a:lvl1pPr marL="0" indent="0" algn="l" defTabSz="895350" rtl="0" eaLnBrk="1" fontAlgn="base" hangingPunct="1">
        <a:spcBef>
          <a:spcPct val="0"/>
        </a:spcBef>
        <a:spcAft>
          <a:spcPct val="0"/>
        </a:spcAft>
        <a:buClr>
          <a:schemeClr val="tx2"/>
        </a:buClr>
        <a:buSzPct val="100000"/>
        <a:defRPr sz="14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4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4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4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4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ext>
  </p:extLst>
</p:sldMaster>
</file>

<file path=ppt/slideMasters/slideMaster4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7"/>
            </p:custDataLst>
            <p:extLst>
              <p:ext uri="{D42A27DB-BD31-4B8C-83A1-F6EECF244321}">
                <p14:modId xmlns:p14="http://schemas.microsoft.com/office/powerpoint/2010/main" val="976917511"/>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04820" name="think-cell Slide" r:id="rId36" imgW="270" imgH="270" progId="TCLayout.ActiveDocument.1">
                  <p:embed/>
                </p:oleObj>
              </mc:Choice>
              <mc:Fallback>
                <p:oleObj name="think-cell Slide" r:id="rId36" imgW="270" imgH="270" progId="TCLayout.ActiveDocument.1">
                  <p:embed/>
                  <p:pic>
                    <p:nvPicPr>
                      <p:cNvPr id="2" name="Object 1" hidden="1"/>
                      <p:cNvPicPr/>
                      <p:nvPr/>
                    </p:nvPicPr>
                    <p:blipFill>
                      <a:blip r:embed="rId37"/>
                      <a:stretch>
                        <a:fillRect/>
                      </a:stretch>
                    </p:blipFill>
                    <p:spPr>
                      <a:xfrm>
                        <a:off x="0" y="0"/>
                        <a:ext cx="158750" cy="158750"/>
                      </a:xfrm>
                      <a:prstGeom prst="rect">
                        <a:avLst/>
                      </a:prstGeom>
                    </p:spPr>
                  </p:pic>
                </p:oleObj>
              </mc:Fallback>
            </mc:AlternateContent>
          </a:graphicData>
        </a:graphic>
      </p:graphicFrame>
      <p:sp>
        <p:nvSpPr>
          <p:cNvPr id="6" name="Rectangle 5" hidden="1"/>
          <p:cNvSpPr/>
          <p:nvPr>
            <p:custDataLst>
              <p:tags r:id="rId8"/>
            </p:custDataLst>
          </p:nvPr>
        </p:nvSpPr>
        <p:spPr bwMode="auto">
          <a:xfrm>
            <a:off x="0" y="0"/>
            <a:ext cx="158750" cy="158750"/>
          </a:xfrm>
          <a:prstGeom prst="rect">
            <a:avLst/>
          </a:prstGeom>
          <a:solidFill>
            <a:schemeClr val="bg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dirty="0">
              <a:solidFill>
                <a:srgbClr val="000000"/>
              </a:solidFill>
              <a:sym typeface="Arial" panose="020B0604020202020204" pitchFamily="34" charset="0"/>
            </a:endParaRPr>
          </a:p>
        </p:txBody>
      </p:sp>
      <p:sp>
        <p:nvSpPr>
          <p:cNvPr id="1034" name="Working Draft" hidden="1"/>
          <p:cNvSpPr txBox="1">
            <a:spLocks noChangeArrowheads="1"/>
          </p:cNvSpPr>
          <p:nvPr/>
        </p:nvSpPr>
        <p:spPr bwMode="gray">
          <a:xfrm rot="5400000">
            <a:off x="7966656" y="1940591"/>
            <a:ext cx="1849865"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600" baseline="0">
                <a:solidFill>
                  <a:srgbClr val="808080"/>
                </a:solidFill>
                <a:latin typeface="+mn-lt"/>
                <a:ea typeface="+mn-ea"/>
              </a:rPr>
              <a:t>Last Modified 21/05/2018 17:44 India Standard Time</a:t>
            </a:r>
            <a:endParaRPr lang="en-US" baseline="0" dirty="0">
              <a:solidFill>
                <a:srgbClr val="808080"/>
              </a:solidFill>
              <a:latin typeface="+mn-lt"/>
              <a:ea typeface="+mn-ea"/>
            </a:endParaRPr>
          </a:p>
        </p:txBody>
      </p:sp>
      <p:sp>
        <p:nvSpPr>
          <p:cNvPr id="1035" name="Printed" hidden="1"/>
          <p:cNvSpPr txBox="1">
            <a:spLocks noChangeArrowheads="1"/>
          </p:cNvSpPr>
          <p:nvPr/>
        </p:nvSpPr>
        <p:spPr bwMode="gray">
          <a:xfrm rot="5400000">
            <a:off x="8768958" y="4114417"/>
            <a:ext cx="245260"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600" baseline="0" dirty="0">
                <a:solidFill>
                  <a:srgbClr val="808080"/>
                </a:solidFill>
                <a:latin typeface="+mn-lt"/>
                <a:ea typeface="+mn-ea"/>
              </a:rPr>
              <a:t>Printed</a:t>
            </a:r>
            <a:endParaRPr lang="en-US" baseline="0" dirty="0">
              <a:solidFill>
                <a:srgbClr val="808080"/>
              </a:solidFill>
              <a:latin typeface="+mn-lt"/>
              <a:ea typeface="+mn-ea"/>
            </a:endParaRPr>
          </a:p>
        </p:txBody>
      </p:sp>
      <p:sp>
        <p:nvSpPr>
          <p:cNvPr id="19" name="Title Placeholder 2"/>
          <p:cNvSpPr>
            <a:spLocks noGrp="1" noChangeArrowheads="1"/>
          </p:cNvSpPr>
          <p:nvPr>
            <p:ph type="title"/>
          </p:nvPr>
        </p:nvSpPr>
        <p:spPr bwMode="gray">
          <a:xfrm>
            <a:off x="119063" y="230188"/>
            <a:ext cx="8618537"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latinLnBrk="0"/>
            <a:r>
              <a:rPr lang="en-US"/>
              <a:t>Click to edit Master title style</a:t>
            </a:r>
            <a:endParaRPr lang="en-US" noProof="0" dirty="0"/>
          </a:p>
        </p:txBody>
      </p:sp>
      <p:sp>
        <p:nvSpPr>
          <p:cNvPr id="10" name="1. On-page tracker" hidden="1"/>
          <p:cNvSpPr>
            <a:spLocks noChangeArrowheads="1"/>
          </p:cNvSpPr>
          <p:nvPr/>
        </p:nvSpPr>
        <p:spPr bwMode="gray">
          <a:xfrm>
            <a:off x="119063" y="75764"/>
            <a:ext cx="490519"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800" cap="all" baseline="0" dirty="0">
                <a:solidFill>
                  <a:schemeClr val="accent6"/>
                </a:solidFill>
                <a:latin typeface="+mn-lt"/>
                <a:ea typeface="+mn-ea"/>
              </a:rPr>
              <a:t>Tracker</a:t>
            </a:r>
          </a:p>
        </p:txBody>
      </p:sp>
      <p:sp>
        <p:nvSpPr>
          <p:cNvPr id="11" name="3. Unit of measure" hidden="1"/>
          <p:cNvSpPr txBox="1">
            <a:spLocks noChangeArrowheads="1"/>
          </p:cNvSpPr>
          <p:nvPr/>
        </p:nvSpPr>
        <p:spPr bwMode="gray">
          <a:xfrm>
            <a:off x="119063" y="554865"/>
            <a:ext cx="8618537"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600" baseline="0" dirty="0">
                <a:solidFill>
                  <a:schemeClr val="accent6"/>
                </a:solidFill>
                <a:latin typeface="+mn-lt"/>
                <a:ea typeface="+mn-ea"/>
              </a:rPr>
              <a:t>Unit of measure</a:t>
            </a:r>
          </a:p>
        </p:txBody>
      </p:sp>
      <p:grpSp>
        <p:nvGrpSpPr>
          <p:cNvPr id="4" name="Slide Elements" hidden="1"/>
          <p:cNvGrpSpPr/>
          <p:nvPr/>
        </p:nvGrpSpPr>
        <p:grpSpPr bwMode="gray">
          <a:xfrm>
            <a:off x="119063" y="6305945"/>
            <a:ext cx="8618537" cy="325438"/>
            <a:chOff x="119063" y="6305945"/>
            <a:chExt cx="8618537" cy="325438"/>
          </a:xfrm>
        </p:grpSpPr>
        <p:sp>
          <p:nvSpPr>
            <p:cNvPr id="13" name="4. Footnote"/>
            <p:cNvSpPr txBox="1">
              <a:spLocks noChangeArrowheads="1"/>
            </p:cNvSpPr>
            <p:nvPr/>
          </p:nvSpPr>
          <p:spPr bwMode="gray">
            <a:xfrm>
              <a:off x="119063" y="6305945"/>
              <a:ext cx="8618537" cy="123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800" baseline="0" dirty="0">
                  <a:solidFill>
                    <a:schemeClr val="accent6"/>
                  </a:solidFill>
                  <a:latin typeface="+mn-lt"/>
                  <a:ea typeface="+mn-ea"/>
                </a:rPr>
                <a:t>1 Footnote</a:t>
              </a:r>
            </a:p>
          </p:txBody>
        </p:sp>
        <p:sp>
          <p:nvSpPr>
            <p:cNvPr id="14" name="5. Source"/>
            <p:cNvSpPr>
              <a:spLocks noChangeArrowheads="1"/>
            </p:cNvSpPr>
            <p:nvPr/>
          </p:nvSpPr>
          <p:spPr bwMode="gray">
            <a:xfrm>
              <a:off x="119063" y="6507558"/>
              <a:ext cx="7200000" cy="123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marL="609600" indent="-609600" defTabSz="895350">
                <a:tabLst>
                  <a:tab pos="612775" algn="l"/>
                </a:tabLst>
              </a:pPr>
              <a:r>
                <a:rPr lang="en-US" sz="800" baseline="0" dirty="0">
                  <a:solidFill>
                    <a:schemeClr val="accent6"/>
                  </a:solidFill>
                  <a:latin typeface="+mn-lt"/>
                  <a:ea typeface="+mn-ea"/>
                </a:rPr>
                <a:t>SOURCE: Source</a:t>
              </a:r>
            </a:p>
          </p:txBody>
        </p:sp>
      </p:grpSp>
      <p:sp>
        <p:nvSpPr>
          <p:cNvPr id="3" name="Text Placeholder 2"/>
          <p:cNvSpPr>
            <a:spLocks noGrp="1"/>
          </p:cNvSpPr>
          <p:nvPr>
            <p:ph type="body" idx="1"/>
          </p:nvPr>
        </p:nvSpPr>
        <p:spPr bwMode="gray">
          <a:xfrm>
            <a:off x="1452564" y="1951380"/>
            <a:ext cx="4302125" cy="1077218"/>
          </a:xfrm>
          <a:prstGeom prst="rect">
            <a:avLst/>
          </a:prstGeom>
        </p:spPr>
        <p:txBody>
          <a:bodyPr vert="horz" lIns="0" tIns="0" rIns="0" bIns="0" rtlCol="0">
            <a:spAutoFit/>
          </a:bodyPr>
          <a:lstStyle/>
          <a:p>
            <a:pPr lvl="0" latinLnBrk="0"/>
            <a:r>
              <a:rPr lang="en-US"/>
              <a:t>Edit Master text styles</a:t>
            </a:r>
          </a:p>
          <a:p>
            <a:pPr lvl="1" latinLnBrk="0"/>
            <a:r>
              <a:rPr lang="en-US"/>
              <a:t>Second level</a:t>
            </a:r>
          </a:p>
          <a:p>
            <a:pPr lvl="2" latinLnBrk="0"/>
            <a:r>
              <a:rPr lang="en-US"/>
              <a:t>Third level</a:t>
            </a:r>
          </a:p>
          <a:p>
            <a:pPr lvl="3" latinLnBrk="0"/>
            <a:r>
              <a:rPr lang="en-US"/>
              <a:t>Fourth level</a:t>
            </a:r>
          </a:p>
          <a:p>
            <a:pPr lvl="4" latinLnBrk="0"/>
            <a:r>
              <a:rPr lang="en-US"/>
              <a:t>Fifth level</a:t>
            </a:r>
            <a:endParaRPr lang="en-US" dirty="0"/>
          </a:p>
        </p:txBody>
      </p:sp>
      <p:grpSp>
        <p:nvGrpSpPr>
          <p:cNvPr id="15" name="ACET" hidden="1"/>
          <p:cNvGrpSpPr>
            <a:grpSpLocks/>
          </p:cNvGrpSpPr>
          <p:nvPr/>
        </p:nvGrpSpPr>
        <p:grpSpPr bwMode="gray">
          <a:xfrm>
            <a:off x="1452563" y="1257754"/>
            <a:ext cx="4264025" cy="508000"/>
            <a:chOff x="915" y="710"/>
            <a:chExt cx="2686" cy="320"/>
          </a:xfrm>
        </p:grpSpPr>
        <p:cxnSp>
          <p:nvCxnSpPr>
            <p:cNvPr id="16" name="AutoShape 249"/>
            <p:cNvCxnSpPr>
              <a:cxnSpLocks noChangeShapeType="1"/>
              <a:stCxn id="18" idx="4"/>
              <a:endCxn id="18" idx="6"/>
            </p:cNvCxnSpPr>
            <p:nvPr/>
          </p:nvCxnSpPr>
          <p:spPr bwMode="gray">
            <a:xfrm>
              <a:off x="915" y="1030"/>
              <a:ext cx="2686" cy="0"/>
            </a:xfrm>
            <a:prstGeom prst="straightConnector1">
              <a:avLst/>
            </a:prstGeom>
            <a:noFill/>
            <a:ln w="9525">
              <a:solidFill>
                <a:schemeClr val="accent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8" name="AutoShape 250"/>
            <p:cNvSpPr>
              <a:spLocks noChangeArrowheads="1"/>
            </p:cNvSpPr>
            <p:nvPr/>
          </p:nvSpPr>
          <p:spPr bwMode="gray">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US" b="1" baseline="0" dirty="0">
                  <a:solidFill>
                    <a:srgbClr val="000000"/>
                  </a:solidFill>
                  <a:latin typeface="+mn-lt"/>
                  <a:ea typeface="+mn-ea"/>
                </a:rPr>
                <a:t>Title</a:t>
              </a:r>
            </a:p>
            <a:p>
              <a:r>
                <a:rPr lang="en-US" baseline="0" dirty="0">
                  <a:solidFill>
                    <a:schemeClr val="accent6"/>
                  </a:solidFill>
                  <a:latin typeface="+mn-lt"/>
                  <a:ea typeface="+mn-ea"/>
                </a:rPr>
                <a:t>Unit of measure</a:t>
              </a:r>
            </a:p>
          </p:txBody>
        </p:sp>
      </p:grpSp>
      <p:grpSp>
        <p:nvGrpSpPr>
          <p:cNvPr id="17" name="McKSticker" hidden="1"/>
          <p:cNvGrpSpPr/>
          <p:nvPr/>
        </p:nvGrpSpPr>
        <p:grpSpPr bwMode="gray">
          <a:xfrm>
            <a:off x="8264265" y="285750"/>
            <a:ext cx="473335" cy="150811"/>
            <a:chOff x="8267440" y="285750"/>
            <a:chExt cx="473335" cy="150811"/>
          </a:xfrm>
        </p:grpSpPr>
        <p:sp>
          <p:nvSpPr>
            <p:cNvPr id="20" name="StickerRectangle"/>
            <p:cNvSpPr>
              <a:spLocks noChangeArrowheads="1"/>
            </p:cNvSpPr>
            <p:nvPr/>
          </p:nvSpPr>
          <p:spPr bwMode="gray">
            <a:xfrm>
              <a:off x="8267440" y="285750"/>
              <a:ext cx="473335" cy="150811"/>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a:buClr>
                  <a:srgbClr val="002960"/>
                </a:buClr>
              </a:pPr>
              <a:r>
                <a:rPr lang="en-US" sz="800" baseline="0" dirty="0">
                  <a:solidFill>
                    <a:schemeClr val="accent6"/>
                  </a:solidFill>
                  <a:latin typeface="+mn-lt"/>
                  <a:ea typeface="+mn-ea"/>
                </a:rPr>
                <a:t>STICKER</a:t>
              </a:r>
            </a:p>
          </p:txBody>
        </p:sp>
        <p:cxnSp>
          <p:nvCxnSpPr>
            <p:cNvPr id="21" name="AutoShape 31"/>
            <p:cNvCxnSpPr>
              <a:cxnSpLocks noChangeShapeType="1"/>
              <a:stCxn id="20" idx="2"/>
              <a:endCxn id="20" idx="4"/>
            </p:cNvCxnSpPr>
            <p:nvPr/>
          </p:nvCxnSpPr>
          <p:spPr bwMode="gray">
            <a:xfrm>
              <a:off x="8267440" y="285750"/>
              <a:ext cx="0" cy="150811"/>
            </a:xfrm>
            <a:prstGeom prst="straightConnector1">
              <a:avLst/>
            </a:prstGeom>
            <a:noFill/>
            <a:ln w="9525">
              <a:solidFill>
                <a:schemeClr val="accent6"/>
              </a:solidFill>
              <a:round/>
              <a:headEnd/>
              <a:tailEnd/>
            </a:ln>
            <a:extLst>
              <a:ext uri="{909E8E84-426E-40DD-AFC4-6F175D3DCCD1}">
                <a14:hiddenFill xmlns:a14="http://schemas.microsoft.com/office/drawing/2010/main">
                  <a:noFill/>
                </a14:hiddenFill>
              </a:ext>
            </a:extLst>
          </p:spPr>
        </p:cxnSp>
        <p:cxnSp>
          <p:nvCxnSpPr>
            <p:cNvPr id="22" name="AutoShape 32"/>
            <p:cNvCxnSpPr>
              <a:cxnSpLocks noChangeShapeType="1"/>
              <a:stCxn id="20" idx="4"/>
              <a:endCxn id="20" idx="6"/>
            </p:cNvCxnSpPr>
            <p:nvPr/>
          </p:nvCxnSpPr>
          <p:spPr bwMode="gray">
            <a:xfrm>
              <a:off x="8267440" y="436561"/>
              <a:ext cx="473335" cy="0"/>
            </a:xfrm>
            <a:prstGeom prst="straightConnector1">
              <a:avLst/>
            </a:prstGeom>
            <a:noFill/>
            <a:ln w="25400">
              <a:solidFill>
                <a:schemeClr val="accent6"/>
              </a:solidFill>
              <a:round/>
              <a:headEnd/>
              <a:tailEnd/>
            </a:ln>
            <a:extLst>
              <a:ext uri="{909E8E84-426E-40DD-AFC4-6F175D3DCCD1}">
                <a14:hiddenFill xmlns:a14="http://schemas.microsoft.com/office/drawing/2010/main">
                  <a:noFill/>
                </a14:hiddenFill>
              </a:ext>
            </a:extLst>
          </p:spPr>
        </p:cxnSp>
      </p:grpSp>
      <p:sp>
        <p:nvSpPr>
          <p:cNvPr id="23" name="SlideBottomBar" hidden="1"/>
          <p:cNvSpPr/>
          <p:nvPr/>
        </p:nvSpPr>
        <p:spPr>
          <a:xfrm>
            <a:off x="8437547" y="6182120"/>
            <a:ext cx="45719" cy="123825"/>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aseline="0" dirty="0">
              <a:solidFill>
                <a:schemeClr val="tx1"/>
              </a:solidFill>
              <a:latin typeface="+mn-lt"/>
              <a:ea typeface="+mn-ea"/>
            </a:endParaRPr>
          </a:p>
        </p:txBody>
      </p:sp>
      <p:sp>
        <p:nvSpPr>
          <p:cNvPr id="24" name="doc id" hidden="1"/>
          <p:cNvSpPr txBox="1">
            <a:spLocks noChangeArrowheads="1"/>
          </p:cNvSpPr>
          <p:nvPr/>
        </p:nvSpPr>
        <p:spPr bwMode="white">
          <a:xfrm>
            <a:off x="8104473" y="36513"/>
            <a:ext cx="634716" cy="115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hangingPunct="1">
              <a:defRPr/>
            </a:pPr>
            <a:endParaRPr lang="en-US" sz="800" baseline="0" dirty="0">
              <a:solidFill>
                <a:schemeClr val="accent1"/>
              </a:solidFill>
              <a:latin typeface="+mn-lt"/>
              <a:ea typeface="+mn-ea"/>
            </a:endParaRPr>
          </a:p>
        </p:txBody>
      </p:sp>
      <p:grpSp>
        <p:nvGrpSpPr>
          <p:cNvPr id="63" name="LegendLines" hidden="1"/>
          <p:cNvGrpSpPr/>
          <p:nvPr/>
        </p:nvGrpSpPr>
        <p:grpSpPr>
          <a:xfrm>
            <a:off x="7551589" y="267815"/>
            <a:ext cx="1158292" cy="761545"/>
            <a:chOff x="7607284" y="279400"/>
            <a:chExt cx="1158292" cy="761545"/>
          </a:xfrm>
        </p:grpSpPr>
        <p:sp>
          <p:nvSpPr>
            <p:cNvPr id="64" name="LineLegend1"/>
            <p:cNvSpPr>
              <a:spLocks noChangeShapeType="1"/>
            </p:cNvSpPr>
            <p:nvPr/>
          </p:nvSpPr>
          <p:spPr bwMode="gray">
            <a:xfrm>
              <a:off x="7607284" y="387122"/>
              <a:ext cx="457200"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65" name="LineLegend2"/>
            <p:cNvSpPr>
              <a:spLocks noChangeShapeType="1"/>
            </p:cNvSpPr>
            <p:nvPr/>
          </p:nvSpPr>
          <p:spPr bwMode="gray">
            <a:xfrm>
              <a:off x="7607284" y="653822"/>
              <a:ext cx="457200"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66" name="LineLegend3"/>
            <p:cNvSpPr>
              <a:spLocks noChangeShapeType="1"/>
            </p:cNvSpPr>
            <p:nvPr/>
          </p:nvSpPr>
          <p:spPr bwMode="gray">
            <a:xfrm>
              <a:off x="7607284" y="933223"/>
              <a:ext cx="457200"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67" name="Legend1"/>
            <p:cNvSpPr>
              <a:spLocks noChangeArrowheads="1"/>
            </p:cNvSpPr>
            <p:nvPr>
              <p:custDataLst>
                <p:tags r:id="rId33"/>
              </p:custDataLst>
            </p:nvPr>
          </p:nvSpPr>
          <p:spPr bwMode="gray">
            <a:xfrm>
              <a:off x="8169259" y="279400"/>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sp>
          <p:nvSpPr>
            <p:cNvPr id="68" name="Legend2"/>
            <p:cNvSpPr>
              <a:spLocks noChangeArrowheads="1"/>
            </p:cNvSpPr>
            <p:nvPr>
              <p:custDataLst>
                <p:tags r:id="rId34"/>
              </p:custDataLst>
            </p:nvPr>
          </p:nvSpPr>
          <p:spPr bwMode="gray">
            <a:xfrm>
              <a:off x="8169259" y="546100"/>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a:latin typeface="+mn-lt"/>
                  <a:ea typeface="+mn-ea"/>
                </a:rPr>
                <a:t>Legend</a:t>
              </a:r>
              <a:endParaRPr lang="en-US" sz="1400" baseline="0" dirty="0">
                <a:latin typeface="+mn-lt"/>
                <a:ea typeface="+mn-ea"/>
              </a:endParaRPr>
            </a:p>
          </p:txBody>
        </p:sp>
        <p:sp>
          <p:nvSpPr>
            <p:cNvPr id="69" name="Legend3"/>
            <p:cNvSpPr>
              <a:spLocks noChangeArrowheads="1"/>
            </p:cNvSpPr>
            <p:nvPr>
              <p:custDataLst>
                <p:tags r:id="rId35"/>
              </p:custDataLst>
            </p:nvPr>
          </p:nvSpPr>
          <p:spPr bwMode="gray">
            <a:xfrm>
              <a:off x="8169259" y="825501"/>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grpSp>
      <p:grpSp>
        <p:nvGrpSpPr>
          <p:cNvPr id="70" name="LegendBoxes" hidden="1"/>
          <p:cNvGrpSpPr/>
          <p:nvPr/>
        </p:nvGrpSpPr>
        <p:grpSpPr>
          <a:xfrm>
            <a:off x="7859564" y="267919"/>
            <a:ext cx="850317" cy="1028245"/>
            <a:chOff x="5894005" y="919828"/>
            <a:chExt cx="850317" cy="1028245"/>
          </a:xfrm>
        </p:grpSpPr>
        <p:sp>
          <p:nvSpPr>
            <p:cNvPr id="71" name="RectangleLegend1"/>
            <p:cNvSpPr>
              <a:spLocks noChangeArrowheads="1"/>
            </p:cNvSpPr>
            <p:nvPr/>
          </p:nvSpPr>
          <p:spPr bwMode="gray">
            <a:xfrm>
              <a:off x="5894005" y="947381"/>
              <a:ext cx="165100" cy="160338"/>
            </a:xfrm>
            <a:prstGeom prst="rect">
              <a:avLst/>
            </a:prstGeom>
            <a:solidFill>
              <a:schemeClr val="accent1"/>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72" name="RectangleLegend2"/>
            <p:cNvSpPr>
              <a:spLocks noChangeArrowheads="1"/>
            </p:cNvSpPr>
            <p:nvPr/>
          </p:nvSpPr>
          <p:spPr bwMode="gray">
            <a:xfrm>
              <a:off x="5894005" y="1217256"/>
              <a:ext cx="165100" cy="160338"/>
            </a:xfrm>
            <a:prstGeom prst="rect">
              <a:avLst/>
            </a:prstGeom>
            <a:solidFill>
              <a:schemeClr val="accent2"/>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73" name="RectangleLegend3"/>
            <p:cNvSpPr>
              <a:spLocks noChangeArrowheads="1"/>
            </p:cNvSpPr>
            <p:nvPr/>
          </p:nvSpPr>
          <p:spPr bwMode="gray">
            <a:xfrm>
              <a:off x="5894005" y="1488719"/>
              <a:ext cx="165100" cy="160338"/>
            </a:xfrm>
            <a:prstGeom prst="rect">
              <a:avLst/>
            </a:prstGeom>
            <a:solidFill>
              <a:schemeClr val="accent3"/>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74" name="RectangleLegend4"/>
            <p:cNvSpPr>
              <a:spLocks noChangeArrowheads="1"/>
            </p:cNvSpPr>
            <p:nvPr/>
          </p:nvSpPr>
          <p:spPr bwMode="gray">
            <a:xfrm>
              <a:off x="5894005" y="1760182"/>
              <a:ext cx="165100" cy="160338"/>
            </a:xfrm>
            <a:prstGeom prst="rect">
              <a:avLst/>
            </a:prstGeom>
            <a:solidFill>
              <a:schemeClr val="accent4"/>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75" name="Legend1"/>
            <p:cNvSpPr>
              <a:spLocks noChangeArrowheads="1"/>
            </p:cNvSpPr>
            <p:nvPr>
              <p:custDataLst>
                <p:tags r:id="rId29"/>
              </p:custDataLst>
            </p:nvPr>
          </p:nvSpPr>
          <p:spPr bwMode="gray">
            <a:xfrm>
              <a:off x="6148005" y="919828"/>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sp>
          <p:nvSpPr>
            <p:cNvPr id="76" name="Legend2"/>
            <p:cNvSpPr>
              <a:spLocks noChangeArrowheads="1"/>
            </p:cNvSpPr>
            <p:nvPr>
              <p:custDataLst>
                <p:tags r:id="rId30"/>
              </p:custDataLst>
            </p:nvPr>
          </p:nvSpPr>
          <p:spPr bwMode="gray">
            <a:xfrm>
              <a:off x="6148005" y="1189703"/>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sp>
          <p:nvSpPr>
            <p:cNvPr id="77" name="Legend3"/>
            <p:cNvSpPr>
              <a:spLocks noChangeArrowheads="1"/>
            </p:cNvSpPr>
            <p:nvPr>
              <p:custDataLst>
                <p:tags r:id="rId31"/>
              </p:custDataLst>
            </p:nvPr>
          </p:nvSpPr>
          <p:spPr bwMode="gray">
            <a:xfrm>
              <a:off x="6148005" y="1461166"/>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sp>
          <p:nvSpPr>
            <p:cNvPr id="78" name="Legend4"/>
            <p:cNvSpPr>
              <a:spLocks noChangeArrowheads="1"/>
            </p:cNvSpPr>
            <p:nvPr>
              <p:custDataLst>
                <p:tags r:id="rId32"/>
              </p:custDataLst>
            </p:nvPr>
          </p:nvSpPr>
          <p:spPr bwMode="gray">
            <a:xfrm>
              <a:off x="6148005" y="1732629"/>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grpSp>
      <p:grpSp>
        <p:nvGrpSpPr>
          <p:cNvPr id="79" name="LegendMoons" hidden="1"/>
          <p:cNvGrpSpPr/>
          <p:nvPr/>
        </p:nvGrpSpPr>
        <p:grpSpPr>
          <a:xfrm>
            <a:off x="7792889" y="267414"/>
            <a:ext cx="916992" cy="1317003"/>
            <a:chOff x="5894005" y="2695123"/>
            <a:chExt cx="916992" cy="1317003"/>
          </a:xfrm>
        </p:grpSpPr>
        <p:grpSp>
          <p:nvGrpSpPr>
            <p:cNvPr id="80" name="MoonLegend1"/>
            <p:cNvGrpSpPr>
              <a:grpSpLocks noChangeAspect="1"/>
            </p:cNvGrpSpPr>
            <p:nvPr>
              <p:custDataLst>
                <p:tags r:id="rId9"/>
              </p:custDataLst>
            </p:nvPr>
          </p:nvGrpSpPr>
          <p:grpSpPr bwMode="gray">
            <a:xfrm>
              <a:off x="5894005" y="2695123"/>
              <a:ext cx="209550" cy="218282"/>
              <a:chOff x="4533" y="183"/>
              <a:chExt cx="144" cy="150"/>
            </a:xfrm>
          </p:grpSpPr>
          <p:sp>
            <p:nvSpPr>
              <p:cNvPr id="98" name="Oval 97"/>
              <p:cNvSpPr>
                <a:spLocks noChangeAspect="1" noChangeArrowheads="1"/>
              </p:cNvSpPr>
              <p:nvPr>
                <p:custDataLst>
                  <p:tags r:id="rId27"/>
                </p:custDataLst>
              </p:nvPr>
            </p:nvSpPr>
            <p:spPr bwMode="gray">
              <a:xfrm>
                <a:off x="4533" y="189"/>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99" name="Arc 98" hidden="1"/>
              <p:cNvSpPr>
                <a:spLocks noChangeAspect="1"/>
              </p:cNvSpPr>
              <p:nvPr>
                <p:custDataLst>
                  <p:tags r:id="rId28"/>
                </p:custDataLst>
              </p:nvPr>
            </p:nvSpPr>
            <p:spPr bwMode="gray">
              <a:xfrm>
                <a:off x="4533" y="183"/>
                <a:ext cx="144" cy="144"/>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grpSp>
        <p:grpSp>
          <p:nvGrpSpPr>
            <p:cNvPr id="81" name="MoonLegend2"/>
            <p:cNvGrpSpPr>
              <a:grpSpLocks noChangeAspect="1"/>
            </p:cNvGrpSpPr>
            <p:nvPr>
              <p:custDataLst>
                <p:tags r:id="rId10"/>
              </p:custDataLst>
            </p:nvPr>
          </p:nvGrpSpPr>
          <p:grpSpPr bwMode="gray">
            <a:xfrm>
              <a:off x="5894005" y="2977103"/>
              <a:ext cx="209550" cy="209551"/>
              <a:chOff x="1694" y="2051"/>
              <a:chExt cx="160" cy="160"/>
            </a:xfrm>
          </p:grpSpPr>
          <p:sp>
            <p:nvSpPr>
              <p:cNvPr id="96" name="Oval 41"/>
              <p:cNvSpPr>
                <a:spLocks noChangeAspect="1" noChangeArrowheads="1"/>
              </p:cNvSpPr>
              <p:nvPr>
                <p:custDataLst>
                  <p:tags r:id="rId25"/>
                </p:custDataLst>
              </p:nvPr>
            </p:nvSpPr>
            <p:spPr bwMode="gray">
              <a:xfrm>
                <a:off x="1694" y="2051"/>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97" name="Arc 42"/>
              <p:cNvSpPr>
                <a:spLocks noChangeAspect="1"/>
              </p:cNvSpPr>
              <p:nvPr>
                <p:custDataLst>
                  <p:tags r:id="rId26"/>
                </p:custDataLst>
              </p:nvPr>
            </p:nvSpPr>
            <p:spPr bwMode="gray">
              <a:xfrm>
                <a:off x="1694" y="2051"/>
                <a:ext cx="160" cy="160"/>
              </a:xfrm>
              <a:prstGeom prst="arc">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grpSp>
        <p:grpSp>
          <p:nvGrpSpPr>
            <p:cNvPr id="82" name="MoonLegend4"/>
            <p:cNvGrpSpPr>
              <a:grpSpLocks noChangeAspect="1"/>
            </p:cNvGrpSpPr>
            <p:nvPr>
              <p:custDataLst>
                <p:tags r:id="rId11"/>
              </p:custDataLst>
            </p:nvPr>
          </p:nvGrpSpPr>
          <p:grpSpPr bwMode="gray">
            <a:xfrm>
              <a:off x="5894005" y="3524395"/>
              <a:ext cx="209550" cy="209551"/>
              <a:chOff x="4495" y="1204"/>
              <a:chExt cx="160" cy="160"/>
            </a:xfrm>
          </p:grpSpPr>
          <p:sp>
            <p:nvSpPr>
              <p:cNvPr id="94" name="Oval 47"/>
              <p:cNvSpPr>
                <a:spLocks noChangeAspect="1" noChangeArrowheads="1"/>
              </p:cNvSpPr>
              <p:nvPr>
                <p:custDataLst>
                  <p:tags r:id="rId23"/>
                </p:custDataLst>
              </p:nvPr>
            </p:nvSpPr>
            <p:spPr bwMode="gray">
              <a:xfrm>
                <a:off x="4495" y="120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95" name="Arc 48"/>
              <p:cNvSpPr>
                <a:spLocks noChangeAspect="1"/>
              </p:cNvSpPr>
              <p:nvPr>
                <p:custDataLst>
                  <p:tags r:id="rId24"/>
                </p:custDataLst>
              </p:nvPr>
            </p:nvSpPr>
            <p:spPr bwMode="gray">
              <a:xfrm>
                <a:off x="4495" y="1204"/>
                <a:ext cx="160" cy="160"/>
              </a:xfrm>
              <a:prstGeom prst="arc">
                <a:avLst>
                  <a:gd name="adj1" fmla="val 16200000"/>
                  <a:gd name="adj2" fmla="val 108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grpSp>
        <p:grpSp>
          <p:nvGrpSpPr>
            <p:cNvPr id="83" name="MoonLegend5"/>
            <p:cNvGrpSpPr>
              <a:grpSpLocks noChangeAspect="1"/>
            </p:cNvGrpSpPr>
            <p:nvPr>
              <p:custDataLst>
                <p:tags r:id="rId12"/>
              </p:custDataLst>
            </p:nvPr>
          </p:nvGrpSpPr>
          <p:grpSpPr bwMode="gray">
            <a:xfrm>
              <a:off x="5894005" y="3799629"/>
              <a:ext cx="209550" cy="209551"/>
              <a:chOff x="4495" y="1447"/>
              <a:chExt cx="160" cy="160"/>
            </a:xfrm>
          </p:grpSpPr>
          <p:sp>
            <p:nvSpPr>
              <p:cNvPr id="92" name="Oval 50"/>
              <p:cNvSpPr>
                <a:spLocks noChangeAspect="1" noChangeArrowheads="1"/>
              </p:cNvSpPr>
              <p:nvPr>
                <p:custDataLst>
                  <p:tags r:id="rId21"/>
                </p:custDataLst>
              </p:nvPr>
            </p:nvSpPr>
            <p:spPr bwMode="gray">
              <a:xfrm>
                <a:off x="4495" y="1447"/>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93" name="Oval 51"/>
              <p:cNvSpPr>
                <a:spLocks noChangeAspect="1" noChangeArrowheads="1"/>
              </p:cNvSpPr>
              <p:nvPr>
                <p:custDataLst>
                  <p:tags r:id="rId22"/>
                </p:custDataLst>
              </p:nvPr>
            </p:nvSpPr>
            <p:spPr bwMode="gray">
              <a:xfrm>
                <a:off x="4495" y="1447"/>
                <a:ext cx="160" cy="160"/>
              </a:xfrm>
              <a:prstGeom prst="arc">
                <a:avLst>
                  <a:gd name="adj1" fmla="val 16200000"/>
                  <a:gd name="adj2" fmla="val 162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grpSp>
        <p:grpSp>
          <p:nvGrpSpPr>
            <p:cNvPr id="84" name="MoonLegend3"/>
            <p:cNvGrpSpPr>
              <a:grpSpLocks noChangeAspect="1"/>
            </p:cNvGrpSpPr>
            <p:nvPr>
              <p:custDataLst>
                <p:tags r:id="rId13"/>
              </p:custDataLst>
            </p:nvPr>
          </p:nvGrpSpPr>
          <p:grpSpPr bwMode="gray">
            <a:xfrm>
              <a:off x="5894005" y="3251543"/>
              <a:ext cx="209550" cy="209551"/>
              <a:chOff x="4495" y="1205"/>
              <a:chExt cx="160" cy="160"/>
            </a:xfrm>
          </p:grpSpPr>
          <p:sp>
            <p:nvSpPr>
              <p:cNvPr id="90" name="Oval 47"/>
              <p:cNvSpPr>
                <a:spLocks noChangeAspect="1" noChangeArrowheads="1"/>
              </p:cNvSpPr>
              <p:nvPr>
                <p:custDataLst>
                  <p:tags r:id="rId19"/>
                </p:custDataLst>
              </p:nvPr>
            </p:nvSpPr>
            <p:spPr bwMode="gray">
              <a:xfrm>
                <a:off x="4495" y="1205"/>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91" name="Arc 48"/>
              <p:cNvSpPr>
                <a:spLocks noChangeAspect="1"/>
              </p:cNvSpPr>
              <p:nvPr>
                <p:custDataLst>
                  <p:tags r:id="rId20"/>
                </p:custDataLst>
              </p:nvPr>
            </p:nvSpPr>
            <p:spPr bwMode="gray">
              <a:xfrm>
                <a:off x="4495" y="1205"/>
                <a:ext cx="160" cy="160"/>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grpSp>
        <p:sp>
          <p:nvSpPr>
            <p:cNvPr id="85" name="Legend1"/>
            <p:cNvSpPr>
              <a:spLocks noChangeArrowheads="1"/>
            </p:cNvSpPr>
            <p:nvPr>
              <p:custDataLst>
                <p:tags r:id="rId14"/>
              </p:custDataLst>
            </p:nvPr>
          </p:nvSpPr>
          <p:spPr bwMode="gray">
            <a:xfrm>
              <a:off x="6214680" y="2696542"/>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sp>
          <p:nvSpPr>
            <p:cNvPr id="86" name="Legend2"/>
            <p:cNvSpPr>
              <a:spLocks noChangeArrowheads="1"/>
            </p:cNvSpPr>
            <p:nvPr>
              <p:custDataLst>
                <p:tags r:id="rId15"/>
              </p:custDataLst>
            </p:nvPr>
          </p:nvSpPr>
          <p:spPr bwMode="gray">
            <a:xfrm>
              <a:off x="6214680" y="2974156"/>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a:latin typeface="+mn-lt"/>
                  <a:ea typeface="+mn-ea"/>
                </a:rPr>
                <a:t>Legend</a:t>
              </a:r>
              <a:endParaRPr lang="en-US" sz="1400" baseline="0" dirty="0">
                <a:latin typeface="+mn-lt"/>
                <a:ea typeface="+mn-ea"/>
              </a:endParaRPr>
            </a:p>
          </p:txBody>
        </p:sp>
        <p:sp>
          <p:nvSpPr>
            <p:cNvPr id="87" name="Legend3"/>
            <p:cNvSpPr>
              <a:spLocks noChangeArrowheads="1"/>
            </p:cNvSpPr>
            <p:nvPr>
              <p:custDataLst>
                <p:tags r:id="rId16"/>
              </p:custDataLst>
            </p:nvPr>
          </p:nvSpPr>
          <p:spPr bwMode="gray">
            <a:xfrm>
              <a:off x="6214680" y="3248596"/>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sp>
          <p:nvSpPr>
            <p:cNvPr id="88" name="Legend4"/>
            <p:cNvSpPr>
              <a:spLocks noChangeArrowheads="1"/>
            </p:cNvSpPr>
            <p:nvPr>
              <p:custDataLst>
                <p:tags r:id="rId17"/>
              </p:custDataLst>
            </p:nvPr>
          </p:nvSpPr>
          <p:spPr bwMode="gray">
            <a:xfrm>
              <a:off x="6214680" y="3521448"/>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sp>
          <p:nvSpPr>
            <p:cNvPr id="89" name="Legend5"/>
            <p:cNvSpPr>
              <a:spLocks noChangeArrowheads="1"/>
            </p:cNvSpPr>
            <p:nvPr>
              <p:custDataLst>
                <p:tags r:id="rId18"/>
              </p:custDataLst>
            </p:nvPr>
          </p:nvSpPr>
          <p:spPr bwMode="gray">
            <a:xfrm>
              <a:off x="6214680" y="3796682"/>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a:latin typeface="+mn-lt"/>
                  <a:ea typeface="+mn-ea"/>
                </a:rPr>
                <a:t>Legend</a:t>
              </a:r>
              <a:endParaRPr lang="en-US" sz="1400" baseline="0" dirty="0">
                <a:latin typeface="+mn-lt"/>
                <a:ea typeface="+mn-ea"/>
              </a:endParaRPr>
            </a:p>
          </p:txBody>
        </p:sp>
      </p:grpSp>
    </p:spTree>
    <p:extLst>
      <p:ext uri="{BB962C8B-B14F-4D97-AF65-F5344CB8AC3E}">
        <p14:creationId xmlns:p14="http://schemas.microsoft.com/office/powerpoint/2010/main" val="3746602537"/>
      </p:ext>
    </p:extLst>
  </p:cSld>
  <p:clrMap bg1="lt1" tx1="dk1" bg2="lt2" tx2="dk2" accent1="accent1" accent2="accent2" accent3="accent3" accent4="accent4" accent5="accent5" accent6="accent6" hlink="hlink" folHlink="folHlink"/>
  <p:sldLayoutIdLst>
    <p:sldLayoutId id="2147483871" r:id="rId1"/>
    <p:sldLayoutId id="2147483872" r:id="rId2"/>
    <p:sldLayoutId id="2147483873" r:id="rId3"/>
    <p:sldLayoutId id="2147483874" r:id="rId4"/>
  </p:sldLayoutIdLst>
  <p:txStyles>
    <p:titleStyle>
      <a:lvl1pPr algn="l" defTabSz="895350" rtl="0" eaLnBrk="1" fontAlgn="base" hangingPunct="1">
        <a:spcBef>
          <a:spcPct val="0"/>
        </a:spcBef>
        <a:spcAft>
          <a:spcPct val="0"/>
        </a:spcAft>
        <a:tabLst>
          <a:tab pos="269875" algn="l"/>
        </a:tabLst>
        <a:defRPr sz="2000" b="0" baseline="0">
          <a:solidFill>
            <a:schemeClr val="tx2"/>
          </a:solidFill>
          <a:latin typeface="+mj-lt"/>
          <a:ea typeface="+mj-ea"/>
          <a:cs typeface="+mj-cs"/>
        </a:defRPr>
      </a:lvl1pPr>
      <a:lvl2pPr algn="l" defTabSz="895350" rtl="0" eaLnBrk="1" fontAlgn="base" hangingPunct="1">
        <a:spcBef>
          <a:spcPct val="0"/>
        </a:spcBef>
        <a:spcAft>
          <a:spcPct val="0"/>
        </a:spcAft>
        <a:defRPr sz="1900" b="1">
          <a:solidFill>
            <a:schemeClr val="tx2"/>
          </a:solidFill>
          <a:latin typeface="Arial" charset="0"/>
        </a:defRPr>
      </a:lvl2pPr>
      <a:lvl3pPr algn="l" defTabSz="895350" rtl="0" eaLnBrk="1" fontAlgn="base" hangingPunct="1">
        <a:spcBef>
          <a:spcPct val="0"/>
        </a:spcBef>
        <a:spcAft>
          <a:spcPct val="0"/>
        </a:spcAft>
        <a:defRPr sz="1900" b="1">
          <a:solidFill>
            <a:schemeClr val="tx2"/>
          </a:solidFill>
          <a:latin typeface="Arial" charset="0"/>
        </a:defRPr>
      </a:lvl3pPr>
      <a:lvl4pPr algn="l" defTabSz="895350" rtl="0" eaLnBrk="1" fontAlgn="base" hangingPunct="1">
        <a:spcBef>
          <a:spcPct val="0"/>
        </a:spcBef>
        <a:spcAft>
          <a:spcPct val="0"/>
        </a:spcAft>
        <a:defRPr sz="1900" b="1">
          <a:solidFill>
            <a:schemeClr val="tx2"/>
          </a:solidFill>
          <a:latin typeface="Arial" charset="0"/>
        </a:defRPr>
      </a:lvl4pPr>
      <a:lvl5pPr algn="l" defTabSz="895350" rtl="0" eaLnBrk="1" fontAlgn="base" hangingPunct="1">
        <a:spcBef>
          <a:spcPct val="0"/>
        </a:spcBef>
        <a:spcAft>
          <a:spcPct val="0"/>
        </a:spcAft>
        <a:defRPr sz="1900" b="1">
          <a:solidFill>
            <a:schemeClr val="tx2"/>
          </a:solidFill>
          <a:latin typeface="Arial" charset="0"/>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p:titleStyle>
    <p:bodyStyle>
      <a:lvl1pPr marL="0" indent="0" algn="l" defTabSz="895350" rtl="0" eaLnBrk="1" fontAlgn="base" hangingPunct="1">
        <a:spcBef>
          <a:spcPct val="0"/>
        </a:spcBef>
        <a:spcAft>
          <a:spcPct val="0"/>
        </a:spcAft>
        <a:buClr>
          <a:schemeClr val="tx2"/>
        </a:buClr>
        <a:buSzPct val="100000"/>
        <a:defRPr sz="14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4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4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4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4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ext>
  </p:extLst>
</p:sldMaster>
</file>

<file path=ppt/slideMasters/slideMaster4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7"/>
            </p:custDataLst>
            <p:extLst>
              <p:ext uri="{D42A27DB-BD31-4B8C-83A1-F6EECF244321}">
                <p14:modId xmlns:p14="http://schemas.microsoft.com/office/powerpoint/2010/main" val="1063808462"/>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09940" name="think-cell Slide" r:id="rId36" imgW="270" imgH="270" progId="TCLayout.ActiveDocument.1">
                  <p:embed/>
                </p:oleObj>
              </mc:Choice>
              <mc:Fallback>
                <p:oleObj name="think-cell Slide" r:id="rId36" imgW="270" imgH="270" progId="TCLayout.ActiveDocument.1">
                  <p:embed/>
                  <p:pic>
                    <p:nvPicPr>
                      <p:cNvPr id="2" name="Object 1" hidden="1"/>
                      <p:cNvPicPr/>
                      <p:nvPr/>
                    </p:nvPicPr>
                    <p:blipFill>
                      <a:blip r:embed="rId37"/>
                      <a:stretch>
                        <a:fillRect/>
                      </a:stretch>
                    </p:blipFill>
                    <p:spPr>
                      <a:xfrm>
                        <a:off x="0" y="0"/>
                        <a:ext cx="158750" cy="158750"/>
                      </a:xfrm>
                      <a:prstGeom prst="rect">
                        <a:avLst/>
                      </a:prstGeom>
                    </p:spPr>
                  </p:pic>
                </p:oleObj>
              </mc:Fallback>
            </mc:AlternateContent>
          </a:graphicData>
        </a:graphic>
      </p:graphicFrame>
      <p:sp>
        <p:nvSpPr>
          <p:cNvPr id="6" name="Rectangle 5" hidden="1"/>
          <p:cNvSpPr/>
          <p:nvPr>
            <p:custDataLst>
              <p:tags r:id="rId8"/>
            </p:custDataLst>
          </p:nvPr>
        </p:nvSpPr>
        <p:spPr bwMode="auto">
          <a:xfrm>
            <a:off x="0" y="0"/>
            <a:ext cx="158750" cy="158750"/>
          </a:xfrm>
          <a:prstGeom prst="rect">
            <a:avLst/>
          </a:prstGeom>
          <a:solidFill>
            <a:schemeClr val="bg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dirty="0">
              <a:solidFill>
                <a:srgbClr val="000000"/>
              </a:solidFill>
              <a:sym typeface="Arial" panose="020B0604020202020204" pitchFamily="34" charset="0"/>
            </a:endParaRPr>
          </a:p>
        </p:txBody>
      </p:sp>
      <p:sp>
        <p:nvSpPr>
          <p:cNvPr id="1034" name="Working Draft" hidden="1"/>
          <p:cNvSpPr txBox="1">
            <a:spLocks noChangeArrowheads="1"/>
          </p:cNvSpPr>
          <p:nvPr/>
        </p:nvSpPr>
        <p:spPr bwMode="gray">
          <a:xfrm rot="5400000">
            <a:off x="7966656" y="1940591"/>
            <a:ext cx="1849865"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600" baseline="0">
                <a:solidFill>
                  <a:srgbClr val="808080"/>
                </a:solidFill>
                <a:latin typeface="+mn-lt"/>
                <a:ea typeface="+mn-ea"/>
              </a:rPr>
              <a:t>Last Modified 21/05/2018 17:44 India Standard Time</a:t>
            </a:r>
            <a:endParaRPr lang="en-US" baseline="0" dirty="0">
              <a:solidFill>
                <a:srgbClr val="808080"/>
              </a:solidFill>
              <a:latin typeface="+mn-lt"/>
              <a:ea typeface="+mn-ea"/>
            </a:endParaRPr>
          </a:p>
        </p:txBody>
      </p:sp>
      <p:sp>
        <p:nvSpPr>
          <p:cNvPr id="1035" name="Printed" hidden="1"/>
          <p:cNvSpPr txBox="1">
            <a:spLocks noChangeArrowheads="1"/>
          </p:cNvSpPr>
          <p:nvPr/>
        </p:nvSpPr>
        <p:spPr bwMode="gray">
          <a:xfrm rot="5400000">
            <a:off x="8768958" y="4114417"/>
            <a:ext cx="245260"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600" baseline="0" dirty="0">
                <a:solidFill>
                  <a:srgbClr val="808080"/>
                </a:solidFill>
                <a:latin typeface="+mn-lt"/>
                <a:ea typeface="+mn-ea"/>
              </a:rPr>
              <a:t>Printed</a:t>
            </a:r>
            <a:endParaRPr lang="en-US" baseline="0" dirty="0">
              <a:solidFill>
                <a:srgbClr val="808080"/>
              </a:solidFill>
              <a:latin typeface="+mn-lt"/>
              <a:ea typeface="+mn-ea"/>
            </a:endParaRPr>
          </a:p>
        </p:txBody>
      </p:sp>
      <p:sp>
        <p:nvSpPr>
          <p:cNvPr id="19" name="Title Placeholder 2"/>
          <p:cNvSpPr>
            <a:spLocks noGrp="1" noChangeArrowheads="1"/>
          </p:cNvSpPr>
          <p:nvPr>
            <p:ph type="title"/>
          </p:nvPr>
        </p:nvSpPr>
        <p:spPr bwMode="gray">
          <a:xfrm>
            <a:off x="119063" y="230188"/>
            <a:ext cx="8618537"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latinLnBrk="0"/>
            <a:r>
              <a:rPr lang="en-US"/>
              <a:t>Click to edit Master title style</a:t>
            </a:r>
            <a:endParaRPr lang="en-US" noProof="0" dirty="0"/>
          </a:p>
        </p:txBody>
      </p:sp>
      <p:sp>
        <p:nvSpPr>
          <p:cNvPr id="10" name="1. On-page tracker" hidden="1"/>
          <p:cNvSpPr>
            <a:spLocks noChangeArrowheads="1"/>
          </p:cNvSpPr>
          <p:nvPr/>
        </p:nvSpPr>
        <p:spPr bwMode="gray">
          <a:xfrm>
            <a:off x="119063" y="75764"/>
            <a:ext cx="490519"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800" cap="all" baseline="0" dirty="0">
                <a:solidFill>
                  <a:schemeClr val="accent6"/>
                </a:solidFill>
                <a:latin typeface="+mn-lt"/>
                <a:ea typeface="+mn-ea"/>
              </a:rPr>
              <a:t>Tracker</a:t>
            </a:r>
          </a:p>
        </p:txBody>
      </p:sp>
      <p:sp>
        <p:nvSpPr>
          <p:cNvPr id="11" name="3. Unit of measure" hidden="1"/>
          <p:cNvSpPr txBox="1">
            <a:spLocks noChangeArrowheads="1"/>
          </p:cNvSpPr>
          <p:nvPr/>
        </p:nvSpPr>
        <p:spPr bwMode="gray">
          <a:xfrm>
            <a:off x="119063" y="554865"/>
            <a:ext cx="8618537"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600" baseline="0" dirty="0">
                <a:solidFill>
                  <a:schemeClr val="accent6"/>
                </a:solidFill>
                <a:latin typeface="+mn-lt"/>
                <a:ea typeface="+mn-ea"/>
              </a:rPr>
              <a:t>Unit of measure</a:t>
            </a:r>
          </a:p>
        </p:txBody>
      </p:sp>
      <p:grpSp>
        <p:nvGrpSpPr>
          <p:cNvPr id="4" name="Slide Elements" hidden="1"/>
          <p:cNvGrpSpPr/>
          <p:nvPr/>
        </p:nvGrpSpPr>
        <p:grpSpPr bwMode="gray">
          <a:xfrm>
            <a:off x="119063" y="6305945"/>
            <a:ext cx="8618537" cy="325438"/>
            <a:chOff x="119063" y="6305945"/>
            <a:chExt cx="8618537" cy="325438"/>
          </a:xfrm>
        </p:grpSpPr>
        <p:sp>
          <p:nvSpPr>
            <p:cNvPr id="13" name="4. Footnote"/>
            <p:cNvSpPr txBox="1">
              <a:spLocks noChangeArrowheads="1"/>
            </p:cNvSpPr>
            <p:nvPr/>
          </p:nvSpPr>
          <p:spPr bwMode="gray">
            <a:xfrm>
              <a:off x="119063" y="6305945"/>
              <a:ext cx="8618537" cy="123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800" baseline="0" dirty="0">
                  <a:solidFill>
                    <a:schemeClr val="accent6"/>
                  </a:solidFill>
                  <a:latin typeface="+mn-lt"/>
                  <a:ea typeface="+mn-ea"/>
                </a:rPr>
                <a:t>1 Footnote</a:t>
              </a:r>
            </a:p>
          </p:txBody>
        </p:sp>
        <p:sp>
          <p:nvSpPr>
            <p:cNvPr id="14" name="5. Source"/>
            <p:cNvSpPr>
              <a:spLocks noChangeArrowheads="1"/>
            </p:cNvSpPr>
            <p:nvPr/>
          </p:nvSpPr>
          <p:spPr bwMode="gray">
            <a:xfrm>
              <a:off x="119063" y="6507558"/>
              <a:ext cx="7200000" cy="123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marL="609600" indent="-609600" defTabSz="895350">
                <a:tabLst>
                  <a:tab pos="612775" algn="l"/>
                </a:tabLst>
              </a:pPr>
              <a:r>
                <a:rPr lang="en-US" sz="800" baseline="0" dirty="0">
                  <a:solidFill>
                    <a:schemeClr val="accent6"/>
                  </a:solidFill>
                  <a:latin typeface="+mn-lt"/>
                  <a:ea typeface="+mn-ea"/>
                </a:rPr>
                <a:t>SOURCE: Source</a:t>
              </a:r>
            </a:p>
          </p:txBody>
        </p:sp>
      </p:grpSp>
      <p:sp>
        <p:nvSpPr>
          <p:cNvPr id="3" name="Text Placeholder 2"/>
          <p:cNvSpPr>
            <a:spLocks noGrp="1"/>
          </p:cNvSpPr>
          <p:nvPr>
            <p:ph type="body" idx="1"/>
          </p:nvPr>
        </p:nvSpPr>
        <p:spPr bwMode="gray">
          <a:xfrm>
            <a:off x="1452564" y="1951380"/>
            <a:ext cx="4302125" cy="1077218"/>
          </a:xfrm>
          <a:prstGeom prst="rect">
            <a:avLst/>
          </a:prstGeom>
        </p:spPr>
        <p:txBody>
          <a:bodyPr vert="horz" lIns="0" tIns="0" rIns="0" bIns="0" rtlCol="0">
            <a:spAutoFit/>
          </a:bodyPr>
          <a:lstStyle/>
          <a:p>
            <a:pPr lvl="0" latinLnBrk="0"/>
            <a:r>
              <a:rPr lang="en-US"/>
              <a:t>Edit Master text styles</a:t>
            </a:r>
          </a:p>
          <a:p>
            <a:pPr lvl="1" latinLnBrk="0"/>
            <a:r>
              <a:rPr lang="en-US"/>
              <a:t>Second level</a:t>
            </a:r>
          </a:p>
          <a:p>
            <a:pPr lvl="2" latinLnBrk="0"/>
            <a:r>
              <a:rPr lang="en-US"/>
              <a:t>Third level</a:t>
            </a:r>
          </a:p>
          <a:p>
            <a:pPr lvl="3" latinLnBrk="0"/>
            <a:r>
              <a:rPr lang="en-US"/>
              <a:t>Fourth level</a:t>
            </a:r>
          </a:p>
          <a:p>
            <a:pPr lvl="4" latinLnBrk="0"/>
            <a:r>
              <a:rPr lang="en-US"/>
              <a:t>Fifth level</a:t>
            </a:r>
            <a:endParaRPr lang="en-US" dirty="0"/>
          </a:p>
        </p:txBody>
      </p:sp>
      <p:grpSp>
        <p:nvGrpSpPr>
          <p:cNvPr id="15" name="ACET" hidden="1"/>
          <p:cNvGrpSpPr>
            <a:grpSpLocks/>
          </p:cNvGrpSpPr>
          <p:nvPr/>
        </p:nvGrpSpPr>
        <p:grpSpPr bwMode="gray">
          <a:xfrm>
            <a:off x="1452563" y="1257754"/>
            <a:ext cx="4264025" cy="508000"/>
            <a:chOff x="915" y="710"/>
            <a:chExt cx="2686" cy="320"/>
          </a:xfrm>
        </p:grpSpPr>
        <p:cxnSp>
          <p:nvCxnSpPr>
            <p:cNvPr id="16" name="AutoShape 249"/>
            <p:cNvCxnSpPr>
              <a:cxnSpLocks noChangeShapeType="1"/>
              <a:stCxn id="18" idx="4"/>
              <a:endCxn id="18" idx="6"/>
            </p:cNvCxnSpPr>
            <p:nvPr/>
          </p:nvCxnSpPr>
          <p:spPr bwMode="gray">
            <a:xfrm>
              <a:off x="915" y="1030"/>
              <a:ext cx="2686" cy="0"/>
            </a:xfrm>
            <a:prstGeom prst="straightConnector1">
              <a:avLst/>
            </a:prstGeom>
            <a:noFill/>
            <a:ln w="9525">
              <a:solidFill>
                <a:schemeClr val="accent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8" name="AutoShape 250"/>
            <p:cNvSpPr>
              <a:spLocks noChangeArrowheads="1"/>
            </p:cNvSpPr>
            <p:nvPr/>
          </p:nvSpPr>
          <p:spPr bwMode="gray">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US" b="1" baseline="0" dirty="0">
                  <a:solidFill>
                    <a:srgbClr val="000000"/>
                  </a:solidFill>
                  <a:latin typeface="+mn-lt"/>
                  <a:ea typeface="+mn-ea"/>
                </a:rPr>
                <a:t>Title</a:t>
              </a:r>
            </a:p>
            <a:p>
              <a:r>
                <a:rPr lang="en-US" baseline="0" dirty="0">
                  <a:solidFill>
                    <a:schemeClr val="accent6"/>
                  </a:solidFill>
                  <a:latin typeface="+mn-lt"/>
                  <a:ea typeface="+mn-ea"/>
                </a:rPr>
                <a:t>Unit of measure</a:t>
              </a:r>
            </a:p>
          </p:txBody>
        </p:sp>
      </p:grpSp>
      <p:grpSp>
        <p:nvGrpSpPr>
          <p:cNvPr id="17" name="McKSticker" hidden="1"/>
          <p:cNvGrpSpPr/>
          <p:nvPr/>
        </p:nvGrpSpPr>
        <p:grpSpPr bwMode="gray">
          <a:xfrm>
            <a:off x="8264265" y="285750"/>
            <a:ext cx="473335" cy="150811"/>
            <a:chOff x="8267440" y="285750"/>
            <a:chExt cx="473335" cy="150811"/>
          </a:xfrm>
        </p:grpSpPr>
        <p:sp>
          <p:nvSpPr>
            <p:cNvPr id="20" name="StickerRectangle"/>
            <p:cNvSpPr>
              <a:spLocks noChangeArrowheads="1"/>
            </p:cNvSpPr>
            <p:nvPr/>
          </p:nvSpPr>
          <p:spPr bwMode="gray">
            <a:xfrm>
              <a:off x="8267440" y="285750"/>
              <a:ext cx="473335" cy="150811"/>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a:buClr>
                  <a:srgbClr val="002960"/>
                </a:buClr>
              </a:pPr>
              <a:r>
                <a:rPr lang="en-US" sz="800" baseline="0" dirty="0">
                  <a:solidFill>
                    <a:schemeClr val="accent6"/>
                  </a:solidFill>
                  <a:latin typeface="+mn-lt"/>
                  <a:ea typeface="+mn-ea"/>
                </a:rPr>
                <a:t>STICKER</a:t>
              </a:r>
            </a:p>
          </p:txBody>
        </p:sp>
        <p:cxnSp>
          <p:nvCxnSpPr>
            <p:cNvPr id="21" name="AutoShape 31"/>
            <p:cNvCxnSpPr>
              <a:cxnSpLocks noChangeShapeType="1"/>
              <a:stCxn id="20" idx="2"/>
              <a:endCxn id="20" idx="4"/>
            </p:cNvCxnSpPr>
            <p:nvPr/>
          </p:nvCxnSpPr>
          <p:spPr bwMode="gray">
            <a:xfrm>
              <a:off x="8267440" y="285750"/>
              <a:ext cx="0" cy="150811"/>
            </a:xfrm>
            <a:prstGeom prst="straightConnector1">
              <a:avLst/>
            </a:prstGeom>
            <a:noFill/>
            <a:ln w="9525">
              <a:solidFill>
                <a:schemeClr val="accent6"/>
              </a:solidFill>
              <a:round/>
              <a:headEnd/>
              <a:tailEnd/>
            </a:ln>
            <a:extLst>
              <a:ext uri="{909E8E84-426E-40DD-AFC4-6F175D3DCCD1}">
                <a14:hiddenFill xmlns:a14="http://schemas.microsoft.com/office/drawing/2010/main">
                  <a:noFill/>
                </a14:hiddenFill>
              </a:ext>
            </a:extLst>
          </p:spPr>
        </p:cxnSp>
        <p:cxnSp>
          <p:nvCxnSpPr>
            <p:cNvPr id="22" name="AutoShape 32"/>
            <p:cNvCxnSpPr>
              <a:cxnSpLocks noChangeShapeType="1"/>
              <a:stCxn id="20" idx="4"/>
              <a:endCxn id="20" idx="6"/>
            </p:cNvCxnSpPr>
            <p:nvPr/>
          </p:nvCxnSpPr>
          <p:spPr bwMode="gray">
            <a:xfrm>
              <a:off x="8267440" y="436561"/>
              <a:ext cx="473335" cy="0"/>
            </a:xfrm>
            <a:prstGeom prst="straightConnector1">
              <a:avLst/>
            </a:prstGeom>
            <a:noFill/>
            <a:ln w="25400">
              <a:solidFill>
                <a:schemeClr val="accent6"/>
              </a:solidFill>
              <a:round/>
              <a:headEnd/>
              <a:tailEnd/>
            </a:ln>
            <a:extLst>
              <a:ext uri="{909E8E84-426E-40DD-AFC4-6F175D3DCCD1}">
                <a14:hiddenFill xmlns:a14="http://schemas.microsoft.com/office/drawing/2010/main">
                  <a:noFill/>
                </a14:hiddenFill>
              </a:ext>
            </a:extLst>
          </p:spPr>
        </p:cxnSp>
      </p:grpSp>
      <p:sp>
        <p:nvSpPr>
          <p:cNvPr id="23" name="SlideBottomBar" hidden="1"/>
          <p:cNvSpPr/>
          <p:nvPr/>
        </p:nvSpPr>
        <p:spPr>
          <a:xfrm>
            <a:off x="8437547" y="6182120"/>
            <a:ext cx="45719" cy="123825"/>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aseline="0" dirty="0">
              <a:solidFill>
                <a:schemeClr val="tx1"/>
              </a:solidFill>
              <a:latin typeface="+mn-lt"/>
              <a:ea typeface="+mn-ea"/>
            </a:endParaRPr>
          </a:p>
        </p:txBody>
      </p:sp>
      <p:sp>
        <p:nvSpPr>
          <p:cNvPr id="24" name="doc id" hidden="1"/>
          <p:cNvSpPr txBox="1">
            <a:spLocks noChangeArrowheads="1"/>
          </p:cNvSpPr>
          <p:nvPr/>
        </p:nvSpPr>
        <p:spPr bwMode="white">
          <a:xfrm>
            <a:off x="8104473" y="36513"/>
            <a:ext cx="634716" cy="115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hangingPunct="1">
              <a:defRPr/>
            </a:pPr>
            <a:endParaRPr lang="en-US" sz="800" baseline="0" dirty="0">
              <a:solidFill>
                <a:schemeClr val="accent1"/>
              </a:solidFill>
              <a:latin typeface="+mn-lt"/>
              <a:ea typeface="+mn-ea"/>
            </a:endParaRPr>
          </a:p>
        </p:txBody>
      </p:sp>
      <p:grpSp>
        <p:nvGrpSpPr>
          <p:cNvPr id="63" name="LegendLines" hidden="1"/>
          <p:cNvGrpSpPr/>
          <p:nvPr/>
        </p:nvGrpSpPr>
        <p:grpSpPr>
          <a:xfrm>
            <a:off x="7551589" y="267815"/>
            <a:ext cx="1158292" cy="761545"/>
            <a:chOff x="7607284" y="279400"/>
            <a:chExt cx="1158292" cy="761545"/>
          </a:xfrm>
        </p:grpSpPr>
        <p:sp>
          <p:nvSpPr>
            <p:cNvPr id="64" name="LineLegend1"/>
            <p:cNvSpPr>
              <a:spLocks noChangeShapeType="1"/>
            </p:cNvSpPr>
            <p:nvPr/>
          </p:nvSpPr>
          <p:spPr bwMode="gray">
            <a:xfrm>
              <a:off x="7607284" y="387122"/>
              <a:ext cx="457200"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65" name="LineLegend2"/>
            <p:cNvSpPr>
              <a:spLocks noChangeShapeType="1"/>
            </p:cNvSpPr>
            <p:nvPr/>
          </p:nvSpPr>
          <p:spPr bwMode="gray">
            <a:xfrm>
              <a:off x="7607284" y="653822"/>
              <a:ext cx="457200"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66" name="LineLegend3"/>
            <p:cNvSpPr>
              <a:spLocks noChangeShapeType="1"/>
            </p:cNvSpPr>
            <p:nvPr/>
          </p:nvSpPr>
          <p:spPr bwMode="gray">
            <a:xfrm>
              <a:off x="7607284" y="933223"/>
              <a:ext cx="457200"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67" name="Legend1"/>
            <p:cNvSpPr>
              <a:spLocks noChangeArrowheads="1"/>
            </p:cNvSpPr>
            <p:nvPr>
              <p:custDataLst>
                <p:tags r:id="rId33"/>
              </p:custDataLst>
            </p:nvPr>
          </p:nvSpPr>
          <p:spPr bwMode="gray">
            <a:xfrm>
              <a:off x="8169259" y="279400"/>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sp>
          <p:nvSpPr>
            <p:cNvPr id="68" name="Legend2"/>
            <p:cNvSpPr>
              <a:spLocks noChangeArrowheads="1"/>
            </p:cNvSpPr>
            <p:nvPr>
              <p:custDataLst>
                <p:tags r:id="rId34"/>
              </p:custDataLst>
            </p:nvPr>
          </p:nvSpPr>
          <p:spPr bwMode="gray">
            <a:xfrm>
              <a:off x="8169259" y="546100"/>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a:latin typeface="+mn-lt"/>
                  <a:ea typeface="+mn-ea"/>
                </a:rPr>
                <a:t>Legend</a:t>
              </a:r>
              <a:endParaRPr lang="en-US" sz="1400" baseline="0" dirty="0">
                <a:latin typeface="+mn-lt"/>
                <a:ea typeface="+mn-ea"/>
              </a:endParaRPr>
            </a:p>
          </p:txBody>
        </p:sp>
        <p:sp>
          <p:nvSpPr>
            <p:cNvPr id="69" name="Legend3"/>
            <p:cNvSpPr>
              <a:spLocks noChangeArrowheads="1"/>
            </p:cNvSpPr>
            <p:nvPr>
              <p:custDataLst>
                <p:tags r:id="rId35"/>
              </p:custDataLst>
            </p:nvPr>
          </p:nvSpPr>
          <p:spPr bwMode="gray">
            <a:xfrm>
              <a:off x="8169259" y="825501"/>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grpSp>
      <p:grpSp>
        <p:nvGrpSpPr>
          <p:cNvPr id="70" name="LegendBoxes" hidden="1"/>
          <p:cNvGrpSpPr/>
          <p:nvPr/>
        </p:nvGrpSpPr>
        <p:grpSpPr>
          <a:xfrm>
            <a:off x="7859564" y="267919"/>
            <a:ext cx="850317" cy="1028245"/>
            <a:chOff x="5894005" y="919828"/>
            <a:chExt cx="850317" cy="1028245"/>
          </a:xfrm>
        </p:grpSpPr>
        <p:sp>
          <p:nvSpPr>
            <p:cNvPr id="71" name="RectangleLegend1"/>
            <p:cNvSpPr>
              <a:spLocks noChangeArrowheads="1"/>
            </p:cNvSpPr>
            <p:nvPr/>
          </p:nvSpPr>
          <p:spPr bwMode="gray">
            <a:xfrm>
              <a:off x="5894005" y="947381"/>
              <a:ext cx="165100" cy="160338"/>
            </a:xfrm>
            <a:prstGeom prst="rect">
              <a:avLst/>
            </a:prstGeom>
            <a:solidFill>
              <a:schemeClr val="accent1"/>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72" name="RectangleLegend2"/>
            <p:cNvSpPr>
              <a:spLocks noChangeArrowheads="1"/>
            </p:cNvSpPr>
            <p:nvPr/>
          </p:nvSpPr>
          <p:spPr bwMode="gray">
            <a:xfrm>
              <a:off x="5894005" y="1217256"/>
              <a:ext cx="165100" cy="160338"/>
            </a:xfrm>
            <a:prstGeom prst="rect">
              <a:avLst/>
            </a:prstGeom>
            <a:solidFill>
              <a:schemeClr val="accent2"/>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73" name="RectangleLegend3"/>
            <p:cNvSpPr>
              <a:spLocks noChangeArrowheads="1"/>
            </p:cNvSpPr>
            <p:nvPr/>
          </p:nvSpPr>
          <p:spPr bwMode="gray">
            <a:xfrm>
              <a:off x="5894005" y="1488719"/>
              <a:ext cx="165100" cy="160338"/>
            </a:xfrm>
            <a:prstGeom prst="rect">
              <a:avLst/>
            </a:prstGeom>
            <a:solidFill>
              <a:schemeClr val="accent3"/>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74" name="RectangleLegend4"/>
            <p:cNvSpPr>
              <a:spLocks noChangeArrowheads="1"/>
            </p:cNvSpPr>
            <p:nvPr/>
          </p:nvSpPr>
          <p:spPr bwMode="gray">
            <a:xfrm>
              <a:off x="5894005" y="1760182"/>
              <a:ext cx="165100" cy="160338"/>
            </a:xfrm>
            <a:prstGeom prst="rect">
              <a:avLst/>
            </a:prstGeom>
            <a:solidFill>
              <a:schemeClr val="accent4"/>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75" name="Legend1"/>
            <p:cNvSpPr>
              <a:spLocks noChangeArrowheads="1"/>
            </p:cNvSpPr>
            <p:nvPr>
              <p:custDataLst>
                <p:tags r:id="rId29"/>
              </p:custDataLst>
            </p:nvPr>
          </p:nvSpPr>
          <p:spPr bwMode="gray">
            <a:xfrm>
              <a:off x="6148005" y="919828"/>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sp>
          <p:nvSpPr>
            <p:cNvPr id="76" name="Legend2"/>
            <p:cNvSpPr>
              <a:spLocks noChangeArrowheads="1"/>
            </p:cNvSpPr>
            <p:nvPr>
              <p:custDataLst>
                <p:tags r:id="rId30"/>
              </p:custDataLst>
            </p:nvPr>
          </p:nvSpPr>
          <p:spPr bwMode="gray">
            <a:xfrm>
              <a:off x="6148005" y="1189703"/>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sp>
          <p:nvSpPr>
            <p:cNvPr id="77" name="Legend3"/>
            <p:cNvSpPr>
              <a:spLocks noChangeArrowheads="1"/>
            </p:cNvSpPr>
            <p:nvPr>
              <p:custDataLst>
                <p:tags r:id="rId31"/>
              </p:custDataLst>
            </p:nvPr>
          </p:nvSpPr>
          <p:spPr bwMode="gray">
            <a:xfrm>
              <a:off x="6148005" y="1461166"/>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sp>
          <p:nvSpPr>
            <p:cNvPr id="78" name="Legend4"/>
            <p:cNvSpPr>
              <a:spLocks noChangeArrowheads="1"/>
            </p:cNvSpPr>
            <p:nvPr>
              <p:custDataLst>
                <p:tags r:id="rId32"/>
              </p:custDataLst>
            </p:nvPr>
          </p:nvSpPr>
          <p:spPr bwMode="gray">
            <a:xfrm>
              <a:off x="6148005" y="1732629"/>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grpSp>
      <p:grpSp>
        <p:nvGrpSpPr>
          <p:cNvPr id="79" name="LegendMoons" hidden="1"/>
          <p:cNvGrpSpPr/>
          <p:nvPr/>
        </p:nvGrpSpPr>
        <p:grpSpPr>
          <a:xfrm>
            <a:off x="7792889" y="267414"/>
            <a:ext cx="916992" cy="1317003"/>
            <a:chOff x="5894005" y="2695123"/>
            <a:chExt cx="916992" cy="1317003"/>
          </a:xfrm>
        </p:grpSpPr>
        <p:grpSp>
          <p:nvGrpSpPr>
            <p:cNvPr id="80" name="MoonLegend1"/>
            <p:cNvGrpSpPr>
              <a:grpSpLocks noChangeAspect="1"/>
            </p:cNvGrpSpPr>
            <p:nvPr>
              <p:custDataLst>
                <p:tags r:id="rId9"/>
              </p:custDataLst>
            </p:nvPr>
          </p:nvGrpSpPr>
          <p:grpSpPr bwMode="gray">
            <a:xfrm>
              <a:off x="5894005" y="2695123"/>
              <a:ext cx="209550" cy="218282"/>
              <a:chOff x="4533" y="183"/>
              <a:chExt cx="144" cy="150"/>
            </a:xfrm>
          </p:grpSpPr>
          <p:sp>
            <p:nvSpPr>
              <p:cNvPr id="98" name="Oval 97"/>
              <p:cNvSpPr>
                <a:spLocks noChangeAspect="1" noChangeArrowheads="1"/>
              </p:cNvSpPr>
              <p:nvPr>
                <p:custDataLst>
                  <p:tags r:id="rId27"/>
                </p:custDataLst>
              </p:nvPr>
            </p:nvSpPr>
            <p:spPr bwMode="gray">
              <a:xfrm>
                <a:off x="4533" y="189"/>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99" name="Arc 98" hidden="1"/>
              <p:cNvSpPr>
                <a:spLocks noChangeAspect="1"/>
              </p:cNvSpPr>
              <p:nvPr>
                <p:custDataLst>
                  <p:tags r:id="rId28"/>
                </p:custDataLst>
              </p:nvPr>
            </p:nvSpPr>
            <p:spPr bwMode="gray">
              <a:xfrm>
                <a:off x="4533" y="183"/>
                <a:ext cx="144" cy="144"/>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grpSp>
        <p:grpSp>
          <p:nvGrpSpPr>
            <p:cNvPr id="81" name="MoonLegend2"/>
            <p:cNvGrpSpPr>
              <a:grpSpLocks noChangeAspect="1"/>
            </p:cNvGrpSpPr>
            <p:nvPr>
              <p:custDataLst>
                <p:tags r:id="rId10"/>
              </p:custDataLst>
            </p:nvPr>
          </p:nvGrpSpPr>
          <p:grpSpPr bwMode="gray">
            <a:xfrm>
              <a:off x="5894005" y="2977103"/>
              <a:ext cx="209550" cy="209551"/>
              <a:chOff x="1694" y="2051"/>
              <a:chExt cx="160" cy="160"/>
            </a:xfrm>
          </p:grpSpPr>
          <p:sp>
            <p:nvSpPr>
              <p:cNvPr id="96" name="Oval 41"/>
              <p:cNvSpPr>
                <a:spLocks noChangeAspect="1" noChangeArrowheads="1"/>
              </p:cNvSpPr>
              <p:nvPr>
                <p:custDataLst>
                  <p:tags r:id="rId25"/>
                </p:custDataLst>
              </p:nvPr>
            </p:nvSpPr>
            <p:spPr bwMode="gray">
              <a:xfrm>
                <a:off x="1694" y="2051"/>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97" name="Arc 42"/>
              <p:cNvSpPr>
                <a:spLocks noChangeAspect="1"/>
              </p:cNvSpPr>
              <p:nvPr>
                <p:custDataLst>
                  <p:tags r:id="rId26"/>
                </p:custDataLst>
              </p:nvPr>
            </p:nvSpPr>
            <p:spPr bwMode="gray">
              <a:xfrm>
                <a:off x="1694" y="2051"/>
                <a:ext cx="160" cy="160"/>
              </a:xfrm>
              <a:prstGeom prst="arc">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grpSp>
        <p:grpSp>
          <p:nvGrpSpPr>
            <p:cNvPr id="82" name="MoonLegend4"/>
            <p:cNvGrpSpPr>
              <a:grpSpLocks noChangeAspect="1"/>
            </p:cNvGrpSpPr>
            <p:nvPr>
              <p:custDataLst>
                <p:tags r:id="rId11"/>
              </p:custDataLst>
            </p:nvPr>
          </p:nvGrpSpPr>
          <p:grpSpPr bwMode="gray">
            <a:xfrm>
              <a:off x="5894005" y="3524395"/>
              <a:ext cx="209550" cy="209551"/>
              <a:chOff x="4495" y="1204"/>
              <a:chExt cx="160" cy="160"/>
            </a:xfrm>
          </p:grpSpPr>
          <p:sp>
            <p:nvSpPr>
              <p:cNvPr id="94" name="Oval 47"/>
              <p:cNvSpPr>
                <a:spLocks noChangeAspect="1" noChangeArrowheads="1"/>
              </p:cNvSpPr>
              <p:nvPr>
                <p:custDataLst>
                  <p:tags r:id="rId23"/>
                </p:custDataLst>
              </p:nvPr>
            </p:nvSpPr>
            <p:spPr bwMode="gray">
              <a:xfrm>
                <a:off x="4495" y="120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95" name="Arc 48"/>
              <p:cNvSpPr>
                <a:spLocks noChangeAspect="1"/>
              </p:cNvSpPr>
              <p:nvPr>
                <p:custDataLst>
                  <p:tags r:id="rId24"/>
                </p:custDataLst>
              </p:nvPr>
            </p:nvSpPr>
            <p:spPr bwMode="gray">
              <a:xfrm>
                <a:off x="4495" y="1204"/>
                <a:ext cx="160" cy="160"/>
              </a:xfrm>
              <a:prstGeom prst="arc">
                <a:avLst>
                  <a:gd name="adj1" fmla="val 16200000"/>
                  <a:gd name="adj2" fmla="val 108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grpSp>
        <p:grpSp>
          <p:nvGrpSpPr>
            <p:cNvPr id="83" name="MoonLegend5"/>
            <p:cNvGrpSpPr>
              <a:grpSpLocks noChangeAspect="1"/>
            </p:cNvGrpSpPr>
            <p:nvPr>
              <p:custDataLst>
                <p:tags r:id="rId12"/>
              </p:custDataLst>
            </p:nvPr>
          </p:nvGrpSpPr>
          <p:grpSpPr bwMode="gray">
            <a:xfrm>
              <a:off x="5894005" y="3799629"/>
              <a:ext cx="209550" cy="209551"/>
              <a:chOff x="4495" y="1447"/>
              <a:chExt cx="160" cy="160"/>
            </a:xfrm>
          </p:grpSpPr>
          <p:sp>
            <p:nvSpPr>
              <p:cNvPr id="92" name="Oval 50"/>
              <p:cNvSpPr>
                <a:spLocks noChangeAspect="1" noChangeArrowheads="1"/>
              </p:cNvSpPr>
              <p:nvPr>
                <p:custDataLst>
                  <p:tags r:id="rId21"/>
                </p:custDataLst>
              </p:nvPr>
            </p:nvSpPr>
            <p:spPr bwMode="gray">
              <a:xfrm>
                <a:off x="4495" y="1447"/>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93" name="Oval 51"/>
              <p:cNvSpPr>
                <a:spLocks noChangeAspect="1" noChangeArrowheads="1"/>
              </p:cNvSpPr>
              <p:nvPr>
                <p:custDataLst>
                  <p:tags r:id="rId22"/>
                </p:custDataLst>
              </p:nvPr>
            </p:nvSpPr>
            <p:spPr bwMode="gray">
              <a:xfrm>
                <a:off x="4495" y="1447"/>
                <a:ext cx="160" cy="160"/>
              </a:xfrm>
              <a:prstGeom prst="arc">
                <a:avLst>
                  <a:gd name="adj1" fmla="val 16200000"/>
                  <a:gd name="adj2" fmla="val 162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grpSp>
        <p:grpSp>
          <p:nvGrpSpPr>
            <p:cNvPr id="84" name="MoonLegend3"/>
            <p:cNvGrpSpPr>
              <a:grpSpLocks noChangeAspect="1"/>
            </p:cNvGrpSpPr>
            <p:nvPr>
              <p:custDataLst>
                <p:tags r:id="rId13"/>
              </p:custDataLst>
            </p:nvPr>
          </p:nvGrpSpPr>
          <p:grpSpPr bwMode="gray">
            <a:xfrm>
              <a:off x="5894005" y="3251543"/>
              <a:ext cx="209550" cy="209551"/>
              <a:chOff x="4495" y="1205"/>
              <a:chExt cx="160" cy="160"/>
            </a:xfrm>
          </p:grpSpPr>
          <p:sp>
            <p:nvSpPr>
              <p:cNvPr id="90" name="Oval 47"/>
              <p:cNvSpPr>
                <a:spLocks noChangeAspect="1" noChangeArrowheads="1"/>
              </p:cNvSpPr>
              <p:nvPr>
                <p:custDataLst>
                  <p:tags r:id="rId19"/>
                </p:custDataLst>
              </p:nvPr>
            </p:nvSpPr>
            <p:spPr bwMode="gray">
              <a:xfrm>
                <a:off x="4495" y="1205"/>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91" name="Arc 48"/>
              <p:cNvSpPr>
                <a:spLocks noChangeAspect="1"/>
              </p:cNvSpPr>
              <p:nvPr>
                <p:custDataLst>
                  <p:tags r:id="rId20"/>
                </p:custDataLst>
              </p:nvPr>
            </p:nvSpPr>
            <p:spPr bwMode="gray">
              <a:xfrm>
                <a:off x="4495" y="1205"/>
                <a:ext cx="160" cy="160"/>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grpSp>
        <p:sp>
          <p:nvSpPr>
            <p:cNvPr id="85" name="Legend1"/>
            <p:cNvSpPr>
              <a:spLocks noChangeArrowheads="1"/>
            </p:cNvSpPr>
            <p:nvPr>
              <p:custDataLst>
                <p:tags r:id="rId14"/>
              </p:custDataLst>
            </p:nvPr>
          </p:nvSpPr>
          <p:spPr bwMode="gray">
            <a:xfrm>
              <a:off x="6214680" y="2696542"/>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sp>
          <p:nvSpPr>
            <p:cNvPr id="86" name="Legend2"/>
            <p:cNvSpPr>
              <a:spLocks noChangeArrowheads="1"/>
            </p:cNvSpPr>
            <p:nvPr>
              <p:custDataLst>
                <p:tags r:id="rId15"/>
              </p:custDataLst>
            </p:nvPr>
          </p:nvSpPr>
          <p:spPr bwMode="gray">
            <a:xfrm>
              <a:off x="6214680" y="2974156"/>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a:latin typeface="+mn-lt"/>
                  <a:ea typeface="+mn-ea"/>
                </a:rPr>
                <a:t>Legend</a:t>
              </a:r>
              <a:endParaRPr lang="en-US" sz="1400" baseline="0" dirty="0">
                <a:latin typeface="+mn-lt"/>
                <a:ea typeface="+mn-ea"/>
              </a:endParaRPr>
            </a:p>
          </p:txBody>
        </p:sp>
        <p:sp>
          <p:nvSpPr>
            <p:cNvPr id="87" name="Legend3"/>
            <p:cNvSpPr>
              <a:spLocks noChangeArrowheads="1"/>
            </p:cNvSpPr>
            <p:nvPr>
              <p:custDataLst>
                <p:tags r:id="rId16"/>
              </p:custDataLst>
            </p:nvPr>
          </p:nvSpPr>
          <p:spPr bwMode="gray">
            <a:xfrm>
              <a:off x="6214680" y="3248596"/>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sp>
          <p:nvSpPr>
            <p:cNvPr id="88" name="Legend4"/>
            <p:cNvSpPr>
              <a:spLocks noChangeArrowheads="1"/>
            </p:cNvSpPr>
            <p:nvPr>
              <p:custDataLst>
                <p:tags r:id="rId17"/>
              </p:custDataLst>
            </p:nvPr>
          </p:nvSpPr>
          <p:spPr bwMode="gray">
            <a:xfrm>
              <a:off x="6214680" y="3521448"/>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sp>
          <p:nvSpPr>
            <p:cNvPr id="89" name="Legend5"/>
            <p:cNvSpPr>
              <a:spLocks noChangeArrowheads="1"/>
            </p:cNvSpPr>
            <p:nvPr>
              <p:custDataLst>
                <p:tags r:id="rId18"/>
              </p:custDataLst>
            </p:nvPr>
          </p:nvSpPr>
          <p:spPr bwMode="gray">
            <a:xfrm>
              <a:off x="6214680" y="3796682"/>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a:latin typeface="+mn-lt"/>
                  <a:ea typeface="+mn-ea"/>
                </a:rPr>
                <a:t>Legend</a:t>
              </a:r>
              <a:endParaRPr lang="en-US" sz="1400" baseline="0" dirty="0">
                <a:latin typeface="+mn-lt"/>
                <a:ea typeface="+mn-ea"/>
              </a:endParaRPr>
            </a:p>
          </p:txBody>
        </p:sp>
      </p:grpSp>
    </p:spTree>
    <p:extLst>
      <p:ext uri="{BB962C8B-B14F-4D97-AF65-F5344CB8AC3E}">
        <p14:creationId xmlns:p14="http://schemas.microsoft.com/office/powerpoint/2010/main" val="1487645382"/>
      </p:ext>
    </p:extLst>
  </p:cSld>
  <p:clrMap bg1="lt1" tx1="dk1" bg2="lt2" tx2="dk2" accent1="accent1" accent2="accent2" accent3="accent3" accent4="accent4" accent5="accent5" accent6="accent6" hlink="hlink" folHlink="folHlink"/>
  <p:sldLayoutIdLst>
    <p:sldLayoutId id="2147483876" r:id="rId1"/>
    <p:sldLayoutId id="2147483877" r:id="rId2"/>
    <p:sldLayoutId id="2147483878" r:id="rId3"/>
    <p:sldLayoutId id="2147483879" r:id="rId4"/>
  </p:sldLayoutIdLst>
  <p:txStyles>
    <p:titleStyle>
      <a:lvl1pPr algn="l" defTabSz="895350" rtl="0" eaLnBrk="1" fontAlgn="base" hangingPunct="1">
        <a:spcBef>
          <a:spcPct val="0"/>
        </a:spcBef>
        <a:spcAft>
          <a:spcPct val="0"/>
        </a:spcAft>
        <a:tabLst>
          <a:tab pos="269875" algn="l"/>
        </a:tabLst>
        <a:defRPr sz="2000" b="0" baseline="0">
          <a:solidFill>
            <a:schemeClr val="tx2"/>
          </a:solidFill>
          <a:latin typeface="+mj-lt"/>
          <a:ea typeface="+mj-ea"/>
          <a:cs typeface="+mj-cs"/>
        </a:defRPr>
      </a:lvl1pPr>
      <a:lvl2pPr algn="l" defTabSz="895350" rtl="0" eaLnBrk="1" fontAlgn="base" hangingPunct="1">
        <a:spcBef>
          <a:spcPct val="0"/>
        </a:spcBef>
        <a:spcAft>
          <a:spcPct val="0"/>
        </a:spcAft>
        <a:defRPr sz="1900" b="1">
          <a:solidFill>
            <a:schemeClr val="tx2"/>
          </a:solidFill>
          <a:latin typeface="Arial" charset="0"/>
        </a:defRPr>
      </a:lvl2pPr>
      <a:lvl3pPr algn="l" defTabSz="895350" rtl="0" eaLnBrk="1" fontAlgn="base" hangingPunct="1">
        <a:spcBef>
          <a:spcPct val="0"/>
        </a:spcBef>
        <a:spcAft>
          <a:spcPct val="0"/>
        </a:spcAft>
        <a:defRPr sz="1900" b="1">
          <a:solidFill>
            <a:schemeClr val="tx2"/>
          </a:solidFill>
          <a:latin typeface="Arial" charset="0"/>
        </a:defRPr>
      </a:lvl3pPr>
      <a:lvl4pPr algn="l" defTabSz="895350" rtl="0" eaLnBrk="1" fontAlgn="base" hangingPunct="1">
        <a:spcBef>
          <a:spcPct val="0"/>
        </a:spcBef>
        <a:spcAft>
          <a:spcPct val="0"/>
        </a:spcAft>
        <a:defRPr sz="1900" b="1">
          <a:solidFill>
            <a:schemeClr val="tx2"/>
          </a:solidFill>
          <a:latin typeface="Arial" charset="0"/>
        </a:defRPr>
      </a:lvl4pPr>
      <a:lvl5pPr algn="l" defTabSz="895350" rtl="0" eaLnBrk="1" fontAlgn="base" hangingPunct="1">
        <a:spcBef>
          <a:spcPct val="0"/>
        </a:spcBef>
        <a:spcAft>
          <a:spcPct val="0"/>
        </a:spcAft>
        <a:defRPr sz="1900" b="1">
          <a:solidFill>
            <a:schemeClr val="tx2"/>
          </a:solidFill>
          <a:latin typeface="Arial" charset="0"/>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p:titleStyle>
    <p:bodyStyle>
      <a:lvl1pPr marL="0" indent="0" algn="l" defTabSz="895350" rtl="0" eaLnBrk="1" fontAlgn="base" hangingPunct="1">
        <a:spcBef>
          <a:spcPct val="0"/>
        </a:spcBef>
        <a:spcAft>
          <a:spcPct val="0"/>
        </a:spcAft>
        <a:buClr>
          <a:schemeClr val="tx2"/>
        </a:buClr>
        <a:buSzPct val="100000"/>
        <a:defRPr sz="14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4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4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4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4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ext>
  </p:extLst>
</p:sldMaster>
</file>

<file path=ppt/slideMasters/slideMaster4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7"/>
            </p:custDataLst>
            <p:extLst>
              <p:ext uri="{D42A27DB-BD31-4B8C-83A1-F6EECF244321}">
                <p14:modId xmlns:p14="http://schemas.microsoft.com/office/powerpoint/2010/main" val="537705424"/>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15060" name="think-cell Slide" r:id="rId36" imgW="270" imgH="270" progId="TCLayout.ActiveDocument.1">
                  <p:embed/>
                </p:oleObj>
              </mc:Choice>
              <mc:Fallback>
                <p:oleObj name="think-cell Slide" r:id="rId36" imgW="270" imgH="270" progId="TCLayout.ActiveDocument.1">
                  <p:embed/>
                  <p:pic>
                    <p:nvPicPr>
                      <p:cNvPr id="2" name="Object 1" hidden="1"/>
                      <p:cNvPicPr/>
                      <p:nvPr/>
                    </p:nvPicPr>
                    <p:blipFill>
                      <a:blip r:embed="rId37"/>
                      <a:stretch>
                        <a:fillRect/>
                      </a:stretch>
                    </p:blipFill>
                    <p:spPr>
                      <a:xfrm>
                        <a:off x="0" y="0"/>
                        <a:ext cx="158750" cy="158750"/>
                      </a:xfrm>
                      <a:prstGeom prst="rect">
                        <a:avLst/>
                      </a:prstGeom>
                    </p:spPr>
                  </p:pic>
                </p:oleObj>
              </mc:Fallback>
            </mc:AlternateContent>
          </a:graphicData>
        </a:graphic>
      </p:graphicFrame>
      <p:sp>
        <p:nvSpPr>
          <p:cNvPr id="6" name="Rectangle 5" hidden="1"/>
          <p:cNvSpPr/>
          <p:nvPr>
            <p:custDataLst>
              <p:tags r:id="rId8"/>
            </p:custDataLst>
          </p:nvPr>
        </p:nvSpPr>
        <p:spPr bwMode="auto">
          <a:xfrm>
            <a:off x="0" y="0"/>
            <a:ext cx="158750" cy="158750"/>
          </a:xfrm>
          <a:prstGeom prst="rect">
            <a:avLst/>
          </a:prstGeom>
          <a:solidFill>
            <a:schemeClr val="bg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dirty="0">
              <a:solidFill>
                <a:srgbClr val="000000"/>
              </a:solidFill>
              <a:sym typeface="Arial" panose="020B0604020202020204" pitchFamily="34" charset="0"/>
            </a:endParaRPr>
          </a:p>
        </p:txBody>
      </p:sp>
      <p:sp>
        <p:nvSpPr>
          <p:cNvPr id="1034" name="Working Draft" hidden="1"/>
          <p:cNvSpPr txBox="1">
            <a:spLocks noChangeArrowheads="1"/>
          </p:cNvSpPr>
          <p:nvPr/>
        </p:nvSpPr>
        <p:spPr bwMode="gray">
          <a:xfrm rot="5400000">
            <a:off x="7966656" y="1940591"/>
            <a:ext cx="1849865"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600" baseline="0">
                <a:solidFill>
                  <a:srgbClr val="808080"/>
                </a:solidFill>
                <a:latin typeface="+mn-lt"/>
                <a:ea typeface="+mn-ea"/>
              </a:rPr>
              <a:t>Last Modified 21/05/2018 17:44 India Standard Time</a:t>
            </a:r>
            <a:endParaRPr lang="en-US" baseline="0" dirty="0">
              <a:solidFill>
                <a:srgbClr val="808080"/>
              </a:solidFill>
              <a:latin typeface="+mn-lt"/>
              <a:ea typeface="+mn-ea"/>
            </a:endParaRPr>
          </a:p>
        </p:txBody>
      </p:sp>
      <p:sp>
        <p:nvSpPr>
          <p:cNvPr id="1035" name="Printed" hidden="1"/>
          <p:cNvSpPr txBox="1">
            <a:spLocks noChangeArrowheads="1"/>
          </p:cNvSpPr>
          <p:nvPr/>
        </p:nvSpPr>
        <p:spPr bwMode="gray">
          <a:xfrm rot="5400000">
            <a:off x="8768958" y="4114417"/>
            <a:ext cx="245260"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600" baseline="0" dirty="0">
                <a:solidFill>
                  <a:srgbClr val="808080"/>
                </a:solidFill>
                <a:latin typeface="+mn-lt"/>
                <a:ea typeface="+mn-ea"/>
              </a:rPr>
              <a:t>Printed</a:t>
            </a:r>
            <a:endParaRPr lang="en-US" baseline="0" dirty="0">
              <a:solidFill>
                <a:srgbClr val="808080"/>
              </a:solidFill>
              <a:latin typeface="+mn-lt"/>
              <a:ea typeface="+mn-ea"/>
            </a:endParaRPr>
          </a:p>
        </p:txBody>
      </p:sp>
      <p:sp>
        <p:nvSpPr>
          <p:cNvPr id="19" name="Title Placeholder 2"/>
          <p:cNvSpPr>
            <a:spLocks noGrp="1" noChangeArrowheads="1"/>
          </p:cNvSpPr>
          <p:nvPr>
            <p:ph type="title"/>
          </p:nvPr>
        </p:nvSpPr>
        <p:spPr bwMode="gray">
          <a:xfrm>
            <a:off x="119063" y="230188"/>
            <a:ext cx="8618537"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latinLnBrk="0"/>
            <a:r>
              <a:rPr lang="en-US"/>
              <a:t>Click to edit Master title style</a:t>
            </a:r>
            <a:endParaRPr lang="en-US" noProof="0" dirty="0"/>
          </a:p>
        </p:txBody>
      </p:sp>
      <p:sp>
        <p:nvSpPr>
          <p:cNvPr id="10" name="1. On-page tracker" hidden="1"/>
          <p:cNvSpPr>
            <a:spLocks noChangeArrowheads="1"/>
          </p:cNvSpPr>
          <p:nvPr/>
        </p:nvSpPr>
        <p:spPr bwMode="gray">
          <a:xfrm>
            <a:off x="119063" y="75764"/>
            <a:ext cx="490519"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800" cap="all" baseline="0" dirty="0">
                <a:solidFill>
                  <a:schemeClr val="accent6"/>
                </a:solidFill>
                <a:latin typeface="+mn-lt"/>
                <a:ea typeface="+mn-ea"/>
              </a:rPr>
              <a:t>Tracker</a:t>
            </a:r>
          </a:p>
        </p:txBody>
      </p:sp>
      <p:sp>
        <p:nvSpPr>
          <p:cNvPr id="11" name="3. Unit of measure" hidden="1"/>
          <p:cNvSpPr txBox="1">
            <a:spLocks noChangeArrowheads="1"/>
          </p:cNvSpPr>
          <p:nvPr/>
        </p:nvSpPr>
        <p:spPr bwMode="gray">
          <a:xfrm>
            <a:off x="119063" y="554865"/>
            <a:ext cx="8618537"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600" baseline="0" dirty="0">
                <a:solidFill>
                  <a:schemeClr val="accent6"/>
                </a:solidFill>
                <a:latin typeface="+mn-lt"/>
                <a:ea typeface="+mn-ea"/>
              </a:rPr>
              <a:t>Unit of measure</a:t>
            </a:r>
          </a:p>
        </p:txBody>
      </p:sp>
      <p:grpSp>
        <p:nvGrpSpPr>
          <p:cNvPr id="4" name="Slide Elements" hidden="1"/>
          <p:cNvGrpSpPr/>
          <p:nvPr/>
        </p:nvGrpSpPr>
        <p:grpSpPr bwMode="gray">
          <a:xfrm>
            <a:off x="119063" y="6305945"/>
            <a:ext cx="8618537" cy="325438"/>
            <a:chOff x="119063" y="6305945"/>
            <a:chExt cx="8618537" cy="325438"/>
          </a:xfrm>
        </p:grpSpPr>
        <p:sp>
          <p:nvSpPr>
            <p:cNvPr id="13" name="4. Footnote"/>
            <p:cNvSpPr txBox="1">
              <a:spLocks noChangeArrowheads="1"/>
            </p:cNvSpPr>
            <p:nvPr/>
          </p:nvSpPr>
          <p:spPr bwMode="gray">
            <a:xfrm>
              <a:off x="119063" y="6305945"/>
              <a:ext cx="8618537" cy="123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800" baseline="0" dirty="0">
                  <a:solidFill>
                    <a:schemeClr val="accent6"/>
                  </a:solidFill>
                  <a:latin typeface="+mn-lt"/>
                  <a:ea typeface="+mn-ea"/>
                </a:rPr>
                <a:t>1 Footnote</a:t>
              </a:r>
            </a:p>
          </p:txBody>
        </p:sp>
        <p:sp>
          <p:nvSpPr>
            <p:cNvPr id="14" name="5. Source"/>
            <p:cNvSpPr>
              <a:spLocks noChangeArrowheads="1"/>
            </p:cNvSpPr>
            <p:nvPr/>
          </p:nvSpPr>
          <p:spPr bwMode="gray">
            <a:xfrm>
              <a:off x="119063" y="6507558"/>
              <a:ext cx="7200000" cy="123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marL="609600" indent="-609600" defTabSz="895350">
                <a:tabLst>
                  <a:tab pos="612775" algn="l"/>
                </a:tabLst>
              </a:pPr>
              <a:r>
                <a:rPr lang="en-US" sz="800" baseline="0" dirty="0">
                  <a:solidFill>
                    <a:schemeClr val="accent6"/>
                  </a:solidFill>
                  <a:latin typeface="+mn-lt"/>
                  <a:ea typeface="+mn-ea"/>
                </a:rPr>
                <a:t>SOURCE: Source</a:t>
              </a:r>
            </a:p>
          </p:txBody>
        </p:sp>
      </p:grpSp>
      <p:sp>
        <p:nvSpPr>
          <p:cNvPr id="3" name="Text Placeholder 2"/>
          <p:cNvSpPr>
            <a:spLocks noGrp="1"/>
          </p:cNvSpPr>
          <p:nvPr>
            <p:ph type="body" idx="1"/>
          </p:nvPr>
        </p:nvSpPr>
        <p:spPr bwMode="gray">
          <a:xfrm>
            <a:off x="1452564" y="1951380"/>
            <a:ext cx="4302125" cy="1077218"/>
          </a:xfrm>
          <a:prstGeom prst="rect">
            <a:avLst/>
          </a:prstGeom>
        </p:spPr>
        <p:txBody>
          <a:bodyPr vert="horz" lIns="0" tIns="0" rIns="0" bIns="0" rtlCol="0">
            <a:spAutoFit/>
          </a:bodyPr>
          <a:lstStyle/>
          <a:p>
            <a:pPr lvl="0" latinLnBrk="0"/>
            <a:r>
              <a:rPr lang="en-US"/>
              <a:t>Edit Master text styles</a:t>
            </a:r>
          </a:p>
          <a:p>
            <a:pPr lvl="1" latinLnBrk="0"/>
            <a:r>
              <a:rPr lang="en-US"/>
              <a:t>Second level</a:t>
            </a:r>
          </a:p>
          <a:p>
            <a:pPr lvl="2" latinLnBrk="0"/>
            <a:r>
              <a:rPr lang="en-US"/>
              <a:t>Third level</a:t>
            </a:r>
          </a:p>
          <a:p>
            <a:pPr lvl="3" latinLnBrk="0"/>
            <a:r>
              <a:rPr lang="en-US"/>
              <a:t>Fourth level</a:t>
            </a:r>
          </a:p>
          <a:p>
            <a:pPr lvl="4" latinLnBrk="0"/>
            <a:r>
              <a:rPr lang="en-US"/>
              <a:t>Fifth level</a:t>
            </a:r>
            <a:endParaRPr lang="en-US" dirty="0"/>
          </a:p>
        </p:txBody>
      </p:sp>
      <p:grpSp>
        <p:nvGrpSpPr>
          <p:cNvPr id="15" name="ACET" hidden="1"/>
          <p:cNvGrpSpPr>
            <a:grpSpLocks/>
          </p:cNvGrpSpPr>
          <p:nvPr/>
        </p:nvGrpSpPr>
        <p:grpSpPr bwMode="gray">
          <a:xfrm>
            <a:off x="1452563" y="1257754"/>
            <a:ext cx="4264025" cy="508000"/>
            <a:chOff x="915" y="710"/>
            <a:chExt cx="2686" cy="320"/>
          </a:xfrm>
        </p:grpSpPr>
        <p:cxnSp>
          <p:nvCxnSpPr>
            <p:cNvPr id="16" name="AutoShape 249"/>
            <p:cNvCxnSpPr>
              <a:cxnSpLocks noChangeShapeType="1"/>
              <a:stCxn id="18" idx="4"/>
              <a:endCxn id="18" idx="6"/>
            </p:cNvCxnSpPr>
            <p:nvPr/>
          </p:nvCxnSpPr>
          <p:spPr bwMode="gray">
            <a:xfrm>
              <a:off x="915" y="1030"/>
              <a:ext cx="2686" cy="0"/>
            </a:xfrm>
            <a:prstGeom prst="straightConnector1">
              <a:avLst/>
            </a:prstGeom>
            <a:noFill/>
            <a:ln w="9525">
              <a:solidFill>
                <a:schemeClr val="accent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8" name="AutoShape 250"/>
            <p:cNvSpPr>
              <a:spLocks noChangeArrowheads="1"/>
            </p:cNvSpPr>
            <p:nvPr/>
          </p:nvSpPr>
          <p:spPr bwMode="gray">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US" b="1" baseline="0" dirty="0">
                  <a:solidFill>
                    <a:srgbClr val="000000"/>
                  </a:solidFill>
                  <a:latin typeface="+mn-lt"/>
                  <a:ea typeface="+mn-ea"/>
                </a:rPr>
                <a:t>Title</a:t>
              </a:r>
            </a:p>
            <a:p>
              <a:r>
                <a:rPr lang="en-US" baseline="0" dirty="0">
                  <a:solidFill>
                    <a:schemeClr val="accent6"/>
                  </a:solidFill>
                  <a:latin typeface="+mn-lt"/>
                  <a:ea typeface="+mn-ea"/>
                </a:rPr>
                <a:t>Unit of measure</a:t>
              </a:r>
            </a:p>
          </p:txBody>
        </p:sp>
      </p:grpSp>
      <p:grpSp>
        <p:nvGrpSpPr>
          <p:cNvPr id="17" name="McKSticker" hidden="1"/>
          <p:cNvGrpSpPr/>
          <p:nvPr/>
        </p:nvGrpSpPr>
        <p:grpSpPr bwMode="gray">
          <a:xfrm>
            <a:off x="8264265" y="285750"/>
            <a:ext cx="473335" cy="150811"/>
            <a:chOff x="8267440" y="285750"/>
            <a:chExt cx="473335" cy="150811"/>
          </a:xfrm>
        </p:grpSpPr>
        <p:sp>
          <p:nvSpPr>
            <p:cNvPr id="20" name="StickerRectangle"/>
            <p:cNvSpPr>
              <a:spLocks noChangeArrowheads="1"/>
            </p:cNvSpPr>
            <p:nvPr/>
          </p:nvSpPr>
          <p:spPr bwMode="gray">
            <a:xfrm>
              <a:off x="8267440" y="285750"/>
              <a:ext cx="473335" cy="150811"/>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a:buClr>
                  <a:srgbClr val="002960"/>
                </a:buClr>
              </a:pPr>
              <a:r>
                <a:rPr lang="en-US" sz="800" baseline="0" dirty="0">
                  <a:solidFill>
                    <a:schemeClr val="accent6"/>
                  </a:solidFill>
                  <a:latin typeface="+mn-lt"/>
                  <a:ea typeface="+mn-ea"/>
                </a:rPr>
                <a:t>STICKER</a:t>
              </a:r>
            </a:p>
          </p:txBody>
        </p:sp>
        <p:cxnSp>
          <p:nvCxnSpPr>
            <p:cNvPr id="21" name="AutoShape 31"/>
            <p:cNvCxnSpPr>
              <a:cxnSpLocks noChangeShapeType="1"/>
              <a:stCxn id="20" idx="2"/>
              <a:endCxn id="20" idx="4"/>
            </p:cNvCxnSpPr>
            <p:nvPr/>
          </p:nvCxnSpPr>
          <p:spPr bwMode="gray">
            <a:xfrm>
              <a:off x="8267440" y="285750"/>
              <a:ext cx="0" cy="150811"/>
            </a:xfrm>
            <a:prstGeom prst="straightConnector1">
              <a:avLst/>
            </a:prstGeom>
            <a:noFill/>
            <a:ln w="9525">
              <a:solidFill>
                <a:schemeClr val="accent6"/>
              </a:solidFill>
              <a:round/>
              <a:headEnd/>
              <a:tailEnd/>
            </a:ln>
            <a:extLst>
              <a:ext uri="{909E8E84-426E-40DD-AFC4-6F175D3DCCD1}">
                <a14:hiddenFill xmlns:a14="http://schemas.microsoft.com/office/drawing/2010/main">
                  <a:noFill/>
                </a14:hiddenFill>
              </a:ext>
            </a:extLst>
          </p:spPr>
        </p:cxnSp>
        <p:cxnSp>
          <p:nvCxnSpPr>
            <p:cNvPr id="22" name="AutoShape 32"/>
            <p:cNvCxnSpPr>
              <a:cxnSpLocks noChangeShapeType="1"/>
              <a:stCxn id="20" idx="4"/>
              <a:endCxn id="20" idx="6"/>
            </p:cNvCxnSpPr>
            <p:nvPr/>
          </p:nvCxnSpPr>
          <p:spPr bwMode="gray">
            <a:xfrm>
              <a:off x="8267440" y="436561"/>
              <a:ext cx="473335" cy="0"/>
            </a:xfrm>
            <a:prstGeom prst="straightConnector1">
              <a:avLst/>
            </a:prstGeom>
            <a:noFill/>
            <a:ln w="25400">
              <a:solidFill>
                <a:schemeClr val="accent6"/>
              </a:solidFill>
              <a:round/>
              <a:headEnd/>
              <a:tailEnd/>
            </a:ln>
            <a:extLst>
              <a:ext uri="{909E8E84-426E-40DD-AFC4-6F175D3DCCD1}">
                <a14:hiddenFill xmlns:a14="http://schemas.microsoft.com/office/drawing/2010/main">
                  <a:noFill/>
                </a14:hiddenFill>
              </a:ext>
            </a:extLst>
          </p:spPr>
        </p:cxnSp>
      </p:grpSp>
      <p:sp>
        <p:nvSpPr>
          <p:cNvPr id="23" name="SlideBottomBar" hidden="1"/>
          <p:cNvSpPr/>
          <p:nvPr/>
        </p:nvSpPr>
        <p:spPr>
          <a:xfrm>
            <a:off x="8437547" y="6182120"/>
            <a:ext cx="45719" cy="123825"/>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aseline="0" dirty="0">
              <a:solidFill>
                <a:schemeClr val="tx1"/>
              </a:solidFill>
              <a:latin typeface="+mn-lt"/>
              <a:ea typeface="+mn-ea"/>
            </a:endParaRPr>
          </a:p>
        </p:txBody>
      </p:sp>
      <p:sp>
        <p:nvSpPr>
          <p:cNvPr id="24" name="doc id" hidden="1"/>
          <p:cNvSpPr txBox="1">
            <a:spLocks noChangeArrowheads="1"/>
          </p:cNvSpPr>
          <p:nvPr/>
        </p:nvSpPr>
        <p:spPr bwMode="white">
          <a:xfrm>
            <a:off x="8104473" y="36513"/>
            <a:ext cx="634716" cy="115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hangingPunct="1">
              <a:defRPr/>
            </a:pPr>
            <a:endParaRPr lang="en-US" sz="800" baseline="0" dirty="0">
              <a:solidFill>
                <a:schemeClr val="accent1"/>
              </a:solidFill>
              <a:latin typeface="+mn-lt"/>
              <a:ea typeface="+mn-ea"/>
            </a:endParaRPr>
          </a:p>
        </p:txBody>
      </p:sp>
      <p:grpSp>
        <p:nvGrpSpPr>
          <p:cNvPr id="63" name="LegendLines" hidden="1"/>
          <p:cNvGrpSpPr/>
          <p:nvPr/>
        </p:nvGrpSpPr>
        <p:grpSpPr>
          <a:xfrm>
            <a:off x="7551589" y="267815"/>
            <a:ext cx="1158292" cy="761545"/>
            <a:chOff x="7607284" y="279400"/>
            <a:chExt cx="1158292" cy="761545"/>
          </a:xfrm>
        </p:grpSpPr>
        <p:sp>
          <p:nvSpPr>
            <p:cNvPr id="64" name="LineLegend1"/>
            <p:cNvSpPr>
              <a:spLocks noChangeShapeType="1"/>
            </p:cNvSpPr>
            <p:nvPr/>
          </p:nvSpPr>
          <p:spPr bwMode="gray">
            <a:xfrm>
              <a:off x="7607284" y="387122"/>
              <a:ext cx="457200"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65" name="LineLegend2"/>
            <p:cNvSpPr>
              <a:spLocks noChangeShapeType="1"/>
            </p:cNvSpPr>
            <p:nvPr/>
          </p:nvSpPr>
          <p:spPr bwMode="gray">
            <a:xfrm>
              <a:off x="7607284" y="653822"/>
              <a:ext cx="457200"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66" name="LineLegend3"/>
            <p:cNvSpPr>
              <a:spLocks noChangeShapeType="1"/>
            </p:cNvSpPr>
            <p:nvPr/>
          </p:nvSpPr>
          <p:spPr bwMode="gray">
            <a:xfrm>
              <a:off x="7607284" y="933223"/>
              <a:ext cx="457200"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67" name="Legend1"/>
            <p:cNvSpPr>
              <a:spLocks noChangeArrowheads="1"/>
            </p:cNvSpPr>
            <p:nvPr>
              <p:custDataLst>
                <p:tags r:id="rId33"/>
              </p:custDataLst>
            </p:nvPr>
          </p:nvSpPr>
          <p:spPr bwMode="gray">
            <a:xfrm>
              <a:off x="8169259" y="279400"/>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sp>
          <p:nvSpPr>
            <p:cNvPr id="68" name="Legend2"/>
            <p:cNvSpPr>
              <a:spLocks noChangeArrowheads="1"/>
            </p:cNvSpPr>
            <p:nvPr>
              <p:custDataLst>
                <p:tags r:id="rId34"/>
              </p:custDataLst>
            </p:nvPr>
          </p:nvSpPr>
          <p:spPr bwMode="gray">
            <a:xfrm>
              <a:off x="8169259" y="546100"/>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a:latin typeface="+mn-lt"/>
                  <a:ea typeface="+mn-ea"/>
                </a:rPr>
                <a:t>Legend</a:t>
              </a:r>
              <a:endParaRPr lang="en-US" sz="1400" baseline="0" dirty="0">
                <a:latin typeface="+mn-lt"/>
                <a:ea typeface="+mn-ea"/>
              </a:endParaRPr>
            </a:p>
          </p:txBody>
        </p:sp>
        <p:sp>
          <p:nvSpPr>
            <p:cNvPr id="69" name="Legend3"/>
            <p:cNvSpPr>
              <a:spLocks noChangeArrowheads="1"/>
            </p:cNvSpPr>
            <p:nvPr>
              <p:custDataLst>
                <p:tags r:id="rId35"/>
              </p:custDataLst>
            </p:nvPr>
          </p:nvSpPr>
          <p:spPr bwMode="gray">
            <a:xfrm>
              <a:off x="8169259" y="825501"/>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grpSp>
      <p:grpSp>
        <p:nvGrpSpPr>
          <p:cNvPr id="70" name="LegendBoxes" hidden="1"/>
          <p:cNvGrpSpPr/>
          <p:nvPr/>
        </p:nvGrpSpPr>
        <p:grpSpPr>
          <a:xfrm>
            <a:off x="7859564" y="267919"/>
            <a:ext cx="850317" cy="1028245"/>
            <a:chOff x="5894005" y="919828"/>
            <a:chExt cx="850317" cy="1028245"/>
          </a:xfrm>
        </p:grpSpPr>
        <p:sp>
          <p:nvSpPr>
            <p:cNvPr id="71" name="RectangleLegend1"/>
            <p:cNvSpPr>
              <a:spLocks noChangeArrowheads="1"/>
            </p:cNvSpPr>
            <p:nvPr/>
          </p:nvSpPr>
          <p:spPr bwMode="gray">
            <a:xfrm>
              <a:off x="5894005" y="947381"/>
              <a:ext cx="165100" cy="160338"/>
            </a:xfrm>
            <a:prstGeom prst="rect">
              <a:avLst/>
            </a:prstGeom>
            <a:solidFill>
              <a:schemeClr val="accent1"/>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72" name="RectangleLegend2"/>
            <p:cNvSpPr>
              <a:spLocks noChangeArrowheads="1"/>
            </p:cNvSpPr>
            <p:nvPr/>
          </p:nvSpPr>
          <p:spPr bwMode="gray">
            <a:xfrm>
              <a:off x="5894005" y="1217256"/>
              <a:ext cx="165100" cy="160338"/>
            </a:xfrm>
            <a:prstGeom prst="rect">
              <a:avLst/>
            </a:prstGeom>
            <a:solidFill>
              <a:schemeClr val="accent2"/>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73" name="RectangleLegend3"/>
            <p:cNvSpPr>
              <a:spLocks noChangeArrowheads="1"/>
            </p:cNvSpPr>
            <p:nvPr/>
          </p:nvSpPr>
          <p:spPr bwMode="gray">
            <a:xfrm>
              <a:off x="5894005" y="1488719"/>
              <a:ext cx="165100" cy="160338"/>
            </a:xfrm>
            <a:prstGeom prst="rect">
              <a:avLst/>
            </a:prstGeom>
            <a:solidFill>
              <a:schemeClr val="accent3"/>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74" name="RectangleLegend4"/>
            <p:cNvSpPr>
              <a:spLocks noChangeArrowheads="1"/>
            </p:cNvSpPr>
            <p:nvPr/>
          </p:nvSpPr>
          <p:spPr bwMode="gray">
            <a:xfrm>
              <a:off x="5894005" y="1760182"/>
              <a:ext cx="165100" cy="160338"/>
            </a:xfrm>
            <a:prstGeom prst="rect">
              <a:avLst/>
            </a:prstGeom>
            <a:solidFill>
              <a:schemeClr val="accent4"/>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75" name="Legend1"/>
            <p:cNvSpPr>
              <a:spLocks noChangeArrowheads="1"/>
            </p:cNvSpPr>
            <p:nvPr>
              <p:custDataLst>
                <p:tags r:id="rId29"/>
              </p:custDataLst>
            </p:nvPr>
          </p:nvSpPr>
          <p:spPr bwMode="gray">
            <a:xfrm>
              <a:off x="6148005" y="919828"/>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sp>
          <p:nvSpPr>
            <p:cNvPr id="76" name="Legend2"/>
            <p:cNvSpPr>
              <a:spLocks noChangeArrowheads="1"/>
            </p:cNvSpPr>
            <p:nvPr>
              <p:custDataLst>
                <p:tags r:id="rId30"/>
              </p:custDataLst>
            </p:nvPr>
          </p:nvSpPr>
          <p:spPr bwMode="gray">
            <a:xfrm>
              <a:off x="6148005" y="1189703"/>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sp>
          <p:nvSpPr>
            <p:cNvPr id="77" name="Legend3"/>
            <p:cNvSpPr>
              <a:spLocks noChangeArrowheads="1"/>
            </p:cNvSpPr>
            <p:nvPr>
              <p:custDataLst>
                <p:tags r:id="rId31"/>
              </p:custDataLst>
            </p:nvPr>
          </p:nvSpPr>
          <p:spPr bwMode="gray">
            <a:xfrm>
              <a:off x="6148005" y="1461166"/>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sp>
          <p:nvSpPr>
            <p:cNvPr id="78" name="Legend4"/>
            <p:cNvSpPr>
              <a:spLocks noChangeArrowheads="1"/>
            </p:cNvSpPr>
            <p:nvPr>
              <p:custDataLst>
                <p:tags r:id="rId32"/>
              </p:custDataLst>
            </p:nvPr>
          </p:nvSpPr>
          <p:spPr bwMode="gray">
            <a:xfrm>
              <a:off x="6148005" y="1732629"/>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grpSp>
      <p:grpSp>
        <p:nvGrpSpPr>
          <p:cNvPr id="79" name="LegendMoons" hidden="1"/>
          <p:cNvGrpSpPr/>
          <p:nvPr/>
        </p:nvGrpSpPr>
        <p:grpSpPr>
          <a:xfrm>
            <a:off x="7792889" y="267414"/>
            <a:ext cx="916992" cy="1317003"/>
            <a:chOff x="5894005" y="2695123"/>
            <a:chExt cx="916992" cy="1317003"/>
          </a:xfrm>
        </p:grpSpPr>
        <p:grpSp>
          <p:nvGrpSpPr>
            <p:cNvPr id="80" name="MoonLegend1"/>
            <p:cNvGrpSpPr>
              <a:grpSpLocks noChangeAspect="1"/>
            </p:cNvGrpSpPr>
            <p:nvPr>
              <p:custDataLst>
                <p:tags r:id="rId9"/>
              </p:custDataLst>
            </p:nvPr>
          </p:nvGrpSpPr>
          <p:grpSpPr bwMode="gray">
            <a:xfrm>
              <a:off x="5894005" y="2695123"/>
              <a:ext cx="209550" cy="218282"/>
              <a:chOff x="4533" y="183"/>
              <a:chExt cx="144" cy="150"/>
            </a:xfrm>
          </p:grpSpPr>
          <p:sp>
            <p:nvSpPr>
              <p:cNvPr id="98" name="Oval 97"/>
              <p:cNvSpPr>
                <a:spLocks noChangeAspect="1" noChangeArrowheads="1"/>
              </p:cNvSpPr>
              <p:nvPr>
                <p:custDataLst>
                  <p:tags r:id="rId27"/>
                </p:custDataLst>
              </p:nvPr>
            </p:nvSpPr>
            <p:spPr bwMode="gray">
              <a:xfrm>
                <a:off x="4533" y="189"/>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99" name="Arc 98" hidden="1"/>
              <p:cNvSpPr>
                <a:spLocks noChangeAspect="1"/>
              </p:cNvSpPr>
              <p:nvPr>
                <p:custDataLst>
                  <p:tags r:id="rId28"/>
                </p:custDataLst>
              </p:nvPr>
            </p:nvSpPr>
            <p:spPr bwMode="gray">
              <a:xfrm>
                <a:off x="4533" y="183"/>
                <a:ext cx="144" cy="144"/>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grpSp>
        <p:grpSp>
          <p:nvGrpSpPr>
            <p:cNvPr id="81" name="MoonLegend2"/>
            <p:cNvGrpSpPr>
              <a:grpSpLocks noChangeAspect="1"/>
            </p:cNvGrpSpPr>
            <p:nvPr>
              <p:custDataLst>
                <p:tags r:id="rId10"/>
              </p:custDataLst>
            </p:nvPr>
          </p:nvGrpSpPr>
          <p:grpSpPr bwMode="gray">
            <a:xfrm>
              <a:off x="5894005" y="2977103"/>
              <a:ext cx="209550" cy="209551"/>
              <a:chOff x="1694" y="2051"/>
              <a:chExt cx="160" cy="160"/>
            </a:xfrm>
          </p:grpSpPr>
          <p:sp>
            <p:nvSpPr>
              <p:cNvPr id="96" name="Oval 41"/>
              <p:cNvSpPr>
                <a:spLocks noChangeAspect="1" noChangeArrowheads="1"/>
              </p:cNvSpPr>
              <p:nvPr>
                <p:custDataLst>
                  <p:tags r:id="rId25"/>
                </p:custDataLst>
              </p:nvPr>
            </p:nvSpPr>
            <p:spPr bwMode="gray">
              <a:xfrm>
                <a:off x="1694" y="2051"/>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97" name="Arc 42"/>
              <p:cNvSpPr>
                <a:spLocks noChangeAspect="1"/>
              </p:cNvSpPr>
              <p:nvPr>
                <p:custDataLst>
                  <p:tags r:id="rId26"/>
                </p:custDataLst>
              </p:nvPr>
            </p:nvSpPr>
            <p:spPr bwMode="gray">
              <a:xfrm>
                <a:off x="1694" y="2051"/>
                <a:ext cx="160" cy="160"/>
              </a:xfrm>
              <a:prstGeom prst="arc">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grpSp>
        <p:grpSp>
          <p:nvGrpSpPr>
            <p:cNvPr id="82" name="MoonLegend4"/>
            <p:cNvGrpSpPr>
              <a:grpSpLocks noChangeAspect="1"/>
            </p:cNvGrpSpPr>
            <p:nvPr>
              <p:custDataLst>
                <p:tags r:id="rId11"/>
              </p:custDataLst>
            </p:nvPr>
          </p:nvGrpSpPr>
          <p:grpSpPr bwMode="gray">
            <a:xfrm>
              <a:off x="5894005" y="3524395"/>
              <a:ext cx="209550" cy="209551"/>
              <a:chOff x="4495" y="1204"/>
              <a:chExt cx="160" cy="160"/>
            </a:xfrm>
          </p:grpSpPr>
          <p:sp>
            <p:nvSpPr>
              <p:cNvPr id="94" name="Oval 47"/>
              <p:cNvSpPr>
                <a:spLocks noChangeAspect="1" noChangeArrowheads="1"/>
              </p:cNvSpPr>
              <p:nvPr>
                <p:custDataLst>
                  <p:tags r:id="rId23"/>
                </p:custDataLst>
              </p:nvPr>
            </p:nvSpPr>
            <p:spPr bwMode="gray">
              <a:xfrm>
                <a:off x="4495" y="120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95" name="Arc 48"/>
              <p:cNvSpPr>
                <a:spLocks noChangeAspect="1"/>
              </p:cNvSpPr>
              <p:nvPr>
                <p:custDataLst>
                  <p:tags r:id="rId24"/>
                </p:custDataLst>
              </p:nvPr>
            </p:nvSpPr>
            <p:spPr bwMode="gray">
              <a:xfrm>
                <a:off x="4495" y="1204"/>
                <a:ext cx="160" cy="160"/>
              </a:xfrm>
              <a:prstGeom prst="arc">
                <a:avLst>
                  <a:gd name="adj1" fmla="val 16200000"/>
                  <a:gd name="adj2" fmla="val 108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grpSp>
        <p:grpSp>
          <p:nvGrpSpPr>
            <p:cNvPr id="83" name="MoonLegend5"/>
            <p:cNvGrpSpPr>
              <a:grpSpLocks noChangeAspect="1"/>
            </p:cNvGrpSpPr>
            <p:nvPr>
              <p:custDataLst>
                <p:tags r:id="rId12"/>
              </p:custDataLst>
            </p:nvPr>
          </p:nvGrpSpPr>
          <p:grpSpPr bwMode="gray">
            <a:xfrm>
              <a:off x="5894005" y="3799629"/>
              <a:ext cx="209550" cy="209551"/>
              <a:chOff x="4495" y="1447"/>
              <a:chExt cx="160" cy="160"/>
            </a:xfrm>
          </p:grpSpPr>
          <p:sp>
            <p:nvSpPr>
              <p:cNvPr id="92" name="Oval 50"/>
              <p:cNvSpPr>
                <a:spLocks noChangeAspect="1" noChangeArrowheads="1"/>
              </p:cNvSpPr>
              <p:nvPr>
                <p:custDataLst>
                  <p:tags r:id="rId21"/>
                </p:custDataLst>
              </p:nvPr>
            </p:nvSpPr>
            <p:spPr bwMode="gray">
              <a:xfrm>
                <a:off x="4495" y="1447"/>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93" name="Oval 51"/>
              <p:cNvSpPr>
                <a:spLocks noChangeAspect="1" noChangeArrowheads="1"/>
              </p:cNvSpPr>
              <p:nvPr>
                <p:custDataLst>
                  <p:tags r:id="rId22"/>
                </p:custDataLst>
              </p:nvPr>
            </p:nvSpPr>
            <p:spPr bwMode="gray">
              <a:xfrm>
                <a:off x="4495" y="1447"/>
                <a:ext cx="160" cy="160"/>
              </a:xfrm>
              <a:prstGeom prst="arc">
                <a:avLst>
                  <a:gd name="adj1" fmla="val 16200000"/>
                  <a:gd name="adj2" fmla="val 162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grpSp>
        <p:grpSp>
          <p:nvGrpSpPr>
            <p:cNvPr id="84" name="MoonLegend3"/>
            <p:cNvGrpSpPr>
              <a:grpSpLocks noChangeAspect="1"/>
            </p:cNvGrpSpPr>
            <p:nvPr>
              <p:custDataLst>
                <p:tags r:id="rId13"/>
              </p:custDataLst>
            </p:nvPr>
          </p:nvGrpSpPr>
          <p:grpSpPr bwMode="gray">
            <a:xfrm>
              <a:off x="5894005" y="3251543"/>
              <a:ext cx="209550" cy="209551"/>
              <a:chOff x="4495" y="1205"/>
              <a:chExt cx="160" cy="160"/>
            </a:xfrm>
          </p:grpSpPr>
          <p:sp>
            <p:nvSpPr>
              <p:cNvPr id="90" name="Oval 47"/>
              <p:cNvSpPr>
                <a:spLocks noChangeAspect="1" noChangeArrowheads="1"/>
              </p:cNvSpPr>
              <p:nvPr>
                <p:custDataLst>
                  <p:tags r:id="rId19"/>
                </p:custDataLst>
              </p:nvPr>
            </p:nvSpPr>
            <p:spPr bwMode="gray">
              <a:xfrm>
                <a:off x="4495" y="1205"/>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91" name="Arc 48"/>
              <p:cNvSpPr>
                <a:spLocks noChangeAspect="1"/>
              </p:cNvSpPr>
              <p:nvPr>
                <p:custDataLst>
                  <p:tags r:id="rId20"/>
                </p:custDataLst>
              </p:nvPr>
            </p:nvSpPr>
            <p:spPr bwMode="gray">
              <a:xfrm>
                <a:off x="4495" y="1205"/>
                <a:ext cx="160" cy="160"/>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grpSp>
        <p:sp>
          <p:nvSpPr>
            <p:cNvPr id="85" name="Legend1"/>
            <p:cNvSpPr>
              <a:spLocks noChangeArrowheads="1"/>
            </p:cNvSpPr>
            <p:nvPr>
              <p:custDataLst>
                <p:tags r:id="rId14"/>
              </p:custDataLst>
            </p:nvPr>
          </p:nvSpPr>
          <p:spPr bwMode="gray">
            <a:xfrm>
              <a:off x="6214680" y="2696542"/>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sp>
          <p:nvSpPr>
            <p:cNvPr id="86" name="Legend2"/>
            <p:cNvSpPr>
              <a:spLocks noChangeArrowheads="1"/>
            </p:cNvSpPr>
            <p:nvPr>
              <p:custDataLst>
                <p:tags r:id="rId15"/>
              </p:custDataLst>
            </p:nvPr>
          </p:nvSpPr>
          <p:spPr bwMode="gray">
            <a:xfrm>
              <a:off x="6214680" y="2974156"/>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a:latin typeface="+mn-lt"/>
                  <a:ea typeface="+mn-ea"/>
                </a:rPr>
                <a:t>Legend</a:t>
              </a:r>
              <a:endParaRPr lang="en-US" sz="1400" baseline="0" dirty="0">
                <a:latin typeface="+mn-lt"/>
                <a:ea typeface="+mn-ea"/>
              </a:endParaRPr>
            </a:p>
          </p:txBody>
        </p:sp>
        <p:sp>
          <p:nvSpPr>
            <p:cNvPr id="87" name="Legend3"/>
            <p:cNvSpPr>
              <a:spLocks noChangeArrowheads="1"/>
            </p:cNvSpPr>
            <p:nvPr>
              <p:custDataLst>
                <p:tags r:id="rId16"/>
              </p:custDataLst>
            </p:nvPr>
          </p:nvSpPr>
          <p:spPr bwMode="gray">
            <a:xfrm>
              <a:off x="6214680" y="3248596"/>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sp>
          <p:nvSpPr>
            <p:cNvPr id="88" name="Legend4"/>
            <p:cNvSpPr>
              <a:spLocks noChangeArrowheads="1"/>
            </p:cNvSpPr>
            <p:nvPr>
              <p:custDataLst>
                <p:tags r:id="rId17"/>
              </p:custDataLst>
            </p:nvPr>
          </p:nvSpPr>
          <p:spPr bwMode="gray">
            <a:xfrm>
              <a:off x="6214680" y="3521448"/>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sp>
          <p:nvSpPr>
            <p:cNvPr id="89" name="Legend5"/>
            <p:cNvSpPr>
              <a:spLocks noChangeArrowheads="1"/>
            </p:cNvSpPr>
            <p:nvPr>
              <p:custDataLst>
                <p:tags r:id="rId18"/>
              </p:custDataLst>
            </p:nvPr>
          </p:nvSpPr>
          <p:spPr bwMode="gray">
            <a:xfrm>
              <a:off x="6214680" y="3796682"/>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a:latin typeface="+mn-lt"/>
                  <a:ea typeface="+mn-ea"/>
                </a:rPr>
                <a:t>Legend</a:t>
              </a:r>
              <a:endParaRPr lang="en-US" sz="1400" baseline="0" dirty="0">
                <a:latin typeface="+mn-lt"/>
                <a:ea typeface="+mn-ea"/>
              </a:endParaRPr>
            </a:p>
          </p:txBody>
        </p:sp>
      </p:grpSp>
    </p:spTree>
    <p:extLst>
      <p:ext uri="{BB962C8B-B14F-4D97-AF65-F5344CB8AC3E}">
        <p14:creationId xmlns:p14="http://schemas.microsoft.com/office/powerpoint/2010/main" val="2177003360"/>
      </p:ext>
    </p:extLst>
  </p:cSld>
  <p:clrMap bg1="lt1" tx1="dk1" bg2="lt2" tx2="dk2" accent1="accent1" accent2="accent2" accent3="accent3" accent4="accent4" accent5="accent5" accent6="accent6" hlink="hlink" folHlink="folHlink"/>
  <p:sldLayoutIdLst>
    <p:sldLayoutId id="2147483881" r:id="rId1"/>
    <p:sldLayoutId id="2147483882" r:id="rId2"/>
    <p:sldLayoutId id="2147483883" r:id="rId3"/>
    <p:sldLayoutId id="2147483884" r:id="rId4"/>
  </p:sldLayoutIdLst>
  <p:txStyles>
    <p:titleStyle>
      <a:lvl1pPr algn="l" defTabSz="895350" rtl="0" eaLnBrk="1" fontAlgn="base" hangingPunct="1">
        <a:spcBef>
          <a:spcPct val="0"/>
        </a:spcBef>
        <a:spcAft>
          <a:spcPct val="0"/>
        </a:spcAft>
        <a:tabLst>
          <a:tab pos="269875" algn="l"/>
        </a:tabLst>
        <a:defRPr sz="2000" b="0" baseline="0">
          <a:solidFill>
            <a:schemeClr val="tx2"/>
          </a:solidFill>
          <a:latin typeface="+mj-lt"/>
          <a:ea typeface="+mj-ea"/>
          <a:cs typeface="+mj-cs"/>
        </a:defRPr>
      </a:lvl1pPr>
      <a:lvl2pPr algn="l" defTabSz="895350" rtl="0" eaLnBrk="1" fontAlgn="base" hangingPunct="1">
        <a:spcBef>
          <a:spcPct val="0"/>
        </a:spcBef>
        <a:spcAft>
          <a:spcPct val="0"/>
        </a:spcAft>
        <a:defRPr sz="1900" b="1">
          <a:solidFill>
            <a:schemeClr val="tx2"/>
          </a:solidFill>
          <a:latin typeface="Arial" charset="0"/>
        </a:defRPr>
      </a:lvl2pPr>
      <a:lvl3pPr algn="l" defTabSz="895350" rtl="0" eaLnBrk="1" fontAlgn="base" hangingPunct="1">
        <a:spcBef>
          <a:spcPct val="0"/>
        </a:spcBef>
        <a:spcAft>
          <a:spcPct val="0"/>
        </a:spcAft>
        <a:defRPr sz="1900" b="1">
          <a:solidFill>
            <a:schemeClr val="tx2"/>
          </a:solidFill>
          <a:latin typeface="Arial" charset="0"/>
        </a:defRPr>
      </a:lvl3pPr>
      <a:lvl4pPr algn="l" defTabSz="895350" rtl="0" eaLnBrk="1" fontAlgn="base" hangingPunct="1">
        <a:spcBef>
          <a:spcPct val="0"/>
        </a:spcBef>
        <a:spcAft>
          <a:spcPct val="0"/>
        </a:spcAft>
        <a:defRPr sz="1900" b="1">
          <a:solidFill>
            <a:schemeClr val="tx2"/>
          </a:solidFill>
          <a:latin typeface="Arial" charset="0"/>
        </a:defRPr>
      </a:lvl4pPr>
      <a:lvl5pPr algn="l" defTabSz="895350" rtl="0" eaLnBrk="1" fontAlgn="base" hangingPunct="1">
        <a:spcBef>
          <a:spcPct val="0"/>
        </a:spcBef>
        <a:spcAft>
          <a:spcPct val="0"/>
        </a:spcAft>
        <a:defRPr sz="1900" b="1">
          <a:solidFill>
            <a:schemeClr val="tx2"/>
          </a:solidFill>
          <a:latin typeface="Arial" charset="0"/>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p:titleStyle>
    <p:bodyStyle>
      <a:lvl1pPr marL="0" indent="0" algn="l" defTabSz="895350" rtl="0" eaLnBrk="1" fontAlgn="base" hangingPunct="1">
        <a:spcBef>
          <a:spcPct val="0"/>
        </a:spcBef>
        <a:spcAft>
          <a:spcPct val="0"/>
        </a:spcAft>
        <a:buClr>
          <a:schemeClr val="tx2"/>
        </a:buClr>
        <a:buSzPct val="100000"/>
        <a:defRPr sz="14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4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4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4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4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ext>
  </p:extLst>
</p:sldMaster>
</file>

<file path=ppt/slideMasters/slideMaster4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7"/>
            </p:custDataLst>
            <p:extLst>
              <p:ext uri="{D42A27DB-BD31-4B8C-83A1-F6EECF244321}">
                <p14:modId xmlns:p14="http://schemas.microsoft.com/office/powerpoint/2010/main" val="2051226684"/>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20180" name="think-cell Slide" r:id="rId36" imgW="270" imgH="270" progId="TCLayout.ActiveDocument.1">
                  <p:embed/>
                </p:oleObj>
              </mc:Choice>
              <mc:Fallback>
                <p:oleObj name="think-cell Slide" r:id="rId36" imgW="270" imgH="270" progId="TCLayout.ActiveDocument.1">
                  <p:embed/>
                  <p:pic>
                    <p:nvPicPr>
                      <p:cNvPr id="2" name="Object 1" hidden="1"/>
                      <p:cNvPicPr/>
                      <p:nvPr/>
                    </p:nvPicPr>
                    <p:blipFill>
                      <a:blip r:embed="rId37"/>
                      <a:stretch>
                        <a:fillRect/>
                      </a:stretch>
                    </p:blipFill>
                    <p:spPr>
                      <a:xfrm>
                        <a:off x="0" y="0"/>
                        <a:ext cx="158750" cy="158750"/>
                      </a:xfrm>
                      <a:prstGeom prst="rect">
                        <a:avLst/>
                      </a:prstGeom>
                    </p:spPr>
                  </p:pic>
                </p:oleObj>
              </mc:Fallback>
            </mc:AlternateContent>
          </a:graphicData>
        </a:graphic>
      </p:graphicFrame>
      <p:sp>
        <p:nvSpPr>
          <p:cNvPr id="6" name="Rectangle 5" hidden="1"/>
          <p:cNvSpPr/>
          <p:nvPr>
            <p:custDataLst>
              <p:tags r:id="rId8"/>
            </p:custDataLst>
          </p:nvPr>
        </p:nvSpPr>
        <p:spPr bwMode="auto">
          <a:xfrm>
            <a:off x="0" y="0"/>
            <a:ext cx="158750" cy="158750"/>
          </a:xfrm>
          <a:prstGeom prst="rect">
            <a:avLst/>
          </a:prstGeom>
          <a:solidFill>
            <a:schemeClr val="bg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dirty="0">
              <a:solidFill>
                <a:srgbClr val="000000"/>
              </a:solidFill>
              <a:sym typeface="Arial" panose="020B0604020202020204" pitchFamily="34" charset="0"/>
            </a:endParaRPr>
          </a:p>
        </p:txBody>
      </p:sp>
      <p:sp>
        <p:nvSpPr>
          <p:cNvPr id="1034" name="Working Draft" hidden="1"/>
          <p:cNvSpPr txBox="1">
            <a:spLocks noChangeArrowheads="1"/>
          </p:cNvSpPr>
          <p:nvPr/>
        </p:nvSpPr>
        <p:spPr bwMode="gray">
          <a:xfrm rot="5400000">
            <a:off x="7966656" y="1940591"/>
            <a:ext cx="1849865"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600" baseline="0">
                <a:solidFill>
                  <a:srgbClr val="808080"/>
                </a:solidFill>
                <a:latin typeface="+mn-lt"/>
                <a:ea typeface="+mn-ea"/>
              </a:rPr>
              <a:t>Last Modified 21/05/2018 17:44 India Standard Time</a:t>
            </a:r>
            <a:endParaRPr lang="en-US" baseline="0" dirty="0">
              <a:solidFill>
                <a:srgbClr val="808080"/>
              </a:solidFill>
              <a:latin typeface="+mn-lt"/>
              <a:ea typeface="+mn-ea"/>
            </a:endParaRPr>
          </a:p>
        </p:txBody>
      </p:sp>
      <p:sp>
        <p:nvSpPr>
          <p:cNvPr id="1035" name="Printed" hidden="1"/>
          <p:cNvSpPr txBox="1">
            <a:spLocks noChangeArrowheads="1"/>
          </p:cNvSpPr>
          <p:nvPr/>
        </p:nvSpPr>
        <p:spPr bwMode="gray">
          <a:xfrm rot="5400000">
            <a:off x="8768958" y="4114417"/>
            <a:ext cx="245260"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600" baseline="0" dirty="0">
                <a:solidFill>
                  <a:srgbClr val="808080"/>
                </a:solidFill>
                <a:latin typeface="+mn-lt"/>
                <a:ea typeface="+mn-ea"/>
              </a:rPr>
              <a:t>Printed</a:t>
            </a:r>
            <a:endParaRPr lang="en-US" baseline="0" dirty="0">
              <a:solidFill>
                <a:srgbClr val="808080"/>
              </a:solidFill>
              <a:latin typeface="+mn-lt"/>
              <a:ea typeface="+mn-ea"/>
            </a:endParaRPr>
          </a:p>
        </p:txBody>
      </p:sp>
      <p:sp>
        <p:nvSpPr>
          <p:cNvPr id="19" name="Title Placeholder 2"/>
          <p:cNvSpPr>
            <a:spLocks noGrp="1" noChangeArrowheads="1"/>
          </p:cNvSpPr>
          <p:nvPr>
            <p:ph type="title"/>
          </p:nvPr>
        </p:nvSpPr>
        <p:spPr bwMode="gray">
          <a:xfrm>
            <a:off x="119063" y="230188"/>
            <a:ext cx="8618537"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latinLnBrk="0"/>
            <a:r>
              <a:rPr lang="en-US"/>
              <a:t>Click to edit Master title style</a:t>
            </a:r>
            <a:endParaRPr lang="en-US" noProof="0" dirty="0"/>
          </a:p>
        </p:txBody>
      </p:sp>
      <p:sp>
        <p:nvSpPr>
          <p:cNvPr id="10" name="1. On-page tracker" hidden="1"/>
          <p:cNvSpPr>
            <a:spLocks noChangeArrowheads="1"/>
          </p:cNvSpPr>
          <p:nvPr/>
        </p:nvSpPr>
        <p:spPr bwMode="gray">
          <a:xfrm>
            <a:off x="119063" y="75764"/>
            <a:ext cx="490519"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800" cap="all" baseline="0" dirty="0">
                <a:solidFill>
                  <a:schemeClr val="accent6"/>
                </a:solidFill>
                <a:latin typeface="+mn-lt"/>
                <a:ea typeface="+mn-ea"/>
              </a:rPr>
              <a:t>Tracker</a:t>
            </a:r>
          </a:p>
        </p:txBody>
      </p:sp>
      <p:sp>
        <p:nvSpPr>
          <p:cNvPr id="11" name="3. Unit of measure" hidden="1"/>
          <p:cNvSpPr txBox="1">
            <a:spLocks noChangeArrowheads="1"/>
          </p:cNvSpPr>
          <p:nvPr/>
        </p:nvSpPr>
        <p:spPr bwMode="gray">
          <a:xfrm>
            <a:off x="119063" y="554865"/>
            <a:ext cx="8618537"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600" baseline="0" dirty="0">
                <a:solidFill>
                  <a:schemeClr val="accent6"/>
                </a:solidFill>
                <a:latin typeface="+mn-lt"/>
                <a:ea typeface="+mn-ea"/>
              </a:rPr>
              <a:t>Unit of measure</a:t>
            </a:r>
          </a:p>
        </p:txBody>
      </p:sp>
      <p:grpSp>
        <p:nvGrpSpPr>
          <p:cNvPr id="4" name="Slide Elements" hidden="1"/>
          <p:cNvGrpSpPr/>
          <p:nvPr/>
        </p:nvGrpSpPr>
        <p:grpSpPr bwMode="gray">
          <a:xfrm>
            <a:off x="119063" y="6305945"/>
            <a:ext cx="8618537" cy="325438"/>
            <a:chOff x="119063" y="6305945"/>
            <a:chExt cx="8618537" cy="325438"/>
          </a:xfrm>
        </p:grpSpPr>
        <p:sp>
          <p:nvSpPr>
            <p:cNvPr id="13" name="4. Footnote"/>
            <p:cNvSpPr txBox="1">
              <a:spLocks noChangeArrowheads="1"/>
            </p:cNvSpPr>
            <p:nvPr/>
          </p:nvSpPr>
          <p:spPr bwMode="gray">
            <a:xfrm>
              <a:off x="119063" y="6305945"/>
              <a:ext cx="8618537" cy="123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800" baseline="0" dirty="0">
                  <a:solidFill>
                    <a:schemeClr val="accent6"/>
                  </a:solidFill>
                  <a:latin typeface="+mn-lt"/>
                  <a:ea typeface="+mn-ea"/>
                </a:rPr>
                <a:t>1 Footnote</a:t>
              </a:r>
            </a:p>
          </p:txBody>
        </p:sp>
        <p:sp>
          <p:nvSpPr>
            <p:cNvPr id="14" name="5. Source"/>
            <p:cNvSpPr>
              <a:spLocks noChangeArrowheads="1"/>
            </p:cNvSpPr>
            <p:nvPr/>
          </p:nvSpPr>
          <p:spPr bwMode="gray">
            <a:xfrm>
              <a:off x="119063" y="6507558"/>
              <a:ext cx="7200000" cy="123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marL="609600" indent="-609600" defTabSz="895350">
                <a:tabLst>
                  <a:tab pos="612775" algn="l"/>
                </a:tabLst>
              </a:pPr>
              <a:r>
                <a:rPr lang="en-US" sz="800" baseline="0" dirty="0">
                  <a:solidFill>
                    <a:schemeClr val="accent6"/>
                  </a:solidFill>
                  <a:latin typeface="+mn-lt"/>
                  <a:ea typeface="+mn-ea"/>
                </a:rPr>
                <a:t>SOURCE: Source</a:t>
              </a:r>
            </a:p>
          </p:txBody>
        </p:sp>
      </p:grpSp>
      <p:sp>
        <p:nvSpPr>
          <p:cNvPr id="3" name="Text Placeholder 2"/>
          <p:cNvSpPr>
            <a:spLocks noGrp="1"/>
          </p:cNvSpPr>
          <p:nvPr>
            <p:ph type="body" idx="1"/>
          </p:nvPr>
        </p:nvSpPr>
        <p:spPr bwMode="gray">
          <a:xfrm>
            <a:off x="1452564" y="1951380"/>
            <a:ext cx="4302125" cy="1077218"/>
          </a:xfrm>
          <a:prstGeom prst="rect">
            <a:avLst/>
          </a:prstGeom>
        </p:spPr>
        <p:txBody>
          <a:bodyPr vert="horz" lIns="0" tIns="0" rIns="0" bIns="0" rtlCol="0">
            <a:spAutoFit/>
          </a:bodyPr>
          <a:lstStyle/>
          <a:p>
            <a:pPr lvl="0" latinLnBrk="0"/>
            <a:r>
              <a:rPr lang="en-US"/>
              <a:t>Edit Master text styles</a:t>
            </a:r>
          </a:p>
          <a:p>
            <a:pPr lvl="1" latinLnBrk="0"/>
            <a:r>
              <a:rPr lang="en-US"/>
              <a:t>Second level</a:t>
            </a:r>
          </a:p>
          <a:p>
            <a:pPr lvl="2" latinLnBrk="0"/>
            <a:r>
              <a:rPr lang="en-US"/>
              <a:t>Third level</a:t>
            </a:r>
          </a:p>
          <a:p>
            <a:pPr lvl="3" latinLnBrk="0"/>
            <a:r>
              <a:rPr lang="en-US"/>
              <a:t>Fourth level</a:t>
            </a:r>
          </a:p>
          <a:p>
            <a:pPr lvl="4" latinLnBrk="0"/>
            <a:r>
              <a:rPr lang="en-US"/>
              <a:t>Fifth level</a:t>
            </a:r>
            <a:endParaRPr lang="en-US" dirty="0"/>
          </a:p>
        </p:txBody>
      </p:sp>
      <p:grpSp>
        <p:nvGrpSpPr>
          <p:cNvPr id="15" name="ACET" hidden="1"/>
          <p:cNvGrpSpPr>
            <a:grpSpLocks/>
          </p:cNvGrpSpPr>
          <p:nvPr/>
        </p:nvGrpSpPr>
        <p:grpSpPr bwMode="gray">
          <a:xfrm>
            <a:off x="1452563" y="1257754"/>
            <a:ext cx="4264025" cy="508000"/>
            <a:chOff x="915" y="710"/>
            <a:chExt cx="2686" cy="320"/>
          </a:xfrm>
        </p:grpSpPr>
        <p:cxnSp>
          <p:nvCxnSpPr>
            <p:cNvPr id="16" name="AutoShape 249"/>
            <p:cNvCxnSpPr>
              <a:cxnSpLocks noChangeShapeType="1"/>
              <a:stCxn id="18" idx="4"/>
              <a:endCxn id="18" idx="6"/>
            </p:cNvCxnSpPr>
            <p:nvPr/>
          </p:nvCxnSpPr>
          <p:spPr bwMode="gray">
            <a:xfrm>
              <a:off x="915" y="1030"/>
              <a:ext cx="2686" cy="0"/>
            </a:xfrm>
            <a:prstGeom prst="straightConnector1">
              <a:avLst/>
            </a:prstGeom>
            <a:noFill/>
            <a:ln w="9525">
              <a:solidFill>
                <a:schemeClr val="accent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8" name="AutoShape 250"/>
            <p:cNvSpPr>
              <a:spLocks noChangeArrowheads="1"/>
            </p:cNvSpPr>
            <p:nvPr/>
          </p:nvSpPr>
          <p:spPr bwMode="gray">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US" b="1" baseline="0" dirty="0">
                  <a:solidFill>
                    <a:srgbClr val="000000"/>
                  </a:solidFill>
                  <a:latin typeface="+mn-lt"/>
                  <a:ea typeface="+mn-ea"/>
                </a:rPr>
                <a:t>Title</a:t>
              </a:r>
            </a:p>
            <a:p>
              <a:r>
                <a:rPr lang="en-US" baseline="0" dirty="0">
                  <a:solidFill>
                    <a:schemeClr val="accent6"/>
                  </a:solidFill>
                  <a:latin typeface="+mn-lt"/>
                  <a:ea typeface="+mn-ea"/>
                </a:rPr>
                <a:t>Unit of measure</a:t>
              </a:r>
            </a:p>
          </p:txBody>
        </p:sp>
      </p:grpSp>
      <p:grpSp>
        <p:nvGrpSpPr>
          <p:cNvPr id="17" name="McKSticker" hidden="1"/>
          <p:cNvGrpSpPr/>
          <p:nvPr/>
        </p:nvGrpSpPr>
        <p:grpSpPr bwMode="gray">
          <a:xfrm>
            <a:off x="8264265" y="285750"/>
            <a:ext cx="473335" cy="150811"/>
            <a:chOff x="8267440" y="285750"/>
            <a:chExt cx="473335" cy="150811"/>
          </a:xfrm>
        </p:grpSpPr>
        <p:sp>
          <p:nvSpPr>
            <p:cNvPr id="20" name="StickerRectangle"/>
            <p:cNvSpPr>
              <a:spLocks noChangeArrowheads="1"/>
            </p:cNvSpPr>
            <p:nvPr/>
          </p:nvSpPr>
          <p:spPr bwMode="gray">
            <a:xfrm>
              <a:off x="8267440" y="285750"/>
              <a:ext cx="473335" cy="150811"/>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a:buClr>
                  <a:srgbClr val="002960"/>
                </a:buClr>
              </a:pPr>
              <a:r>
                <a:rPr lang="en-US" sz="800" baseline="0" dirty="0">
                  <a:solidFill>
                    <a:schemeClr val="accent6"/>
                  </a:solidFill>
                  <a:latin typeface="+mn-lt"/>
                  <a:ea typeface="+mn-ea"/>
                </a:rPr>
                <a:t>STICKER</a:t>
              </a:r>
            </a:p>
          </p:txBody>
        </p:sp>
        <p:cxnSp>
          <p:nvCxnSpPr>
            <p:cNvPr id="21" name="AutoShape 31"/>
            <p:cNvCxnSpPr>
              <a:cxnSpLocks noChangeShapeType="1"/>
              <a:stCxn id="20" idx="2"/>
              <a:endCxn id="20" idx="4"/>
            </p:cNvCxnSpPr>
            <p:nvPr/>
          </p:nvCxnSpPr>
          <p:spPr bwMode="gray">
            <a:xfrm>
              <a:off x="8267440" y="285750"/>
              <a:ext cx="0" cy="150811"/>
            </a:xfrm>
            <a:prstGeom prst="straightConnector1">
              <a:avLst/>
            </a:prstGeom>
            <a:noFill/>
            <a:ln w="9525">
              <a:solidFill>
                <a:schemeClr val="accent6"/>
              </a:solidFill>
              <a:round/>
              <a:headEnd/>
              <a:tailEnd/>
            </a:ln>
            <a:extLst>
              <a:ext uri="{909E8E84-426E-40DD-AFC4-6F175D3DCCD1}">
                <a14:hiddenFill xmlns:a14="http://schemas.microsoft.com/office/drawing/2010/main">
                  <a:noFill/>
                </a14:hiddenFill>
              </a:ext>
            </a:extLst>
          </p:spPr>
        </p:cxnSp>
        <p:cxnSp>
          <p:nvCxnSpPr>
            <p:cNvPr id="22" name="AutoShape 32"/>
            <p:cNvCxnSpPr>
              <a:cxnSpLocks noChangeShapeType="1"/>
              <a:stCxn id="20" idx="4"/>
              <a:endCxn id="20" idx="6"/>
            </p:cNvCxnSpPr>
            <p:nvPr/>
          </p:nvCxnSpPr>
          <p:spPr bwMode="gray">
            <a:xfrm>
              <a:off x="8267440" y="436561"/>
              <a:ext cx="473335" cy="0"/>
            </a:xfrm>
            <a:prstGeom prst="straightConnector1">
              <a:avLst/>
            </a:prstGeom>
            <a:noFill/>
            <a:ln w="25400">
              <a:solidFill>
                <a:schemeClr val="accent6"/>
              </a:solidFill>
              <a:round/>
              <a:headEnd/>
              <a:tailEnd/>
            </a:ln>
            <a:extLst>
              <a:ext uri="{909E8E84-426E-40DD-AFC4-6F175D3DCCD1}">
                <a14:hiddenFill xmlns:a14="http://schemas.microsoft.com/office/drawing/2010/main">
                  <a:noFill/>
                </a14:hiddenFill>
              </a:ext>
            </a:extLst>
          </p:spPr>
        </p:cxnSp>
      </p:grpSp>
      <p:sp>
        <p:nvSpPr>
          <p:cNvPr id="23" name="SlideBottomBar" hidden="1"/>
          <p:cNvSpPr/>
          <p:nvPr/>
        </p:nvSpPr>
        <p:spPr>
          <a:xfrm>
            <a:off x="8437547" y="6182120"/>
            <a:ext cx="45719" cy="123825"/>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aseline="0" dirty="0">
              <a:solidFill>
                <a:schemeClr val="tx1"/>
              </a:solidFill>
              <a:latin typeface="+mn-lt"/>
              <a:ea typeface="+mn-ea"/>
            </a:endParaRPr>
          </a:p>
        </p:txBody>
      </p:sp>
      <p:sp>
        <p:nvSpPr>
          <p:cNvPr id="24" name="doc id" hidden="1"/>
          <p:cNvSpPr txBox="1">
            <a:spLocks noChangeArrowheads="1"/>
          </p:cNvSpPr>
          <p:nvPr/>
        </p:nvSpPr>
        <p:spPr bwMode="white">
          <a:xfrm>
            <a:off x="8104473" y="36513"/>
            <a:ext cx="634716" cy="115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hangingPunct="1">
              <a:defRPr/>
            </a:pPr>
            <a:endParaRPr lang="en-US" sz="800" baseline="0" dirty="0">
              <a:solidFill>
                <a:schemeClr val="accent1"/>
              </a:solidFill>
              <a:latin typeface="+mn-lt"/>
              <a:ea typeface="+mn-ea"/>
            </a:endParaRPr>
          </a:p>
        </p:txBody>
      </p:sp>
      <p:grpSp>
        <p:nvGrpSpPr>
          <p:cNvPr id="63" name="LegendLines" hidden="1"/>
          <p:cNvGrpSpPr/>
          <p:nvPr/>
        </p:nvGrpSpPr>
        <p:grpSpPr>
          <a:xfrm>
            <a:off x="7551589" y="267815"/>
            <a:ext cx="1158292" cy="761545"/>
            <a:chOff x="7607284" y="279400"/>
            <a:chExt cx="1158292" cy="761545"/>
          </a:xfrm>
        </p:grpSpPr>
        <p:sp>
          <p:nvSpPr>
            <p:cNvPr id="64" name="LineLegend1"/>
            <p:cNvSpPr>
              <a:spLocks noChangeShapeType="1"/>
            </p:cNvSpPr>
            <p:nvPr/>
          </p:nvSpPr>
          <p:spPr bwMode="gray">
            <a:xfrm>
              <a:off x="7607284" y="387122"/>
              <a:ext cx="457200"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65" name="LineLegend2"/>
            <p:cNvSpPr>
              <a:spLocks noChangeShapeType="1"/>
            </p:cNvSpPr>
            <p:nvPr/>
          </p:nvSpPr>
          <p:spPr bwMode="gray">
            <a:xfrm>
              <a:off x="7607284" y="653822"/>
              <a:ext cx="457200"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66" name="LineLegend3"/>
            <p:cNvSpPr>
              <a:spLocks noChangeShapeType="1"/>
            </p:cNvSpPr>
            <p:nvPr/>
          </p:nvSpPr>
          <p:spPr bwMode="gray">
            <a:xfrm>
              <a:off x="7607284" y="933223"/>
              <a:ext cx="457200"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67" name="Legend1"/>
            <p:cNvSpPr>
              <a:spLocks noChangeArrowheads="1"/>
            </p:cNvSpPr>
            <p:nvPr>
              <p:custDataLst>
                <p:tags r:id="rId33"/>
              </p:custDataLst>
            </p:nvPr>
          </p:nvSpPr>
          <p:spPr bwMode="gray">
            <a:xfrm>
              <a:off x="8169259" y="279400"/>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sp>
          <p:nvSpPr>
            <p:cNvPr id="68" name="Legend2"/>
            <p:cNvSpPr>
              <a:spLocks noChangeArrowheads="1"/>
            </p:cNvSpPr>
            <p:nvPr>
              <p:custDataLst>
                <p:tags r:id="rId34"/>
              </p:custDataLst>
            </p:nvPr>
          </p:nvSpPr>
          <p:spPr bwMode="gray">
            <a:xfrm>
              <a:off x="8169259" y="546100"/>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a:latin typeface="+mn-lt"/>
                  <a:ea typeface="+mn-ea"/>
                </a:rPr>
                <a:t>Legend</a:t>
              </a:r>
              <a:endParaRPr lang="en-US" sz="1400" baseline="0" dirty="0">
                <a:latin typeface="+mn-lt"/>
                <a:ea typeface="+mn-ea"/>
              </a:endParaRPr>
            </a:p>
          </p:txBody>
        </p:sp>
        <p:sp>
          <p:nvSpPr>
            <p:cNvPr id="69" name="Legend3"/>
            <p:cNvSpPr>
              <a:spLocks noChangeArrowheads="1"/>
            </p:cNvSpPr>
            <p:nvPr>
              <p:custDataLst>
                <p:tags r:id="rId35"/>
              </p:custDataLst>
            </p:nvPr>
          </p:nvSpPr>
          <p:spPr bwMode="gray">
            <a:xfrm>
              <a:off x="8169259" y="825501"/>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grpSp>
      <p:grpSp>
        <p:nvGrpSpPr>
          <p:cNvPr id="70" name="LegendBoxes" hidden="1"/>
          <p:cNvGrpSpPr/>
          <p:nvPr/>
        </p:nvGrpSpPr>
        <p:grpSpPr>
          <a:xfrm>
            <a:off x="7859564" y="267919"/>
            <a:ext cx="850317" cy="1028245"/>
            <a:chOff x="5894005" y="919828"/>
            <a:chExt cx="850317" cy="1028245"/>
          </a:xfrm>
        </p:grpSpPr>
        <p:sp>
          <p:nvSpPr>
            <p:cNvPr id="71" name="RectangleLegend1"/>
            <p:cNvSpPr>
              <a:spLocks noChangeArrowheads="1"/>
            </p:cNvSpPr>
            <p:nvPr/>
          </p:nvSpPr>
          <p:spPr bwMode="gray">
            <a:xfrm>
              <a:off x="5894005" y="947381"/>
              <a:ext cx="165100" cy="160338"/>
            </a:xfrm>
            <a:prstGeom prst="rect">
              <a:avLst/>
            </a:prstGeom>
            <a:solidFill>
              <a:schemeClr val="accent1"/>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72" name="RectangleLegend2"/>
            <p:cNvSpPr>
              <a:spLocks noChangeArrowheads="1"/>
            </p:cNvSpPr>
            <p:nvPr/>
          </p:nvSpPr>
          <p:spPr bwMode="gray">
            <a:xfrm>
              <a:off x="5894005" y="1217256"/>
              <a:ext cx="165100" cy="160338"/>
            </a:xfrm>
            <a:prstGeom prst="rect">
              <a:avLst/>
            </a:prstGeom>
            <a:solidFill>
              <a:schemeClr val="accent2"/>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73" name="RectangleLegend3"/>
            <p:cNvSpPr>
              <a:spLocks noChangeArrowheads="1"/>
            </p:cNvSpPr>
            <p:nvPr/>
          </p:nvSpPr>
          <p:spPr bwMode="gray">
            <a:xfrm>
              <a:off x="5894005" y="1488719"/>
              <a:ext cx="165100" cy="160338"/>
            </a:xfrm>
            <a:prstGeom prst="rect">
              <a:avLst/>
            </a:prstGeom>
            <a:solidFill>
              <a:schemeClr val="accent3"/>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74" name="RectangleLegend4"/>
            <p:cNvSpPr>
              <a:spLocks noChangeArrowheads="1"/>
            </p:cNvSpPr>
            <p:nvPr/>
          </p:nvSpPr>
          <p:spPr bwMode="gray">
            <a:xfrm>
              <a:off x="5894005" y="1760182"/>
              <a:ext cx="165100" cy="160338"/>
            </a:xfrm>
            <a:prstGeom prst="rect">
              <a:avLst/>
            </a:prstGeom>
            <a:solidFill>
              <a:schemeClr val="accent4"/>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75" name="Legend1"/>
            <p:cNvSpPr>
              <a:spLocks noChangeArrowheads="1"/>
            </p:cNvSpPr>
            <p:nvPr>
              <p:custDataLst>
                <p:tags r:id="rId29"/>
              </p:custDataLst>
            </p:nvPr>
          </p:nvSpPr>
          <p:spPr bwMode="gray">
            <a:xfrm>
              <a:off x="6148005" y="919828"/>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sp>
          <p:nvSpPr>
            <p:cNvPr id="76" name="Legend2"/>
            <p:cNvSpPr>
              <a:spLocks noChangeArrowheads="1"/>
            </p:cNvSpPr>
            <p:nvPr>
              <p:custDataLst>
                <p:tags r:id="rId30"/>
              </p:custDataLst>
            </p:nvPr>
          </p:nvSpPr>
          <p:spPr bwMode="gray">
            <a:xfrm>
              <a:off x="6148005" y="1189703"/>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sp>
          <p:nvSpPr>
            <p:cNvPr id="77" name="Legend3"/>
            <p:cNvSpPr>
              <a:spLocks noChangeArrowheads="1"/>
            </p:cNvSpPr>
            <p:nvPr>
              <p:custDataLst>
                <p:tags r:id="rId31"/>
              </p:custDataLst>
            </p:nvPr>
          </p:nvSpPr>
          <p:spPr bwMode="gray">
            <a:xfrm>
              <a:off x="6148005" y="1461166"/>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sp>
          <p:nvSpPr>
            <p:cNvPr id="78" name="Legend4"/>
            <p:cNvSpPr>
              <a:spLocks noChangeArrowheads="1"/>
            </p:cNvSpPr>
            <p:nvPr>
              <p:custDataLst>
                <p:tags r:id="rId32"/>
              </p:custDataLst>
            </p:nvPr>
          </p:nvSpPr>
          <p:spPr bwMode="gray">
            <a:xfrm>
              <a:off x="6148005" y="1732629"/>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grpSp>
      <p:grpSp>
        <p:nvGrpSpPr>
          <p:cNvPr id="79" name="LegendMoons" hidden="1"/>
          <p:cNvGrpSpPr/>
          <p:nvPr/>
        </p:nvGrpSpPr>
        <p:grpSpPr>
          <a:xfrm>
            <a:off x="7792889" y="267414"/>
            <a:ext cx="916992" cy="1317003"/>
            <a:chOff x="5894005" y="2695123"/>
            <a:chExt cx="916992" cy="1317003"/>
          </a:xfrm>
        </p:grpSpPr>
        <p:grpSp>
          <p:nvGrpSpPr>
            <p:cNvPr id="80" name="MoonLegend1"/>
            <p:cNvGrpSpPr>
              <a:grpSpLocks noChangeAspect="1"/>
            </p:cNvGrpSpPr>
            <p:nvPr>
              <p:custDataLst>
                <p:tags r:id="rId9"/>
              </p:custDataLst>
            </p:nvPr>
          </p:nvGrpSpPr>
          <p:grpSpPr bwMode="gray">
            <a:xfrm>
              <a:off x="5894005" y="2695123"/>
              <a:ext cx="209550" cy="218282"/>
              <a:chOff x="4533" y="183"/>
              <a:chExt cx="144" cy="150"/>
            </a:xfrm>
          </p:grpSpPr>
          <p:sp>
            <p:nvSpPr>
              <p:cNvPr id="98" name="Oval 97"/>
              <p:cNvSpPr>
                <a:spLocks noChangeAspect="1" noChangeArrowheads="1"/>
              </p:cNvSpPr>
              <p:nvPr>
                <p:custDataLst>
                  <p:tags r:id="rId27"/>
                </p:custDataLst>
              </p:nvPr>
            </p:nvSpPr>
            <p:spPr bwMode="gray">
              <a:xfrm>
                <a:off x="4533" y="189"/>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99" name="Arc 98" hidden="1"/>
              <p:cNvSpPr>
                <a:spLocks noChangeAspect="1"/>
              </p:cNvSpPr>
              <p:nvPr>
                <p:custDataLst>
                  <p:tags r:id="rId28"/>
                </p:custDataLst>
              </p:nvPr>
            </p:nvSpPr>
            <p:spPr bwMode="gray">
              <a:xfrm>
                <a:off x="4533" y="183"/>
                <a:ext cx="144" cy="144"/>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grpSp>
        <p:grpSp>
          <p:nvGrpSpPr>
            <p:cNvPr id="81" name="MoonLegend2"/>
            <p:cNvGrpSpPr>
              <a:grpSpLocks noChangeAspect="1"/>
            </p:cNvGrpSpPr>
            <p:nvPr>
              <p:custDataLst>
                <p:tags r:id="rId10"/>
              </p:custDataLst>
            </p:nvPr>
          </p:nvGrpSpPr>
          <p:grpSpPr bwMode="gray">
            <a:xfrm>
              <a:off x="5894005" y="2977103"/>
              <a:ext cx="209550" cy="209551"/>
              <a:chOff x="1694" y="2051"/>
              <a:chExt cx="160" cy="160"/>
            </a:xfrm>
          </p:grpSpPr>
          <p:sp>
            <p:nvSpPr>
              <p:cNvPr id="96" name="Oval 41"/>
              <p:cNvSpPr>
                <a:spLocks noChangeAspect="1" noChangeArrowheads="1"/>
              </p:cNvSpPr>
              <p:nvPr>
                <p:custDataLst>
                  <p:tags r:id="rId25"/>
                </p:custDataLst>
              </p:nvPr>
            </p:nvSpPr>
            <p:spPr bwMode="gray">
              <a:xfrm>
                <a:off x="1694" y="2051"/>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97" name="Arc 42"/>
              <p:cNvSpPr>
                <a:spLocks noChangeAspect="1"/>
              </p:cNvSpPr>
              <p:nvPr>
                <p:custDataLst>
                  <p:tags r:id="rId26"/>
                </p:custDataLst>
              </p:nvPr>
            </p:nvSpPr>
            <p:spPr bwMode="gray">
              <a:xfrm>
                <a:off x="1694" y="2051"/>
                <a:ext cx="160" cy="160"/>
              </a:xfrm>
              <a:prstGeom prst="arc">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grpSp>
        <p:grpSp>
          <p:nvGrpSpPr>
            <p:cNvPr id="82" name="MoonLegend4"/>
            <p:cNvGrpSpPr>
              <a:grpSpLocks noChangeAspect="1"/>
            </p:cNvGrpSpPr>
            <p:nvPr>
              <p:custDataLst>
                <p:tags r:id="rId11"/>
              </p:custDataLst>
            </p:nvPr>
          </p:nvGrpSpPr>
          <p:grpSpPr bwMode="gray">
            <a:xfrm>
              <a:off x="5894005" y="3524395"/>
              <a:ext cx="209550" cy="209551"/>
              <a:chOff x="4495" y="1204"/>
              <a:chExt cx="160" cy="160"/>
            </a:xfrm>
          </p:grpSpPr>
          <p:sp>
            <p:nvSpPr>
              <p:cNvPr id="94" name="Oval 47"/>
              <p:cNvSpPr>
                <a:spLocks noChangeAspect="1" noChangeArrowheads="1"/>
              </p:cNvSpPr>
              <p:nvPr>
                <p:custDataLst>
                  <p:tags r:id="rId23"/>
                </p:custDataLst>
              </p:nvPr>
            </p:nvSpPr>
            <p:spPr bwMode="gray">
              <a:xfrm>
                <a:off x="4495" y="120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95" name="Arc 48"/>
              <p:cNvSpPr>
                <a:spLocks noChangeAspect="1"/>
              </p:cNvSpPr>
              <p:nvPr>
                <p:custDataLst>
                  <p:tags r:id="rId24"/>
                </p:custDataLst>
              </p:nvPr>
            </p:nvSpPr>
            <p:spPr bwMode="gray">
              <a:xfrm>
                <a:off x="4495" y="1204"/>
                <a:ext cx="160" cy="160"/>
              </a:xfrm>
              <a:prstGeom prst="arc">
                <a:avLst>
                  <a:gd name="adj1" fmla="val 16200000"/>
                  <a:gd name="adj2" fmla="val 108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grpSp>
        <p:grpSp>
          <p:nvGrpSpPr>
            <p:cNvPr id="83" name="MoonLegend5"/>
            <p:cNvGrpSpPr>
              <a:grpSpLocks noChangeAspect="1"/>
            </p:cNvGrpSpPr>
            <p:nvPr>
              <p:custDataLst>
                <p:tags r:id="rId12"/>
              </p:custDataLst>
            </p:nvPr>
          </p:nvGrpSpPr>
          <p:grpSpPr bwMode="gray">
            <a:xfrm>
              <a:off x="5894005" y="3799629"/>
              <a:ext cx="209550" cy="209551"/>
              <a:chOff x="4495" y="1447"/>
              <a:chExt cx="160" cy="160"/>
            </a:xfrm>
          </p:grpSpPr>
          <p:sp>
            <p:nvSpPr>
              <p:cNvPr id="92" name="Oval 50"/>
              <p:cNvSpPr>
                <a:spLocks noChangeAspect="1" noChangeArrowheads="1"/>
              </p:cNvSpPr>
              <p:nvPr>
                <p:custDataLst>
                  <p:tags r:id="rId21"/>
                </p:custDataLst>
              </p:nvPr>
            </p:nvSpPr>
            <p:spPr bwMode="gray">
              <a:xfrm>
                <a:off x="4495" y="1447"/>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93" name="Oval 51"/>
              <p:cNvSpPr>
                <a:spLocks noChangeAspect="1" noChangeArrowheads="1"/>
              </p:cNvSpPr>
              <p:nvPr>
                <p:custDataLst>
                  <p:tags r:id="rId22"/>
                </p:custDataLst>
              </p:nvPr>
            </p:nvSpPr>
            <p:spPr bwMode="gray">
              <a:xfrm>
                <a:off x="4495" y="1447"/>
                <a:ext cx="160" cy="160"/>
              </a:xfrm>
              <a:prstGeom prst="arc">
                <a:avLst>
                  <a:gd name="adj1" fmla="val 16200000"/>
                  <a:gd name="adj2" fmla="val 162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grpSp>
        <p:grpSp>
          <p:nvGrpSpPr>
            <p:cNvPr id="84" name="MoonLegend3"/>
            <p:cNvGrpSpPr>
              <a:grpSpLocks noChangeAspect="1"/>
            </p:cNvGrpSpPr>
            <p:nvPr>
              <p:custDataLst>
                <p:tags r:id="rId13"/>
              </p:custDataLst>
            </p:nvPr>
          </p:nvGrpSpPr>
          <p:grpSpPr bwMode="gray">
            <a:xfrm>
              <a:off x="5894005" y="3251543"/>
              <a:ext cx="209550" cy="209551"/>
              <a:chOff x="4495" y="1205"/>
              <a:chExt cx="160" cy="160"/>
            </a:xfrm>
          </p:grpSpPr>
          <p:sp>
            <p:nvSpPr>
              <p:cNvPr id="90" name="Oval 47"/>
              <p:cNvSpPr>
                <a:spLocks noChangeAspect="1" noChangeArrowheads="1"/>
              </p:cNvSpPr>
              <p:nvPr>
                <p:custDataLst>
                  <p:tags r:id="rId19"/>
                </p:custDataLst>
              </p:nvPr>
            </p:nvSpPr>
            <p:spPr bwMode="gray">
              <a:xfrm>
                <a:off x="4495" y="1205"/>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91" name="Arc 48"/>
              <p:cNvSpPr>
                <a:spLocks noChangeAspect="1"/>
              </p:cNvSpPr>
              <p:nvPr>
                <p:custDataLst>
                  <p:tags r:id="rId20"/>
                </p:custDataLst>
              </p:nvPr>
            </p:nvSpPr>
            <p:spPr bwMode="gray">
              <a:xfrm>
                <a:off x="4495" y="1205"/>
                <a:ext cx="160" cy="160"/>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grpSp>
        <p:sp>
          <p:nvSpPr>
            <p:cNvPr id="85" name="Legend1"/>
            <p:cNvSpPr>
              <a:spLocks noChangeArrowheads="1"/>
            </p:cNvSpPr>
            <p:nvPr>
              <p:custDataLst>
                <p:tags r:id="rId14"/>
              </p:custDataLst>
            </p:nvPr>
          </p:nvSpPr>
          <p:spPr bwMode="gray">
            <a:xfrm>
              <a:off x="6214680" y="2696542"/>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sp>
          <p:nvSpPr>
            <p:cNvPr id="86" name="Legend2"/>
            <p:cNvSpPr>
              <a:spLocks noChangeArrowheads="1"/>
            </p:cNvSpPr>
            <p:nvPr>
              <p:custDataLst>
                <p:tags r:id="rId15"/>
              </p:custDataLst>
            </p:nvPr>
          </p:nvSpPr>
          <p:spPr bwMode="gray">
            <a:xfrm>
              <a:off x="6214680" y="2974156"/>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a:latin typeface="+mn-lt"/>
                  <a:ea typeface="+mn-ea"/>
                </a:rPr>
                <a:t>Legend</a:t>
              </a:r>
              <a:endParaRPr lang="en-US" sz="1400" baseline="0" dirty="0">
                <a:latin typeface="+mn-lt"/>
                <a:ea typeface="+mn-ea"/>
              </a:endParaRPr>
            </a:p>
          </p:txBody>
        </p:sp>
        <p:sp>
          <p:nvSpPr>
            <p:cNvPr id="87" name="Legend3"/>
            <p:cNvSpPr>
              <a:spLocks noChangeArrowheads="1"/>
            </p:cNvSpPr>
            <p:nvPr>
              <p:custDataLst>
                <p:tags r:id="rId16"/>
              </p:custDataLst>
            </p:nvPr>
          </p:nvSpPr>
          <p:spPr bwMode="gray">
            <a:xfrm>
              <a:off x="6214680" y="3248596"/>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sp>
          <p:nvSpPr>
            <p:cNvPr id="88" name="Legend4"/>
            <p:cNvSpPr>
              <a:spLocks noChangeArrowheads="1"/>
            </p:cNvSpPr>
            <p:nvPr>
              <p:custDataLst>
                <p:tags r:id="rId17"/>
              </p:custDataLst>
            </p:nvPr>
          </p:nvSpPr>
          <p:spPr bwMode="gray">
            <a:xfrm>
              <a:off x="6214680" y="3521448"/>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sp>
          <p:nvSpPr>
            <p:cNvPr id="89" name="Legend5"/>
            <p:cNvSpPr>
              <a:spLocks noChangeArrowheads="1"/>
            </p:cNvSpPr>
            <p:nvPr>
              <p:custDataLst>
                <p:tags r:id="rId18"/>
              </p:custDataLst>
            </p:nvPr>
          </p:nvSpPr>
          <p:spPr bwMode="gray">
            <a:xfrm>
              <a:off x="6214680" y="3796682"/>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a:latin typeface="+mn-lt"/>
                  <a:ea typeface="+mn-ea"/>
                </a:rPr>
                <a:t>Legend</a:t>
              </a:r>
              <a:endParaRPr lang="en-US" sz="1400" baseline="0" dirty="0">
                <a:latin typeface="+mn-lt"/>
                <a:ea typeface="+mn-ea"/>
              </a:endParaRPr>
            </a:p>
          </p:txBody>
        </p:sp>
      </p:grpSp>
    </p:spTree>
    <p:extLst>
      <p:ext uri="{BB962C8B-B14F-4D97-AF65-F5344CB8AC3E}">
        <p14:creationId xmlns:p14="http://schemas.microsoft.com/office/powerpoint/2010/main" val="2188481723"/>
      </p:ext>
    </p:extLst>
  </p:cSld>
  <p:clrMap bg1="lt1" tx1="dk1" bg2="lt2" tx2="dk2" accent1="accent1" accent2="accent2" accent3="accent3" accent4="accent4" accent5="accent5" accent6="accent6" hlink="hlink" folHlink="folHlink"/>
  <p:sldLayoutIdLst>
    <p:sldLayoutId id="2147483886" r:id="rId1"/>
    <p:sldLayoutId id="2147483887" r:id="rId2"/>
    <p:sldLayoutId id="2147483888" r:id="rId3"/>
    <p:sldLayoutId id="2147483889" r:id="rId4"/>
  </p:sldLayoutIdLst>
  <p:txStyles>
    <p:titleStyle>
      <a:lvl1pPr algn="l" defTabSz="895350" rtl="0" eaLnBrk="1" fontAlgn="base" hangingPunct="1">
        <a:spcBef>
          <a:spcPct val="0"/>
        </a:spcBef>
        <a:spcAft>
          <a:spcPct val="0"/>
        </a:spcAft>
        <a:tabLst>
          <a:tab pos="269875" algn="l"/>
        </a:tabLst>
        <a:defRPr sz="2000" b="0" baseline="0">
          <a:solidFill>
            <a:schemeClr val="tx2"/>
          </a:solidFill>
          <a:latin typeface="+mj-lt"/>
          <a:ea typeface="+mj-ea"/>
          <a:cs typeface="+mj-cs"/>
        </a:defRPr>
      </a:lvl1pPr>
      <a:lvl2pPr algn="l" defTabSz="895350" rtl="0" eaLnBrk="1" fontAlgn="base" hangingPunct="1">
        <a:spcBef>
          <a:spcPct val="0"/>
        </a:spcBef>
        <a:spcAft>
          <a:spcPct val="0"/>
        </a:spcAft>
        <a:defRPr sz="1900" b="1">
          <a:solidFill>
            <a:schemeClr val="tx2"/>
          </a:solidFill>
          <a:latin typeface="Arial" charset="0"/>
        </a:defRPr>
      </a:lvl2pPr>
      <a:lvl3pPr algn="l" defTabSz="895350" rtl="0" eaLnBrk="1" fontAlgn="base" hangingPunct="1">
        <a:spcBef>
          <a:spcPct val="0"/>
        </a:spcBef>
        <a:spcAft>
          <a:spcPct val="0"/>
        </a:spcAft>
        <a:defRPr sz="1900" b="1">
          <a:solidFill>
            <a:schemeClr val="tx2"/>
          </a:solidFill>
          <a:latin typeface="Arial" charset="0"/>
        </a:defRPr>
      </a:lvl3pPr>
      <a:lvl4pPr algn="l" defTabSz="895350" rtl="0" eaLnBrk="1" fontAlgn="base" hangingPunct="1">
        <a:spcBef>
          <a:spcPct val="0"/>
        </a:spcBef>
        <a:spcAft>
          <a:spcPct val="0"/>
        </a:spcAft>
        <a:defRPr sz="1900" b="1">
          <a:solidFill>
            <a:schemeClr val="tx2"/>
          </a:solidFill>
          <a:latin typeface="Arial" charset="0"/>
        </a:defRPr>
      </a:lvl4pPr>
      <a:lvl5pPr algn="l" defTabSz="895350" rtl="0" eaLnBrk="1" fontAlgn="base" hangingPunct="1">
        <a:spcBef>
          <a:spcPct val="0"/>
        </a:spcBef>
        <a:spcAft>
          <a:spcPct val="0"/>
        </a:spcAft>
        <a:defRPr sz="1900" b="1">
          <a:solidFill>
            <a:schemeClr val="tx2"/>
          </a:solidFill>
          <a:latin typeface="Arial" charset="0"/>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p:titleStyle>
    <p:bodyStyle>
      <a:lvl1pPr marL="0" indent="0" algn="l" defTabSz="895350" rtl="0" eaLnBrk="1" fontAlgn="base" hangingPunct="1">
        <a:spcBef>
          <a:spcPct val="0"/>
        </a:spcBef>
        <a:spcAft>
          <a:spcPct val="0"/>
        </a:spcAft>
        <a:buClr>
          <a:schemeClr val="tx2"/>
        </a:buClr>
        <a:buSzPct val="100000"/>
        <a:defRPr sz="14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4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4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4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4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ext>
  </p:extLst>
</p:sldMaster>
</file>

<file path=ppt/slideMasters/slideMaster4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7"/>
            </p:custDataLst>
            <p:extLst>
              <p:ext uri="{D42A27DB-BD31-4B8C-83A1-F6EECF244321}">
                <p14:modId xmlns:p14="http://schemas.microsoft.com/office/powerpoint/2010/main" val="2258103789"/>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25300" name="think-cell Slide" r:id="rId36" imgW="270" imgH="270" progId="TCLayout.ActiveDocument.1">
                  <p:embed/>
                </p:oleObj>
              </mc:Choice>
              <mc:Fallback>
                <p:oleObj name="think-cell Slide" r:id="rId36" imgW="270" imgH="270" progId="TCLayout.ActiveDocument.1">
                  <p:embed/>
                  <p:pic>
                    <p:nvPicPr>
                      <p:cNvPr id="2" name="Object 1" hidden="1"/>
                      <p:cNvPicPr/>
                      <p:nvPr/>
                    </p:nvPicPr>
                    <p:blipFill>
                      <a:blip r:embed="rId37"/>
                      <a:stretch>
                        <a:fillRect/>
                      </a:stretch>
                    </p:blipFill>
                    <p:spPr>
                      <a:xfrm>
                        <a:off x="0" y="0"/>
                        <a:ext cx="158750" cy="158750"/>
                      </a:xfrm>
                      <a:prstGeom prst="rect">
                        <a:avLst/>
                      </a:prstGeom>
                    </p:spPr>
                  </p:pic>
                </p:oleObj>
              </mc:Fallback>
            </mc:AlternateContent>
          </a:graphicData>
        </a:graphic>
      </p:graphicFrame>
      <p:sp>
        <p:nvSpPr>
          <p:cNvPr id="6" name="Rectangle 5" hidden="1"/>
          <p:cNvSpPr/>
          <p:nvPr>
            <p:custDataLst>
              <p:tags r:id="rId8"/>
            </p:custDataLst>
          </p:nvPr>
        </p:nvSpPr>
        <p:spPr bwMode="auto">
          <a:xfrm>
            <a:off x="0" y="0"/>
            <a:ext cx="158750" cy="158750"/>
          </a:xfrm>
          <a:prstGeom prst="rect">
            <a:avLst/>
          </a:prstGeom>
          <a:solidFill>
            <a:schemeClr val="bg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dirty="0">
              <a:solidFill>
                <a:srgbClr val="000000"/>
              </a:solidFill>
              <a:sym typeface="Arial" panose="020B0604020202020204" pitchFamily="34" charset="0"/>
            </a:endParaRPr>
          </a:p>
        </p:txBody>
      </p:sp>
      <p:sp>
        <p:nvSpPr>
          <p:cNvPr id="1034" name="Working Draft" hidden="1"/>
          <p:cNvSpPr txBox="1">
            <a:spLocks noChangeArrowheads="1"/>
          </p:cNvSpPr>
          <p:nvPr/>
        </p:nvSpPr>
        <p:spPr bwMode="gray">
          <a:xfrm rot="5400000">
            <a:off x="7966656" y="1940591"/>
            <a:ext cx="1849865"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600" baseline="0">
                <a:solidFill>
                  <a:srgbClr val="808080"/>
                </a:solidFill>
                <a:latin typeface="+mn-lt"/>
                <a:ea typeface="+mn-ea"/>
              </a:rPr>
              <a:t>Last Modified 21/05/2018 17:44 India Standard Time</a:t>
            </a:r>
            <a:endParaRPr lang="en-US" baseline="0" dirty="0">
              <a:solidFill>
                <a:srgbClr val="808080"/>
              </a:solidFill>
              <a:latin typeface="+mn-lt"/>
              <a:ea typeface="+mn-ea"/>
            </a:endParaRPr>
          </a:p>
        </p:txBody>
      </p:sp>
      <p:sp>
        <p:nvSpPr>
          <p:cNvPr id="1035" name="Printed" hidden="1"/>
          <p:cNvSpPr txBox="1">
            <a:spLocks noChangeArrowheads="1"/>
          </p:cNvSpPr>
          <p:nvPr/>
        </p:nvSpPr>
        <p:spPr bwMode="gray">
          <a:xfrm rot="5400000">
            <a:off x="8768958" y="4114417"/>
            <a:ext cx="245260"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600" baseline="0" dirty="0">
                <a:solidFill>
                  <a:srgbClr val="808080"/>
                </a:solidFill>
                <a:latin typeface="+mn-lt"/>
                <a:ea typeface="+mn-ea"/>
              </a:rPr>
              <a:t>Printed</a:t>
            </a:r>
            <a:endParaRPr lang="en-US" baseline="0" dirty="0">
              <a:solidFill>
                <a:srgbClr val="808080"/>
              </a:solidFill>
              <a:latin typeface="+mn-lt"/>
              <a:ea typeface="+mn-ea"/>
            </a:endParaRPr>
          </a:p>
        </p:txBody>
      </p:sp>
      <p:sp>
        <p:nvSpPr>
          <p:cNvPr id="19" name="Title Placeholder 2"/>
          <p:cNvSpPr>
            <a:spLocks noGrp="1" noChangeArrowheads="1"/>
          </p:cNvSpPr>
          <p:nvPr>
            <p:ph type="title"/>
          </p:nvPr>
        </p:nvSpPr>
        <p:spPr bwMode="gray">
          <a:xfrm>
            <a:off x="119063" y="230188"/>
            <a:ext cx="8618537"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latinLnBrk="0"/>
            <a:r>
              <a:rPr lang="en-US"/>
              <a:t>Click to edit Master title style</a:t>
            </a:r>
            <a:endParaRPr lang="en-US" noProof="0" dirty="0"/>
          </a:p>
        </p:txBody>
      </p:sp>
      <p:sp>
        <p:nvSpPr>
          <p:cNvPr id="10" name="1. On-page tracker" hidden="1"/>
          <p:cNvSpPr>
            <a:spLocks noChangeArrowheads="1"/>
          </p:cNvSpPr>
          <p:nvPr/>
        </p:nvSpPr>
        <p:spPr bwMode="gray">
          <a:xfrm>
            <a:off x="119063" y="75764"/>
            <a:ext cx="490519"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800" cap="all" baseline="0" dirty="0">
                <a:solidFill>
                  <a:schemeClr val="accent6"/>
                </a:solidFill>
                <a:latin typeface="+mn-lt"/>
                <a:ea typeface="+mn-ea"/>
              </a:rPr>
              <a:t>Tracker</a:t>
            </a:r>
          </a:p>
        </p:txBody>
      </p:sp>
      <p:sp>
        <p:nvSpPr>
          <p:cNvPr id="11" name="3. Unit of measure" hidden="1"/>
          <p:cNvSpPr txBox="1">
            <a:spLocks noChangeArrowheads="1"/>
          </p:cNvSpPr>
          <p:nvPr/>
        </p:nvSpPr>
        <p:spPr bwMode="gray">
          <a:xfrm>
            <a:off x="119063" y="554865"/>
            <a:ext cx="8618537"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600" baseline="0" dirty="0">
                <a:solidFill>
                  <a:schemeClr val="accent6"/>
                </a:solidFill>
                <a:latin typeface="+mn-lt"/>
                <a:ea typeface="+mn-ea"/>
              </a:rPr>
              <a:t>Unit of measure</a:t>
            </a:r>
          </a:p>
        </p:txBody>
      </p:sp>
      <p:grpSp>
        <p:nvGrpSpPr>
          <p:cNvPr id="4" name="Slide Elements" hidden="1"/>
          <p:cNvGrpSpPr/>
          <p:nvPr/>
        </p:nvGrpSpPr>
        <p:grpSpPr bwMode="gray">
          <a:xfrm>
            <a:off x="119063" y="6305945"/>
            <a:ext cx="8618537" cy="325438"/>
            <a:chOff x="119063" y="6305945"/>
            <a:chExt cx="8618537" cy="325438"/>
          </a:xfrm>
        </p:grpSpPr>
        <p:sp>
          <p:nvSpPr>
            <p:cNvPr id="13" name="4. Footnote"/>
            <p:cNvSpPr txBox="1">
              <a:spLocks noChangeArrowheads="1"/>
            </p:cNvSpPr>
            <p:nvPr/>
          </p:nvSpPr>
          <p:spPr bwMode="gray">
            <a:xfrm>
              <a:off x="119063" y="6305945"/>
              <a:ext cx="8618537" cy="123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800" baseline="0" dirty="0">
                  <a:solidFill>
                    <a:schemeClr val="accent6"/>
                  </a:solidFill>
                  <a:latin typeface="+mn-lt"/>
                  <a:ea typeface="+mn-ea"/>
                </a:rPr>
                <a:t>1 Footnote</a:t>
              </a:r>
            </a:p>
          </p:txBody>
        </p:sp>
        <p:sp>
          <p:nvSpPr>
            <p:cNvPr id="14" name="5. Source"/>
            <p:cNvSpPr>
              <a:spLocks noChangeArrowheads="1"/>
            </p:cNvSpPr>
            <p:nvPr/>
          </p:nvSpPr>
          <p:spPr bwMode="gray">
            <a:xfrm>
              <a:off x="119063" y="6507558"/>
              <a:ext cx="7200000" cy="123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marL="609600" indent="-609600" defTabSz="895350">
                <a:tabLst>
                  <a:tab pos="612775" algn="l"/>
                </a:tabLst>
              </a:pPr>
              <a:r>
                <a:rPr lang="en-US" sz="800" baseline="0" dirty="0">
                  <a:solidFill>
                    <a:schemeClr val="accent6"/>
                  </a:solidFill>
                  <a:latin typeface="+mn-lt"/>
                  <a:ea typeface="+mn-ea"/>
                </a:rPr>
                <a:t>SOURCE: Source</a:t>
              </a:r>
            </a:p>
          </p:txBody>
        </p:sp>
      </p:grpSp>
      <p:sp>
        <p:nvSpPr>
          <p:cNvPr id="3" name="Text Placeholder 2"/>
          <p:cNvSpPr>
            <a:spLocks noGrp="1"/>
          </p:cNvSpPr>
          <p:nvPr>
            <p:ph type="body" idx="1"/>
          </p:nvPr>
        </p:nvSpPr>
        <p:spPr bwMode="gray">
          <a:xfrm>
            <a:off x="1452564" y="1951380"/>
            <a:ext cx="4302125" cy="1077218"/>
          </a:xfrm>
          <a:prstGeom prst="rect">
            <a:avLst/>
          </a:prstGeom>
        </p:spPr>
        <p:txBody>
          <a:bodyPr vert="horz" lIns="0" tIns="0" rIns="0" bIns="0" rtlCol="0">
            <a:spAutoFit/>
          </a:bodyPr>
          <a:lstStyle/>
          <a:p>
            <a:pPr lvl="0" latinLnBrk="0"/>
            <a:r>
              <a:rPr lang="en-US"/>
              <a:t>Edit Master text styles</a:t>
            </a:r>
          </a:p>
          <a:p>
            <a:pPr lvl="1" latinLnBrk="0"/>
            <a:r>
              <a:rPr lang="en-US"/>
              <a:t>Second level</a:t>
            </a:r>
          </a:p>
          <a:p>
            <a:pPr lvl="2" latinLnBrk="0"/>
            <a:r>
              <a:rPr lang="en-US"/>
              <a:t>Third level</a:t>
            </a:r>
          </a:p>
          <a:p>
            <a:pPr lvl="3" latinLnBrk="0"/>
            <a:r>
              <a:rPr lang="en-US"/>
              <a:t>Fourth level</a:t>
            </a:r>
          </a:p>
          <a:p>
            <a:pPr lvl="4" latinLnBrk="0"/>
            <a:r>
              <a:rPr lang="en-US"/>
              <a:t>Fifth level</a:t>
            </a:r>
            <a:endParaRPr lang="en-US" dirty="0"/>
          </a:p>
        </p:txBody>
      </p:sp>
      <p:grpSp>
        <p:nvGrpSpPr>
          <p:cNvPr id="15" name="ACET" hidden="1"/>
          <p:cNvGrpSpPr>
            <a:grpSpLocks/>
          </p:cNvGrpSpPr>
          <p:nvPr/>
        </p:nvGrpSpPr>
        <p:grpSpPr bwMode="gray">
          <a:xfrm>
            <a:off x="1452563" y="1257754"/>
            <a:ext cx="4264025" cy="508000"/>
            <a:chOff x="915" y="710"/>
            <a:chExt cx="2686" cy="320"/>
          </a:xfrm>
        </p:grpSpPr>
        <p:cxnSp>
          <p:nvCxnSpPr>
            <p:cNvPr id="16" name="AutoShape 249"/>
            <p:cNvCxnSpPr>
              <a:cxnSpLocks noChangeShapeType="1"/>
              <a:stCxn id="18" idx="4"/>
              <a:endCxn id="18" idx="6"/>
            </p:cNvCxnSpPr>
            <p:nvPr/>
          </p:nvCxnSpPr>
          <p:spPr bwMode="gray">
            <a:xfrm>
              <a:off x="915" y="1030"/>
              <a:ext cx="2686" cy="0"/>
            </a:xfrm>
            <a:prstGeom prst="straightConnector1">
              <a:avLst/>
            </a:prstGeom>
            <a:noFill/>
            <a:ln w="9525">
              <a:solidFill>
                <a:schemeClr val="accent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8" name="AutoShape 250"/>
            <p:cNvSpPr>
              <a:spLocks noChangeArrowheads="1"/>
            </p:cNvSpPr>
            <p:nvPr/>
          </p:nvSpPr>
          <p:spPr bwMode="gray">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US" b="1" baseline="0" dirty="0">
                  <a:solidFill>
                    <a:srgbClr val="000000"/>
                  </a:solidFill>
                  <a:latin typeface="+mn-lt"/>
                  <a:ea typeface="+mn-ea"/>
                </a:rPr>
                <a:t>Title</a:t>
              </a:r>
            </a:p>
            <a:p>
              <a:r>
                <a:rPr lang="en-US" baseline="0" dirty="0">
                  <a:solidFill>
                    <a:schemeClr val="accent6"/>
                  </a:solidFill>
                  <a:latin typeface="+mn-lt"/>
                  <a:ea typeface="+mn-ea"/>
                </a:rPr>
                <a:t>Unit of measure</a:t>
              </a:r>
            </a:p>
          </p:txBody>
        </p:sp>
      </p:grpSp>
      <p:grpSp>
        <p:nvGrpSpPr>
          <p:cNvPr id="17" name="McKSticker" hidden="1"/>
          <p:cNvGrpSpPr/>
          <p:nvPr/>
        </p:nvGrpSpPr>
        <p:grpSpPr bwMode="gray">
          <a:xfrm>
            <a:off x="8264265" y="285750"/>
            <a:ext cx="473335" cy="150811"/>
            <a:chOff x="8267440" y="285750"/>
            <a:chExt cx="473335" cy="150811"/>
          </a:xfrm>
        </p:grpSpPr>
        <p:sp>
          <p:nvSpPr>
            <p:cNvPr id="20" name="StickerRectangle"/>
            <p:cNvSpPr>
              <a:spLocks noChangeArrowheads="1"/>
            </p:cNvSpPr>
            <p:nvPr/>
          </p:nvSpPr>
          <p:spPr bwMode="gray">
            <a:xfrm>
              <a:off x="8267440" y="285750"/>
              <a:ext cx="473335" cy="150811"/>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a:buClr>
                  <a:srgbClr val="002960"/>
                </a:buClr>
              </a:pPr>
              <a:r>
                <a:rPr lang="en-US" sz="800" baseline="0" dirty="0">
                  <a:solidFill>
                    <a:schemeClr val="accent6"/>
                  </a:solidFill>
                  <a:latin typeface="+mn-lt"/>
                  <a:ea typeface="+mn-ea"/>
                </a:rPr>
                <a:t>STICKER</a:t>
              </a:r>
            </a:p>
          </p:txBody>
        </p:sp>
        <p:cxnSp>
          <p:nvCxnSpPr>
            <p:cNvPr id="21" name="AutoShape 31"/>
            <p:cNvCxnSpPr>
              <a:cxnSpLocks noChangeShapeType="1"/>
              <a:stCxn id="20" idx="2"/>
              <a:endCxn id="20" idx="4"/>
            </p:cNvCxnSpPr>
            <p:nvPr/>
          </p:nvCxnSpPr>
          <p:spPr bwMode="gray">
            <a:xfrm>
              <a:off x="8267440" y="285750"/>
              <a:ext cx="0" cy="150811"/>
            </a:xfrm>
            <a:prstGeom prst="straightConnector1">
              <a:avLst/>
            </a:prstGeom>
            <a:noFill/>
            <a:ln w="9525">
              <a:solidFill>
                <a:schemeClr val="accent6"/>
              </a:solidFill>
              <a:round/>
              <a:headEnd/>
              <a:tailEnd/>
            </a:ln>
            <a:extLst>
              <a:ext uri="{909E8E84-426E-40DD-AFC4-6F175D3DCCD1}">
                <a14:hiddenFill xmlns:a14="http://schemas.microsoft.com/office/drawing/2010/main">
                  <a:noFill/>
                </a14:hiddenFill>
              </a:ext>
            </a:extLst>
          </p:spPr>
        </p:cxnSp>
        <p:cxnSp>
          <p:nvCxnSpPr>
            <p:cNvPr id="22" name="AutoShape 32"/>
            <p:cNvCxnSpPr>
              <a:cxnSpLocks noChangeShapeType="1"/>
              <a:stCxn id="20" idx="4"/>
              <a:endCxn id="20" idx="6"/>
            </p:cNvCxnSpPr>
            <p:nvPr/>
          </p:nvCxnSpPr>
          <p:spPr bwMode="gray">
            <a:xfrm>
              <a:off x="8267440" y="436561"/>
              <a:ext cx="473335" cy="0"/>
            </a:xfrm>
            <a:prstGeom prst="straightConnector1">
              <a:avLst/>
            </a:prstGeom>
            <a:noFill/>
            <a:ln w="25400">
              <a:solidFill>
                <a:schemeClr val="accent6"/>
              </a:solidFill>
              <a:round/>
              <a:headEnd/>
              <a:tailEnd/>
            </a:ln>
            <a:extLst>
              <a:ext uri="{909E8E84-426E-40DD-AFC4-6F175D3DCCD1}">
                <a14:hiddenFill xmlns:a14="http://schemas.microsoft.com/office/drawing/2010/main">
                  <a:noFill/>
                </a14:hiddenFill>
              </a:ext>
            </a:extLst>
          </p:spPr>
        </p:cxnSp>
      </p:grpSp>
      <p:sp>
        <p:nvSpPr>
          <p:cNvPr id="23" name="SlideBottomBar" hidden="1"/>
          <p:cNvSpPr/>
          <p:nvPr/>
        </p:nvSpPr>
        <p:spPr>
          <a:xfrm>
            <a:off x="8437547" y="6182120"/>
            <a:ext cx="45719" cy="123825"/>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aseline="0" dirty="0">
              <a:solidFill>
                <a:schemeClr val="tx1"/>
              </a:solidFill>
              <a:latin typeface="+mn-lt"/>
              <a:ea typeface="+mn-ea"/>
            </a:endParaRPr>
          </a:p>
        </p:txBody>
      </p:sp>
      <p:sp>
        <p:nvSpPr>
          <p:cNvPr id="24" name="doc id" hidden="1"/>
          <p:cNvSpPr txBox="1">
            <a:spLocks noChangeArrowheads="1"/>
          </p:cNvSpPr>
          <p:nvPr/>
        </p:nvSpPr>
        <p:spPr bwMode="white">
          <a:xfrm>
            <a:off x="8104473" y="36513"/>
            <a:ext cx="634716" cy="115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hangingPunct="1">
              <a:defRPr/>
            </a:pPr>
            <a:endParaRPr lang="en-US" sz="800" baseline="0" dirty="0">
              <a:solidFill>
                <a:schemeClr val="accent1"/>
              </a:solidFill>
              <a:latin typeface="+mn-lt"/>
              <a:ea typeface="+mn-ea"/>
            </a:endParaRPr>
          </a:p>
        </p:txBody>
      </p:sp>
      <p:grpSp>
        <p:nvGrpSpPr>
          <p:cNvPr id="63" name="LegendLines" hidden="1"/>
          <p:cNvGrpSpPr/>
          <p:nvPr/>
        </p:nvGrpSpPr>
        <p:grpSpPr>
          <a:xfrm>
            <a:off x="7551589" y="267815"/>
            <a:ext cx="1158292" cy="761545"/>
            <a:chOff x="7607284" y="279400"/>
            <a:chExt cx="1158292" cy="761545"/>
          </a:xfrm>
        </p:grpSpPr>
        <p:sp>
          <p:nvSpPr>
            <p:cNvPr id="64" name="LineLegend1"/>
            <p:cNvSpPr>
              <a:spLocks noChangeShapeType="1"/>
            </p:cNvSpPr>
            <p:nvPr/>
          </p:nvSpPr>
          <p:spPr bwMode="gray">
            <a:xfrm>
              <a:off x="7607284" y="387122"/>
              <a:ext cx="457200"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65" name="LineLegend2"/>
            <p:cNvSpPr>
              <a:spLocks noChangeShapeType="1"/>
            </p:cNvSpPr>
            <p:nvPr/>
          </p:nvSpPr>
          <p:spPr bwMode="gray">
            <a:xfrm>
              <a:off x="7607284" y="653822"/>
              <a:ext cx="457200"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66" name="LineLegend3"/>
            <p:cNvSpPr>
              <a:spLocks noChangeShapeType="1"/>
            </p:cNvSpPr>
            <p:nvPr/>
          </p:nvSpPr>
          <p:spPr bwMode="gray">
            <a:xfrm>
              <a:off x="7607284" y="933223"/>
              <a:ext cx="457200"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67" name="Legend1"/>
            <p:cNvSpPr>
              <a:spLocks noChangeArrowheads="1"/>
            </p:cNvSpPr>
            <p:nvPr>
              <p:custDataLst>
                <p:tags r:id="rId33"/>
              </p:custDataLst>
            </p:nvPr>
          </p:nvSpPr>
          <p:spPr bwMode="gray">
            <a:xfrm>
              <a:off x="8169259" y="279400"/>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sp>
          <p:nvSpPr>
            <p:cNvPr id="68" name="Legend2"/>
            <p:cNvSpPr>
              <a:spLocks noChangeArrowheads="1"/>
            </p:cNvSpPr>
            <p:nvPr>
              <p:custDataLst>
                <p:tags r:id="rId34"/>
              </p:custDataLst>
            </p:nvPr>
          </p:nvSpPr>
          <p:spPr bwMode="gray">
            <a:xfrm>
              <a:off x="8169259" y="546100"/>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a:latin typeface="+mn-lt"/>
                  <a:ea typeface="+mn-ea"/>
                </a:rPr>
                <a:t>Legend</a:t>
              </a:r>
              <a:endParaRPr lang="en-US" sz="1400" baseline="0" dirty="0">
                <a:latin typeface="+mn-lt"/>
                <a:ea typeface="+mn-ea"/>
              </a:endParaRPr>
            </a:p>
          </p:txBody>
        </p:sp>
        <p:sp>
          <p:nvSpPr>
            <p:cNvPr id="69" name="Legend3"/>
            <p:cNvSpPr>
              <a:spLocks noChangeArrowheads="1"/>
            </p:cNvSpPr>
            <p:nvPr>
              <p:custDataLst>
                <p:tags r:id="rId35"/>
              </p:custDataLst>
            </p:nvPr>
          </p:nvSpPr>
          <p:spPr bwMode="gray">
            <a:xfrm>
              <a:off x="8169259" y="825501"/>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grpSp>
      <p:grpSp>
        <p:nvGrpSpPr>
          <p:cNvPr id="70" name="LegendBoxes" hidden="1"/>
          <p:cNvGrpSpPr/>
          <p:nvPr/>
        </p:nvGrpSpPr>
        <p:grpSpPr>
          <a:xfrm>
            <a:off x="7859564" y="267919"/>
            <a:ext cx="850317" cy="1028245"/>
            <a:chOff x="5894005" y="919828"/>
            <a:chExt cx="850317" cy="1028245"/>
          </a:xfrm>
        </p:grpSpPr>
        <p:sp>
          <p:nvSpPr>
            <p:cNvPr id="71" name="RectangleLegend1"/>
            <p:cNvSpPr>
              <a:spLocks noChangeArrowheads="1"/>
            </p:cNvSpPr>
            <p:nvPr/>
          </p:nvSpPr>
          <p:spPr bwMode="gray">
            <a:xfrm>
              <a:off x="5894005" y="947381"/>
              <a:ext cx="165100" cy="160338"/>
            </a:xfrm>
            <a:prstGeom prst="rect">
              <a:avLst/>
            </a:prstGeom>
            <a:solidFill>
              <a:schemeClr val="accent1"/>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72" name="RectangleLegend2"/>
            <p:cNvSpPr>
              <a:spLocks noChangeArrowheads="1"/>
            </p:cNvSpPr>
            <p:nvPr/>
          </p:nvSpPr>
          <p:spPr bwMode="gray">
            <a:xfrm>
              <a:off x="5894005" y="1217256"/>
              <a:ext cx="165100" cy="160338"/>
            </a:xfrm>
            <a:prstGeom prst="rect">
              <a:avLst/>
            </a:prstGeom>
            <a:solidFill>
              <a:schemeClr val="accent2"/>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73" name="RectangleLegend3"/>
            <p:cNvSpPr>
              <a:spLocks noChangeArrowheads="1"/>
            </p:cNvSpPr>
            <p:nvPr/>
          </p:nvSpPr>
          <p:spPr bwMode="gray">
            <a:xfrm>
              <a:off x="5894005" y="1488719"/>
              <a:ext cx="165100" cy="160338"/>
            </a:xfrm>
            <a:prstGeom prst="rect">
              <a:avLst/>
            </a:prstGeom>
            <a:solidFill>
              <a:schemeClr val="accent3"/>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74" name="RectangleLegend4"/>
            <p:cNvSpPr>
              <a:spLocks noChangeArrowheads="1"/>
            </p:cNvSpPr>
            <p:nvPr/>
          </p:nvSpPr>
          <p:spPr bwMode="gray">
            <a:xfrm>
              <a:off x="5894005" y="1760182"/>
              <a:ext cx="165100" cy="160338"/>
            </a:xfrm>
            <a:prstGeom prst="rect">
              <a:avLst/>
            </a:prstGeom>
            <a:solidFill>
              <a:schemeClr val="accent4"/>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75" name="Legend1"/>
            <p:cNvSpPr>
              <a:spLocks noChangeArrowheads="1"/>
            </p:cNvSpPr>
            <p:nvPr>
              <p:custDataLst>
                <p:tags r:id="rId29"/>
              </p:custDataLst>
            </p:nvPr>
          </p:nvSpPr>
          <p:spPr bwMode="gray">
            <a:xfrm>
              <a:off x="6148005" y="919828"/>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sp>
          <p:nvSpPr>
            <p:cNvPr id="76" name="Legend2"/>
            <p:cNvSpPr>
              <a:spLocks noChangeArrowheads="1"/>
            </p:cNvSpPr>
            <p:nvPr>
              <p:custDataLst>
                <p:tags r:id="rId30"/>
              </p:custDataLst>
            </p:nvPr>
          </p:nvSpPr>
          <p:spPr bwMode="gray">
            <a:xfrm>
              <a:off x="6148005" y="1189703"/>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sp>
          <p:nvSpPr>
            <p:cNvPr id="77" name="Legend3"/>
            <p:cNvSpPr>
              <a:spLocks noChangeArrowheads="1"/>
            </p:cNvSpPr>
            <p:nvPr>
              <p:custDataLst>
                <p:tags r:id="rId31"/>
              </p:custDataLst>
            </p:nvPr>
          </p:nvSpPr>
          <p:spPr bwMode="gray">
            <a:xfrm>
              <a:off x="6148005" y="1461166"/>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sp>
          <p:nvSpPr>
            <p:cNvPr id="78" name="Legend4"/>
            <p:cNvSpPr>
              <a:spLocks noChangeArrowheads="1"/>
            </p:cNvSpPr>
            <p:nvPr>
              <p:custDataLst>
                <p:tags r:id="rId32"/>
              </p:custDataLst>
            </p:nvPr>
          </p:nvSpPr>
          <p:spPr bwMode="gray">
            <a:xfrm>
              <a:off x="6148005" y="1732629"/>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grpSp>
      <p:grpSp>
        <p:nvGrpSpPr>
          <p:cNvPr id="79" name="LegendMoons" hidden="1"/>
          <p:cNvGrpSpPr/>
          <p:nvPr/>
        </p:nvGrpSpPr>
        <p:grpSpPr>
          <a:xfrm>
            <a:off x="7792889" y="267414"/>
            <a:ext cx="916992" cy="1317003"/>
            <a:chOff x="5894005" y="2695123"/>
            <a:chExt cx="916992" cy="1317003"/>
          </a:xfrm>
        </p:grpSpPr>
        <p:grpSp>
          <p:nvGrpSpPr>
            <p:cNvPr id="80" name="MoonLegend1"/>
            <p:cNvGrpSpPr>
              <a:grpSpLocks noChangeAspect="1"/>
            </p:cNvGrpSpPr>
            <p:nvPr>
              <p:custDataLst>
                <p:tags r:id="rId9"/>
              </p:custDataLst>
            </p:nvPr>
          </p:nvGrpSpPr>
          <p:grpSpPr bwMode="gray">
            <a:xfrm>
              <a:off x="5894005" y="2695123"/>
              <a:ext cx="209550" cy="218282"/>
              <a:chOff x="4533" y="183"/>
              <a:chExt cx="144" cy="150"/>
            </a:xfrm>
          </p:grpSpPr>
          <p:sp>
            <p:nvSpPr>
              <p:cNvPr id="98" name="Oval 97"/>
              <p:cNvSpPr>
                <a:spLocks noChangeAspect="1" noChangeArrowheads="1"/>
              </p:cNvSpPr>
              <p:nvPr>
                <p:custDataLst>
                  <p:tags r:id="rId27"/>
                </p:custDataLst>
              </p:nvPr>
            </p:nvSpPr>
            <p:spPr bwMode="gray">
              <a:xfrm>
                <a:off x="4533" y="189"/>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99" name="Arc 98" hidden="1"/>
              <p:cNvSpPr>
                <a:spLocks noChangeAspect="1"/>
              </p:cNvSpPr>
              <p:nvPr>
                <p:custDataLst>
                  <p:tags r:id="rId28"/>
                </p:custDataLst>
              </p:nvPr>
            </p:nvSpPr>
            <p:spPr bwMode="gray">
              <a:xfrm>
                <a:off x="4533" y="183"/>
                <a:ext cx="144" cy="144"/>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grpSp>
        <p:grpSp>
          <p:nvGrpSpPr>
            <p:cNvPr id="81" name="MoonLegend2"/>
            <p:cNvGrpSpPr>
              <a:grpSpLocks noChangeAspect="1"/>
            </p:cNvGrpSpPr>
            <p:nvPr>
              <p:custDataLst>
                <p:tags r:id="rId10"/>
              </p:custDataLst>
            </p:nvPr>
          </p:nvGrpSpPr>
          <p:grpSpPr bwMode="gray">
            <a:xfrm>
              <a:off x="5894005" y="2977103"/>
              <a:ext cx="209550" cy="209551"/>
              <a:chOff x="1694" y="2051"/>
              <a:chExt cx="160" cy="160"/>
            </a:xfrm>
          </p:grpSpPr>
          <p:sp>
            <p:nvSpPr>
              <p:cNvPr id="96" name="Oval 41"/>
              <p:cNvSpPr>
                <a:spLocks noChangeAspect="1" noChangeArrowheads="1"/>
              </p:cNvSpPr>
              <p:nvPr>
                <p:custDataLst>
                  <p:tags r:id="rId25"/>
                </p:custDataLst>
              </p:nvPr>
            </p:nvSpPr>
            <p:spPr bwMode="gray">
              <a:xfrm>
                <a:off x="1694" y="2051"/>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97" name="Arc 42"/>
              <p:cNvSpPr>
                <a:spLocks noChangeAspect="1"/>
              </p:cNvSpPr>
              <p:nvPr>
                <p:custDataLst>
                  <p:tags r:id="rId26"/>
                </p:custDataLst>
              </p:nvPr>
            </p:nvSpPr>
            <p:spPr bwMode="gray">
              <a:xfrm>
                <a:off x="1694" y="2051"/>
                <a:ext cx="160" cy="160"/>
              </a:xfrm>
              <a:prstGeom prst="arc">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grpSp>
        <p:grpSp>
          <p:nvGrpSpPr>
            <p:cNvPr id="82" name="MoonLegend4"/>
            <p:cNvGrpSpPr>
              <a:grpSpLocks noChangeAspect="1"/>
            </p:cNvGrpSpPr>
            <p:nvPr>
              <p:custDataLst>
                <p:tags r:id="rId11"/>
              </p:custDataLst>
            </p:nvPr>
          </p:nvGrpSpPr>
          <p:grpSpPr bwMode="gray">
            <a:xfrm>
              <a:off x="5894005" y="3524395"/>
              <a:ext cx="209550" cy="209551"/>
              <a:chOff x="4495" y="1204"/>
              <a:chExt cx="160" cy="160"/>
            </a:xfrm>
          </p:grpSpPr>
          <p:sp>
            <p:nvSpPr>
              <p:cNvPr id="94" name="Oval 47"/>
              <p:cNvSpPr>
                <a:spLocks noChangeAspect="1" noChangeArrowheads="1"/>
              </p:cNvSpPr>
              <p:nvPr>
                <p:custDataLst>
                  <p:tags r:id="rId23"/>
                </p:custDataLst>
              </p:nvPr>
            </p:nvSpPr>
            <p:spPr bwMode="gray">
              <a:xfrm>
                <a:off x="4495" y="120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95" name="Arc 48"/>
              <p:cNvSpPr>
                <a:spLocks noChangeAspect="1"/>
              </p:cNvSpPr>
              <p:nvPr>
                <p:custDataLst>
                  <p:tags r:id="rId24"/>
                </p:custDataLst>
              </p:nvPr>
            </p:nvSpPr>
            <p:spPr bwMode="gray">
              <a:xfrm>
                <a:off x="4495" y="1204"/>
                <a:ext cx="160" cy="160"/>
              </a:xfrm>
              <a:prstGeom prst="arc">
                <a:avLst>
                  <a:gd name="adj1" fmla="val 16200000"/>
                  <a:gd name="adj2" fmla="val 108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grpSp>
        <p:grpSp>
          <p:nvGrpSpPr>
            <p:cNvPr id="83" name="MoonLegend5"/>
            <p:cNvGrpSpPr>
              <a:grpSpLocks noChangeAspect="1"/>
            </p:cNvGrpSpPr>
            <p:nvPr>
              <p:custDataLst>
                <p:tags r:id="rId12"/>
              </p:custDataLst>
            </p:nvPr>
          </p:nvGrpSpPr>
          <p:grpSpPr bwMode="gray">
            <a:xfrm>
              <a:off x="5894005" y="3799629"/>
              <a:ext cx="209550" cy="209551"/>
              <a:chOff x="4495" y="1447"/>
              <a:chExt cx="160" cy="160"/>
            </a:xfrm>
          </p:grpSpPr>
          <p:sp>
            <p:nvSpPr>
              <p:cNvPr id="92" name="Oval 50"/>
              <p:cNvSpPr>
                <a:spLocks noChangeAspect="1" noChangeArrowheads="1"/>
              </p:cNvSpPr>
              <p:nvPr>
                <p:custDataLst>
                  <p:tags r:id="rId21"/>
                </p:custDataLst>
              </p:nvPr>
            </p:nvSpPr>
            <p:spPr bwMode="gray">
              <a:xfrm>
                <a:off x="4495" y="1447"/>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93" name="Oval 51"/>
              <p:cNvSpPr>
                <a:spLocks noChangeAspect="1" noChangeArrowheads="1"/>
              </p:cNvSpPr>
              <p:nvPr>
                <p:custDataLst>
                  <p:tags r:id="rId22"/>
                </p:custDataLst>
              </p:nvPr>
            </p:nvSpPr>
            <p:spPr bwMode="gray">
              <a:xfrm>
                <a:off x="4495" y="1447"/>
                <a:ext cx="160" cy="160"/>
              </a:xfrm>
              <a:prstGeom prst="arc">
                <a:avLst>
                  <a:gd name="adj1" fmla="val 16200000"/>
                  <a:gd name="adj2" fmla="val 162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grpSp>
        <p:grpSp>
          <p:nvGrpSpPr>
            <p:cNvPr id="84" name="MoonLegend3"/>
            <p:cNvGrpSpPr>
              <a:grpSpLocks noChangeAspect="1"/>
            </p:cNvGrpSpPr>
            <p:nvPr>
              <p:custDataLst>
                <p:tags r:id="rId13"/>
              </p:custDataLst>
            </p:nvPr>
          </p:nvGrpSpPr>
          <p:grpSpPr bwMode="gray">
            <a:xfrm>
              <a:off x="5894005" y="3251543"/>
              <a:ext cx="209550" cy="209551"/>
              <a:chOff x="4495" y="1205"/>
              <a:chExt cx="160" cy="160"/>
            </a:xfrm>
          </p:grpSpPr>
          <p:sp>
            <p:nvSpPr>
              <p:cNvPr id="90" name="Oval 47"/>
              <p:cNvSpPr>
                <a:spLocks noChangeAspect="1" noChangeArrowheads="1"/>
              </p:cNvSpPr>
              <p:nvPr>
                <p:custDataLst>
                  <p:tags r:id="rId19"/>
                </p:custDataLst>
              </p:nvPr>
            </p:nvSpPr>
            <p:spPr bwMode="gray">
              <a:xfrm>
                <a:off x="4495" y="1205"/>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91" name="Arc 48"/>
              <p:cNvSpPr>
                <a:spLocks noChangeAspect="1"/>
              </p:cNvSpPr>
              <p:nvPr>
                <p:custDataLst>
                  <p:tags r:id="rId20"/>
                </p:custDataLst>
              </p:nvPr>
            </p:nvSpPr>
            <p:spPr bwMode="gray">
              <a:xfrm>
                <a:off x="4495" y="1205"/>
                <a:ext cx="160" cy="160"/>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grpSp>
        <p:sp>
          <p:nvSpPr>
            <p:cNvPr id="85" name="Legend1"/>
            <p:cNvSpPr>
              <a:spLocks noChangeArrowheads="1"/>
            </p:cNvSpPr>
            <p:nvPr>
              <p:custDataLst>
                <p:tags r:id="rId14"/>
              </p:custDataLst>
            </p:nvPr>
          </p:nvSpPr>
          <p:spPr bwMode="gray">
            <a:xfrm>
              <a:off x="6214680" y="2696542"/>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sp>
          <p:nvSpPr>
            <p:cNvPr id="86" name="Legend2"/>
            <p:cNvSpPr>
              <a:spLocks noChangeArrowheads="1"/>
            </p:cNvSpPr>
            <p:nvPr>
              <p:custDataLst>
                <p:tags r:id="rId15"/>
              </p:custDataLst>
            </p:nvPr>
          </p:nvSpPr>
          <p:spPr bwMode="gray">
            <a:xfrm>
              <a:off x="6214680" y="2974156"/>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a:latin typeface="+mn-lt"/>
                  <a:ea typeface="+mn-ea"/>
                </a:rPr>
                <a:t>Legend</a:t>
              </a:r>
              <a:endParaRPr lang="en-US" sz="1400" baseline="0" dirty="0">
                <a:latin typeface="+mn-lt"/>
                <a:ea typeface="+mn-ea"/>
              </a:endParaRPr>
            </a:p>
          </p:txBody>
        </p:sp>
        <p:sp>
          <p:nvSpPr>
            <p:cNvPr id="87" name="Legend3"/>
            <p:cNvSpPr>
              <a:spLocks noChangeArrowheads="1"/>
            </p:cNvSpPr>
            <p:nvPr>
              <p:custDataLst>
                <p:tags r:id="rId16"/>
              </p:custDataLst>
            </p:nvPr>
          </p:nvSpPr>
          <p:spPr bwMode="gray">
            <a:xfrm>
              <a:off x="6214680" y="3248596"/>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sp>
          <p:nvSpPr>
            <p:cNvPr id="88" name="Legend4"/>
            <p:cNvSpPr>
              <a:spLocks noChangeArrowheads="1"/>
            </p:cNvSpPr>
            <p:nvPr>
              <p:custDataLst>
                <p:tags r:id="rId17"/>
              </p:custDataLst>
            </p:nvPr>
          </p:nvSpPr>
          <p:spPr bwMode="gray">
            <a:xfrm>
              <a:off x="6214680" y="3521448"/>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sp>
          <p:nvSpPr>
            <p:cNvPr id="89" name="Legend5"/>
            <p:cNvSpPr>
              <a:spLocks noChangeArrowheads="1"/>
            </p:cNvSpPr>
            <p:nvPr>
              <p:custDataLst>
                <p:tags r:id="rId18"/>
              </p:custDataLst>
            </p:nvPr>
          </p:nvSpPr>
          <p:spPr bwMode="gray">
            <a:xfrm>
              <a:off x="6214680" y="3796682"/>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a:latin typeface="+mn-lt"/>
                  <a:ea typeface="+mn-ea"/>
                </a:rPr>
                <a:t>Legend</a:t>
              </a:r>
              <a:endParaRPr lang="en-US" sz="1400" baseline="0" dirty="0">
                <a:latin typeface="+mn-lt"/>
                <a:ea typeface="+mn-ea"/>
              </a:endParaRPr>
            </a:p>
          </p:txBody>
        </p:sp>
      </p:grpSp>
    </p:spTree>
    <p:extLst>
      <p:ext uri="{BB962C8B-B14F-4D97-AF65-F5344CB8AC3E}">
        <p14:creationId xmlns:p14="http://schemas.microsoft.com/office/powerpoint/2010/main" val="441918993"/>
      </p:ext>
    </p:extLst>
  </p:cSld>
  <p:clrMap bg1="lt1" tx1="dk1" bg2="lt2" tx2="dk2" accent1="accent1" accent2="accent2" accent3="accent3" accent4="accent4" accent5="accent5" accent6="accent6" hlink="hlink" folHlink="folHlink"/>
  <p:sldLayoutIdLst>
    <p:sldLayoutId id="2147483891" r:id="rId1"/>
    <p:sldLayoutId id="2147483892" r:id="rId2"/>
    <p:sldLayoutId id="2147483893" r:id="rId3"/>
    <p:sldLayoutId id="2147483894" r:id="rId4"/>
  </p:sldLayoutIdLst>
  <p:txStyles>
    <p:titleStyle>
      <a:lvl1pPr algn="l" defTabSz="895350" rtl="0" eaLnBrk="1" fontAlgn="base" hangingPunct="1">
        <a:spcBef>
          <a:spcPct val="0"/>
        </a:spcBef>
        <a:spcAft>
          <a:spcPct val="0"/>
        </a:spcAft>
        <a:tabLst>
          <a:tab pos="269875" algn="l"/>
        </a:tabLst>
        <a:defRPr sz="2000" b="0" baseline="0">
          <a:solidFill>
            <a:schemeClr val="tx2"/>
          </a:solidFill>
          <a:latin typeface="+mj-lt"/>
          <a:ea typeface="+mj-ea"/>
          <a:cs typeface="+mj-cs"/>
        </a:defRPr>
      </a:lvl1pPr>
      <a:lvl2pPr algn="l" defTabSz="895350" rtl="0" eaLnBrk="1" fontAlgn="base" hangingPunct="1">
        <a:spcBef>
          <a:spcPct val="0"/>
        </a:spcBef>
        <a:spcAft>
          <a:spcPct val="0"/>
        </a:spcAft>
        <a:defRPr sz="1900" b="1">
          <a:solidFill>
            <a:schemeClr val="tx2"/>
          </a:solidFill>
          <a:latin typeface="Arial" charset="0"/>
        </a:defRPr>
      </a:lvl2pPr>
      <a:lvl3pPr algn="l" defTabSz="895350" rtl="0" eaLnBrk="1" fontAlgn="base" hangingPunct="1">
        <a:spcBef>
          <a:spcPct val="0"/>
        </a:spcBef>
        <a:spcAft>
          <a:spcPct val="0"/>
        </a:spcAft>
        <a:defRPr sz="1900" b="1">
          <a:solidFill>
            <a:schemeClr val="tx2"/>
          </a:solidFill>
          <a:latin typeface="Arial" charset="0"/>
        </a:defRPr>
      </a:lvl3pPr>
      <a:lvl4pPr algn="l" defTabSz="895350" rtl="0" eaLnBrk="1" fontAlgn="base" hangingPunct="1">
        <a:spcBef>
          <a:spcPct val="0"/>
        </a:spcBef>
        <a:spcAft>
          <a:spcPct val="0"/>
        </a:spcAft>
        <a:defRPr sz="1900" b="1">
          <a:solidFill>
            <a:schemeClr val="tx2"/>
          </a:solidFill>
          <a:latin typeface="Arial" charset="0"/>
        </a:defRPr>
      </a:lvl4pPr>
      <a:lvl5pPr algn="l" defTabSz="895350" rtl="0" eaLnBrk="1" fontAlgn="base" hangingPunct="1">
        <a:spcBef>
          <a:spcPct val="0"/>
        </a:spcBef>
        <a:spcAft>
          <a:spcPct val="0"/>
        </a:spcAft>
        <a:defRPr sz="1900" b="1">
          <a:solidFill>
            <a:schemeClr val="tx2"/>
          </a:solidFill>
          <a:latin typeface="Arial" charset="0"/>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p:titleStyle>
    <p:bodyStyle>
      <a:lvl1pPr marL="0" indent="0" algn="l" defTabSz="895350" rtl="0" eaLnBrk="1" fontAlgn="base" hangingPunct="1">
        <a:spcBef>
          <a:spcPct val="0"/>
        </a:spcBef>
        <a:spcAft>
          <a:spcPct val="0"/>
        </a:spcAft>
        <a:buClr>
          <a:schemeClr val="tx2"/>
        </a:buClr>
        <a:buSzPct val="100000"/>
        <a:defRPr sz="14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4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4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4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4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ext>
  </p:extLst>
</p:sldMaster>
</file>

<file path=ppt/slideMasters/slideMaster4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7"/>
            </p:custDataLst>
            <p:extLst>
              <p:ext uri="{D42A27DB-BD31-4B8C-83A1-F6EECF244321}">
                <p14:modId xmlns:p14="http://schemas.microsoft.com/office/powerpoint/2010/main" val="3794740606"/>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30420" name="think-cell Slide" r:id="rId36" imgW="270" imgH="270" progId="TCLayout.ActiveDocument.1">
                  <p:embed/>
                </p:oleObj>
              </mc:Choice>
              <mc:Fallback>
                <p:oleObj name="think-cell Slide" r:id="rId36" imgW="270" imgH="270" progId="TCLayout.ActiveDocument.1">
                  <p:embed/>
                  <p:pic>
                    <p:nvPicPr>
                      <p:cNvPr id="2" name="Object 1" hidden="1"/>
                      <p:cNvPicPr/>
                      <p:nvPr/>
                    </p:nvPicPr>
                    <p:blipFill>
                      <a:blip r:embed="rId37"/>
                      <a:stretch>
                        <a:fillRect/>
                      </a:stretch>
                    </p:blipFill>
                    <p:spPr>
                      <a:xfrm>
                        <a:off x="0" y="0"/>
                        <a:ext cx="158750" cy="158750"/>
                      </a:xfrm>
                      <a:prstGeom prst="rect">
                        <a:avLst/>
                      </a:prstGeom>
                    </p:spPr>
                  </p:pic>
                </p:oleObj>
              </mc:Fallback>
            </mc:AlternateContent>
          </a:graphicData>
        </a:graphic>
      </p:graphicFrame>
      <p:sp>
        <p:nvSpPr>
          <p:cNvPr id="6" name="Rectangle 5" hidden="1"/>
          <p:cNvSpPr/>
          <p:nvPr>
            <p:custDataLst>
              <p:tags r:id="rId8"/>
            </p:custDataLst>
          </p:nvPr>
        </p:nvSpPr>
        <p:spPr bwMode="auto">
          <a:xfrm>
            <a:off x="0" y="0"/>
            <a:ext cx="158750" cy="158750"/>
          </a:xfrm>
          <a:prstGeom prst="rect">
            <a:avLst/>
          </a:prstGeom>
          <a:solidFill>
            <a:schemeClr val="bg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dirty="0">
              <a:solidFill>
                <a:srgbClr val="000000"/>
              </a:solidFill>
              <a:sym typeface="Arial" panose="020B0604020202020204" pitchFamily="34" charset="0"/>
            </a:endParaRPr>
          </a:p>
        </p:txBody>
      </p:sp>
      <p:sp>
        <p:nvSpPr>
          <p:cNvPr id="1034" name="Working Draft" hidden="1"/>
          <p:cNvSpPr txBox="1">
            <a:spLocks noChangeArrowheads="1"/>
          </p:cNvSpPr>
          <p:nvPr/>
        </p:nvSpPr>
        <p:spPr bwMode="gray">
          <a:xfrm rot="5400000">
            <a:off x="7966656" y="1940591"/>
            <a:ext cx="1849865"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600" baseline="0">
                <a:solidFill>
                  <a:srgbClr val="808080"/>
                </a:solidFill>
                <a:latin typeface="+mn-lt"/>
                <a:ea typeface="+mn-ea"/>
              </a:rPr>
              <a:t>Last Modified 21/05/2018 17:44 India Standard Time</a:t>
            </a:r>
            <a:endParaRPr lang="en-US" baseline="0" dirty="0">
              <a:solidFill>
                <a:srgbClr val="808080"/>
              </a:solidFill>
              <a:latin typeface="+mn-lt"/>
              <a:ea typeface="+mn-ea"/>
            </a:endParaRPr>
          </a:p>
        </p:txBody>
      </p:sp>
      <p:sp>
        <p:nvSpPr>
          <p:cNvPr id="1035" name="Printed" hidden="1"/>
          <p:cNvSpPr txBox="1">
            <a:spLocks noChangeArrowheads="1"/>
          </p:cNvSpPr>
          <p:nvPr/>
        </p:nvSpPr>
        <p:spPr bwMode="gray">
          <a:xfrm rot="5400000">
            <a:off x="8768958" y="4114417"/>
            <a:ext cx="245260"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600" baseline="0" dirty="0">
                <a:solidFill>
                  <a:srgbClr val="808080"/>
                </a:solidFill>
                <a:latin typeface="+mn-lt"/>
                <a:ea typeface="+mn-ea"/>
              </a:rPr>
              <a:t>Printed</a:t>
            </a:r>
            <a:endParaRPr lang="en-US" baseline="0" dirty="0">
              <a:solidFill>
                <a:srgbClr val="808080"/>
              </a:solidFill>
              <a:latin typeface="+mn-lt"/>
              <a:ea typeface="+mn-ea"/>
            </a:endParaRPr>
          </a:p>
        </p:txBody>
      </p:sp>
      <p:sp>
        <p:nvSpPr>
          <p:cNvPr id="19" name="Title Placeholder 2"/>
          <p:cNvSpPr>
            <a:spLocks noGrp="1" noChangeArrowheads="1"/>
          </p:cNvSpPr>
          <p:nvPr>
            <p:ph type="title"/>
          </p:nvPr>
        </p:nvSpPr>
        <p:spPr bwMode="gray">
          <a:xfrm>
            <a:off x="119063" y="230188"/>
            <a:ext cx="8618537"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latinLnBrk="0"/>
            <a:r>
              <a:rPr lang="en-US"/>
              <a:t>Click to edit Master title style</a:t>
            </a:r>
            <a:endParaRPr lang="en-US" noProof="0" dirty="0"/>
          </a:p>
        </p:txBody>
      </p:sp>
      <p:sp>
        <p:nvSpPr>
          <p:cNvPr id="10" name="1. On-page tracker" hidden="1"/>
          <p:cNvSpPr>
            <a:spLocks noChangeArrowheads="1"/>
          </p:cNvSpPr>
          <p:nvPr/>
        </p:nvSpPr>
        <p:spPr bwMode="gray">
          <a:xfrm>
            <a:off x="119063" y="75764"/>
            <a:ext cx="490519"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800" cap="all" baseline="0" dirty="0">
                <a:solidFill>
                  <a:schemeClr val="accent6"/>
                </a:solidFill>
                <a:latin typeface="+mn-lt"/>
                <a:ea typeface="+mn-ea"/>
              </a:rPr>
              <a:t>Tracker</a:t>
            </a:r>
          </a:p>
        </p:txBody>
      </p:sp>
      <p:sp>
        <p:nvSpPr>
          <p:cNvPr id="11" name="3. Unit of measure" hidden="1"/>
          <p:cNvSpPr txBox="1">
            <a:spLocks noChangeArrowheads="1"/>
          </p:cNvSpPr>
          <p:nvPr/>
        </p:nvSpPr>
        <p:spPr bwMode="gray">
          <a:xfrm>
            <a:off x="119063" y="554865"/>
            <a:ext cx="8618537"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600" baseline="0" dirty="0">
                <a:solidFill>
                  <a:schemeClr val="accent6"/>
                </a:solidFill>
                <a:latin typeface="+mn-lt"/>
                <a:ea typeface="+mn-ea"/>
              </a:rPr>
              <a:t>Unit of measure</a:t>
            </a:r>
          </a:p>
        </p:txBody>
      </p:sp>
      <p:grpSp>
        <p:nvGrpSpPr>
          <p:cNvPr id="4" name="Slide Elements" hidden="1"/>
          <p:cNvGrpSpPr/>
          <p:nvPr/>
        </p:nvGrpSpPr>
        <p:grpSpPr bwMode="gray">
          <a:xfrm>
            <a:off x="119063" y="6305945"/>
            <a:ext cx="8618537" cy="325438"/>
            <a:chOff x="119063" y="6305945"/>
            <a:chExt cx="8618537" cy="325438"/>
          </a:xfrm>
        </p:grpSpPr>
        <p:sp>
          <p:nvSpPr>
            <p:cNvPr id="13" name="4. Footnote"/>
            <p:cNvSpPr txBox="1">
              <a:spLocks noChangeArrowheads="1"/>
            </p:cNvSpPr>
            <p:nvPr/>
          </p:nvSpPr>
          <p:spPr bwMode="gray">
            <a:xfrm>
              <a:off x="119063" y="6305945"/>
              <a:ext cx="8618537" cy="123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800" baseline="0" dirty="0">
                  <a:solidFill>
                    <a:schemeClr val="accent6"/>
                  </a:solidFill>
                  <a:latin typeface="+mn-lt"/>
                  <a:ea typeface="+mn-ea"/>
                </a:rPr>
                <a:t>1 Footnote</a:t>
              </a:r>
            </a:p>
          </p:txBody>
        </p:sp>
        <p:sp>
          <p:nvSpPr>
            <p:cNvPr id="14" name="5. Source"/>
            <p:cNvSpPr>
              <a:spLocks noChangeArrowheads="1"/>
            </p:cNvSpPr>
            <p:nvPr/>
          </p:nvSpPr>
          <p:spPr bwMode="gray">
            <a:xfrm>
              <a:off x="119063" y="6507558"/>
              <a:ext cx="7200000" cy="123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marL="609600" indent="-609600" defTabSz="895350">
                <a:tabLst>
                  <a:tab pos="612775" algn="l"/>
                </a:tabLst>
              </a:pPr>
              <a:r>
                <a:rPr lang="en-US" sz="800" baseline="0" dirty="0">
                  <a:solidFill>
                    <a:schemeClr val="accent6"/>
                  </a:solidFill>
                  <a:latin typeface="+mn-lt"/>
                  <a:ea typeface="+mn-ea"/>
                </a:rPr>
                <a:t>SOURCE: Source</a:t>
              </a:r>
            </a:p>
          </p:txBody>
        </p:sp>
      </p:grpSp>
      <p:sp>
        <p:nvSpPr>
          <p:cNvPr id="3" name="Text Placeholder 2"/>
          <p:cNvSpPr>
            <a:spLocks noGrp="1"/>
          </p:cNvSpPr>
          <p:nvPr>
            <p:ph type="body" idx="1"/>
          </p:nvPr>
        </p:nvSpPr>
        <p:spPr bwMode="gray">
          <a:xfrm>
            <a:off x="1452564" y="1951380"/>
            <a:ext cx="4302125" cy="1077218"/>
          </a:xfrm>
          <a:prstGeom prst="rect">
            <a:avLst/>
          </a:prstGeom>
        </p:spPr>
        <p:txBody>
          <a:bodyPr vert="horz" lIns="0" tIns="0" rIns="0" bIns="0" rtlCol="0">
            <a:spAutoFit/>
          </a:bodyPr>
          <a:lstStyle/>
          <a:p>
            <a:pPr lvl="0" latinLnBrk="0"/>
            <a:r>
              <a:rPr lang="en-US"/>
              <a:t>Edit Master text styles</a:t>
            </a:r>
          </a:p>
          <a:p>
            <a:pPr lvl="1" latinLnBrk="0"/>
            <a:r>
              <a:rPr lang="en-US"/>
              <a:t>Second level</a:t>
            </a:r>
          </a:p>
          <a:p>
            <a:pPr lvl="2" latinLnBrk="0"/>
            <a:r>
              <a:rPr lang="en-US"/>
              <a:t>Third level</a:t>
            </a:r>
          </a:p>
          <a:p>
            <a:pPr lvl="3" latinLnBrk="0"/>
            <a:r>
              <a:rPr lang="en-US"/>
              <a:t>Fourth level</a:t>
            </a:r>
          </a:p>
          <a:p>
            <a:pPr lvl="4" latinLnBrk="0"/>
            <a:r>
              <a:rPr lang="en-US"/>
              <a:t>Fifth level</a:t>
            </a:r>
            <a:endParaRPr lang="en-US" dirty="0"/>
          </a:p>
        </p:txBody>
      </p:sp>
      <p:grpSp>
        <p:nvGrpSpPr>
          <p:cNvPr id="15" name="ACET" hidden="1"/>
          <p:cNvGrpSpPr>
            <a:grpSpLocks/>
          </p:cNvGrpSpPr>
          <p:nvPr/>
        </p:nvGrpSpPr>
        <p:grpSpPr bwMode="gray">
          <a:xfrm>
            <a:off x="1452563" y="1257754"/>
            <a:ext cx="4264025" cy="508000"/>
            <a:chOff x="915" y="710"/>
            <a:chExt cx="2686" cy="320"/>
          </a:xfrm>
        </p:grpSpPr>
        <p:cxnSp>
          <p:nvCxnSpPr>
            <p:cNvPr id="16" name="AutoShape 249"/>
            <p:cNvCxnSpPr>
              <a:cxnSpLocks noChangeShapeType="1"/>
              <a:stCxn id="18" idx="4"/>
              <a:endCxn id="18" idx="6"/>
            </p:cNvCxnSpPr>
            <p:nvPr/>
          </p:nvCxnSpPr>
          <p:spPr bwMode="gray">
            <a:xfrm>
              <a:off x="915" y="1030"/>
              <a:ext cx="2686" cy="0"/>
            </a:xfrm>
            <a:prstGeom prst="straightConnector1">
              <a:avLst/>
            </a:prstGeom>
            <a:noFill/>
            <a:ln w="9525">
              <a:solidFill>
                <a:schemeClr val="accent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8" name="AutoShape 250"/>
            <p:cNvSpPr>
              <a:spLocks noChangeArrowheads="1"/>
            </p:cNvSpPr>
            <p:nvPr/>
          </p:nvSpPr>
          <p:spPr bwMode="gray">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US" b="1" baseline="0" dirty="0">
                  <a:solidFill>
                    <a:srgbClr val="000000"/>
                  </a:solidFill>
                  <a:latin typeface="+mn-lt"/>
                  <a:ea typeface="+mn-ea"/>
                </a:rPr>
                <a:t>Title</a:t>
              </a:r>
            </a:p>
            <a:p>
              <a:r>
                <a:rPr lang="en-US" baseline="0" dirty="0">
                  <a:solidFill>
                    <a:schemeClr val="accent6"/>
                  </a:solidFill>
                  <a:latin typeface="+mn-lt"/>
                  <a:ea typeface="+mn-ea"/>
                </a:rPr>
                <a:t>Unit of measure</a:t>
              </a:r>
            </a:p>
          </p:txBody>
        </p:sp>
      </p:grpSp>
      <p:grpSp>
        <p:nvGrpSpPr>
          <p:cNvPr id="17" name="McKSticker" hidden="1"/>
          <p:cNvGrpSpPr/>
          <p:nvPr/>
        </p:nvGrpSpPr>
        <p:grpSpPr bwMode="gray">
          <a:xfrm>
            <a:off x="8264265" y="285750"/>
            <a:ext cx="473335" cy="150811"/>
            <a:chOff x="8267440" y="285750"/>
            <a:chExt cx="473335" cy="150811"/>
          </a:xfrm>
        </p:grpSpPr>
        <p:sp>
          <p:nvSpPr>
            <p:cNvPr id="20" name="StickerRectangle"/>
            <p:cNvSpPr>
              <a:spLocks noChangeArrowheads="1"/>
            </p:cNvSpPr>
            <p:nvPr/>
          </p:nvSpPr>
          <p:spPr bwMode="gray">
            <a:xfrm>
              <a:off x="8267440" y="285750"/>
              <a:ext cx="473335" cy="150811"/>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a:buClr>
                  <a:srgbClr val="002960"/>
                </a:buClr>
              </a:pPr>
              <a:r>
                <a:rPr lang="en-US" sz="800" baseline="0" dirty="0">
                  <a:solidFill>
                    <a:schemeClr val="accent6"/>
                  </a:solidFill>
                  <a:latin typeface="+mn-lt"/>
                  <a:ea typeface="+mn-ea"/>
                </a:rPr>
                <a:t>STICKER</a:t>
              </a:r>
            </a:p>
          </p:txBody>
        </p:sp>
        <p:cxnSp>
          <p:nvCxnSpPr>
            <p:cNvPr id="21" name="AutoShape 31"/>
            <p:cNvCxnSpPr>
              <a:cxnSpLocks noChangeShapeType="1"/>
              <a:stCxn id="20" idx="2"/>
              <a:endCxn id="20" idx="4"/>
            </p:cNvCxnSpPr>
            <p:nvPr/>
          </p:nvCxnSpPr>
          <p:spPr bwMode="gray">
            <a:xfrm>
              <a:off x="8267440" y="285750"/>
              <a:ext cx="0" cy="150811"/>
            </a:xfrm>
            <a:prstGeom prst="straightConnector1">
              <a:avLst/>
            </a:prstGeom>
            <a:noFill/>
            <a:ln w="9525">
              <a:solidFill>
                <a:schemeClr val="accent6"/>
              </a:solidFill>
              <a:round/>
              <a:headEnd/>
              <a:tailEnd/>
            </a:ln>
            <a:extLst>
              <a:ext uri="{909E8E84-426E-40DD-AFC4-6F175D3DCCD1}">
                <a14:hiddenFill xmlns:a14="http://schemas.microsoft.com/office/drawing/2010/main">
                  <a:noFill/>
                </a14:hiddenFill>
              </a:ext>
            </a:extLst>
          </p:spPr>
        </p:cxnSp>
        <p:cxnSp>
          <p:nvCxnSpPr>
            <p:cNvPr id="22" name="AutoShape 32"/>
            <p:cNvCxnSpPr>
              <a:cxnSpLocks noChangeShapeType="1"/>
              <a:stCxn id="20" idx="4"/>
              <a:endCxn id="20" idx="6"/>
            </p:cNvCxnSpPr>
            <p:nvPr/>
          </p:nvCxnSpPr>
          <p:spPr bwMode="gray">
            <a:xfrm>
              <a:off x="8267440" y="436561"/>
              <a:ext cx="473335" cy="0"/>
            </a:xfrm>
            <a:prstGeom prst="straightConnector1">
              <a:avLst/>
            </a:prstGeom>
            <a:noFill/>
            <a:ln w="25400">
              <a:solidFill>
                <a:schemeClr val="accent6"/>
              </a:solidFill>
              <a:round/>
              <a:headEnd/>
              <a:tailEnd/>
            </a:ln>
            <a:extLst>
              <a:ext uri="{909E8E84-426E-40DD-AFC4-6F175D3DCCD1}">
                <a14:hiddenFill xmlns:a14="http://schemas.microsoft.com/office/drawing/2010/main">
                  <a:noFill/>
                </a14:hiddenFill>
              </a:ext>
            </a:extLst>
          </p:spPr>
        </p:cxnSp>
      </p:grpSp>
      <p:sp>
        <p:nvSpPr>
          <p:cNvPr id="23" name="SlideBottomBar" hidden="1"/>
          <p:cNvSpPr/>
          <p:nvPr/>
        </p:nvSpPr>
        <p:spPr>
          <a:xfrm>
            <a:off x="8437547" y="6182120"/>
            <a:ext cx="45719" cy="123825"/>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aseline="0" dirty="0">
              <a:solidFill>
                <a:schemeClr val="tx1"/>
              </a:solidFill>
              <a:latin typeface="+mn-lt"/>
              <a:ea typeface="+mn-ea"/>
            </a:endParaRPr>
          </a:p>
        </p:txBody>
      </p:sp>
      <p:sp>
        <p:nvSpPr>
          <p:cNvPr id="24" name="doc id" hidden="1"/>
          <p:cNvSpPr txBox="1">
            <a:spLocks noChangeArrowheads="1"/>
          </p:cNvSpPr>
          <p:nvPr/>
        </p:nvSpPr>
        <p:spPr bwMode="white">
          <a:xfrm>
            <a:off x="8104473" y="36513"/>
            <a:ext cx="634716" cy="115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hangingPunct="1">
              <a:defRPr/>
            </a:pPr>
            <a:endParaRPr lang="en-US" sz="800" baseline="0" dirty="0">
              <a:solidFill>
                <a:schemeClr val="accent1"/>
              </a:solidFill>
              <a:latin typeface="+mn-lt"/>
              <a:ea typeface="+mn-ea"/>
            </a:endParaRPr>
          </a:p>
        </p:txBody>
      </p:sp>
      <p:grpSp>
        <p:nvGrpSpPr>
          <p:cNvPr id="63" name="LegendLines" hidden="1"/>
          <p:cNvGrpSpPr/>
          <p:nvPr/>
        </p:nvGrpSpPr>
        <p:grpSpPr>
          <a:xfrm>
            <a:off x="7551589" y="267815"/>
            <a:ext cx="1158292" cy="761545"/>
            <a:chOff x="7607284" y="279400"/>
            <a:chExt cx="1158292" cy="761545"/>
          </a:xfrm>
        </p:grpSpPr>
        <p:sp>
          <p:nvSpPr>
            <p:cNvPr id="64" name="LineLegend1"/>
            <p:cNvSpPr>
              <a:spLocks noChangeShapeType="1"/>
            </p:cNvSpPr>
            <p:nvPr/>
          </p:nvSpPr>
          <p:spPr bwMode="gray">
            <a:xfrm>
              <a:off x="7607284" y="387122"/>
              <a:ext cx="457200"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65" name="LineLegend2"/>
            <p:cNvSpPr>
              <a:spLocks noChangeShapeType="1"/>
            </p:cNvSpPr>
            <p:nvPr/>
          </p:nvSpPr>
          <p:spPr bwMode="gray">
            <a:xfrm>
              <a:off x="7607284" y="653822"/>
              <a:ext cx="457200"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66" name="LineLegend3"/>
            <p:cNvSpPr>
              <a:spLocks noChangeShapeType="1"/>
            </p:cNvSpPr>
            <p:nvPr/>
          </p:nvSpPr>
          <p:spPr bwMode="gray">
            <a:xfrm>
              <a:off x="7607284" y="933223"/>
              <a:ext cx="457200"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67" name="Legend1"/>
            <p:cNvSpPr>
              <a:spLocks noChangeArrowheads="1"/>
            </p:cNvSpPr>
            <p:nvPr>
              <p:custDataLst>
                <p:tags r:id="rId33"/>
              </p:custDataLst>
            </p:nvPr>
          </p:nvSpPr>
          <p:spPr bwMode="gray">
            <a:xfrm>
              <a:off x="8169259" y="279400"/>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sp>
          <p:nvSpPr>
            <p:cNvPr id="68" name="Legend2"/>
            <p:cNvSpPr>
              <a:spLocks noChangeArrowheads="1"/>
            </p:cNvSpPr>
            <p:nvPr>
              <p:custDataLst>
                <p:tags r:id="rId34"/>
              </p:custDataLst>
            </p:nvPr>
          </p:nvSpPr>
          <p:spPr bwMode="gray">
            <a:xfrm>
              <a:off x="8169259" y="546100"/>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a:latin typeface="+mn-lt"/>
                  <a:ea typeface="+mn-ea"/>
                </a:rPr>
                <a:t>Legend</a:t>
              </a:r>
              <a:endParaRPr lang="en-US" sz="1400" baseline="0" dirty="0">
                <a:latin typeface="+mn-lt"/>
                <a:ea typeface="+mn-ea"/>
              </a:endParaRPr>
            </a:p>
          </p:txBody>
        </p:sp>
        <p:sp>
          <p:nvSpPr>
            <p:cNvPr id="69" name="Legend3"/>
            <p:cNvSpPr>
              <a:spLocks noChangeArrowheads="1"/>
            </p:cNvSpPr>
            <p:nvPr>
              <p:custDataLst>
                <p:tags r:id="rId35"/>
              </p:custDataLst>
            </p:nvPr>
          </p:nvSpPr>
          <p:spPr bwMode="gray">
            <a:xfrm>
              <a:off x="8169259" y="825501"/>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grpSp>
      <p:grpSp>
        <p:nvGrpSpPr>
          <p:cNvPr id="70" name="LegendBoxes" hidden="1"/>
          <p:cNvGrpSpPr/>
          <p:nvPr/>
        </p:nvGrpSpPr>
        <p:grpSpPr>
          <a:xfrm>
            <a:off x="7859564" y="267919"/>
            <a:ext cx="850317" cy="1028245"/>
            <a:chOff x="5894005" y="919828"/>
            <a:chExt cx="850317" cy="1028245"/>
          </a:xfrm>
        </p:grpSpPr>
        <p:sp>
          <p:nvSpPr>
            <p:cNvPr id="71" name="RectangleLegend1"/>
            <p:cNvSpPr>
              <a:spLocks noChangeArrowheads="1"/>
            </p:cNvSpPr>
            <p:nvPr/>
          </p:nvSpPr>
          <p:spPr bwMode="gray">
            <a:xfrm>
              <a:off x="5894005" y="947381"/>
              <a:ext cx="165100" cy="160338"/>
            </a:xfrm>
            <a:prstGeom prst="rect">
              <a:avLst/>
            </a:prstGeom>
            <a:solidFill>
              <a:schemeClr val="accent1"/>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72" name="RectangleLegend2"/>
            <p:cNvSpPr>
              <a:spLocks noChangeArrowheads="1"/>
            </p:cNvSpPr>
            <p:nvPr/>
          </p:nvSpPr>
          <p:spPr bwMode="gray">
            <a:xfrm>
              <a:off x="5894005" y="1217256"/>
              <a:ext cx="165100" cy="160338"/>
            </a:xfrm>
            <a:prstGeom prst="rect">
              <a:avLst/>
            </a:prstGeom>
            <a:solidFill>
              <a:schemeClr val="accent2"/>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73" name="RectangleLegend3"/>
            <p:cNvSpPr>
              <a:spLocks noChangeArrowheads="1"/>
            </p:cNvSpPr>
            <p:nvPr/>
          </p:nvSpPr>
          <p:spPr bwMode="gray">
            <a:xfrm>
              <a:off x="5894005" y="1488719"/>
              <a:ext cx="165100" cy="160338"/>
            </a:xfrm>
            <a:prstGeom prst="rect">
              <a:avLst/>
            </a:prstGeom>
            <a:solidFill>
              <a:schemeClr val="accent3"/>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74" name="RectangleLegend4"/>
            <p:cNvSpPr>
              <a:spLocks noChangeArrowheads="1"/>
            </p:cNvSpPr>
            <p:nvPr/>
          </p:nvSpPr>
          <p:spPr bwMode="gray">
            <a:xfrm>
              <a:off x="5894005" y="1760182"/>
              <a:ext cx="165100" cy="160338"/>
            </a:xfrm>
            <a:prstGeom prst="rect">
              <a:avLst/>
            </a:prstGeom>
            <a:solidFill>
              <a:schemeClr val="accent4"/>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75" name="Legend1"/>
            <p:cNvSpPr>
              <a:spLocks noChangeArrowheads="1"/>
            </p:cNvSpPr>
            <p:nvPr>
              <p:custDataLst>
                <p:tags r:id="rId29"/>
              </p:custDataLst>
            </p:nvPr>
          </p:nvSpPr>
          <p:spPr bwMode="gray">
            <a:xfrm>
              <a:off x="6148005" y="919828"/>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sp>
          <p:nvSpPr>
            <p:cNvPr id="76" name="Legend2"/>
            <p:cNvSpPr>
              <a:spLocks noChangeArrowheads="1"/>
            </p:cNvSpPr>
            <p:nvPr>
              <p:custDataLst>
                <p:tags r:id="rId30"/>
              </p:custDataLst>
            </p:nvPr>
          </p:nvSpPr>
          <p:spPr bwMode="gray">
            <a:xfrm>
              <a:off x="6148005" y="1189703"/>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sp>
          <p:nvSpPr>
            <p:cNvPr id="77" name="Legend3"/>
            <p:cNvSpPr>
              <a:spLocks noChangeArrowheads="1"/>
            </p:cNvSpPr>
            <p:nvPr>
              <p:custDataLst>
                <p:tags r:id="rId31"/>
              </p:custDataLst>
            </p:nvPr>
          </p:nvSpPr>
          <p:spPr bwMode="gray">
            <a:xfrm>
              <a:off x="6148005" y="1461166"/>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sp>
          <p:nvSpPr>
            <p:cNvPr id="78" name="Legend4"/>
            <p:cNvSpPr>
              <a:spLocks noChangeArrowheads="1"/>
            </p:cNvSpPr>
            <p:nvPr>
              <p:custDataLst>
                <p:tags r:id="rId32"/>
              </p:custDataLst>
            </p:nvPr>
          </p:nvSpPr>
          <p:spPr bwMode="gray">
            <a:xfrm>
              <a:off x="6148005" y="1732629"/>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grpSp>
      <p:grpSp>
        <p:nvGrpSpPr>
          <p:cNvPr id="79" name="LegendMoons" hidden="1"/>
          <p:cNvGrpSpPr/>
          <p:nvPr/>
        </p:nvGrpSpPr>
        <p:grpSpPr>
          <a:xfrm>
            <a:off x="7792889" y="267414"/>
            <a:ext cx="916992" cy="1317003"/>
            <a:chOff x="5894005" y="2695123"/>
            <a:chExt cx="916992" cy="1317003"/>
          </a:xfrm>
        </p:grpSpPr>
        <p:grpSp>
          <p:nvGrpSpPr>
            <p:cNvPr id="80" name="MoonLegend1"/>
            <p:cNvGrpSpPr>
              <a:grpSpLocks noChangeAspect="1"/>
            </p:cNvGrpSpPr>
            <p:nvPr>
              <p:custDataLst>
                <p:tags r:id="rId9"/>
              </p:custDataLst>
            </p:nvPr>
          </p:nvGrpSpPr>
          <p:grpSpPr bwMode="gray">
            <a:xfrm>
              <a:off x="5894005" y="2695123"/>
              <a:ext cx="209550" cy="218282"/>
              <a:chOff x="4533" y="183"/>
              <a:chExt cx="144" cy="150"/>
            </a:xfrm>
          </p:grpSpPr>
          <p:sp>
            <p:nvSpPr>
              <p:cNvPr id="98" name="Oval 97"/>
              <p:cNvSpPr>
                <a:spLocks noChangeAspect="1" noChangeArrowheads="1"/>
              </p:cNvSpPr>
              <p:nvPr>
                <p:custDataLst>
                  <p:tags r:id="rId27"/>
                </p:custDataLst>
              </p:nvPr>
            </p:nvSpPr>
            <p:spPr bwMode="gray">
              <a:xfrm>
                <a:off x="4533" y="189"/>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99" name="Arc 98" hidden="1"/>
              <p:cNvSpPr>
                <a:spLocks noChangeAspect="1"/>
              </p:cNvSpPr>
              <p:nvPr>
                <p:custDataLst>
                  <p:tags r:id="rId28"/>
                </p:custDataLst>
              </p:nvPr>
            </p:nvSpPr>
            <p:spPr bwMode="gray">
              <a:xfrm>
                <a:off x="4533" y="183"/>
                <a:ext cx="144" cy="144"/>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grpSp>
        <p:grpSp>
          <p:nvGrpSpPr>
            <p:cNvPr id="81" name="MoonLegend2"/>
            <p:cNvGrpSpPr>
              <a:grpSpLocks noChangeAspect="1"/>
            </p:cNvGrpSpPr>
            <p:nvPr>
              <p:custDataLst>
                <p:tags r:id="rId10"/>
              </p:custDataLst>
            </p:nvPr>
          </p:nvGrpSpPr>
          <p:grpSpPr bwMode="gray">
            <a:xfrm>
              <a:off x="5894005" y="2977103"/>
              <a:ext cx="209550" cy="209551"/>
              <a:chOff x="1694" y="2051"/>
              <a:chExt cx="160" cy="160"/>
            </a:xfrm>
          </p:grpSpPr>
          <p:sp>
            <p:nvSpPr>
              <p:cNvPr id="96" name="Oval 41"/>
              <p:cNvSpPr>
                <a:spLocks noChangeAspect="1" noChangeArrowheads="1"/>
              </p:cNvSpPr>
              <p:nvPr>
                <p:custDataLst>
                  <p:tags r:id="rId25"/>
                </p:custDataLst>
              </p:nvPr>
            </p:nvSpPr>
            <p:spPr bwMode="gray">
              <a:xfrm>
                <a:off x="1694" y="2051"/>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97" name="Arc 42"/>
              <p:cNvSpPr>
                <a:spLocks noChangeAspect="1"/>
              </p:cNvSpPr>
              <p:nvPr>
                <p:custDataLst>
                  <p:tags r:id="rId26"/>
                </p:custDataLst>
              </p:nvPr>
            </p:nvSpPr>
            <p:spPr bwMode="gray">
              <a:xfrm>
                <a:off x="1694" y="2051"/>
                <a:ext cx="160" cy="160"/>
              </a:xfrm>
              <a:prstGeom prst="arc">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grpSp>
        <p:grpSp>
          <p:nvGrpSpPr>
            <p:cNvPr id="82" name="MoonLegend4"/>
            <p:cNvGrpSpPr>
              <a:grpSpLocks noChangeAspect="1"/>
            </p:cNvGrpSpPr>
            <p:nvPr>
              <p:custDataLst>
                <p:tags r:id="rId11"/>
              </p:custDataLst>
            </p:nvPr>
          </p:nvGrpSpPr>
          <p:grpSpPr bwMode="gray">
            <a:xfrm>
              <a:off x="5894005" y="3524395"/>
              <a:ext cx="209550" cy="209551"/>
              <a:chOff x="4495" y="1204"/>
              <a:chExt cx="160" cy="160"/>
            </a:xfrm>
          </p:grpSpPr>
          <p:sp>
            <p:nvSpPr>
              <p:cNvPr id="94" name="Oval 47"/>
              <p:cNvSpPr>
                <a:spLocks noChangeAspect="1" noChangeArrowheads="1"/>
              </p:cNvSpPr>
              <p:nvPr>
                <p:custDataLst>
                  <p:tags r:id="rId23"/>
                </p:custDataLst>
              </p:nvPr>
            </p:nvSpPr>
            <p:spPr bwMode="gray">
              <a:xfrm>
                <a:off x="4495" y="120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95" name="Arc 48"/>
              <p:cNvSpPr>
                <a:spLocks noChangeAspect="1"/>
              </p:cNvSpPr>
              <p:nvPr>
                <p:custDataLst>
                  <p:tags r:id="rId24"/>
                </p:custDataLst>
              </p:nvPr>
            </p:nvSpPr>
            <p:spPr bwMode="gray">
              <a:xfrm>
                <a:off x="4495" y="1204"/>
                <a:ext cx="160" cy="160"/>
              </a:xfrm>
              <a:prstGeom prst="arc">
                <a:avLst>
                  <a:gd name="adj1" fmla="val 16200000"/>
                  <a:gd name="adj2" fmla="val 108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grpSp>
        <p:grpSp>
          <p:nvGrpSpPr>
            <p:cNvPr id="83" name="MoonLegend5"/>
            <p:cNvGrpSpPr>
              <a:grpSpLocks noChangeAspect="1"/>
            </p:cNvGrpSpPr>
            <p:nvPr>
              <p:custDataLst>
                <p:tags r:id="rId12"/>
              </p:custDataLst>
            </p:nvPr>
          </p:nvGrpSpPr>
          <p:grpSpPr bwMode="gray">
            <a:xfrm>
              <a:off x="5894005" y="3799629"/>
              <a:ext cx="209550" cy="209551"/>
              <a:chOff x="4495" y="1447"/>
              <a:chExt cx="160" cy="160"/>
            </a:xfrm>
          </p:grpSpPr>
          <p:sp>
            <p:nvSpPr>
              <p:cNvPr id="92" name="Oval 50"/>
              <p:cNvSpPr>
                <a:spLocks noChangeAspect="1" noChangeArrowheads="1"/>
              </p:cNvSpPr>
              <p:nvPr>
                <p:custDataLst>
                  <p:tags r:id="rId21"/>
                </p:custDataLst>
              </p:nvPr>
            </p:nvSpPr>
            <p:spPr bwMode="gray">
              <a:xfrm>
                <a:off x="4495" y="1447"/>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93" name="Oval 51"/>
              <p:cNvSpPr>
                <a:spLocks noChangeAspect="1" noChangeArrowheads="1"/>
              </p:cNvSpPr>
              <p:nvPr>
                <p:custDataLst>
                  <p:tags r:id="rId22"/>
                </p:custDataLst>
              </p:nvPr>
            </p:nvSpPr>
            <p:spPr bwMode="gray">
              <a:xfrm>
                <a:off x="4495" y="1447"/>
                <a:ext cx="160" cy="160"/>
              </a:xfrm>
              <a:prstGeom prst="arc">
                <a:avLst>
                  <a:gd name="adj1" fmla="val 16200000"/>
                  <a:gd name="adj2" fmla="val 162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grpSp>
        <p:grpSp>
          <p:nvGrpSpPr>
            <p:cNvPr id="84" name="MoonLegend3"/>
            <p:cNvGrpSpPr>
              <a:grpSpLocks noChangeAspect="1"/>
            </p:cNvGrpSpPr>
            <p:nvPr>
              <p:custDataLst>
                <p:tags r:id="rId13"/>
              </p:custDataLst>
            </p:nvPr>
          </p:nvGrpSpPr>
          <p:grpSpPr bwMode="gray">
            <a:xfrm>
              <a:off x="5894005" y="3251543"/>
              <a:ext cx="209550" cy="209551"/>
              <a:chOff x="4495" y="1205"/>
              <a:chExt cx="160" cy="160"/>
            </a:xfrm>
          </p:grpSpPr>
          <p:sp>
            <p:nvSpPr>
              <p:cNvPr id="90" name="Oval 47"/>
              <p:cNvSpPr>
                <a:spLocks noChangeAspect="1" noChangeArrowheads="1"/>
              </p:cNvSpPr>
              <p:nvPr>
                <p:custDataLst>
                  <p:tags r:id="rId19"/>
                </p:custDataLst>
              </p:nvPr>
            </p:nvSpPr>
            <p:spPr bwMode="gray">
              <a:xfrm>
                <a:off x="4495" y="1205"/>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91" name="Arc 48"/>
              <p:cNvSpPr>
                <a:spLocks noChangeAspect="1"/>
              </p:cNvSpPr>
              <p:nvPr>
                <p:custDataLst>
                  <p:tags r:id="rId20"/>
                </p:custDataLst>
              </p:nvPr>
            </p:nvSpPr>
            <p:spPr bwMode="gray">
              <a:xfrm>
                <a:off x="4495" y="1205"/>
                <a:ext cx="160" cy="160"/>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grpSp>
        <p:sp>
          <p:nvSpPr>
            <p:cNvPr id="85" name="Legend1"/>
            <p:cNvSpPr>
              <a:spLocks noChangeArrowheads="1"/>
            </p:cNvSpPr>
            <p:nvPr>
              <p:custDataLst>
                <p:tags r:id="rId14"/>
              </p:custDataLst>
            </p:nvPr>
          </p:nvSpPr>
          <p:spPr bwMode="gray">
            <a:xfrm>
              <a:off x="6214680" y="2696542"/>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sp>
          <p:nvSpPr>
            <p:cNvPr id="86" name="Legend2"/>
            <p:cNvSpPr>
              <a:spLocks noChangeArrowheads="1"/>
            </p:cNvSpPr>
            <p:nvPr>
              <p:custDataLst>
                <p:tags r:id="rId15"/>
              </p:custDataLst>
            </p:nvPr>
          </p:nvSpPr>
          <p:spPr bwMode="gray">
            <a:xfrm>
              <a:off x="6214680" y="2974156"/>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a:latin typeface="+mn-lt"/>
                  <a:ea typeface="+mn-ea"/>
                </a:rPr>
                <a:t>Legend</a:t>
              </a:r>
              <a:endParaRPr lang="en-US" sz="1400" baseline="0" dirty="0">
                <a:latin typeface="+mn-lt"/>
                <a:ea typeface="+mn-ea"/>
              </a:endParaRPr>
            </a:p>
          </p:txBody>
        </p:sp>
        <p:sp>
          <p:nvSpPr>
            <p:cNvPr id="87" name="Legend3"/>
            <p:cNvSpPr>
              <a:spLocks noChangeArrowheads="1"/>
            </p:cNvSpPr>
            <p:nvPr>
              <p:custDataLst>
                <p:tags r:id="rId16"/>
              </p:custDataLst>
            </p:nvPr>
          </p:nvSpPr>
          <p:spPr bwMode="gray">
            <a:xfrm>
              <a:off x="6214680" y="3248596"/>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sp>
          <p:nvSpPr>
            <p:cNvPr id="88" name="Legend4"/>
            <p:cNvSpPr>
              <a:spLocks noChangeArrowheads="1"/>
            </p:cNvSpPr>
            <p:nvPr>
              <p:custDataLst>
                <p:tags r:id="rId17"/>
              </p:custDataLst>
            </p:nvPr>
          </p:nvSpPr>
          <p:spPr bwMode="gray">
            <a:xfrm>
              <a:off x="6214680" y="3521448"/>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sp>
          <p:nvSpPr>
            <p:cNvPr id="89" name="Legend5"/>
            <p:cNvSpPr>
              <a:spLocks noChangeArrowheads="1"/>
            </p:cNvSpPr>
            <p:nvPr>
              <p:custDataLst>
                <p:tags r:id="rId18"/>
              </p:custDataLst>
            </p:nvPr>
          </p:nvSpPr>
          <p:spPr bwMode="gray">
            <a:xfrm>
              <a:off x="6214680" y="3796682"/>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a:latin typeface="+mn-lt"/>
                  <a:ea typeface="+mn-ea"/>
                </a:rPr>
                <a:t>Legend</a:t>
              </a:r>
              <a:endParaRPr lang="en-US" sz="1400" baseline="0" dirty="0">
                <a:latin typeface="+mn-lt"/>
                <a:ea typeface="+mn-ea"/>
              </a:endParaRPr>
            </a:p>
          </p:txBody>
        </p:sp>
      </p:grpSp>
    </p:spTree>
    <p:extLst>
      <p:ext uri="{BB962C8B-B14F-4D97-AF65-F5344CB8AC3E}">
        <p14:creationId xmlns:p14="http://schemas.microsoft.com/office/powerpoint/2010/main" val="2903330864"/>
      </p:ext>
    </p:extLst>
  </p:cSld>
  <p:clrMap bg1="lt1" tx1="dk1" bg2="lt2" tx2="dk2" accent1="accent1" accent2="accent2" accent3="accent3" accent4="accent4" accent5="accent5" accent6="accent6" hlink="hlink" folHlink="folHlink"/>
  <p:sldLayoutIdLst>
    <p:sldLayoutId id="2147483896" r:id="rId1"/>
    <p:sldLayoutId id="2147483897" r:id="rId2"/>
    <p:sldLayoutId id="2147483898" r:id="rId3"/>
    <p:sldLayoutId id="2147483899" r:id="rId4"/>
  </p:sldLayoutIdLst>
  <p:txStyles>
    <p:titleStyle>
      <a:lvl1pPr algn="l" defTabSz="895350" rtl="0" eaLnBrk="1" fontAlgn="base" hangingPunct="1">
        <a:spcBef>
          <a:spcPct val="0"/>
        </a:spcBef>
        <a:spcAft>
          <a:spcPct val="0"/>
        </a:spcAft>
        <a:tabLst>
          <a:tab pos="269875" algn="l"/>
        </a:tabLst>
        <a:defRPr sz="2000" b="0" baseline="0">
          <a:solidFill>
            <a:schemeClr val="tx2"/>
          </a:solidFill>
          <a:latin typeface="+mj-lt"/>
          <a:ea typeface="+mj-ea"/>
          <a:cs typeface="+mj-cs"/>
        </a:defRPr>
      </a:lvl1pPr>
      <a:lvl2pPr algn="l" defTabSz="895350" rtl="0" eaLnBrk="1" fontAlgn="base" hangingPunct="1">
        <a:spcBef>
          <a:spcPct val="0"/>
        </a:spcBef>
        <a:spcAft>
          <a:spcPct val="0"/>
        </a:spcAft>
        <a:defRPr sz="1900" b="1">
          <a:solidFill>
            <a:schemeClr val="tx2"/>
          </a:solidFill>
          <a:latin typeface="Arial" charset="0"/>
        </a:defRPr>
      </a:lvl2pPr>
      <a:lvl3pPr algn="l" defTabSz="895350" rtl="0" eaLnBrk="1" fontAlgn="base" hangingPunct="1">
        <a:spcBef>
          <a:spcPct val="0"/>
        </a:spcBef>
        <a:spcAft>
          <a:spcPct val="0"/>
        </a:spcAft>
        <a:defRPr sz="1900" b="1">
          <a:solidFill>
            <a:schemeClr val="tx2"/>
          </a:solidFill>
          <a:latin typeface="Arial" charset="0"/>
        </a:defRPr>
      </a:lvl3pPr>
      <a:lvl4pPr algn="l" defTabSz="895350" rtl="0" eaLnBrk="1" fontAlgn="base" hangingPunct="1">
        <a:spcBef>
          <a:spcPct val="0"/>
        </a:spcBef>
        <a:spcAft>
          <a:spcPct val="0"/>
        </a:spcAft>
        <a:defRPr sz="1900" b="1">
          <a:solidFill>
            <a:schemeClr val="tx2"/>
          </a:solidFill>
          <a:latin typeface="Arial" charset="0"/>
        </a:defRPr>
      </a:lvl4pPr>
      <a:lvl5pPr algn="l" defTabSz="895350" rtl="0" eaLnBrk="1" fontAlgn="base" hangingPunct="1">
        <a:spcBef>
          <a:spcPct val="0"/>
        </a:spcBef>
        <a:spcAft>
          <a:spcPct val="0"/>
        </a:spcAft>
        <a:defRPr sz="1900" b="1">
          <a:solidFill>
            <a:schemeClr val="tx2"/>
          </a:solidFill>
          <a:latin typeface="Arial" charset="0"/>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p:titleStyle>
    <p:bodyStyle>
      <a:lvl1pPr marL="0" indent="0" algn="l" defTabSz="895350" rtl="0" eaLnBrk="1" fontAlgn="base" hangingPunct="1">
        <a:spcBef>
          <a:spcPct val="0"/>
        </a:spcBef>
        <a:spcAft>
          <a:spcPct val="0"/>
        </a:spcAft>
        <a:buClr>
          <a:schemeClr val="tx2"/>
        </a:buClr>
        <a:buSzPct val="100000"/>
        <a:defRPr sz="14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4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4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4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4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ext>
  </p:extLst>
</p:sldMaster>
</file>

<file path=ppt/slideMasters/slideMaster4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7"/>
            </p:custDataLst>
            <p:extLst>
              <p:ext uri="{D42A27DB-BD31-4B8C-83A1-F6EECF244321}">
                <p14:modId xmlns:p14="http://schemas.microsoft.com/office/powerpoint/2010/main" val="3093995194"/>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35540" name="think-cell Slide" r:id="rId36" imgW="270" imgH="270" progId="TCLayout.ActiveDocument.1">
                  <p:embed/>
                </p:oleObj>
              </mc:Choice>
              <mc:Fallback>
                <p:oleObj name="think-cell Slide" r:id="rId36" imgW="270" imgH="270" progId="TCLayout.ActiveDocument.1">
                  <p:embed/>
                  <p:pic>
                    <p:nvPicPr>
                      <p:cNvPr id="2" name="Object 1" hidden="1"/>
                      <p:cNvPicPr/>
                      <p:nvPr/>
                    </p:nvPicPr>
                    <p:blipFill>
                      <a:blip r:embed="rId37"/>
                      <a:stretch>
                        <a:fillRect/>
                      </a:stretch>
                    </p:blipFill>
                    <p:spPr>
                      <a:xfrm>
                        <a:off x="0" y="0"/>
                        <a:ext cx="158750" cy="158750"/>
                      </a:xfrm>
                      <a:prstGeom prst="rect">
                        <a:avLst/>
                      </a:prstGeom>
                    </p:spPr>
                  </p:pic>
                </p:oleObj>
              </mc:Fallback>
            </mc:AlternateContent>
          </a:graphicData>
        </a:graphic>
      </p:graphicFrame>
      <p:sp>
        <p:nvSpPr>
          <p:cNvPr id="6" name="Rectangle 5" hidden="1"/>
          <p:cNvSpPr/>
          <p:nvPr>
            <p:custDataLst>
              <p:tags r:id="rId8"/>
            </p:custDataLst>
          </p:nvPr>
        </p:nvSpPr>
        <p:spPr bwMode="auto">
          <a:xfrm>
            <a:off x="0" y="0"/>
            <a:ext cx="158750" cy="158750"/>
          </a:xfrm>
          <a:prstGeom prst="rect">
            <a:avLst/>
          </a:prstGeom>
          <a:solidFill>
            <a:schemeClr val="bg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dirty="0">
              <a:solidFill>
                <a:srgbClr val="000000"/>
              </a:solidFill>
              <a:sym typeface="Arial" panose="020B0604020202020204" pitchFamily="34" charset="0"/>
            </a:endParaRPr>
          </a:p>
        </p:txBody>
      </p:sp>
      <p:sp>
        <p:nvSpPr>
          <p:cNvPr id="1034" name="Working Draft" hidden="1"/>
          <p:cNvSpPr txBox="1">
            <a:spLocks noChangeArrowheads="1"/>
          </p:cNvSpPr>
          <p:nvPr/>
        </p:nvSpPr>
        <p:spPr bwMode="gray">
          <a:xfrm rot="5400000">
            <a:off x="7966656" y="1940591"/>
            <a:ext cx="1849865"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600" baseline="0">
                <a:solidFill>
                  <a:srgbClr val="808080"/>
                </a:solidFill>
                <a:latin typeface="+mn-lt"/>
                <a:ea typeface="+mn-ea"/>
              </a:rPr>
              <a:t>Last Modified 21/05/2018 17:44 India Standard Time</a:t>
            </a:r>
            <a:endParaRPr lang="en-US" baseline="0" dirty="0">
              <a:solidFill>
                <a:srgbClr val="808080"/>
              </a:solidFill>
              <a:latin typeface="+mn-lt"/>
              <a:ea typeface="+mn-ea"/>
            </a:endParaRPr>
          </a:p>
        </p:txBody>
      </p:sp>
      <p:sp>
        <p:nvSpPr>
          <p:cNvPr id="1035" name="Printed" hidden="1"/>
          <p:cNvSpPr txBox="1">
            <a:spLocks noChangeArrowheads="1"/>
          </p:cNvSpPr>
          <p:nvPr/>
        </p:nvSpPr>
        <p:spPr bwMode="gray">
          <a:xfrm rot="5400000">
            <a:off x="8768958" y="4114417"/>
            <a:ext cx="245260"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600" baseline="0" dirty="0">
                <a:solidFill>
                  <a:srgbClr val="808080"/>
                </a:solidFill>
                <a:latin typeface="+mn-lt"/>
                <a:ea typeface="+mn-ea"/>
              </a:rPr>
              <a:t>Printed</a:t>
            </a:r>
            <a:endParaRPr lang="en-US" baseline="0" dirty="0">
              <a:solidFill>
                <a:srgbClr val="808080"/>
              </a:solidFill>
              <a:latin typeface="+mn-lt"/>
              <a:ea typeface="+mn-ea"/>
            </a:endParaRPr>
          </a:p>
        </p:txBody>
      </p:sp>
      <p:sp>
        <p:nvSpPr>
          <p:cNvPr id="19" name="Title Placeholder 2"/>
          <p:cNvSpPr>
            <a:spLocks noGrp="1" noChangeArrowheads="1"/>
          </p:cNvSpPr>
          <p:nvPr>
            <p:ph type="title"/>
          </p:nvPr>
        </p:nvSpPr>
        <p:spPr bwMode="gray">
          <a:xfrm>
            <a:off x="119063" y="230188"/>
            <a:ext cx="8618537"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latinLnBrk="0"/>
            <a:r>
              <a:rPr lang="en-US"/>
              <a:t>Click to edit Master title style</a:t>
            </a:r>
            <a:endParaRPr lang="en-US" noProof="0" dirty="0"/>
          </a:p>
        </p:txBody>
      </p:sp>
      <p:sp>
        <p:nvSpPr>
          <p:cNvPr id="10" name="1. On-page tracker" hidden="1"/>
          <p:cNvSpPr>
            <a:spLocks noChangeArrowheads="1"/>
          </p:cNvSpPr>
          <p:nvPr/>
        </p:nvSpPr>
        <p:spPr bwMode="gray">
          <a:xfrm>
            <a:off x="119063" y="75764"/>
            <a:ext cx="490519"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800" cap="all" baseline="0" dirty="0">
                <a:solidFill>
                  <a:schemeClr val="accent6"/>
                </a:solidFill>
                <a:latin typeface="+mn-lt"/>
                <a:ea typeface="+mn-ea"/>
              </a:rPr>
              <a:t>Tracker</a:t>
            </a:r>
          </a:p>
        </p:txBody>
      </p:sp>
      <p:sp>
        <p:nvSpPr>
          <p:cNvPr id="11" name="3. Unit of measure" hidden="1"/>
          <p:cNvSpPr txBox="1">
            <a:spLocks noChangeArrowheads="1"/>
          </p:cNvSpPr>
          <p:nvPr/>
        </p:nvSpPr>
        <p:spPr bwMode="gray">
          <a:xfrm>
            <a:off x="119063" y="554865"/>
            <a:ext cx="8618537"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600" baseline="0" dirty="0">
                <a:solidFill>
                  <a:schemeClr val="accent6"/>
                </a:solidFill>
                <a:latin typeface="+mn-lt"/>
                <a:ea typeface="+mn-ea"/>
              </a:rPr>
              <a:t>Unit of measure</a:t>
            </a:r>
          </a:p>
        </p:txBody>
      </p:sp>
      <p:grpSp>
        <p:nvGrpSpPr>
          <p:cNvPr id="4" name="Slide Elements" hidden="1"/>
          <p:cNvGrpSpPr/>
          <p:nvPr/>
        </p:nvGrpSpPr>
        <p:grpSpPr bwMode="gray">
          <a:xfrm>
            <a:off x="119063" y="6305945"/>
            <a:ext cx="8618537" cy="325438"/>
            <a:chOff x="119063" y="6305945"/>
            <a:chExt cx="8618537" cy="325438"/>
          </a:xfrm>
        </p:grpSpPr>
        <p:sp>
          <p:nvSpPr>
            <p:cNvPr id="13" name="4. Footnote"/>
            <p:cNvSpPr txBox="1">
              <a:spLocks noChangeArrowheads="1"/>
            </p:cNvSpPr>
            <p:nvPr/>
          </p:nvSpPr>
          <p:spPr bwMode="gray">
            <a:xfrm>
              <a:off x="119063" y="6305945"/>
              <a:ext cx="8618537" cy="123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800" baseline="0" dirty="0">
                  <a:solidFill>
                    <a:schemeClr val="accent6"/>
                  </a:solidFill>
                  <a:latin typeface="+mn-lt"/>
                  <a:ea typeface="+mn-ea"/>
                </a:rPr>
                <a:t>1 Footnote</a:t>
              </a:r>
            </a:p>
          </p:txBody>
        </p:sp>
        <p:sp>
          <p:nvSpPr>
            <p:cNvPr id="14" name="5. Source"/>
            <p:cNvSpPr>
              <a:spLocks noChangeArrowheads="1"/>
            </p:cNvSpPr>
            <p:nvPr/>
          </p:nvSpPr>
          <p:spPr bwMode="gray">
            <a:xfrm>
              <a:off x="119063" y="6507558"/>
              <a:ext cx="7200000" cy="123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marL="609600" indent="-609600" defTabSz="895350">
                <a:tabLst>
                  <a:tab pos="612775" algn="l"/>
                </a:tabLst>
              </a:pPr>
              <a:r>
                <a:rPr lang="en-US" sz="800" baseline="0" dirty="0">
                  <a:solidFill>
                    <a:schemeClr val="accent6"/>
                  </a:solidFill>
                  <a:latin typeface="+mn-lt"/>
                  <a:ea typeface="+mn-ea"/>
                </a:rPr>
                <a:t>SOURCE: Source</a:t>
              </a:r>
            </a:p>
          </p:txBody>
        </p:sp>
      </p:grpSp>
      <p:sp>
        <p:nvSpPr>
          <p:cNvPr id="3" name="Text Placeholder 2"/>
          <p:cNvSpPr>
            <a:spLocks noGrp="1"/>
          </p:cNvSpPr>
          <p:nvPr>
            <p:ph type="body" idx="1"/>
          </p:nvPr>
        </p:nvSpPr>
        <p:spPr bwMode="gray">
          <a:xfrm>
            <a:off x="1452564" y="1951380"/>
            <a:ext cx="4302125" cy="1077218"/>
          </a:xfrm>
          <a:prstGeom prst="rect">
            <a:avLst/>
          </a:prstGeom>
        </p:spPr>
        <p:txBody>
          <a:bodyPr vert="horz" lIns="0" tIns="0" rIns="0" bIns="0" rtlCol="0">
            <a:spAutoFit/>
          </a:bodyPr>
          <a:lstStyle/>
          <a:p>
            <a:pPr lvl="0" latinLnBrk="0"/>
            <a:r>
              <a:rPr lang="en-US"/>
              <a:t>Edit Master text styles</a:t>
            </a:r>
          </a:p>
          <a:p>
            <a:pPr lvl="1" latinLnBrk="0"/>
            <a:r>
              <a:rPr lang="en-US"/>
              <a:t>Second level</a:t>
            </a:r>
          </a:p>
          <a:p>
            <a:pPr lvl="2" latinLnBrk="0"/>
            <a:r>
              <a:rPr lang="en-US"/>
              <a:t>Third level</a:t>
            </a:r>
          </a:p>
          <a:p>
            <a:pPr lvl="3" latinLnBrk="0"/>
            <a:r>
              <a:rPr lang="en-US"/>
              <a:t>Fourth level</a:t>
            </a:r>
          </a:p>
          <a:p>
            <a:pPr lvl="4" latinLnBrk="0"/>
            <a:r>
              <a:rPr lang="en-US"/>
              <a:t>Fifth level</a:t>
            </a:r>
            <a:endParaRPr lang="en-US" dirty="0"/>
          </a:p>
        </p:txBody>
      </p:sp>
      <p:grpSp>
        <p:nvGrpSpPr>
          <p:cNvPr id="15" name="ACET" hidden="1"/>
          <p:cNvGrpSpPr>
            <a:grpSpLocks/>
          </p:cNvGrpSpPr>
          <p:nvPr/>
        </p:nvGrpSpPr>
        <p:grpSpPr bwMode="gray">
          <a:xfrm>
            <a:off x="1452563" y="1257754"/>
            <a:ext cx="4264025" cy="508000"/>
            <a:chOff x="915" y="710"/>
            <a:chExt cx="2686" cy="320"/>
          </a:xfrm>
        </p:grpSpPr>
        <p:cxnSp>
          <p:nvCxnSpPr>
            <p:cNvPr id="16" name="AutoShape 249"/>
            <p:cNvCxnSpPr>
              <a:cxnSpLocks noChangeShapeType="1"/>
              <a:stCxn id="18" idx="4"/>
              <a:endCxn id="18" idx="6"/>
            </p:cNvCxnSpPr>
            <p:nvPr/>
          </p:nvCxnSpPr>
          <p:spPr bwMode="gray">
            <a:xfrm>
              <a:off x="915" y="1030"/>
              <a:ext cx="2686" cy="0"/>
            </a:xfrm>
            <a:prstGeom prst="straightConnector1">
              <a:avLst/>
            </a:prstGeom>
            <a:noFill/>
            <a:ln w="9525">
              <a:solidFill>
                <a:schemeClr val="accent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8" name="AutoShape 250"/>
            <p:cNvSpPr>
              <a:spLocks noChangeArrowheads="1"/>
            </p:cNvSpPr>
            <p:nvPr/>
          </p:nvSpPr>
          <p:spPr bwMode="gray">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US" b="1" baseline="0" dirty="0">
                  <a:solidFill>
                    <a:srgbClr val="000000"/>
                  </a:solidFill>
                  <a:latin typeface="+mn-lt"/>
                  <a:ea typeface="+mn-ea"/>
                </a:rPr>
                <a:t>Title</a:t>
              </a:r>
            </a:p>
            <a:p>
              <a:r>
                <a:rPr lang="en-US" baseline="0" dirty="0">
                  <a:solidFill>
                    <a:schemeClr val="accent6"/>
                  </a:solidFill>
                  <a:latin typeface="+mn-lt"/>
                  <a:ea typeface="+mn-ea"/>
                </a:rPr>
                <a:t>Unit of measure</a:t>
              </a:r>
            </a:p>
          </p:txBody>
        </p:sp>
      </p:grpSp>
      <p:grpSp>
        <p:nvGrpSpPr>
          <p:cNvPr id="17" name="McKSticker" hidden="1"/>
          <p:cNvGrpSpPr/>
          <p:nvPr/>
        </p:nvGrpSpPr>
        <p:grpSpPr bwMode="gray">
          <a:xfrm>
            <a:off x="8264265" y="285750"/>
            <a:ext cx="473335" cy="150811"/>
            <a:chOff x="8267440" y="285750"/>
            <a:chExt cx="473335" cy="150811"/>
          </a:xfrm>
        </p:grpSpPr>
        <p:sp>
          <p:nvSpPr>
            <p:cNvPr id="20" name="StickerRectangle"/>
            <p:cNvSpPr>
              <a:spLocks noChangeArrowheads="1"/>
            </p:cNvSpPr>
            <p:nvPr/>
          </p:nvSpPr>
          <p:spPr bwMode="gray">
            <a:xfrm>
              <a:off x="8267440" y="285750"/>
              <a:ext cx="473335" cy="150811"/>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a:buClr>
                  <a:srgbClr val="002960"/>
                </a:buClr>
              </a:pPr>
              <a:r>
                <a:rPr lang="en-US" sz="800" baseline="0" dirty="0">
                  <a:solidFill>
                    <a:schemeClr val="accent6"/>
                  </a:solidFill>
                  <a:latin typeface="+mn-lt"/>
                  <a:ea typeface="+mn-ea"/>
                </a:rPr>
                <a:t>STICKER</a:t>
              </a:r>
            </a:p>
          </p:txBody>
        </p:sp>
        <p:cxnSp>
          <p:nvCxnSpPr>
            <p:cNvPr id="21" name="AutoShape 31"/>
            <p:cNvCxnSpPr>
              <a:cxnSpLocks noChangeShapeType="1"/>
              <a:stCxn id="20" idx="2"/>
              <a:endCxn id="20" idx="4"/>
            </p:cNvCxnSpPr>
            <p:nvPr/>
          </p:nvCxnSpPr>
          <p:spPr bwMode="gray">
            <a:xfrm>
              <a:off x="8267440" y="285750"/>
              <a:ext cx="0" cy="150811"/>
            </a:xfrm>
            <a:prstGeom prst="straightConnector1">
              <a:avLst/>
            </a:prstGeom>
            <a:noFill/>
            <a:ln w="9525">
              <a:solidFill>
                <a:schemeClr val="accent6"/>
              </a:solidFill>
              <a:round/>
              <a:headEnd/>
              <a:tailEnd/>
            </a:ln>
            <a:extLst>
              <a:ext uri="{909E8E84-426E-40DD-AFC4-6F175D3DCCD1}">
                <a14:hiddenFill xmlns:a14="http://schemas.microsoft.com/office/drawing/2010/main">
                  <a:noFill/>
                </a14:hiddenFill>
              </a:ext>
            </a:extLst>
          </p:spPr>
        </p:cxnSp>
        <p:cxnSp>
          <p:nvCxnSpPr>
            <p:cNvPr id="22" name="AutoShape 32"/>
            <p:cNvCxnSpPr>
              <a:cxnSpLocks noChangeShapeType="1"/>
              <a:stCxn id="20" idx="4"/>
              <a:endCxn id="20" idx="6"/>
            </p:cNvCxnSpPr>
            <p:nvPr/>
          </p:nvCxnSpPr>
          <p:spPr bwMode="gray">
            <a:xfrm>
              <a:off x="8267440" y="436561"/>
              <a:ext cx="473335" cy="0"/>
            </a:xfrm>
            <a:prstGeom prst="straightConnector1">
              <a:avLst/>
            </a:prstGeom>
            <a:noFill/>
            <a:ln w="25400">
              <a:solidFill>
                <a:schemeClr val="accent6"/>
              </a:solidFill>
              <a:round/>
              <a:headEnd/>
              <a:tailEnd/>
            </a:ln>
            <a:extLst>
              <a:ext uri="{909E8E84-426E-40DD-AFC4-6F175D3DCCD1}">
                <a14:hiddenFill xmlns:a14="http://schemas.microsoft.com/office/drawing/2010/main">
                  <a:noFill/>
                </a14:hiddenFill>
              </a:ext>
            </a:extLst>
          </p:spPr>
        </p:cxnSp>
      </p:grpSp>
      <p:sp>
        <p:nvSpPr>
          <p:cNvPr id="23" name="SlideBottomBar" hidden="1"/>
          <p:cNvSpPr/>
          <p:nvPr/>
        </p:nvSpPr>
        <p:spPr>
          <a:xfrm>
            <a:off x="8437547" y="6182120"/>
            <a:ext cx="45719" cy="123825"/>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aseline="0" dirty="0">
              <a:solidFill>
                <a:schemeClr val="tx1"/>
              </a:solidFill>
              <a:latin typeface="+mn-lt"/>
              <a:ea typeface="+mn-ea"/>
            </a:endParaRPr>
          </a:p>
        </p:txBody>
      </p:sp>
      <p:sp>
        <p:nvSpPr>
          <p:cNvPr id="24" name="doc id" hidden="1"/>
          <p:cNvSpPr txBox="1">
            <a:spLocks noChangeArrowheads="1"/>
          </p:cNvSpPr>
          <p:nvPr/>
        </p:nvSpPr>
        <p:spPr bwMode="white">
          <a:xfrm>
            <a:off x="8104473" y="36513"/>
            <a:ext cx="634716" cy="115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hangingPunct="1">
              <a:defRPr/>
            </a:pPr>
            <a:endParaRPr lang="en-US" sz="800" baseline="0" dirty="0">
              <a:solidFill>
                <a:schemeClr val="accent1"/>
              </a:solidFill>
              <a:latin typeface="+mn-lt"/>
              <a:ea typeface="+mn-ea"/>
            </a:endParaRPr>
          </a:p>
        </p:txBody>
      </p:sp>
      <p:grpSp>
        <p:nvGrpSpPr>
          <p:cNvPr id="63" name="LegendLines" hidden="1"/>
          <p:cNvGrpSpPr/>
          <p:nvPr/>
        </p:nvGrpSpPr>
        <p:grpSpPr>
          <a:xfrm>
            <a:off x="7551589" y="267815"/>
            <a:ext cx="1158292" cy="761545"/>
            <a:chOff x="7607284" y="279400"/>
            <a:chExt cx="1158292" cy="761545"/>
          </a:xfrm>
        </p:grpSpPr>
        <p:sp>
          <p:nvSpPr>
            <p:cNvPr id="64" name="LineLegend1"/>
            <p:cNvSpPr>
              <a:spLocks noChangeShapeType="1"/>
            </p:cNvSpPr>
            <p:nvPr/>
          </p:nvSpPr>
          <p:spPr bwMode="gray">
            <a:xfrm>
              <a:off x="7607284" y="387122"/>
              <a:ext cx="457200"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65" name="LineLegend2"/>
            <p:cNvSpPr>
              <a:spLocks noChangeShapeType="1"/>
            </p:cNvSpPr>
            <p:nvPr/>
          </p:nvSpPr>
          <p:spPr bwMode="gray">
            <a:xfrm>
              <a:off x="7607284" y="653822"/>
              <a:ext cx="457200"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66" name="LineLegend3"/>
            <p:cNvSpPr>
              <a:spLocks noChangeShapeType="1"/>
            </p:cNvSpPr>
            <p:nvPr/>
          </p:nvSpPr>
          <p:spPr bwMode="gray">
            <a:xfrm>
              <a:off x="7607284" y="933223"/>
              <a:ext cx="457200"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67" name="Legend1"/>
            <p:cNvSpPr>
              <a:spLocks noChangeArrowheads="1"/>
            </p:cNvSpPr>
            <p:nvPr>
              <p:custDataLst>
                <p:tags r:id="rId33"/>
              </p:custDataLst>
            </p:nvPr>
          </p:nvSpPr>
          <p:spPr bwMode="gray">
            <a:xfrm>
              <a:off x="8169259" y="279400"/>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sp>
          <p:nvSpPr>
            <p:cNvPr id="68" name="Legend2"/>
            <p:cNvSpPr>
              <a:spLocks noChangeArrowheads="1"/>
            </p:cNvSpPr>
            <p:nvPr>
              <p:custDataLst>
                <p:tags r:id="rId34"/>
              </p:custDataLst>
            </p:nvPr>
          </p:nvSpPr>
          <p:spPr bwMode="gray">
            <a:xfrm>
              <a:off x="8169259" y="546100"/>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a:latin typeface="+mn-lt"/>
                  <a:ea typeface="+mn-ea"/>
                </a:rPr>
                <a:t>Legend</a:t>
              </a:r>
              <a:endParaRPr lang="en-US" sz="1400" baseline="0" dirty="0">
                <a:latin typeface="+mn-lt"/>
                <a:ea typeface="+mn-ea"/>
              </a:endParaRPr>
            </a:p>
          </p:txBody>
        </p:sp>
        <p:sp>
          <p:nvSpPr>
            <p:cNvPr id="69" name="Legend3"/>
            <p:cNvSpPr>
              <a:spLocks noChangeArrowheads="1"/>
            </p:cNvSpPr>
            <p:nvPr>
              <p:custDataLst>
                <p:tags r:id="rId35"/>
              </p:custDataLst>
            </p:nvPr>
          </p:nvSpPr>
          <p:spPr bwMode="gray">
            <a:xfrm>
              <a:off x="8169259" y="825501"/>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grpSp>
      <p:grpSp>
        <p:nvGrpSpPr>
          <p:cNvPr id="70" name="LegendBoxes" hidden="1"/>
          <p:cNvGrpSpPr/>
          <p:nvPr/>
        </p:nvGrpSpPr>
        <p:grpSpPr>
          <a:xfrm>
            <a:off x="7859564" y="267919"/>
            <a:ext cx="850317" cy="1028245"/>
            <a:chOff x="5894005" y="919828"/>
            <a:chExt cx="850317" cy="1028245"/>
          </a:xfrm>
        </p:grpSpPr>
        <p:sp>
          <p:nvSpPr>
            <p:cNvPr id="71" name="RectangleLegend1"/>
            <p:cNvSpPr>
              <a:spLocks noChangeArrowheads="1"/>
            </p:cNvSpPr>
            <p:nvPr/>
          </p:nvSpPr>
          <p:spPr bwMode="gray">
            <a:xfrm>
              <a:off x="5894005" y="947381"/>
              <a:ext cx="165100" cy="160338"/>
            </a:xfrm>
            <a:prstGeom prst="rect">
              <a:avLst/>
            </a:prstGeom>
            <a:solidFill>
              <a:schemeClr val="accent1"/>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72" name="RectangleLegend2"/>
            <p:cNvSpPr>
              <a:spLocks noChangeArrowheads="1"/>
            </p:cNvSpPr>
            <p:nvPr/>
          </p:nvSpPr>
          <p:spPr bwMode="gray">
            <a:xfrm>
              <a:off x="5894005" y="1217256"/>
              <a:ext cx="165100" cy="160338"/>
            </a:xfrm>
            <a:prstGeom prst="rect">
              <a:avLst/>
            </a:prstGeom>
            <a:solidFill>
              <a:schemeClr val="accent2"/>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73" name="RectangleLegend3"/>
            <p:cNvSpPr>
              <a:spLocks noChangeArrowheads="1"/>
            </p:cNvSpPr>
            <p:nvPr/>
          </p:nvSpPr>
          <p:spPr bwMode="gray">
            <a:xfrm>
              <a:off x="5894005" y="1488719"/>
              <a:ext cx="165100" cy="160338"/>
            </a:xfrm>
            <a:prstGeom prst="rect">
              <a:avLst/>
            </a:prstGeom>
            <a:solidFill>
              <a:schemeClr val="accent3"/>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74" name="RectangleLegend4"/>
            <p:cNvSpPr>
              <a:spLocks noChangeArrowheads="1"/>
            </p:cNvSpPr>
            <p:nvPr/>
          </p:nvSpPr>
          <p:spPr bwMode="gray">
            <a:xfrm>
              <a:off x="5894005" y="1760182"/>
              <a:ext cx="165100" cy="160338"/>
            </a:xfrm>
            <a:prstGeom prst="rect">
              <a:avLst/>
            </a:prstGeom>
            <a:solidFill>
              <a:schemeClr val="accent4"/>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75" name="Legend1"/>
            <p:cNvSpPr>
              <a:spLocks noChangeArrowheads="1"/>
            </p:cNvSpPr>
            <p:nvPr>
              <p:custDataLst>
                <p:tags r:id="rId29"/>
              </p:custDataLst>
            </p:nvPr>
          </p:nvSpPr>
          <p:spPr bwMode="gray">
            <a:xfrm>
              <a:off x="6148005" y="919828"/>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sp>
          <p:nvSpPr>
            <p:cNvPr id="76" name="Legend2"/>
            <p:cNvSpPr>
              <a:spLocks noChangeArrowheads="1"/>
            </p:cNvSpPr>
            <p:nvPr>
              <p:custDataLst>
                <p:tags r:id="rId30"/>
              </p:custDataLst>
            </p:nvPr>
          </p:nvSpPr>
          <p:spPr bwMode="gray">
            <a:xfrm>
              <a:off x="6148005" y="1189703"/>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sp>
          <p:nvSpPr>
            <p:cNvPr id="77" name="Legend3"/>
            <p:cNvSpPr>
              <a:spLocks noChangeArrowheads="1"/>
            </p:cNvSpPr>
            <p:nvPr>
              <p:custDataLst>
                <p:tags r:id="rId31"/>
              </p:custDataLst>
            </p:nvPr>
          </p:nvSpPr>
          <p:spPr bwMode="gray">
            <a:xfrm>
              <a:off x="6148005" y="1461166"/>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sp>
          <p:nvSpPr>
            <p:cNvPr id="78" name="Legend4"/>
            <p:cNvSpPr>
              <a:spLocks noChangeArrowheads="1"/>
            </p:cNvSpPr>
            <p:nvPr>
              <p:custDataLst>
                <p:tags r:id="rId32"/>
              </p:custDataLst>
            </p:nvPr>
          </p:nvSpPr>
          <p:spPr bwMode="gray">
            <a:xfrm>
              <a:off x="6148005" y="1732629"/>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grpSp>
      <p:grpSp>
        <p:nvGrpSpPr>
          <p:cNvPr id="79" name="LegendMoons" hidden="1"/>
          <p:cNvGrpSpPr/>
          <p:nvPr/>
        </p:nvGrpSpPr>
        <p:grpSpPr>
          <a:xfrm>
            <a:off x="7792889" y="267414"/>
            <a:ext cx="916992" cy="1317003"/>
            <a:chOff x="5894005" y="2695123"/>
            <a:chExt cx="916992" cy="1317003"/>
          </a:xfrm>
        </p:grpSpPr>
        <p:grpSp>
          <p:nvGrpSpPr>
            <p:cNvPr id="80" name="MoonLegend1"/>
            <p:cNvGrpSpPr>
              <a:grpSpLocks noChangeAspect="1"/>
            </p:cNvGrpSpPr>
            <p:nvPr>
              <p:custDataLst>
                <p:tags r:id="rId9"/>
              </p:custDataLst>
            </p:nvPr>
          </p:nvGrpSpPr>
          <p:grpSpPr bwMode="gray">
            <a:xfrm>
              <a:off x="5894005" y="2695123"/>
              <a:ext cx="209550" cy="218282"/>
              <a:chOff x="4533" y="183"/>
              <a:chExt cx="144" cy="150"/>
            </a:xfrm>
          </p:grpSpPr>
          <p:sp>
            <p:nvSpPr>
              <p:cNvPr id="98" name="Oval 97"/>
              <p:cNvSpPr>
                <a:spLocks noChangeAspect="1" noChangeArrowheads="1"/>
              </p:cNvSpPr>
              <p:nvPr>
                <p:custDataLst>
                  <p:tags r:id="rId27"/>
                </p:custDataLst>
              </p:nvPr>
            </p:nvSpPr>
            <p:spPr bwMode="gray">
              <a:xfrm>
                <a:off x="4533" y="189"/>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99" name="Arc 98" hidden="1"/>
              <p:cNvSpPr>
                <a:spLocks noChangeAspect="1"/>
              </p:cNvSpPr>
              <p:nvPr>
                <p:custDataLst>
                  <p:tags r:id="rId28"/>
                </p:custDataLst>
              </p:nvPr>
            </p:nvSpPr>
            <p:spPr bwMode="gray">
              <a:xfrm>
                <a:off x="4533" y="183"/>
                <a:ext cx="144" cy="144"/>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grpSp>
        <p:grpSp>
          <p:nvGrpSpPr>
            <p:cNvPr id="81" name="MoonLegend2"/>
            <p:cNvGrpSpPr>
              <a:grpSpLocks noChangeAspect="1"/>
            </p:cNvGrpSpPr>
            <p:nvPr>
              <p:custDataLst>
                <p:tags r:id="rId10"/>
              </p:custDataLst>
            </p:nvPr>
          </p:nvGrpSpPr>
          <p:grpSpPr bwMode="gray">
            <a:xfrm>
              <a:off x="5894005" y="2977103"/>
              <a:ext cx="209550" cy="209551"/>
              <a:chOff x="1694" y="2051"/>
              <a:chExt cx="160" cy="160"/>
            </a:xfrm>
          </p:grpSpPr>
          <p:sp>
            <p:nvSpPr>
              <p:cNvPr id="96" name="Oval 41"/>
              <p:cNvSpPr>
                <a:spLocks noChangeAspect="1" noChangeArrowheads="1"/>
              </p:cNvSpPr>
              <p:nvPr>
                <p:custDataLst>
                  <p:tags r:id="rId25"/>
                </p:custDataLst>
              </p:nvPr>
            </p:nvSpPr>
            <p:spPr bwMode="gray">
              <a:xfrm>
                <a:off x="1694" y="2051"/>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97" name="Arc 42"/>
              <p:cNvSpPr>
                <a:spLocks noChangeAspect="1"/>
              </p:cNvSpPr>
              <p:nvPr>
                <p:custDataLst>
                  <p:tags r:id="rId26"/>
                </p:custDataLst>
              </p:nvPr>
            </p:nvSpPr>
            <p:spPr bwMode="gray">
              <a:xfrm>
                <a:off x="1694" y="2051"/>
                <a:ext cx="160" cy="160"/>
              </a:xfrm>
              <a:prstGeom prst="arc">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grpSp>
        <p:grpSp>
          <p:nvGrpSpPr>
            <p:cNvPr id="82" name="MoonLegend4"/>
            <p:cNvGrpSpPr>
              <a:grpSpLocks noChangeAspect="1"/>
            </p:cNvGrpSpPr>
            <p:nvPr>
              <p:custDataLst>
                <p:tags r:id="rId11"/>
              </p:custDataLst>
            </p:nvPr>
          </p:nvGrpSpPr>
          <p:grpSpPr bwMode="gray">
            <a:xfrm>
              <a:off x="5894005" y="3524395"/>
              <a:ext cx="209550" cy="209551"/>
              <a:chOff x="4495" y="1204"/>
              <a:chExt cx="160" cy="160"/>
            </a:xfrm>
          </p:grpSpPr>
          <p:sp>
            <p:nvSpPr>
              <p:cNvPr id="94" name="Oval 47"/>
              <p:cNvSpPr>
                <a:spLocks noChangeAspect="1" noChangeArrowheads="1"/>
              </p:cNvSpPr>
              <p:nvPr>
                <p:custDataLst>
                  <p:tags r:id="rId23"/>
                </p:custDataLst>
              </p:nvPr>
            </p:nvSpPr>
            <p:spPr bwMode="gray">
              <a:xfrm>
                <a:off x="4495" y="120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95" name="Arc 48"/>
              <p:cNvSpPr>
                <a:spLocks noChangeAspect="1"/>
              </p:cNvSpPr>
              <p:nvPr>
                <p:custDataLst>
                  <p:tags r:id="rId24"/>
                </p:custDataLst>
              </p:nvPr>
            </p:nvSpPr>
            <p:spPr bwMode="gray">
              <a:xfrm>
                <a:off x="4495" y="1204"/>
                <a:ext cx="160" cy="160"/>
              </a:xfrm>
              <a:prstGeom prst="arc">
                <a:avLst>
                  <a:gd name="adj1" fmla="val 16200000"/>
                  <a:gd name="adj2" fmla="val 108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grpSp>
        <p:grpSp>
          <p:nvGrpSpPr>
            <p:cNvPr id="83" name="MoonLegend5"/>
            <p:cNvGrpSpPr>
              <a:grpSpLocks noChangeAspect="1"/>
            </p:cNvGrpSpPr>
            <p:nvPr>
              <p:custDataLst>
                <p:tags r:id="rId12"/>
              </p:custDataLst>
            </p:nvPr>
          </p:nvGrpSpPr>
          <p:grpSpPr bwMode="gray">
            <a:xfrm>
              <a:off x="5894005" y="3799629"/>
              <a:ext cx="209550" cy="209551"/>
              <a:chOff x="4495" y="1447"/>
              <a:chExt cx="160" cy="160"/>
            </a:xfrm>
          </p:grpSpPr>
          <p:sp>
            <p:nvSpPr>
              <p:cNvPr id="92" name="Oval 50"/>
              <p:cNvSpPr>
                <a:spLocks noChangeAspect="1" noChangeArrowheads="1"/>
              </p:cNvSpPr>
              <p:nvPr>
                <p:custDataLst>
                  <p:tags r:id="rId21"/>
                </p:custDataLst>
              </p:nvPr>
            </p:nvSpPr>
            <p:spPr bwMode="gray">
              <a:xfrm>
                <a:off x="4495" y="1447"/>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93" name="Oval 51"/>
              <p:cNvSpPr>
                <a:spLocks noChangeAspect="1" noChangeArrowheads="1"/>
              </p:cNvSpPr>
              <p:nvPr>
                <p:custDataLst>
                  <p:tags r:id="rId22"/>
                </p:custDataLst>
              </p:nvPr>
            </p:nvSpPr>
            <p:spPr bwMode="gray">
              <a:xfrm>
                <a:off x="4495" y="1447"/>
                <a:ext cx="160" cy="160"/>
              </a:xfrm>
              <a:prstGeom prst="arc">
                <a:avLst>
                  <a:gd name="adj1" fmla="val 16200000"/>
                  <a:gd name="adj2" fmla="val 162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grpSp>
        <p:grpSp>
          <p:nvGrpSpPr>
            <p:cNvPr id="84" name="MoonLegend3"/>
            <p:cNvGrpSpPr>
              <a:grpSpLocks noChangeAspect="1"/>
            </p:cNvGrpSpPr>
            <p:nvPr>
              <p:custDataLst>
                <p:tags r:id="rId13"/>
              </p:custDataLst>
            </p:nvPr>
          </p:nvGrpSpPr>
          <p:grpSpPr bwMode="gray">
            <a:xfrm>
              <a:off x="5894005" y="3251543"/>
              <a:ext cx="209550" cy="209551"/>
              <a:chOff x="4495" y="1205"/>
              <a:chExt cx="160" cy="160"/>
            </a:xfrm>
          </p:grpSpPr>
          <p:sp>
            <p:nvSpPr>
              <p:cNvPr id="90" name="Oval 47"/>
              <p:cNvSpPr>
                <a:spLocks noChangeAspect="1" noChangeArrowheads="1"/>
              </p:cNvSpPr>
              <p:nvPr>
                <p:custDataLst>
                  <p:tags r:id="rId19"/>
                </p:custDataLst>
              </p:nvPr>
            </p:nvSpPr>
            <p:spPr bwMode="gray">
              <a:xfrm>
                <a:off x="4495" y="1205"/>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91" name="Arc 48"/>
              <p:cNvSpPr>
                <a:spLocks noChangeAspect="1"/>
              </p:cNvSpPr>
              <p:nvPr>
                <p:custDataLst>
                  <p:tags r:id="rId20"/>
                </p:custDataLst>
              </p:nvPr>
            </p:nvSpPr>
            <p:spPr bwMode="gray">
              <a:xfrm>
                <a:off x="4495" y="1205"/>
                <a:ext cx="160" cy="160"/>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grpSp>
        <p:sp>
          <p:nvSpPr>
            <p:cNvPr id="85" name="Legend1"/>
            <p:cNvSpPr>
              <a:spLocks noChangeArrowheads="1"/>
            </p:cNvSpPr>
            <p:nvPr>
              <p:custDataLst>
                <p:tags r:id="rId14"/>
              </p:custDataLst>
            </p:nvPr>
          </p:nvSpPr>
          <p:spPr bwMode="gray">
            <a:xfrm>
              <a:off x="6214680" y="2696542"/>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sp>
          <p:nvSpPr>
            <p:cNvPr id="86" name="Legend2"/>
            <p:cNvSpPr>
              <a:spLocks noChangeArrowheads="1"/>
            </p:cNvSpPr>
            <p:nvPr>
              <p:custDataLst>
                <p:tags r:id="rId15"/>
              </p:custDataLst>
            </p:nvPr>
          </p:nvSpPr>
          <p:spPr bwMode="gray">
            <a:xfrm>
              <a:off x="6214680" y="2974156"/>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a:latin typeface="+mn-lt"/>
                  <a:ea typeface="+mn-ea"/>
                </a:rPr>
                <a:t>Legend</a:t>
              </a:r>
              <a:endParaRPr lang="en-US" sz="1400" baseline="0" dirty="0">
                <a:latin typeface="+mn-lt"/>
                <a:ea typeface="+mn-ea"/>
              </a:endParaRPr>
            </a:p>
          </p:txBody>
        </p:sp>
        <p:sp>
          <p:nvSpPr>
            <p:cNvPr id="87" name="Legend3"/>
            <p:cNvSpPr>
              <a:spLocks noChangeArrowheads="1"/>
            </p:cNvSpPr>
            <p:nvPr>
              <p:custDataLst>
                <p:tags r:id="rId16"/>
              </p:custDataLst>
            </p:nvPr>
          </p:nvSpPr>
          <p:spPr bwMode="gray">
            <a:xfrm>
              <a:off x="6214680" y="3248596"/>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sp>
          <p:nvSpPr>
            <p:cNvPr id="88" name="Legend4"/>
            <p:cNvSpPr>
              <a:spLocks noChangeArrowheads="1"/>
            </p:cNvSpPr>
            <p:nvPr>
              <p:custDataLst>
                <p:tags r:id="rId17"/>
              </p:custDataLst>
            </p:nvPr>
          </p:nvSpPr>
          <p:spPr bwMode="gray">
            <a:xfrm>
              <a:off x="6214680" y="3521448"/>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sp>
          <p:nvSpPr>
            <p:cNvPr id="89" name="Legend5"/>
            <p:cNvSpPr>
              <a:spLocks noChangeArrowheads="1"/>
            </p:cNvSpPr>
            <p:nvPr>
              <p:custDataLst>
                <p:tags r:id="rId18"/>
              </p:custDataLst>
            </p:nvPr>
          </p:nvSpPr>
          <p:spPr bwMode="gray">
            <a:xfrm>
              <a:off x="6214680" y="3796682"/>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a:latin typeface="+mn-lt"/>
                  <a:ea typeface="+mn-ea"/>
                </a:rPr>
                <a:t>Legend</a:t>
              </a:r>
              <a:endParaRPr lang="en-US" sz="1400" baseline="0" dirty="0">
                <a:latin typeface="+mn-lt"/>
                <a:ea typeface="+mn-ea"/>
              </a:endParaRPr>
            </a:p>
          </p:txBody>
        </p:sp>
      </p:grpSp>
    </p:spTree>
    <p:extLst>
      <p:ext uri="{BB962C8B-B14F-4D97-AF65-F5344CB8AC3E}">
        <p14:creationId xmlns:p14="http://schemas.microsoft.com/office/powerpoint/2010/main" val="1046732680"/>
      </p:ext>
    </p:extLst>
  </p:cSld>
  <p:clrMap bg1="lt1" tx1="dk1" bg2="lt2" tx2="dk2" accent1="accent1" accent2="accent2" accent3="accent3" accent4="accent4" accent5="accent5" accent6="accent6" hlink="hlink" folHlink="folHlink"/>
  <p:sldLayoutIdLst>
    <p:sldLayoutId id="2147483901" r:id="rId1"/>
    <p:sldLayoutId id="2147483902" r:id="rId2"/>
    <p:sldLayoutId id="2147483903" r:id="rId3"/>
    <p:sldLayoutId id="2147483904" r:id="rId4"/>
  </p:sldLayoutIdLst>
  <p:txStyles>
    <p:titleStyle>
      <a:lvl1pPr algn="l" defTabSz="895350" rtl="0" eaLnBrk="1" fontAlgn="base" hangingPunct="1">
        <a:spcBef>
          <a:spcPct val="0"/>
        </a:spcBef>
        <a:spcAft>
          <a:spcPct val="0"/>
        </a:spcAft>
        <a:tabLst>
          <a:tab pos="269875" algn="l"/>
        </a:tabLst>
        <a:defRPr sz="2000" b="0" baseline="0">
          <a:solidFill>
            <a:schemeClr val="tx2"/>
          </a:solidFill>
          <a:latin typeface="+mj-lt"/>
          <a:ea typeface="+mj-ea"/>
          <a:cs typeface="+mj-cs"/>
        </a:defRPr>
      </a:lvl1pPr>
      <a:lvl2pPr algn="l" defTabSz="895350" rtl="0" eaLnBrk="1" fontAlgn="base" hangingPunct="1">
        <a:spcBef>
          <a:spcPct val="0"/>
        </a:spcBef>
        <a:spcAft>
          <a:spcPct val="0"/>
        </a:spcAft>
        <a:defRPr sz="1900" b="1">
          <a:solidFill>
            <a:schemeClr val="tx2"/>
          </a:solidFill>
          <a:latin typeface="Arial" charset="0"/>
        </a:defRPr>
      </a:lvl2pPr>
      <a:lvl3pPr algn="l" defTabSz="895350" rtl="0" eaLnBrk="1" fontAlgn="base" hangingPunct="1">
        <a:spcBef>
          <a:spcPct val="0"/>
        </a:spcBef>
        <a:spcAft>
          <a:spcPct val="0"/>
        </a:spcAft>
        <a:defRPr sz="1900" b="1">
          <a:solidFill>
            <a:schemeClr val="tx2"/>
          </a:solidFill>
          <a:latin typeface="Arial" charset="0"/>
        </a:defRPr>
      </a:lvl3pPr>
      <a:lvl4pPr algn="l" defTabSz="895350" rtl="0" eaLnBrk="1" fontAlgn="base" hangingPunct="1">
        <a:spcBef>
          <a:spcPct val="0"/>
        </a:spcBef>
        <a:spcAft>
          <a:spcPct val="0"/>
        </a:spcAft>
        <a:defRPr sz="1900" b="1">
          <a:solidFill>
            <a:schemeClr val="tx2"/>
          </a:solidFill>
          <a:latin typeface="Arial" charset="0"/>
        </a:defRPr>
      </a:lvl4pPr>
      <a:lvl5pPr algn="l" defTabSz="895350" rtl="0" eaLnBrk="1" fontAlgn="base" hangingPunct="1">
        <a:spcBef>
          <a:spcPct val="0"/>
        </a:spcBef>
        <a:spcAft>
          <a:spcPct val="0"/>
        </a:spcAft>
        <a:defRPr sz="1900" b="1">
          <a:solidFill>
            <a:schemeClr val="tx2"/>
          </a:solidFill>
          <a:latin typeface="Arial" charset="0"/>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p:titleStyle>
    <p:bodyStyle>
      <a:lvl1pPr marL="0" indent="0" algn="l" defTabSz="895350" rtl="0" eaLnBrk="1" fontAlgn="base" hangingPunct="1">
        <a:spcBef>
          <a:spcPct val="0"/>
        </a:spcBef>
        <a:spcAft>
          <a:spcPct val="0"/>
        </a:spcAft>
        <a:buClr>
          <a:schemeClr val="tx2"/>
        </a:buClr>
        <a:buSzPct val="100000"/>
        <a:defRPr sz="14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4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4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4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4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ext>
  </p:extLst>
</p:sldMaster>
</file>

<file path=ppt/slideMasters/slideMaster4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7"/>
            </p:custDataLst>
            <p:extLst>
              <p:ext uri="{D42A27DB-BD31-4B8C-83A1-F6EECF244321}">
                <p14:modId xmlns:p14="http://schemas.microsoft.com/office/powerpoint/2010/main" val="2958872513"/>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40660" name="think-cell Slide" r:id="rId36" imgW="270" imgH="270" progId="TCLayout.ActiveDocument.1">
                  <p:embed/>
                </p:oleObj>
              </mc:Choice>
              <mc:Fallback>
                <p:oleObj name="think-cell Slide" r:id="rId36" imgW="270" imgH="270" progId="TCLayout.ActiveDocument.1">
                  <p:embed/>
                  <p:pic>
                    <p:nvPicPr>
                      <p:cNvPr id="2" name="Object 1" hidden="1"/>
                      <p:cNvPicPr/>
                      <p:nvPr/>
                    </p:nvPicPr>
                    <p:blipFill>
                      <a:blip r:embed="rId37"/>
                      <a:stretch>
                        <a:fillRect/>
                      </a:stretch>
                    </p:blipFill>
                    <p:spPr>
                      <a:xfrm>
                        <a:off x="0" y="0"/>
                        <a:ext cx="158750" cy="158750"/>
                      </a:xfrm>
                      <a:prstGeom prst="rect">
                        <a:avLst/>
                      </a:prstGeom>
                    </p:spPr>
                  </p:pic>
                </p:oleObj>
              </mc:Fallback>
            </mc:AlternateContent>
          </a:graphicData>
        </a:graphic>
      </p:graphicFrame>
      <p:sp>
        <p:nvSpPr>
          <p:cNvPr id="6" name="Rectangle 5" hidden="1"/>
          <p:cNvSpPr/>
          <p:nvPr>
            <p:custDataLst>
              <p:tags r:id="rId8"/>
            </p:custDataLst>
          </p:nvPr>
        </p:nvSpPr>
        <p:spPr bwMode="auto">
          <a:xfrm>
            <a:off x="0" y="0"/>
            <a:ext cx="158750" cy="158750"/>
          </a:xfrm>
          <a:prstGeom prst="rect">
            <a:avLst/>
          </a:prstGeom>
          <a:solidFill>
            <a:schemeClr val="bg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dirty="0">
              <a:solidFill>
                <a:srgbClr val="000000"/>
              </a:solidFill>
              <a:sym typeface="Arial" panose="020B0604020202020204" pitchFamily="34" charset="0"/>
            </a:endParaRPr>
          </a:p>
        </p:txBody>
      </p:sp>
      <p:sp>
        <p:nvSpPr>
          <p:cNvPr id="1034" name="Working Draft" hidden="1"/>
          <p:cNvSpPr txBox="1">
            <a:spLocks noChangeArrowheads="1"/>
          </p:cNvSpPr>
          <p:nvPr/>
        </p:nvSpPr>
        <p:spPr bwMode="gray">
          <a:xfrm rot="5400000">
            <a:off x="7966656" y="1940591"/>
            <a:ext cx="1849865"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600" baseline="0">
                <a:solidFill>
                  <a:srgbClr val="808080"/>
                </a:solidFill>
                <a:latin typeface="+mn-lt"/>
                <a:ea typeface="+mn-ea"/>
              </a:rPr>
              <a:t>Last Modified 21/05/2018 17:44 India Standard Time</a:t>
            </a:r>
            <a:endParaRPr lang="en-US" baseline="0" dirty="0">
              <a:solidFill>
                <a:srgbClr val="808080"/>
              </a:solidFill>
              <a:latin typeface="+mn-lt"/>
              <a:ea typeface="+mn-ea"/>
            </a:endParaRPr>
          </a:p>
        </p:txBody>
      </p:sp>
      <p:sp>
        <p:nvSpPr>
          <p:cNvPr id="1035" name="Printed" hidden="1"/>
          <p:cNvSpPr txBox="1">
            <a:spLocks noChangeArrowheads="1"/>
          </p:cNvSpPr>
          <p:nvPr/>
        </p:nvSpPr>
        <p:spPr bwMode="gray">
          <a:xfrm rot="5400000">
            <a:off x="8768958" y="4114417"/>
            <a:ext cx="245260"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600" baseline="0" dirty="0">
                <a:solidFill>
                  <a:srgbClr val="808080"/>
                </a:solidFill>
                <a:latin typeface="+mn-lt"/>
                <a:ea typeface="+mn-ea"/>
              </a:rPr>
              <a:t>Printed</a:t>
            </a:r>
            <a:endParaRPr lang="en-US" baseline="0" dirty="0">
              <a:solidFill>
                <a:srgbClr val="808080"/>
              </a:solidFill>
              <a:latin typeface="+mn-lt"/>
              <a:ea typeface="+mn-ea"/>
            </a:endParaRPr>
          </a:p>
        </p:txBody>
      </p:sp>
      <p:sp>
        <p:nvSpPr>
          <p:cNvPr id="19" name="Title Placeholder 2"/>
          <p:cNvSpPr>
            <a:spLocks noGrp="1" noChangeArrowheads="1"/>
          </p:cNvSpPr>
          <p:nvPr>
            <p:ph type="title"/>
          </p:nvPr>
        </p:nvSpPr>
        <p:spPr bwMode="gray">
          <a:xfrm>
            <a:off x="119063" y="230188"/>
            <a:ext cx="8618537"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latinLnBrk="0"/>
            <a:r>
              <a:rPr lang="en-US"/>
              <a:t>Click to edit Master title style</a:t>
            </a:r>
            <a:endParaRPr lang="en-US" noProof="0" dirty="0"/>
          </a:p>
        </p:txBody>
      </p:sp>
      <p:sp>
        <p:nvSpPr>
          <p:cNvPr id="10" name="1. On-page tracker" hidden="1"/>
          <p:cNvSpPr>
            <a:spLocks noChangeArrowheads="1"/>
          </p:cNvSpPr>
          <p:nvPr/>
        </p:nvSpPr>
        <p:spPr bwMode="gray">
          <a:xfrm>
            <a:off x="119063" y="75764"/>
            <a:ext cx="490519"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800" cap="all" baseline="0" dirty="0">
                <a:solidFill>
                  <a:schemeClr val="accent6"/>
                </a:solidFill>
                <a:latin typeface="+mn-lt"/>
                <a:ea typeface="+mn-ea"/>
              </a:rPr>
              <a:t>Tracker</a:t>
            </a:r>
          </a:p>
        </p:txBody>
      </p:sp>
      <p:sp>
        <p:nvSpPr>
          <p:cNvPr id="11" name="3. Unit of measure" hidden="1"/>
          <p:cNvSpPr txBox="1">
            <a:spLocks noChangeArrowheads="1"/>
          </p:cNvSpPr>
          <p:nvPr/>
        </p:nvSpPr>
        <p:spPr bwMode="gray">
          <a:xfrm>
            <a:off x="119063" y="554865"/>
            <a:ext cx="8618537"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600" baseline="0" dirty="0">
                <a:solidFill>
                  <a:schemeClr val="accent6"/>
                </a:solidFill>
                <a:latin typeface="+mn-lt"/>
                <a:ea typeface="+mn-ea"/>
              </a:rPr>
              <a:t>Unit of measure</a:t>
            </a:r>
          </a:p>
        </p:txBody>
      </p:sp>
      <p:grpSp>
        <p:nvGrpSpPr>
          <p:cNvPr id="4" name="Slide Elements" hidden="1"/>
          <p:cNvGrpSpPr/>
          <p:nvPr/>
        </p:nvGrpSpPr>
        <p:grpSpPr bwMode="gray">
          <a:xfrm>
            <a:off x="119063" y="6305945"/>
            <a:ext cx="8618537" cy="325438"/>
            <a:chOff x="119063" y="6305945"/>
            <a:chExt cx="8618537" cy="325438"/>
          </a:xfrm>
        </p:grpSpPr>
        <p:sp>
          <p:nvSpPr>
            <p:cNvPr id="13" name="4. Footnote"/>
            <p:cNvSpPr txBox="1">
              <a:spLocks noChangeArrowheads="1"/>
            </p:cNvSpPr>
            <p:nvPr/>
          </p:nvSpPr>
          <p:spPr bwMode="gray">
            <a:xfrm>
              <a:off x="119063" y="6305945"/>
              <a:ext cx="8618537" cy="123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800" baseline="0" dirty="0">
                  <a:solidFill>
                    <a:schemeClr val="accent6"/>
                  </a:solidFill>
                  <a:latin typeface="+mn-lt"/>
                  <a:ea typeface="+mn-ea"/>
                </a:rPr>
                <a:t>1 Footnote</a:t>
              </a:r>
            </a:p>
          </p:txBody>
        </p:sp>
        <p:sp>
          <p:nvSpPr>
            <p:cNvPr id="14" name="5. Source"/>
            <p:cNvSpPr>
              <a:spLocks noChangeArrowheads="1"/>
            </p:cNvSpPr>
            <p:nvPr/>
          </p:nvSpPr>
          <p:spPr bwMode="gray">
            <a:xfrm>
              <a:off x="119063" y="6507558"/>
              <a:ext cx="7200000" cy="123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marL="609600" indent="-609600" defTabSz="895350">
                <a:tabLst>
                  <a:tab pos="612775" algn="l"/>
                </a:tabLst>
              </a:pPr>
              <a:r>
                <a:rPr lang="en-US" sz="800" baseline="0" dirty="0">
                  <a:solidFill>
                    <a:schemeClr val="accent6"/>
                  </a:solidFill>
                  <a:latin typeface="+mn-lt"/>
                  <a:ea typeface="+mn-ea"/>
                </a:rPr>
                <a:t>SOURCE: Source</a:t>
              </a:r>
            </a:p>
          </p:txBody>
        </p:sp>
      </p:grpSp>
      <p:sp>
        <p:nvSpPr>
          <p:cNvPr id="3" name="Text Placeholder 2"/>
          <p:cNvSpPr>
            <a:spLocks noGrp="1"/>
          </p:cNvSpPr>
          <p:nvPr>
            <p:ph type="body" idx="1"/>
          </p:nvPr>
        </p:nvSpPr>
        <p:spPr bwMode="gray">
          <a:xfrm>
            <a:off x="1452564" y="1951380"/>
            <a:ext cx="4302125" cy="1077218"/>
          </a:xfrm>
          <a:prstGeom prst="rect">
            <a:avLst/>
          </a:prstGeom>
        </p:spPr>
        <p:txBody>
          <a:bodyPr vert="horz" lIns="0" tIns="0" rIns="0" bIns="0" rtlCol="0">
            <a:spAutoFit/>
          </a:bodyPr>
          <a:lstStyle/>
          <a:p>
            <a:pPr lvl="0" latinLnBrk="0"/>
            <a:r>
              <a:rPr lang="en-US"/>
              <a:t>Edit Master text styles</a:t>
            </a:r>
          </a:p>
          <a:p>
            <a:pPr lvl="1" latinLnBrk="0"/>
            <a:r>
              <a:rPr lang="en-US"/>
              <a:t>Second level</a:t>
            </a:r>
          </a:p>
          <a:p>
            <a:pPr lvl="2" latinLnBrk="0"/>
            <a:r>
              <a:rPr lang="en-US"/>
              <a:t>Third level</a:t>
            </a:r>
          </a:p>
          <a:p>
            <a:pPr lvl="3" latinLnBrk="0"/>
            <a:r>
              <a:rPr lang="en-US"/>
              <a:t>Fourth level</a:t>
            </a:r>
          </a:p>
          <a:p>
            <a:pPr lvl="4" latinLnBrk="0"/>
            <a:r>
              <a:rPr lang="en-US"/>
              <a:t>Fifth level</a:t>
            </a:r>
            <a:endParaRPr lang="en-US" dirty="0"/>
          </a:p>
        </p:txBody>
      </p:sp>
      <p:grpSp>
        <p:nvGrpSpPr>
          <p:cNvPr id="15" name="ACET" hidden="1"/>
          <p:cNvGrpSpPr>
            <a:grpSpLocks/>
          </p:cNvGrpSpPr>
          <p:nvPr/>
        </p:nvGrpSpPr>
        <p:grpSpPr bwMode="gray">
          <a:xfrm>
            <a:off x="1452563" y="1257754"/>
            <a:ext cx="4264025" cy="508000"/>
            <a:chOff x="915" y="710"/>
            <a:chExt cx="2686" cy="320"/>
          </a:xfrm>
        </p:grpSpPr>
        <p:cxnSp>
          <p:nvCxnSpPr>
            <p:cNvPr id="16" name="AutoShape 249"/>
            <p:cNvCxnSpPr>
              <a:cxnSpLocks noChangeShapeType="1"/>
              <a:stCxn id="18" idx="4"/>
              <a:endCxn id="18" idx="6"/>
            </p:cNvCxnSpPr>
            <p:nvPr/>
          </p:nvCxnSpPr>
          <p:spPr bwMode="gray">
            <a:xfrm>
              <a:off x="915" y="1030"/>
              <a:ext cx="2686" cy="0"/>
            </a:xfrm>
            <a:prstGeom prst="straightConnector1">
              <a:avLst/>
            </a:prstGeom>
            <a:noFill/>
            <a:ln w="9525">
              <a:solidFill>
                <a:schemeClr val="accent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8" name="AutoShape 250"/>
            <p:cNvSpPr>
              <a:spLocks noChangeArrowheads="1"/>
            </p:cNvSpPr>
            <p:nvPr/>
          </p:nvSpPr>
          <p:spPr bwMode="gray">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US" b="1" baseline="0" dirty="0">
                  <a:solidFill>
                    <a:srgbClr val="000000"/>
                  </a:solidFill>
                  <a:latin typeface="+mn-lt"/>
                  <a:ea typeface="+mn-ea"/>
                </a:rPr>
                <a:t>Title</a:t>
              </a:r>
            </a:p>
            <a:p>
              <a:r>
                <a:rPr lang="en-US" baseline="0" dirty="0">
                  <a:solidFill>
                    <a:schemeClr val="accent6"/>
                  </a:solidFill>
                  <a:latin typeface="+mn-lt"/>
                  <a:ea typeface="+mn-ea"/>
                </a:rPr>
                <a:t>Unit of measure</a:t>
              </a:r>
            </a:p>
          </p:txBody>
        </p:sp>
      </p:grpSp>
      <p:grpSp>
        <p:nvGrpSpPr>
          <p:cNvPr id="17" name="McKSticker" hidden="1"/>
          <p:cNvGrpSpPr/>
          <p:nvPr/>
        </p:nvGrpSpPr>
        <p:grpSpPr bwMode="gray">
          <a:xfrm>
            <a:off x="8264265" y="285750"/>
            <a:ext cx="473335" cy="150811"/>
            <a:chOff x="8267440" y="285750"/>
            <a:chExt cx="473335" cy="150811"/>
          </a:xfrm>
        </p:grpSpPr>
        <p:sp>
          <p:nvSpPr>
            <p:cNvPr id="20" name="StickerRectangle"/>
            <p:cNvSpPr>
              <a:spLocks noChangeArrowheads="1"/>
            </p:cNvSpPr>
            <p:nvPr/>
          </p:nvSpPr>
          <p:spPr bwMode="gray">
            <a:xfrm>
              <a:off x="8267440" y="285750"/>
              <a:ext cx="473335" cy="150811"/>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a:buClr>
                  <a:srgbClr val="002960"/>
                </a:buClr>
              </a:pPr>
              <a:r>
                <a:rPr lang="en-US" sz="800" baseline="0" dirty="0">
                  <a:solidFill>
                    <a:schemeClr val="accent6"/>
                  </a:solidFill>
                  <a:latin typeface="+mn-lt"/>
                  <a:ea typeface="+mn-ea"/>
                </a:rPr>
                <a:t>STICKER</a:t>
              </a:r>
            </a:p>
          </p:txBody>
        </p:sp>
        <p:cxnSp>
          <p:nvCxnSpPr>
            <p:cNvPr id="21" name="AutoShape 31"/>
            <p:cNvCxnSpPr>
              <a:cxnSpLocks noChangeShapeType="1"/>
              <a:stCxn id="20" idx="2"/>
              <a:endCxn id="20" idx="4"/>
            </p:cNvCxnSpPr>
            <p:nvPr/>
          </p:nvCxnSpPr>
          <p:spPr bwMode="gray">
            <a:xfrm>
              <a:off x="8267440" y="285750"/>
              <a:ext cx="0" cy="150811"/>
            </a:xfrm>
            <a:prstGeom prst="straightConnector1">
              <a:avLst/>
            </a:prstGeom>
            <a:noFill/>
            <a:ln w="9525">
              <a:solidFill>
                <a:schemeClr val="accent6"/>
              </a:solidFill>
              <a:round/>
              <a:headEnd/>
              <a:tailEnd/>
            </a:ln>
            <a:extLst>
              <a:ext uri="{909E8E84-426E-40DD-AFC4-6F175D3DCCD1}">
                <a14:hiddenFill xmlns:a14="http://schemas.microsoft.com/office/drawing/2010/main">
                  <a:noFill/>
                </a14:hiddenFill>
              </a:ext>
            </a:extLst>
          </p:spPr>
        </p:cxnSp>
        <p:cxnSp>
          <p:nvCxnSpPr>
            <p:cNvPr id="22" name="AutoShape 32"/>
            <p:cNvCxnSpPr>
              <a:cxnSpLocks noChangeShapeType="1"/>
              <a:stCxn id="20" idx="4"/>
              <a:endCxn id="20" idx="6"/>
            </p:cNvCxnSpPr>
            <p:nvPr/>
          </p:nvCxnSpPr>
          <p:spPr bwMode="gray">
            <a:xfrm>
              <a:off x="8267440" y="436561"/>
              <a:ext cx="473335" cy="0"/>
            </a:xfrm>
            <a:prstGeom prst="straightConnector1">
              <a:avLst/>
            </a:prstGeom>
            <a:noFill/>
            <a:ln w="25400">
              <a:solidFill>
                <a:schemeClr val="accent6"/>
              </a:solidFill>
              <a:round/>
              <a:headEnd/>
              <a:tailEnd/>
            </a:ln>
            <a:extLst>
              <a:ext uri="{909E8E84-426E-40DD-AFC4-6F175D3DCCD1}">
                <a14:hiddenFill xmlns:a14="http://schemas.microsoft.com/office/drawing/2010/main">
                  <a:noFill/>
                </a14:hiddenFill>
              </a:ext>
            </a:extLst>
          </p:spPr>
        </p:cxnSp>
      </p:grpSp>
      <p:sp>
        <p:nvSpPr>
          <p:cNvPr id="23" name="SlideBottomBar" hidden="1"/>
          <p:cNvSpPr/>
          <p:nvPr/>
        </p:nvSpPr>
        <p:spPr>
          <a:xfrm>
            <a:off x="8437547" y="6182120"/>
            <a:ext cx="45719" cy="123825"/>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aseline="0" dirty="0">
              <a:solidFill>
                <a:schemeClr val="tx1"/>
              </a:solidFill>
              <a:latin typeface="+mn-lt"/>
              <a:ea typeface="+mn-ea"/>
            </a:endParaRPr>
          </a:p>
        </p:txBody>
      </p:sp>
      <p:sp>
        <p:nvSpPr>
          <p:cNvPr id="24" name="doc id" hidden="1"/>
          <p:cNvSpPr txBox="1">
            <a:spLocks noChangeArrowheads="1"/>
          </p:cNvSpPr>
          <p:nvPr/>
        </p:nvSpPr>
        <p:spPr bwMode="white">
          <a:xfrm>
            <a:off x="8104473" y="36513"/>
            <a:ext cx="634716" cy="115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hangingPunct="1">
              <a:defRPr/>
            </a:pPr>
            <a:endParaRPr lang="en-US" sz="800" baseline="0" dirty="0">
              <a:solidFill>
                <a:schemeClr val="accent1"/>
              </a:solidFill>
              <a:latin typeface="+mn-lt"/>
              <a:ea typeface="+mn-ea"/>
            </a:endParaRPr>
          </a:p>
        </p:txBody>
      </p:sp>
      <p:grpSp>
        <p:nvGrpSpPr>
          <p:cNvPr id="63" name="LegendLines" hidden="1"/>
          <p:cNvGrpSpPr/>
          <p:nvPr/>
        </p:nvGrpSpPr>
        <p:grpSpPr>
          <a:xfrm>
            <a:off x="7551589" y="267815"/>
            <a:ext cx="1158292" cy="761545"/>
            <a:chOff x="7607284" y="279400"/>
            <a:chExt cx="1158292" cy="761545"/>
          </a:xfrm>
        </p:grpSpPr>
        <p:sp>
          <p:nvSpPr>
            <p:cNvPr id="64" name="LineLegend1"/>
            <p:cNvSpPr>
              <a:spLocks noChangeShapeType="1"/>
            </p:cNvSpPr>
            <p:nvPr/>
          </p:nvSpPr>
          <p:spPr bwMode="gray">
            <a:xfrm>
              <a:off x="7607284" y="387122"/>
              <a:ext cx="457200"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65" name="LineLegend2"/>
            <p:cNvSpPr>
              <a:spLocks noChangeShapeType="1"/>
            </p:cNvSpPr>
            <p:nvPr/>
          </p:nvSpPr>
          <p:spPr bwMode="gray">
            <a:xfrm>
              <a:off x="7607284" y="653822"/>
              <a:ext cx="457200"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66" name="LineLegend3"/>
            <p:cNvSpPr>
              <a:spLocks noChangeShapeType="1"/>
            </p:cNvSpPr>
            <p:nvPr/>
          </p:nvSpPr>
          <p:spPr bwMode="gray">
            <a:xfrm>
              <a:off x="7607284" y="933223"/>
              <a:ext cx="457200"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67" name="Legend1"/>
            <p:cNvSpPr>
              <a:spLocks noChangeArrowheads="1"/>
            </p:cNvSpPr>
            <p:nvPr>
              <p:custDataLst>
                <p:tags r:id="rId33"/>
              </p:custDataLst>
            </p:nvPr>
          </p:nvSpPr>
          <p:spPr bwMode="gray">
            <a:xfrm>
              <a:off x="8169259" y="279400"/>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sp>
          <p:nvSpPr>
            <p:cNvPr id="68" name="Legend2"/>
            <p:cNvSpPr>
              <a:spLocks noChangeArrowheads="1"/>
            </p:cNvSpPr>
            <p:nvPr>
              <p:custDataLst>
                <p:tags r:id="rId34"/>
              </p:custDataLst>
            </p:nvPr>
          </p:nvSpPr>
          <p:spPr bwMode="gray">
            <a:xfrm>
              <a:off x="8169259" y="546100"/>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a:latin typeface="+mn-lt"/>
                  <a:ea typeface="+mn-ea"/>
                </a:rPr>
                <a:t>Legend</a:t>
              </a:r>
              <a:endParaRPr lang="en-US" sz="1400" baseline="0" dirty="0">
                <a:latin typeface="+mn-lt"/>
                <a:ea typeface="+mn-ea"/>
              </a:endParaRPr>
            </a:p>
          </p:txBody>
        </p:sp>
        <p:sp>
          <p:nvSpPr>
            <p:cNvPr id="69" name="Legend3"/>
            <p:cNvSpPr>
              <a:spLocks noChangeArrowheads="1"/>
            </p:cNvSpPr>
            <p:nvPr>
              <p:custDataLst>
                <p:tags r:id="rId35"/>
              </p:custDataLst>
            </p:nvPr>
          </p:nvSpPr>
          <p:spPr bwMode="gray">
            <a:xfrm>
              <a:off x="8169259" y="825501"/>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grpSp>
      <p:grpSp>
        <p:nvGrpSpPr>
          <p:cNvPr id="70" name="LegendBoxes" hidden="1"/>
          <p:cNvGrpSpPr/>
          <p:nvPr/>
        </p:nvGrpSpPr>
        <p:grpSpPr>
          <a:xfrm>
            <a:off x="7859564" y="267919"/>
            <a:ext cx="850317" cy="1028245"/>
            <a:chOff x="5894005" y="919828"/>
            <a:chExt cx="850317" cy="1028245"/>
          </a:xfrm>
        </p:grpSpPr>
        <p:sp>
          <p:nvSpPr>
            <p:cNvPr id="71" name="RectangleLegend1"/>
            <p:cNvSpPr>
              <a:spLocks noChangeArrowheads="1"/>
            </p:cNvSpPr>
            <p:nvPr/>
          </p:nvSpPr>
          <p:spPr bwMode="gray">
            <a:xfrm>
              <a:off x="5894005" y="947381"/>
              <a:ext cx="165100" cy="160338"/>
            </a:xfrm>
            <a:prstGeom prst="rect">
              <a:avLst/>
            </a:prstGeom>
            <a:solidFill>
              <a:schemeClr val="accent1"/>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72" name="RectangleLegend2"/>
            <p:cNvSpPr>
              <a:spLocks noChangeArrowheads="1"/>
            </p:cNvSpPr>
            <p:nvPr/>
          </p:nvSpPr>
          <p:spPr bwMode="gray">
            <a:xfrm>
              <a:off x="5894005" y="1217256"/>
              <a:ext cx="165100" cy="160338"/>
            </a:xfrm>
            <a:prstGeom prst="rect">
              <a:avLst/>
            </a:prstGeom>
            <a:solidFill>
              <a:schemeClr val="accent2"/>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73" name="RectangleLegend3"/>
            <p:cNvSpPr>
              <a:spLocks noChangeArrowheads="1"/>
            </p:cNvSpPr>
            <p:nvPr/>
          </p:nvSpPr>
          <p:spPr bwMode="gray">
            <a:xfrm>
              <a:off x="5894005" y="1488719"/>
              <a:ext cx="165100" cy="160338"/>
            </a:xfrm>
            <a:prstGeom prst="rect">
              <a:avLst/>
            </a:prstGeom>
            <a:solidFill>
              <a:schemeClr val="accent3"/>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74" name="RectangleLegend4"/>
            <p:cNvSpPr>
              <a:spLocks noChangeArrowheads="1"/>
            </p:cNvSpPr>
            <p:nvPr/>
          </p:nvSpPr>
          <p:spPr bwMode="gray">
            <a:xfrm>
              <a:off x="5894005" y="1760182"/>
              <a:ext cx="165100" cy="160338"/>
            </a:xfrm>
            <a:prstGeom prst="rect">
              <a:avLst/>
            </a:prstGeom>
            <a:solidFill>
              <a:schemeClr val="accent4"/>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75" name="Legend1"/>
            <p:cNvSpPr>
              <a:spLocks noChangeArrowheads="1"/>
            </p:cNvSpPr>
            <p:nvPr>
              <p:custDataLst>
                <p:tags r:id="rId29"/>
              </p:custDataLst>
            </p:nvPr>
          </p:nvSpPr>
          <p:spPr bwMode="gray">
            <a:xfrm>
              <a:off x="6148005" y="919828"/>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sp>
          <p:nvSpPr>
            <p:cNvPr id="76" name="Legend2"/>
            <p:cNvSpPr>
              <a:spLocks noChangeArrowheads="1"/>
            </p:cNvSpPr>
            <p:nvPr>
              <p:custDataLst>
                <p:tags r:id="rId30"/>
              </p:custDataLst>
            </p:nvPr>
          </p:nvSpPr>
          <p:spPr bwMode="gray">
            <a:xfrm>
              <a:off x="6148005" y="1189703"/>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sp>
          <p:nvSpPr>
            <p:cNvPr id="77" name="Legend3"/>
            <p:cNvSpPr>
              <a:spLocks noChangeArrowheads="1"/>
            </p:cNvSpPr>
            <p:nvPr>
              <p:custDataLst>
                <p:tags r:id="rId31"/>
              </p:custDataLst>
            </p:nvPr>
          </p:nvSpPr>
          <p:spPr bwMode="gray">
            <a:xfrm>
              <a:off x="6148005" y="1461166"/>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sp>
          <p:nvSpPr>
            <p:cNvPr id="78" name="Legend4"/>
            <p:cNvSpPr>
              <a:spLocks noChangeArrowheads="1"/>
            </p:cNvSpPr>
            <p:nvPr>
              <p:custDataLst>
                <p:tags r:id="rId32"/>
              </p:custDataLst>
            </p:nvPr>
          </p:nvSpPr>
          <p:spPr bwMode="gray">
            <a:xfrm>
              <a:off x="6148005" y="1732629"/>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grpSp>
      <p:grpSp>
        <p:nvGrpSpPr>
          <p:cNvPr id="79" name="LegendMoons" hidden="1"/>
          <p:cNvGrpSpPr/>
          <p:nvPr/>
        </p:nvGrpSpPr>
        <p:grpSpPr>
          <a:xfrm>
            <a:off x="7792889" y="267414"/>
            <a:ext cx="916992" cy="1317003"/>
            <a:chOff x="5894005" y="2695123"/>
            <a:chExt cx="916992" cy="1317003"/>
          </a:xfrm>
        </p:grpSpPr>
        <p:grpSp>
          <p:nvGrpSpPr>
            <p:cNvPr id="80" name="MoonLegend1"/>
            <p:cNvGrpSpPr>
              <a:grpSpLocks noChangeAspect="1"/>
            </p:cNvGrpSpPr>
            <p:nvPr>
              <p:custDataLst>
                <p:tags r:id="rId9"/>
              </p:custDataLst>
            </p:nvPr>
          </p:nvGrpSpPr>
          <p:grpSpPr bwMode="gray">
            <a:xfrm>
              <a:off x="5894005" y="2695123"/>
              <a:ext cx="209550" cy="218282"/>
              <a:chOff x="4533" y="183"/>
              <a:chExt cx="144" cy="150"/>
            </a:xfrm>
          </p:grpSpPr>
          <p:sp>
            <p:nvSpPr>
              <p:cNvPr id="98" name="Oval 97"/>
              <p:cNvSpPr>
                <a:spLocks noChangeAspect="1" noChangeArrowheads="1"/>
              </p:cNvSpPr>
              <p:nvPr>
                <p:custDataLst>
                  <p:tags r:id="rId27"/>
                </p:custDataLst>
              </p:nvPr>
            </p:nvSpPr>
            <p:spPr bwMode="gray">
              <a:xfrm>
                <a:off x="4533" y="189"/>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99" name="Arc 98" hidden="1"/>
              <p:cNvSpPr>
                <a:spLocks noChangeAspect="1"/>
              </p:cNvSpPr>
              <p:nvPr>
                <p:custDataLst>
                  <p:tags r:id="rId28"/>
                </p:custDataLst>
              </p:nvPr>
            </p:nvSpPr>
            <p:spPr bwMode="gray">
              <a:xfrm>
                <a:off x="4533" y="183"/>
                <a:ext cx="144" cy="144"/>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grpSp>
        <p:grpSp>
          <p:nvGrpSpPr>
            <p:cNvPr id="81" name="MoonLegend2"/>
            <p:cNvGrpSpPr>
              <a:grpSpLocks noChangeAspect="1"/>
            </p:cNvGrpSpPr>
            <p:nvPr>
              <p:custDataLst>
                <p:tags r:id="rId10"/>
              </p:custDataLst>
            </p:nvPr>
          </p:nvGrpSpPr>
          <p:grpSpPr bwMode="gray">
            <a:xfrm>
              <a:off x="5894005" y="2977103"/>
              <a:ext cx="209550" cy="209551"/>
              <a:chOff x="1694" y="2051"/>
              <a:chExt cx="160" cy="160"/>
            </a:xfrm>
          </p:grpSpPr>
          <p:sp>
            <p:nvSpPr>
              <p:cNvPr id="96" name="Oval 41"/>
              <p:cNvSpPr>
                <a:spLocks noChangeAspect="1" noChangeArrowheads="1"/>
              </p:cNvSpPr>
              <p:nvPr>
                <p:custDataLst>
                  <p:tags r:id="rId25"/>
                </p:custDataLst>
              </p:nvPr>
            </p:nvSpPr>
            <p:spPr bwMode="gray">
              <a:xfrm>
                <a:off x="1694" y="2051"/>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97" name="Arc 42"/>
              <p:cNvSpPr>
                <a:spLocks noChangeAspect="1"/>
              </p:cNvSpPr>
              <p:nvPr>
                <p:custDataLst>
                  <p:tags r:id="rId26"/>
                </p:custDataLst>
              </p:nvPr>
            </p:nvSpPr>
            <p:spPr bwMode="gray">
              <a:xfrm>
                <a:off x="1694" y="2051"/>
                <a:ext cx="160" cy="160"/>
              </a:xfrm>
              <a:prstGeom prst="arc">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grpSp>
        <p:grpSp>
          <p:nvGrpSpPr>
            <p:cNvPr id="82" name="MoonLegend4"/>
            <p:cNvGrpSpPr>
              <a:grpSpLocks noChangeAspect="1"/>
            </p:cNvGrpSpPr>
            <p:nvPr>
              <p:custDataLst>
                <p:tags r:id="rId11"/>
              </p:custDataLst>
            </p:nvPr>
          </p:nvGrpSpPr>
          <p:grpSpPr bwMode="gray">
            <a:xfrm>
              <a:off x="5894005" y="3524395"/>
              <a:ext cx="209550" cy="209551"/>
              <a:chOff x="4495" y="1204"/>
              <a:chExt cx="160" cy="160"/>
            </a:xfrm>
          </p:grpSpPr>
          <p:sp>
            <p:nvSpPr>
              <p:cNvPr id="94" name="Oval 47"/>
              <p:cNvSpPr>
                <a:spLocks noChangeAspect="1" noChangeArrowheads="1"/>
              </p:cNvSpPr>
              <p:nvPr>
                <p:custDataLst>
                  <p:tags r:id="rId23"/>
                </p:custDataLst>
              </p:nvPr>
            </p:nvSpPr>
            <p:spPr bwMode="gray">
              <a:xfrm>
                <a:off x="4495" y="120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95" name="Arc 48"/>
              <p:cNvSpPr>
                <a:spLocks noChangeAspect="1"/>
              </p:cNvSpPr>
              <p:nvPr>
                <p:custDataLst>
                  <p:tags r:id="rId24"/>
                </p:custDataLst>
              </p:nvPr>
            </p:nvSpPr>
            <p:spPr bwMode="gray">
              <a:xfrm>
                <a:off x="4495" y="1204"/>
                <a:ext cx="160" cy="160"/>
              </a:xfrm>
              <a:prstGeom prst="arc">
                <a:avLst>
                  <a:gd name="adj1" fmla="val 16200000"/>
                  <a:gd name="adj2" fmla="val 108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grpSp>
        <p:grpSp>
          <p:nvGrpSpPr>
            <p:cNvPr id="83" name="MoonLegend5"/>
            <p:cNvGrpSpPr>
              <a:grpSpLocks noChangeAspect="1"/>
            </p:cNvGrpSpPr>
            <p:nvPr>
              <p:custDataLst>
                <p:tags r:id="rId12"/>
              </p:custDataLst>
            </p:nvPr>
          </p:nvGrpSpPr>
          <p:grpSpPr bwMode="gray">
            <a:xfrm>
              <a:off x="5894005" y="3799629"/>
              <a:ext cx="209550" cy="209551"/>
              <a:chOff x="4495" y="1447"/>
              <a:chExt cx="160" cy="160"/>
            </a:xfrm>
          </p:grpSpPr>
          <p:sp>
            <p:nvSpPr>
              <p:cNvPr id="92" name="Oval 50"/>
              <p:cNvSpPr>
                <a:spLocks noChangeAspect="1" noChangeArrowheads="1"/>
              </p:cNvSpPr>
              <p:nvPr>
                <p:custDataLst>
                  <p:tags r:id="rId21"/>
                </p:custDataLst>
              </p:nvPr>
            </p:nvSpPr>
            <p:spPr bwMode="gray">
              <a:xfrm>
                <a:off x="4495" y="1447"/>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93" name="Oval 51"/>
              <p:cNvSpPr>
                <a:spLocks noChangeAspect="1" noChangeArrowheads="1"/>
              </p:cNvSpPr>
              <p:nvPr>
                <p:custDataLst>
                  <p:tags r:id="rId22"/>
                </p:custDataLst>
              </p:nvPr>
            </p:nvSpPr>
            <p:spPr bwMode="gray">
              <a:xfrm>
                <a:off x="4495" y="1447"/>
                <a:ext cx="160" cy="160"/>
              </a:xfrm>
              <a:prstGeom prst="arc">
                <a:avLst>
                  <a:gd name="adj1" fmla="val 16200000"/>
                  <a:gd name="adj2" fmla="val 162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grpSp>
        <p:grpSp>
          <p:nvGrpSpPr>
            <p:cNvPr id="84" name="MoonLegend3"/>
            <p:cNvGrpSpPr>
              <a:grpSpLocks noChangeAspect="1"/>
            </p:cNvGrpSpPr>
            <p:nvPr>
              <p:custDataLst>
                <p:tags r:id="rId13"/>
              </p:custDataLst>
            </p:nvPr>
          </p:nvGrpSpPr>
          <p:grpSpPr bwMode="gray">
            <a:xfrm>
              <a:off x="5894005" y="3251543"/>
              <a:ext cx="209550" cy="209551"/>
              <a:chOff x="4495" y="1205"/>
              <a:chExt cx="160" cy="160"/>
            </a:xfrm>
          </p:grpSpPr>
          <p:sp>
            <p:nvSpPr>
              <p:cNvPr id="90" name="Oval 47"/>
              <p:cNvSpPr>
                <a:spLocks noChangeAspect="1" noChangeArrowheads="1"/>
              </p:cNvSpPr>
              <p:nvPr>
                <p:custDataLst>
                  <p:tags r:id="rId19"/>
                </p:custDataLst>
              </p:nvPr>
            </p:nvSpPr>
            <p:spPr bwMode="gray">
              <a:xfrm>
                <a:off x="4495" y="1205"/>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91" name="Arc 48"/>
              <p:cNvSpPr>
                <a:spLocks noChangeAspect="1"/>
              </p:cNvSpPr>
              <p:nvPr>
                <p:custDataLst>
                  <p:tags r:id="rId20"/>
                </p:custDataLst>
              </p:nvPr>
            </p:nvSpPr>
            <p:spPr bwMode="gray">
              <a:xfrm>
                <a:off x="4495" y="1205"/>
                <a:ext cx="160" cy="160"/>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grpSp>
        <p:sp>
          <p:nvSpPr>
            <p:cNvPr id="85" name="Legend1"/>
            <p:cNvSpPr>
              <a:spLocks noChangeArrowheads="1"/>
            </p:cNvSpPr>
            <p:nvPr>
              <p:custDataLst>
                <p:tags r:id="rId14"/>
              </p:custDataLst>
            </p:nvPr>
          </p:nvSpPr>
          <p:spPr bwMode="gray">
            <a:xfrm>
              <a:off x="6214680" y="2696542"/>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sp>
          <p:nvSpPr>
            <p:cNvPr id="86" name="Legend2"/>
            <p:cNvSpPr>
              <a:spLocks noChangeArrowheads="1"/>
            </p:cNvSpPr>
            <p:nvPr>
              <p:custDataLst>
                <p:tags r:id="rId15"/>
              </p:custDataLst>
            </p:nvPr>
          </p:nvSpPr>
          <p:spPr bwMode="gray">
            <a:xfrm>
              <a:off x="6214680" y="2974156"/>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a:latin typeface="+mn-lt"/>
                  <a:ea typeface="+mn-ea"/>
                </a:rPr>
                <a:t>Legend</a:t>
              </a:r>
              <a:endParaRPr lang="en-US" sz="1400" baseline="0" dirty="0">
                <a:latin typeface="+mn-lt"/>
                <a:ea typeface="+mn-ea"/>
              </a:endParaRPr>
            </a:p>
          </p:txBody>
        </p:sp>
        <p:sp>
          <p:nvSpPr>
            <p:cNvPr id="87" name="Legend3"/>
            <p:cNvSpPr>
              <a:spLocks noChangeArrowheads="1"/>
            </p:cNvSpPr>
            <p:nvPr>
              <p:custDataLst>
                <p:tags r:id="rId16"/>
              </p:custDataLst>
            </p:nvPr>
          </p:nvSpPr>
          <p:spPr bwMode="gray">
            <a:xfrm>
              <a:off x="6214680" y="3248596"/>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sp>
          <p:nvSpPr>
            <p:cNvPr id="88" name="Legend4"/>
            <p:cNvSpPr>
              <a:spLocks noChangeArrowheads="1"/>
            </p:cNvSpPr>
            <p:nvPr>
              <p:custDataLst>
                <p:tags r:id="rId17"/>
              </p:custDataLst>
            </p:nvPr>
          </p:nvSpPr>
          <p:spPr bwMode="gray">
            <a:xfrm>
              <a:off x="6214680" y="3521448"/>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sp>
          <p:nvSpPr>
            <p:cNvPr id="89" name="Legend5"/>
            <p:cNvSpPr>
              <a:spLocks noChangeArrowheads="1"/>
            </p:cNvSpPr>
            <p:nvPr>
              <p:custDataLst>
                <p:tags r:id="rId18"/>
              </p:custDataLst>
            </p:nvPr>
          </p:nvSpPr>
          <p:spPr bwMode="gray">
            <a:xfrm>
              <a:off x="6214680" y="3796682"/>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a:latin typeface="+mn-lt"/>
                  <a:ea typeface="+mn-ea"/>
                </a:rPr>
                <a:t>Legend</a:t>
              </a:r>
              <a:endParaRPr lang="en-US" sz="1400" baseline="0" dirty="0">
                <a:latin typeface="+mn-lt"/>
                <a:ea typeface="+mn-ea"/>
              </a:endParaRPr>
            </a:p>
          </p:txBody>
        </p:sp>
      </p:grpSp>
    </p:spTree>
    <p:extLst>
      <p:ext uri="{BB962C8B-B14F-4D97-AF65-F5344CB8AC3E}">
        <p14:creationId xmlns:p14="http://schemas.microsoft.com/office/powerpoint/2010/main" val="1292817739"/>
      </p:ext>
    </p:extLst>
  </p:cSld>
  <p:clrMap bg1="lt1" tx1="dk1" bg2="lt2" tx2="dk2" accent1="accent1" accent2="accent2" accent3="accent3" accent4="accent4" accent5="accent5" accent6="accent6" hlink="hlink" folHlink="folHlink"/>
  <p:sldLayoutIdLst>
    <p:sldLayoutId id="2147483906" r:id="rId1"/>
    <p:sldLayoutId id="2147483907" r:id="rId2"/>
    <p:sldLayoutId id="2147483908" r:id="rId3"/>
    <p:sldLayoutId id="2147483909" r:id="rId4"/>
  </p:sldLayoutIdLst>
  <p:txStyles>
    <p:titleStyle>
      <a:lvl1pPr algn="l" defTabSz="895350" rtl="0" eaLnBrk="1" fontAlgn="base" hangingPunct="1">
        <a:spcBef>
          <a:spcPct val="0"/>
        </a:spcBef>
        <a:spcAft>
          <a:spcPct val="0"/>
        </a:spcAft>
        <a:tabLst>
          <a:tab pos="269875" algn="l"/>
        </a:tabLst>
        <a:defRPr sz="2000" b="0" baseline="0">
          <a:solidFill>
            <a:schemeClr val="tx2"/>
          </a:solidFill>
          <a:latin typeface="+mj-lt"/>
          <a:ea typeface="+mj-ea"/>
          <a:cs typeface="+mj-cs"/>
        </a:defRPr>
      </a:lvl1pPr>
      <a:lvl2pPr algn="l" defTabSz="895350" rtl="0" eaLnBrk="1" fontAlgn="base" hangingPunct="1">
        <a:spcBef>
          <a:spcPct val="0"/>
        </a:spcBef>
        <a:spcAft>
          <a:spcPct val="0"/>
        </a:spcAft>
        <a:defRPr sz="1900" b="1">
          <a:solidFill>
            <a:schemeClr val="tx2"/>
          </a:solidFill>
          <a:latin typeface="Arial" charset="0"/>
        </a:defRPr>
      </a:lvl2pPr>
      <a:lvl3pPr algn="l" defTabSz="895350" rtl="0" eaLnBrk="1" fontAlgn="base" hangingPunct="1">
        <a:spcBef>
          <a:spcPct val="0"/>
        </a:spcBef>
        <a:spcAft>
          <a:spcPct val="0"/>
        </a:spcAft>
        <a:defRPr sz="1900" b="1">
          <a:solidFill>
            <a:schemeClr val="tx2"/>
          </a:solidFill>
          <a:latin typeface="Arial" charset="0"/>
        </a:defRPr>
      </a:lvl3pPr>
      <a:lvl4pPr algn="l" defTabSz="895350" rtl="0" eaLnBrk="1" fontAlgn="base" hangingPunct="1">
        <a:spcBef>
          <a:spcPct val="0"/>
        </a:spcBef>
        <a:spcAft>
          <a:spcPct val="0"/>
        </a:spcAft>
        <a:defRPr sz="1900" b="1">
          <a:solidFill>
            <a:schemeClr val="tx2"/>
          </a:solidFill>
          <a:latin typeface="Arial" charset="0"/>
        </a:defRPr>
      </a:lvl4pPr>
      <a:lvl5pPr algn="l" defTabSz="895350" rtl="0" eaLnBrk="1" fontAlgn="base" hangingPunct="1">
        <a:spcBef>
          <a:spcPct val="0"/>
        </a:spcBef>
        <a:spcAft>
          <a:spcPct val="0"/>
        </a:spcAft>
        <a:defRPr sz="1900" b="1">
          <a:solidFill>
            <a:schemeClr val="tx2"/>
          </a:solidFill>
          <a:latin typeface="Arial" charset="0"/>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p:titleStyle>
    <p:bodyStyle>
      <a:lvl1pPr marL="0" indent="0" algn="l" defTabSz="895350" rtl="0" eaLnBrk="1" fontAlgn="base" hangingPunct="1">
        <a:spcBef>
          <a:spcPct val="0"/>
        </a:spcBef>
        <a:spcAft>
          <a:spcPct val="0"/>
        </a:spcAft>
        <a:buClr>
          <a:schemeClr val="tx2"/>
        </a:buClr>
        <a:buSzPct val="100000"/>
        <a:defRPr sz="14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4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4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4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4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ext>
  </p:extLst>
</p:sldMaster>
</file>

<file path=ppt/slideMasters/slideMaster4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7"/>
            </p:custDataLst>
            <p:extLst>
              <p:ext uri="{D42A27DB-BD31-4B8C-83A1-F6EECF244321}">
                <p14:modId xmlns:p14="http://schemas.microsoft.com/office/powerpoint/2010/main" val="354341985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45780" name="think-cell Slide" r:id="rId36" imgW="270" imgH="270" progId="TCLayout.ActiveDocument.1">
                  <p:embed/>
                </p:oleObj>
              </mc:Choice>
              <mc:Fallback>
                <p:oleObj name="think-cell Slide" r:id="rId36" imgW="270" imgH="270" progId="TCLayout.ActiveDocument.1">
                  <p:embed/>
                  <p:pic>
                    <p:nvPicPr>
                      <p:cNvPr id="2" name="Object 1" hidden="1"/>
                      <p:cNvPicPr/>
                      <p:nvPr/>
                    </p:nvPicPr>
                    <p:blipFill>
                      <a:blip r:embed="rId37"/>
                      <a:stretch>
                        <a:fillRect/>
                      </a:stretch>
                    </p:blipFill>
                    <p:spPr>
                      <a:xfrm>
                        <a:off x="0" y="0"/>
                        <a:ext cx="158750" cy="158750"/>
                      </a:xfrm>
                      <a:prstGeom prst="rect">
                        <a:avLst/>
                      </a:prstGeom>
                    </p:spPr>
                  </p:pic>
                </p:oleObj>
              </mc:Fallback>
            </mc:AlternateContent>
          </a:graphicData>
        </a:graphic>
      </p:graphicFrame>
      <p:sp>
        <p:nvSpPr>
          <p:cNvPr id="6" name="Rectangle 5" hidden="1"/>
          <p:cNvSpPr/>
          <p:nvPr>
            <p:custDataLst>
              <p:tags r:id="rId8"/>
            </p:custDataLst>
          </p:nvPr>
        </p:nvSpPr>
        <p:spPr bwMode="auto">
          <a:xfrm>
            <a:off x="0" y="0"/>
            <a:ext cx="158750" cy="158750"/>
          </a:xfrm>
          <a:prstGeom prst="rect">
            <a:avLst/>
          </a:prstGeom>
          <a:solidFill>
            <a:schemeClr val="bg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dirty="0">
              <a:solidFill>
                <a:srgbClr val="000000"/>
              </a:solidFill>
              <a:sym typeface="Arial" panose="020B0604020202020204" pitchFamily="34" charset="0"/>
            </a:endParaRPr>
          </a:p>
        </p:txBody>
      </p:sp>
      <p:sp>
        <p:nvSpPr>
          <p:cNvPr id="1034" name="Working Draft" hidden="1"/>
          <p:cNvSpPr txBox="1">
            <a:spLocks noChangeArrowheads="1"/>
          </p:cNvSpPr>
          <p:nvPr/>
        </p:nvSpPr>
        <p:spPr bwMode="gray">
          <a:xfrm rot="5400000">
            <a:off x="7966656" y="1940591"/>
            <a:ext cx="1849865"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600" baseline="0">
                <a:solidFill>
                  <a:srgbClr val="808080"/>
                </a:solidFill>
                <a:latin typeface="+mn-lt"/>
                <a:ea typeface="+mn-ea"/>
              </a:rPr>
              <a:t>Last Modified 21/05/2018 17:44 India Standard Time</a:t>
            </a:r>
            <a:endParaRPr lang="en-US" baseline="0" dirty="0">
              <a:solidFill>
                <a:srgbClr val="808080"/>
              </a:solidFill>
              <a:latin typeface="+mn-lt"/>
              <a:ea typeface="+mn-ea"/>
            </a:endParaRPr>
          </a:p>
        </p:txBody>
      </p:sp>
      <p:sp>
        <p:nvSpPr>
          <p:cNvPr id="1035" name="Printed" hidden="1"/>
          <p:cNvSpPr txBox="1">
            <a:spLocks noChangeArrowheads="1"/>
          </p:cNvSpPr>
          <p:nvPr/>
        </p:nvSpPr>
        <p:spPr bwMode="gray">
          <a:xfrm rot="5400000">
            <a:off x="8768958" y="4114417"/>
            <a:ext cx="245260"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600" baseline="0" dirty="0">
                <a:solidFill>
                  <a:srgbClr val="808080"/>
                </a:solidFill>
                <a:latin typeface="+mn-lt"/>
                <a:ea typeface="+mn-ea"/>
              </a:rPr>
              <a:t>Printed</a:t>
            </a:r>
            <a:endParaRPr lang="en-US" baseline="0" dirty="0">
              <a:solidFill>
                <a:srgbClr val="808080"/>
              </a:solidFill>
              <a:latin typeface="+mn-lt"/>
              <a:ea typeface="+mn-ea"/>
            </a:endParaRPr>
          </a:p>
        </p:txBody>
      </p:sp>
      <p:sp>
        <p:nvSpPr>
          <p:cNvPr id="19" name="Title Placeholder 2"/>
          <p:cNvSpPr>
            <a:spLocks noGrp="1" noChangeArrowheads="1"/>
          </p:cNvSpPr>
          <p:nvPr>
            <p:ph type="title"/>
          </p:nvPr>
        </p:nvSpPr>
        <p:spPr bwMode="gray">
          <a:xfrm>
            <a:off x="119063" y="230188"/>
            <a:ext cx="8618537"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latinLnBrk="0"/>
            <a:r>
              <a:rPr lang="en-US"/>
              <a:t>Click to edit Master title style</a:t>
            </a:r>
            <a:endParaRPr lang="en-US" noProof="0" dirty="0"/>
          </a:p>
        </p:txBody>
      </p:sp>
      <p:sp>
        <p:nvSpPr>
          <p:cNvPr id="10" name="1. On-page tracker" hidden="1"/>
          <p:cNvSpPr>
            <a:spLocks noChangeArrowheads="1"/>
          </p:cNvSpPr>
          <p:nvPr/>
        </p:nvSpPr>
        <p:spPr bwMode="gray">
          <a:xfrm>
            <a:off x="119063" y="75764"/>
            <a:ext cx="490519"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800" cap="all" baseline="0" dirty="0">
                <a:solidFill>
                  <a:schemeClr val="accent6"/>
                </a:solidFill>
                <a:latin typeface="+mn-lt"/>
                <a:ea typeface="+mn-ea"/>
              </a:rPr>
              <a:t>Tracker</a:t>
            </a:r>
          </a:p>
        </p:txBody>
      </p:sp>
      <p:sp>
        <p:nvSpPr>
          <p:cNvPr id="11" name="3. Unit of measure" hidden="1"/>
          <p:cNvSpPr txBox="1">
            <a:spLocks noChangeArrowheads="1"/>
          </p:cNvSpPr>
          <p:nvPr/>
        </p:nvSpPr>
        <p:spPr bwMode="gray">
          <a:xfrm>
            <a:off x="119063" y="554865"/>
            <a:ext cx="8618537"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600" baseline="0" dirty="0">
                <a:solidFill>
                  <a:schemeClr val="accent6"/>
                </a:solidFill>
                <a:latin typeface="+mn-lt"/>
                <a:ea typeface="+mn-ea"/>
              </a:rPr>
              <a:t>Unit of measure</a:t>
            </a:r>
          </a:p>
        </p:txBody>
      </p:sp>
      <p:grpSp>
        <p:nvGrpSpPr>
          <p:cNvPr id="4" name="Slide Elements" hidden="1"/>
          <p:cNvGrpSpPr/>
          <p:nvPr/>
        </p:nvGrpSpPr>
        <p:grpSpPr bwMode="gray">
          <a:xfrm>
            <a:off x="119063" y="6305945"/>
            <a:ext cx="8618537" cy="325438"/>
            <a:chOff x="119063" y="6305945"/>
            <a:chExt cx="8618537" cy="325438"/>
          </a:xfrm>
        </p:grpSpPr>
        <p:sp>
          <p:nvSpPr>
            <p:cNvPr id="13" name="4. Footnote"/>
            <p:cNvSpPr txBox="1">
              <a:spLocks noChangeArrowheads="1"/>
            </p:cNvSpPr>
            <p:nvPr/>
          </p:nvSpPr>
          <p:spPr bwMode="gray">
            <a:xfrm>
              <a:off x="119063" y="6305945"/>
              <a:ext cx="8618537" cy="123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800" baseline="0" dirty="0">
                  <a:solidFill>
                    <a:schemeClr val="accent6"/>
                  </a:solidFill>
                  <a:latin typeface="+mn-lt"/>
                  <a:ea typeface="+mn-ea"/>
                </a:rPr>
                <a:t>1 Footnote</a:t>
              </a:r>
            </a:p>
          </p:txBody>
        </p:sp>
        <p:sp>
          <p:nvSpPr>
            <p:cNvPr id="14" name="5. Source"/>
            <p:cNvSpPr>
              <a:spLocks noChangeArrowheads="1"/>
            </p:cNvSpPr>
            <p:nvPr/>
          </p:nvSpPr>
          <p:spPr bwMode="gray">
            <a:xfrm>
              <a:off x="119063" y="6507558"/>
              <a:ext cx="7200000" cy="123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marL="609600" indent="-609600" defTabSz="895350">
                <a:tabLst>
                  <a:tab pos="612775" algn="l"/>
                </a:tabLst>
              </a:pPr>
              <a:r>
                <a:rPr lang="en-US" sz="800" baseline="0" dirty="0">
                  <a:solidFill>
                    <a:schemeClr val="accent6"/>
                  </a:solidFill>
                  <a:latin typeface="+mn-lt"/>
                  <a:ea typeface="+mn-ea"/>
                </a:rPr>
                <a:t>SOURCE: Source</a:t>
              </a:r>
            </a:p>
          </p:txBody>
        </p:sp>
      </p:grpSp>
      <p:sp>
        <p:nvSpPr>
          <p:cNvPr id="3" name="Text Placeholder 2"/>
          <p:cNvSpPr>
            <a:spLocks noGrp="1"/>
          </p:cNvSpPr>
          <p:nvPr>
            <p:ph type="body" idx="1"/>
          </p:nvPr>
        </p:nvSpPr>
        <p:spPr bwMode="gray">
          <a:xfrm>
            <a:off x="1452564" y="1951380"/>
            <a:ext cx="4302125" cy="1077218"/>
          </a:xfrm>
          <a:prstGeom prst="rect">
            <a:avLst/>
          </a:prstGeom>
        </p:spPr>
        <p:txBody>
          <a:bodyPr vert="horz" lIns="0" tIns="0" rIns="0" bIns="0" rtlCol="0">
            <a:spAutoFit/>
          </a:bodyPr>
          <a:lstStyle/>
          <a:p>
            <a:pPr lvl="0" latinLnBrk="0"/>
            <a:r>
              <a:rPr lang="en-US"/>
              <a:t>Edit Master text styles</a:t>
            </a:r>
          </a:p>
          <a:p>
            <a:pPr lvl="1" latinLnBrk="0"/>
            <a:r>
              <a:rPr lang="en-US"/>
              <a:t>Second level</a:t>
            </a:r>
          </a:p>
          <a:p>
            <a:pPr lvl="2" latinLnBrk="0"/>
            <a:r>
              <a:rPr lang="en-US"/>
              <a:t>Third level</a:t>
            </a:r>
          </a:p>
          <a:p>
            <a:pPr lvl="3" latinLnBrk="0"/>
            <a:r>
              <a:rPr lang="en-US"/>
              <a:t>Fourth level</a:t>
            </a:r>
          </a:p>
          <a:p>
            <a:pPr lvl="4" latinLnBrk="0"/>
            <a:r>
              <a:rPr lang="en-US"/>
              <a:t>Fifth level</a:t>
            </a:r>
            <a:endParaRPr lang="en-US" dirty="0"/>
          </a:p>
        </p:txBody>
      </p:sp>
      <p:grpSp>
        <p:nvGrpSpPr>
          <p:cNvPr id="15" name="ACET" hidden="1"/>
          <p:cNvGrpSpPr>
            <a:grpSpLocks/>
          </p:cNvGrpSpPr>
          <p:nvPr/>
        </p:nvGrpSpPr>
        <p:grpSpPr bwMode="gray">
          <a:xfrm>
            <a:off x="1452563" y="1257754"/>
            <a:ext cx="4264025" cy="508000"/>
            <a:chOff x="915" y="710"/>
            <a:chExt cx="2686" cy="320"/>
          </a:xfrm>
        </p:grpSpPr>
        <p:cxnSp>
          <p:nvCxnSpPr>
            <p:cNvPr id="16" name="AutoShape 249"/>
            <p:cNvCxnSpPr>
              <a:cxnSpLocks noChangeShapeType="1"/>
              <a:stCxn id="18" idx="4"/>
              <a:endCxn id="18" idx="6"/>
            </p:cNvCxnSpPr>
            <p:nvPr/>
          </p:nvCxnSpPr>
          <p:spPr bwMode="gray">
            <a:xfrm>
              <a:off x="915" y="1030"/>
              <a:ext cx="2686" cy="0"/>
            </a:xfrm>
            <a:prstGeom prst="straightConnector1">
              <a:avLst/>
            </a:prstGeom>
            <a:noFill/>
            <a:ln w="9525">
              <a:solidFill>
                <a:schemeClr val="accent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8" name="AutoShape 250"/>
            <p:cNvSpPr>
              <a:spLocks noChangeArrowheads="1"/>
            </p:cNvSpPr>
            <p:nvPr/>
          </p:nvSpPr>
          <p:spPr bwMode="gray">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US" b="1" baseline="0" dirty="0">
                  <a:solidFill>
                    <a:srgbClr val="000000"/>
                  </a:solidFill>
                  <a:latin typeface="+mn-lt"/>
                  <a:ea typeface="+mn-ea"/>
                </a:rPr>
                <a:t>Title</a:t>
              </a:r>
            </a:p>
            <a:p>
              <a:r>
                <a:rPr lang="en-US" baseline="0" dirty="0">
                  <a:solidFill>
                    <a:schemeClr val="accent6"/>
                  </a:solidFill>
                  <a:latin typeface="+mn-lt"/>
                  <a:ea typeface="+mn-ea"/>
                </a:rPr>
                <a:t>Unit of measure</a:t>
              </a:r>
            </a:p>
          </p:txBody>
        </p:sp>
      </p:grpSp>
      <p:grpSp>
        <p:nvGrpSpPr>
          <p:cNvPr id="17" name="McKSticker" hidden="1"/>
          <p:cNvGrpSpPr/>
          <p:nvPr/>
        </p:nvGrpSpPr>
        <p:grpSpPr bwMode="gray">
          <a:xfrm>
            <a:off x="8264265" y="285750"/>
            <a:ext cx="473335" cy="150811"/>
            <a:chOff x="8267440" y="285750"/>
            <a:chExt cx="473335" cy="150811"/>
          </a:xfrm>
        </p:grpSpPr>
        <p:sp>
          <p:nvSpPr>
            <p:cNvPr id="20" name="StickerRectangle"/>
            <p:cNvSpPr>
              <a:spLocks noChangeArrowheads="1"/>
            </p:cNvSpPr>
            <p:nvPr/>
          </p:nvSpPr>
          <p:spPr bwMode="gray">
            <a:xfrm>
              <a:off x="8267440" y="285750"/>
              <a:ext cx="473335" cy="150811"/>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a:buClr>
                  <a:srgbClr val="002960"/>
                </a:buClr>
              </a:pPr>
              <a:r>
                <a:rPr lang="en-US" sz="800" baseline="0" dirty="0">
                  <a:solidFill>
                    <a:schemeClr val="accent6"/>
                  </a:solidFill>
                  <a:latin typeface="+mn-lt"/>
                  <a:ea typeface="+mn-ea"/>
                </a:rPr>
                <a:t>STICKER</a:t>
              </a:r>
            </a:p>
          </p:txBody>
        </p:sp>
        <p:cxnSp>
          <p:nvCxnSpPr>
            <p:cNvPr id="21" name="AutoShape 31"/>
            <p:cNvCxnSpPr>
              <a:cxnSpLocks noChangeShapeType="1"/>
              <a:stCxn id="20" idx="2"/>
              <a:endCxn id="20" idx="4"/>
            </p:cNvCxnSpPr>
            <p:nvPr/>
          </p:nvCxnSpPr>
          <p:spPr bwMode="gray">
            <a:xfrm>
              <a:off x="8267440" y="285750"/>
              <a:ext cx="0" cy="150811"/>
            </a:xfrm>
            <a:prstGeom prst="straightConnector1">
              <a:avLst/>
            </a:prstGeom>
            <a:noFill/>
            <a:ln w="9525">
              <a:solidFill>
                <a:schemeClr val="accent6"/>
              </a:solidFill>
              <a:round/>
              <a:headEnd/>
              <a:tailEnd/>
            </a:ln>
            <a:extLst>
              <a:ext uri="{909E8E84-426E-40DD-AFC4-6F175D3DCCD1}">
                <a14:hiddenFill xmlns:a14="http://schemas.microsoft.com/office/drawing/2010/main">
                  <a:noFill/>
                </a14:hiddenFill>
              </a:ext>
            </a:extLst>
          </p:spPr>
        </p:cxnSp>
        <p:cxnSp>
          <p:nvCxnSpPr>
            <p:cNvPr id="22" name="AutoShape 32"/>
            <p:cNvCxnSpPr>
              <a:cxnSpLocks noChangeShapeType="1"/>
              <a:stCxn id="20" idx="4"/>
              <a:endCxn id="20" idx="6"/>
            </p:cNvCxnSpPr>
            <p:nvPr/>
          </p:nvCxnSpPr>
          <p:spPr bwMode="gray">
            <a:xfrm>
              <a:off x="8267440" y="436561"/>
              <a:ext cx="473335" cy="0"/>
            </a:xfrm>
            <a:prstGeom prst="straightConnector1">
              <a:avLst/>
            </a:prstGeom>
            <a:noFill/>
            <a:ln w="25400">
              <a:solidFill>
                <a:schemeClr val="accent6"/>
              </a:solidFill>
              <a:round/>
              <a:headEnd/>
              <a:tailEnd/>
            </a:ln>
            <a:extLst>
              <a:ext uri="{909E8E84-426E-40DD-AFC4-6F175D3DCCD1}">
                <a14:hiddenFill xmlns:a14="http://schemas.microsoft.com/office/drawing/2010/main">
                  <a:noFill/>
                </a14:hiddenFill>
              </a:ext>
            </a:extLst>
          </p:spPr>
        </p:cxnSp>
      </p:grpSp>
      <p:sp>
        <p:nvSpPr>
          <p:cNvPr id="23" name="SlideBottomBar" hidden="1"/>
          <p:cNvSpPr/>
          <p:nvPr/>
        </p:nvSpPr>
        <p:spPr>
          <a:xfrm>
            <a:off x="8437547" y="6182120"/>
            <a:ext cx="45719" cy="123825"/>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aseline="0" dirty="0">
              <a:solidFill>
                <a:schemeClr val="tx1"/>
              </a:solidFill>
              <a:latin typeface="+mn-lt"/>
              <a:ea typeface="+mn-ea"/>
            </a:endParaRPr>
          </a:p>
        </p:txBody>
      </p:sp>
      <p:sp>
        <p:nvSpPr>
          <p:cNvPr id="24" name="doc id" hidden="1"/>
          <p:cNvSpPr txBox="1">
            <a:spLocks noChangeArrowheads="1"/>
          </p:cNvSpPr>
          <p:nvPr/>
        </p:nvSpPr>
        <p:spPr bwMode="white">
          <a:xfrm>
            <a:off x="8104473" y="36513"/>
            <a:ext cx="634716" cy="115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hangingPunct="1">
              <a:defRPr/>
            </a:pPr>
            <a:endParaRPr lang="en-US" sz="800" baseline="0" dirty="0">
              <a:solidFill>
                <a:schemeClr val="accent1"/>
              </a:solidFill>
              <a:latin typeface="+mn-lt"/>
              <a:ea typeface="+mn-ea"/>
            </a:endParaRPr>
          </a:p>
        </p:txBody>
      </p:sp>
      <p:grpSp>
        <p:nvGrpSpPr>
          <p:cNvPr id="63" name="LegendLines" hidden="1"/>
          <p:cNvGrpSpPr/>
          <p:nvPr/>
        </p:nvGrpSpPr>
        <p:grpSpPr>
          <a:xfrm>
            <a:off x="7551589" y="267815"/>
            <a:ext cx="1158292" cy="761545"/>
            <a:chOff x="7607284" y="279400"/>
            <a:chExt cx="1158292" cy="761545"/>
          </a:xfrm>
        </p:grpSpPr>
        <p:sp>
          <p:nvSpPr>
            <p:cNvPr id="64" name="LineLegend1"/>
            <p:cNvSpPr>
              <a:spLocks noChangeShapeType="1"/>
            </p:cNvSpPr>
            <p:nvPr/>
          </p:nvSpPr>
          <p:spPr bwMode="gray">
            <a:xfrm>
              <a:off x="7607284" y="387122"/>
              <a:ext cx="457200"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65" name="LineLegend2"/>
            <p:cNvSpPr>
              <a:spLocks noChangeShapeType="1"/>
            </p:cNvSpPr>
            <p:nvPr/>
          </p:nvSpPr>
          <p:spPr bwMode="gray">
            <a:xfrm>
              <a:off x="7607284" y="653822"/>
              <a:ext cx="457200"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66" name="LineLegend3"/>
            <p:cNvSpPr>
              <a:spLocks noChangeShapeType="1"/>
            </p:cNvSpPr>
            <p:nvPr/>
          </p:nvSpPr>
          <p:spPr bwMode="gray">
            <a:xfrm>
              <a:off x="7607284" y="933223"/>
              <a:ext cx="457200"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67" name="Legend1"/>
            <p:cNvSpPr>
              <a:spLocks noChangeArrowheads="1"/>
            </p:cNvSpPr>
            <p:nvPr>
              <p:custDataLst>
                <p:tags r:id="rId33"/>
              </p:custDataLst>
            </p:nvPr>
          </p:nvSpPr>
          <p:spPr bwMode="gray">
            <a:xfrm>
              <a:off x="8169259" y="279400"/>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sp>
          <p:nvSpPr>
            <p:cNvPr id="68" name="Legend2"/>
            <p:cNvSpPr>
              <a:spLocks noChangeArrowheads="1"/>
            </p:cNvSpPr>
            <p:nvPr>
              <p:custDataLst>
                <p:tags r:id="rId34"/>
              </p:custDataLst>
            </p:nvPr>
          </p:nvSpPr>
          <p:spPr bwMode="gray">
            <a:xfrm>
              <a:off x="8169259" y="546100"/>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a:latin typeface="+mn-lt"/>
                  <a:ea typeface="+mn-ea"/>
                </a:rPr>
                <a:t>Legend</a:t>
              </a:r>
              <a:endParaRPr lang="en-US" sz="1400" baseline="0" dirty="0">
                <a:latin typeface="+mn-lt"/>
                <a:ea typeface="+mn-ea"/>
              </a:endParaRPr>
            </a:p>
          </p:txBody>
        </p:sp>
        <p:sp>
          <p:nvSpPr>
            <p:cNvPr id="69" name="Legend3"/>
            <p:cNvSpPr>
              <a:spLocks noChangeArrowheads="1"/>
            </p:cNvSpPr>
            <p:nvPr>
              <p:custDataLst>
                <p:tags r:id="rId35"/>
              </p:custDataLst>
            </p:nvPr>
          </p:nvSpPr>
          <p:spPr bwMode="gray">
            <a:xfrm>
              <a:off x="8169259" y="825501"/>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grpSp>
      <p:grpSp>
        <p:nvGrpSpPr>
          <p:cNvPr id="70" name="LegendBoxes" hidden="1"/>
          <p:cNvGrpSpPr/>
          <p:nvPr/>
        </p:nvGrpSpPr>
        <p:grpSpPr>
          <a:xfrm>
            <a:off x="7859564" y="267919"/>
            <a:ext cx="850317" cy="1028245"/>
            <a:chOff x="5894005" y="919828"/>
            <a:chExt cx="850317" cy="1028245"/>
          </a:xfrm>
        </p:grpSpPr>
        <p:sp>
          <p:nvSpPr>
            <p:cNvPr id="71" name="RectangleLegend1"/>
            <p:cNvSpPr>
              <a:spLocks noChangeArrowheads="1"/>
            </p:cNvSpPr>
            <p:nvPr/>
          </p:nvSpPr>
          <p:spPr bwMode="gray">
            <a:xfrm>
              <a:off x="5894005" y="947381"/>
              <a:ext cx="165100" cy="160338"/>
            </a:xfrm>
            <a:prstGeom prst="rect">
              <a:avLst/>
            </a:prstGeom>
            <a:solidFill>
              <a:schemeClr val="accent1"/>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72" name="RectangleLegend2"/>
            <p:cNvSpPr>
              <a:spLocks noChangeArrowheads="1"/>
            </p:cNvSpPr>
            <p:nvPr/>
          </p:nvSpPr>
          <p:spPr bwMode="gray">
            <a:xfrm>
              <a:off x="5894005" y="1217256"/>
              <a:ext cx="165100" cy="160338"/>
            </a:xfrm>
            <a:prstGeom prst="rect">
              <a:avLst/>
            </a:prstGeom>
            <a:solidFill>
              <a:schemeClr val="accent2"/>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73" name="RectangleLegend3"/>
            <p:cNvSpPr>
              <a:spLocks noChangeArrowheads="1"/>
            </p:cNvSpPr>
            <p:nvPr/>
          </p:nvSpPr>
          <p:spPr bwMode="gray">
            <a:xfrm>
              <a:off x="5894005" y="1488719"/>
              <a:ext cx="165100" cy="160338"/>
            </a:xfrm>
            <a:prstGeom prst="rect">
              <a:avLst/>
            </a:prstGeom>
            <a:solidFill>
              <a:schemeClr val="accent3"/>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74" name="RectangleLegend4"/>
            <p:cNvSpPr>
              <a:spLocks noChangeArrowheads="1"/>
            </p:cNvSpPr>
            <p:nvPr/>
          </p:nvSpPr>
          <p:spPr bwMode="gray">
            <a:xfrm>
              <a:off x="5894005" y="1760182"/>
              <a:ext cx="165100" cy="160338"/>
            </a:xfrm>
            <a:prstGeom prst="rect">
              <a:avLst/>
            </a:prstGeom>
            <a:solidFill>
              <a:schemeClr val="accent4"/>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75" name="Legend1"/>
            <p:cNvSpPr>
              <a:spLocks noChangeArrowheads="1"/>
            </p:cNvSpPr>
            <p:nvPr>
              <p:custDataLst>
                <p:tags r:id="rId29"/>
              </p:custDataLst>
            </p:nvPr>
          </p:nvSpPr>
          <p:spPr bwMode="gray">
            <a:xfrm>
              <a:off x="6148005" y="919828"/>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sp>
          <p:nvSpPr>
            <p:cNvPr id="76" name="Legend2"/>
            <p:cNvSpPr>
              <a:spLocks noChangeArrowheads="1"/>
            </p:cNvSpPr>
            <p:nvPr>
              <p:custDataLst>
                <p:tags r:id="rId30"/>
              </p:custDataLst>
            </p:nvPr>
          </p:nvSpPr>
          <p:spPr bwMode="gray">
            <a:xfrm>
              <a:off x="6148005" y="1189703"/>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sp>
          <p:nvSpPr>
            <p:cNvPr id="77" name="Legend3"/>
            <p:cNvSpPr>
              <a:spLocks noChangeArrowheads="1"/>
            </p:cNvSpPr>
            <p:nvPr>
              <p:custDataLst>
                <p:tags r:id="rId31"/>
              </p:custDataLst>
            </p:nvPr>
          </p:nvSpPr>
          <p:spPr bwMode="gray">
            <a:xfrm>
              <a:off x="6148005" y="1461166"/>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sp>
          <p:nvSpPr>
            <p:cNvPr id="78" name="Legend4"/>
            <p:cNvSpPr>
              <a:spLocks noChangeArrowheads="1"/>
            </p:cNvSpPr>
            <p:nvPr>
              <p:custDataLst>
                <p:tags r:id="rId32"/>
              </p:custDataLst>
            </p:nvPr>
          </p:nvSpPr>
          <p:spPr bwMode="gray">
            <a:xfrm>
              <a:off x="6148005" y="1732629"/>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grpSp>
      <p:grpSp>
        <p:nvGrpSpPr>
          <p:cNvPr id="79" name="LegendMoons" hidden="1"/>
          <p:cNvGrpSpPr/>
          <p:nvPr/>
        </p:nvGrpSpPr>
        <p:grpSpPr>
          <a:xfrm>
            <a:off x="7792889" y="267414"/>
            <a:ext cx="916992" cy="1317003"/>
            <a:chOff x="5894005" y="2695123"/>
            <a:chExt cx="916992" cy="1317003"/>
          </a:xfrm>
        </p:grpSpPr>
        <p:grpSp>
          <p:nvGrpSpPr>
            <p:cNvPr id="80" name="MoonLegend1"/>
            <p:cNvGrpSpPr>
              <a:grpSpLocks noChangeAspect="1"/>
            </p:cNvGrpSpPr>
            <p:nvPr>
              <p:custDataLst>
                <p:tags r:id="rId9"/>
              </p:custDataLst>
            </p:nvPr>
          </p:nvGrpSpPr>
          <p:grpSpPr bwMode="gray">
            <a:xfrm>
              <a:off x="5894005" y="2695123"/>
              <a:ext cx="209550" cy="218282"/>
              <a:chOff x="4533" y="183"/>
              <a:chExt cx="144" cy="150"/>
            </a:xfrm>
          </p:grpSpPr>
          <p:sp>
            <p:nvSpPr>
              <p:cNvPr id="98" name="Oval 97"/>
              <p:cNvSpPr>
                <a:spLocks noChangeAspect="1" noChangeArrowheads="1"/>
              </p:cNvSpPr>
              <p:nvPr>
                <p:custDataLst>
                  <p:tags r:id="rId27"/>
                </p:custDataLst>
              </p:nvPr>
            </p:nvSpPr>
            <p:spPr bwMode="gray">
              <a:xfrm>
                <a:off x="4533" y="189"/>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99" name="Arc 98" hidden="1"/>
              <p:cNvSpPr>
                <a:spLocks noChangeAspect="1"/>
              </p:cNvSpPr>
              <p:nvPr>
                <p:custDataLst>
                  <p:tags r:id="rId28"/>
                </p:custDataLst>
              </p:nvPr>
            </p:nvSpPr>
            <p:spPr bwMode="gray">
              <a:xfrm>
                <a:off x="4533" y="183"/>
                <a:ext cx="144" cy="144"/>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grpSp>
        <p:grpSp>
          <p:nvGrpSpPr>
            <p:cNvPr id="81" name="MoonLegend2"/>
            <p:cNvGrpSpPr>
              <a:grpSpLocks noChangeAspect="1"/>
            </p:cNvGrpSpPr>
            <p:nvPr>
              <p:custDataLst>
                <p:tags r:id="rId10"/>
              </p:custDataLst>
            </p:nvPr>
          </p:nvGrpSpPr>
          <p:grpSpPr bwMode="gray">
            <a:xfrm>
              <a:off x="5894005" y="2977103"/>
              <a:ext cx="209550" cy="209551"/>
              <a:chOff x="1694" y="2051"/>
              <a:chExt cx="160" cy="160"/>
            </a:xfrm>
          </p:grpSpPr>
          <p:sp>
            <p:nvSpPr>
              <p:cNvPr id="96" name="Oval 41"/>
              <p:cNvSpPr>
                <a:spLocks noChangeAspect="1" noChangeArrowheads="1"/>
              </p:cNvSpPr>
              <p:nvPr>
                <p:custDataLst>
                  <p:tags r:id="rId25"/>
                </p:custDataLst>
              </p:nvPr>
            </p:nvSpPr>
            <p:spPr bwMode="gray">
              <a:xfrm>
                <a:off x="1694" y="2051"/>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97" name="Arc 42"/>
              <p:cNvSpPr>
                <a:spLocks noChangeAspect="1"/>
              </p:cNvSpPr>
              <p:nvPr>
                <p:custDataLst>
                  <p:tags r:id="rId26"/>
                </p:custDataLst>
              </p:nvPr>
            </p:nvSpPr>
            <p:spPr bwMode="gray">
              <a:xfrm>
                <a:off x="1694" y="2051"/>
                <a:ext cx="160" cy="160"/>
              </a:xfrm>
              <a:prstGeom prst="arc">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grpSp>
        <p:grpSp>
          <p:nvGrpSpPr>
            <p:cNvPr id="82" name="MoonLegend4"/>
            <p:cNvGrpSpPr>
              <a:grpSpLocks noChangeAspect="1"/>
            </p:cNvGrpSpPr>
            <p:nvPr>
              <p:custDataLst>
                <p:tags r:id="rId11"/>
              </p:custDataLst>
            </p:nvPr>
          </p:nvGrpSpPr>
          <p:grpSpPr bwMode="gray">
            <a:xfrm>
              <a:off x="5894005" y="3524395"/>
              <a:ext cx="209550" cy="209551"/>
              <a:chOff x="4495" y="1204"/>
              <a:chExt cx="160" cy="160"/>
            </a:xfrm>
          </p:grpSpPr>
          <p:sp>
            <p:nvSpPr>
              <p:cNvPr id="94" name="Oval 47"/>
              <p:cNvSpPr>
                <a:spLocks noChangeAspect="1" noChangeArrowheads="1"/>
              </p:cNvSpPr>
              <p:nvPr>
                <p:custDataLst>
                  <p:tags r:id="rId23"/>
                </p:custDataLst>
              </p:nvPr>
            </p:nvSpPr>
            <p:spPr bwMode="gray">
              <a:xfrm>
                <a:off x="4495" y="120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95" name="Arc 48"/>
              <p:cNvSpPr>
                <a:spLocks noChangeAspect="1"/>
              </p:cNvSpPr>
              <p:nvPr>
                <p:custDataLst>
                  <p:tags r:id="rId24"/>
                </p:custDataLst>
              </p:nvPr>
            </p:nvSpPr>
            <p:spPr bwMode="gray">
              <a:xfrm>
                <a:off x="4495" y="1204"/>
                <a:ext cx="160" cy="160"/>
              </a:xfrm>
              <a:prstGeom prst="arc">
                <a:avLst>
                  <a:gd name="adj1" fmla="val 16200000"/>
                  <a:gd name="adj2" fmla="val 108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grpSp>
        <p:grpSp>
          <p:nvGrpSpPr>
            <p:cNvPr id="83" name="MoonLegend5"/>
            <p:cNvGrpSpPr>
              <a:grpSpLocks noChangeAspect="1"/>
            </p:cNvGrpSpPr>
            <p:nvPr>
              <p:custDataLst>
                <p:tags r:id="rId12"/>
              </p:custDataLst>
            </p:nvPr>
          </p:nvGrpSpPr>
          <p:grpSpPr bwMode="gray">
            <a:xfrm>
              <a:off x="5894005" y="3799629"/>
              <a:ext cx="209550" cy="209551"/>
              <a:chOff x="4495" y="1447"/>
              <a:chExt cx="160" cy="160"/>
            </a:xfrm>
          </p:grpSpPr>
          <p:sp>
            <p:nvSpPr>
              <p:cNvPr id="92" name="Oval 50"/>
              <p:cNvSpPr>
                <a:spLocks noChangeAspect="1" noChangeArrowheads="1"/>
              </p:cNvSpPr>
              <p:nvPr>
                <p:custDataLst>
                  <p:tags r:id="rId21"/>
                </p:custDataLst>
              </p:nvPr>
            </p:nvSpPr>
            <p:spPr bwMode="gray">
              <a:xfrm>
                <a:off x="4495" y="1447"/>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93" name="Oval 51"/>
              <p:cNvSpPr>
                <a:spLocks noChangeAspect="1" noChangeArrowheads="1"/>
              </p:cNvSpPr>
              <p:nvPr>
                <p:custDataLst>
                  <p:tags r:id="rId22"/>
                </p:custDataLst>
              </p:nvPr>
            </p:nvSpPr>
            <p:spPr bwMode="gray">
              <a:xfrm>
                <a:off x="4495" y="1447"/>
                <a:ext cx="160" cy="160"/>
              </a:xfrm>
              <a:prstGeom prst="arc">
                <a:avLst>
                  <a:gd name="adj1" fmla="val 16200000"/>
                  <a:gd name="adj2" fmla="val 162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grpSp>
        <p:grpSp>
          <p:nvGrpSpPr>
            <p:cNvPr id="84" name="MoonLegend3"/>
            <p:cNvGrpSpPr>
              <a:grpSpLocks noChangeAspect="1"/>
            </p:cNvGrpSpPr>
            <p:nvPr>
              <p:custDataLst>
                <p:tags r:id="rId13"/>
              </p:custDataLst>
            </p:nvPr>
          </p:nvGrpSpPr>
          <p:grpSpPr bwMode="gray">
            <a:xfrm>
              <a:off x="5894005" y="3251543"/>
              <a:ext cx="209550" cy="209551"/>
              <a:chOff x="4495" y="1205"/>
              <a:chExt cx="160" cy="160"/>
            </a:xfrm>
          </p:grpSpPr>
          <p:sp>
            <p:nvSpPr>
              <p:cNvPr id="90" name="Oval 47"/>
              <p:cNvSpPr>
                <a:spLocks noChangeAspect="1" noChangeArrowheads="1"/>
              </p:cNvSpPr>
              <p:nvPr>
                <p:custDataLst>
                  <p:tags r:id="rId19"/>
                </p:custDataLst>
              </p:nvPr>
            </p:nvSpPr>
            <p:spPr bwMode="gray">
              <a:xfrm>
                <a:off x="4495" y="1205"/>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91" name="Arc 48"/>
              <p:cNvSpPr>
                <a:spLocks noChangeAspect="1"/>
              </p:cNvSpPr>
              <p:nvPr>
                <p:custDataLst>
                  <p:tags r:id="rId20"/>
                </p:custDataLst>
              </p:nvPr>
            </p:nvSpPr>
            <p:spPr bwMode="gray">
              <a:xfrm>
                <a:off x="4495" y="1205"/>
                <a:ext cx="160" cy="160"/>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grpSp>
        <p:sp>
          <p:nvSpPr>
            <p:cNvPr id="85" name="Legend1"/>
            <p:cNvSpPr>
              <a:spLocks noChangeArrowheads="1"/>
            </p:cNvSpPr>
            <p:nvPr>
              <p:custDataLst>
                <p:tags r:id="rId14"/>
              </p:custDataLst>
            </p:nvPr>
          </p:nvSpPr>
          <p:spPr bwMode="gray">
            <a:xfrm>
              <a:off x="6214680" y="2696542"/>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sp>
          <p:nvSpPr>
            <p:cNvPr id="86" name="Legend2"/>
            <p:cNvSpPr>
              <a:spLocks noChangeArrowheads="1"/>
            </p:cNvSpPr>
            <p:nvPr>
              <p:custDataLst>
                <p:tags r:id="rId15"/>
              </p:custDataLst>
            </p:nvPr>
          </p:nvSpPr>
          <p:spPr bwMode="gray">
            <a:xfrm>
              <a:off x="6214680" y="2974156"/>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a:latin typeface="+mn-lt"/>
                  <a:ea typeface="+mn-ea"/>
                </a:rPr>
                <a:t>Legend</a:t>
              </a:r>
              <a:endParaRPr lang="en-US" sz="1400" baseline="0" dirty="0">
                <a:latin typeface="+mn-lt"/>
                <a:ea typeface="+mn-ea"/>
              </a:endParaRPr>
            </a:p>
          </p:txBody>
        </p:sp>
        <p:sp>
          <p:nvSpPr>
            <p:cNvPr id="87" name="Legend3"/>
            <p:cNvSpPr>
              <a:spLocks noChangeArrowheads="1"/>
            </p:cNvSpPr>
            <p:nvPr>
              <p:custDataLst>
                <p:tags r:id="rId16"/>
              </p:custDataLst>
            </p:nvPr>
          </p:nvSpPr>
          <p:spPr bwMode="gray">
            <a:xfrm>
              <a:off x="6214680" y="3248596"/>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sp>
          <p:nvSpPr>
            <p:cNvPr id="88" name="Legend4"/>
            <p:cNvSpPr>
              <a:spLocks noChangeArrowheads="1"/>
            </p:cNvSpPr>
            <p:nvPr>
              <p:custDataLst>
                <p:tags r:id="rId17"/>
              </p:custDataLst>
            </p:nvPr>
          </p:nvSpPr>
          <p:spPr bwMode="gray">
            <a:xfrm>
              <a:off x="6214680" y="3521448"/>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sp>
          <p:nvSpPr>
            <p:cNvPr id="89" name="Legend5"/>
            <p:cNvSpPr>
              <a:spLocks noChangeArrowheads="1"/>
            </p:cNvSpPr>
            <p:nvPr>
              <p:custDataLst>
                <p:tags r:id="rId18"/>
              </p:custDataLst>
            </p:nvPr>
          </p:nvSpPr>
          <p:spPr bwMode="gray">
            <a:xfrm>
              <a:off x="6214680" y="3796682"/>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a:latin typeface="+mn-lt"/>
                  <a:ea typeface="+mn-ea"/>
                </a:rPr>
                <a:t>Legend</a:t>
              </a:r>
              <a:endParaRPr lang="en-US" sz="1400" baseline="0" dirty="0">
                <a:latin typeface="+mn-lt"/>
                <a:ea typeface="+mn-ea"/>
              </a:endParaRPr>
            </a:p>
          </p:txBody>
        </p:sp>
      </p:grpSp>
    </p:spTree>
    <p:extLst>
      <p:ext uri="{BB962C8B-B14F-4D97-AF65-F5344CB8AC3E}">
        <p14:creationId xmlns:p14="http://schemas.microsoft.com/office/powerpoint/2010/main" val="3572252922"/>
      </p:ext>
    </p:extLst>
  </p:cSld>
  <p:clrMap bg1="lt1" tx1="dk1" bg2="lt2" tx2="dk2" accent1="accent1" accent2="accent2" accent3="accent3" accent4="accent4" accent5="accent5" accent6="accent6" hlink="hlink" folHlink="folHlink"/>
  <p:sldLayoutIdLst>
    <p:sldLayoutId id="2147483911" r:id="rId1"/>
    <p:sldLayoutId id="2147483912" r:id="rId2"/>
    <p:sldLayoutId id="2147483913" r:id="rId3"/>
    <p:sldLayoutId id="2147483914" r:id="rId4"/>
  </p:sldLayoutIdLst>
  <p:txStyles>
    <p:titleStyle>
      <a:lvl1pPr algn="l" defTabSz="895350" rtl="0" eaLnBrk="1" fontAlgn="base" hangingPunct="1">
        <a:spcBef>
          <a:spcPct val="0"/>
        </a:spcBef>
        <a:spcAft>
          <a:spcPct val="0"/>
        </a:spcAft>
        <a:tabLst>
          <a:tab pos="269875" algn="l"/>
        </a:tabLst>
        <a:defRPr sz="2000" b="0" baseline="0">
          <a:solidFill>
            <a:schemeClr val="tx2"/>
          </a:solidFill>
          <a:latin typeface="+mj-lt"/>
          <a:ea typeface="+mj-ea"/>
          <a:cs typeface="+mj-cs"/>
        </a:defRPr>
      </a:lvl1pPr>
      <a:lvl2pPr algn="l" defTabSz="895350" rtl="0" eaLnBrk="1" fontAlgn="base" hangingPunct="1">
        <a:spcBef>
          <a:spcPct val="0"/>
        </a:spcBef>
        <a:spcAft>
          <a:spcPct val="0"/>
        </a:spcAft>
        <a:defRPr sz="1900" b="1">
          <a:solidFill>
            <a:schemeClr val="tx2"/>
          </a:solidFill>
          <a:latin typeface="Arial" charset="0"/>
        </a:defRPr>
      </a:lvl2pPr>
      <a:lvl3pPr algn="l" defTabSz="895350" rtl="0" eaLnBrk="1" fontAlgn="base" hangingPunct="1">
        <a:spcBef>
          <a:spcPct val="0"/>
        </a:spcBef>
        <a:spcAft>
          <a:spcPct val="0"/>
        </a:spcAft>
        <a:defRPr sz="1900" b="1">
          <a:solidFill>
            <a:schemeClr val="tx2"/>
          </a:solidFill>
          <a:latin typeface="Arial" charset="0"/>
        </a:defRPr>
      </a:lvl3pPr>
      <a:lvl4pPr algn="l" defTabSz="895350" rtl="0" eaLnBrk="1" fontAlgn="base" hangingPunct="1">
        <a:spcBef>
          <a:spcPct val="0"/>
        </a:spcBef>
        <a:spcAft>
          <a:spcPct val="0"/>
        </a:spcAft>
        <a:defRPr sz="1900" b="1">
          <a:solidFill>
            <a:schemeClr val="tx2"/>
          </a:solidFill>
          <a:latin typeface="Arial" charset="0"/>
        </a:defRPr>
      </a:lvl4pPr>
      <a:lvl5pPr algn="l" defTabSz="895350" rtl="0" eaLnBrk="1" fontAlgn="base" hangingPunct="1">
        <a:spcBef>
          <a:spcPct val="0"/>
        </a:spcBef>
        <a:spcAft>
          <a:spcPct val="0"/>
        </a:spcAft>
        <a:defRPr sz="1900" b="1">
          <a:solidFill>
            <a:schemeClr val="tx2"/>
          </a:solidFill>
          <a:latin typeface="Arial" charset="0"/>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p:titleStyle>
    <p:bodyStyle>
      <a:lvl1pPr marL="0" indent="0" algn="l" defTabSz="895350" rtl="0" eaLnBrk="1" fontAlgn="base" hangingPunct="1">
        <a:spcBef>
          <a:spcPct val="0"/>
        </a:spcBef>
        <a:spcAft>
          <a:spcPct val="0"/>
        </a:spcAft>
        <a:buClr>
          <a:schemeClr val="tx2"/>
        </a:buClr>
        <a:buSzPct val="100000"/>
        <a:defRPr sz="14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4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4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4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4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7"/>
            </p:custDataLst>
            <p:extLst>
              <p:ext uri="{D42A27DB-BD31-4B8C-83A1-F6EECF244321}">
                <p14:modId xmlns:p14="http://schemas.microsoft.com/office/powerpoint/2010/main" val="1755175325"/>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1524" name="think-cell Slide" r:id="rId36" imgW="270" imgH="270" progId="TCLayout.ActiveDocument.1">
                  <p:embed/>
                </p:oleObj>
              </mc:Choice>
              <mc:Fallback>
                <p:oleObj name="think-cell Slide" r:id="rId36" imgW="270" imgH="270" progId="TCLayout.ActiveDocument.1">
                  <p:embed/>
                  <p:pic>
                    <p:nvPicPr>
                      <p:cNvPr id="2" name="Object 1" hidden="1"/>
                      <p:cNvPicPr/>
                      <p:nvPr/>
                    </p:nvPicPr>
                    <p:blipFill>
                      <a:blip r:embed="rId37"/>
                      <a:stretch>
                        <a:fillRect/>
                      </a:stretch>
                    </p:blipFill>
                    <p:spPr>
                      <a:xfrm>
                        <a:off x="0" y="0"/>
                        <a:ext cx="158750" cy="158750"/>
                      </a:xfrm>
                      <a:prstGeom prst="rect">
                        <a:avLst/>
                      </a:prstGeom>
                    </p:spPr>
                  </p:pic>
                </p:oleObj>
              </mc:Fallback>
            </mc:AlternateContent>
          </a:graphicData>
        </a:graphic>
      </p:graphicFrame>
      <p:sp>
        <p:nvSpPr>
          <p:cNvPr id="6" name="Rectangle 5" hidden="1"/>
          <p:cNvSpPr/>
          <p:nvPr>
            <p:custDataLst>
              <p:tags r:id="rId8"/>
            </p:custDataLst>
          </p:nvPr>
        </p:nvSpPr>
        <p:spPr bwMode="auto">
          <a:xfrm>
            <a:off x="0" y="0"/>
            <a:ext cx="158750" cy="158750"/>
          </a:xfrm>
          <a:prstGeom prst="rect">
            <a:avLst/>
          </a:prstGeom>
          <a:solidFill>
            <a:schemeClr val="bg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dirty="0">
              <a:solidFill>
                <a:srgbClr val="000000"/>
              </a:solidFill>
              <a:sym typeface="Arial" panose="020B0604020202020204" pitchFamily="34" charset="0"/>
            </a:endParaRPr>
          </a:p>
        </p:txBody>
      </p:sp>
      <p:sp>
        <p:nvSpPr>
          <p:cNvPr id="1034" name="Working Draft" hidden="1"/>
          <p:cNvSpPr txBox="1">
            <a:spLocks noChangeArrowheads="1"/>
          </p:cNvSpPr>
          <p:nvPr/>
        </p:nvSpPr>
        <p:spPr bwMode="gray">
          <a:xfrm rot="5400000">
            <a:off x="7966656" y="1940591"/>
            <a:ext cx="1849865"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600" baseline="0">
                <a:solidFill>
                  <a:srgbClr val="808080"/>
                </a:solidFill>
                <a:latin typeface="+mn-lt"/>
                <a:ea typeface="+mn-ea"/>
              </a:rPr>
              <a:t>Last Modified 21/05/2018 17:44 India Standard Time</a:t>
            </a:r>
            <a:endParaRPr lang="en-US" baseline="0" dirty="0">
              <a:solidFill>
                <a:srgbClr val="808080"/>
              </a:solidFill>
              <a:latin typeface="+mn-lt"/>
              <a:ea typeface="+mn-ea"/>
            </a:endParaRPr>
          </a:p>
        </p:txBody>
      </p:sp>
      <p:sp>
        <p:nvSpPr>
          <p:cNvPr id="1035" name="Printed" hidden="1"/>
          <p:cNvSpPr txBox="1">
            <a:spLocks noChangeArrowheads="1"/>
          </p:cNvSpPr>
          <p:nvPr/>
        </p:nvSpPr>
        <p:spPr bwMode="gray">
          <a:xfrm rot="5400000">
            <a:off x="8768958" y="4114417"/>
            <a:ext cx="245260"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600" baseline="0" dirty="0">
                <a:solidFill>
                  <a:srgbClr val="808080"/>
                </a:solidFill>
                <a:latin typeface="+mn-lt"/>
                <a:ea typeface="+mn-ea"/>
              </a:rPr>
              <a:t>Printed</a:t>
            </a:r>
            <a:endParaRPr lang="en-US" baseline="0" dirty="0">
              <a:solidFill>
                <a:srgbClr val="808080"/>
              </a:solidFill>
              <a:latin typeface="+mn-lt"/>
              <a:ea typeface="+mn-ea"/>
            </a:endParaRPr>
          </a:p>
        </p:txBody>
      </p:sp>
      <p:sp>
        <p:nvSpPr>
          <p:cNvPr id="19" name="Title Placeholder 2"/>
          <p:cNvSpPr>
            <a:spLocks noGrp="1" noChangeArrowheads="1"/>
          </p:cNvSpPr>
          <p:nvPr>
            <p:ph type="title"/>
          </p:nvPr>
        </p:nvSpPr>
        <p:spPr bwMode="gray">
          <a:xfrm>
            <a:off x="119063" y="230188"/>
            <a:ext cx="8618537"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latinLnBrk="0"/>
            <a:r>
              <a:rPr lang="en-US"/>
              <a:t>Click to edit Master title style</a:t>
            </a:r>
            <a:endParaRPr lang="en-US" noProof="0" dirty="0"/>
          </a:p>
        </p:txBody>
      </p:sp>
      <p:sp>
        <p:nvSpPr>
          <p:cNvPr id="10" name="1. On-page tracker" hidden="1"/>
          <p:cNvSpPr>
            <a:spLocks noChangeArrowheads="1"/>
          </p:cNvSpPr>
          <p:nvPr/>
        </p:nvSpPr>
        <p:spPr bwMode="gray">
          <a:xfrm>
            <a:off x="119063" y="75764"/>
            <a:ext cx="490519"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800" cap="all" baseline="0" dirty="0">
                <a:solidFill>
                  <a:schemeClr val="accent6"/>
                </a:solidFill>
                <a:latin typeface="+mn-lt"/>
                <a:ea typeface="+mn-ea"/>
              </a:rPr>
              <a:t>Tracker</a:t>
            </a:r>
          </a:p>
        </p:txBody>
      </p:sp>
      <p:sp>
        <p:nvSpPr>
          <p:cNvPr id="11" name="3. Unit of measure" hidden="1"/>
          <p:cNvSpPr txBox="1">
            <a:spLocks noChangeArrowheads="1"/>
          </p:cNvSpPr>
          <p:nvPr/>
        </p:nvSpPr>
        <p:spPr bwMode="gray">
          <a:xfrm>
            <a:off x="119063" y="554865"/>
            <a:ext cx="8618537"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600" baseline="0" dirty="0">
                <a:solidFill>
                  <a:schemeClr val="accent6"/>
                </a:solidFill>
                <a:latin typeface="+mn-lt"/>
                <a:ea typeface="+mn-ea"/>
              </a:rPr>
              <a:t>Unit of measure</a:t>
            </a:r>
          </a:p>
        </p:txBody>
      </p:sp>
      <p:grpSp>
        <p:nvGrpSpPr>
          <p:cNvPr id="4" name="Slide Elements" hidden="1"/>
          <p:cNvGrpSpPr/>
          <p:nvPr/>
        </p:nvGrpSpPr>
        <p:grpSpPr bwMode="gray">
          <a:xfrm>
            <a:off x="119063" y="6305945"/>
            <a:ext cx="8618537" cy="325438"/>
            <a:chOff x="119063" y="6305945"/>
            <a:chExt cx="8618537" cy="325438"/>
          </a:xfrm>
        </p:grpSpPr>
        <p:sp>
          <p:nvSpPr>
            <p:cNvPr id="13" name="4. Footnote"/>
            <p:cNvSpPr txBox="1">
              <a:spLocks noChangeArrowheads="1"/>
            </p:cNvSpPr>
            <p:nvPr/>
          </p:nvSpPr>
          <p:spPr bwMode="gray">
            <a:xfrm>
              <a:off x="119063" y="6305945"/>
              <a:ext cx="8618537" cy="123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800" baseline="0" dirty="0">
                  <a:solidFill>
                    <a:schemeClr val="accent6"/>
                  </a:solidFill>
                  <a:latin typeface="+mn-lt"/>
                  <a:ea typeface="+mn-ea"/>
                </a:rPr>
                <a:t>1 Footnote</a:t>
              </a:r>
            </a:p>
          </p:txBody>
        </p:sp>
        <p:sp>
          <p:nvSpPr>
            <p:cNvPr id="14" name="5. Source"/>
            <p:cNvSpPr>
              <a:spLocks noChangeArrowheads="1"/>
            </p:cNvSpPr>
            <p:nvPr/>
          </p:nvSpPr>
          <p:spPr bwMode="gray">
            <a:xfrm>
              <a:off x="119063" y="6507558"/>
              <a:ext cx="7200000" cy="123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marL="609600" indent="-609600" defTabSz="895350">
                <a:tabLst>
                  <a:tab pos="612775" algn="l"/>
                </a:tabLst>
              </a:pPr>
              <a:r>
                <a:rPr lang="en-US" sz="800" baseline="0" dirty="0">
                  <a:solidFill>
                    <a:schemeClr val="accent6"/>
                  </a:solidFill>
                  <a:latin typeface="+mn-lt"/>
                  <a:ea typeface="+mn-ea"/>
                </a:rPr>
                <a:t>SOURCE: Source</a:t>
              </a:r>
            </a:p>
          </p:txBody>
        </p:sp>
      </p:grpSp>
      <p:sp>
        <p:nvSpPr>
          <p:cNvPr id="3" name="Text Placeholder 2"/>
          <p:cNvSpPr>
            <a:spLocks noGrp="1"/>
          </p:cNvSpPr>
          <p:nvPr>
            <p:ph type="body" idx="1"/>
          </p:nvPr>
        </p:nvSpPr>
        <p:spPr bwMode="gray">
          <a:xfrm>
            <a:off x="1452564" y="1951380"/>
            <a:ext cx="4302125" cy="1077218"/>
          </a:xfrm>
          <a:prstGeom prst="rect">
            <a:avLst/>
          </a:prstGeom>
        </p:spPr>
        <p:txBody>
          <a:bodyPr vert="horz" lIns="0" tIns="0" rIns="0" bIns="0" rtlCol="0">
            <a:spAutoFit/>
          </a:bodyPr>
          <a:lstStyle/>
          <a:p>
            <a:pPr lvl="0" latinLnBrk="0"/>
            <a:r>
              <a:rPr lang="en-US"/>
              <a:t>Edit Master text styles</a:t>
            </a:r>
          </a:p>
          <a:p>
            <a:pPr lvl="1" latinLnBrk="0"/>
            <a:r>
              <a:rPr lang="en-US"/>
              <a:t>Second level</a:t>
            </a:r>
          </a:p>
          <a:p>
            <a:pPr lvl="2" latinLnBrk="0"/>
            <a:r>
              <a:rPr lang="en-US"/>
              <a:t>Third level</a:t>
            </a:r>
          </a:p>
          <a:p>
            <a:pPr lvl="3" latinLnBrk="0"/>
            <a:r>
              <a:rPr lang="en-US"/>
              <a:t>Fourth level</a:t>
            </a:r>
          </a:p>
          <a:p>
            <a:pPr lvl="4" latinLnBrk="0"/>
            <a:r>
              <a:rPr lang="en-US"/>
              <a:t>Fifth level</a:t>
            </a:r>
            <a:endParaRPr lang="en-US" dirty="0"/>
          </a:p>
        </p:txBody>
      </p:sp>
      <p:grpSp>
        <p:nvGrpSpPr>
          <p:cNvPr id="15" name="ACET" hidden="1"/>
          <p:cNvGrpSpPr>
            <a:grpSpLocks/>
          </p:cNvGrpSpPr>
          <p:nvPr/>
        </p:nvGrpSpPr>
        <p:grpSpPr bwMode="gray">
          <a:xfrm>
            <a:off x="1452563" y="1257754"/>
            <a:ext cx="4264025" cy="508000"/>
            <a:chOff x="915" y="710"/>
            <a:chExt cx="2686" cy="320"/>
          </a:xfrm>
        </p:grpSpPr>
        <p:cxnSp>
          <p:nvCxnSpPr>
            <p:cNvPr id="16" name="AutoShape 249"/>
            <p:cNvCxnSpPr>
              <a:cxnSpLocks noChangeShapeType="1"/>
              <a:stCxn id="18" idx="4"/>
              <a:endCxn id="18" idx="6"/>
            </p:cNvCxnSpPr>
            <p:nvPr/>
          </p:nvCxnSpPr>
          <p:spPr bwMode="gray">
            <a:xfrm>
              <a:off x="915" y="1030"/>
              <a:ext cx="2686" cy="0"/>
            </a:xfrm>
            <a:prstGeom prst="straightConnector1">
              <a:avLst/>
            </a:prstGeom>
            <a:noFill/>
            <a:ln w="9525">
              <a:solidFill>
                <a:schemeClr val="accent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8" name="AutoShape 250"/>
            <p:cNvSpPr>
              <a:spLocks noChangeArrowheads="1"/>
            </p:cNvSpPr>
            <p:nvPr/>
          </p:nvSpPr>
          <p:spPr bwMode="gray">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US" b="1" baseline="0" dirty="0">
                  <a:solidFill>
                    <a:srgbClr val="000000"/>
                  </a:solidFill>
                  <a:latin typeface="+mn-lt"/>
                  <a:ea typeface="+mn-ea"/>
                </a:rPr>
                <a:t>Title</a:t>
              </a:r>
            </a:p>
            <a:p>
              <a:r>
                <a:rPr lang="en-US" baseline="0" dirty="0">
                  <a:solidFill>
                    <a:schemeClr val="accent6"/>
                  </a:solidFill>
                  <a:latin typeface="+mn-lt"/>
                  <a:ea typeface="+mn-ea"/>
                </a:rPr>
                <a:t>Unit of measure</a:t>
              </a:r>
            </a:p>
          </p:txBody>
        </p:sp>
      </p:grpSp>
      <p:grpSp>
        <p:nvGrpSpPr>
          <p:cNvPr id="17" name="McKSticker" hidden="1"/>
          <p:cNvGrpSpPr/>
          <p:nvPr/>
        </p:nvGrpSpPr>
        <p:grpSpPr bwMode="gray">
          <a:xfrm>
            <a:off x="8264265" y="285750"/>
            <a:ext cx="473335" cy="150811"/>
            <a:chOff x="8267440" y="285750"/>
            <a:chExt cx="473335" cy="150811"/>
          </a:xfrm>
        </p:grpSpPr>
        <p:sp>
          <p:nvSpPr>
            <p:cNvPr id="20" name="StickerRectangle"/>
            <p:cNvSpPr>
              <a:spLocks noChangeArrowheads="1"/>
            </p:cNvSpPr>
            <p:nvPr/>
          </p:nvSpPr>
          <p:spPr bwMode="gray">
            <a:xfrm>
              <a:off x="8267440" y="285750"/>
              <a:ext cx="473335" cy="150811"/>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a:buClr>
                  <a:srgbClr val="002960"/>
                </a:buClr>
              </a:pPr>
              <a:r>
                <a:rPr lang="en-US" sz="800" baseline="0" dirty="0">
                  <a:solidFill>
                    <a:schemeClr val="accent6"/>
                  </a:solidFill>
                  <a:latin typeface="+mn-lt"/>
                  <a:ea typeface="+mn-ea"/>
                </a:rPr>
                <a:t>STICKER</a:t>
              </a:r>
            </a:p>
          </p:txBody>
        </p:sp>
        <p:cxnSp>
          <p:nvCxnSpPr>
            <p:cNvPr id="21" name="AutoShape 31"/>
            <p:cNvCxnSpPr>
              <a:cxnSpLocks noChangeShapeType="1"/>
              <a:stCxn id="20" idx="2"/>
              <a:endCxn id="20" idx="4"/>
            </p:cNvCxnSpPr>
            <p:nvPr/>
          </p:nvCxnSpPr>
          <p:spPr bwMode="gray">
            <a:xfrm>
              <a:off x="8267440" y="285750"/>
              <a:ext cx="0" cy="150811"/>
            </a:xfrm>
            <a:prstGeom prst="straightConnector1">
              <a:avLst/>
            </a:prstGeom>
            <a:noFill/>
            <a:ln w="9525">
              <a:solidFill>
                <a:schemeClr val="accent6"/>
              </a:solidFill>
              <a:round/>
              <a:headEnd/>
              <a:tailEnd/>
            </a:ln>
            <a:extLst>
              <a:ext uri="{909E8E84-426E-40DD-AFC4-6F175D3DCCD1}">
                <a14:hiddenFill xmlns:a14="http://schemas.microsoft.com/office/drawing/2010/main">
                  <a:noFill/>
                </a14:hiddenFill>
              </a:ext>
            </a:extLst>
          </p:spPr>
        </p:cxnSp>
        <p:cxnSp>
          <p:nvCxnSpPr>
            <p:cNvPr id="22" name="AutoShape 32"/>
            <p:cNvCxnSpPr>
              <a:cxnSpLocks noChangeShapeType="1"/>
              <a:stCxn id="20" idx="4"/>
              <a:endCxn id="20" idx="6"/>
            </p:cNvCxnSpPr>
            <p:nvPr/>
          </p:nvCxnSpPr>
          <p:spPr bwMode="gray">
            <a:xfrm>
              <a:off x="8267440" y="436561"/>
              <a:ext cx="473335" cy="0"/>
            </a:xfrm>
            <a:prstGeom prst="straightConnector1">
              <a:avLst/>
            </a:prstGeom>
            <a:noFill/>
            <a:ln w="25400">
              <a:solidFill>
                <a:schemeClr val="accent6"/>
              </a:solidFill>
              <a:round/>
              <a:headEnd/>
              <a:tailEnd/>
            </a:ln>
            <a:extLst>
              <a:ext uri="{909E8E84-426E-40DD-AFC4-6F175D3DCCD1}">
                <a14:hiddenFill xmlns:a14="http://schemas.microsoft.com/office/drawing/2010/main">
                  <a:noFill/>
                </a14:hiddenFill>
              </a:ext>
            </a:extLst>
          </p:spPr>
        </p:cxnSp>
      </p:grpSp>
      <p:sp>
        <p:nvSpPr>
          <p:cNvPr id="23" name="SlideBottomBar" hidden="1"/>
          <p:cNvSpPr/>
          <p:nvPr/>
        </p:nvSpPr>
        <p:spPr>
          <a:xfrm>
            <a:off x="8437547" y="6182120"/>
            <a:ext cx="45719" cy="123825"/>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aseline="0" dirty="0">
              <a:solidFill>
                <a:schemeClr val="tx1"/>
              </a:solidFill>
              <a:latin typeface="+mn-lt"/>
              <a:ea typeface="+mn-ea"/>
            </a:endParaRPr>
          </a:p>
        </p:txBody>
      </p:sp>
      <p:sp>
        <p:nvSpPr>
          <p:cNvPr id="24" name="doc id" hidden="1"/>
          <p:cNvSpPr txBox="1">
            <a:spLocks noChangeArrowheads="1"/>
          </p:cNvSpPr>
          <p:nvPr/>
        </p:nvSpPr>
        <p:spPr bwMode="white">
          <a:xfrm>
            <a:off x="8104473" y="36513"/>
            <a:ext cx="634716" cy="115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hangingPunct="1">
              <a:defRPr/>
            </a:pPr>
            <a:endParaRPr lang="en-US" sz="800" baseline="0" dirty="0">
              <a:solidFill>
                <a:schemeClr val="accent1"/>
              </a:solidFill>
              <a:latin typeface="+mn-lt"/>
              <a:ea typeface="+mn-ea"/>
            </a:endParaRPr>
          </a:p>
        </p:txBody>
      </p:sp>
      <p:grpSp>
        <p:nvGrpSpPr>
          <p:cNvPr id="63" name="LegendLines" hidden="1"/>
          <p:cNvGrpSpPr/>
          <p:nvPr/>
        </p:nvGrpSpPr>
        <p:grpSpPr>
          <a:xfrm>
            <a:off x="7551589" y="267815"/>
            <a:ext cx="1158292" cy="761545"/>
            <a:chOff x="7607284" y="279400"/>
            <a:chExt cx="1158292" cy="761545"/>
          </a:xfrm>
        </p:grpSpPr>
        <p:sp>
          <p:nvSpPr>
            <p:cNvPr id="64" name="LineLegend1"/>
            <p:cNvSpPr>
              <a:spLocks noChangeShapeType="1"/>
            </p:cNvSpPr>
            <p:nvPr/>
          </p:nvSpPr>
          <p:spPr bwMode="gray">
            <a:xfrm>
              <a:off x="7607284" y="387122"/>
              <a:ext cx="457200"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65" name="LineLegend2"/>
            <p:cNvSpPr>
              <a:spLocks noChangeShapeType="1"/>
            </p:cNvSpPr>
            <p:nvPr/>
          </p:nvSpPr>
          <p:spPr bwMode="gray">
            <a:xfrm>
              <a:off x="7607284" y="653822"/>
              <a:ext cx="457200"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66" name="LineLegend3"/>
            <p:cNvSpPr>
              <a:spLocks noChangeShapeType="1"/>
            </p:cNvSpPr>
            <p:nvPr/>
          </p:nvSpPr>
          <p:spPr bwMode="gray">
            <a:xfrm>
              <a:off x="7607284" y="933223"/>
              <a:ext cx="457200"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67" name="Legend1"/>
            <p:cNvSpPr>
              <a:spLocks noChangeArrowheads="1"/>
            </p:cNvSpPr>
            <p:nvPr>
              <p:custDataLst>
                <p:tags r:id="rId33"/>
              </p:custDataLst>
            </p:nvPr>
          </p:nvSpPr>
          <p:spPr bwMode="gray">
            <a:xfrm>
              <a:off x="8169259" y="279400"/>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sp>
          <p:nvSpPr>
            <p:cNvPr id="68" name="Legend2"/>
            <p:cNvSpPr>
              <a:spLocks noChangeArrowheads="1"/>
            </p:cNvSpPr>
            <p:nvPr>
              <p:custDataLst>
                <p:tags r:id="rId34"/>
              </p:custDataLst>
            </p:nvPr>
          </p:nvSpPr>
          <p:spPr bwMode="gray">
            <a:xfrm>
              <a:off x="8169259" y="546100"/>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a:latin typeface="+mn-lt"/>
                  <a:ea typeface="+mn-ea"/>
                </a:rPr>
                <a:t>Legend</a:t>
              </a:r>
              <a:endParaRPr lang="en-US" sz="1400" baseline="0" dirty="0">
                <a:latin typeface="+mn-lt"/>
                <a:ea typeface="+mn-ea"/>
              </a:endParaRPr>
            </a:p>
          </p:txBody>
        </p:sp>
        <p:sp>
          <p:nvSpPr>
            <p:cNvPr id="69" name="Legend3"/>
            <p:cNvSpPr>
              <a:spLocks noChangeArrowheads="1"/>
            </p:cNvSpPr>
            <p:nvPr>
              <p:custDataLst>
                <p:tags r:id="rId35"/>
              </p:custDataLst>
            </p:nvPr>
          </p:nvSpPr>
          <p:spPr bwMode="gray">
            <a:xfrm>
              <a:off x="8169259" y="825501"/>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grpSp>
      <p:grpSp>
        <p:nvGrpSpPr>
          <p:cNvPr id="70" name="LegendBoxes" hidden="1"/>
          <p:cNvGrpSpPr/>
          <p:nvPr/>
        </p:nvGrpSpPr>
        <p:grpSpPr>
          <a:xfrm>
            <a:off x="7859564" y="267919"/>
            <a:ext cx="850317" cy="1028245"/>
            <a:chOff x="5894005" y="919828"/>
            <a:chExt cx="850317" cy="1028245"/>
          </a:xfrm>
        </p:grpSpPr>
        <p:sp>
          <p:nvSpPr>
            <p:cNvPr id="71" name="RectangleLegend1"/>
            <p:cNvSpPr>
              <a:spLocks noChangeArrowheads="1"/>
            </p:cNvSpPr>
            <p:nvPr/>
          </p:nvSpPr>
          <p:spPr bwMode="gray">
            <a:xfrm>
              <a:off x="5894005" y="947381"/>
              <a:ext cx="165100" cy="160338"/>
            </a:xfrm>
            <a:prstGeom prst="rect">
              <a:avLst/>
            </a:prstGeom>
            <a:solidFill>
              <a:schemeClr val="accent1"/>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72" name="RectangleLegend2"/>
            <p:cNvSpPr>
              <a:spLocks noChangeArrowheads="1"/>
            </p:cNvSpPr>
            <p:nvPr/>
          </p:nvSpPr>
          <p:spPr bwMode="gray">
            <a:xfrm>
              <a:off x="5894005" y="1217256"/>
              <a:ext cx="165100" cy="160338"/>
            </a:xfrm>
            <a:prstGeom prst="rect">
              <a:avLst/>
            </a:prstGeom>
            <a:solidFill>
              <a:schemeClr val="accent2"/>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73" name="RectangleLegend3"/>
            <p:cNvSpPr>
              <a:spLocks noChangeArrowheads="1"/>
            </p:cNvSpPr>
            <p:nvPr/>
          </p:nvSpPr>
          <p:spPr bwMode="gray">
            <a:xfrm>
              <a:off x="5894005" y="1488719"/>
              <a:ext cx="165100" cy="160338"/>
            </a:xfrm>
            <a:prstGeom prst="rect">
              <a:avLst/>
            </a:prstGeom>
            <a:solidFill>
              <a:schemeClr val="accent3"/>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74" name="RectangleLegend4"/>
            <p:cNvSpPr>
              <a:spLocks noChangeArrowheads="1"/>
            </p:cNvSpPr>
            <p:nvPr/>
          </p:nvSpPr>
          <p:spPr bwMode="gray">
            <a:xfrm>
              <a:off x="5894005" y="1760182"/>
              <a:ext cx="165100" cy="160338"/>
            </a:xfrm>
            <a:prstGeom prst="rect">
              <a:avLst/>
            </a:prstGeom>
            <a:solidFill>
              <a:schemeClr val="accent4"/>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75" name="Legend1"/>
            <p:cNvSpPr>
              <a:spLocks noChangeArrowheads="1"/>
            </p:cNvSpPr>
            <p:nvPr>
              <p:custDataLst>
                <p:tags r:id="rId29"/>
              </p:custDataLst>
            </p:nvPr>
          </p:nvSpPr>
          <p:spPr bwMode="gray">
            <a:xfrm>
              <a:off x="6148005" y="919828"/>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sp>
          <p:nvSpPr>
            <p:cNvPr id="76" name="Legend2"/>
            <p:cNvSpPr>
              <a:spLocks noChangeArrowheads="1"/>
            </p:cNvSpPr>
            <p:nvPr>
              <p:custDataLst>
                <p:tags r:id="rId30"/>
              </p:custDataLst>
            </p:nvPr>
          </p:nvSpPr>
          <p:spPr bwMode="gray">
            <a:xfrm>
              <a:off x="6148005" y="1189703"/>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sp>
          <p:nvSpPr>
            <p:cNvPr id="77" name="Legend3"/>
            <p:cNvSpPr>
              <a:spLocks noChangeArrowheads="1"/>
            </p:cNvSpPr>
            <p:nvPr>
              <p:custDataLst>
                <p:tags r:id="rId31"/>
              </p:custDataLst>
            </p:nvPr>
          </p:nvSpPr>
          <p:spPr bwMode="gray">
            <a:xfrm>
              <a:off x="6148005" y="1461166"/>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sp>
          <p:nvSpPr>
            <p:cNvPr id="78" name="Legend4"/>
            <p:cNvSpPr>
              <a:spLocks noChangeArrowheads="1"/>
            </p:cNvSpPr>
            <p:nvPr>
              <p:custDataLst>
                <p:tags r:id="rId32"/>
              </p:custDataLst>
            </p:nvPr>
          </p:nvSpPr>
          <p:spPr bwMode="gray">
            <a:xfrm>
              <a:off x="6148005" y="1732629"/>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grpSp>
      <p:grpSp>
        <p:nvGrpSpPr>
          <p:cNvPr id="79" name="LegendMoons" hidden="1"/>
          <p:cNvGrpSpPr/>
          <p:nvPr/>
        </p:nvGrpSpPr>
        <p:grpSpPr>
          <a:xfrm>
            <a:off x="7792889" y="267414"/>
            <a:ext cx="916992" cy="1317003"/>
            <a:chOff x="5894005" y="2695123"/>
            <a:chExt cx="916992" cy="1317003"/>
          </a:xfrm>
        </p:grpSpPr>
        <p:grpSp>
          <p:nvGrpSpPr>
            <p:cNvPr id="80" name="MoonLegend1"/>
            <p:cNvGrpSpPr>
              <a:grpSpLocks noChangeAspect="1"/>
            </p:cNvGrpSpPr>
            <p:nvPr>
              <p:custDataLst>
                <p:tags r:id="rId9"/>
              </p:custDataLst>
            </p:nvPr>
          </p:nvGrpSpPr>
          <p:grpSpPr bwMode="gray">
            <a:xfrm>
              <a:off x="5894005" y="2695123"/>
              <a:ext cx="209550" cy="218282"/>
              <a:chOff x="4533" y="183"/>
              <a:chExt cx="144" cy="150"/>
            </a:xfrm>
          </p:grpSpPr>
          <p:sp>
            <p:nvSpPr>
              <p:cNvPr id="98" name="Oval 97"/>
              <p:cNvSpPr>
                <a:spLocks noChangeAspect="1" noChangeArrowheads="1"/>
              </p:cNvSpPr>
              <p:nvPr>
                <p:custDataLst>
                  <p:tags r:id="rId27"/>
                </p:custDataLst>
              </p:nvPr>
            </p:nvSpPr>
            <p:spPr bwMode="gray">
              <a:xfrm>
                <a:off x="4533" y="189"/>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99" name="Arc 98" hidden="1"/>
              <p:cNvSpPr>
                <a:spLocks noChangeAspect="1"/>
              </p:cNvSpPr>
              <p:nvPr>
                <p:custDataLst>
                  <p:tags r:id="rId28"/>
                </p:custDataLst>
              </p:nvPr>
            </p:nvSpPr>
            <p:spPr bwMode="gray">
              <a:xfrm>
                <a:off x="4533" y="183"/>
                <a:ext cx="144" cy="144"/>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grpSp>
        <p:grpSp>
          <p:nvGrpSpPr>
            <p:cNvPr id="81" name="MoonLegend2"/>
            <p:cNvGrpSpPr>
              <a:grpSpLocks noChangeAspect="1"/>
            </p:cNvGrpSpPr>
            <p:nvPr>
              <p:custDataLst>
                <p:tags r:id="rId10"/>
              </p:custDataLst>
            </p:nvPr>
          </p:nvGrpSpPr>
          <p:grpSpPr bwMode="gray">
            <a:xfrm>
              <a:off x="5894005" y="2977103"/>
              <a:ext cx="209550" cy="209551"/>
              <a:chOff x="1694" y="2051"/>
              <a:chExt cx="160" cy="160"/>
            </a:xfrm>
          </p:grpSpPr>
          <p:sp>
            <p:nvSpPr>
              <p:cNvPr id="96" name="Oval 41"/>
              <p:cNvSpPr>
                <a:spLocks noChangeAspect="1" noChangeArrowheads="1"/>
              </p:cNvSpPr>
              <p:nvPr>
                <p:custDataLst>
                  <p:tags r:id="rId25"/>
                </p:custDataLst>
              </p:nvPr>
            </p:nvSpPr>
            <p:spPr bwMode="gray">
              <a:xfrm>
                <a:off x="1694" y="2051"/>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97" name="Arc 42"/>
              <p:cNvSpPr>
                <a:spLocks noChangeAspect="1"/>
              </p:cNvSpPr>
              <p:nvPr>
                <p:custDataLst>
                  <p:tags r:id="rId26"/>
                </p:custDataLst>
              </p:nvPr>
            </p:nvSpPr>
            <p:spPr bwMode="gray">
              <a:xfrm>
                <a:off x="1694" y="2051"/>
                <a:ext cx="160" cy="160"/>
              </a:xfrm>
              <a:prstGeom prst="arc">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grpSp>
        <p:grpSp>
          <p:nvGrpSpPr>
            <p:cNvPr id="82" name="MoonLegend4"/>
            <p:cNvGrpSpPr>
              <a:grpSpLocks noChangeAspect="1"/>
            </p:cNvGrpSpPr>
            <p:nvPr>
              <p:custDataLst>
                <p:tags r:id="rId11"/>
              </p:custDataLst>
            </p:nvPr>
          </p:nvGrpSpPr>
          <p:grpSpPr bwMode="gray">
            <a:xfrm>
              <a:off x="5894005" y="3524395"/>
              <a:ext cx="209550" cy="209551"/>
              <a:chOff x="4495" y="1204"/>
              <a:chExt cx="160" cy="160"/>
            </a:xfrm>
          </p:grpSpPr>
          <p:sp>
            <p:nvSpPr>
              <p:cNvPr id="94" name="Oval 47"/>
              <p:cNvSpPr>
                <a:spLocks noChangeAspect="1" noChangeArrowheads="1"/>
              </p:cNvSpPr>
              <p:nvPr>
                <p:custDataLst>
                  <p:tags r:id="rId23"/>
                </p:custDataLst>
              </p:nvPr>
            </p:nvSpPr>
            <p:spPr bwMode="gray">
              <a:xfrm>
                <a:off x="4495" y="120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95" name="Arc 48"/>
              <p:cNvSpPr>
                <a:spLocks noChangeAspect="1"/>
              </p:cNvSpPr>
              <p:nvPr>
                <p:custDataLst>
                  <p:tags r:id="rId24"/>
                </p:custDataLst>
              </p:nvPr>
            </p:nvSpPr>
            <p:spPr bwMode="gray">
              <a:xfrm>
                <a:off x="4495" y="1204"/>
                <a:ext cx="160" cy="160"/>
              </a:xfrm>
              <a:prstGeom prst="arc">
                <a:avLst>
                  <a:gd name="adj1" fmla="val 16200000"/>
                  <a:gd name="adj2" fmla="val 108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grpSp>
        <p:grpSp>
          <p:nvGrpSpPr>
            <p:cNvPr id="83" name="MoonLegend5"/>
            <p:cNvGrpSpPr>
              <a:grpSpLocks noChangeAspect="1"/>
            </p:cNvGrpSpPr>
            <p:nvPr>
              <p:custDataLst>
                <p:tags r:id="rId12"/>
              </p:custDataLst>
            </p:nvPr>
          </p:nvGrpSpPr>
          <p:grpSpPr bwMode="gray">
            <a:xfrm>
              <a:off x="5894005" y="3799629"/>
              <a:ext cx="209550" cy="209551"/>
              <a:chOff x="4495" y="1447"/>
              <a:chExt cx="160" cy="160"/>
            </a:xfrm>
          </p:grpSpPr>
          <p:sp>
            <p:nvSpPr>
              <p:cNvPr id="92" name="Oval 50"/>
              <p:cNvSpPr>
                <a:spLocks noChangeAspect="1" noChangeArrowheads="1"/>
              </p:cNvSpPr>
              <p:nvPr>
                <p:custDataLst>
                  <p:tags r:id="rId21"/>
                </p:custDataLst>
              </p:nvPr>
            </p:nvSpPr>
            <p:spPr bwMode="gray">
              <a:xfrm>
                <a:off x="4495" y="1447"/>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93" name="Oval 51"/>
              <p:cNvSpPr>
                <a:spLocks noChangeAspect="1" noChangeArrowheads="1"/>
              </p:cNvSpPr>
              <p:nvPr>
                <p:custDataLst>
                  <p:tags r:id="rId22"/>
                </p:custDataLst>
              </p:nvPr>
            </p:nvSpPr>
            <p:spPr bwMode="gray">
              <a:xfrm>
                <a:off x="4495" y="1447"/>
                <a:ext cx="160" cy="160"/>
              </a:xfrm>
              <a:prstGeom prst="arc">
                <a:avLst>
                  <a:gd name="adj1" fmla="val 16200000"/>
                  <a:gd name="adj2" fmla="val 162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grpSp>
        <p:grpSp>
          <p:nvGrpSpPr>
            <p:cNvPr id="84" name="MoonLegend3"/>
            <p:cNvGrpSpPr>
              <a:grpSpLocks noChangeAspect="1"/>
            </p:cNvGrpSpPr>
            <p:nvPr>
              <p:custDataLst>
                <p:tags r:id="rId13"/>
              </p:custDataLst>
            </p:nvPr>
          </p:nvGrpSpPr>
          <p:grpSpPr bwMode="gray">
            <a:xfrm>
              <a:off x="5894005" y="3251543"/>
              <a:ext cx="209550" cy="209551"/>
              <a:chOff x="4495" y="1205"/>
              <a:chExt cx="160" cy="160"/>
            </a:xfrm>
          </p:grpSpPr>
          <p:sp>
            <p:nvSpPr>
              <p:cNvPr id="90" name="Oval 47"/>
              <p:cNvSpPr>
                <a:spLocks noChangeAspect="1" noChangeArrowheads="1"/>
              </p:cNvSpPr>
              <p:nvPr>
                <p:custDataLst>
                  <p:tags r:id="rId19"/>
                </p:custDataLst>
              </p:nvPr>
            </p:nvSpPr>
            <p:spPr bwMode="gray">
              <a:xfrm>
                <a:off x="4495" y="1205"/>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91" name="Arc 48"/>
              <p:cNvSpPr>
                <a:spLocks noChangeAspect="1"/>
              </p:cNvSpPr>
              <p:nvPr>
                <p:custDataLst>
                  <p:tags r:id="rId20"/>
                </p:custDataLst>
              </p:nvPr>
            </p:nvSpPr>
            <p:spPr bwMode="gray">
              <a:xfrm>
                <a:off x="4495" y="1205"/>
                <a:ext cx="160" cy="160"/>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grpSp>
        <p:sp>
          <p:nvSpPr>
            <p:cNvPr id="85" name="Legend1"/>
            <p:cNvSpPr>
              <a:spLocks noChangeArrowheads="1"/>
            </p:cNvSpPr>
            <p:nvPr>
              <p:custDataLst>
                <p:tags r:id="rId14"/>
              </p:custDataLst>
            </p:nvPr>
          </p:nvSpPr>
          <p:spPr bwMode="gray">
            <a:xfrm>
              <a:off x="6214680" y="2696542"/>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sp>
          <p:nvSpPr>
            <p:cNvPr id="86" name="Legend2"/>
            <p:cNvSpPr>
              <a:spLocks noChangeArrowheads="1"/>
            </p:cNvSpPr>
            <p:nvPr>
              <p:custDataLst>
                <p:tags r:id="rId15"/>
              </p:custDataLst>
            </p:nvPr>
          </p:nvSpPr>
          <p:spPr bwMode="gray">
            <a:xfrm>
              <a:off x="6214680" y="2974156"/>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a:latin typeface="+mn-lt"/>
                  <a:ea typeface="+mn-ea"/>
                </a:rPr>
                <a:t>Legend</a:t>
              </a:r>
              <a:endParaRPr lang="en-US" sz="1400" baseline="0" dirty="0">
                <a:latin typeface="+mn-lt"/>
                <a:ea typeface="+mn-ea"/>
              </a:endParaRPr>
            </a:p>
          </p:txBody>
        </p:sp>
        <p:sp>
          <p:nvSpPr>
            <p:cNvPr id="87" name="Legend3"/>
            <p:cNvSpPr>
              <a:spLocks noChangeArrowheads="1"/>
            </p:cNvSpPr>
            <p:nvPr>
              <p:custDataLst>
                <p:tags r:id="rId16"/>
              </p:custDataLst>
            </p:nvPr>
          </p:nvSpPr>
          <p:spPr bwMode="gray">
            <a:xfrm>
              <a:off x="6214680" y="3248596"/>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sp>
          <p:nvSpPr>
            <p:cNvPr id="88" name="Legend4"/>
            <p:cNvSpPr>
              <a:spLocks noChangeArrowheads="1"/>
            </p:cNvSpPr>
            <p:nvPr>
              <p:custDataLst>
                <p:tags r:id="rId17"/>
              </p:custDataLst>
            </p:nvPr>
          </p:nvSpPr>
          <p:spPr bwMode="gray">
            <a:xfrm>
              <a:off x="6214680" y="3521448"/>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sp>
          <p:nvSpPr>
            <p:cNvPr id="89" name="Legend5"/>
            <p:cNvSpPr>
              <a:spLocks noChangeArrowheads="1"/>
            </p:cNvSpPr>
            <p:nvPr>
              <p:custDataLst>
                <p:tags r:id="rId18"/>
              </p:custDataLst>
            </p:nvPr>
          </p:nvSpPr>
          <p:spPr bwMode="gray">
            <a:xfrm>
              <a:off x="6214680" y="3796682"/>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a:latin typeface="+mn-lt"/>
                  <a:ea typeface="+mn-ea"/>
                </a:rPr>
                <a:t>Legend</a:t>
              </a:r>
              <a:endParaRPr lang="en-US" sz="1400" baseline="0" dirty="0">
                <a:latin typeface="+mn-lt"/>
                <a:ea typeface="+mn-ea"/>
              </a:endParaRPr>
            </a:p>
          </p:txBody>
        </p:sp>
      </p:grpSp>
    </p:spTree>
    <p:extLst>
      <p:ext uri="{BB962C8B-B14F-4D97-AF65-F5344CB8AC3E}">
        <p14:creationId xmlns:p14="http://schemas.microsoft.com/office/powerpoint/2010/main" val="3863340486"/>
      </p:ext>
    </p:extLst>
  </p:cSld>
  <p:clrMap bg1="lt1" tx1="dk1" bg2="lt2" tx2="dk2" accent1="accent1" accent2="accent2" accent3="accent3" accent4="accent4" accent5="accent5" accent6="accent6" hlink="hlink" folHlink="folHlink"/>
  <p:sldLayoutIdLst>
    <p:sldLayoutId id="2147483691" r:id="rId1"/>
    <p:sldLayoutId id="2147483692" r:id="rId2"/>
    <p:sldLayoutId id="2147483693" r:id="rId3"/>
    <p:sldLayoutId id="2147483694" r:id="rId4"/>
  </p:sldLayoutIdLst>
  <p:txStyles>
    <p:titleStyle>
      <a:lvl1pPr algn="l" defTabSz="895350" rtl="0" eaLnBrk="1" fontAlgn="base" hangingPunct="1">
        <a:spcBef>
          <a:spcPct val="0"/>
        </a:spcBef>
        <a:spcAft>
          <a:spcPct val="0"/>
        </a:spcAft>
        <a:tabLst>
          <a:tab pos="269875" algn="l"/>
        </a:tabLst>
        <a:defRPr sz="2000" b="0" baseline="0">
          <a:solidFill>
            <a:schemeClr val="tx2"/>
          </a:solidFill>
          <a:latin typeface="+mj-lt"/>
          <a:ea typeface="+mj-ea"/>
          <a:cs typeface="+mj-cs"/>
        </a:defRPr>
      </a:lvl1pPr>
      <a:lvl2pPr algn="l" defTabSz="895350" rtl="0" eaLnBrk="1" fontAlgn="base" hangingPunct="1">
        <a:spcBef>
          <a:spcPct val="0"/>
        </a:spcBef>
        <a:spcAft>
          <a:spcPct val="0"/>
        </a:spcAft>
        <a:defRPr sz="1900" b="1">
          <a:solidFill>
            <a:schemeClr val="tx2"/>
          </a:solidFill>
          <a:latin typeface="Arial" charset="0"/>
        </a:defRPr>
      </a:lvl2pPr>
      <a:lvl3pPr algn="l" defTabSz="895350" rtl="0" eaLnBrk="1" fontAlgn="base" hangingPunct="1">
        <a:spcBef>
          <a:spcPct val="0"/>
        </a:spcBef>
        <a:spcAft>
          <a:spcPct val="0"/>
        </a:spcAft>
        <a:defRPr sz="1900" b="1">
          <a:solidFill>
            <a:schemeClr val="tx2"/>
          </a:solidFill>
          <a:latin typeface="Arial" charset="0"/>
        </a:defRPr>
      </a:lvl3pPr>
      <a:lvl4pPr algn="l" defTabSz="895350" rtl="0" eaLnBrk="1" fontAlgn="base" hangingPunct="1">
        <a:spcBef>
          <a:spcPct val="0"/>
        </a:spcBef>
        <a:spcAft>
          <a:spcPct val="0"/>
        </a:spcAft>
        <a:defRPr sz="1900" b="1">
          <a:solidFill>
            <a:schemeClr val="tx2"/>
          </a:solidFill>
          <a:latin typeface="Arial" charset="0"/>
        </a:defRPr>
      </a:lvl4pPr>
      <a:lvl5pPr algn="l" defTabSz="895350" rtl="0" eaLnBrk="1" fontAlgn="base" hangingPunct="1">
        <a:spcBef>
          <a:spcPct val="0"/>
        </a:spcBef>
        <a:spcAft>
          <a:spcPct val="0"/>
        </a:spcAft>
        <a:defRPr sz="1900" b="1">
          <a:solidFill>
            <a:schemeClr val="tx2"/>
          </a:solidFill>
          <a:latin typeface="Arial" charset="0"/>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p:titleStyle>
    <p:bodyStyle>
      <a:lvl1pPr marL="0" indent="0" algn="l" defTabSz="895350" rtl="0" eaLnBrk="1" fontAlgn="base" hangingPunct="1">
        <a:spcBef>
          <a:spcPct val="0"/>
        </a:spcBef>
        <a:spcAft>
          <a:spcPct val="0"/>
        </a:spcAft>
        <a:buClr>
          <a:schemeClr val="tx2"/>
        </a:buClr>
        <a:buSzPct val="100000"/>
        <a:defRPr sz="14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4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4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4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4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ext>
  </p:extLst>
</p:sldMaster>
</file>

<file path=ppt/slideMasters/slideMaster50.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7"/>
            </p:custDataLst>
            <p:extLst>
              <p:ext uri="{D42A27DB-BD31-4B8C-83A1-F6EECF244321}">
                <p14:modId xmlns:p14="http://schemas.microsoft.com/office/powerpoint/2010/main" val="469800465"/>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50900" name="think-cell Slide" r:id="rId36" imgW="270" imgH="270" progId="TCLayout.ActiveDocument.1">
                  <p:embed/>
                </p:oleObj>
              </mc:Choice>
              <mc:Fallback>
                <p:oleObj name="think-cell Slide" r:id="rId36" imgW="270" imgH="270" progId="TCLayout.ActiveDocument.1">
                  <p:embed/>
                  <p:pic>
                    <p:nvPicPr>
                      <p:cNvPr id="2" name="Object 1" hidden="1"/>
                      <p:cNvPicPr/>
                      <p:nvPr/>
                    </p:nvPicPr>
                    <p:blipFill>
                      <a:blip r:embed="rId37"/>
                      <a:stretch>
                        <a:fillRect/>
                      </a:stretch>
                    </p:blipFill>
                    <p:spPr>
                      <a:xfrm>
                        <a:off x="0" y="0"/>
                        <a:ext cx="158750" cy="158750"/>
                      </a:xfrm>
                      <a:prstGeom prst="rect">
                        <a:avLst/>
                      </a:prstGeom>
                    </p:spPr>
                  </p:pic>
                </p:oleObj>
              </mc:Fallback>
            </mc:AlternateContent>
          </a:graphicData>
        </a:graphic>
      </p:graphicFrame>
      <p:sp>
        <p:nvSpPr>
          <p:cNvPr id="6" name="Rectangle 5" hidden="1"/>
          <p:cNvSpPr/>
          <p:nvPr>
            <p:custDataLst>
              <p:tags r:id="rId8"/>
            </p:custDataLst>
          </p:nvPr>
        </p:nvSpPr>
        <p:spPr bwMode="auto">
          <a:xfrm>
            <a:off x="0" y="0"/>
            <a:ext cx="158750" cy="158750"/>
          </a:xfrm>
          <a:prstGeom prst="rect">
            <a:avLst/>
          </a:prstGeom>
          <a:solidFill>
            <a:schemeClr val="bg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dirty="0">
              <a:solidFill>
                <a:srgbClr val="000000"/>
              </a:solidFill>
              <a:sym typeface="Arial" panose="020B0604020202020204" pitchFamily="34" charset="0"/>
            </a:endParaRPr>
          </a:p>
        </p:txBody>
      </p:sp>
      <p:sp>
        <p:nvSpPr>
          <p:cNvPr id="1034" name="Working Draft" hidden="1"/>
          <p:cNvSpPr txBox="1">
            <a:spLocks noChangeArrowheads="1"/>
          </p:cNvSpPr>
          <p:nvPr/>
        </p:nvSpPr>
        <p:spPr bwMode="gray">
          <a:xfrm rot="5400000">
            <a:off x="7966656" y="1940591"/>
            <a:ext cx="1849865"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600" baseline="0">
                <a:solidFill>
                  <a:srgbClr val="808080"/>
                </a:solidFill>
                <a:latin typeface="+mn-lt"/>
                <a:ea typeface="+mn-ea"/>
              </a:rPr>
              <a:t>Last Modified 21/05/2018 17:44 India Standard Time</a:t>
            </a:r>
            <a:endParaRPr lang="en-US" baseline="0" dirty="0">
              <a:solidFill>
                <a:srgbClr val="808080"/>
              </a:solidFill>
              <a:latin typeface="+mn-lt"/>
              <a:ea typeface="+mn-ea"/>
            </a:endParaRPr>
          </a:p>
        </p:txBody>
      </p:sp>
      <p:sp>
        <p:nvSpPr>
          <p:cNvPr id="1035" name="Printed" hidden="1"/>
          <p:cNvSpPr txBox="1">
            <a:spLocks noChangeArrowheads="1"/>
          </p:cNvSpPr>
          <p:nvPr/>
        </p:nvSpPr>
        <p:spPr bwMode="gray">
          <a:xfrm rot="5400000">
            <a:off x="8768958" y="4114417"/>
            <a:ext cx="245260"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600" baseline="0" dirty="0">
                <a:solidFill>
                  <a:srgbClr val="808080"/>
                </a:solidFill>
                <a:latin typeface="+mn-lt"/>
                <a:ea typeface="+mn-ea"/>
              </a:rPr>
              <a:t>Printed</a:t>
            </a:r>
            <a:endParaRPr lang="en-US" baseline="0" dirty="0">
              <a:solidFill>
                <a:srgbClr val="808080"/>
              </a:solidFill>
              <a:latin typeface="+mn-lt"/>
              <a:ea typeface="+mn-ea"/>
            </a:endParaRPr>
          </a:p>
        </p:txBody>
      </p:sp>
      <p:sp>
        <p:nvSpPr>
          <p:cNvPr id="19" name="Title Placeholder 2"/>
          <p:cNvSpPr>
            <a:spLocks noGrp="1" noChangeArrowheads="1"/>
          </p:cNvSpPr>
          <p:nvPr>
            <p:ph type="title"/>
          </p:nvPr>
        </p:nvSpPr>
        <p:spPr bwMode="gray">
          <a:xfrm>
            <a:off x="119063" y="230188"/>
            <a:ext cx="8618537"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latinLnBrk="0"/>
            <a:r>
              <a:rPr lang="en-US"/>
              <a:t>Click to edit Master title style</a:t>
            </a:r>
            <a:endParaRPr lang="en-US" noProof="0" dirty="0"/>
          </a:p>
        </p:txBody>
      </p:sp>
      <p:sp>
        <p:nvSpPr>
          <p:cNvPr id="10" name="1. On-page tracker" hidden="1"/>
          <p:cNvSpPr>
            <a:spLocks noChangeArrowheads="1"/>
          </p:cNvSpPr>
          <p:nvPr/>
        </p:nvSpPr>
        <p:spPr bwMode="gray">
          <a:xfrm>
            <a:off x="119063" y="75764"/>
            <a:ext cx="490519"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800" cap="all" baseline="0" dirty="0">
                <a:solidFill>
                  <a:schemeClr val="accent6"/>
                </a:solidFill>
                <a:latin typeface="+mn-lt"/>
                <a:ea typeface="+mn-ea"/>
              </a:rPr>
              <a:t>Tracker</a:t>
            </a:r>
          </a:p>
        </p:txBody>
      </p:sp>
      <p:sp>
        <p:nvSpPr>
          <p:cNvPr id="11" name="3. Unit of measure" hidden="1"/>
          <p:cNvSpPr txBox="1">
            <a:spLocks noChangeArrowheads="1"/>
          </p:cNvSpPr>
          <p:nvPr/>
        </p:nvSpPr>
        <p:spPr bwMode="gray">
          <a:xfrm>
            <a:off x="119063" y="554865"/>
            <a:ext cx="8618537"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600" baseline="0" dirty="0">
                <a:solidFill>
                  <a:schemeClr val="accent6"/>
                </a:solidFill>
                <a:latin typeface="+mn-lt"/>
                <a:ea typeface="+mn-ea"/>
              </a:rPr>
              <a:t>Unit of measure</a:t>
            </a:r>
          </a:p>
        </p:txBody>
      </p:sp>
      <p:grpSp>
        <p:nvGrpSpPr>
          <p:cNvPr id="4" name="Slide Elements" hidden="1"/>
          <p:cNvGrpSpPr/>
          <p:nvPr/>
        </p:nvGrpSpPr>
        <p:grpSpPr bwMode="gray">
          <a:xfrm>
            <a:off x="119063" y="6305945"/>
            <a:ext cx="8618537" cy="325438"/>
            <a:chOff x="119063" y="6305945"/>
            <a:chExt cx="8618537" cy="325438"/>
          </a:xfrm>
        </p:grpSpPr>
        <p:sp>
          <p:nvSpPr>
            <p:cNvPr id="13" name="4. Footnote"/>
            <p:cNvSpPr txBox="1">
              <a:spLocks noChangeArrowheads="1"/>
            </p:cNvSpPr>
            <p:nvPr/>
          </p:nvSpPr>
          <p:spPr bwMode="gray">
            <a:xfrm>
              <a:off x="119063" y="6305945"/>
              <a:ext cx="8618537" cy="123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800" baseline="0" dirty="0">
                  <a:solidFill>
                    <a:schemeClr val="accent6"/>
                  </a:solidFill>
                  <a:latin typeface="+mn-lt"/>
                  <a:ea typeface="+mn-ea"/>
                </a:rPr>
                <a:t>1 Footnote</a:t>
              </a:r>
            </a:p>
          </p:txBody>
        </p:sp>
        <p:sp>
          <p:nvSpPr>
            <p:cNvPr id="14" name="5. Source"/>
            <p:cNvSpPr>
              <a:spLocks noChangeArrowheads="1"/>
            </p:cNvSpPr>
            <p:nvPr/>
          </p:nvSpPr>
          <p:spPr bwMode="gray">
            <a:xfrm>
              <a:off x="119063" y="6507558"/>
              <a:ext cx="7200000" cy="123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marL="609600" indent="-609600" defTabSz="895350">
                <a:tabLst>
                  <a:tab pos="612775" algn="l"/>
                </a:tabLst>
              </a:pPr>
              <a:r>
                <a:rPr lang="en-US" sz="800" baseline="0" dirty="0">
                  <a:solidFill>
                    <a:schemeClr val="accent6"/>
                  </a:solidFill>
                  <a:latin typeface="+mn-lt"/>
                  <a:ea typeface="+mn-ea"/>
                </a:rPr>
                <a:t>SOURCE: Source</a:t>
              </a:r>
            </a:p>
          </p:txBody>
        </p:sp>
      </p:grpSp>
      <p:sp>
        <p:nvSpPr>
          <p:cNvPr id="3" name="Text Placeholder 2"/>
          <p:cNvSpPr>
            <a:spLocks noGrp="1"/>
          </p:cNvSpPr>
          <p:nvPr>
            <p:ph type="body" idx="1"/>
          </p:nvPr>
        </p:nvSpPr>
        <p:spPr bwMode="gray">
          <a:xfrm>
            <a:off x="1452564" y="1951380"/>
            <a:ext cx="4302125" cy="1077218"/>
          </a:xfrm>
          <a:prstGeom prst="rect">
            <a:avLst/>
          </a:prstGeom>
        </p:spPr>
        <p:txBody>
          <a:bodyPr vert="horz" lIns="0" tIns="0" rIns="0" bIns="0" rtlCol="0">
            <a:spAutoFit/>
          </a:bodyPr>
          <a:lstStyle/>
          <a:p>
            <a:pPr lvl="0" latinLnBrk="0"/>
            <a:r>
              <a:rPr lang="en-US"/>
              <a:t>Edit Master text styles</a:t>
            </a:r>
          </a:p>
          <a:p>
            <a:pPr lvl="1" latinLnBrk="0"/>
            <a:r>
              <a:rPr lang="en-US"/>
              <a:t>Second level</a:t>
            </a:r>
          </a:p>
          <a:p>
            <a:pPr lvl="2" latinLnBrk="0"/>
            <a:r>
              <a:rPr lang="en-US"/>
              <a:t>Third level</a:t>
            </a:r>
          </a:p>
          <a:p>
            <a:pPr lvl="3" latinLnBrk="0"/>
            <a:r>
              <a:rPr lang="en-US"/>
              <a:t>Fourth level</a:t>
            </a:r>
          </a:p>
          <a:p>
            <a:pPr lvl="4" latinLnBrk="0"/>
            <a:r>
              <a:rPr lang="en-US"/>
              <a:t>Fifth level</a:t>
            </a:r>
            <a:endParaRPr lang="en-US" dirty="0"/>
          </a:p>
        </p:txBody>
      </p:sp>
      <p:grpSp>
        <p:nvGrpSpPr>
          <p:cNvPr id="15" name="ACET" hidden="1"/>
          <p:cNvGrpSpPr>
            <a:grpSpLocks/>
          </p:cNvGrpSpPr>
          <p:nvPr/>
        </p:nvGrpSpPr>
        <p:grpSpPr bwMode="gray">
          <a:xfrm>
            <a:off x="1452563" y="1257754"/>
            <a:ext cx="4264025" cy="508000"/>
            <a:chOff x="915" y="710"/>
            <a:chExt cx="2686" cy="320"/>
          </a:xfrm>
        </p:grpSpPr>
        <p:cxnSp>
          <p:nvCxnSpPr>
            <p:cNvPr id="16" name="AutoShape 249"/>
            <p:cNvCxnSpPr>
              <a:cxnSpLocks noChangeShapeType="1"/>
              <a:stCxn id="18" idx="4"/>
              <a:endCxn id="18" idx="6"/>
            </p:cNvCxnSpPr>
            <p:nvPr/>
          </p:nvCxnSpPr>
          <p:spPr bwMode="gray">
            <a:xfrm>
              <a:off x="915" y="1030"/>
              <a:ext cx="2686" cy="0"/>
            </a:xfrm>
            <a:prstGeom prst="straightConnector1">
              <a:avLst/>
            </a:prstGeom>
            <a:noFill/>
            <a:ln w="9525">
              <a:solidFill>
                <a:schemeClr val="accent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8" name="AutoShape 250"/>
            <p:cNvSpPr>
              <a:spLocks noChangeArrowheads="1"/>
            </p:cNvSpPr>
            <p:nvPr/>
          </p:nvSpPr>
          <p:spPr bwMode="gray">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US" b="1" baseline="0" dirty="0">
                  <a:solidFill>
                    <a:srgbClr val="000000"/>
                  </a:solidFill>
                  <a:latin typeface="+mn-lt"/>
                  <a:ea typeface="+mn-ea"/>
                </a:rPr>
                <a:t>Title</a:t>
              </a:r>
            </a:p>
            <a:p>
              <a:r>
                <a:rPr lang="en-US" baseline="0" dirty="0">
                  <a:solidFill>
                    <a:schemeClr val="accent6"/>
                  </a:solidFill>
                  <a:latin typeface="+mn-lt"/>
                  <a:ea typeface="+mn-ea"/>
                </a:rPr>
                <a:t>Unit of measure</a:t>
              </a:r>
            </a:p>
          </p:txBody>
        </p:sp>
      </p:grpSp>
      <p:grpSp>
        <p:nvGrpSpPr>
          <p:cNvPr id="17" name="McKSticker" hidden="1"/>
          <p:cNvGrpSpPr/>
          <p:nvPr/>
        </p:nvGrpSpPr>
        <p:grpSpPr bwMode="gray">
          <a:xfrm>
            <a:off x="8264265" y="285750"/>
            <a:ext cx="473335" cy="150811"/>
            <a:chOff x="8267440" y="285750"/>
            <a:chExt cx="473335" cy="150811"/>
          </a:xfrm>
        </p:grpSpPr>
        <p:sp>
          <p:nvSpPr>
            <p:cNvPr id="20" name="StickerRectangle"/>
            <p:cNvSpPr>
              <a:spLocks noChangeArrowheads="1"/>
            </p:cNvSpPr>
            <p:nvPr/>
          </p:nvSpPr>
          <p:spPr bwMode="gray">
            <a:xfrm>
              <a:off x="8267440" y="285750"/>
              <a:ext cx="473335" cy="150811"/>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a:buClr>
                  <a:srgbClr val="002960"/>
                </a:buClr>
              </a:pPr>
              <a:r>
                <a:rPr lang="en-US" sz="800" baseline="0" dirty="0">
                  <a:solidFill>
                    <a:schemeClr val="accent6"/>
                  </a:solidFill>
                  <a:latin typeface="+mn-lt"/>
                  <a:ea typeface="+mn-ea"/>
                </a:rPr>
                <a:t>STICKER</a:t>
              </a:r>
            </a:p>
          </p:txBody>
        </p:sp>
        <p:cxnSp>
          <p:nvCxnSpPr>
            <p:cNvPr id="21" name="AutoShape 31"/>
            <p:cNvCxnSpPr>
              <a:cxnSpLocks noChangeShapeType="1"/>
              <a:stCxn id="20" idx="2"/>
              <a:endCxn id="20" idx="4"/>
            </p:cNvCxnSpPr>
            <p:nvPr/>
          </p:nvCxnSpPr>
          <p:spPr bwMode="gray">
            <a:xfrm>
              <a:off x="8267440" y="285750"/>
              <a:ext cx="0" cy="150811"/>
            </a:xfrm>
            <a:prstGeom prst="straightConnector1">
              <a:avLst/>
            </a:prstGeom>
            <a:noFill/>
            <a:ln w="9525">
              <a:solidFill>
                <a:schemeClr val="accent6"/>
              </a:solidFill>
              <a:round/>
              <a:headEnd/>
              <a:tailEnd/>
            </a:ln>
            <a:extLst>
              <a:ext uri="{909E8E84-426E-40DD-AFC4-6F175D3DCCD1}">
                <a14:hiddenFill xmlns:a14="http://schemas.microsoft.com/office/drawing/2010/main">
                  <a:noFill/>
                </a14:hiddenFill>
              </a:ext>
            </a:extLst>
          </p:spPr>
        </p:cxnSp>
        <p:cxnSp>
          <p:nvCxnSpPr>
            <p:cNvPr id="22" name="AutoShape 32"/>
            <p:cNvCxnSpPr>
              <a:cxnSpLocks noChangeShapeType="1"/>
              <a:stCxn id="20" idx="4"/>
              <a:endCxn id="20" idx="6"/>
            </p:cNvCxnSpPr>
            <p:nvPr/>
          </p:nvCxnSpPr>
          <p:spPr bwMode="gray">
            <a:xfrm>
              <a:off x="8267440" y="436561"/>
              <a:ext cx="473335" cy="0"/>
            </a:xfrm>
            <a:prstGeom prst="straightConnector1">
              <a:avLst/>
            </a:prstGeom>
            <a:noFill/>
            <a:ln w="25400">
              <a:solidFill>
                <a:schemeClr val="accent6"/>
              </a:solidFill>
              <a:round/>
              <a:headEnd/>
              <a:tailEnd/>
            </a:ln>
            <a:extLst>
              <a:ext uri="{909E8E84-426E-40DD-AFC4-6F175D3DCCD1}">
                <a14:hiddenFill xmlns:a14="http://schemas.microsoft.com/office/drawing/2010/main">
                  <a:noFill/>
                </a14:hiddenFill>
              </a:ext>
            </a:extLst>
          </p:spPr>
        </p:cxnSp>
      </p:grpSp>
      <p:sp>
        <p:nvSpPr>
          <p:cNvPr id="23" name="SlideBottomBar" hidden="1"/>
          <p:cNvSpPr/>
          <p:nvPr/>
        </p:nvSpPr>
        <p:spPr>
          <a:xfrm>
            <a:off x="8437547" y="6182120"/>
            <a:ext cx="45719" cy="123825"/>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aseline="0" dirty="0">
              <a:solidFill>
                <a:schemeClr val="tx1"/>
              </a:solidFill>
              <a:latin typeface="+mn-lt"/>
              <a:ea typeface="+mn-ea"/>
            </a:endParaRPr>
          </a:p>
        </p:txBody>
      </p:sp>
      <p:sp>
        <p:nvSpPr>
          <p:cNvPr id="24" name="doc id" hidden="1"/>
          <p:cNvSpPr txBox="1">
            <a:spLocks noChangeArrowheads="1"/>
          </p:cNvSpPr>
          <p:nvPr/>
        </p:nvSpPr>
        <p:spPr bwMode="white">
          <a:xfrm>
            <a:off x="8104473" y="36513"/>
            <a:ext cx="634716" cy="115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hangingPunct="1">
              <a:defRPr/>
            </a:pPr>
            <a:endParaRPr lang="en-US" sz="800" baseline="0" dirty="0">
              <a:solidFill>
                <a:schemeClr val="accent1"/>
              </a:solidFill>
              <a:latin typeface="+mn-lt"/>
              <a:ea typeface="+mn-ea"/>
            </a:endParaRPr>
          </a:p>
        </p:txBody>
      </p:sp>
      <p:grpSp>
        <p:nvGrpSpPr>
          <p:cNvPr id="63" name="LegendLines" hidden="1"/>
          <p:cNvGrpSpPr/>
          <p:nvPr/>
        </p:nvGrpSpPr>
        <p:grpSpPr>
          <a:xfrm>
            <a:off x="7551589" y="267815"/>
            <a:ext cx="1158292" cy="761545"/>
            <a:chOff x="7607284" y="279400"/>
            <a:chExt cx="1158292" cy="761545"/>
          </a:xfrm>
        </p:grpSpPr>
        <p:sp>
          <p:nvSpPr>
            <p:cNvPr id="64" name="LineLegend1"/>
            <p:cNvSpPr>
              <a:spLocks noChangeShapeType="1"/>
            </p:cNvSpPr>
            <p:nvPr/>
          </p:nvSpPr>
          <p:spPr bwMode="gray">
            <a:xfrm>
              <a:off x="7607284" y="387122"/>
              <a:ext cx="457200"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65" name="LineLegend2"/>
            <p:cNvSpPr>
              <a:spLocks noChangeShapeType="1"/>
            </p:cNvSpPr>
            <p:nvPr/>
          </p:nvSpPr>
          <p:spPr bwMode="gray">
            <a:xfrm>
              <a:off x="7607284" y="653822"/>
              <a:ext cx="457200"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66" name="LineLegend3"/>
            <p:cNvSpPr>
              <a:spLocks noChangeShapeType="1"/>
            </p:cNvSpPr>
            <p:nvPr/>
          </p:nvSpPr>
          <p:spPr bwMode="gray">
            <a:xfrm>
              <a:off x="7607284" y="933223"/>
              <a:ext cx="457200"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67" name="Legend1"/>
            <p:cNvSpPr>
              <a:spLocks noChangeArrowheads="1"/>
            </p:cNvSpPr>
            <p:nvPr>
              <p:custDataLst>
                <p:tags r:id="rId33"/>
              </p:custDataLst>
            </p:nvPr>
          </p:nvSpPr>
          <p:spPr bwMode="gray">
            <a:xfrm>
              <a:off x="8169259" y="279400"/>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sp>
          <p:nvSpPr>
            <p:cNvPr id="68" name="Legend2"/>
            <p:cNvSpPr>
              <a:spLocks noChangeArrowheads="1"/>
            </p:cNvSpPr>
            <p:nvPr>
              <p:custDataLst>
                <p:tags r:id="rId34"/>
              </p:custDataLst>
            </p:nvPr>
          </p:nvSpPr>
          <p:spPr bwMode="gray">
            <a:xfrm>
              <a:off x="8169259" y="546100"/>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a:latin typeface="+mn-lt"/>
                  <a:ea typeface="+mn-ea"/>
                </a:rPr>
                <a:t>Legend</a:t>
              </a:r>
              <a:endParaRPr lang="en-US" sz="1400" baseline="0" dirty="0">
                <a:latin typeface="+mn-lt"/>
                <a:ea typeface="+mn-ea"/>
              </a:endParaRPr>
            </a:p>
          </p:txBody>
        </p:sp>
        <p:sp>
          <p:nvSpPr>
            <p:cNvPr id="69" name="Legend3"/>
            <p:cNvSpPr>
              <a:spLocks noChangeArrowheads="1"/>
            </p:cNvSpPr>
            <p:nvPr>
              <p:custDataLst>
                <p:tags r:id="rId35"/>
              </p:custDataLst>
            </p:nvPr>
          </p:nvSpPr>
          <p:spPr bwMode="gray">
            <a:xfrm>
              <a:off x="8169259" y="825501"/>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grpSp>
      <p:grpSp>
        <p:nvGrpSpPr>
          <p:cNvPr id="70" name="LegendBoxes" hidden="1"/>
          <p:cNvGrpSpPr/>
          <p:nvPr/>
        </p:nvGrpSpPr>
        <p:grpSpPr>
          <a:xfrm>
            <a:off x="7859564" y="267919"/>
            <a:ext cx="850317" cy="1028245"/>
            <a:chOff x="5894005" y="919828"/>
            <a:chExt cx="850317" cy="1028245"/>
          </a:xfrm>
        </p:grpSpPr>
        <p:sp>
          <p:nvSpPr>
            <p:cNvPr id="71" name="RectangleLegend1"/>
            <p:cNvSpPr>
              <a:spLocks noChangeArrowheads="1"/>
            </p:cNvSpPr>
            <p:nvPr/>
          </p:nvSpPr>
          <p:spPr bwMode="gray">
            <a:xfrm>
              <a:off x="5894005" y="947381"/>
              <a:ext cx="165100" cy="160338"/>
            </a:xfrm>
            <a:prstGeom prst="rect">
              <a:avLst/>
            </a:prstGeom>
            <a:solidFill>
              <a:schemeClr val="accent1"/>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72" name="RectangleLegend2"/>
            <p:cNvSpPr>
              <a:spLocks noChangeArrowheads="1"/>
            </p:cNvSpPr>
            <p:nvPr/>
          </p:nvSpPr>
          <p:spPr bwMode="gray">
            <a:xfrm>
              <a:off x="5894005" y="1217256"/>
              <a:ext cx="165100" cy="160338"/>
            </a:xfrm>
            <a:prstGeom prst="rect">
              <a:avLst/>
            </a:prstGeom>
            <a:solidFill>
              <a:schemeClr val="accent2"/>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73" name="RectangleLegend3"/>
            <p:cNvSpPr>
              <a:spLocks noChangeArrowheads="1"/>
            </p:cNvSpPr>
            <p:nvPr/>
          </p:nvSpPr>
          <p:spPr bwMode="gray">
            <a:xfrm>
              <a:off x="5894005" y="1488719"/>
              <a:ext cx="165100" cy="160338"/>
            </a:xfrm>
            <a:prstGeom prst="rect">
              <a:avLst/>
            </a:prstGeom>
            <a:solidFill>
              <a:schemeClr val="accent3"/>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74" name="RectangleLegend4"/>
            <p:cNvSpPr>
              <a:spLocks noChangeArrowheads="1"/>
            </p:cNvSpPr>
            <p:nvPr/>
          </p:nvSpPr>
          <p:spPr bwMode="gray">
            <a:xfrm>
              <a:off x="5894005" y="1760182"/>
              <a:ext cx="165100" cy="160338"/>
            </a:xfrm>
            <a:prstGeom prst="rect">
              <a:avLst/>
            </a:prstGeom>
            <a:solidFill>
              <a:schemeClr val="accent4"/>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75" name="Legend1"/>
            <p:cNvSpPr>
              <a:spLocks noChangeArrowheads="1"/>
            </p:cNvSpPr>
            <p:nvPr>
              <p:custDataLst>
                <p:tags r:id="rId29"/>
              </p:custDataLst>
            </p:nvPr>
          </p:nvSpPr>
          <p:spPr bwMode="gray">
            <a:xfrm>
              <a:off x="6148005" y="919828"/>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sp>
          <p:nvSpPr>
            <p:cNvPr id="76" name="Legend2"/>
            <p:cNvSpPr>
              <a:spLocks noChangeArrowheads="1"/>
            </p:cNvSpPr>
            <p:nvPr>
              <p:custDataLst>
                <p:tags r:id="rId30"/>
              </p:custDataLst>
            </p:nvPr>
          </p:nvSpPr>
          <p:spPr bwMode="gray">
            <a:xfrm>
              <a:off x="6148005" y="1189703"/>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sp>
          <p:nvSpPr>
            <p:cNvPr id="77" name="Legend3"/>
            <p:cNvSpPr>
              <a:spLocks noChangeArrowheads="1"/>
            </p:cNvSpPr>
            <p:nvPr>
              <p:custDataLst>
                <p:tags r:id="rId31"/>
              </p:custDataLst>
            </p:nvPr>
          </p:nvSpPr>
          <p:spPr bwMode="gray">
            <a:xfrm>
              <a:off x="6148005" y="1461166"/>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sp>
          <p:nvSpPr>
            <p:cNvPr id="78" name="Legend4"/>
            <p:cNvSpPr>
              <a:spLocks noChangeArrowheads="1"/>
            </p:cNvSpPr>
            <p:nvPr>
              <p:custDataLst>
                <p:tags r:id="rId32"/>
              </p:custDataLst>
            </p:nvPr>
          </p:nvSpPr>
          <p:spPr bwMode="gray">
            <a:xfrm>
              <a:off x="6148005" y="1732629"/>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grpSp>
      <p:grpSp>
        <p:nvGrpSpPr>
          <p:cNvPr id="79" name="LegendMoons" hidden="1"/>
          <p:cNvGrpSpPr/>
          <p:nvPr/>
        </p:nvGrpSpPr>
        <p:grpSpPr>
          <a:xfrm>
            <a:off x="7792889" y="267414"/>
            <a:ext cx="916992" cy="1317003"/>
            <a:chOff x="5894005" y="2695123"/>
            <a:chExt cx="916992" cy="1317003"/>
          </a:xfrm>
        </p:grpSpPr>
        <p:grpSp>
          <p:nvGrpSpPr>
            <p:cNvPr id="80" name="MoonLegend1"/>
            <p:cNvGrpSpPr>
              <a:grpSpLocks noChangeAspect="1"/>
            </p:cNvGrpSpPr>
            <p:nvPr>
              <p:custDataLst>
                <p:tags r:id="rId9"/>
              </p:custDataLst>
            </p:nvPr>
          </p:nvGrpSpPr>
          <p:grpSpPr bwMode="gray">
            <a:xfrm>
              <a:off x="5894005" y="2695123"/>
              <a:ext cx="209550" cy="218282"/>
              <a:chOff x="4533" y="183"/>
              <a:chExt cx="144" cy="150"/>
            </a:xfrm>
          </p:grpSpPr>
          <p:sp>
            <p:nvSpPr>
              <p:cNvPr id="98" name="Oval 97"/>
              <p:cNvSpPr>
                <a:spLocks noChangeAspect="1" noChangeArrowheads="1"/>
              </p:cNvSpPr>
              <p:nvPr>
                <p:custDataLst>
                  <p:tags r:id="rId27"/>
                </p:custDataLst>
              </p:nvPr>
            </p:nvSpPr>
            <p:spPr bwMode="gray">
              <a:xfrm>
                <a:off x="4533" y="189"/>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99" name="Arc 98" hidden="1"/>
              <p:cNvSpPr>
                <a:spLocks noChangeAspect="1"/>
              </p:cNvSpPr>
              <p:nvPr>
                <p:custDataLst>
                  <p:tags r:id="rId28"/>
                </p:custDataLst>
              </p:nvPr>
            </p:nvSpPr>
            <p:spPr bwMode="gray">
              <a:xfrm>
                <a:off x="4533" y="183"/>
                <a:ext cx="144" cy="144"/>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grpSp>
        <p:grpSp>
          <p:nvGrpSpPr>
            <p:cNvPr id="81" name="MoonLegend2"/>
            <p:cNvGrpSpPr>
              <a:grpSpLocks noChangeAspect="1"/>
            </p:cNvGrpSpPr>
            <p:nvPr>
              <p:custDataLst>
                <p:tags r:id="rId10"/>
              </p:custDataLst>
            </p:nvPr>
          </p:nvGrpSpPr>
          <p:grpSpPr bwMode="gray">
            <a:xfrm>
              <a:off x="5894005" y="2977103"/>
              <a:ext cx="209550" cy="209551"/>
              <a:chOff x="1694" y="2051"/>
              <a:chExt cx="160" cy="160"/>
            </a:xfrm>
          </p:grpSpPr>
          <p:sp>
            <p:nvSpPr>
              <p:cNvPr id="96" name="Oval 41"/>
              <p:cNvSpPr>
                <a:spLocks noChangeAspect="1" noChangeArrowheads="1"/>
              </p:cNvSpPr>
              <p:nvPr>
                <p:custDataLst>
                  <p:tags r:id="rId25"/>
                </p:custDataLst>
              </p:nvPr>
            </p:nvSpPr>
            <p:spPr bwMode="gray">
              <a:xfrm>
                <a:off x="1694" y="2051"/>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97" name="Arc 42"/>
              <p:cNvSpPr>
                <a:spLocks noChangeAspect="1"/>
              </p:cNvSpPr>
              <p:nvPr>
                <p:custDataLst>
                  <p:tags r:id="rId26"/>
                </p:custDataLst>
              </p:nvPr>
            </p:nvSpPr>
            <p:spPr bwMode="gray">
              <a:xfrm>
                <a:off x="1694" y="2051"/>
                <a:ext cx="160" cy="160"/>
              </a:xfrm>
              <a:prstGeom prst="arc">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grpSp>
        <p:grpSp>
          <p:nvGrpSpPr>
            <p:cNvPr id="82" name="MoonLegend4"/>
            <p:cNvGrpSpPr>
              <a:grpSpLocks noChangeAspect="1"/>
            </p:cNvGrpSpPr>
            <p:nvPr>
              <p:custDataLst>
                <p:tags r:id="rId11"/>
              </p:custDataLst>
            </p:nvPr>
          </p:nvGrpSpPr>
          <p:grpSpPr bwMode="gray">
            <a:xfrm>
              <a:off x="5894005" y="3524395"/>
              <a:ext cx="209550" cy="209551"/>
              <a:chOff x="4495" y="1204"/>
              <a:chExt cx="160" cy="160"/>
            </a:xfrm>
          </p:grpSpPr>
          <p:sp>
            <p:nvSpPr>
              <p:cNvPr id="94" name="Oval 47"/>
              <p:cNvSpPr>
                <a:spLocks noChangeAspect="1" noChangeArrowheads="1"/>
              </p:cNvSpPr>
              <p:nvPr>
                <p:custDataLst>
                  <p:tags r:id="rId23"/>
                </p:custDataLst>
              </p:nvPr>
            </p:nvSpPr>
            <p:spPr bwMode="gray">
              <a:xfrm>
                <a:off x="4495" y="120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95" name="Arc 48"/>
              <p:cNvSpPr>
                <a:spLocks noChangeAspect="1"/>
              </p:cNvSpPr>
              <p:nvPr>
                <p:custDataLst>
                  <p:tags r:id="rId24"/>
                </p:custDataLst>
              </p:nvPr>
            </p:nvSpPr>
            <p:spPr bwMode="gray">
              <a:xfrm>
                <a:off x="4495" y="1204"/>
                <a:ext cx="160" cy="160"/>
              </a:xfrm>
              <a:prstGeom prst="arc">
                <a:avLst>
                  <a:gd name="adj1" fmla="val 16200000"/>
                  <a:gd name="adj2" fmla="val 108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grpSp>
        <p:grpSp>
          <p:nvGrpSpPr>
            <p:cNvPr id="83" name="MoonLegend5"/>
            <p:cNvGrpSpPr>
              <a:grpSpLocks noChangeAspect="1"/>
            </p:cNvGrpSpPr>
            <p:nvPr>
              <p:custDataLst>
                <p:tags r:id="rId12"/>
              </p:custDataLst>
            </p:nvPr>
          </p:nvGrpSpPr>
          <p:grpSpPr bwMode="gray">
            <a:xfrm>
              <a:off x="5894005" y="3799629"/>
              <a:ext cx="209550" cy="209551"/>
              <a:chOff x="4495" y="1447"/>
              <a:chExt cx="160" cy="160"/>
            </a:xfrm>
          </p:grpSpPr>
          <p:sp>
            <p:nvSpPr>
              <p:cNvPr id="92" name="Oval 50"/>
              <p:cNvSpPr>
                <a:spLocks noChangeAspect="1" noChangeArrowheads="1"/>
              </p:cNvSpPr>
              <p:nvPr>
                <p:custDataLst>
                  <p:tags r:id="rId21"/>
                </p:custDataLst>
              </p:nvPr>
            </p:nvSpPr>
            <p:spPr bwMode="gray">
              <a:xfrm>
                <a:off x="4495" y="1447"/>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93" name="Oval 51"/>
              <p:cNvSpPr>
                <a:spLocks noChangeAspect="1" noChangeArrowheads="1"/>
              </p:cNvSpPr>
              <p:nvPr>
                <p:custDataLst>
                  <p:tags r:id="rId22"/>
                </p:custDataLst>
              </p:nvPr>
            </p:nvSpPr>
            <p:spPr bwMode="gray">
              <a:xfrm>
                <a:off x="4495" y="1447"/>
                <a:ext cx="160" cy="160"/>
              </a:xfrm>
              <a:prstGeom prst="arc">
                <a:avLst>
                  <a:gd name="adj1" fmla="val 16200000"/>
                  <a:gd name="adj2" fmla="val 162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grpSp>
        <p:grpSp>
          <p:nvGrpSpPr>
            <p:cNvPr id="84" name="MoonLegend3"/>
            <p:cNvGrpSpPr>
              <a:grpSpLocks noChangeAspect="1"/>
            </p:cNvGrpSpPr>
            <p:nvPr>
              <p:custDataLst>
                <p:tags r:id="rId13"/>
              </p:custDataLst>
            </p:nvPr>
          </p:nvGrpSpPr>
          <p:grpSpPr bwMode="gray">
            <a:xfrm>
              <a:off x="5894005" y="3251543"/>
              <a:ext cx="209550" cy="209551"/>
              <a:chOff x="4495" y="1205"/>
              <a:chExt cx="160" cy="160"/>
            </a:xfrm>
          </p:grpSpPr>
          <p:sp>
            <p:nvSpPr>
              <p:cNvPr id="90" name="Oval 47"/>
              <p:cNvSpPr>
                <a:spLocks noChangeAspect="1" noChangeArrowheads="1"/>
              </p:cNvSpPr>
              <p:nvPr>
                <p:custDataLst>
                  <p:tags r:id="rId19"/>
                </p:custDataLst>
              </p:nvPr>
            </p:nvSpPr>
            <p:spPr bwMode="gray">
              <a:xfrm>
                <a:off x="4495" y="1205"/>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91" name="Arc 48"/>
              <p:cNvSpPr>
                <a:spLocks noChangeAspect="1"/>
              </p:cNvSpPr>
              <p:nvPr>
                <p:custDataLst>
                  <p:tags r:id="rId20"/>
                </p:custDataLst>
              </p:nvPr>
            </p:nvSpPr>
            <p:spPr bwMode="gray">
              <a:xfrm>
                <a:off x="4495" y="1205"/>
                <a:ext cx="160" cy="160"/>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grpSp>
        <p:sp>
          <p:nvSpPr>
            <p:cNvPr id="85" name="Legend1"/>
            <p:cNvSpPr>
              <a:spLocks noChangeArrowheads="1"/>
            </p:cNvSpPr>
            <p:nvPr>
              <p:custDataLst>
                <p:tags r:id="rId14"/>
              </p:custDataLst>
            </p:nvPr>
          </p:nvSpPr>
          <p:spPr bwMode="gray">
            <a:xfrm>
              <a:off x="6214680" y="2696542"/>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sp>
          <p:nvSpPr>
            <p:cNvPr id="86" name="Legend2"/>
            <p:cNvSpPr>
              <a:spLocks noChangeArrowheads="1"/>
            </p:cNvSpPr>
            <p:nvPr>
              <p:custDataLst>
                <p:tags r:id="rId15"/>
              </p:custDataLst>
            </p:nvPr>
          </p:nvSpPr>
          <p:spPr bwMode="gray">
            <a:xfrm>
              <a:off x="6214680" y="2974156"/>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a:latin typeface="+mn-lt"/>
                  <a:ea typeface="+mn-ea"/>
                </a:rPr>
                <a:t>Legend</a:t>
              </a:r>
              <a:endParaRPr lang="en-US" sz="1400" baseline="0" dirty="0">
                <a:latin typeface="+mn-lt"/>
                <a:ea typeface="+mn-ea"/>
              </a:endParaRPr>
            </a:p>
          </p:txBody>
        </p:sp>
        <p:sp>
          <p:nvSpPr>
            <p:cNvPr id="87" name="Legend3"/>
            <p:cNvSpPr>
              <a:spLocks noChangeArrowheads="1"/>
            </p:cNvSpPr>
            <p:nvPr>
              <p:custDataLst>
                <p:tags r:id="rId16"/>
              </p:custDataLst>
            </p:nvPr>
          </p:nvSpPr>
          <p:spPr bwMode="gray">
            <a:xfrm>
              <a:off x="6214680" y="3248596"/>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sp>
          <p:nvSpPr>
            <p:cNvPr id="88" name="Legend4"/>
            <p:cNvSpPr>
              <a:spLocks noChangeArrowheads="1"/>
            </p:cNvSpPr>
            <p:nvPr>
              <p:custDataLst>
                <p:tags r:id="rId17"/>
              </p:custDataLst>
            </p:nvPr>
          </p:nvSpPr>
          <p:spPr bwMode="gray">
            <a:xfrm>
              <a:off x="6214680" y="3521448"/>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sp>
          <p:nvSpPr>
            <p:cNvPr id="89" name="Legend5"/>
            <p:cNvSpPr>
              <a:spLocks noChangeArrowheads="1"/>
            </p:cNvSpPr>
            <p:nvPr>
              <p:custDataLst>
                <p:tags r:id="rId18"/>
              </p:custDataLst>
            </p:nvPr>
          </p:nvSpPr>
          <p:spPr bwMode="gray">
            <a:xfrm>
              <a:off x="6214680" y="3796682"/>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a:latin typeface="+mn-lt"/>
                  <a:ea typeface="+mn-ea"/>
                </a:rPr>
                <a:t>Legend</a:t>
              </a:r>
              <a:endParaRPr lang="en-US" sz="1400" baseline="0" dirty="0">
                <a:latin typeface="+mn-lt"/>
                <a:ea typeface="+mn-ea"/>
              </a:endParaRPr>
            </a:p>
          </p:txBody>
        </p:sp>
      </p:grpSp>
    </p:spTree>
    <p:extLst>
      <p:ext uri="{BB962C8B-B14F-4D97-AF65-F5344CB8AC3E}">
        <p14:creationId xmlns:p14="http://schemas.microsoft.com/office/powerpoint/2010/main" val="2310195265"/>
      </p:ext>
    </p:extLst>
  </p:cSld>
  <p:clrMap bg1="lt1" tx1="dk1" bg2="lt2" tx2="dk2" accent1="accent1" accent2="accent2" accent3="accent3" accent4="accent4" accent5="accent5" accent6="accent6" hlink="hlink" folHlink="folHlink"/>
  <p:sldLayoutIdLst>
    <p:sldLayoutId id="2147483916" r:id="rId1"/>
    <p:sldLayoutId id="2147483917" r:id="rId2"/>
    <p:sldLayoutId id="2147483918" r:id="rId3"/>
    <p:sldLayoutId id="2147483919" r:id="rId4"/>
  </p:sldLayoutIdLst>
  <p:txStyles>
    <p:titleStyle>
      <a:lvl1pPr algn="l" defTabSz="895350" rtl="0" eaLnBrk="1" fontAlgn="base" hangingPunct="1">
        <a:spcBef>
          <a:spcPct val="0"/>
        </a:spcBef>
        <a:spcAft>
          <a:spcPct val="0"/>
        </a:spcAft>
        <a:tabLst>
          <a:tab pos="269875" algn="l"/>
        </a:tabLst>
        <a:defRPr sz="2000" b="0" baseline="0">
          <a:solidFill>
            <a:schemeClr val="tx2"/>
          </a:solidFill>
          <a:latin typeface="+mj-lt"/>
          <a:ea typeface="+mj-ea"/>
          <a:cs typeface="+mj-cs"/>
        </a:defRPr>
      </a:lvl1pPr>
      <a:lvl2pPr algn="l" defTabSz="895350" rtl="0" eaLnBrk="1" fontAlgn="base" hangingPunct="1">
        <a:spcBef>
          <a:spcPct val="0"/>
        </a:spcBef>
        <a:spcAft>
          <a:spcPct val="0"/>
        </a:spcAft>
        <a:defRPr sz="1900" b="1">
          <a:solidFill>
            <a:schemeClr val="tx2"/>
          </a:solidFill>
          <a:latin typeface="Arial" charset="0"/>
        </a:defRPr>
      </a:lvl2pPr>
      <a:lvl3pPr algn="l" defTabSz="895350" rtl="0" eaLnBrk="1" fontAlgn="base" hangingPunct="1">
        <a:spcBef>
          <a:spcPct val="0"/>
        </a:spcBef>
        <a:spcAft>
          <a:spcPct val="0"/>
        </a:spcAft>
        <a:defRPr sz="1900" b="1">
          <a:solidFill>
            <a:schemeClr val="tx2"/>
          </a:solidFill>
          <a:latin typeface="Arial" charset="0"/>
        </a:defRPr>
      </a:lvl3pPr>
      <a:lvl4pPr algn="l" defTabSz="895350" rtl="0" eaLnBrk="1" fontAlgn="base" hangingPunct="1">
        <a:spcBef>
          <a:spcPct val="0"/>
        </a:spcBef>
        <a:spcAft>
          <a:spcPct val="0"/>
        </a:spcAft>
        <a:defRPr sz="1900" b="1">
          <a:solidFill>
            <a:schemeClr val="tx2"/>
          </a:solidFill>
          <a:latin typeface="Arial" charset="0"/>
        </a:defRPr>
      </a:lvl4pPr>
      <a:lvl5pPr algn="l" defTabSz="895350" rtl="0" eaLnBrk="1" fontAlgn="base" hangingPunct="1">
        <a:spcBef>
          <a:spcPct val="0"/>
        </a:spcBef>
        <a:spcAft>
          <a:spcPct val="0"/>
        </a:spcAft>
        <a:defRPr sz="1900" b="1">
          <a:solidFill>
            <a:schemeClr val="tx2"/>
          </a:solidFill>
          <a:latin typeface="Arial" charset="0"/>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p:titleStyle>
    <p:bodyStyle>
      <a:lvl1pPr marL="0" indent="0" algn="l" defTabSz="895350" rtl="0" eaLnBrk="1" fontAlgn="base" hangingPunct="1">
        <a:spcBef>
          <a:spcPct val="0"/>
        </a:spcBef>
        <a:spcAft>
          <a:spcPct val="0"/>
        </a:spcAft>
        <a:buClr>
          <a:schemeClr val="tx2"/>
        </a:buClr>
        <a:buSzPct val="100000"/>
        <a:defRPr sz="14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4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4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4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4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ext>
  </p:extLst>
</p:sldMaster>
</file>

<file path=ppt/slideMasters/slideMaster5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6"/>
            </p:custDataLst>
            <p:extLst>
              <p:ext uri="{D42A27DB-BD31-4B8C-83A1-F6EECF244321}">
                <p14:modId xmlns:p14="http://schemas.microsoft.com/office/powerpoint/2010/main" val="2295554585"/>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56020" name="think-cell Slide" r:id="rId35" imgW="270" imgH="270" progId="TCLayout.ActiveDocument.1">
                  <p:embed/>
                </p:oleObj>
              </mc:Choice>
              <mc:Fallback>
                <p:oleObj name="think-cell Slide" r:id="rId35" imgW="270" imgH="270" progId="TCLayout.ActiveDocument.1">
                  <p:embed/>
                  <p:pic>
                    <p:nvPicPr>
                      <p:cNvPr id="2" name="Object 1" hidden="1"/>
                      <p:cNvPicPr/>
                      <p:nvPr/>
                    </p:nvPicPr>
                    <p:blipFill>
                      <a:blip r:embed="rId36"/>
                      <a:stretch>
                        <a:fillRect/>
                      </a:stretch>
                    </p:blipFill>
                    <p:spPr>
                      <a:xfrm>
                        <a:off x="0" y="0"/>
                        <a:ext cx="158750" cy="158750"/>
                      </a:xfrm>
                      <a:prstGeom prst="rect">
                        <a:avLst/>
                      </a:prstGeom>
                    </p:spPr>
                  </p:pic>
                </p:oleObj>
              </mc:Fallback>
            </mc:AlternateContent>
          </a:graphicData>
        </a:graphic>
      </p:graphicFrame>
      <p:sp>
        <p:nvSpPr>
          <p:cNvPr id="6" name="Rectangle 5" hidden="1"/>
          <p:cNvSpPr/>
          <p:nvPr>
            <p:custDataLst>
              <p:tags r:id="rId7"/>
            </p:custDataLst>
          </p:nvPr>
        </p:nvSpPr>
        <p:spPr bwMode="auto">
          <a:xfrm>
            <a:off x="0" y="0"/>
            <a:ext cx="158750" cy="158750"/>
          </a:xfrm>
          <a:prstGeom prst="rect">
            <a:avLst/>
          </a:prstGeom>
          <a:solidFill>
            <a:schemeClr val="bg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dirty="0">
              <a:solidFill>
                <a:srgbClr val="000000"/>
              </a:solidFill>
              <a:sym typeface="Arial" panose="020B0604020202020204" pitchFamily="34" charset="0"/>
            </a:endParaRPr>
          </a:p>
        </p:txBody>
      </p:sp>
      <p:sp>
        <p:nvSpPr>
          <p:cNvPr id="1034" name="Working Draft" hidden="1"/>
          <p:cNvSpPr txBox="1">
            <a:spLocks noChangeArrowheads="1"/>
          </p:cNvSpPr>
          <p:nvPr/>
        </p:nvSpPr>
        <p:spPr bwMode="gray">
          <a:xfrm rot="5400000">
            <a:off x="7966656" y="1940591"/>
            <a:ext cx="1849865"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600" baseline="0">
                <a:solidFill>
                  <a:srgbClr val="808080"/>
                </a:solidFill>
                <a:latin typeface="+mn-lt"/>
                <a:ea typeface="+mn-ea"/>
              </a:rPr>
              <a:t>Last Modified 21/05/2018 17:44 India Standard Time</a:t>
            </a:r>
            <a:endParaRPr lang="en-US" baseline="0" dirty="0">
              <a:solidFill>
                <a:srgbClr val="808080"/>
              </a:solidFill>
              <a:latin typeface="+mn-lt"/>
              <a:ea typeface="+mn-ea"/>
            </a:endParaRPr>
          </a:p>
        </p:txBody>
      </p:sp>
      <p:sp>
        <p:nvSpPr>
          <p:cNvPr id="1035" name="Printed" hidden="1"/>
          <p:cNvSpPr txBox="1">
            <a:spLocks noChangeArrowheads="1"/>
          </p:cNvSpPr>
          <p:nvPr/>
        </p:nvSpPr>
        <p:spPr bwMode="gray">
          <a:xfrm rot="5400000">
            <a:off x="8768958" y="4114417"/>
            <a:ext cx="245260"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600" baseline="0" dirty="0">
                <a:solidFill>
                  <a:srgbClr val="808080"/>
                </a:solidFill>
                <a:latin typeface="+mn-lt"/>
                <a:ea typeface="+mn-ea"/>
              </a:rPr>
              <a:t>Printed</a:t>
            </a:r>
            <a:endParaRPr lang="en-US" baseline="0" dirty="0">
              <a:solidFill>
                <a:srgbClr val="808080"/>
              </a:solidFill>
              <a:latin typeface="+mn-lt"/>
              <a:ea typeface="+mn-ea"/>
            </a:endParaRPr>
          </a:p>
        </p:txBody>
      </p:sp>
      <p:sp>
        <p:nvSpPr>
          <p:cNvPr id="19" name="Title Placeholder 2"/>
          <p:cNvSpPr>
            <a:spLocks noGrp="1" noChangeArrowheads="1"/>
          </p:cNvSpPr>
          <p:nvPr>
            <p:ph type="title"/>
          </p:nvPr>
        </p:nvSpPr>
        <p:spPr bwMode="gray">
          <a:xfrm>
            <a:off x="119063" y="230188"/>
            <a:ext cx="8618537"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latinLnBrk="0"/>
            <a:r>
              <a:rPr lang="en-US"/>
              <a:t>Click to edit Master title style</a:t>
            </a:r>
            <a:endParaRPr lang="en-US" noProof="0" dirty="0"/>
          </a:p>
        </p:txBody>
      </p:sp>
      <p:sp>
        <p:nvSpPr>
          <p:cNvPr id="10" name="1. On-page tracker" hidden="1"/>
          <p:cNvSpPr>
            <a:spLocks noChangeArrowheads="1"/>
          </p:cNvSpPr>
          <p:nvPr/>
        </p:nvSpPr>
        <p:spPr bwMode="gray">
          <a:xfrm>
            <a:off x="119063" y="75764"/>
            <a:ext cx="490519"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800" cap="all" baseline="0" dirty="0">
                <a:solidFill>
                  <a:schemeClr val="accent6"/>
                </a:solidFill>
                <a:latin typeface="+mn-lt"/>
                <a:ea typeface="+mn-ea"/>
              </a:rPr>
              <a:t>Tracker</a:t>
            </a:r>
          </a:p>
        </p:txBody>
      </p:sp>
      <p:sp>
        <p:nvSpPr>
          <p:cNvPr id="11" name="3. Unit of measure" hidden="1"/>
          <p:cNvSpPr txBox="1">
            <a:spLocks noChangeArrowheads="1"/>
          </p:cNvSpPr>
          <p:nvPr/>
        </p:nvSpPr>
        <p:spPr bwMode="gray">
          <a:xfrm>
            <a:off x="119063" y="554865"/>
            <a:ext cx="8618537"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600" baseline="0" dirty="0">
                <a:solidFill>
                  <a:schemeClr val="accent6"/>
                </a:solidFill>
                <a:latin typeface="+mn-lt"/>
                <a:ea typeface="+mn-ea"/>
              </a:rPr>
              <a:t>Unit of measure</a:t>
            </a:r>
          </a:p>
        </p:txBody>
      </p:sp>
      <p:grpSp>
        <p:nvGrpSpPr>
          <p:cNvPr id="4" name="Slide Elements" hidden="1"/>
          <p:cNvGrpSpPr/>
          <p:nvPr/>
        </p:nvGrpSpPr>
        <p:grpSpPr bwMode="gray">
          <a:xfrm>
            <a:off x="119063" y="6305945"/>
            <a:ext cx="8618537" cy="325438"/>
            <a:chOff x="119063" y="6305945"/>
            <a:chExt cx="8618537" cy="325438"/>
          </a:xfrm>
        </p:grpSpPr>
        <p:sp>
          <p:nvSpPr>
            <p:cNvPr id="13" name="4. Footnote"/>
            <p:cNvSpPr txBox="1">
              <a:spLocks noChangeArrowheads="1"/>
            </p:cNvSpPr>
            <p:nvPr/>
          </p:nvSpPr>
          <p:spPr bwMode="gray">
            <a:xfrm>
              <a:off x="119063" y="6305945"/>
              <a:ext cx="8618537" cy="123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800" baseline="0" dirty="0">
                  <a:solidFill>
                    <a:schemeClr val="accent6"/>
                  </a:solidFill>
                  <a:latin typeface="+mn-lt"/>
                  <a:ea typeface="+mn-ea"/>
                </a:rPr>
                <a:t>1 Footnote</a:t>
              </a:r>
            </a:p>
          </p:txBody>
        </p:sp>
        <p:sp>
          <p:nvSpPr>
            <p:cNvPr id="14" name="5. Source"/>
            <p:cNvSpPr>
              <a:spLocks noChangeArrowheads="1"/>
            </p:cNvSpPr>
            <p:nvPr/>
          </p:nvSpPr>
          <p:spPr bwMode="gray">
            <a:xfrm>
              <a:off x="119063" y="6507558"/>
              <a:ext cx="7200000" cy="123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marL="609600" indent="-609600" defTabSz="895350">
                <a:tabLst>
                  <a:tab pos="612775" algn="l"/>
                </a:tabLst>
              </a:pPr>
              <a:r>
                <a:rPr lang="en-US" sz="800" baseline="0" dirty="0">
                  <a:solidFill>
                    <a:schemeClr val="accent6"/>
                  </a:solidFill>
                  <a:latin typeface="+mn-lt"/>
                  <a:ea typeface="+mn-ea"/>
                </a:rPr>
                <a:t>SOURCE: Source</a:t>
              </a:r>
            </a:p>
          </p:txBody>
        </p:sp>
      </p:grpSp>
      <p:sp>
        <p:nvSpPr>
          <p:cNvPr id="3" name="Text Placeholder 2"/>
          <p:cNvSpPr>
            <a:spLocks noGrp="1"/>
          </p:cNvSpPr>
          <p:nvPr>
            <p:ph type="body" idx="1"/>
          </p:nvPr>
        </p:nvSpPr>
        <p:spPr bwMode="gray">
          <a:xfrm>
            <a:off x="1452564" y="1951380"/>
            <a:ext cx="4302125" cy="1077218"/>
          </a:xfrm>
          <a:prstGeom prst="rect">
            <a:avLst/>
          </a:prstGeom>
        </p:spPr>
        <p:txBody>
          <a:bodyPr vert="horz" lIns="0" tIns="0" rIns="0" bIns="0" rtlCol="0">
            <a:spAutoFit/>
          </a:bodyPr>
          <a:lstStyle/>
          <a:p>
            <a:pPr lvl="0" latinLnBrk="0"/>
            <a:r>
              <a:rPr lang="en-US"/>
              <a:t>Edit Master text styles</a:t>
            </a:r>
          </a:p>
          <a:p>
            <a:pPr lvl="1" latinLnBrk="0"/>
            <a:r>
              <a:rPr lang="en-US"/>
              <a:t>Second level</a:t>
            </a:r>
          </a:p>
          <a:p>
            <a:pPr lvl="2" latinLnBrk="0"/>
            <a:r>
              <a:rPr lang="en-US"/>
              <a:t>Third level</a:t>
            </a:r>
          </a:p>
          <a:p>
            <a:pPr lvl="3" latinLnBrk="0"/>
            <a:r>
              <a:rPr lang="en-US"/>
              <a:t>Fourth level</a:t>
            </a:r>
          </a:p>
          <a:p>
            <a:pPr lvl="4" latinLnBrk="0"/>
            <a:r>
              <a:rPr lang="en-US"/>
              <a:t>Fifth level</a:t>
            </a:r>
            <a:endParaRPr lang="en-US" dirty="0"/>
          </a:p>
        </p:txBody>
      </p:sp>
      <p:grpSp>
        <p:nvGrpSpPr>
          <p:cNvPr id="15" name="ACET" hidden="1"/>
          <p:cNvGrpSpPr>
            <a:grpSpLocks/>
          </p:cNvGrpSpPr>
          <p:nvPr/>
        </p:nvGrpSpPr>
        <p:grpSpPr bwMode="gray">
          <a:xfrm>
            <a:off x="1452563" y="1257754"/>
            <a:ext cx="4264025" cy="508000"/>
            <a:chOff x="915" y="710"/>
            <a:chExt cx="2686" cy="320"/>
          </a:xfrm>
        </p:grpSpPr>
        <p:cxnSp>
          <p:nvCxnSpPr>
            <p:cNvPr id="16" name="AutoShape 249"/>
            <p:cNvCxnSpPr>
              <a:cxnSpLocks noChangeShapeType="1"/>
              <a:stCxn id="18" idx="4"/>
              <a:endCxn id="18" idx="6"/>
            </p:cNvCxnSpPr>
            <p:nvPr/>
          </p:nvCxnSpPr>
          <p:spPr bwMode="gray">
            <a:xfrm>
              <a:off x="915" y="1030"/>
              <a:ext cx="2686" cy="0"/>
            </a:xfrm>
            <a:prstGeom prst="straightConnector1">
              <a:avLst/>
            </a:prstGeom>
            <a:noFill/>
            <a:ln w="9525">
              <a:solidFill>
                <a:schemeClr val="accent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8" name="AutoShape 250"/>
            <p:cNvSpPr>
              <a:spLocks noChangeArrowheads="1"/>
            </p:cNvSpPr>
            <p:nvPr/>
          </p:nvSpPr>
          <p:spPr bwMode="gray">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US" b="1" baseline="0" dirty="0">
                  <a:solidFill>
                    <a:srgbClr val="000000"/>
                  </a:solidFill>
                  <a:latin typeface="+mn-lt"/>
                  <a:ea typeface="+mn-ea"/>
                </a:rPr>
                <a:t>Title</a:t>
              </a:r>
            </a:p>
            <a:p>
              <a:r>
                <a:rPr lang="en-US" baseline="0" dirty="0">
                  <a:solidFill>
                    <a:schemeClr val="accent6"/>
                  </a:solidFill>
                  <a:latin typeface="+mn-lt"/>
                  <a:ea typeface="+mn-ea"/>
                </a:rPr>
                <a:t>Unit of measure</a:t>
              </a:r>
            </a:p>
          </p:txBody>
        </p:sp>
      </p:grpSp>
      <p:grpSp>
        <p:nvGrpSpPr>
          <p:cNvPr id="17" name="McKSticker" hidden="1"/>
          <p:cNvGrpSpPr/>
          <p:nvPr/>
        </p:nvGrpSpPr>
        <p:grpSpPr bwMode="gray">
          <a:xfrm>
            <a:off x="8264265" y="285750"/>
            <a:ext cx="473335" cy="150811"/>
            <a:chOff x="8267440" y="285750"/>
            <a:chExt cx="473335" cy="150811"/>
          </a:xfrm>
        </p:grpSpPr>
        <p:sp>
          <p:nvSpPr>
            <p:cNvPr id="20" name="StickerRectangle"/>
            <p:cNvSpPr>
              <a:spLocks noChangeArrowheads="1"/>
            </p:cNvSpPr>
            <p:nvPr/>
          </p:nvSpPr>
          <p:spPr bwMode="gray">
            <a:xfrm>
              <a:off x="8267440" y="285750"/>
              <a:ext cx="473335" cy="150811"/>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a:buClr>
                  <a:srgbClr val="002960"/>
                </a:buClr>
              </a:pPr>
              <a:r>
                <a:rPr lang="en-US" sz="800" baseline="0" dirty="0">
                  <a:solidFill>
                    <a:schemeClr val="accent6"/>
                  </a:solidFill>
                  <a:latin typeface="+mn-lt"/>
                  <a:ea typeface="+mn-ea"/>
                </a:rPr>
                <a:t>STICKER</a:t>
              </a:r>
            </a:p>
          </p:txBody>
        </p:sp>
        <p:cxnSp>
          <p:nvCxnSpPr>
            <p:cNvPr id="21" name="AutoShape 31"/>
            <p:cNvCxnSpPr>
              <a:cxnSpLocks noChangeShapeType="1"/>
              <a:stCxn id="20" idx="2"/>
              <a:endCxn id="20" idx="4"/>
            </p:cNvCxnSpPr>
            <p:nvPr/>
          </p:nvCxnSpPr>
          <p:spPr bwMode="gray">
            <a:xfrm>
              <a:off x="8267440" y="285750"/>
              <a:ext cx="0" cy="150811"/>
            </a:xfrm>
            <a:prstGeom prst="straightConnector1">
              <a:avLst/>
            </a:prstGeom>
            <a:noFill/>
            <a:ln w="9525">
              <a:solidFill>
                <a:schemeClr val="accent6"/>
              </a:solidFill>
              <a:round/>
              <a:headEnd/>
              <a:tailEnd/>
            </a:ln>
            <a:extLst>
              <a:ext uri="{909E8E84-426E-40DD-AFC4-6F175D3DCCD1}">
                <a14:hiddenFill xmlns:a14="http://schemas.microsoft.com/office/drawing/2010/main">
                  <a:noFill/>
                </a14:hiddenFill>
              </a:ext>
            </a:extLst>
          </p:spPr>
        </p:cxnSp>
        <p:cxnSp>
          <p:nvCxnSpPr>
            <p:cNvPr id="22" name="AutoShape 32"/>
            <p:cNvCxnSpPr>
              <a:cxnSpLocks noChangeShapeType="1"/>
              <a:stCxn id="20" idx="4"/>
              <a:endCxn id="20" idx="6"/>
            </p:cNvCxnSpPr>
            <p:nvPr/>
          </p:nvCxnSpPr>
          <p:spPr bwMode="gray">
            <a:xfrm>
              <a:off x="8267440" y="436561"/>
              <a:ext cx="473335" cy="0"/>
            </a:xfrm>
            <a:prstGeom prst="straightConnector1">
              <a:avLst/>
            </a:prstGeom>
            <a:noFill/>
            <a:ln w="25400">
              <a:solidFill>
                <a:schemeClr val="accent6"/>
              </a:solidFill>
              <a:round/>
              <a:headEnd/>
              <a:tailEnd/>
            </a:ln>
            <a:extLst>
              <a:ext uri="{909E8E84-426E-40DD-AFC4-6F175D3DCCD1}">
                <a14:hiddenFill xmlns:a14="http://schemas.microsoft.com/office/drawing/2010/main">
                  <a:noFill/>
                </a14:hiddenFill>
              </a:ext>
            </a:extLst>
          </p:spPr>
        </p:cxnSp>
      </p:grpSp>
      <p:sp>
        <p:nvSpPr>
          <p:cNvPr id="23" name="SlideBottomBar" hidden="1"/>
          <p:cNvSpPr/>
          <p:nvPr/>
        </p:nvSpPr>
        <p:spPr>
          <a:xfrm>
            <a:off x="8437547" y="6182120"/>
            <a:ext cx="45719" cy="123825"/>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aseline="0" dirty="0">
              <a:solidFill>
                <a:schemeClr val="tx1"/>
              </a:solidFill>
              <a:latin typeface="+mn-lt"/>
              <a:ea typeface="+mn-ea"/>
            </a:endParaRPr>
          </a:p>
        </p:txBody>
      </p:sp>
      <p:sp>
        <p:nvSpPr>
          <p:cNvPr id="24" name="doc id" hidden="1"/>
          <p:cNvSpPr txBox="1">
            <a:spLocks noChangeArrowheads="1"/>
          </p:cNvSpPr>
          <p:nvPr/>
        </p:nvSpPr>
        <p:spPr bwMode="white">
          <a:xfrm>
            <a:off x="8104473" y="36513"/>
            <a:ext cx="634716" cy="115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hangingPunct="1">
              <a:defRPr/>
            </a:pPr>
            <a:endParaRPr lang="en-US" sz="800" baseline="0" dirty="0">
              <a:solidFill>
                <a:schemeClr val="accent1"/>
              </a:solidFill>
              <a:latin typeface="+mn-lt"/>
              <a:ea typeface="+mn-ea"/>
            </a:endParaRPr>
          </a:p>
        </p:txBody>
      </p:sp>
      <p:grpSp>
        <p:nvGrpSpPr>
          <p:cNvPr id="63" name="LegendLines" hidden="1"/>
          <p:cNvGrpSpPr/>
          <p:nvPr/>
        </p:nvGrpSpPr>
        <p:grpSpPr>
          <a:xfrm>
            <a:off x="7551589" y="267815"/>
            <a:ext cx="1158292" cy="761545"/>
            <a:chOff x="7607284" y="279400"/>
            <a:chExt cx="1158292" cy="761545"/>
          </a:xfrm>
        </p:grpSpPr>
        <p:sp>
          <p:nvSpPr>
            <p:cNvPr id="64" name="LineLegend1"/>
            <p:cNvSpPr>
              <a:spLocks noChangeShapeType="1"/>
            </p:cNvSpPr>
            <p:nvPr/>
          </p:nvSpPr>
          <p:spPr bwMode="gray">
            <a:xfrm>
              <a:off x="7607284" y="387122"/>
              <a:ext cx="457200"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65" name="LineLegend2"/>
            <p:cNvSpPr>
              <a:spLocks noChangeShapeType="1"/>
            </p:cNvSpPr>
            <p:nvPr/>
          </p:nvSpPr>
          <p:spPr bwMode="gray">
            <a:xfrm>
              <a:off x="7607284" y="653822"/>
              <a:ext cx="457200"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66" name="LineLegend3"/>
            <p:cNvSpPr>
              <a:spLocks noChangeShapeType="1"/>
            </p:cNvSpPr>
            <p:nvPr/>
          </p:nvSpPr>
          <p:spPr bwMode="gray">
            <a:xfrm>
              <a:off x="7607284" y="933223"/>
              <a:ext cx="457200"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67" name="Legend1"/>
            <p:cNvSpPr>
              <a:spLocks noChangeArrowheads="1"/>
            </p:cNvSpPr>
            <p:nvPr>
              <p:custDataLst>
                <p:tags r:id="rId32"/>
              </p:custDataLst>
            </p:nvPr>
          </p:nvSpPr>
          <p:spPr bwMode="gray">
            <a:xfrm>
              <a:off x="8169259" y="279400"/>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sp>
          <p:nvSpPr>
            <p:cNvPr id="68" name="Legend2"/>
            <p:cNvSpPr>
              <a:spLocks noChangeArrowheads="1"/>
            </p:cNvSpPr>
            <p:nvPr>
              <p:custDataLst>
                <p:tags r:id="rId33"/>
              </p:custDataLst>
            </p:nvPr>
          </p:nvSpPr>
          <p:spPr bwMode="gray">
            <a:xfrm>
              <a:off x="8169259" y="546100"/>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a:latin typeface="+mn-lt"/>
                  <a:ea typeface="+mn-ea"/>
                </a:rPr>
                <a:t>Legend</a:t>
              </a:r>
              <a:endParaRPr lang="en-US" sz="1400" baseline="0" dirty="0">
                <a:latin typeface="+mn-lt"/>
                <a:ea typeface="+mn-ea"/>
              </a:endParaRPr>
            </a:p>
          </p:txBody>
        </p:sp>
        <p:sp>
          <p:nvSpPr>
            <p:cNvPr id="69" name="Legend3"/>
            <p:cNvSpPr>
              <a:spLocks noChangeArrowheads="1"/>
            </p:cNvSpPr>
            <p:nvPr>
              <p:custDataLst>
                <p:tags r:id="rId34"/>
              </p:custDataLst>
            </p:nvPr>
          </p:nvSpPr>
          <p:spPr bwMode="gray">
            <a:xfrm>
              <a:off x="8169259" y="825501"/>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grpSp>
      <p:grpSp>
        <p:nvGrpSpPr>
          <p:cNvPr id="70" name="LegendBoxes" hidden="1"/>
          <p:cNvGrpSpPr/>
          <p:nvPr/>
        </p:nvGrpSpPr>
        <p:grpSpPr>
          <a:xfrm>
            <a:off x="7859564" y="267919"/>
            <a:ext cx="850317" cy="1028245"/>
            <a:chOff x="5894005" y="919828"/>
            <a:chExt cx="850317" cy="1028245"/>
          </a:xfrm>
        </p:grpSpPr>
        <p:sp>
          <p:nvSpPr>
            <p:cNvPr id="71" name="RectangleLegend1"/>
            <p:cNvSpPr>
              <a:spLocks noChangeArrowheads="1"/>
            </p:cNvSpPr>
            <p:nvPr/>
          </p:nvSpPr>
          <p:spPr bwMode="gray">
            <a:xfrm>
              <a:off x="5894005" y="947381"/>
              <a:ext cx="165100" cy="160338"/>
            </a:xfrm>
            <a:prstGeom prst="rect">
              <a:avLst/>
            </a:prstGeom>
            <a:solidFill>
              <a:schemeClr val="accent1"/>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72" name="RectangleLegend2"/>
            <p:cNvSpPr>
              <a:spLocks noChangeArrowheads="1"/>
            </p:cNvSpPr>
            <p:nvPr/>
          </p:nvSpPr>
          <p:spPr bwMode="gray">
            <a:xfrm>
              <a:off x="5894005" y="1217256"/>
              <a:ext cx="165100" cy="160338"/>
            </a:xfrm>
            <a:prstGeom prst="rect">
              <a:avLst/>
            </a:prstGeom>
            <a:solidFill>
              <a:schemeClr val="accent2"/>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73" name="RectangleLegend3"/>
            <p:cNvSpPr>
              <a:spLocks noChangeArrowheads="1"/>
            </p:cNvSpPr>
            <p:nvPr/>
          </p:nvSpPr>
          <p:spPr bwMode="gray">
            <a:xfrm>
              <a:off x="5894005" y="1488719"/>
              <a:ext cx="165100" cy="160338"/>
            </a:xfrm>
            <a:prstGeom prst="rect">
              <a:avLst/>
            </a:prstGeom>
            <a:solidFill>
              <a:schemeClr val="accent3"/>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74" name="RectangleLegend4"/>
            <p:cNvSpPr>
              <a:spLocks noChangeArrowheads="1"/>
            </p:cNvSpPr>
            <p:nvPr/>
          </p:nvSpPr>
          <p:spPr bwMode="gray">
            <a:xfrm>
              <a:off x="5894005" y="1760182"/>
              <a:ext cx="165100" cy="160338"/>
            </a:xfrm>
            <a:prstGeom prst="rect">
              <a:avLst/>
            </a:prstGeom>
            <a:solidFill>
              <a:schemeClr val="accent4"/>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75" name="Legend1"/>
            <p:cNvSpPr>
              <a:spLocks noChangeArrowheads="1"/>
            </p:cNvSpPr>
            <p:nvPr>
              <p:custDataLst>
                <p:tags r:id="rId28"/>
              </p:custDataLst>
            </p:nvPr>
          </p:nvSpPr>
          <p:spPr bwMode="gray">
            <a:xfrm>
              <a:off x="6148005" y="919828"/>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sp>
          <p:nvSpPr>
            <p:cNvPr id="76" name="Legend2"/>
            <p:cNvSpPr>
              <a:spLocks noChangeArrowheads="1"/>
            </p:cNvSpPr>
            <p:nvPr>
              <p:custDataLst>
                <p:tags r:id="rId29"/>
              </p:custDataLst>
            </p:nvPr>
          </p:nvSpPr>
          <p:spPr bwMode="gray">
            <a:xfrm>
              <a:off x="6148005" y="1189703"/>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sp>
          <p:nvSpPr>
            <p:cNvPr id="77" name="Legend3"/>
            <p:cNvSpPr>
              <a:spLocks noChangeArrowheads="1"/>
            </p:cNvSpPr>
            <p:nvPr>
              <p:custDataLst>
                <p:tags r:id="rId30"/>
              </p:custDataLst>
            </p:nvPr>
          </p:nvSpPr>
          <p:spPr bwMode="gray">
            <a:xfrm>
              <a:off x="6148005" y="1461166"/>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sp>
          <p:nvSpPr>
            <p:cNvPr id="78" name="Legend4"/>
            <p:cNvSpPr>
              <a:spLocks noChangeArrowheads="1"/>
            </p:cNvSpPr>
            <p:nvPr>
              <p:custDataLst>
                <p:tags r:id="rId31"/>
              </p:custDataLst>
            </p:nvPr>
          </p:nvSpPr>
          <p:spPr bwMode="gray">
            <a:xfrm>
              <a:off x="6148005" y="1732629"/>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grpSp>
      <p:grpSp>
        <p:nvGrpSpPr>
          <p:cNvPr id="79" name="LegendMoons" hidden="1"/>
          <p:cNvGrpSpPr/>
          <p:nvPr/>
        </p:nvGrpSpPr>
        <p:grpSpPr>
          <a:xfrm>
            <a:off x="7792889" y="267414"/>
            <a:ext cx="916992" cy="1317003"/>
            <a:chOff x="5894005" y="2695123"/>
            <a:chExt cx="916992" cy="1317003"/>
          </a:xfrm>
        </p:grpSpPr>
        <p:grpSp>
          <p:nvGrpSpPr>
            <p:cNvPr id="80" name="MoonLegend1"/>
            <p:cNvGrpSpPr>
              <a:grpSpLocks noChangeAspect="1"/>
            </p:cNvGrpSpPr>
            <p:nvPr>
              <p:custDataLst>
                <p:tags r:id="rId8"/>
              </p:custDataLst>
            </p:nvPr>
          </p:nvGrpSpPr>
          <p:grpSpPr bwMode="gray">
            <a:xfrm>
              <a:off x="5894005" y="2695123"/>
              <a:ext cx="209550" cy="218282"/>
              <a:chOff x="4533" y="183"/>
              <a:chExt cx="144" cy="150"/>
            </a:xfrm>
          </p:grpSpPr>
          <p:sp>
            <p:nvSpPr>
              <p:cNvPr id="98" name="Oval 97"/>
              <p:cNvSpPr>
                <a:spLocks noChangeAspect="1" noChangeArrowheads="1"/>
              </p:cNvSpPr>
              <p:nvPr>
                <p:custDataLst>
                  <p:tags r:id="rId26"/>
                </p:custDataLst>
              </p:nvPr>
            </p:nvSpPr>
            <p:spPr bwMode="gray">
              <a:xfrm>
                <a:off x="4533" y="189"/>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99" name="Arc 98" hidden="1"/>
              <p:cNvSpPr>
                <a:spLocks noChangeAspect="1"/>
              </p:cNvSpPr>
              <p:nvPr>
                <p:custDataLst>
                  <p:tags r:id="rId27"/>
                </p:custDataLst>
              </p:nvPr>
            </p:nvSpPr>
            <p:spPr bwMode="gray">
              <a:xfrm>
                <a:off x="4533" y="183"/>
                <a:ext cx="144" cy="144"/>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grpSp>
        <p:grpSp>
          <p:nvGrpSpPr>
            <p:cNvPr id="81" name="MoonLegend2"/>
            <p:cNvGrpSpPr>
              <a:grpSpLocks noChangeAspect="1"/>
            </p:cNvGrpSpPr>
            <p:nvPr>
              <p:custDataLst>
                <p:tags r:id="rId9"/>
              </p:custDataLst>
            </p:nvPr>
          </p:nvGrpSpPr>
          <p:grpSpPr bwMode="gray">
            <a:xfrm>
              <a:off x="5894005" y="2977103"/>
              <a:ext cx="209550" cy="209551"/>
              <a:chOff x="1694" y="2051"/>
              <a:chExt cx="160" cy="160"/>
            </a:xfrm>
          </p:grpSpPr>
          <p:sp>
            <p:nvSpPr>
              <p:cNvPr id="96" name="Oval 41"/>
              <p:cNvSpPr>
                <a:spLocks noChangeAspect="1" noChangeArrowheads="1"/>
              </p:cNvSpPr>
              <p:nvPr>
                <p:custDataLst>
                  <p:tags r:id="rId24"/>
                </p:custDataLst>
              </p:nvPr>
            </p:nvSpPr>
            <p:spPr bwMode="gray">
              <a:xfrm>
                <a:off x="1694" y="2051"/>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97" name="Arc 42"/>
              <p:cNvSpPr>
                <a:spLocks noChangeAspect="1"/>
              </p:cNvSpPr>
              <p:nvPr>
                <p:custDataLst>
                  <p:tags r:id="rId25"/>
                </p:custDataLst>
              </p:nvPr>
            </p:nvSpPr>
            <p:spPr bwMode="gray">
              <a:xfrm>
                <a:off x="1694" y="2051"/>
                <a:ext cx="160" cy="160"/>
              </a:xfrm>
              <a:prstGeom prst="arc">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grpSp>
        <p:grpSp>
          <p:nvGrpSpPr>
            <p:cNvPr id="82" name="MoonLegend4"/>
            <p:cNvGrpSpPr>
              <a:grpSpLocks noChangeAspect="1"/>
            </p:cNvGrpSpPr>
            <p:nvPr>
              <p:custDataLst>
                <p:tags r:id="rId10"/>
              </p:custDataLst>
            </p:nvPr>
          </p:nvGrpSpPr>
          <p:grpSpPr bwMode="gray">
            <a:xfrm>
              <a:off x="5894005" y="3524395"/>
              <a:ext cx="209550" cy="209551"/>
              <a:chOff x="4495" y="1204"/>
              <a:chExt cx="160" cy="160"/>
            </a:xfrm>
          </p:grpSpPr>
          <p:sp>
            <p:nvSpPr>
              <p:cNvPr id="94" name="Oval 47"/>
              <p:cNvSpPr>
                <a:spLocks noChangeAspect="1" noChangeArrowheads="1"/>
              </p:cNvSpPr>
              <p:nvPr>
                <p:custDataLst>
                  <p:tags r:id="rId22"/>
                </p:custDataLst>
              </p:nvPr>
            </p:nvSpPr>
            <p:spPr bwMode="gray">
              <a:xfrm>
                <a:off x="4495" y="120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95" name="Arc 48"/>
              <p:cNvSpPr>
                <a:spLocks noChangeAspect="1"/>
              </p:cNvSpPr>
              <p:nvPr>
                <p:custDataLst>
                  <p:tags r:id="rId23"/>
                </p:custDataLst>
              </p:nvPr>
            </p:nvSpPr>
            <p:spPr bwMode="gray">
              <a:xfrm>
                <a:off x="4495" y="1204"/>
                <a:ext cx="160" cy="160"/>
              </a:xfrm>
              <a:prstGeom prst="arc">
                <a:avLst>
                  <a:gd name="adj1" fmla="val 16200000"/>
                  <a:gd name="adj2" fmla="val 108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grpSp>
        <p:grpSp>
          <p:nvGrpSpPr>
            <p:cNvPr id="83" name="MoonLegend5"/>
            <p:cNvGrpSpPr>
              <a:grpSpLocks noChangeAspect="1"/>
            </p:cNvGrpSpPr>
            <p:nvPr>
              <p:custDataLst>
                <p:tags r:id="rId11"/>
              </p:custDataLst>
            </p:nvPr>
          </p:nvGrpSpPr>
          <p:grpSpPr bwMode="gray">
            <a:xfrm>
              <a:off x="5894005" y="3799629"/>
              <a:ext cx="209550" cy="209551"/>
              <a:chOff x="4495" y="1447"/>
              <a:chExt cx="160" cy="160"/>
            </a:xfrm>
          </p:grpSpPr>
          <p:sp>
            <p:nvSpPr>
              <p:cNvPr id="92" name="Oval 50"/>
              <p:cNvSpPr>
                <a:spLocks noChangeAspect="1" noChangeArrowheads="1"/>
              </p:cNvSpPr>
              <p:nvPr>
                <p:custDataLst>
                  <p:tags r:id="rId20"/>
                </p:custDataLst>
              </p:nvPr>
            </p:nvSpPr>
            <p:spPr bwMode="gray">
              <a:xfrm>
                <a:off x="4495" y="1447"/>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93" name="Oval 51"/>
              <p:cNvSpPr>
                <a:spLocks noChangeAspect="1" noChangeArrowheads="1"/>
              </p:cNvSpPr>
              <p:nvPr>
                <p:custDataLst>
                  <p:tags r:id="rId21"/>
                </p:custDataLst>
              </p:nvPr>
            </p:nvSpPr>
            <p:spPr bwMode="gray">
              <a:xfrm>
                <a:off x="4495" y="1447"/>
                <a:ext cx="160" cy="160"/>
              </a:xfrm>
              <a:prstGeom prst="arc">
                <a:avLst>
                  <a:gd name="adj1" fmla="val 16200000"/>
                  <a:gd name="adj2" fmla="val 162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grpSp>
        <p:grpSp>
          <p:nvGrpSpPr>
            <p:cNvPr id="84" name="MoonLegend3"/>
            <p:cNvGrpSpPr>
              <a:grpSpLocks noChangeAspect="1"/>
            </p:cNvGrpSpPr>
            <p:nvPr>
              <p:custDataLst>
                <p:tags r:id="rId12"/>
              </p:custDataLst>
            </p:nvPr>
          </p:nvGrpSpPr>
          <p:grpSpPr bwMode="gray">
            <a:xfrm>
              <a:off x="5894005" y="3251543"/>
              <a:ext cx="209550" cy="209551"/>
              <a:chOff x="4495" y="1205"/>
              <a:chExt cx="160" cy="160"/>
            </a:xfrm>
          </p:grpSpPr>
          <p:sp>
            <p:nvSpPr>
              <p:cNvPr id="90" name="Oval 47"/>
              <p:cNvSpPr>
                <a:spLocks noChangeAspect="1" noChangeArrowheads="1"/>
              </p:cNvSpPr>
              <p:nvPr>
                <p:custDataLst>
                  <p:tags r:id="rId18"/>
                </p:custDataLst>
              </p:nvPr>
            </p:nvSpPr>
            <p:spPr bwMode="gray">
              <a:xfrm>
                <a:off x="4495" y="1205"/>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91" name="Arc 48"/>
              <p:cNvSpPr>
                <a:spLocks noChangeAspect="1"/>
              </p:cNvSpPr>
              <p:nvPr>
                <p:custDataLst>
                  <p:tags r:id="rId19"/>
                </p:custDataLst>
              </p:nvPr>
            </p:nvSpPr>
            <p:spPr bwMode="gray">
              <a:xfrm>
                <a:off x="4495" y="1205"/>
                <a:ext cx="160" cy="160"/>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grpSp>
        <p:sp>
          <p:nvSpPr>
            <p:cNvPr id="85" name="Legend1"/>
            <p:cNvSpPr>
              <a:spLocks noChangeArrowheads="1"/>
            </p:cNvSpPr>
            <p:nvPr>
              <p:custDataLst>
                <p:tags r:id="rId13"/>
              </p:custDataLst>
            </p:nvPr>
          </p:nvSpPr>
          <p:spPr bwMode="gray">
            <a:xfrm>
              <a:off x="6214680" y="2696542"/>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sp>
          <p:nvSpPr>
            <p:cNvPr id="86" name="Legend2"/>
            <p:cNvSpPr>
              <a:spLocks noChangeArrowheads="1"/>
            </p:cNvSpPr>
            <p:nvPr>
              <p:custDataLst>
                <p:tags r:id="rId14"/>
              </p:custDataLst>
            </p:nvPr>
          </p:nvSpPr>
          <p:spPr bwMode="gray">
            <a:xfrm>
              <a:off x="6214680" y="2974156"/>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a:latin typeface="+mn-lt"/>
                  <a:ea typeface="+mn-ea"/>
                </a:rPr>
                <a:t>Legend</a:t>
              </a:r>
              <a:endParaRPr lang="en-US" sz="1400" baseline="0" dirty="0">
                <a:latin typeface="+mn-lt"/>
                <a:ea typeface="+mn-ea"/>
              </a:endParaRPr>
            </a:p>
          </p:txBody>
        </p:sp>
        <p:sp>
          <p:nvSpPr>
            <p:cNvPr id="87" name="Legend3"/>
            <p:cNvSpPr>
              <a:spLocks noChangeArrowheads="1"/>
            </p:cNvSpPr>
            <p:nvPr>
              <p:custDataLst>
                <p:tags r:id="rId15"/>
              </p:custDataLst>
            </p:nvPr>
          </p:nvSpPr>
          <p:spPr bwMode="gray">
            <a:xfrm>
              <a:off x="6214680" y="3248596"/>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sp>
          <p:nvSpPr>
            <p:cNvPr id="88" name="Legend4"/>
            <p:cNvSpPr>
              <a:spLocks noChangeArrowheads="1"/>
            </p:cNvSpPr>
            <p:nvPr>
              <p:custDataLst>
                <p:tags r:id="rId16"/>
              </p:custDataLst>
            </p:nvPr>
          </p:nvSpPr>
          <p:spPr bwMode="gray">
            <a:xfrm>
              <a:off x="6214680" y="3521448"/>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sp>
          <p:nvSpPr>
            <p:cNvPr id="89" name="Legend5"/>
            <p:cNvSpPr>
              <a:spLocks noChangeArrowheads="1"/>
            </p:cNvSpPr>
            <p:nvPr>
              <p:custDataLst>
                <p:tags r:id="rId17"/>
              </p:custDataLst>
            </p:nvPr>
          </p:nvSpPr>
          <p:spPr bwMode="gray">
            <a:xfrm>
              <a:off x="6214680" y="3796682"/>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a:latin typeface="+mn-lt"/>
                  <a:ea typeface="+mn-ea"/>
                </a:rPr>
                <a:t>Legend</a:t>
              </a:r>
              <a:endParaRPr lang="en-US" sz="1400" baseline="0" dirty="0">
                <a:latin typeface="+mn-lt"/>
                <a:ea typeface="+mn-ea"/>
              </a:endParaRPr>
            </a:p>
          </p:txBody>
        </p:sp>
      </p:grpSp>
    </p:spTree>
    <p:extLst>
      <p:ext uri="{BB962C8B-B14F-4D97-AF65-F5344CB8AC3E}">
        <p14:creationId xmlns:p14="http://schemas.microsoft.com/office/powerpoint/2010/main" val="1235935524"/>
      </p:ext>
    </p:extLst>
  </p:cSld>
  <p:clrMap bg1="lt1" tx1="dk1" bg2="lt2" tx2="dk2" accent1="accent1" accent2="accent2" accent3="accent3" accent4="accent4" accent5="accent5" accent6="accent6" hlink="hlink" folHlink="folHlink"/>
  <p:sldLayoutIdLst>
    <p:sldLayoutId id="2147483921" r:id="rId1"/>
    <p:sldLayoutId id="2147483922" r:id="rId2"/>
    <p:sldLayoutId id="2147483923" r:id="rId3"/>
  </p:sldLayoutIdLst>
  <p:txStyles>
    <p:titleStyle>
      <a:lvl1pPr algn="l" defTabSz="895350" rtl="0" eaLnBrk="1" fontAlgn="base" hangingPunct="1">
        <a:spcBef>
          <a:spcPct val="0"/>
        </a:spcBef>
        <a:spcAft>
          <a:spcPct val="0"/>
        </a:spcAft>
        <a:tabLst>
          <a:tab pos="269875" algn="l"/>
        </a:tabLst>
        <a:defRPr sz="2000" b="0" baseline="0">
          <a:solidFill>
            <a:schemeClr val="tx2"/>
          </a:solidFill>
          <a:latin typeface="+mj-lt"/>
          <a:ea typeface="+mj-ea"/>
          <a:cs typeface="+mj-cs"/>
        </a:defRPr>
      </a:lvl1pPr>
      <a:lvl2pPr algn="l" defTabSz="895350" rtl="0" eaLnBrk="1" fontAlgn="base" hangingPunct="1">
        <a:spcBef>
          <a:spcPct val="0"/>
        </a:spcBef>
        <a:spcAft>
          <a:spcPct val="0"/>
        </a:spcAft>
        <a:defRPr sz="1900" b="1">
          <a:solidFill>
            <a:schemeClr val="tx2"/>
          </a:solidFill>
          <a:latin typeface="Arial" charset="0"/>
        </a:defRPr>
      </a:lvl2pPr>
      <a:lvl3pPr algn="l" defTabSz="895350" rtl="0" eaLnBrk="1" fontAlgn="base" hangingPunct="1">
        <a:spcBef>
          <a:spcPct val="0"/>
        </a:spcBef>
        <a:spcAft>
          <a:spcPct val="0"/>
        </a:spcAft>
        <a:defRPr sz="1900" b="1">
          <a:solidFill>
            <a:schemeClr val="tx2"/>
          </a:solidFill>
          <a:latin typeface="Arial" charset="0"/>
        </a:defRPr>
      </a:lvl3pPr>
      <a:lvl4pPr algn="l" defTabSz="895350" rtl="0" eaLnBrk="1" fontAlgn="base" hangingPunct="1">
        <a:spcBef>
          <a:spcPct val="0"/>
        </a:spcBef>
        <a:spcAft>
          <a:spcPct val="0"/>
        </a:spcAft>
        <a:defRPr sz="1900" b="1">
          <a:solidFill>
            <a:schemeClr val="tx2"/>
          </a:solidFill>
          <a:latin typeface="Arial" charset="0"/>
        </a:defRPr>
      </a:lvl4pPr>
      <a:lvl5pPr algn="l" defTabSz="895350" rtl="0" eaLnBrk="1" fontAlgn="base" hangingPunct="1">
        <a:spcBef>
          <a:spcPct val="0"/>
        </a:spcBef>
        <a:spcAft>
          <a:spcPct val="0"/>
        </a:spcAft>
        <a:defRPr sz="1900" b="1">
          <a:solidFill>
            <a:schemeClr val="tx2"/>
          </a:solidFill>
          <a:latin typeface="Arial" charset="0"/>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p:titleStyle>
    <p:bodyStyle>
      <a:lvl1pPr marL="0" indent="0" algn="l" defTabSz="895350" rtl="0" eaLnBrk="1" fontAlgn="base" hangingPunct="1">
        <a:spcBef>
          <a:spcPct val="0"/>
        </a:spcBef>
        <a:spcAft>
          <a:spcPct val="0"/>
        </a:spcAft>
        <a:buClr>
          <a:schemeClr val="tx2"/>
        </a:buClr>
        <a:buSzPct val="100000"/>
        <a:defRPr sz="14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4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4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4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4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ext>
  </p:extLst>
</p:sldMaster>
</file>

<file path=ppt/slideMasters/slideMaster5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7"/>
            </p:custDataLst>
            <p:extLst>
              <p:ext uri="{D42A27DB-BD31-4B8C-83A1-F6EECF244321}">
                <p14:modId xmlns:p14="http://schemas.microsoft.com/office/powerpoint/2010/main" val="534464546"/>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60116" name="think-cell Slide" r:id="rId36" imgW="270" imgH="270" progId="TCLayout.ActiveDocument.1">
                  <p:embed/>
                </p:oleObj>
              </mc:Choice>
              <mc:Fallback>
                <p:oleObj name="think-cell Slide" r:id="rId36" imgW="270" imgH="270" progId="TCLayout.ActiveDocument.1">
                  <p:embed/>
                  <p:pic>
                    <p:nvPicPr>
                      <p:cNvPr id="2" name="Object 1" hidden="1"/>
                      <p:cNvPicPr/>
                      <p:nvPr/>
                    </p:nvPicPr>
                    <p:blipFill>
                      <a:blip r:embed="rId37"/>
                      <a:stretch>
                        <a:fillRect/>
                      </a:stretch>
                    </p:blipFill>
                    <p:spPr>
                      <a:xfrm>
                        <a:off x="0" y="0"/>
                        <a:ext cx="158750" cy="158750"/>
                      </a:xfrm>
                      <a:prstGeom prst="rect">
                        <a:avLst/>
                      </a:prstGeom>
                    </p:spPr>
                  </p:pic>
                </p:oleObj>
              </mc:Fallback>
            </mc:AlternateContent>
          </a:graphicData>
        </a:graphic>
      </p:graphicFrame>
      <p:sp>
        <p:nvSpPr>
          <p:cNvPr id="6" name="Rectangle 5" hidden="1"/>
          <p:cNvSpPr/>
          <p:nvPr>
            <p:custDataLst>
              <p:tags r:id="rId8"/>
            </p:custDataLst>
          </p:nvPr>
        </p:nvSpPr>
        <p:spPr bwMode="auto">
          <a:xfrm>
            <a:off x="0" y="0"/>
            <a:ext cx="158750" cy="158750"/>
          </a:xfrm>
          <a:prstGeom prst="rect">
            <a:avLst/>
          </a:prstGeom>
          <a:solidFill>
            <a:schemeClr val="bg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dirty="0">
              <a:solidFill>
                <a:srgbClr val="000000"/>
              </a:solidFill>
              <a:sym typeface="Arial" panose="020B0604020202020204" pitchFamily="34" charset="0"/>
            </a:endParaRPr>
          </a:p>
        </p:txBody>
      </p:sp>
      <p:sp>
        <p:nvSpPr>
          <p:cNvPr id="1034" name="Working Draft" hidden="1"/>
          <p:cNvSpPr txBox="1">
            <a:spLocks noChangeArrowheads="1"/>
          </p:cNvSpPr>
          <p:nvPr/>
        </p:nvSpPr>
        <p:spPr bwMode="gray">
          <a:xfrm rot="5400000">
            <a:off x="7966656" y="1940591"/>
            <a:ext cx="1849865"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600" baseline="0">
                <a:solidFill>
                  <a:srgbClr val="808080"/>
                </a:solidFill>
                <a:latin typeface="+mn-lt"/>
                <a:ea typeface="+mn-ea"/>
              </a:rPr>
              <a:t>Last Modified 21/05/2018 17:44 India Standard Time</a:t>
            </a:r>
            <a:endParaRPr lang="en-US" baseline="0" dirty="0">
              <a:solidFill>
                <a:srgbClr val="808080"/>
              </a:solidFill>
              <a:latin typeface="+mn-lt"/>
              <a:ea typeface="+mn-ea"/>
            </a:endParaRPr>
          </a:p>
        </p:txBody>
      </p:sp>
      <p:sp>
        <p:nvSpPr>
          <p:cNvPr id="1035" name="Printed" hidden="1"/>
          <p:cNvSpPr txBox="1">
            <a:spLocks noChangeArrowheads="1"/>
          </p:cNvSpPr>
          <p:nvPr/>
        </p:nvSpPr>
        <p:spPr bwMode="gray">
          <a:xfrm rot="5400000">
            <a:off x="8768958" y="4114417"/>
            <a:ext cx="245260"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600" baseline="0" dirty="0">
                <a:solidFill>
                  <a:srgbClr val="808080"/>
                </a:solidFill>
                <a:latin typeface="+mn-lt"/>
                <a:ea typeface="+mn-ea"/>
              </a:rPr>
              <a:t>Printed</a:t>
            </a:r>
            <a:endParaRPr lang="en-US" baseline="0" dirty="0">
              <a:solidFill>
                <a:srgbClr val="808080"/>
              </a:solidFill>
              <a:latin typeface="+mn-lt"/>
              <a:ea typeface="+mn-ea"/>
            </a:endParaRPr>
          </a:p>
        </p:txBody>
      </p:sp>
      <p:sp>
        <p:nvSpPr>
          <p:cNvPr id="19" name="Title Placeholder 2"/>
          <p:cNvSpPr>
            <a:spLocks noGrp="1" noChangeArrowheads="1"/>
          </p:cNvSpPr>
          <p:nvPr>
            <p:ph type="title"/>
          </p:nvPr>
        </p:nvSpPr>
        <p:spPr bwMode="gray">
          <a:xfrm>
            <a:off x="119063" y="230188"/>
            <a:ext cx="8618537"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latinLnBrk="0"/>
            <a:r>
              <a:rPr lang="en-US"/>
              <a:t>Click to edit Master title style</a:t>
            </a:r>
            <a:endParaRPr lang="en-US" noProof="0" dirty="0"/>
          </a:p>
        </p:txBody>
      </p:sp>
      <p:sp>
        <p:nvSpPr>
          <p:cNvPr id="10" name="1. On-page tracker" hidden="1"/>
          <p:cNvSpPr>
            <a:spLocks noChangeArrowheads="1"/>
          </p:cNvSpPr>
          <p:nvPr/>
        </p:nvSpPr>
        <p:spPr bwMode="gray">
          <a:xfrm>
            <a:off x="119063" y="75764"/>
            <a:ext cx="490519"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800" cap="all" baseline="0" dirty="0">
                <a:solidFill>
                  <a:schemeClr val="accent6"/>
                </a:solidFill>
                <a:latin typeface="+mn-lt"/>
                <a:ea typeface="+mn-ea"/>
              </a:rPr>
              <a:t>Tracker</a:t>
            </a:r>
          </a:p>
        </p:txBody>
      </p:sp>
      <p:sp>
        <p:nvSpPr>
          <p:cNvPr id="11" name="3. Unit of measure" hidden="1"/>
          <p:cNvSpPr txBox="1">
            <a:spLocks noChangeArrowheads="1"/>
          </p:cNvSpPr>
          <p:nvPr/>
        </p:nvSpPr>
        <p:spPr bwMode="gray">
          <a:xfrm>
            <a:off x="119063" y="554865"/>
            <a:ext cx="8618537"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600" baseline="0" dirty="0">
                <a:solidFill>
                  <a:schemeClr val="accent6"/>
                </a:solidFill>
                <a:latin typeface="+mn-lt"/>
                <a:ea typeface="+mn-ea"/>
              </a:rPr>
              <a:t>Unit of measure</a:t>
            </a:r>
          </a:p>
        </p:txBody>
      </p:sp>
      <p:grpSp>
        <p:nvGrpSpPr>
          <p:cNvPr id="4" name="Slide Elements" hidden="1"/>
          <p:cNvGrpSpPr/>
          <p:nvPr/>
        </p:nvGrpSpPr>
        <p:grpSpPr bwMode="gray">
          <a:xfrm>
            <a:off x="119063" y="6305945"/>
            <a:ext cx="8618537" cy="325438"/>
            <a:chOff x="119063" y="6305945"/>
            <a:chExt cx="8618537" cy="325438"/>
          </a:xfrm>
        </p:grpSpPr>
        <p:sp>
          <p:nvSpPr>
            <p:cNvPr id="13" name="4. Footnote"/>
            <p:cNvSpPr txBox="1">
              <a:spLocks noChangeArrowheads="1"/>
            </p:cNvSpPr>
            <p:nvPr/>
          </p:nvSpPr>
          <p:spPr bwMode="gray">
            <a:xfrm>
              <a:off x="119063" y="6305945"/>
              <a:ext cx="8618537" cy="123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800" baseline="0" dirty="0">
                  <a:solidFill>
                    <a:schemeClr val="accent6"/>
                  </a:solidFill>
                  <a:latin typeface="+mn-lt"/>
                  <a:ea typeface="+mn-ea"/>
                </a:rPr>
                <a:t>1 Footnote</a:t>
              </a:r>
            </a:p>
          </p:txBody>
        </p:sp>
        <p:sp>
          <p:nvSpPr>
            <p:cNvPr id="14" name="5. Source"/>
            <p:cNvSpPr>
              <a:spLocks noChangeArrowheads="1"/>
            </p:cNvSpPr>
            <p:nvPr/>
          </p:nvSpPr>
          <p:spPr bwMode="gray">
            <a:xfrm>
              <a:off x="119063" y="6507558"/>
              <a:ext cx="7200000" cy="123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marL="609600" indent="-609600" defTabSz="895350">
                <a:tabLst>
                  <a:tab pos="612775" algn="l"/>
                </a:tabLst>
              </a:pPr>
              <a:r>
                <a:rPr lang="en-US" sz="800" baseline="0" dirty="0">
                  <a:solidFill>
                    <a:schemeClr val="accent6"/>
                  </a:solidFill>
                  <a:latin typeface="+mn-lt"/>
                  <a:ea typeface="+mn-ea"/>
                </a:rPr>
                <a:t>SOURCE: Source</a:t>
              </a:r>
            </a:p>
          </p:txBody>
        </p:sp>
      </p:grpSp>
      <p:sp>
        <p:nvSpPr>
          <p:cNvPr id="3" name="Text Placeholder 2"/>
          <p:cNvSpPr>
            <a:spLocks noGrp="1"/>
          </p:cNvSpPr>
          <p:nvPr>
            <p:ph type="body" idx="1"/>
          </p:nvPr>
        </p:nvSpPr>
        <p:spPr bwMode="gray">
          <a:xfrm>
            <a:off x="1452564" y="1951380"/>
            <a:ext cx="4302125" cy="1077218"/>
          </a:xfrm>
          <a:prstGeom prst="rect">
            <a:avLst/>
          </a:prstGeom>
        </p:spPr>
        <p:txBody>
          <a:bodyPr vert="horz" lIns="0" tIns="0" rIns="0" bIns="0" rtlCol="0">
            <a:spAutoFit/>
          </a:bodyPr>
          <a:lstStyle/>
          <a:p>
            <a:pPr lvl="0" latinLnBrk="0"/>
            <a:r>
              <a:rPr lang="en-US"/>
              <a:t>Edit Master text styles</a:t>
            </a:r>
          </a:p>
          <a:p>
            <a:pPr lvl="1" latinLnBrk="0"/>
            <a:r>
              <a:rPr lang="en-US"/>
              <a:t>Second level</a:t>
            </a:r>
          </a:p>
          <a:p>
            <a:pPr lvl="2" latinLnBrk="0"/>
            <a:r>
              <a:rPr lang="en-US"/>
              <a:t>Third level</a:t>
            </a:r>
          </a:p>
          <a:p>
            <a:pPr lvl="3" latinLnBrk="0"/>
            <a:r>
              <a:rPr lang="en-US"/>
              <a:t>Fourth level</a:t>
            </a:r>
          </a:p>
          <a:p>
            <a:pPr lvl="4" latinLnBrk="0"/>
            <a:r>
              <a:rPr lang="en-US"/>
              <a:t>Fifth level</a:t>
            </a:r>
            <a:endParaRPr lang="en-US" dirty="0"/>
          </a:p>
        </p:txBody>
      </p:sp>
      <p:grpSp>
        <p:nvGrpSpPr>
          <p:cNvPr id="15" name="ACET" hidden="1"/>
          <p:cNvGrpSpPr>
            <a:grpSpLocks/>
          </p:cNvGrpSpPr>
          <p:nvPr/>
        </p:nvGrpSpPr>
        <p:grpSpPr bwMode="gray">
          <a:xfrm>
            <a:off x="1452563" y="1257754"/>
            <a:ext cx="4264025" cy="508000"/>
            <a:chOff x="915" y="710"/>
            <a:chExt cx="2686" cy="320"/>
          </a:xfrm>
        </p:grpSpPr>
        <p:cxnSp>
          <p:nvCxnSpPr>
            <p:cNvPr id="16" name="AutoShape 249"/>
            <p:cNvCxnSpPr>
              <a:cxnSpLocks noChangeShapeType="1"/>
              <a:stCxn id="18" idx="4"/>
              <a:endCxn id="18" idx="6"/>
            </p:cNvCxnSpPr>
            <p:nvPr/>
          </p:nvCxnSpPr>
          <p:spPr bwMode="gray">
            <a:xfrm>
              <a:off x="915" y="1030"/>
              <a:ext cx="2686" cy="0"/>
            </a:xfrm>
            <a:prstGeom prst="straightConnector1">
              <a:avLst/>
            </a:prstGeom>
            <a:noFill/>
            <a:ln w="9525">
              <a:solidFill>
                <a:schemeClr val="accent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8" name="AutoShape 250"/>
            <p:cNvSpPr>
              <a:spLocks noChangeArrowheads="1"/>
            </p:cNvSpPr>
            <p:nvPr/>
          </p:nvSpPr>
          <p:spPr bwMode="gray">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US" b="1" baseline="0" dirty="0">
                  <a:solidFill>
                    <a:srgbClr val="000000"/>
                  </a:solidFill>
                  <a:latin typeface="+mn-lt"/>
                  <a:ea typeface="+mn-ea"/>
                </a:rPr>
                <a:t>Title</a:t>
              </a:r>
            </a:p>
            <a:p>
              <a:r>
                <a:rPr lang="en-US" baseline="0" dirty="0">
                  <a:solidFill>
                    <a:schemeClr val="accent6"/>
                  </a:solidFill>
                  <a:latin typeface="+mn-lt"/>
                  <a:ea typeface="+mn-ea"/>
                </a:rPr>
                <a:t>Unit of measure</a:t>
              </a:r>
            </a:p>
          </p:txBody>
        </p:sp>
      </p:grpSp>
      <p:grpSp>
        <p:nvGrpSpPr>
          <p:cNvPr id="17" name="McKSticker" hidden="1"/>
          <p:cNvGrpSpPr/>
          <p:nvPr/>
        </p:nvGrpSpPr>
        <p:grpSpPr bwMode="gray">
          <a:xfrm>
            <a:off x="8264265" y="285750"/>
            <a:ext cx="473335" cy="150811"/>
            <a:chOff x="8267440" y="285750"/>
            <a:chExt cx="473335" cy="150811"/>
          </a:xfrm>
        </p:grpSpPr>
        <p:sp>
          <p:nvSpPr>
            <p:cNvPr id="20" name="StickerRectangle"/>
            <p:cNvSpPr>
              <a:spLocks noChangeArrowheads="1"/>
            </p:cNvSpPr>
            <p:nvPr/>
          </p:nvSpPr>
          <p:spPr bwMode="gray">
            <a:xfrm>
              <a:off x="8267440" y="285750"/>
              <a:ext cx="473335" cy="150811"/>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a:buClr>
                  <a:srgbClr val="002960"/>
                </a:buClr>
              </a:pPr>
              <a:r>
                <a:rPr lang="en-US" sz="800" baseline="0" dirty="0">
                  <a:solidFill>
                    <a:schemeClr val="accent6"/>
                  </a:solidFill>
                  <a:latin typeface="+mn-lt"/>
                  <a:ea typeface="+mn-ea"/>
                </a:rPr>
                <a:t>STICKER</a:t>
              </a:r>
            </a:p>
          </p:txBody>
        </p:sp>
        <p:cxnSp>
          <p:nvCxnSpPr>
            <p:cNvPr id="21" name="AutoShape 31"/>
            <p:cNvCxnSpPr>
              <a:cxnSpLocks noChangeShapeType="1"/>
              <a:stCxn id="20" idx="2"/>
              <a:endCxn id="20" idx="4"/>
            </p:cNvCxnSpPr>
            <p:nvPr/>
          </p:nvCxnSpPr>
          <p:spPr bwMode="gray">
            <a:xfrm>
              <a:off x="8267440" y="285750"/>
              <a:ext cx="0" cy="150811"/>
            </a:xfrm>
            <a:prstGeom prst="straightConnector1">
              <a:avLst/>
            </a:prstGeom>
            <a:noFill/>
            <a:ln w="9525">
              <a:solidFill>
                <a:schemeClr val="accent6"/>
              </a:solidFill>
              <a:round/>
              <a:headEnd/>
              <a:tailEnd/>
            </a:ln>
            <a:extLst>
              <a:ext uri="{909E8E84-426E-40DD-AFC4-6F175D3DCCD1}">
                <a14:hiddenFill xmlns:a14="http://schemas.microsoft.com/office/drawing/2010/main">
                  <a:noFill/>
                </a14:hiddenFill>
              </a:ext>
            </a:extLst>
          </p:spPr>
        </p:cxnSp>
        <p:cxnSp>
          <p:nvCxnSpPr>
            <p:cNvPr id="22" name="AutoShape 32"/>
            <p:cNvCxnSpPr>
              <a:cxnSpLocks noChangeShapeType="1"/>
              <a:stCxn id="20" idx="4"/>
              <a:endCxn id="20" idx="6"/>
            </p:cNvCxnSpPr>
            <p:nvPr/>
          </p:nvCxnSpPr>
          <p:spPr bwMode="gray">
            <a:xfrm>
              <a:off x="8267440" y="436561"/>
              <a:ext cx="473335" cy="0"/>
            </a:xfrm>
            <a:prstGeom prst="straightConnector1">
              <a:avLst/>
            </a:prstGeom>
            <a:noFill/>
            <a:ln w="25400">
              <a:solidFill>
                <a:schemeClr val="accent6"/>
              </a:solidFill>
              <a:round/>
              <a:headEnd/>
              <a:tailEnd/>
            </a:ln>
            <a:extLst>
              <a:ext uri="{909E8E84-426E-40DD-AFC4-6F175D3DCCD1}">
                <a14:hiddenFill xmlns:a14="http://schemas.microsoft.com/office/drawing/2010/main">
                  <a:noFill/>
                </a14:hiddenFill>
              </a:ext>
            </a:extLst>
          </p:spPr>
        </p:cxnSp>
      </p:grpSp>
      <p:sp>
        <p:nvSpPr>
          <p:cNvPr id="23" name="SlideBottomBar" hidden="1"/>
          <p:cNvSpPr/>
          <p:nvPr/>
        </p:nvSpPr>
        <p:spPr>
          <a:xfrm>
            <a:off x="8437547" y="6182120"/>
            <a:ext cx="45719" cy="123825"/>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aseline="0" dirty="0">
              <a:solidFill>
                <a:schemeClr val="tx1"/>
              </a:solidFill>
              <a:latin typeface="+mn-lt"/>
              <a:ea typeface="+mn-ea"/>
            </a:endParaRPr>
          </a:p>
        </p:txBody>
      </p:sp>
      <p:sp>
        <p:nvSpPr>
          <p:cNvPr id="24" name="doc id" hidden="1"/>
          <p:cNvSpPr txBox="1">
            <a:spLocks noChangeArrowheads="1"/>
          </p:cNvSpPr>
          <p:nvPr/>
        </p:nvSpPr>
        <p:spPr bwMode="white">
          <a:xfrm>
            <a:off x="8104473" y="36513"/>
            <a:ext cx="634716" cy="115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hangingPunct="1">
              <a:defRPr/>
            </a:pPr>
            <a:endParaRPr lang="en-US" sz="800" baseline="0" dirty="0">
              <a:solidFill>
                <a:schemeClr val="accent1"/>
              </a:solidFill>
              <a:latin typeface="+mn-lt"/>
              <a:ea typeface="+mn-ea"/>
            </a:endParaRPr>
          </a:p>
        </p:txBody>
      </p:sp>
      <p:grpSp>
        <p:nvGrpSpPr>
          <p:cNvPr id="63" name="LegendLines" hidden="1"/>
          <p:cNvGrpSpPr/>
          <p:nvPr/>
        </p:nvGrpSpPr>
        <p:grpSpPr>
          <a:xfrm>
            <a:off x="7551589" y="267815"/>
            <a:ext cx="1158292" cy="761545"/>
            <a:chOff x="7607284" y="279400"/>
            <a:chExt cx="1158292" cy="761545"/>
          </a:xfrm>
        </p:grpSpPr>
        <p:sp>
          <p:nvSpPr>
            <p:cNvPr id="64" name="LineLegend1"/>
            <p:cNvSpPr>
              <a:spLocks noChangeShapeType="1"/>
            </p:cNvSpPr>
            <p:nvPr/>
          </p:nvSpPr>
          <p:spPr bwMode="gray">
            <a:xfrm>
              <a:off x="7607284" y="387122"/>
              <a:ext cx="457200"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65" name="LineLegend2"/>
            <p:cNvSpPr>
              <a:spLocks noChangeShapeType="1"/>
            </p:cNvSpPr>
            <p:nvPr/>
          </p:nvSpPr>
          <p:spPr bwMode="gray">
            <a:xfrm>
              <a:off x="7607284" y="653822"/>
              <a:ext cx="457200"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66" name="LineLegend3"/>
            <p:cNvSpPr>
              <a:spLocks noChangeShapeType="1"/>
            </p:cNvSpPr>
            <p:nvPr/>
          </p:nvSpPr>
          <p:spPr bwMode="gray">
            <a:xfrm>
              <a:off x="7607284" y="933223"/>
              <a:ext cx="457200"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67" name="Legend1"/>
            <p:cNvSpPr>
              <a:spLocks noChangeArrowheads="1"/>
            </p:cNvSpPr>
            <p:nvPr>
              <p:custDataLst>
                <p:tags r:id="rId33"/>
              </p:custDataLst>
            </p:nvPr>
          </p:nvSpPr>
          <p:spPr bwMode="gray">
            <a:xfrm>
              <a:off x="8169259" y="279400"/>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sp>
          <p:nvSpPr>
            <p:cNvPr id="68" name="Legend2"/>
            <p:cNvSpPr>
              <a:spLocks noChangeArrowheads="1"/>
            </p:cNvSpPr>
            <p:nvPr>
              <p:custDataLst>
                <p:tags r:id="rId34"/>
              </p:custDataLst>
            </p:nvPr>
          </p:nvSpPr>
          <p:spPr bwMode="gray">
            <a:xfrm>
              <a:off x="8169259" y="546100"/>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a:latin typeface="+mn-lt"/>
                  <a:ea typeface="+mn-ea"/>
                </a:rPr>
                <a:t>Legend</a:t>
              </a:r>
              <a:endParaRPr lang="en-US" sz="1400" baseline="0" dirty="0">
                <a:latin typeface="+mn-lt"/>
                <a:ea typeface="+mn-ea"/>
              </a:endParaRPr>
            </a:p>
          </p:txBody>
        </p:sp>
        <p:sp>
          <p:nvSpPr>
            <p:cNvPr id="69" name="Legend3"/>
            <p:cNvSpPr>
              <a:spLocks noChangeArrowheads="1"/>
            </p:cNvSpPr>
            <p:nvPr>
              <p:custDataLst>
                <p:tags r:id="rId35"/>
              </p:custDataLst>
            </p:nvPr>
          </p:nvSpPr>
          <p:spPr bwMode="gray">
            <a:xfrm>
              <a:off x="8169259" y="825501"/>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grpSp>
      <p:grpSp>
        <p:nvGrpSpPr>
          <p:cNvPr id="70" name="LegendBoxes" hidden="1"/>
          <p:cNvGrpSpPr/>
          <p:nvPr/>
        </p:nvGrpSpPr>
        <p:grpSpPr>
          <a:xfrm>
            <a:off x="7859564" y="267919"/>
            <a:ext cx="850317" cy="1028245"/>
            <a:chOff x="5894005" y="919828"/>
            <a:chExt cx="850317" cy="1028245"/>
          </a:xfrm>
        </p:grpSpPr>
        <p:sp>
          <p:nvSpPr>
            <p:cNvPr id="71" name="RectangleLegend1"/>
            <p:cNvSpPr>
              <a:spLocks noChangeArrowheads="1"/>
            </p:cNvSpPr>
            <p:nvPr/>
          </p:nvSpPr>
          <p:spPr bwMode="gray">
            <a:xfrm>
              <a:off x="5894005" y="947381"/>
              <a:ext cx="165100" cy="160338"/>
            </a:xfrm>
            <a:prstGeom prst="rect">
              <a:avLst/>
            </a:prstGeom>
            <a:solidFill>
              <a:schemeClr val="accent1"/>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72" name="RectangleLegend2"/>
            <p:cNvSpPr>
              <a:spLocks noChangeArrowheads="1"/>
            </p:cNvSpPr>
            <p:nvPr/>
          </p:nvSpPr>
          <p:spPr bwMode="gray">
            <a:xfrm>
              <a:off x="5894005" y="1217256"/>
              <a:ext cx="165100" cy="160338"/>
            </a:xfrm>
            <a:prstGeom prst="rect">
              <a:avLst/>
            </a:prstGeom>
            <a:solidFill>
              <a:schemeClr val="accent2"/>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73" name="RectangleLegend3"/>
            <p:cNvSpPr>
              <a:spLocks noChangeArrowheads="1"/>
            </p:cNvSpPr>
            <p:nvPr/>
          </p:nvSpPr>
          <p:spPr bwMode="gray">
            <a:xfrm>
              <a:off x="5894005" y="1488719"/>
              <a:ext cx="165100" cy="160338"/>
            </a:xfrm>
            <a:prstGeom prst="rect">
              <a:avLst/>
            </a:prstGeom>
            <a:solidFill>
              <a:schemeClr val="accent3"/>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74" name="RectangleLegend4"/>
            <p:cNvSpPr>
              <a:spLocks noChangeArrowheads="1"/>
            </p:cNvSpPr>
            <p:nvPr/>
          </p:nvSpPr>
          <p:spPr bwMode="gray">
            <a:xfrm>
              <a:off x="5894005" y="1760182"/>
              <a:ext cx="165100" cy="160338"/>
            </a:xfrm>
            <a:prstGeom prst="rect">
              <a:avLst/>
            </a:prstGeom>
            <a:solidFill>
              <a:schemeClr val="accent4"/>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75" name="Legend1"/>
            <p:cNvSpPr>
              <a:spLocks noChangeArrowheads="1"/>
            </p:cNvSpPr>
            <p:nvPr>
              <p:custDataLst>
                <p:tags r:id="rId29"/>
              </p:custDataLst>
            </p:nvPr>
          </p:nvSpPr>
          <p:spPr bwMode="gray">
            <a:xfrm>
              <a:off x="6148005" y="919828"/>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sp>
          <p:nvSpPr>
            <p:cNvPr id="76" name="Legend2"/>
            <p:cNvSpPr>
              <a:spLocks noChangeArrowheads="1"/>
            </p:cNvSpPr>
            <p:nvPr>
              <p:custDataLst>
                <p:tags r:id="rId30"/>
              </p:custDataLst>
            </p:nvPr>
          </p:nvSpPr>
          <p:spPr bwMode="gray">
            <a:xfrm>
              <a:off x="6148005" y="1189703"/>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sp>
          <p:nvSpPr>
            <p:cNvPr id="77" name="Legend3"/>
            <p:cNvSpPr>
              <a:spLocks noChangeArrowheads="1"/>
            </p:cNvSpPr>
            <p:nvPr>
              <p:custDataLst>
                <p:tags r:id="rId31"/>
              </p:custDataLst>
            </p:nvPr>
          </p:nvSpPr>
          <p:spPr bwMode="gray">
            <a:xfrm>
              <a:off x="6148005" y="1461166"/>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sp>
          <p:nvSpPr>
            <p:cNvPr id="78" name="Legend4"/>
            <p:cNvSpPr>
              <a:spLocks noChangeArrowheads="1"/>
            </p:cNvSpPr>
            <p:nvPr>
              <p:custDataLst>
                <p:tags r:id="rId32"/>
              </p:custDataLst>
            </p:nvPr>
          </p:nvSpPr>
          <p:spPr bwMode="gray">
            <a:xfrm>
              <a:off x="6148005" y="1732629"/>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grpSp>
      <p:grpSp>
        <p:nvGrpSpPr>
          <p:cNvPr id="79" name="LegendMoons" hidden="1"/>
          <p:cNvGrpSpPr/>
          <p:nvPr/>
        </p:nvGrpSpPr>
        <p:grpSpPr>
          <a:xfrm>
            <a:off x="7792889" y="267414"/>
            <a:ext cx="916992" cy="1317003"/>
            <a:chOff x="5894005" y="2695123"/>
            <a:chExt cx="916992" cy="1317003"/>
          </a:xfrm>
        </p:grpSpPr>
        <p:grpSp>
          <p:nvGrpSpPr>
            <p:cNvPr id="80" name="MoonLegend1"/>
            <p:cNvGrpSpPr>
              <a:grpSpLocks noChangeAspect="1"/>
            </p:cNvGrpSpPr>
            <p:nvPr>
              <p:custDataLst>
                <p:tags r:id="rId9"/>
              </p:custDataLst>
            </p:nvPr>
          </p:nvGrpSpPr>
          <p:grpSpPr bwMode="gray">
            <a:xfrm>
              <a:off x="5894005" y="2695123"/>
              <a:ext cx="209550" cy="218282"/>
              <a:chOff x="4533" y="183"/>
              <a:chExt cx="144" cy="150"/>
            </a:xfrm>
          </p:grpSpPr>
          <p:sp>
            <p:nvSpPr>
              <p:cNvPr id="98" name="Oval 97"/>
              <p:cNvSpPr>
                <a:spLocks noChangeAspect="1" noChangeArrowheads="1"/>
              </p:cNvSpPr>
              <p:nvPr>
                <p:custDataLst>
                  <p:tags r:id="rId27"/>
                </p:custDataLst>
              </p:nvPr>
            </p:nvSpPr>
            <p:spPr bwMode="gray">
              <a:xfrm>
                <a:off x="4533" y="189"/>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99" name="Arc 98" hidden="1"/>
              <p:cNvSpPr>
                <a:spLocks noChangeAspect="1"/>
              </p:cNvSpPr>
              <p:nvPr>
                <p:custDataLst>
                  <p:tags r:id="rId28"/>
                </p:custDataLst>
              </p:nvPr>
            </p:nvSpPr>
            <p:spPr bwMode="gray">
              <a:xfrm>
                <a:off x="4533" y="183"/>
                <a:ext cx="144" cy="144"/>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grpSp>
        <p:grpSp>
          <p:nvGrpSpPr>
            <p:cNvPr id="81" name="MoonLegend2"/>
            <p:cNvGrpSpPr>
              <a:grpSpLocks noChangeAspect="1"/>
            </p:cNvGrpSpPr>
            <p:nvPr>
              <p:custDataLst>
                <p:tags r:id="rId10"/>
              </p:custDataLst>
            </p:nvPr>
          </p:nvGrpSpPr>
          <p:grpSpPr bwMode="gray">
            <a:xfrm>
              <a:off x="5894005" y="2977103"/>
              <a:ext cx="209550" cy="209551"/>
              <a:chOff x="1694" y="2051"/>
              <a:chExt cx="160" cy="160"/>
            </a:xfrm>
          </p:grpSpPr>
          <p:sp>
            <p:nvSpPr>
              <p:cNvPr id="96" name="Oval 41"/>
              <p:cNvSpPr>
                <a:spLocks noChangeAspect="1" noChangeArrowheads="1"/>
              </p:cNvSpPr>
              <p:nvPr>
                <p:custDataLst>
                  <p:tags r:id="rId25"/>
                </p:custDataLst>
              </p:nvPr>
            </p:nvSpPr>
            <p:spPr bwMode="gray">
              <a:xfrm>
                <a:off x="1694" y="2051"/>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97" name="Arc 42"/>
              <p:cNvSpPr>
                <a:spLocks noChangeAspect="1"/>
              </p:cNvSpPr>
              <p:nvPr>
                <p:custDataLst>
                  <p:tags r:id="rId26"/>
                </p:custDataLst>
              </p:nvPr>
            </p:nvSpPr>
            <p:spPr bwMode="gray">
              <a:xfrm>
                <a:off x="1694" y="2051"/>
                <a:ext cx="160" cy="160"/>
              </a:xfrm>
              <a:prstGeom prst="arc">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grpSp>
        <p:grpSp>
          <p:nvGrpSpPr>
            <p:cNvPr id="82" name="MoonLegend4"/>
            <p:cNvGrpSpPr>
              <a:grpSpLocks noChangeAspect="1"/>
            </p:cNvGrpSpPr>
            <p:nvPr>
              <p:custDataLst>
                <p:tags r:id="rId11"/>
              </p:custDataLst>
            </p:nvPr>
          </p:nvGrpSpPr>
          <p:grpSpPr bwMode="gray">
            <a:xfrm>
              <a:off x="5894005" y="3524395"/>
              <a:ext cx="209550" cy="209551"/>
              <a:chOff x="4495" y="1204"/>
              <a:chExt cx="160" cy="160"/>
            </a:xfrm>
          </p:grpSpPr>
          <p:sp>
            <p:nvSpPr>
              <p:cNvPr id="94" name="Oval 47"/>
              <p:cNvSpPr>
                <a:spLocks noChangeAspect="1" noChangeArrowheads="1"/>
              </p:cNvSpPr>
              <p:nvPr>
                <p:custDataLst>
                  <p:tags r:id="rId23"/>
                </p:custDataLst>
              </p:nvPr>
            </p:nvSpPr>
            <p:spPr bwMode="gray">
              <a:xfrm>
                <a:off x="4495" y="120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95" name="Arc 48"/>
              <p:cNvSpPr>
                <a:spLocks noChangeAspect="1"/>
              </p:cNvSpPr>
              <p:nvPr>
                <p:custDataLst>
                  <p:tags r:id="rId24"/>
                </p:custDataLst>
              </p:nvPr>
            </p:nvSpPr>
            <p:spPr bwMode="gray">
              <a:xfrm>
                <a:off x="4495" y="1204"/>
                <a:ext cx="160" cy="160"/>
              </a:xfrm>
              <a:prstGeom prst="arc">
                <a:avLst>
                  <a:gd name="adj1" fmla="val 16200000"/>
                  <a:gd name="adj2" fmla="val 108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grpSp>
        <p:grpSp>
          <p:nvGrpSpPr>
            <p:cNvPr id="83" name="MoonLegend5"/>
            <p:cNvGrpSpPr>
              <a:grpSpLocks noChangeAspect="1"/>
            </p:cNvGrpSpPr>
            <p:nvPr>
              <p:custDataLst>
                <p:tags r:id="rId12"/>
              </p:custDataLst>
            </p:nvPr>
          </p:nvGrpSpPr>
          <p:grpSpPr bwMode="gray">
            <a:xfrm>
              <a:off x="5894005" y="3799629"/>
              <a:ext cx="209550" cy="209551"/>
              <a:chOff x="4495" y="1447"/>
              <a:chExt cx="160" cy="160"/>
            </a:xfrm>
          </p:grpSpPr>
          <p:sp>
            <p:nvSpPr>
              <p:cNvPr id="92" name="Oval 50"/>
              <p:cNvSpPr>
                <a:spLocks noChangeAspect="1" noChangeArrowheads="1"/>
              </p:cNvSpPr>
              <p:nvPr>
                <p:custDataLst>
                  <p:tags r:id="rId21"/>
                </p:custDataLst>
              </p:nvPr>
            </p:nvSpPr>
            <p:spPr bwMode="gray">
              <a:xfrm>
                <a:off x="4495" y="1447"/>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93" name="Oval 51"/>
              <p:cNvSpPr>
                <a:spLocks noChangeAspect="1" noChangeArrowheads="1"/>
              </p:cNvSpPr>
              <p:nvPr>
                <p:custDataLst>
                  <p:tags r:id="rId22"/>
                </p:custDataLst>
              </p:nvPr>
            </p:nvSpPr>
            <p:spPr bwMode="gray">
              <a:xfrm>
                <a:off x="4495" y="1447"/>
                <a:ext cx="160" cy="160"/>
              </a:xfrm>
              <a:prstGeom prst="arc">
                <a:avLst>
                  <a:gd name="adj1" fmla="val 16200000"/>
                  <a:gd name="adj2" fmla="val 162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grpSp>
        <p:grpSp>
          <p:nvGrpSpPr>
            <p:cNvPr id="84" name="MoonLegend3"/>
            <p:cNvGrpSpPr>
              <a:grpSpLocks noChangeAspect="1"/>
            </p:cNvGrpSpPr>
            <p:nvPr>
              <p:custDataLst>
                <p:tags r:id="rId13"/>
              </p:custDataLst>
            </p:nvPr>
          </p:nvGrpSpPr>
          <p:grpSpPr bwMode="gray">
            <a:xfrm>
              <a:off x="5894005" y="3251543"/>
              <a:ext cx="209550" cy="209551"/>
              <a:chOff x="4495" y="1205"/>
              <a:chExt cx="160" cy="160"/>
            </a:xfrm>
          </p:grpSpPr>
          <p:sp>
            <p:nvSpPr>
              <p:cNvPr id="90" name="Oval 47"/>
              <p:cNvSpPr>
                <a:spLocks noChangeAspect="1" noChangeArrowheads="1"/>
              </p:cNvSpPr>
              <p:nvPr>
                <p:custDataLst>
                  <p:tags r:id="rId19"/>
                </p:custDataLst>
              </p:nvPr>
            </p:nvSpPr>
            <p:spPr bwMode="gray">
              <a:xfrm>
                <a:off x="4495" y="1205"/>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91" name="Arc 48"/>
              <p:cNvSpPr>
                <a:spLocks noChangeAspect="1"/>
              </p:cNvSpPr>
              <p:nvPr>
                <p:custDataLst>
                  <p:tags r:id="rId20"/>
                </p:custDataLst>
              </p:nvPr>
            </p:nvSpPr>
            <p:spPr bwMode="gray">
              <a:xfrm>
                <a:off x="4495" y="1205"/>
                <a:ext cx="160" cy="160"/>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grpSp>
        <p:sp>
          <p:nvSpPr>
            <p:cNvPr id="85" name="Legend1"/>
            <p:cNvSpPr>
              <a:spLocks noChangeArrowheads="1"/>
            </p:cNvSpPr>
            <p:nvPr>
              <p:custDataLst>
                <p:tags r:id="rId14"/>
              </p:custDataLst>
            </p:nvPr>
          </p:nvSpPr>
          <p:spPr bwMode="gray">
            <a:xfrm>
              <a:off x="6214680" y="2696542"/>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sp>
          <p:nvSpPr>
            <p:cNvPr id="86" name="Legend2"/>
            <p:cNvSpPr>
              <a:spLocks noChangeArrowheads="1"/>
            </p:cNvSpPr>
            <p:nvPr>
              <p:custDataLst>
                <p:tags r:id="rId15"/>
              </p:custDataLst>
            </p:nvPr>
          </p:nvSpPr>
          <p:spPr bwMode="gray">
            <a:xfrm>
              <a:off x="6214680" y="2974156"/>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a:latin typeface="+mn-lt"/>
                  <a:ea typeface="+mn-ea"/>
                </a:rPr>
                <a:t>Legend</a:t>
              </a:r>
              <a:endParaRPr lang="en-US" sz="1400" baseline="0" dirty="0">
                <a:latin typeface="+mn-lt"/>
                <a:ea typeface="+mn-ea"/>
              </a:endParaRPr>
            </a:p>
          </p:txBody>
        </p:sp>
        <p:sp>
          <p:nvSpPr>
            <p:cNvPr id="87" name="Legend3"/>
            <p:cNvSpPr>
              <a:spLocks noChangeArrowheads="1"/>
            </p:cNvSpPr>
            <p:nvPr>
              <p:custDataLst>
                <p:tags r:id="rId16"/>
              </p:custDataLst>
            </p:nvPr>
          </p:nvSpPr>
          <p:spPr bwMode="gray">
            <a:xfrm>
              <a:off x="6214680" y="3248596"/>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sp>
          <p:nvSpPr>
            <p:cNvPr id="88" name="Legend4"/>
            <p:cNvSpPr>
              <a:spLocks noChangeArrowheads="1"/>
            </p:cNvSpPr>
            <p:nvPr>
              <p:custDataLst>
                <p:tags r:id="rId17"/>
              </p:custDataLst>
            </p:nvPr>
          </p:nvSpPr>
          <p:spPr bwMode="gray">
            <a:xfrm>
              <a:off x="6214680" y="3521448"/>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sp>
          <p:nvSpPr>
            <p:cNvPr id="89" name="Legend5"/>
            <p:cNvSpPr>
              <a:spLocks noChangeArrowheads="1"/>
            </p:cNvSpPr>
            <p:nvPr>
              <p:custDataLst>
                <p:tags r:id="rId18"/>
              </p:custDataLst>
            </p:nvPr>
          </p:nvSpPr>
          <p:spPr bwMode="gray">
            <a:xfrm>
              <a:off x="6214680" y="3796682"/>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a:latin typeface="+mn-lt"/>
                  <a:ea typeface="+mn-ea"/>
                </a:rPr>
                <a:t>Legend</a:t>
              </a:r>
              <a:endParaRPr lang="en-US" sz="1400" baseline="0" dirty="0">
                <a:latin typeface="+mn-lt"/>
                <a:ea typeface="+mn-ea"/>
              </a:endParaRPr>
            </a:p>
          </p:txBody>
        </p:sp>
      </p:grpSp>
    </p:spTree>
    <p:extLst>
      <p:ext uri="{BB962C8B-B14F-4D97-AF65-F5344CB8AC3E}">
        <p14:creationId xmlns:p14="http://schemas.microsoft.com/office/powerpoint/2010/main" val="1379225339"/>
      </p:ext>
    </p:extLst>
  </p:cSld>
  <p:clrMap bg1="lt1" tx1="dk1" bg2="lt2" tx2="dk2" accent1="accent1" accent2="accent2" accent3="accent3" accent4="accent4" accent5="accent5" accent6="accent6" hlink="hlink" folHlink="folHlink"/>
  <p:sldLayoutIdLst>
    <p:sldLayoutId id="2147483926" r:id="rId1"/>
    <p:sldLayoutId id="2147483927" r:id="rId2"/>
    <p:sldLayoutId id="2147483928" r:id="rId3"/>
    <p:sldLayoutId id="2147483929" r:id="rId4"/>
  </p:sldLayoutIdLst>
  <p:txStyles>
    <p:titleStyle>
      <a:lvl1pPr algn="l" defTabSz="895350" rtl="0" eaLnBrk="1" fontAlgn="base" hangingPunct="1">
        <a:spcBef>
          <a:spcPct val="0"/>
        </a:spcBef>
        <a:spcAft>
          <a:spcPct val="0"/>
        </a:spcAft>
        <a:tabLst>
          <a:tab pos="269875" algn="l"/>
        </a:tabLst>
        <a:defRPr sz="2000" b="0" baseline="0">
          <a:solidFill>
            <a:schemeClr val="tx2"/>
          </a:solidFill>
          <a:latin typeface="+mj-lt"/>
          <a:ea typeface="+mj-ea"/>
          <a:cs typeface="+mj-cs"/>
        </a:defRPr>
      </a:lvl1pPr>
      <a:lvl2pPr algn="l" defTabSz="895350" rtl="0" eaLnBrk="1" fontAlgn="base" hangingPunct="1">
        <a:spcBef>
          <a:spcPct val="0"/>
        </a:spcBef>
        <a:spcAft>
          <a:spcPct val="0"/>
        </a:spcAft>
        <a:defRPr sz="1900" b="1">
          <a:solidFill>
            <a:schemeClr val="tx2"/>
          </a:solidFill>
          <a:latin typeface="Arial" charset="0"/>
        </a:defRPr>
      </a:lvl2pPr>
      <a:lvl3pPr algn="l" defTabSz="895350" rtl="0" eaLnBrk="1" fontAlgn="base" hangingPunct="1">
        <a:spcBef>
          <a:spcPct val="0"/>
        </a:spcBef>
        <a:spcAft>
          <a:spcPct val="0"/>
        </a:spcAft>
        <a:defRPr sz="1900" b="1">
          <a:solidFill>
            <a:schemeClr val="tx2"/>
          </a:solidFill>
          <a:latin typeface="Arial" charset="0"/>
        </a:defRPr>
      </a:lvl3pPr>
      <a:lvl4pPr algn="l" defTabSz="895350" rtl="0" eaLnBrk="1" fontAlgn="base" hangingPunct="1">
        <a:spcBef>
          <a:spcPct val="0"/>
        </a:spcBef>
        <a:spcAft>
          <a:spcPct val="0"/>
        </a:spcAft>
        <a:defRPr sz="1900" b="1">
          <a:solidFill>
            <a:schemeClr val="tx2"/>
          </a:solidFill>
          <a:latin typeface="Arial" charset="0"/>
        </a:defRPr>
      </a:lvl4pPr>
      <a:lvl5pPr algn="l" defTabSz="895350" rtl="0" eaLnBrk="1" fontAlgn="base" hangingPunct="1">
        <a:spcBef>
          <a:spcPct val="0"/>
        </a:spcBef>
        <a:spcAft>
          <a:spcPct val="0"/>
        </a:spcAft>
        <a:defRPr sz="1900" b="1">
          <a:solidFill>
            <a:schemeClr val="tx2"/>
          </a:solidFill>
          <a:latin typeface="Arial" charset="0"/>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p:titleStyle>
    <p:bodyStyle>
      <a:lvl1pPr marL="0" indent="0" algn="l" defTabSz="895350" rtl="0" eaLnBrk="1" fontAlgn="base" hangingPunct="1">
        <a:spcBef>
          <a:spcPct val="0"/>
        </a:spcBef>
        <a:spcAft>
          <a:spcPct val="0"/>
        </a:spcAft>
        <a:buClr>
          <a:schemeClr val="tx2"/>
        </a:buClr>
        <a:buSzPct val="100000"/>
        <a:defRPr sz="14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4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4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4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4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7"/>
            </p:custDataLst>
            <p:extLst>
              <p:ext uri="{D42A27DB-BD31-4B8C-83A1-F6EECF244321}">
                <p14:modId xmlns:p14="http://schemas.microsoft.com/office/powerpoint/2010/main" val="1144724395"/>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6644" name="think-cell Slide" r:id="rId36" imgW="270" imgH="270" progId="TCLayout.ActiveDocument.1">
                  <p:embed/>
                </p:oleObj>
              </mc:Choice>
              <mc:Fallback>
                <p:oleObj name="think-cell Slide" r:id="rId36" imgW="270" imgH="270" progId="TCLayout.ActiveDocument.1">
                  <p:embed/>
                  <p:pic>
                    <p:nvPicPr>
                      <p:cNvPr id="2" name="Object 1" hidden="1"/>
                      <p:cNvPicPr/>
                      <p:nvPr/>
                    </p:nvPicPr>
                    <p:blipFill>
                      <a:blip r:embed="rId37"/>
                      <a:stretch>
                        <a:fillRect/>
                      </a:stretch>
                    </p:blipFill>
                    <p:spPr>
                      <a:xfrm>
                        <a:off x="0" y="0"/>
                        <a:ext cx="158750" cy="158750"/>
                      </a:xfrm>
                      <a:prstGeom prst="rect">
                        <a:avLst/>
                      </a:prstGeom>
                    </p:spPr>
                  </p:pic>
                </p:oleObj>
              </mc:Fallback>
            </mc:AlternateContent>
          </a:graphicData>
        </a:graphic>
      </p:graphicFrame>
      <p:sp>
        <p:nvSpPr>
          <p:cNvPr id="6" name="Rectangle 5" hidden="1"/>
          <p:cNvSpPr/>
          <p:nvPr>
            <p:custDataLst>
              <p:tags r:id="rId8"/>
            </p:custDataLst>
          </p:nvPr>
        </p:nvSpPr>
        <p:spPr bwMode="auto">
          <a:xfrm>
            <a:off x="0" y="0"/>
            <a:ext cx="158750" cy="158750"/>
          </a:xfrm>
          <a:prstGeom prst="rect">
            <a:avLst/>
          </a:prstGeom>
          <a:solidFill>
            <a:schemeClr val="bg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dirty="0">
              <a:solidFill>
                <a:srgbClr val="000000"/>
              </a:solidFill>
              <a:sym typeface="Arial" panose="020B0604020202020204" pitchFamily="34" charset="0"/>
            </a:endParaRPr>
          </a:p>
        </p:txBody>
      </p:sp>
      <p:sp>
        <p:nvSpPr>
          <p:cNvPr id="1034" name="Working Draft" hidden="1"/>
          <p:cNvSpPr txBox="1">
            <a:spLocks noChangeArrowheads="1"/>
          </p:cNvSpPr>
          <p:nvPr/>
        </p:nvSpPr>
        <p:spPr bwMode="gray">
          <a:xfrm rot="5400000">
            <a:off x="7966656" y="1940591"/>
            <a:ext cx="1849865"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600" baseline="0">
                <a:solidFill>
                  <a:srgbClr val="808080"/>
                </a:solidFill>
                <a:latin typeface="+mn-lt"/>
                <a:ea typeface="+mn-ea"/>
              </a:rPr>
              <a:t>Last Modified 21/05/2018 17:44 India Standard Time</a:t>
            </a:r>
            <a:endParaRPr lang="en-US" baseline="0" dirty="0">
              <a:solidFill>
                <a:srgbClr val="808080"/>
              </a:solidFill>
              <a:latin typeface="+mn-lt"/>
              <a:ea typeface="+mn-ea"/>
            </a:endParaRPr>
          </a:p>
        </p:txBody>
      </p:sp>
      <p:sp>
        <p:nvSpPr>
          <p:cNvPr id="1035" name="Printed" hidden="1"/>
          <p:cNvSpPr txBox="1">
            <a:spLocks noChangeArrowheads="1"/>
          </p:cNvSpPr>
          <p:nvPr/>
        </p:nvSpPr>
        <p:spPr bwMode="gray">
          <a:xfrm rot="5400000">
            <a:off x="8768958" y="4114417"/>
            <a:ext cx="245260"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600" baseline="0" dirty="0">
                <a:solidFill>
                  <a:srgbClr val="808080"/>
                </a:solidFill>
                <a:latin typeface="+mn-lt"/>
                <a:ea typeface="+mn-ea"/>
              </a:rPr>
              <a:t>Printed</a:t>
            </a:r>
            <a:endParaRPr lang="en-US" baseline="0" dirty="0">
              <a:solidFill>
                <a:srgbClr val="808080"/>
              </a:solidFill>
              <a:latin typeface="+mn-lt"/>
              <a:ea typeface="+mn-ea"/>
            </a:endParaRPr>
          </a:p>
        </p:txBody>
      </p:sp>
      <p:sp>
        <p:nvSpPr>
          <p:cNvPr id="19" name="Title Placeholder 2"/>
          <p:cNvSpPr>
            <a:spLocks noGrp="1" noChangeArrowheads="1"/>
          </p:cNvSpPr>
          <p:nvPr>
            <p:ph type="title"/>
          </p:nvPr>
        </p:nvSpPr>
        <p:spPr bwMode="gray">
          <a:xfrm>
            <a:off x="119063" y="230188"/>
            <a:ext cx="8618537"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latinLnBrk="0"/>
            <a:r>
              <a:rPr lang="en-US"/>
              <a:t>Click to edit Master title style</a:t>
            </a:r>
            <a:endParaRPr lang="en-US" noProof="0" dirty="0"/>
          </a:p>
        </p:txBody>
      </p:sp>
      <p:sp>
        <p:nvSpPr>
          <p:cNvPr id="10" name="1. On-page tracker" hidden="1"/>
          <p:cNvSpPr>
            <a:spLocks noChangeArrowheads="1"/>
          </p:cNvSpPr>
          <p:nvPr/>
        </p:nvSpPr>
        <p:spPr bwMode="gray">
          <a:xfrm>
            <a:off x="119063" y="75764"/>
            <a:ext cx="490519"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800" cap="all" baseline="0" dirty="0">
                <a:solidFill>
                  <a:schemeClr val="accent6"/>
                </a:solidFill>
                <a:latin typeface="+mn-lt"/>
                <a:ea typeface="+mn-ea"/>
              </a:rPr>
              <a:t>Tracker</a:t>
            </a:r>
          </a:p>
        </p:txBody>
      </p:sp>
      <p:sp>
        <p:nvSpPr>
          <p:cNvPr id="11" name="3. Unit of measure" hidden="1"/>
          <p:cNvSpPr txBox="1">
            <a:spLocks noChangeArrowheads="1"/>
          </p:cNvSpPr>
          <p:nvPr/>
        </p:nvSpPr>
        <p:spPr bwMode="gray">
          <a:xfrm>
            <a:off x="119063" y="554865"/>
            <a:ext cx="8618537"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600" baseline="0" dirty="0">
                <a:solidFill>
                  <a:schemeClr val="accent6"/>
                </a:solidFill>
                <a:latin typeface="+mn-lt"/>
                <a:ea typeface="+mn-ea"/>
              </a:rPr>
              <a:t>Unit of measure</a:t>
            </a:r>
          </a:p>
        </p:txBody>
      </p:sp>
      <p:grpSp>
        <p:nvGrpSpPr>
          <p:cNvPr id="4" name="Slide Elements" hidden="1"/>
          <p:cNvGrpSpPr/>
          <p:nvPr/>
        </p:nvGrpSpPr>
        <p:grpSpPr bwMode="gray">
          <a:xfrm>
            <a:off x="119063" y="6305945"/>
            <a:ext cx="8618537" cy="325438"/>
            <a:chOff x="119063" y="6305945"/>
            <a:chExt cx="8618537" cy="325438"/>
          </a:xfrm>
        </p:grpSpPr>
        <p:sp>
          <p:nvSpPr>
            <p:cNvPr id="13" name="4. Footnote"/>
            <p:cNvSpPr txBox="1">
              <a:spLocks noChangeArrowheads="1"/>
            </p:cNvSpPr>
            <p:nvPr/>
          </p:nvSpPr>
          <p:spPr bwMode="gray">
            <a:xfrm>
              <a:off x="119063" y="6305945"/>
              <a:ext cx="8618537" cy="123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800" baseline="0" dirty="0">
                  <a:solidFill>
                    <a:schemeClr val="accent6"/>
                  </a:solidFill>
                  <a:latin typeface="+mn-lt"/>
                  <a:ea typeface="+mn-ea"/>
                </a:rPr>
                <a:t>1 Footnote</a:t>
              </a:r>
            </a:p>
          </p:txBody>
        </p:sp>
        <p:sp>
          <p:nvSpPr>
            <p:cNvPr id="14" name="5. Source"/>
            <p:cNvSpPr>
              <a:spLocks noChangeArrowheads="1"/>
            </p:cNvSpPr>
            <p:nvPr/>
          </p:nvSpPr>
          <p:spPr bwMode="gray">
            <a:xfrm>
              <a:off x="119063" y="6507558"/>
              <a:ext cx="7200000" cy="123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marL="609600" indent="-609600" defTabSz="895350">
                <a:tabLst>
                  <a:tab pos="612775" algn="l"/>
                </a:tabLst>
              </a:pPr>
              <a:r>
                <a:rPr lang="en-US" sz="800" baseline="0" dirty="0">
                  <a:solidFill>
                    <a:schemeClr val="accent6"/>
                  </a:solidFill>
                  <a:latin typeface="+mn-lt"/>
                  <a:ea typeface="+mn-ea"/>
                </a:rPr>
                <a:t>SOURCE: Source</a:t>
              </a:r>
            </a:p>
          </p:txBody>
        </p:sp>
      </p:grpSp>
      <p:sp>
        <p:nvSpPr>
          <p:cNvPr id="3" name="Text Placeholder 2"/>
          <p:cNvSpPr>
            <a:spLocks noGrp="1"/>
          </p:cNvSpPr>
          <p:nvPr>
            <p:ph type="body" idx="1"/>
          </p:nvPr>
        </p:nvSpPr>
        <p:spPr bwMode="gray">
          <a:xfrm>
            <a:off x="1452564" y="1951380"/>
            <a:ext cx="4302125" cy="1077218"/>
          </a:xfrm>
          <a:prstGeom prst="rect">
            <a:avLst/>
          </a:prstGeom>
        </p:spPr>
        <p:txBody>
          <a:bodyPr vert="horz" lIns="0" tIns="0" rIns="0" bIns="0" rtlCol="0">
            <a:spAutoFit/>
          </a:bodyPr>
          <a:lstStyle/>
          <a:p>
            <a:pPr lvl="0" latinLnBrk="0"/>
            <a:r>
              <a:rPr lang="en-US"/>
              <a:t>Edit Master text styles</a:t>
            </a:r>
          </a:p>
          <a:p>
            <a:pPr lvl="1" latinLnBrk="0"/>
            <a:r>
              <a:rPr lang="en-US"/>
              <a:t>Second level</a:t>
            </a:r>
          </a:p>
          <a:p>
            <a:pPr lvl="2" latinLnBrk="0"/>
            <a:r>
              <a:rPr lang="en-US"/>
              <a:t>Third level</a:t>
            </a:r>
          </a:p>
          <a:p>
            <a:pPr lvl="3" latinLnBrk="0"/>
            <a:r>
              <a:rPr lang="en-US"/>
              <a:t>Fourth level</a:t>
            </a:r>
          </a:p>
          <a:p>
            <a:pPr lvl="4" latinLnBrk="0"/>
            <a:r>
              <a:rPr lang="en-US"/>
              <a:t>Fifth level</a:t>
            </a:r>
            <a:endParaRPr lang="en-US" dirty="0"/>
          </a:p>
        </p:txBody>
      </p:sp>
      <p:grpSp>
        <p:nvGrpSpPr>
          <p:cNvPr id="15" name="ACET" hidden="1"/>
          <p:cNvGrpSpPr>
            <a:grpSpLocks/>
          </p:cNvGrpSpPr>
          <p:nvPr/>
        </p:nvGrpSpPr>
        <p:grpSpPr bwMode="gray">
          <a:xfrm>
            <a:off x="1452563" y="1257754"/>
            <a:ext cx="4264025" cy="508000"/>
            <a:chOff x="915" y="710"/>
            <a:chExt cx="2686" cy="320"/>
          </a:xfrm>
        </p:grpSpPr>
        <p:cxnSp>
          <p:nvCxnSpPr>
            <p:cNvPr id="16" name="AutoShape 249"/>
            <p:cNvCxnSpPr>
              <a:cxnSpLocks noChangeShapeType="1"/>
              <a:stCxn id="18" idx="4"/>
              <a:endCxn id="18" idx="6"/>
            </p:cNvCxnSpPr>
            <p:nvPr/>
          </p:nvCxnSpPr>
          <p:spPr bwMode="gray">
            <a:xfrm>
              <a:off x="915" y="1030"/>
              <a:ext cx="2686" cy="0"/>
            </a:xfrm>
            <a:prstGeom prst="straightConnector1">
              <a:avLst/>
            </a:prstGeom>
            <a:noFill/>
            <a:ln w="9525">
              <a:solidFill>
                <a:schemeClr val="accent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8" name="AutoShape 250"/>
            <p:cNvSpPr>
              <a:spLocks noChangeArrowheads="1"/>
            </p:cNvSpPr>
            <p:nvPr/>
          </p:nvSpPr>
          <p:spPr bwMode="gray">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US" b="1" baseline="0" dirty="0">
                  <a:solidFill>
                    <a:srgbClr val="000000"/>
                  </a:solidFill>
                  <a:latin typeface="+mn-lt"/>
                  <a:ea typeface="+mn-ea"/>
                </a:rPr>
                <a:t>Title</a:t>
              </a:r>
            </a:p>
            <a:p>
              <a:r>
                <a:rPr lang="en-US" baseline="0" dirty="0">
                  <a:solidFill>
                    <a:schemeClr val="accent6"/>
                  </a:solidFill>
                  <a:latin typeface="+mn-lt"/>
                  <a:ea typeface="+mn-ea"/>
                </a:rPr>
                <a:t>Unit of measure</a:t>
              </a:r>
            </a:p>
          </p:txBody>
        </p:sp>
      </p:grpSp>
      <p:grpSp>
        <p:nvGrpSpPr>
          <p:cNvPr id="17" name="McKSticker" hidden="1"/>
          <p:cNvGrpSpPr/>
          <p:nvPr/>
        </p:nvGrpSpPr>
        <p:grpSpPr bwMode="gray">
          <a:xfrm>
            <a:off x="8264265" y="285750"/>
            <a:ext cx="473335" cy="150811"/>
            <a:chOff x="8267440" y="285750"/>
            <a:chExt cx="473335" cy="150811"/>
          </a:xfrm>
        </p:grpSpPr>
        <p:sp>
          <p:nvSpPr>
            <p:cNvPr id="20" name="StickerRectangle"/>
            <p:cNvSpPr>
              <a:spLocks noChangeArrowheads="1"/>
            </p:cNvSpPr>
            <p:nvPr/>
          </p:nvSpPr>
          <p:spPr bwMode="gray">
            <a:xfrm>
              <a:off x="8267440" y="285750"/>
              <a:ext cx="473335" cy="150811"/>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a:buClr>
                  <a:srgbClr val="002960"/>
                </a:buClr>
              </a:pPr>
              <a:r>
                <a:rPr lang="en-US" sz="800" baseline="0" dirty="0">
                  <a:solidFill>
                    <a:schemeClr val="accent6"/>
                  </a:solidFill>
                  <a:latin typeface="+mn-lt"/>
                  <a:ea typeface="+mn-ea"/>
                </a:rPr>
                <a:t>STICKER</a:t>
              </a:r>
            </a:p>
          </p:txBody>
        </p:sp>
        <p:cxnSp>
          <p:nvCxnSpPr>
            <p:cNvPr id="21" name="AutoShape 31"/>
            <p:cNvCxnSpPr>
              <a:cxnSpLocks noChangeShapeType="1"/>
              <a:stCxn id="20" idx="2"/>
              <a:endCxn id="20" idx="4"/>
            </p:cNvCxnSpPr>
            <p:nvPr/>
          </p:nvCxnSpPr>
          <p:spPr bwMode="gray">
            <a:xfrm>
              <a:off x="8267440" y="285750"/>
              <a:ext cx="0" cy="150811"/>
            </a:xfrm>
            <a:prstGeom prst="straightConnector1">
              <a:avLst/>
            </a:prstGeom>
            <a:noFill/>
            <a:ln w="9525">
              <a:solidFill>
                <a:schemeClr val="accent6"/>
              </a:solidFill>
              <a:round/>
              <a:headEnd/>
              <a:tailEnd/>
            </a:ln>
            <a:extLst>
              <a:ext uri="{909E8E84-426E-40DD-AFC4-6F175D3DCCD1}">
                <a14:hiddenFill xmlns:a14="http://schemas.microsoft.com/office/drawing/2010/main">
                  <a:noFill/>
                </a14:hiddenFill>
              </a:ext>
            </a:extLst>
          </p:spPr>
        </p:cxnSp>
        <p:cxnSp>
          <p:nvCxnSpPr>
            <p:cNvPr id="22" name="AutoShape 32"/>
            <p:cNvCxnSpPr>
              <a:cxnSpLocks noChangeShapeType="1"/>
              <a:stCxn id="20" idx="4"/>
              <a:endCxn id="20" idx="6"/>
            </p:cNvCxnSpPr>
            <p:nvPr/>
          </p:nvCxnSpPr>
          <p:spPr bwMode="gray">
            <a:xfrm>
              <a:off x="8267440" y="436561"/>
              <a:ext cx="473335" cy="0"/>
            </a:xfrm>
            <a:prstGeom prst="straightConnector1">
              <a:avLst/>
            </a:prstGeom>
            <a:noFill/>
            <a:ln w="25400">
              <a:solidFill>
                <a:schemeClr val="accent6"/>
              </a:solidFill>
              <a:round/>
              <a:headEnd/>
              <a:tailEnd/>
            </a:ln>
            <a:extLst>
              <a:ext uri="{909E8E84-426E-40DD-AFC4-6F175D3DCCD1}">
                <a14:hiddenFill xmlns:a14="http://schemas.microsoft.com/office/drawing/2010/main">
                  <a:noFill/>
                </a14:hiddenFill>
              </a:ext>
            </a:extLst>
          </p:spPr>
        </p:cxnSp>
      </p:grpSp>
      <p:sp>
        <p:nvSpPr>
          <p:cNvPr id="23" name="SlideBottomBar" hidden="1"/>
          <p:cNvSpPr/>
          <p:nvPr/>
        </p:nvSpPr>
        <p:spPr>
          <a:xfrm>
            <a:off x="8437547" y="6182120"/>
            <a:ext cx="45719" cy="123825"/>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aseline="0" dirty="0">
              <a:solidFill>
                <a:schemeClr val="tx1"/>
              </a:solidFill>
              <a:latin typeface="+mn-lt"/>
              <a:ea typeface="+mn-ea"/>
            </a:endParaRPr>
          </a:p>
        </p:txBody>
      </p:sp>
      <p:sp>
        <p:nvSpPr>
          <p:cNvPr id="24" name="doc id" hidden="1"/>
          <p:cNvSpPr txBox="1">
            <a:spLocks noChangeArrowheads="1"/>
          </p:cNvSpPr>
          <p:nvPr/>
        </p:nvSpPr>
        <p:spPr bwMode="white">
          <a:xfrm>
            <a:off x="8104473" y="36513"/>
            <a:ext cx="634716" cy="115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hangingPunct="1">
              <a:defRPr/>
            </a:pPr>
            <a:endParaRPr lang="en-US" sz="800" baseline="0" dirty="0">
              <a:solidFill>
                <a:schemeClr val="accent1"/>
              </a:solidFill>
              <a:latin typeface="+mn-lt"/>
              <a:ea typeface="+mn-ea"/>
            </a:endParaRPr>
          </a:p>
        </p:txBody>
      </p:sp>
      <p:grpSp>
        <p:nvGrpSpPr>
          <p:cNvPr id="63" name="LegendLines" hidden="1"/>
          <p:cNvGrpSpPr/>
          <p:nvPr/>
        </p:nvGrpSpPr>
        <p:grpSpPr>
          <a:xfrm>
            <a:off x="7551589" y="267815"/>
            <a:ext cx="1158292" cy="761545"/>
            <a:chOff x="7607284" y="279400"/>
            <a:chExt cx="1158292" cy="761545"/>
          </a:xfrm>
        </p:grpSpPr>
        <p:sp>
          <p:nvSpPr>
            <p:cNvPr id="64" name="LineLegend1"/>
            <p:cNvSpPr>
              <a:spLocks noChangeShapeType="1"/>
            </p:cNvSpPr>
            <p:nvPr/>
          </p:nvSpPr>
          <p:spPr bwMode="gray">
            <a:xfrm>
              <a:off x="7607284" y="387122"/>
              <a:ext cx="457200"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65" name="LineLegend2"/>
            <p:cNvSpPr>
              <a:spLocks noChangeShapeType="1"/>
            </p:cNvSpPr>
            <p:nvPr/>
          </p:nvSpPr>
          <p:spPr bwMode="gray">
            <a:xfrm>
              <a:off x="7607284" y="653822"/>
              <a:ext cx="457200"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66" name="LineLegend3"/>
            <p:cNvSpPr>
              <a:spLocks noChangeShapeType="1"/>
            </p:cNvSpPr>
            <p:nvPr/>
          </p:nvSpPr>
          <p:spPr bwMode="gray">
            <a:xfrm>
              <a:off x="7607284" y="933223"/>
              <a:ext cx="457200"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67" name="Legend1"/>
            <p:cNvSpPr>
              <a:spLocks noChangeArrowheads="1"/>
            </p:cNvSpPr>
            <p:nvPr>
              <p:custDataLst>
                <p:tags r:id="rId33"/>
              </p:custDataLst>
            </p:nvPr>
          </p:nvSpPr>
          <p:spPr bwMode="gray">
            <a:xfrm>
              <a:off x="8169259" y="279400"/>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sp>
          <p:nvSpPr>
            <p:cNvPr id="68" name="Legend2"/>
            <p:cNvSpPr>
              <a:spLocks noChangeArrowheads="1"/>
            </p:cNvSpPr>
            <p:nvPr>
              <p:custDataLst>
                <p:tags r:id="rId34"/>
              </p:custDataLst>
            </p:nvPr>
          </p:nvSpPr>
          <p:spPr bwMode="gray">
            <a:xfrm>
              <a:off x="8169259" y="546100"/>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a:latin typeface="+mn-lt"/>
                  <a:ea typeface="+mn-ea"/>
                </a:rPr>
                <a:t>Legend</a:t>
              </a:r>
              <a:endParaRPr lang="en-US" sz="1400" baseline="0" dirty="0">
                <a:latin typeface="+mn-lt"/>
                <a:ea typeface="+mn-ea"/>
              </a:endParaRPr>
            </a:p>
          </p:txBody>
        </p:sp>
        <p:sp>
          <p:nvSpPr>
            <p:cNvPr id="69" name="Legend3"/>
            <p:cNvSpPr>
              <a:spLocks noChangeArrowheads="1"/>
            </p:cNvSpPr>
            <p:nvPr>
              <p:custDataLst>
                <p:tags r:id="rId35"/>
              </p:custDataLst>
            </p:nvPr>
          </p:nvSpPr>
          <p:spPr bwMode="gray">
            <a:xfrm>
              <a:off x="8169259" y="825501"/>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grpSp>
      <p:grpSp>
        <p:nvGrpSpPr>
          <p:cNvPr id="70" name="LegendBoxes" hidden="1"/>
          <p:cNvGrpSpPr/>
          <p:nvPr/>
        </p:nvGrpSpPr>
        <p:grpSpPr>
          <a:xfrm>
            <a:off x="7859564" y="267919"/>
            <a:ext cx="850317" cy="1028245"/>
            <a:chOff x="5894005" y="919828"/>
            <a:chExt cx="850317" cy="1028245"/>
          </a:xfrm>
        </p:grpSpPr>
        <p:sp>
          <p:nvSpPr>
            <p:cNvPr id="71" name="RectangleLegend1"/>
            <p:cNvSpPr>
              <a:spLocks noChangeArrowheads="1"/>
            </p:cNvSpPr>
            <p:nvPr/>
          </p:nvSpPr>
          <p:spPr bwMode="gray">
            <a:xfrm>
              <a:off x="5894005" y="947381"/>
              <a:ext cx="165100" cy="160338"/>
            </a:xfrm>
            <a:prstGeom prst="rect">
              <a:avLst/>
            </a:prstGeom>
            <a:solidFill>
              <a:schemeClr val="accent1"/>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72" name="RectangleLegend2"/>
            <p:cNvSpPr>
              <a:spLocks noChangeArrowheads="1"/>
            </p:cNvSpPr>
            <p:nvPr/>
          </p:nvSpPr>
          <p:spPr bwMode="gray">
            <a:xfrm>
              <a:off x="5894005" y="1217256"/>
              <a:ext cx="165100" cy="160338"/>
            </a:xfrm>
            <a:prstGeom prst="rect">
              <a:avLst/>
            </a:prstGeom>
            <a:solidFill>
              <a:schemeClr val="accent2"/>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73" name="RectangleLegend3"/>
            <p:cNvSpPr>
              <a:spLocks noChangeArrowheads="1"/>
            </p:cNvSpPr>
            <p:nvPr/>
          </p:nvSpPr>
          <p:spPr bwMode="gray">
            <a:xfrm>
              <a:off x="5894005" y="1488719"/>
              <a:ext cx="165100" cy="160338"/>
            </a:xfrm>
            <a:prstGeom prst="rect">
              <a:avLst/>
            </a:prstGeom>
            <a:solidFill>
              <a:schemeClr val="accent3"/>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74" name="RectangleLegend4"/>
            <p:cNvSpPr>
              <a:spLocks noChangeArrowheads="1"/>
            </p:cNvSpPr>
            <p:nvPr/>
          </p:nvSpPr>
          <p:spPr bwMode="gray">
            <a:xfrm>
              <a:off x="5894005" y="1760182"/>
              <a:ext cx="165100" cy="160338"/>
            </a:xfrm>
            <a:prstGeom prst="rect">
              <a:avLst/>
            </a:prstGeom>
            <a:solidFill>
              <a:schemeClr val="accent4"/>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75" name="Legend1"/>
            <p:cNvSpPr>
              <a:spLocks noChangeArrowheads="1"/>
            </p:cNvSpPr>
            <p:nvPr>
              <p:custDataLst>
                <p:tags r:id="rId29"/>
              </p:custDataLst>
            </p:nvPr>
          </p:nvSpPr>
          <p:spPr bwMode="gray">
            <a:xfrm>
              <a:off x="6148005" y="919828"/>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sp>
          <p:nvSpPr>
            <p:cNvPr id="76" name="Legend2"/>
            <p:cNvSpPr>
              <a:spLocks noChangeArrowheads="1"/>
            </p:cNvSpPr>
            <p:nvPr>
              <p:custDataLst>
                <p:tags r:id="rId30"/>
              </p:custDataLst>
            </p:nvPr>
          </p:nvSpPr>
          <p:spPr bwMode="gray">
            <a:xfrm>
              <a:off x="6148005" y="1189703"/>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sp>
          <p:nvSpPr>
            <p:cNvPr id="77" name="Legend3"/>
            <p:cNvSpPr>
              <a:spLocks noChangeArrowheads="1"/>
            </p:cNvSpPr>
            <p:nvPr>
              <p:custDataLst>
                <p:tags r:id="rId31"/>
              </p:custDataLst>
            </p:nvPr>
          </p:nvSpPr>
          <p:spPr bwMode="gray">
            <a:xfrm>
              <a:off x="6148005" y="1461166"/>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sp>
          <p:nvSpPr>
            <p:cNvPr id="78" name="Legend4"/>
            <p:cNvSpPr>
              <a:spLocks noChangeArrowheads="1"/>
            </p:cNvSpPr>
            <p:nvPr>
              <p:custDataLst>
                <p:tags r:id="rId32"/>
              </p:custDataLst>
            </p:nvPr>
          </p:nvSpPr>
          <p:spPr bwMode="gray">
            <a:xfrm>
              <a:off x="6148005" y="1732629"/>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grpSp>
      <p:grpSp>
        <p:nvGrpSpPr>
          <p:cNvPr id="79" name="LegendMoons" hidden="1"/>
          <p:cNvGrpSpPr/>
          <p:nvPr/>
        </p:nvGrpSpPr>
        <p:grpSpPr>
          <a:xfrm>
            <a:off x="7792889" y="267414"/>
            <a:ext cx="916992" cy="1317003"/>
            <a:chOff x="5894005" y="2695123"/>
            <a:chExt cx="916992" cy="1317003"/>
          </a:xfrm>
        </p:grpSpPr>
        <p:grpSp>
          <p:nvGrpSpPr>
            <p:cNvPr id="80" name="MoonLegend1"/>
            <p:cNvGrpSpPr>
              <a:grpSpLocks noChangeAspect="1"/>
            </p:cNvGrpSpPr>
            <p:nvPr>
              <p:custDataLst>
                <p:tags r:id="rId9"/>
              </p:custDataLst>
            </p:nvPr>
          </p:nvGrpSpPr>
          <p:grpSpPr bwMode="gray">
            <a:xfrm>
              <a:off x="5894005" y="2695123"/>
              <a:ext cx="209550" cy="218282"/>
              <a:chOff x="4533" y="183"/>
              <a:chExt cx="144" cy="150"/>
            </a:xfrm>
          </p:grpSpPr>
          <p:sp>
            <p:nvSpPr>
              <p:cNvPr id="98" name="Oval 97"/>
              <p:cNvSpPr>
                <a:spLocks noChangeAspect="1" noChangeArrowheads="1"/>
              </p:cNvSpPr>
              <p:nvPr>
                <p:custDataLst>
                  <p:tags r:id="rId27"/>
                </p:custDataLst>
              </p:nvPr>
            </p:nvSpPr>
            <p:spPr bwMode="gray">
              <a:xfrm>
                <a:off x="4533" y="189"/>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99" name="Arc 98" hidden="1"/>
              <p:cNvSpPr>
                <a:spLocks noChangeAspect="1"/>
              </p:cNvSpPr>
              <p:nvPr>
                <p:custDataLst>
                  <p:tags r:id="rId28"/>
                </p:custDataLst>
              </p:nvPr>
            </p:nvSpPr>
            <p:spPr bwMode="gray">
              <a:xfrm>
                <a:off x="4533" y="183"/>
                <a:ext cx="144" cy="144"/>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grpSp>
        <p:grpSp>
          <p:nvGrpSpPr>
            <p:cNvPr id="81" name="MoonLegend2"/>
            <p:cNvGrpSpPr>
              <a:grpSpLocks noChangeAspect="1"/>
            </p:cNvGrpSpPr>
            <p:nvPr>
              <p:custDataLst>
                <p:tags r:id="rId10"/>
              </p:custDataLst>
            </p:nvPr>
          </p:nvGrpSpPr>
          <p:grpSpPr bwMode="gray">
            <a:xfrm>
              <a:off x="5894005" y="2977103"/>
              <a:ext cx="209550" cy="209551"/>
              <a:chOff x="1694" y="2051"/>
              <a:chExt cx="160" cy="160"/>
            </a:xfrm>
          </p:grpSpPr>
          <p:sp>
            <p:nvSpPr>
              <p:cNvPr id="96" name="Oval 41"/>
              <p:cNvSpPr>
                <a:spLocks noChangeAspect="1" noChangeArrowheads="1"/>
              </p:cNvSpPr>
              <p:nvPr>
                <p:custDataLst>
                  <p:tags r:id="rId25"/>
                </p:custDataLst>
              </p:nvPr>
            </p:nvSpPr>
            <p:spPr bwMode="gray">
              <a:xfrm>
                <a:off x="1694" y="2051"/>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97" name="Arc 42"/>
              <p:cNvSpPr>
                <a:spLocks noChangeAspect="1"/>
              </p:cNvSpPr>
              <p:nvPr>
                <p:custDataLst>
                  <p:tags r:id="rId26"/>
                </p:custDataLst>
              </p:nvPr>
            </p:nvSpPr>
            <p:spPr bwMode="gray">
              <a:xfrm>
                <a:off x="1694" y="2051"/>
                <a:ext cx="160" cy="160"/>
              </a:xfrm>
              <a:prstGeom prst="arc">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grpSp>
        <p:grpSp>
          <p:nvGrpSpPr>
            <p:cNvPr id="82" name="MoonLegend4"/>
            <p:cNvGrpSpPr>
              <a:grpSpLocks noChangeAspect="1"/>
            </p:cNvGrpSpPr>
            <p:nvPr>
              <p:custDataLst>
                <p:tags r:id="rId11"/>
              </p:custDataLst>
            </p:nvPr>
          </p:nvGrpSpPr>
          <p:grpSpPr bwMode="gray">
            <a:xfrm>
              <a:off x="5894005" y="3524395"/>
              <a:ext cx="209550" cy="209551"/>
              <a:chOff x="4495" y="1204"/>
              <a:chExt cx="160" cy="160"/>
            </a:xfrm>
          </p:grpSpPr>
          <p:sp>
            <p:nvSpPr>
              <p:cNvPr id="94" name="Oval 47"/>
              <p:cNvSpPr>
                <a:spLocks noChangeAspect="1" noChangeArrowheads="1"/>
              </p:cNvSpPr>
              <p:nvPr>
                <p:custDataLst>
                  <p:tags r:id="rId23"/>
                </p:custDataLst>
              </p:nvPr>
            </p:nvSpPr>
            <p:spPr bwMode="gray">
              <a:xfrm>
                <a:off x="4495" y="120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95" name="Arc 48"/>
              <p:cNvSpPr>
                <a:spLocks noChangeAspect="1"/>
              </p:cNvSpPr>
              <p:nvPr>
                <p:custDataLst>
                  <p:tags r:id="rId24"/>
                </p:custDataLst>
              </p:nvPr>
            </p:nvSpPr>
            <p:spPr bwMode="gray">
              <a:xfrm>
                <a:off x="4495" y="1204"/>
                <a:ext cx="160" cy="160"/>
              </a:xfrm>
              <a:prstGeom prst="arc">
                <a:avLst>
                  <a:gd name="adj1" fmla="val 16200000"/>
                  <a:gd name="adj2" fmla="val 108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grpSp>
        <p:grpSp>
          <p:nvGrpSpPr>
            <p:cNvPr id="83" name="MoonLegend5"/>
            <p:cNvGrpSpPr>
              <a:grpSpLocks noChangeAspect="1"/>
            </p:cNvGrpSpPr>
            <p:nvPr>
              <p:custDataLst>
                <p:tags r:id="rId12"/>
              </p:custDataLst>
            </p:nvPr>
          </p:nvGrpSpPr>
          <p:grpSpPr bwMode="gray">
            <a:xfrm>
              <a:off x="5894005" y="3799629"/>
              <a:ext cx="209550" cy="209551"/>
              <a:chOff x="4495" y="1447"/>
              <a:chExt cx="160" cy="160"/>
            </a:xfrm>
          </p:grpSpPr>
          <p:sp>
            <p:nvSpPr>
              <p:cNvPr id="92" name="Oval 50"/>
              <p:cNvSpPr>
                <a:spLocks noChangeAspect="1" noChangeArrowheads="1"/>
              </p:cNvSpPr>
              <p:nvPr>
                <p:custDataLst>
                  <p:tags r:id="rId21"/>
                </p:custDataLst>
              </p:nvPr>
            </p:nvSpPr>
            <p:spPr bwMode="gray">
              <a:xfrm>
                <a:off x="4495" y="1447"/>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93" name="Oval 51"/>
              <p:cNvSpPr>
                <a:spLocks noChangeAspect="1" noChangeArrowheads="1"/>
              </p:cNvSpPr>
              <p:nvPr>
                <p:custDataLst>
                  <p:tags r:id="rId22"/>
                </p:custDataLst>
              </p:nvPr>
            </p:nvSpPr>
            <p:spPr bwMode="gray">
              <a:xfrm>
                <a:off x="4495" y="1447"/>
                <a:ext cx="160" cy="160"/>
              </a:xfrm>
              <a:prstGeom prst="arc">
                <a:avLst>
                  <a:gd name="adj1" fmla="val 16200000"/>
                  <a:gd name="adj2" fmla="val 162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grpSp>
        <p:grpSp>
          <p:nvGrpSpPr>
            <p:cNvPr id="84" name="MoonLegend3"/>
            <p:cNvGrpSpPr>
              <a:grpSpLocks noChangeAspect="1"/>
            </p:cNvGrpSpPr>
            <p:nvPr>
              <p:custDataLst>
                <p:tags r:id="rId13"/>
              </p:custDataLst>
            </p:nvPr>
          </p:nvGrpSpPr>
          <p:grpSpPr bwMode="gray">
            <a:xfrm>
              <a:off x="5894005" y="3251543"/>
              <a:ext cx="209550" cy="209551"/>
              <a:chOff x="4495" y="1205"/>
              <a:chExt cx="160" cy="160"/>
            </a:xfrm>
          </p:grpSpPr>
          <p:sp>
            <p:nvSpPr>
              <p:cNvPr id="90" name="Oval 47"/>
              <p:cNvSpPr>
                <a:spLocks noChangeAspect="1" noChangeArrowheads="1"/>
              </p:cNvSpPr>
              <p:nvPr>
                <p:custDataLst>
                  <p:tags r:id="rId19"/>
                </p:custDataLst>
              </p:nvPr>
            </p:nvSpPr>
            <p:spPr bwMode="gray">
              <a:xfrm>
                <a:off x="4495" y="1205"/>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91" name="Arc 48"/>
              <p:cNvSpPr>
                <a:spLocks noChangeAspect="1"/>
              </p:cNvSpPr>
              <p:nvPr>
                <p:custDataLst>
                  <p:tags r:id="rId20"/>
                </p:custDataLst>
              </p:nvPr>
            </p:nvSpPr>
            <p:spPr bwMode="gray">
              <a:xfrm>
                <a:off x="4495" y="1205"/>
                <a:ext cx="160" cy="160"/>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grpSp>
        <p:sp>
          <p:nvSpPr>
            <p:cNvPr id="85" name="Legend1"/>
            <p:cNvSpPr>
              <a:spLocks noChangeArrowheads="1"/>
            </p:cNvSpPr>
            <p:nvPr>
              <p:custDataLst>
                <p:tags r:id="rId14"/>
              </p:custDataLst>
            </p:nvPr>
          </p:nvSpPr>
          <p:spPr bwMode="gray">
            <a:xfrm>
              <a:off x="6214680" y="2696542"/>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sp>
          <p:nvSpPr>
            <p:cNvPr id="86" name="Legend2"/>
            <p:cNvSpPr>
              <a:spLocks noChangeArrowheads="1"/>
            </p:cNvSpPr>
            <p:nvPr>
              <p:custDataLst>
                <p:tags r:id="rId15"/>
              </p:custDataLst>
            </p:nvPr>
          </p:nvSpPr>
          <p:spPr bwMode="gray">
            <a:xfrm>
              <a:off x="6214680" y="2974156"/>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a:latin typeface="+mn-lt"/>
                  <a:ea typeface="+mn-ea"/>
                </a:rPr>
                <a:t>Legend</a:t>
              </a:r>
              <a:endParaRPr lang="en-US" sz="1400" baseline="0" dirty="0">
                <a:latin typeface="+mn-lt"/>
                <a:ea typeface="+mn-ea"/>
              </a:endParaRPr>
            </a:p>
          </p:txBody>
        </p:sp>
        <p:sp>
          <p:nvSpPr>
            <p:cNvPr id="87" name="Legend3"/>
            <p:cNvSpPr>
              <a:spLocks noChangeArrowheads="1"/>
            </p:cNvSpPr>
            <p:nvPr>
              <p:custDataLst>
                <p:tags r:id="rId16"/>
              </p:custDataLst>
            </p:nvPr>
          </p:nvSpPr>
          <p:spPr bwMode="gray">
            <a:xfrm>
              <a:off x="6214680" y="3248596"/>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sp>
          <p:nvSpPr>
            <p:cNvPr id="88" name="Legend4"/>
            <p:cNvSpPr>
              <a:spLocks noChangeArrowheads="1"/>
            </p:cNvSpPr>
            <p:nvPr>
              <p:custDataLst>
                <p:tags r:id="rId17"/>
              </p:custDataLst>
            </p:nvPr>
          </p:nvSpPr>
          <p:spPr bwMode="gray">
            <a:xfrm>
              <a:off x="6214680" y="3521448"/>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sp>
          <p:nvSpPr>
            <p:cNvPr id="89" name="Legend5"/>
            <p:cNvSpPr>
              <a:spLocks noChangeArrowheads="1"/>
            </p:cNvSpPr>
            <p:nvPr>
              <p:custDataLst>
                <p:tags r:id="rId18"/>
              </p:custDataLst>
            </p:nvPr>
          </p:nvSpPr>
          <p:spPr bwMode="gray">
            <a:xfrm>
              <a:off x="6214680" y="3796682"/>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a:latin typeface="+mn-lt"/>
                  <a:ea typeface="+mn-ea"/>
                </a:rPr>
                <a:t>Legend</a:t>
              </a:r>
              <a:endParaRPr lang="en-US" sz="1400" baseline="0" dirty="0">
                <a:latin typeface="+mn-lt"/>
                <a:ea typeface="+mn-ea"/>
              </a:endParaRPr>
            </a:p>
          </p:txBody>
        </p:sp>
      </p:grpSp>
    </p:spTree>
    <p:extLst>
      <p:ext uri="{BB962C8B-B14F-4D97-AF65-F5344CB8AC3E}">
        <p14:creationId xmlns:p14="http://schemas.microsoft.com/office/powerpoint/2010/main" val="2972597475"/>
      </p:ext>
    </p:extLst>
  </p:cSld>
  <p:clrMap bg1="lt1" tx1="dk1" bg2="lt2" tx2="dk2" accent1="accent1" accent2="accent2" accent3="accent3" accent4="accent4" accent5="accent5" accent6="accent6" hlink="hlink" folHlink="folHlink"/>
  <p:sldLayoutIdLst>
    <p:sldLayoutId id="2147483696" r:id="rId1"/>
    <p:sldLayoutId id="2147483697" r:id="rId2"/>
    <p:sldLayoutId id="2147483698" r:id="rId3"/>
    <p:sldLayoutId id="2147483699" r:id="rId4"/>
  </p:sldLayoutIdLst>
  <p:txStyles>
    <p:titleStyle>
      <a:lvl1pPr algn="l" defTabSz="895350" rtl="0" eaLnBrk="1" fontAlgn="base" hangingPunct="1">
        <a:spcBef>
          <a:spcPct val="0"/>
        </a:spcBef>
        <a:spcAft>
          <a:spcPct val="0"/>
        </a:spcAft>
        <a:tabLst>
          <a:tab pos="269875" algn="l"/>
        </a:tabLst>
        <a:defRPr sz="2000" b="0" baseline="0">
          <a:solidFill>
            <a:schemeClr val="tx2"/>
          </a:solidFill>
          <a:latin typeface="+mj-lt"/>
          <a:ea typeface="+mj-ea"/>
          <a:cs typeface="+mj-cs"/>
        </a:defRPr>
      </a:lvl1pPr>
      <a:lvl2pPr algn="l" defTabSz="895350" rtl="0" eaLnBrk="1" fontAlgn="base" hangingPunct="1">
        <a:spcBef>
          <a:spcPct val="0"/>
        </a:spcBef>
        <a:spcAft>
          <a:spcPct val="0"/>
        </a:spcAft>
        <a:defRPr sz="1900" b="1">
          <a:solidFill>
            <a:schemeClr val="tx2"/>
          </a:solidFill>
          <a:latin typeface="Arial" charset="0"/>
        </a:defRPr>
      </a:lvl2pPr>
      <a:lvl3pPr algn="l" defTabSz="895350" rtl="0" eaLnBrk="1" fontAlgn="base" hangingPunct="1">
        <a:spcBef>
          <a:spcPct val="0"/>
        </a:spcBef>
        <a:spcAft>
          <a:spcPct val="0"/>
        </a:spcAft>
        <a:defRPr sz="1900" b="1">
          <a:solidFill>
            <a:schemeClr val="tx2"/>
          </a:solidFill>
          <a:latin typeface="Arial" charset="0"/>
        </a:defRPr>
      </a:lvl3pPr>
      <a:lvl4pPr algn="l" defTabSz="895350" rtl="0" eaLnBrk="1" fontAlgn="base" hangingPunct="1">
        <a:spcBef>
          <a:spcPct val="0"/>
        </a:spcBef>
        <a:spcAft>
          <a:spcPct val="0"/>
        </a:spcAft>
        <a:defRPr sz="1900" b="1">
          <a:solidFill>
            <a:schemeClr val="tx2"/>
          </a:solidFill>
          <a:latin typeface="Arial" charset="0"/>
        </a:defRPr>
      </a:lvl4pPr>
      <a:lvl5pPr algn="l" defTabSz="895350" rtl="0" eaLnBrk="1" fontAlgn="base" hangingPunct="1">
        <a:spcBef>
          <a:spcPct val="0"/>
        </a:spcBef>
        <a:spcAft>
          <a:spcPct val="0"/>
        </a:spcAft>
        <a:defRPr sz="1900" b="1">
          <a:solidFill>
            <a:schemeClr val="tx2"/>
          </a:solidFill>
          <a:latin typeface="Arial" charset="0"/>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p:titleStyle>
    <p:bodyStyle>
      <a:lvl1pPr marL="0" indent="0" algn="l" defTabSz="895350" rtl="0" eaLnBrk="1" fontAlgn="base" hangingPunct="1">
        <a:spcBef>
          <a:spcPct val="0"/>
        </a:spcBef>
        <a:spcAft>
          <a:spcPct val="0"/>
        </a:spcAft>
        <a:buClr>
          <a:schemeClr val="tx2"/>
        </a:buClr>
        <a:buSzPct val="100000"/>
        <a:defRPr sz="14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4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4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4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4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7"/>
            </p:custDataLst>
            <p:extLst>
              <p:ext uri="{D42A27DB-BD31-4B8C-83A1-F6EECF244321}">
                <p14:modId xmlns:p14="http://schemas.microsoft.com/office/powerpoint/2010/main" val="2500938024"/>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1764" name="think-cell Slide" r:id="rId36" imgW="270" imgH="270" progId="TCLayout.ActiveDocument.1">
                  <p:embed/>
                </p:oleObj>
              </mc:Choice>
              <mc:Fallback>
                <p:oleObj name="think-cell Slide" r:id="rId36" imgW="270" imgH="270" progId="TCLayout.ActiveDocument.1">
                  <p:embed/>
                  <p:pic>
                    <p:nvPicPr>
                      <p:cNvPr id="2" name="Object 1" hidden="1"/>
                      <p:cNvPicPr/>
                      <p:nvPr/>
                    </p:nvPicPr>
                    <p:blipFill>
                      <a:blip r:embed="rId37"/>
                      <a:stretch>
                        <a:fillRect/>
                      </a:stretch>
                    </p:blipFill>
                    <p:spPr>
                      <a:xfrm>
                        <a:off x="0" y="0"/>
                        <a:ext cx="158750" cy="158750"/>
                      </a:xfrm>
                      <a:prstGeom prst="rect">
                        <a:avLst/>
                      </a:prstGeom>
                    </p:spPr>
                  </p:pic>
                </p:oleObj>
              </mc:Fallback>
            </mc:AlternateContent>
          </a:graphicData>
        </a:graphic>
      </p:graphicFrame>
      <p:sp>
        <p:nvSpPr>
          <p:cNvPr id="6" name="Rectangle 5" hidden="1"/>
          <p:cNvSpPr/>
          <p:nvPr>
            <p:custDataLst>
              <p:tags r:id="rId8"/>
            </p:custDataLst>
          </p:nvPr>
        </p:nvSpPr>
        <p:spPr bwMode="auto">
          <a:xfrm>
            <a:off x="0" y="0"/>
            <a:ext cx="158750" cy="158750"/>
          </a:xfrm>
          <a:prstGeom prst="rect">
            <a:avLst/>
          </a:prstGeom>
          <a:solidFill>
            <a:schemeClr val="bg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dirty="0">
              <a:solidFill>
                <a:srgbClr val="000000"/>
              </a:solidFill>
              <a:sym typeface="Arial" panose="020B0604020202020204" pitchFamily="34" charset="0"/>
            </a:endParaRPr>
          </a:p>
        </p:txBody>
      </p:sp>
      <p:sp>
        <p:nvSpPr>
          <p:cNvPr id="1034" name="Working Draft" hidden="1"/>
          <p:cNvSpPr txBox="1">
            <a:spLocks noChangeArrowheads="1"/>
          </p:cNvSpPr>
          <p:nvPr/>
        </p:nvSpPr>
        <p:spPr bwMode="gray">
          <a:xfrm rot="5400000">
            <a:off x="7966656" y="1940591"/>
            <a:ext cx="1849865"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600" baseline="0">
                <a:solidFill>
                  <a:srgbClr val="808080"/>
                </a:solidFill>
                <a:latin typeface="+mn-lt"/>
                <a:ea typeface="+mn-ea"/>
              </a:rPr>
              <a:t>Last Modified 21/05/2018 17:44 India Standard Time</a:t>
            </a:r>
            <a:endParaRPr lang="en-US" baseline="0" dirty="0">
              <a:solidFill>
                <a:srgbClr val="808080"/>
              </a:solidFill>
              <a:latin typeface="+mn-lt"/>
              <a:ea typeface="+mn-ea"/>
            </a:endParaRPr>
          </a:p>
        </p:txBody>
      </p:sp>
      <p:sp>
        <p:nvSpPr>
          <p:cNvPr id="1035" name="Printed" hidden="1"/>
          <p:cNvSpPr txBox="1">
            <a:spLocks noChangeArrowheads="1"/>
          </p:cNvSpPr>
          <p:nvPr/>
        </p:nvSpPr>
        <p:spPr bwMode="gray">
          <a:xfrm rot="5400000">
            <a:off x="8768958" y="4114417"/>
            <a:ext cx="245260"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600" baseline="0" dirty="0">
                <a:solidFill>
                  <a:srgbClr val="808080"/>
                </a:solidFill>
                <a:latin typeface="+mn-lt"/>
                <a:ea typeface="+mn-ea"/>
              </a:rPr>
              <a:t>Printed</a:t>
            </a:r>
            <a:endParaRPr lang="en-US" baseline="0" dirty="0">
              <a:solidFill>
                <a:srgbClr val="808080"/>
              </a:solidFill>
              <a:latin typeface="+mn-lt"/>
              <a:ea typeface="+mn-ea"/>
            </a:endParaRPr>
          </a:p>
        </p:txBody>
      </p:sp>
      <p:sp>
        <p:nvSpPr>
          <p:cNvPr id="19" name="Title Placeholder 2"/>
          <p:cNvSpPr>
            <a:spLocks noGrp="1" noChangeArrowheads="1"/>
          </p:cNvSpPr>
          <p:nvPr>
            <p:ph type="title"/>
          </p:nvPr>
        </p:nvSpPr>
        <p:spPr bwMode="gray">
          <a:xfrm>
            <a:off x="119063" y="230188"/>
            <a:ext cx="8618537"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latinLnBrk="0"/>
            <a:r>
              <a:rPr lang="en-US"/>
              <a:t>Click to edit Master title style</a:t>
            </a:r>
            <a:endParaRPr lang="en-US" noProof="0" dirty="0"/>
          </a:p>
        </p:txBody>
      </p:sp>
      <p:sp>
        <p:nvSpPr>
          <p:cNvPr id="10" name="1. On-page tracker" hidden="1"/>
          <p:cNvSpPr>
            <a:spLocks noChangeArrowheads="1"/>
          </p:cNvSpPr>
          <p:nvPr/>
        </p:nvSpPr>
        <p:spPr bwMode="gray">
          <a:xfrm>
            <a:off x="119063" y="75764"/>
            <a:ext cx="490519"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800" cap="all" baseline="0" dirty="0">
                <a:solidFill>
                  <a:schemeClr val="accent6"/>
                </a:solidFill>
                <a:latin typeface="+mn-lt"/>
                <a:ea typeface="+mn-ea"/>
              </a:rPr>
              <a:t>Tracker</a:t>
            </a:r>
          </a:p>
        </p:txBody>
      </p:sp>
      <p:sp>
        <p:nvSpPr>
          <p:cNvPr id="11" name="3. Unit of measure" hidden="1"/>
          <p:cNvSpPr txBox="1">
            <a:spLocks noChangeArrowheads="1"/>
          </p:cNvSpPr>
          <p:nvPr/>
        </p:nvSpPr>
        <p:spPr bwMode="gray">
          <a:xfrm>
            <a:off x="119063" y="554865"/>
            <a:ext cx="8618537"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600" baseline="0" dirty="0">
                <a:solidFill>
                  <a:schemeClr val="accent6"/>
                </a:solidFill>
                <a:latin typeface="+mn-lt"/>
                <a:ea typeface="+mn-ea"/>
              </a:rPr>
              <a:t>Unit of measure</a:t>
            </a:r>
          </a:p>
        </p:txBody>
      </p:sp>
      <p:grpSp>
        <p:nvGrpSpPr>
          <p:cNvPr id="4" name="Slide Elements" hidden="1"/>
          <p:cNvGrpSpPr/>
          <p:nvPr/>
        </p:nvGrpSpPr>
        <p:grpSpPr bwMode="gray">
          <a:xfrm>
            <a:off x="119063" y="6305945"/>
            <a:ext cx="8618537" cy="325438"/>
            <a:chOff x="119063" y="6305945"/>
            <a:chExt cx="8618537" cy="325438"/>
          </a:xfrm>
        </p:grpSpPr>
        <p:sp>
          <p:nvSpPr>
            <p:cNvPr id="13" name="4. Footnote"/>
            <p:cNvSpPr txBox="1">
              <a:spLocks noChangeArrowheads="1"/>
            </p:cNvSpPr>
            <p:nvPr/>
          </p:nvSpPr>
          <p:spPr bwMode="gray">
            <a:xfrm>
              <a:off x="119063" y="6305945"/>
              <a:ext cx="8618537" cy="123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800" baseline="0" dirty="0">
                  <a:solidFill>
                    <a:schemeClr val="accent6"/>
                  </a:solidFill>
                  <a:latin typeface="+mn-lt"/>
                  <a:ea typeface="+mn-ea"/>
                </a:rPr>
                <a:t>1 Footnote</a:t>
              </a:r>
            </a:p>
          </p:txBody>
        </p:sp>
        <p:sp>
          <p:nvSpPr>
            <p:cNvPr id="14" name="5. Source"/>
            <p:cNvSpPr>
              <a:spLocks noChangeArrowheads="1"/>
            </p:cNvSpPr>
            <p:nvPr/>
          </p:nvSpPr>
          <p:spPr bwMode="gray">
            <a:xfrm>
              <a:off x="119063" y="6507558"/>
              <a:ext cx="7200000" cy="123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marL="609600" indent="-609600" defTabSz="895350">
                <a:tabLst>
                  <a:tab pos="612775" algn="l"/>
                </a:tabLst>
              </a:pPr>
              <a:r>
                <a:rPr lang="en-US" sz="800" baseline="0" dirty="0">
                  <a:solidFill>
                    <a:schemeClr val="accent6"/>
                  </a:solidFill>
                  <a:latin typeface="+mn-lt"/>
                  <a:ea typeface="+mn-ea"/>
                </a:rPr>
                <a:t>SOURCE: Source</a:t>
              </a:r>
            </a:p>
          </p:txBody>
        </p:sp>
      </p:grpSp>
      <p:sp>
        <p:nvSpPr>
          <p:cNvPr id="3" name="Text Placeholder 2"/>
          <p:cNvSpPr>
            <a:spLocks noGrp="1"/>
          </p:cNvSpPr>
          <p:nvPr>
            <p:ph type="body" idx="1"/>
          </p:nvPr>
        </p:nvSpPr>
        <p:spPr bwMode="gray">
          <a:xfrm>
            <a:off x="1452564" y="1951380"/>
            <a:ext cx="4302125" cy="1077218"/>
          </a:xfrm>
          <a:prstGeom prst="rect">
            <a:avLst/>
          </a:prstGeom>
        </p:spPr>
        <p:txBody>
          <a:bodyPr vert="horz" lIns="0" tIns="0" rIns="0" bIns="0" rtlCol="0">
            <a:spAutoFit/>
          </a:bodyPr>
          <a:lstStyle/>
          <a:p>
            <a:pPr lvl="0" latinLnBrk="0"/>
            <a:r>
              <a:rPr lang="en-US"/>
              <a:t>Edit Master text styles</a:t>
            </a:r>
          </a:p>
          <a:p>
            <a:pPr lvl="1" latinLnBrk="0"/>
            <a:r>
              <a:rPr lang="en-US"/>
              <a:t>Second level</a:t>
            </a:r>
          </a:p>
          <a:p>
            <a:pPr lvl="2" latinLnBrk="0"/>
            <a:r>
              <a:rPr lang="en-US"/>
              <a:t>Third level</a:t>
            </a:r>
          </a:p>
          <a:p>
            <a:pPr lvl="3" latinLnBrk="0"/>
            <a:r>
              <a:rPr lang="en-US"/>
              <a:t>Fourth level</a:t>
            </a:r>
          </a:p>
          <a:p>
            <a:pPr lvl="4" latinLnBrk="0"/>
            <a:r>
              <a:rPr lang="en-US"/>
              <a:t>Fifth level</a:t>
            </a:r>
            <a:endParaRPr lang="en-US" dirty="0"/>
          </a:p>
        </p:txBody>
      </p:sp>
      <p:grpSp>
        <p:nvGrpSpPr>
          <p:cNvPr id="15" name="ACET" hidden="1"/>
          <p:cNvGrpSpPr>
            <a:grpSpLocks/>
          </p:cNvGrpSpPr>
          <p:nvPr/>
        </p:nvGrpSpPr>
        <p:grpSpPr bwMode="gray">
          <a:xfrm>
            <a:off x="1452563" y="1257754"/>
            <a:ext cx="4264025" cy="508000"/>
            <a:chOff x="915" y="710"/>
            <a:chExt cx="2686" cy="320"/>
          </a:xfrm>
        </p:grpSpPr>
        <p:cxnSp>
          <p:nvCxnSpPr>
            <p:cNvPr id="16" name="AutoShape 249"/>
            <p:cNvCxnSpPr>
              <a:cxnSpLocks noChangeShapeType="1"/>
              <a:stCxn id="18" idx="4"/>
              <a:endCxn id="18" idx="6"/>
            </p:cNvCxnSpPr>
            <p:nvPr/>
          </p:nvCxnSpPr>
          <p:spPr bwMode="gray">
            <a:xfrm>
              <a:off x="915" y="1030"/>
              <a:ext cx="2686" cy="0"/>
            </a:xfrm>
            <a:prstGeom prst="straightConnector1">
              <a:avLst/>
            </a:prstGeom>
            <a:noFill/>
            <a:ln w="9525">
              <a:solidFill>
                <a:schemeClr val="accent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8" name="AutoShape 250"/>
            <p:cNvSpPr>
              <a:spLocks noChangeArrowheads="1"/>
            </p:cNvSpPr>
            <p:nvPr/>
          </p:nvSpPr>
          <p:spPr bwMode="gray">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US" b="1" baseline="0" dirty="0">
                  <a:solidFill>
                    <a:srgbClr val="000000"/>
                  </a:solidFill>
                  <a:latin typeface="+mn-lt"/>
                  <a:ea typeface="+mn-ea"/>
                </a:rPr>
                <a:t>Title</a:t>
              </a:r>
            </a:p>
            <a:p>
              <a:r>
                <a:rPr lang="en-US" baseline="0" dirty="0">
                  <a:solidFill>
                    <a:schemeClr val="accent6"/>
                  </a:solidFill>
                  <a:latin typeface="+mn-lt"/>
                  <a:ea typeface="+mn-ea"/>
                </a:rPr>
                <a:t>Unit of measure</a:t>
              </a:r>
            </a:p>
          </p:txBody>
        </p:sp>
      </p:grpSp>
      <p:grpSp>
        <p:nvGrpSpPr>
          <p:cNvPr id="17" name="McKSticker" hidden="1"/>
          <p:cNvGrpSpPr/>
          <p:nvPr/>
        </p:nvGrpSpPr>
        <p:grpSpPr bwMode="gray">
          <a:xfrm>
            <a:off x="8264265" y="285750"/>
            <a:ext cx="473335" cy="150811"/>
            <a:chOff x="8267440" y="285750"/>
            <a:chExt cx="473335" cy="150811"/>
          </a:xfrm>
        </p:grpSpPr>
        <p:sp>
          <p:nvSpPr>
            <p:cNvPr id="20" name="StickerRectangle"/>
            <p:cNvSpPr>
              <a:spLocks noChangeArrowheads="1"/>
            </p:cNvSpPr>
            <p:nvPr/>
          </p:nvSpPr>
          <p:spPr bwMode="gray">
            <a:xfrm>
              <a:off x="8267440" y="285750"/>
              <a:ext cx="473335" cy="150811"/>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a:buClr>
                  <a:srgbClr val="002960"/>
                </a:buClr>
              </a:pPr>
              <a:r>
                <a:rPr lang="en-US" sz="800" baseline="0" dirty="0">
                  <a:solidFill>
                    <a:schemeClr val="accent6"/>
                  </a:solidFill>
                  <a:latin typeface="+mn-lt"/>
                  <a:ea typeface="+mn-ea"/>
                </a:rPr>
                <a:t>STICKER</a:t>
              </a:r>
            </a:p>
          </p:txBody>
        </p:sp>
        <p:cxnSp>
          <p:nvCxnSpPr>
            <p:cNvPr id="21" name="AutoShape 31"/>
            <p:cNvCxnSpPr>
              <a:cxnSpLocks noChangeShapeType="1"/>
              <a:stCxn id="20" idx="2"/>
              <a:endCxn id="20" idx="4"/>
            </p:cNvCxnSpPr>
            <p:nvPr/>
          </p:nvCxnSpPr>
          <p:spPr bwMode="gray">
            <a:xfrm>
              <a:off x="8267440" y="285750"/>
              <a:ext cx="0" cy="150811"/>
            </a:xfrm>
            <a:prstGeom prst="straightConnector1">
              <a:avLst/>
            </a:prstGeom>
            <a:noFill/>
            <a:ln w="9525">
              <a:solidFill>
                <a:schemeClr val="accent6"/>
              </a:solidFill>
              <a:round/>
              <a:headEnd/>
              <a:tailEnd/>
            </a:ln>
            <a:extLst>
              <a:ext uri="{909E8E84-426E-40DD-AFC4-6F175D3DCCD1}">
                <a14:hiddenFill xmlns:a14="http://schemas.microsoft.com/office/drawing/2010/main">
                  <a:noFill/>
                </a14:hiddenFill>
              </a:ext>
            </a:extLst>
          </p:spPr>
        </p:cxnSp>
        <p:cxnSp>
          <p:nvCxnSpPr>
            <p:cNvPr id="22" name="AutoShape 32"/>
            <p:cNvCxnSpPr>
              <a:cxnSpLocks noChangeShapeType="1"/>
              <a:stCxn id="20" idx="4"/>
              <a:endCxn id="20" idx="6"/>
            </p:cNvCxnSpPr>
            <p:nvPr/>
          </p:nvCxnSpPr>
          <p:spPr bwMode="gray">
            <a:xfrm>
              <a:off x="8267440" y="436561"/>
              <a:ext cx="473335" cy="0"/>
            </a:xfrm>
            <a:prstGeom prst="straightConnector1">
              <a:avLst/>
            </a:prstGeom>
            <a:noFill/>
            <a:ln w="25400">
              <a:solidFill>
                <a:schemeClr val="accent6"/>
              </a:solidFill>
              <a:round/>
              <a:headEnd/>
              <a:tailEnd/>
            </a:ln>
            <a:extLst>
              <a:ext uri="{909E8E84-426E-40DD-AFC4-6F175D3DCCD1}">
                <a14:hiddenFill xmlns:a14="http://schemas.microsoft.com/office/drawing/2010/main">
                  <a:noFill/>
                </a14:hiddenFill>
              </a:ext>
            </a:extLst>
          </p:spPr>
        </p:cxnSp>
      </p:grpSp>
      <p:sp>
        <p:nvSpPr>
          <p:cNvPr id="23" name="SlideBottomBar" hidden="1"/>
          <p:cNvSpPr/>
          <p:nvPr/>
        </p:nvSpPr>
        <p:spPr>
          <a:xfrm>
            <a:off x="8437547" y="6182120"/>
            <a:ext cx="45719" cy="123825"/>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aseline="0" dirty="0">
              <a:solidFill>
                <a:schemeClr val="tx1"/>
              </a:solidFill>
              <a:latin typeface="+mn-lt"/>
              <a:ea typeface="+mn-ea"/>
            </a:endParaRPr>
          </a:p>
        </p:txBody>
      </p:sp>
      <p:sp>
        <p:nvSpPr>
          <p:cNvPr id="24" name="doc id" hidden="1"/>
          <p:cNvSpPr txBox="1">
            <a:spLocks noChangeArrowheads="1"/>
          </p:cNvSpPr>
          <p:nvPr/>
        </p:nvSpPr>
        <p:spPr bwMode="white">
          <a:xfrm>
            <a:off x="8104473" y="36513"/>
            <a:ext cx="634716" cy="115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hangingPunct="1">
              <a:defRPr/>
            </a:pPr>
            <a:endParaRPr lang="en-US" sz="800" baseline="0" dirty="0">
              <a:solidFill>
                <a:schemeClr val="accent1"/>
              </a:solidFill>
              <a:latin typeface="+mn-lt"/>
              <a:ea typeface="+mn-ea"/>
            </a:endParaRPr>
          </a:p>
        </p:txBody>
      </p:sp>
      <p:grpSp>
        <p:nvGrpSpPr>
          <p:cNvPr id="63" name="LegendLines" hidden="1"/>
          <p:cNvGrpSpPr/>
          <p:nvPr/>
        </p:nvGrpSpPr>
        <p:grpSpPr>
          <a:xfrm>
            <a:off x="7551589" y="267815"/>
            <a:ext cx="1158292" cy="761545"/>
            <a:chOff x="7607284" y="279400"/>
            <a:chExt cx="1158292" cy="761545"/>
          </a:xfrm>
        </p:grpSpPr>
        <p:sp>
          <p:nvSpPr>
            <p:cNvPr id="64" name="LineLegend1"/>
            <p:cNvSpPr>
              <a:spLocks noChangeShapeType="1"/>
            </p:cNvSpPr>
            <p:nvPr/>
          </p:nvSpPr>
          <p:spPr bwMode="gray">
            <a:xfrm>
              <a:off x="7607284" y="387122"/>
              <a:ext cx="457200"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65" name="LineLegend2"/>
            <p:cNvSpPr>
              <a:spLocks noChangeShapeType="1"/>
            </p:cNvSpPr>
            <p:nvPr/>
          </p:nvSpPr>
          <p:spPr bwMode="gray">
            <a:xfrm>
              <a:off x="7607284" y="653822"/>
              <a:ext cx="457200"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66" name="LineLegend3"/>
            <p:cNvSpPr>
              <a:spLocks noChangeShapeType="1"/>
            </p:cNvSpPr>
            <p:nvPr/>
          </p:nvSpPr>
          <p:spPr bwMode="gray">
            <a:xfrm>
              <a:off x="7607284" y="933223"/>
              <a:ext cx="457200"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67" name="Legend1"/>
            <p:cNvSpPr>
              <a:spLocks noChangeArrowheads="1"/>
            </p:cNvSpPr>
            <p:nvPr>
              <p:custDataLst>
                <p:tags r:id="rId33"/>
              </p:custDataLst>
            </p:nvPr>
          </p:nvSpPr>
          <p:spPr bwMode="gray">
            <a:xfrm>
              <a:off x="8169259" y="279400"/>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sp>
          <p:nvSpPr>
            <p:cNvPr id="68" name="Legend2"/>
            <p:cNvSpPr>
              <a:spLocks noChangeArrowheads="1"/>
            </p:cNvSpPr>
            <p:nvPr>
              <p:custDataLst>
                <p:tags r:id="rId34"/>
              </p:custDataLst>
            </p:nvPr>
          </p:nvSpPr>
          <p:spPr bwMode="gray">
            <a:xfrm>
              <a:off x="8169259" y="546100"/>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a:latin typeface="+mn-lt"/>
                  <a:ea typeface="+mn-ea"/>
                </a:rPr>
                <a:t>Legend</a:t>
              </a:r>
              <a:endParaRPr lang="en-US" sz="1400" baseline="0" dirty="0">
                <a:latin typeface="+mn-lt"/>
                <a:ea typeface="+mn-ea"/>
              </a:endParaRPr>
            </a:p>
          </p:txBody>
        </p:sp>
        <p:sp>
          <p:nvSpPr>
            <p:cNvPr id="69" name="Legend3"/>
            <p:cNvSpPr>
              <a:spLocks noChangeArrowheads="1"/>
            </p:cNvSpPr>
            <p:nvPr>
              <p:custDataLst>
                <p:tags r:id="rId35"/>
              </p:custDataLst>
            </p:nvPr>
          </p:nvSpPr>
          <p:spPr bwMode="gray">
            <a:xfrm>
              <a:off x="8169259" y="825501"/>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grpSp>
      <p:grpSp>
        <p:nvGrpSpPr>
          <p:cNvPr id="70" name="LegendBoxes" hidden="1"/>
          <p:cNvGrpSpPr/>
          <p:nvPr/>
        </p:nvGrpSpPr>
        <p:grpSpPr>
          <a:xfrm>
            <a:off x="7859564" y="267919"/>
            <a:ext cx="850317" cy="1028245"/>
            <a:chOff x="5894005" y="919828"/>
            <a:chExt cx="850317" cy="1028245"/>
          </a:xfrm>
        </p:grpSpPr>
        <p:sp>
          <p:nvSpPr>
            <p:cNvPr id="71" name="RectangleLegend1"/>
            <p:cNvSpPr>
              <a:spLocks noChangeArrowheads="1"/>
            </p:cNvSpPr>
            <p:nvPr/>
          </p:nvSpPr>
          <p:spPr bwMode="gray">
            <a:xfrm>
              <a:off x="5894005" y="947381"/>
              <a:ext cx="165100" cy="160338"/>
            </a:xfrm>
            <a:prstGeom prst="rect">
              <a:avLst/>
            </a:prstGeom>
            <a:solidFill>
              <a:schemeClr val="accent1"/>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72" name="RectangleLegend2"/>
            <p:cNvSpPr>
              <a:spLocks noChangeArrowheads="1"/>
            </p:cNvSpPr>
            <p:nvPr/>
          </p:nvSpPr>
          <p:spPr bwMode="gray">
            <a:xfrm>
              <a:off x="5894005" y="1217256"/>
              <a:ext cx="165100" cy="160338"/>
            </a:xfrm>
            <a:prstGeom prst="rect">
              <a:avLst/>
            </a:prstGeom>
            <a:solidFill>
              <a:schemeClr val="accent2"/>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73" name="RectangleLegend3"/>
            <p:cNvSpPr>
              <a:spLocks noChangeArrowheads="1"/>
            </p:cNvSpPr>
            <p:nvPr/>
          </p:nvSpPr>
          <p:spPr bwMode="gray">
            <a:xfrm>
              <a:off x="5894005" y="1488719"/>
              <a:ext cx="165100" cy="160338"/>
            </a:xfrm>
            <a:prstGeom prst="rect">
              <a:avLst/>
            </a:prstGeom>
            <a:solidFill>
              <a:schemeClr val="accent3"/>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74" name="RectangleLegend4"/>
            <p:cNvSpPr>
              <a:spLocks noChangeArrowheads="1"/>
            </p:cNvSpPr>
            <p:nvPr/>
          </p:nvSpPr>
          <p:spPr bwMode="gray">
            <a:xfrm>
              <a:off x="5894005" y="1760182"/>
              <a:ext cx="165100" cy="160338"/>
            </a:xfrm>
            <a:prstGeom prst="rect">
              <a:avLst/>
            </a:prstGeom>
            <a:solidFill>
              <a:schemeClr val="accent4"/>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75" name="Legend1"/>
            <p:cNvSpPr>
              <a:spLocks noChangeArrowheads="1"/>
            </p:cNvSpPr>
            <p:nvPr>
              <p:custDataLst>
                <p:tags r:id="rId29"/>
              </p:custDataLst>
            </p:nvPr>
          </p:nvSpPr>
          <p:spPr bwMode="gray">
            <a:xfrm>
              <a:off x="6148005" y="919828"/>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sp>
          <p:nvSpPr>
            <p:cNvPr id="76" name="Legend2"/>
            <p:cNvSpPr>
              <a:spLocks noChangeArrowheads="1"/>
            </p:cNvSpPr>
            <p:nvPr>
              <p:custDataLst>
                <p:tags r:id="rId30"/>
              </p:custDataLst>
            </p:nvPr>
          </p:nvSpPr>
          <p:spPr bwMode="gray">
            <a:xfrm>
              <a:off x="6148005" y="1189703"/>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sp>
          <p:nvSpPr>
            <p:cNvPr id="77" name="Legend3"/>
            <p:cNvSpPr>
              <a:spLocks noChangeArrowheads="1"/>
            </p:cNvSpPr>
            <p:nvPr>
              <p:custDataLst>
                <p:tags r:id="rId31"/>
              </p:custDataLst>
            </p:nvPr>
          </p:nvSpPr>
          <p:spPr bwMode="gray">
            <a:xfrm>
              <a:off x="6148005" y="1461166"/>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sp>
          <p:nvSpPr>
            <p:cNvPr id="78" name="Legend4"/>
            <p:cNvSpPr>
              <a:spLocks noChangeArrowheads="1"/>
            </p:cNvSpPr>
            <p:nvPr>
              <p:custDataLst>
                <p:tags r:id="rId32"/>
              </p:custDataLst>
            </p:nvPr>
          </p:nvSpPr>
          <p:spPr bwMode="gray">
            <a:xfrm>
              <a:off x="6148005" y="1732629"/>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grpSp>
      <p:grpSp>
        <p:nvGrpSpPr>
          <p:cNvPr id="79" name="LegendMoons" hidden="1"/>
          <p:cNvGrpSpPr/>
          <p:nvPr/>
        </p:nvGrpSpPr>
        <p:grpSpPr>
          <a:xfrm>
            <a:off x="7792889" y="267414"/>
            <a:ext cx="916992" cy="1317003"/>
            <a:chOff x="5894005" y="2695123"/>
            <a:chExt cx="916992" cy="1317003"/>
          </a:xfrm>
        </p:grpSpPr>
        <p:grpSp>
          <p:nvGrpSpPr>
            <p:cNvPr id="80" name="MoonLegend1"/>
            <p:cNvGrpSpPr>
              <a:grpSpLocks noChangeAspect="1"/>
            </p:cNvGrpSpPr>
            <p:nvPr>
              <p:custDataLst>
                <p:tags r:id="rId9"/>
              </p:custDataLst>
            </p:nvPr>
          </p:nvGrpSpPr>
          <p:grpSpPr bwMode="gray">
            <a:xfrm>
              <a:off x="5894005" y="2695123"/>
              <a:ext cx="209550" cy="218282"/>
              <a:chOff x="4533" y="183"/>
              <a:chExt cx="144" cy="150"/>
            </a:xfrm>
          </p:grpSpPr>
          <p:sp>
            <p:nvSpPr>
              <p:cNvPr id="98" name="Oval 97"/>
              <p:cNvSpPr>
                <a:spLocks noChangeAspect="1" noChangeArrowheads="1"/>
              </p:cNvSpPr>
              <p:nvPr>
                <p:custDataLst>
                  <p:tags r:id="rId27"/>
                </p:custDataLst>
              </p:nvPr>
            </p:nvSpPr>
            <p:spPr bwMode="gray">
              <a:xfrm>
                <a:off x="4533" y="189"/>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99" name="Arc 98" hidden="1"/>
              <p:cNvSpPr>
                <a:spLocks noChangeAspect="1"/>
              </p:cNvSpPr>
              <p:nvPr>
                <p:custDataLst>
                  <p:tags r:id="rId28"/>
                </p:custDataLst>
              </p:nvPr>
            </p:nvSpPr>
            <p:spPr bwMode="gray">
              <a:xfrm>
                <a:off x="4533" y="183"/>
                <a:ext cx="144" cy="144"/>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grpSp>
        <p:grpSp>
          <p:nvGrpSpPr>
            <p:cNvPr id="81" name="MoonLegend2"/>
            <p:cNvGrpSpPr>
              <a:grpSpLocks noChangeAspect="1"/>
            </p:cNvGrpSpPr>
            <p:nvPr>
              <p:custDataLst>
                <p:tags r:id="rId10"/>
              </p:custDataLst>
            </p:nvPr>
          </p:nvGrpSpPr>
          <p:grpSpPr bwMode="gray">
            <a:xfrm>
              <a:off x="5894005" y="2977103"/>
              <a:ext cx="209550" cy="209551"/>
              <a:chOff x="1694" y="2051"/>
              <a:chExt cx="160" cy="160"/>
            </a:xfrm>
          </p:grpSpPr>
          <p:sp>
            <p:nvSpPr>
              <p:cNvPr id="96" name="Oval 41"/>
              <p:cNvSpPr>
                <a:spLocks noChangeAspect="1" noChangeArrowheads="1"/>
              </p:cNvSpPr>
              <p:nvPr>
                <p:custDataLst>
                  <p:tags r:id="rId25"/>
                </p:custDataLst>
              </p:nvPr>
            </p:nvSpPr>
            <p:spPr bwMode="gray">
              <a:xfrm>
                <a:off x="1694" y="2051"/>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97" name="Arc 42"/>
              <p:cNvSpPr>
                <a:spLocks noChangeAspect="1"/>
              </p:cNvSpPr>
              <p:nvPr>
                <p:custDataLst>
                  <p:tags r:id="rId26"/>
                </p:custDataLst>
              </p:nvPr>
            </p:nvSpPr>
            <p:spPr bwMode="gray">
              <a:xfrm>
                <a:off x="1694" y="2051"/>
                <a:ext cx="160" cy="160"/>
              </a:xfrm>
              <a:prstGeom prst="arc">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grpSp>
        <p:grpSp>
          <p:nvGrpSpPr>
            <p:cNvPr id="82" name="MoonLegend4"/>
            <p:cNvGrpSpPr>
              <a:grpSpLocks noChangeAspect="1"/>
            </p:cNvGrpSpPr>
            <p:nvPr>
              <p:custDataLst>
                <p:tags r:id="rId11"/>
              </p:custDataLst>
            </p:nvPr>
          </p:nvGrpSpPr>
          <p:grpSpPr bwMode="gray">
            <a:xfrm>
              <a:off x="5894005" y="3524395"/>
              <a:ext cx="209550" cy="209551"/>
              <a:chOff x="4495" y="1204"/>
              <a:chExt cx="160" cy="160"/>
            </a:xfrm>
          </p:grpSpPr>
          <p:sp>
            <p:nvSpPr>
              <p:cNvPr id="94" name="Oval 47"/>
              <p:cNvSpPr>
                <a:spLocks noChangeAspect="1" noChangeArrowheads="1"/>
              </p:cNvSpPr>
              <p:nvPr>
                <p:custDataLst>
                  <p:tags r:id="rId23"/>
                </p:custDataLst>
              </p:nvPr>
            </p:nvSpPr>
            <p:spPr bwMode="gray">
              <a:xfrm>
                <a:off x="4495" y="120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95" name="Arc 48"/>
              <p:cNvSpPr>
                <a:spLocks noChangeAspect="1"/>
              </p:cNvSpPr>
              <p:nvPr>
                <p:custDataLst>
                  <p:tags r:id="rId24"/>
                </p:custDataLst>
              </p:nvPr>
            </p:nvSpPr>
            <p:spPr bwMode="gray">
              <a:xfrm>
                <a:off x="4495" y="1204"/>
                <a:ext cx="160" cy="160"/>
              </a:xfrm>
              <a:prstGeom prst="arc">
                <a:avLst>
                  <a:gd name="adj1" fmla="val 16200000"/>
                  <a:gd name="adj2" fmla="val 108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grpSp>
        <p:grpSp>
          <p:nvGrpSpPr>
            <p:cNvPr id="83" name="MoonLegend5"/>
            <p:cNvGrpSpPr>
              <a:grpSpLocks noChangeAspect="1"/>
            </p:cNvGrpSpPr>
            <p:nvPr>
              <p:custDataLst>
                <p:tags r:id="rId12"/>
              </p:custDataLst>
            </p:nvPr>
          </p:nvGrpSpPr>
          <p:grpSpPr bwMode="gray">
            <a:xfrm>
              <a:off x="5894005" y="3799629"/>
              <a:ext cx="209550" cy="209551"/>
              <a:chOff x="4495" y="1447"/>
              <a:chExt cx="160" cy="160"/>
            </a:xfrm>
          </p:grpSpPr>
          <p:sp>
            <p:nvSpPr>
              <p:cNvPr id="92" name="Oval 50"/>
              <p:cNvSpPr>
                <a:spLocks noChangeAspect="1" noChangeArrowheads="1"/>
              </p:cNvSpPr>
              <p:nvPr>
                <p:custDataLst>
                  <p:tags r:id="rId21"/>
                </p:custDataLst>
              </p:nvPr>
            </p:nvSpPr>
            <p:spPr bwMode="gray">
              <a:xfrm>
                <a:off x="4495" y="1447"/>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93" name="Oval 51"/>
              <p:cNvSpPr>
                <a:spLocks noChangeAspect="1" noChangeArrowheads="1"/>
              </p:cNvSpPr>
              <p:nvPr>
                <p:custDataLst>
                  <p:tags r:id="rId22"/>
                </p:custDataLst>
              </p:nvPr>
            </p:nvSpPr>
            <p:spPr bwMode="gray">
              <a:xfrm>
                <a:off x="4495" y="1447"/>
                <a:ext cx="160" cy="160"/>
              </a:xfrm>
              <a:prstGeom prst="arc">
                <a:avLst>
                  <a:gd name="adj1" fmla="val 16200000"/>
                  <a:gd name="adj2" fmla="val 162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grpSp>
        <p:grpSp>
          <p:nvGrpSpPr>
            <p:cNvPr id="84" name="MoonLegend3"/>
            <p:cNvGrpSpPr>
              <a:grpSpLocks noChangeAspect="1"/>
            </p:cNvGrpSpPr>
            <p:nvPr>
              <p:custDataLst>
                <p:tags r:id="rId13"/>
              </p:custDataLst>
            </p:nvPr>
          </p:nvGrpSpPr>
          <p:grpSpPr bwMode="gray">
            <a:xfrm>
              <a:off x="5894005" y="3251543"/>
              <a:ext cx="209550" cy="209551"/>
              <a:chOff x="4495" y="1205"/>
              <a:chExt cx="160" cy="160"/>
            </a:xfrm>
          </p:grpSpPr>
          <p:sp>
            <p:nvSpPr>
              <p:cNvPr id="90" name="Oval 47"/>
              <p:cNvSpPr>
                <a:spLocks noChangeAspect="1" noChangeArrowheads="1"/>
              </p:cNvSpPr>
              <p:nvPr>
                <p:custDataLst>
                  <p:tags r:id="rId19"/>
                </p:custDataLst>
              </p:nvPr>
            </p:nvSpPr>
            <p:spPr bwMode="gray">
              <a:xfrm>
                <a:off x="4495" y="1205"/>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91" name="Arc 48"/>
              <p:cNvSpPr>
                <a:spLocks noChangeAspect="1"/>
              </p:cNvSpPr>
              <p:nvPr>
                <p:custDataLst>
                  <p:tags r:id="rId20"/>
                </p:custDataLst>
              </p:nvPr>
            </p:nvSpPr>
            <p:spPr bwMode="gray">
              <a:xfrm>
                <a:off x="4495" y="1205"/>
                <a:ext cx="160" cy="160"/>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grpSp>
        <p:sp>
          <p:nvSpPr>
            <p:cNvPr id="85" name="Legend1"/>
            <p:cNvSpPr>
              <a:spLocks noChangeArrowheads="1"/>
            </p:cNvSpPr>
            <p:nvPr>
              <p:custDataLst>
                <p:tags r:id="rId14"/>
              </p:custDataLst>
            </p:nvPr>
          </p:nvSpPr>
          <p:spPr bwMode="gray">
            <a:xfrm>
              <a:off x="6214680" y="2696542"/>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sp>
          <p:nvSpPr>
            <p:cNvPr id="86" name="Legend2"/>
            <p:cNvSpPr>
              <a:spLocks noChangeArrowheads="1"/>
            </p:cNvSpPr>
            <p:nvPr>
              <p:custDataLst>
                <p:tags r:id="rId15"/>
              </p:custDataLst>
            </p:nvPr>
          </p:nvSpPr>
          <p:spPr bwMode="gray">
            <a:xfrm>
              <a:off x="6214680" y="2974156"/>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a:latin typeface="+mn-lt"/>
                  <a:ea typeface="+mn-ea"/>
                </a:rPr>
                <a:t>Legend</a:t>
              </a:r>
              <a:endParaRPr lang="en-US" sz="1400" baseline="0" dirty="0">
                <a:latin typeface="+mn-lt"/>
                <a:ea typeface="+mn-ea"/>
              </a:endParaRPr>
            </a:p>
          </p:txBody>
        </p:sp>
        <p:sp>
          <p:nvSpPr>
            <p:cNvPr id="87" name="Legend3"/>
            <p:cNvSpPr>
              <a:spLocks noChangeArrowheads="1"/>
            </p:cNvSpPr>
            <p:nvPr>
              <p:custDataLst>
                <p:tags r:id="rId16"/>
              </p:custDataLst>
            </p:nvPr>
          </p:nvSpPr>
          <p:spPr bwMode="gray">
            <a:xfrm>
              <a:off x="6214680" y="3248596"/>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sp>
          <p:nvSpPr>
            <p:cNvPr id="88" name="Legend4"/>
            <p:cNvSpPr>
              <a:spLocks noChangeArrowheads="1"/>
            </p:cNvSpPr>
            <p:nvPr>
              <p:custDataLst>
                <p:tags r:id="rId17"/>
              </p:custDataLst>
            </p:nvPr>
          </p:nvSpPr>
          <p:spPr bwMode="gray">
            <a:xfrm>
              <a:off x="6214680" y="3521448"/>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sp>
          <p:nvSpPr>
            <p:cNvPr id="89" name="Legend5"/>
            <p:cNvSpPr>
              <a:spLocks noChangeArrowheads="1"/>
            </p:cNvSpPr>
            <p:nvPr>
              <p:custDataLst>
                <p:tags r:id="rId18"/>
              </p:custDataLst>
            </p:nvPr>
          </p:nvSpPr>
          <p:spPr bwMode="gray">
            <a:xfrm>
              <a:off x="6214680" y="3796682"/>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a:latin typeface="+mn-lt"/>
                  <a:ea typeface="+mn-ea"/>
                </a:rPr>
                <a:t>Legend</a:t>
              </a:r>
              <a:endParaRPr lang="en-US" sz="1400" baseline="0" dirty="0">
                <a:latin typeface="+mn-lt"/>
                <a:ea typeface="+mn-ea"/>
              </a:endParaRPr>
            </a:p>
          </p:txBody>
        </p:sp>
      </p:grpSp>
    </p:spTree>
    <p:extLst>
      <p:ext uri="{BB962C8B-B14F-4D97-AF65-F5344CB8AC3E}">
        <p14:creationId xmlns:p14="http://schemas.microsoft.com/office/powerpoint/2010/main" val="3783949373"/>
      </p:ext>
    </p:extLst>
  </p:cSld>
  <p:clrMap bg1="lt1" tx1="dk1" bg2="lt2" tx2="dk2" accent1="accent1" accent2="accent2" accent3="accent3" accent4="accent4" accent5="accent5" accent6="accent6" hlink="hlink" folHlink="folHlink"/>
  <p:sldLayoutIdLst>
    <p:sldLayoutId id="2147483701" r:id="rId1"/>
    <p:sldLayoutId id="2147483702" r:id="rId2"/>
    <p:sldLayoutId id="2147483703" r:id="rId3"/>
    <p:sldLayoutId id="2147483704" r:id="rId4"/>
  </p:sldLayoutIdLst>
  <p:txStyles>
    <p:titleStyle>
      <a:lvl1pPr algn="l" defTabSz="895350" rtl="0" eaLnBrk="1" fontAlgn="base" hangingPunct="1">
        <a:spcBef>
          <a:spcPct val="0"/>
        </a:spcBef>
        <a:spcAft>
          <a:spcPct val="0"/>
        </a:spcAft>
        <a:tabLst>
          <a:tab pos="269875" algn="l"/>
        </a:tabLst>
        <a:defRPr sz="2000" b="0" baseline="0">
          <a:solidFill>
            <a:schemeClr val="tx2"/>
          </a:solidFill>
          <a:latin typeface="+mj-lt"/>
          <a:ea typeface="+mj-ea"/>
          <a:cs typeface="+mj-cs"/>
        </a:defRPr>
      </a:lvl1pPr>
      <a:lvl2pPr algn="l" defTabSz="895350" rtl="0" eaLnBrk="1" fontAlgn="base" hangingPunct="1">
        <a:spcBef>
          <a:spcPct val="0"/>
        </a:spcBef>
        <a:spcAft>
          <a:spcPct val="0"/>
        </a:spcAft>
        <a:defRPr sz="1900" b="1">
          <a:solidFill>
            <a:schemeClr val="tx2"/>
          </a:solidFill>
          <a:latin typeface="Arial" charset="0"/>
        </a:defRPr>
      </a:lvl2pPr>
      <a:lvl3pPr algn="l" defTabSz="895350" rtl="0" eaLnBrk="1" fontAlgn="base" hangingPunct="1">
        <a:spcBef>
          <a:spcPct val="0"/>
        </a:spcBef>
        <a:spcAft>
          <a:spcPct val="0"/>
        </a:spcAft>
        <a:defRPr sz="1900" b="1">
          <a:solidFill>
            <a:schemeClr val="tx2"/>
          </a:solidFill>
          <a:latin typeface="Arial" charset="0"/>
        </a:defRPr>
      </a:lvl3pPr>
      <a:lvl4pPr algn="l" defTabSz="895350" rtl="0" eaLnBrk="1" fontAlgn="base" hangingPunct="1">
        <a:spcBef>
          <a:spcPct val="0"/>
        </a:spcBef>
        <a:spcAft>
          <a:spcPct val="0"/>
        </a:spcAft>
        <a:defRPr sz="1900" b="1">
          <a:solidFill>
            <a:schemeClr val="tx2"/>
          </a:solidFill>
          <a:latin typeface="Arial" charset="0"/>
        </a:defRPr>
      </a:lvl4pPr>
      <a:lvl5pPr algn="l" defTabSz="895350" rtl="0" eaLnBrk="1" fontAlgn="base" hangingPunct="1">
        <a:spcBef>
          <a:spcPct val="0"/>
        </a:spcBef>
        <a:spcAft>
          <a:spcPct val="0"/>
        </a:spcAft>
        <a:defRPr sz="1900" b="1">
          <a:solidFill>
            <a:schemeClr val="tx2"/>
          </a:solidFill>
          <a:latin typeface="Arial" charset="0"/>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p:titleStyle>
    <p:bodyStyle>
      <a:lvl1pPr marL="0" indent="0" algn="l" defTabSz="895350" rtl="0" eaLnBrk="1" fontAlgn="base" hangingPunct="1">
        <a:spcBef>
          <a:spcPct val="0"/>
        </a:spcBef>
        <a:spcAft>
          <a:spcPct val="0"/>
        </a:spcAft>
        <a:buClr>
          <a:schemeClr val="tx2"/>
        </a:buClr>
        <a:buSzPct val="100000"/>
        <a:defRPr sz="14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4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4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4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4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7"/>
            </p:custDataLst>
            <p:extLst>
              <p:ext uri="{D42A27DB-BD31-4B8C-83A1-F6EECF244321}">
                <p14:modId xmlns:p14="http://schemas.microsoft.com/office/powerpoint/2010/main" val="751977544"/>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6884" name="think-cell Slide" r:id="rId36" imgW="270" imgH="270" progId="TCLayout.ActiveDocument.1">
                  <p:embed/>
                </p:oleObj>
              </mc:Choice>
              <mc:Fallback>
                <p:oleObj name="think-cell Slide" r:id="rId36" imgW="270" imgH="270" progId="TCLayout.ActiveDocument.1">
                  <p:embed/>
                  <p:pic>
                    <p:nvPicPr>
                      <p:cNvPr id="2" name="Object 1" hidden="1"/>
                      <p:cNvPicPr/>
                      <p:nvPr/>
                    </p:nvPicPr>
                    <p:blipFill>
                      <a:blip r:embed="rId37"/>
                      <a:stretch>
                        <a:fillRect/>
                      </a:stretch>
                    </p:blipFill>
                    <p:spPr>
                      <a:xfrm>
                        <a:off x="0" y="0"/>
                        <a:ext cx="158750" cy="158750"/>
                      </a:xfrm>
                      <a:prstGeom prst="rect">
                        <a:avLst/>
                      </a:prstGeom>
                    </p:spPr>
                  </p:pic>
                </p:oleObj>
              </mc:Fallback>
            </mc:AlternateContent>
          </a:graphicData>
        </a:graphic>
      </p:graphicFrame>
      <p:sp>
        <p:nvSpPr>
          <p:cNvPr id="6" name="Rectangle 5" hidden="1"/>
          <p:cNvSpPr/>
          <p:nvPr>
            <p:custDataLst>
              <p:tags r:id="rId8"/>
            </p:custDataLst>
          </p:nvPr>
        </p:nvSpPr>
        <p:spPr bwMode="auto">
          <a:xfrm>
            <a:off x="0" y="0"/>
            <a:ext cx="158750" cy="158750"/>
          </a:xfrm>
          <a:prstGeom prst="rect">
            <a:avLst/>
          </a:prstGeom>
          <a:solidFill>
            <a:schemeClr val="bg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dirty="0">
              <a:solidFill>
                <a:srgbClr val="000000"/>
              </a:solidFill>
              <a:sym typeface="Arial" panose="020B0604020202020204" pitchFamily="34" charset="0"/>
            </a:endParaRPr>
          </a:p>
        </p:txBody>
      </p:sp>
      <p:sp>
        <p:nvSpPr>
          <p:cNvPr id="1034" name="Working Draft" hidden="1"/>
          <p:cNvSpPr txBox="1">
            <a:spLocks noChangeArrowheads="1"/>
          </p:cNvSpPr>
          <p:nvPr/>
        </p:nvSpPr>
        <p:spPr bwMode="gray">
          <a:xfrm rot="5400000">
            <a:off x="7966656" y="1940591"/>
            <a:ext cx="1849865"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600" baseline="0">
                <a:solidFill>
                  <a:srgbClr val="808080"/>
                </a:solidFill>
                <a:latin typeface="+mn-lt"/>
                <a:ea typeface="+mn-ea"/>
              </a:rPr>
              <a:t>Last Modified 21/05/2018 17:44 India Standard Time</a:t>
            </a:r>
            <a:endParaRPr lang="en-US" baseline="0" dirty="0">
              <a:solidFill>
                <a:srgbClr val="808080"/>
              </a:solidFill>
              <a:latin typeface="+mn-lt"/>
              <a:ea typeface="+mn-ea"/>
            </a:endParaRPr>
          </a:p>
        </p:txBody>
      </p:sp>
      <p:sp>
        <p:nvSpPr>
          <p:cNvPr id="1035" name="Printed" hidden="1"/>
          <p:cNvSpPr txBox="1">
            <a:spLocks noChangeArrowheads="1"/>
          </p:cNvSpPr>
          <p:nvPr/>
        </p:nvSpPr>
        <p:spPr bwMode="gray">
          <a:xfrm rot="5400000">
            <a:off x="8768958" y="4114417"/>
            <a:ext cx="245260"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600" baseline="0" dirty="0">
                <a:solidFill>
                  <a:srgbClr val="808080"/>
                </a:solidFill>
                <a:latin typeface="+mn-lt"/>
                <a:ea typeface="+mn-ea"/>
              </a:rPr>
              <a:t>Printed</a:t>
            </a:r>
            <a:endParaRPr lang="en-US" baseline="0" dirty="0">
              <a:solidFill>
                <a:srgbClr val="808080"/>
              </a:solidFill>
              <a:latin typeface="+mn-lt"/>
              <a:ea typeface="+mn-ea"/>
            </a:endParaRPr>
          </a:p>
        </p:txBody>
      </p:sp>
      <p:sp>
        <p:nvSpPr>
          <p:cNvPr id="19" name="Title Placeholder 2"/>
          <p:cNvSpPr>
            <a:spLocks noGrp="1" noChangeArrowheads="1"/>
          </p:cNvSpPr>
          <p:nvPr>
            <p:ph type="title"/>
          </p:nvPr>
        </p:nvSpPr>
        <p:spPr bwMode="gray">
          <a:xfrm>
            <a:off x="119063" y="230188"/>
            <a:ext cx="8618537"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latinLnBrk="0"/>
            <a:r>
              <a:rPr lang="en-US"/>
              <a:t>Click to edit Master title style</a:t>
            </a:r>
            <a:endParaRPr lang="en-US" noProof="0" dirty="0"/>
          </a:p>
        </p:txBody>
      </p:sp>
      <p:sp>
        <p:nvSpPr>
          <p:cNvPr id="10" name="1. On-page tracker" hidden="1"/>
          <p:cNvSpPr>
            <a:spLocks noChangeArrowheads="1"/>
          </p:cNvSpPr>
          <p:nvPr/>
        </p:nvSpPr>
        <p:spPr bwMode="gray">
          <a:xfrm>
            <a:off x="119063" y="75764"/>
            <a:ext cx="490519"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800" cap="all" baseline="0" dirty="0">
                <a:solidFill>
                  <a:schemeClr val="accent6"/>
                </a:solidFill>
                <a:latin typeface="+mn-lt"/>
                <a:ea typeface="+mn-ea"/>
              </a:rPr>
              <a:t>Tracker</a:t>
            </a:r>
          </a:p>
        </p:txBody>
      </p:sp>
      <p:sp>
        <p:nvSpPr>
          <p:cNvPr id="11" name="3. Unit of measure" hidden="1"/>
          <p:cNvSpPr txBox="1">
            <a:spLocks noChangeArrowheads="1"/>
          </p:cNvSpPr>
          <p:nvPr/>
        </p:nvSpPr>
        <p:spPr bwMode="gray">
          <a:xfrm>
            <a:off x="119063" y="554865"/>
            <a:ext cx="8618537"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600" baseline="0" dirty="0">
                <a:solidFill>
                  <a:schemeClr val="accent6"/>
                </a:solidFill>
                <a:latin typeface="+mn-lt"/>
                <a:ea typeface="+mn-ea"/>
              </a:rPr>
              <a:t>Unit of measure</a:t>
            </a:r>
          </a:p>
        </p:txBody>
      </p:sp>
      <p:grpSp>
        <p:nvGrpSpPr>
          <p:cNvPr id="4" name="Slide Elements" hidden="1"/>
          <p:cNvGrpSpPr/>
          <p:nvPr/>
        </p:nvGrpSpPr>
        <p:grpSpPr bwMode="gray">
          <a:xfrm>
            <a:off x="119063" y="6305945"/>
            <a:ext cx="8618537" cy="325438"/>
            <a:chOff x="119063" y="6305945"/>
            <a:chExt cx="8618537" cy="325438"/>
          </a:xfrm>
        </p:grpSpPr>
        <p:sp>
          <p:nvSpPr>
            <p:cNvPr id="13" name="4. Footnote"/>
            <p:cNvSpPr txBox="1">
              <a:spLocks noChangeArrowheads="1"/>
            </p:cNvSpPr>
            <p:nvPr/>
          </p:nvSpPr>
          <p:spPr bwMode="gray">
            <a:xfrm>
              <a:off x="119063" y="6305945"/>
              <a:ext cx="8618537" cy="123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800" baseline="0" dirty="0">
                  <a:solidFill>
                    <a:schemeClr val="accent6"/>
                  </a:solidFill>
                  <a:latin typeface="+mn-lt"/>
                  <a:ea typeface="+mn-ea"/>
                </a:rPr>
                <a:t>1 Footnote</a:t>
              </a:r>
            </a:p>
          </p:txBody>
        </p:sp>
        <p:sp>
          <p:nvSpPr>
            <p:cNvPr id="14" name="5. Source"/>
            <p:cNvSpPr>
              <a:spLocks noChangeArrowheads="1"/>
            </p:cNvSpPr>
            <p:nvPr/>
          </p:nvSpPr>
          <p:spPr bwMode="gray">
            <a:xfrm>
              <a:off x="119063" y="6507558"/>
              <a:ext cx="7200000" cy="123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marL="609600" indent="-609600" defTabSz="895350">
                <a:tabLst>
                  <a:tab pos="612775" algn="l"/>
                </a:tabLst>
              </a:pPr>
              <a:r>
                <a:rPr lang="en-US" sz="800" baseline="0" dirty="0">
                  <a:solidFill>
                    <a:schemeClr val="accent6"/>
                  </a:solidFill>
                  <a:latin typeface="+mn-lt"/>
                  <a:ea typeface="+mn-ea"/>
                </a:rPr>
                <a:t>SOURCE: Source</a:t>
              </a:r>
            </a:p>
          </p:txBody>
        </p:sp>
      </p:grpSp>
      <p:sp>
        <p:nvSpPr>
          <p:cNvPr id="3" name="Text Placeholder 2"/>
          <p:cNvSpPr>
            <a:spLocks noGrp="1"/>
          </p:cNvSpPr>
          <p:nvPr>
            <p:ph type="body" idx="1"/>
          </p:nvPr>
        </p:nvSpPr>
        <p:spPr bwMode="gray">
          <a:xfrm>
            <a:off x="1452564" y="1951380"/>
            <a:ext cx="4302125" cy="1077218"/>
          </a:xfrm>
          <a:prstGeom prst="rect">
            <a:avLst/>
          </a:prstGeom>
        </p:spPr>
        <p:txBody>
          <a:bodyPr vert="horz" lIns="0" tIns="0" rIns="0" bIns="0" rtlCol="0">
            <a:spAutoFit/>
          </a:bodyPr>
          <a:lstStyle/>
          <a:p>
            <a:pPr lvl="0" latinLnBrk="0"/>
            <a:r>
              <a:rPr lang="en-US"/>
              <a:t>Edit Master text styles</a:t>
            </a:r>
          </a:p>
          <a:p>
            <a:pPr lvl="1" latinLnBrk="0"/>
            <a:r>
              <a:rPr lang="en-US"/>
              <a:t>Second level</a:t>
            </a:r>
          </a:p>
          <a:p>
            <a:pPr lvl="2" latinLnBrk="0"/>
            <a:r>
              <a:rPr lang="en-US"/>
              <a:t>Third level</a:t>
            </a:r>
          </a:p>
          <a:p>
            <a:pPr lvl="3" latinLnBrk="0"/>
            <a:r>
              <a:rPr lang="en-US"/>
              <a:t>Fourth level</a:t>
            </a:r>
          </a:p>
          <a:p>
            <a:pPr lvl="4" latinLnBrk="0"/>
            <a:r>
              <a:rPr lang="en-US"/>
              <a:t>Fifth level</a:t>
            </a:r>
            <a:endParaRPr lang="en-US" dirty="0"/>
          </a:p>
        </p:txBody>
      </p:sp>
      <p:grpSp>
        <p:nvGrpSpPr>
          <p:cNvPr id="15" name="ACET" hidden="1"/>
          <p:cNvGrpSpPr>
            <a:grpSpLocks/>
          </p:cNvGrpSpPr>
          <p:nvPr/>
        </p:nvGrpSpPr>
        <p:grpSpPr bwMode="gray">
          <a:xfrm>
            <a:off x="1452563" y="1257754"/>
            <a:ext cx="4264025" cy="508000"/>
            <a:chOff x="915" y="710"/>
            <a:chExt cx="2686" cy="320"/>
          </a:xfrm>
        </p:grpSpPr>
        <p:cxnSp>
          <p:nvCxnSpPr>
            <p:cNvPr id="16" name="AutoShape 249"/>
            <p:cNvCxnSpPr>
              <a:cxnSpLocks noChangeShapeType="1"/>
              <a:stCxn id="18" idx="4"/>
              <a:endCxn id="18" idx="6"/>
            </p:cNvCxnSpPr>
            <p:nvPr/>
          </p:nvCxnSpPr>
          <p:spPr bwMode="gray">
            <a:xfrm>
              <a:off x="915" y="1030"/>
              <a:ext cx="2686" cy="0"/>
            </a:xfrm>
            <a:prstGeom prst="straightConnector1">
              <a:avLst/>
            </a:prstGeom>
            <a:noFill/>
            <a:ln w="9525">
              <a:solidFill>
                <a:schemeClr val="accent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8" name="AutoShape 250"/>
            <p:cNvSpPr>
              <a:spLocks noChangeArrowheads="1"/>
            </p:cNvSpPr>
            <p:nvPr/>
          </p:nvSpPr>
          <p:spPr bwMode="gray">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US" b="1" baseline="0" dirty="0">
                  <a:solidFill>
                    <a:srgbClr val="000000"/>
                  </a:solidFill>
                  <a:latin typeface="+mn-lt"/>
                  <a:ea typeface="+mn-ea"/>
                </a:rPr>
                <a:t>Title</a:t>
              </a:r>
            </a:p>
            <a:p>
              <a:r>
                <a:rPr lang="en-US" baseline="0" dirty="0">
                  <a:solidFill>
                    <a:schemeClr val="accent6"/>
                  </a:solidFill>
                  <a:latin typeface="+mn-lt"/>
                  <a:ea typeface="+mn-ea"/>
                </a:rPr>
                <a:t>Unit of measure</a:t>
              </a:r>
            </a:p>
          </p:txBody>
        </p:sp>
      </p:grpSp>
      <p:grpSp>
        <p:nvGrpSpPr>
          <p:cNvPr id="17" name="McKSticker" hidden="1"/>
          <p:cNvGrpSpPr/>
          <p:nvPr/>
        </p:nvGrpSpPr>
        <p:grpSpPr bwMode="gray">
          <a:xfrm>
            <a:off x="8264265" y="285750"/>
            <a:ext cx="473335" cy="150811"/>
            <a:chOff x="8267440" y="285750"/>
            <a:chExt cx="473335" cy="150811"/>
          </a:xfrm>
        </p:grpSpPr>
        <p:sp>
          <p:nvSpPr>
            <p:cNvPr id="20" name="StickerRectangle"/>
            <p:cNvSpPr>
              <a:spLocks noChangeArrowheads="1"/>
            </p:cNvSpPr>
            <p:nvPr/>
          </p:nvSpPr>
          <p:spPr bwMode="gray">
            <a:xfrm>
              <a:off x="8267440" y="285750"/>
              <a:ext cx="473335" cy="150811"/>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a:buClr>
                  <a:srgbClr val="002960"/>
                </a:buClr>
              </a:pPr>
              <a:r>
                <a:rPr lang="en-US" sz="800" baseline="0" dirty="0">
                  <a:solidFill>
                    <a:schemeClr val="accent6"/>
                  </a:solidFill>
                  <a:latin typeface="+mn-lt"/>
                  <a:ea typeface="+mn-ea"/>
                </a:rPr>
                <a:t>STICKER</a:t>
              </a:r>
            </a:p>
          </p:txBody>
        </p:sp>
        <p:cxnSp>
          <p:nvCxnSpPr>
            <p:cNvPr id="21" name="AutoShape 31"/>
            <p:cNvCxnSpPr>
              <a:cxnSpLocks noChangeShapeType="1"/>
              <a:stCxn id="20" idx="2"/>
              <a:endCxn id="20" idx="4"/>
            </p:cNvCxnSpPr>
            <p:nvPr/>
          </p:nvCxnSpPr>
          <p:spPr bwMode="gray">
            <a:xfrm>
              <a:off x="8267440" y="285750"/>
              <a:ext cx="0" cy="150811"/>
            </a:xfrm>
            <a:prstGeom prst="straightConnector1">
              <a:avLst/>
            </a:prstGeom>
            <a:noFill/>
            <a:ln w="9525">
              <a:solidFill>
                <a:schemeClr val="accent6"/>
              </a:solidFill>
              <a:round/>
              <a:headEnd/>
              <a:tailEnd/>
            </a:ln>
            <a:extLst>
              <a:ext uri="{909E8E84-426E-40DD-AFC4-6F175D3DCCD1}">
                <a14:hiddenFill xmlns:a14="http://schemas.microsoft.com/office/drawing/2010/main">
                  <a:noFill/>
                </a14:hiddenFill>
              </a:ext>
            </a:extLst>
          </p:spPr>
        </p:cxnSp>
        <p:cxnSp>
          <p:nvCxnSpPr>
            <p:cNvPr id="22" name="AutoShape 32"/>
            <p:cNvCxnSpPr>
              <a:cxnSpLocks noChangeShapeType="1"/>
              <a:stCxn id="20" idx="4"/>
              <a:endCxn id="20" idx="6"/>
            </p:cNvCxnSpPr>
            <p:nvPr/>
          </p:nvCxnSpPr>
          <p:spPr bwMode="gray">
            <a:xfrm>
              <a:off x="8267440" y="436561"/>
              <a:ext cx="473335" cy="0"/>
            </a:xfrm>
            <a:prstGeom prst="straightConnector1">
              <a:avLst/>
            </a:prstGeom>
            <a:noFill/>
            <a:ln w="25400">
              <a:solidFill>
                <a:schemeClr val="accent6"/>
              </a:solidFill>
              <a:round/>
              <a:headEnd/>
              <a:tailEnd/>
            </a:ln>
            <a:extLst>
              <a:ext uri="{909E8E84-426E-40DD-AFC4-6F175D3DCCD1}">
                <a14:hiddenFill xmlns:a14="http://schemas.microsoft.com/office/drawing/2010/main">
                  <a:noFill/>
                </a14:hiddenFill>
              </a:ext>
            </a:extLst>
          </p:spPr>
        </p:cxnSp>
      </p:grpSp>
      <p:sp>
        <p:nvSpPr>
          <p:cNvPr id="23" name="SlideBottomBar" hidden="1"/>
          <p:cNvSpPr/>
          <p:nvPr/>
        </p:nvSpPr>
        <p:spPr>
          <a:xfrm>
            <a:off x="8437547" y="6182120"/>
            <a:ext cx="45719" cy="123825"/>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aseline="0" dirty="0">
              <a:solidFill>
                <a:schemeClr val="tx1"/>
              </a:solidFill>
              <a:latin typeface="+mn-lt"/>
              <a:ea typeface="+mn-ea"/>
            </a:endParaRPr>
          </a:p>
        </p:txBody>
      </p:sp>
      <p:sp>
        <p:nvSpPr>
          <p:cNvPr id="24" name="doc id" hidden="1"/>
          <p:cNvSpPr txBox="1">
            <a:spLocks noChangeArrowheads="1"/>
          </p:cNvSpPr>
          <p:nvPr/>
        </p:nvSpPr>
        <p:spPr bwMode="white">
          <a:xfrm>
            <a:off x="8104473" y="36513"/>
            <a:ext cx="634716" cy="115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hangingPunct="1">
              <a:defRPr/>
            </a:pPr>
            <a:endParaRPr lang="en-US" sz="800" baseline="0" dirty="0">
              <a:solidFill>
                <a:schemeClr val="accent1"/>
              </a:solidFill>
              <a:latin typeface="+mn-lt"/>
              <a:ea typeface="+mn-ea"/>
            </a:endParaRPr>
          </a:p>
        </p:txBody>
      </p:sp>
      <p:grpSp>
        <p:nvGrpSpPr>
          <p:cNvPr id="63" name="LegendLines" hidden="1"/>
          <p:cNvGrpSpPr/>
          <p:nvPr/>
        </p:nvGrpSpPr>
        <p:grpSpPr>
          <a:xfrm>
            <a:off x="7551589" y="267815"/>
            <a:ext cx="1158292" cy="761545"/>
            <a:chOff x="7607284" y="279400"/>
            <a:chExt cx="1158292" cy="761545"/>
          </a:xfrm>
        </p:grpSpPr>
        <p:sp>
          <p:nvSpPr>
            <p:cNvPr id="64" name="LineLegend1"/>
            <p:cNvSpPr>
              <a:spLocks noChangeShapeType="1"/>
            </p:cNvSpPr>
            <p:nvPr/>
          </p:nvSpPr>
          <p:spPr bwMode="gray">
            <a:xfrm>
              <a:off x="7607284" y="387122"/>
              <a:ext cx="457200"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65" name="LineLegend2"/>
            <p:cNvSpPr>
              <a:spLocks noChangeShapeType="1"/>
            </p:cNvSpPr>
            <p:nvPr/>
          </p:nvSpPr>
          <p:spPr bwMode="gray">
            <a:xfrm>
              <a:off x="7607284" y="653822"/>
              <a:ext cx="457200"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66" name="LineLegend3"/>
            <p:cNvSpPr>
              <a:spLocks noChangeShapeType="1"/>
            </p:cNvSpPr>
            <p:nvPr/>
          </p:nvSpPr>
          <p:spPr bwMode="gray">
            <a:xfrm>
              <a:off x="7607284" y="933223"/>
              <a:ext cx="457200"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67" name="Legend1"/>
            <p:cNvSpPr>
              <a:spLocks noChangeArrowheads="1"/>
            </p:cNvSpPr>
            <p:nvPr>
              <p:custDataLst>
                <p:tags r:id="rId33"/>
              </p:custDataLst>
            </p:nvPr>
          </p:nvSpPr>
          <p:spPr bwMode="gray">
            <a:xfrm>
              <a:off x="8169259" y="279400"/>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sp>
          <p:nvSpPr>
            <p:cNvPr id="68" name="Legend2"/>
            <p:cNvSpPr>
              <a:spLocks noChangeArrowheads="1"/>
            </p:cNvSpPr>
            <p:nvPr>
              <p:custDataLst>
                <p:tags r:id="rId34"/>
              </p:custDataLst>
            </p:nvPr>
          </p:nvSpPr>
          <p:spPr bwMode="gray">
            <a:xfrm>
              <a:off x="8169259" y="546100"/>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a:latin typeface="+mn-lt"/>
                  <a:ea typeface="+mn-ea"/>
                </a:rPr>
                <a:t>Legend</a:t>
              </a:r>
              <a:endParaRPr lang="en-US" sz="1400" baseline="0" dirty="0">
                <a:latin typeface="+mn-lt"/>
                <a:ea typeface="+mn-ea"/>
              </a:endParaRPr>
            </a:p>
          </p:txBody>
        </p:sp>
        <p:sp>
          <p:nvSpPr>
            <p:cNvPr id="69" name="Legend3"/>
            <p:cNvSpPr>
              <a:spLocks noChangeArrowheads="1"/>
            </p:cNvSpPr>
            <p:nvPr>
              <p:custDataLst>
                <p:tags r:id="rId35"/>
              </p:custDataLst>
            </p:nvPr>
          </p:nvSpPr>
          <p:spPr bwMode="gray">
            <a:xfrm>
              <a:off x="8169259" y="825501"/>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grpSp>
      <p:grpSp>
        <p:nvGrpSpPr>
          <p:cNvPr id="70" name="LegendBoxes" hidden="1"/>
          <p:cNvGrpSpPr/>
          <p:nvPr/>
        </p:nvGrpSpPr>
        <p:grpSpPr>
          <a:xfrm>
            <a:off x="7859564" y="267919"/>
            <a:ext cx="850317" cy="1028245"/>
            <a:chOff x="5894005" y="919828"/>
            <a:chExt cx="850317" cy="1028245"/>
          </a:xfrm>
        </p:grpSpPr>
        <p:sp>
          <p:nvSpPr>
            <p:cNvPr id="71" name="RectangleLegend1"/>
            <p:cNvSpPr>
              <a:spLocks noChangeArrowheads="1"/>
            </p:cNvSpPr>
            <p:nvPr/>
          </p:nvSpPr>
          <p:spPr bwMode="gray">
            <a:xfrm>
              <a:off x="5894005" y="947381"/>
              <a:ext cx="165100" cy="160338"/>
            </a:xfrm>
            <a:prstGeom prst="rect">
              <a:avLst/>
            </a:prstGeom>
            <a:solidFill>
              <a:schemeClr val="accent1"/>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72" name="RectangleLegend2"/>
            <p:cNvSpPr>
              <a:spLocks noChangeArrowheads="1"/>
            </p:cNvSpPr>
            <p:nvPr/>
          </p:nvSpPr>
          <p:spPr bwMode="gray">
            <a:xfrm>
              <a:off x="5894005" y="1217256"/>
              <a:ext cx="165100" cy="160338"/>
            </a:xfrm>
            <a:prstGeom prst="rect">
              <a:avLst/>
            </a:prstGeom>
            <a:solidFill>
              <a:schemeClr val="accent2"/>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73" name="RectangleLegend3"/>
            <p:cNvSpPr>
              <a:spLocks noChangeArrowheads="1"/>
            </p:cNvSpPr>
            <p:nvPr/>
          </p:nvSpPr>
          <p:spPr bwMode="gray">
            <a:xfrm>
              <a:off x="5894005" y="1488719"/>
              <a:ext cx="165100" cy="160338"/>
            </a:xfrm>
            <a:prstGeom prst="rect">
              <a:avLst/>
            </a:prstGeom>
            <a:solidFill>
              <a:schemeClr val="accent3"/>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74" name="RectangleLegend4"/>
            <p:cNvSpPr>
              <a:spLocks noChangeArrowheads="1"/>
            </p:cNvSpPr>
            <p:nvPr/>
          </p:nvSpPr>
          <p:spPr bwMode="gray">
            <a:xfrm>
              <a:off x="5894005" y="1760182"/>
              <a:ext cx="165100" cy="160338"/>
            </a:xfrm>
            <a:prstGeom prst="rect">
              <a:avLst/>
            </a:prstGeom>
            <a:solidFill>
              <a:schemeClr val="accent4"/>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75" name="Legend1"/>
            <p:cNvSpPr>
              <a:spLocks noChangeArrowheads="1"/>
            </p:cNvSpPr>
            <p:nvPr>
              <p:custDataLst>
                <p:tags r:id="rId29"/>
              </p:custDataLst>
            </p:nvPr>
          </p:nvSpPr>
          <p:spPr bwMode="gray">
            <a:xfrm>
              <a:off x="6148005" y="919828"/>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sp>
          <p:nvSpPr>
            <p:cNvPr id="76" name="Legend2"/>
            <p:cNvSpPr>
              <a:spLocks noChangeArrowheads="1"/>
            </p:cNvSpPr>
            <p:nvPr>
              <p:custDataLst>
                <p:tags r:id="rId30"/>
              </p:custDataLst>
            </p:nvPr>
          </p:nvSpPr>
          <p:spPr bwMode="gray">
            <a:xfrm>
              <a:off x="6148005" y="1189703"/>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sp>
          <p:nvSpPr>
            <p:cNvPr id="77" name="Legend3"/>
            <p:cNvSpPr>
              <a:spLocks noChangeArrowheads="1"/>
            </p:cNvSpPr>
            <p:nvPr>
              <p:custDataLst>
                <p:tags r:id="rId31"/>
              </p:custDataLst>
            </p:nvPr>
          </p:nvSpPr>
          <p:spPr bwMode="gray">
            <a:xfrm>
              <a:off x="6148005" y="1461166"/>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sp>
          <p:nvSpPr>
            <p:cNvPr id="78" name="Legend4"/>
            <p:cNvSpPr>
              <a:spLocks noChangeArrowheads="1"/>
            </p:cNvSpPr>
            <p:nvPr>
              <p:custDataLst>
                <p:tags r:id="rId32"/>
              </p:custDataLst>
            </p:nvPr>
          </p:nvSpPr>
          <p:spPr bwMode="gray">
            <a:xfrm>
              <a:off x="6148005" y="1732629"/>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grpSp>
      <p:grpSp>
        <p:nvGrpSpPr>
          <p:cNvPr id="79" name="LegendMoons" hidden="1"/>
          <p:cNvGrpSpPr/>
          <p:nvPr/>
        </p:nvGrpSpPr>
        <p:grpSpPr>
          <a:xfrm>
            <a:off x="7792889" y="267414"/>
            <a:ext cx="916992" cy="1317003"/>
            <a:chOff x="5894005" y="2695123"/>
            <a:chExt cx="916992" cy="1317003"/>
          </a:xfrm>
        </p:grpSpPr>
        <p:grpSp>
          <p:nvGrpSpPr>
            <p:cNvPr id="80" name="MoonLegend1"/>
            <p:cNvGrpSpPr>
              <a:grpSpLocks noChangeAspect="1"/>
            </p:cNvGrpSpPr>
            <p:nvPr>
              <p:custDataLst>
                <p:tags r:id="rId9"/>
              </p:custDataLst>
            </p:nvPr>
          </p:nvGrpSpPr>
          <p:grpSpPr bwMode="gray">
            <a:xfrm>
              <a:off x="5894005" y="2695123"/>
              <a:ext cx="209550" cy="218282"/>
              <a:chOff x="4533" y="183"/>
              <a:chExt cx="144" cy="150"/>
            </a:xfrm>
          </p:grpSpPr>
          <p:sp>
            <p:nvSpPr>
              <p:cNvPr id="98" name="Oval 97"/>
              <p:cNvSpPr>
                <a:spLocks noChangeAspect="1" noChangeArrowheads="1"/>
              </p:cNvSpPr>
              <p:nvPr>
                <p:custDataLst>
                  <p:tags r:id="rId27"/>
                </p:custDataLst>
              </p:nvPr>
            </p:nvSpPr>
            <p:spPr bwMode="gray">
              <a:xfrm>
                <a:off x="4533" y="189"/>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99" name="Arc 98" hidden="1"/>
              <p:cNvSpPr>
                <a:spLocks noChangeAspect="1"/>
              </p:cNvSpPr>
              <p:nvPr>
                <p:custDataLst>
                  <p:tags r:id="rId28"/>
                </p:custDataLst>
              </p:nvPr>
            </p:nvSpPr>
            <p:spPr bwMode="gray">
              <a:xfrm>
                <a:off x="4533" y="183"/>
                <a:ext cx="144" cy="144"/>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grpSp>
        <p:grpSp>
          <p:nvGrpSpPr>
            <p:cNvPr id="81" name="MoonLegend2"/>
            <p:cNvGrpSpPr>
              <a:grpSpLocks noChangeAspect="1"/>
            </p:cNvGrpSpPr>
            <p:nvPr>
              <p:custDataLst>
                <p:tags r:id="rId10"/>
              </p:custDataLst>
            </p:nvPr>
          </p:nvGrpSpPr>
          <p:grpSpPr bwMode="gray">
            <a:xfrm>
              <a:off x="5894005" y="2977103"/>
              <a:ext cx="209550" cy="209551"/>
              <a:chOff x="1694" y="2051"/>
              <a:chExt cx="160" cy="160"/>
            </a:xfrm>
          </p:grpSpPr>
          <p:sp>
            <p:nvSpPr>
              <p:cNvPr id="96" name="Oval 41"/>
              <p:cNvSpPr>
                <a:spLocks noChangeAspect="1" noChangeArrowheads="1"/>
              </p:cNvSpPr>
              <p:nvPr>
                <p:custDataLst>
                  <p:tags r:id="rId25"/>
                </p:custDataLst>
              </p:nvPr>
            </p:nvSpPr>
            <p:spPr bwMode="gray">
              <a:xfrm>
                <a:off x="1694" y="2051"/>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97" name="Arc 42"/>
              <p:cNvSpPr>
                <a:spLocks noChangeAspect="1"/>
              </p:cNvSpPr>
              <p:nvPr>
                <p:custDataLst>
                  <p:tags r:id="rId26"/>
                </p:custDataLst>
              </p:nvPr>
            </p:nvSpPr>
            <p:spPr bwMode="gray">
              <a:xfrm>
                <a:off x="1694" y="2051"/>
                <a:ext cx="160" cy="160"/>
              </a:xfrm>
              <a:prstGeom prst="arc">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grpSp>
        <p:grpSp>
          <p:nvGrpSpPr>
            <p:cNvPr id="82" name="MoonLegend4"/>
            <p:cNvGrpSpPr>
              <a:grpSpLocks noChangeAspect="1"/>
            </p:cNvGrpSpPr>
            <p:nvPr>
              <p:custDataLst>
                <p:tags r:id="rId11"/>
              </p:custDataLst>
            </p:nvPr>
          </p:nvGrpSpPr>
          <p:grpSpPr bwMode="gray">
            <a:xfrm>
              <a:off x="5894005" y="3524395"/>
              <a:ext cx="209550" cy="209551"/>
              <a:chOff x="4495" y="1204"/>
              <a:chExt cx="160" cy="160"/>
            </a:xfrm>
          </p:grpSpPr>
          <p:sp>
            <p:nvSpPr>
              <p:cNvPr id="94" name="Oval 47"/>
              <p:cNvSpPr>
                <a:spLocks noChangeAspect="1" noChangeArrowheads="1"/>
              </p:cNvSpPr>
              <p:nvPr>
                <p:custDataLst>
                  <p:tags r:id="rId23"/>
                </p:custDataLst>
              </p:nvPr>
            </p:nvSpPr>
            <p:spPr bwMode="gray">
              <a:xfrm>
                <a:off x="4495" y="120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95" name="Arc 48"/>
              <p:cNvSpPr>
                <a:spLocks noChangeAspect="1"/>
              </p:cNvSpPr>
              <p:nvPr>
                <p:custDataLst>
                  <p:tags r:id="rId24"/>
                </p:custDataLst>
              </p:nvPr>
            </p:nvSpPr>
            <p:spPr bwMode="gray">
              <a:xfrm>
                <a:off x="4495" y="1204"/>
                <a:ext cx="160" cy="160"/>
              </a:xfrm>
              <a:prstGeom prst="arc">
                <a:avLst>
                  <a:gd name="adj1" fmla="val 16200000"/>
                  <a:gd name="adj2" fmla="val 108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grpSp>
        <p:grpSp>
          <p:nvGrpSpPr>
            <p:cNvPr id="83" name="MoonLegend5"/>
            <p:cNvGrpSpPr>
              <a:grpSpLocks noChangeAspect="1"/>
            </p:cNvGrpSpPr>
            <p:nvPr>
              <p:custDataLst>
                <p:tags r:id="rId12"/>
              </p:custDataLst>
            </p:nvPr>
          </p:nvGrpSpPr>
          <p:grpSpPr bwMode="gray">
            <a:xfrm>
              <a:off x="5894005" y="3799629"/>
              <a:ext cx="209550" cy="209551"/>
              <a:chOff x="4495" y="1447"/>
              <a:chExt cx="160" cy="160"/>
            </a:xfrm>
          </p:grpSpPr>
          <p:sp>
            <p:nvSpPr>
              <p:cNvPr id="92" name="Oval 50"/>
              <p:cNvSpPr>
                <a:spLocks noChangeAspect="1" noChangeArrowheads="1"/>
              </p:cNvSpPr>
              <p:nvPr>
                <p:custDataLst>
                  <p:tags r:id="rId21"/>
                </p:custDataLst>
              </p:nvPr>
            </p:nvSpPr>
            <p:spPr bwMode="gray">
              <a:xfrm>
                <a:off x="4495" y="1447"/>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93" name="Oval 51"/>
              <p:cNvSpPr>
                <a:spLocks noChangeAspect="1" noChangeArrowheads="1"/>
              </p:cNvSpPr>
              <p:nvPr>
                <p:custDataLst>
                  <p:tags r:id="rId22"/>
                </p:custDataLst>
              </p:nvPr>
            </p:nvSpPr>
            <p:spPr bwMode="gray">
              <a:xfrm>
                <a:off x="4495" y="1447"/>
                <a:ext cx="160" cy="160"/>
              </a:xfrm>
              <a:prstGeom prst="arc">
                <a:avLst>
                  <a:gd name="adj1" fmla="val 16200000"/>
                  <a:gd name="adj2" fmla="val 162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grpSp>
        <p:grpSp>
          <p:nvGrpSpPr>
            <p:cNvPr id="84" name="MoonLegend3"/>
            <p:cNvGrpSpPr>
              <a:grpSpLocks noChangeAspect="1"/>
            </p:cNvGrpSpPr>
            <p:nvPr>
              <p:custDataLst>
                <p:tags r:id="rId13"/>
              </p:custDataLst>
            </p:nvPr>
          </p:nvGrpSpPr>
          <p:grpSpPr bwMode="gray">
            <a:xfrm>
              <a:off x="5894005" y="3251543"/>
              <a:ext cx="209550" cy="209551"/>
              <a:chOff x="4495" y="1205"/>
              <a:chExt cx="160" cy="160"/>
            </a:xfrm>
          </p:grpSpPr>
          <p:sp>
            <p:nvSpPr>
              <p:cNvPr id="90" name="Oval 47"/>
              <p:cNvSpPr>
                <a:spLocks noChangeAspect="1" noChangeArrowheads="1"/>
              </p:cNvSpPr>
              <p:nvPr>
                <p:custDataLst>
                  <p:tags r:id="rId19"/>
                </p:custDataLst>
              </p:nvPr>
            </p:nvSpPr>
            <p:spPr bwMode="gray">
              <a:xfrm>
                <a:off x="4495" y="1205"/>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91" name="Arc 48"/>
              <p:cNvSpPr>
                <a:spLocks noChangeAspect="1"/>
              </p:cNvSpPr>
              <p:nvPr>
                <p:custDataLst>
                  <p:tags r:id="rId20"/>
                </p:custDataLst>
              </p:nvPr>
            </p:nvSpPr>
            <p:spPr bwMode="gray">
              <a:xfrm>
                <a:off x="4495" y="1205"/>
                <a:ext cx="160" cy="160"/>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grpSp>
        <p:sp>
          <p:nvSpPr>
            <p:cNvPr id="85" name="Legend1"/>
            <p:cNvSpPr>
              <a:spLocks noChangeArrowheads="1"/>
            </p:cNvSpPr>
            <p:nvPr>
              <p:custDataLst>
                <p:tags r:id="rId14"/>
              </p:custDataLst>
            </p:nvPr>
          </p:nvSpPr>
          <p:spPr bwMode="gray">
            <a:xfrm>
              <a:off x="6214680" y="2696542"/>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sp>
          <p:nvSpPr>
            <p:cNvPr id="86" name="Legend2"/>
            <p:cNvSpPr>
              <a:spLocks noChangeArrowheads="1"/>
            </p:cNvSpPr>
            <p:nvPr>
              <p:custDataLst>
                <p:tags r:id="rId15"/>
              </p:custDataLst>
            </p:nvPr>
          </p:nvSpPr>
          <p:spPr bwMode="gray">
            <a:xfrm>
              <a:off x="6214680" y="2974156"/>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a:latin typeface="+mn-lt"/>
                  <a:ea typeface="+mn-ea"/>
                </a:rPr>
                <a:t>Legend</a:t>
              </a:r>
              <a:endParaRPr lang="en-US" sz="1400" baseline="0" dirty="0">
                <a:latin typeface="+mn-lt"/>
                <a:ea typeface="+mn-ea"/>
              </a:endParaRPr>
            </a:p>
          </p:txBody>
        </p:sp>
        <p:sp>
          <p:nvSpPr>
            <p:cNvPr id="87" name="Legend3"/>
            <p:cNvSpPr>
              <a:spLocks noChangeArrowheads="1"/>
            </p:cNvSpPr>
            <p:nvPr>
              <p:custDataLst>
                <p:tags r:id="rId16"/>
              </p:custDataLst>
            </p:nvPr>
          </p:nvSpPr>
          <p:spPr bwMode="gray">
            <a:xfrm>
              <a:off x="6214680" y="3248596"/>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sp>
          <p:nvSpPr>
            <p:cNvPr id="88" name="Legend4"/>
            <p:cNvSpPr>
              <a:spLocks noChangeArrowheads="1"/>
            </p:cNvSpPr>
            <p:nvPr>
              <p:custDataLst>
                <p:tags r:id="rId17"/>
              </p:custDataLst>
            </p:nvPr>
          </p:nvSpPr>
          <p:spPr bwMode="gray">
            <a:xfrm>
              <a:off x="6214680" y="3521448"/>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sp>
          <p:nvSpPr>
            <p:cNvPr id="89" name="Legend5"/>
            <p:cNvSpPr>
              <a:spLocks noChangeArrowheads="1"/>
            </p:cNvSpPr>
            <p:nvPr>
              <p:custDataLst>
                <p:tags r:id="rId18"/>
              </p:custDataLst>
            </p:nvPr>
          </p:nvSpPr>
          <p:spPr bwMode="gray">
            <a:xfrm>
              <a:off x="6214680" y="3796682"/>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a:latin typeface="+mn-lt"/>
                  <a:ea typeface="+mn-ea"/>
                </a:rPr>
                <a:t>Legend</a:t>
              </a:r>
              <a:endParaRPr lang="en-US" sz="1400" baseline="0" dirty="0">
                <a:latin typeface="+mn-lt"/>
                <a:ea typeface="+mn-ea"/>
              </a:endParaRPr>
            </a:p>
          </p:txBody>
        </p:sp>
      </p:grpSp>
    </p:spTree>
    <p:extLst>
      <p:ext uri="{BB962C8B-B14F-4D97-AF65-F5344CB8AC3E}">
        <p14:creationId xmlns:p14="http://schemas.microsoft.com/office/powerpoint/2010/main" val="2696392440"/>
      </p:ext>
    </p:extLst>
  </p:cSld>
  <p:clrMap bg1="lt1" tx1="dk1" bg2="lt2" tx2="dk2" accent1="accent1" accent2="accent2" accent3="accent3" accent4="accent4" accent5="accent5" accent6="accent6" hlink="hlink" folHlink="folHlink"/>
  <p:sldLayoutIdLst>
    <p:sldLayoutId id="2147483706" r:id="rId1"/>
    <p:sldLayoutId id="2147483707" r:id="rId2"/>
    <p:sldLayoutId id="2147483708" r:id="rId3"/>
    <p:sldLayoutId id="2147483709" r:id="rId4"/>
  </p:sldLayoutIdLst>
  <p:txStyles>
    <p:titleStyle>
      <a:lvl1pPr algn="l" defTabSz="895350" rtl="0" eaLnBrk="1" fontAlgn="base" hangingPunct="1">
        <a:spcBef>
          <a:spcPct val="0"/>
        </a:spcBef>
        <a:spcAft>
          <a:spcPct val="0"/>
        </a:spcAft>
        <a:tabLst>
          <a:tab pos="269875" algn="l"/>
        </a:tabLst>
        <a:defRPr sz="2000" b="0" baseline="0">
          <a:solidFill>
            <a:schemeClr val="tx2"/>
          </a:solidFill>
          <a:latin typeface="+mj-lt"/>
          <a:ea typeface="+mj-ea"/>
          <a:cs typeface="+mj-cs"/>
        </a:defRPr>
      </a:lvl1pPr>
      <a:lvl2pPr algn="l" defTabSz="895350" rtl="0" eaLnBrk="1" fontAlgn="base" hangingPunct="1">
        <a:spcBef>
          <a:spcPct val="0"/>
        </a:spcBef>
        <a:spcAft>
          <a:spcPct val="0"/>
        </a:spcAft>
        <a:defRPr sz="1900" b="1">
          <a:solidFill>
            <a:schemeClr val="tx2"/>
          </a:solidFill>
          <a:latin typeface="Arial" charset="0"/>
        </a:defRPr>
      </a:lvl2pPr>
      <a:lvl3pPr algn="l" defTabSz="895350" rtl="0" eaLnBrk="1" fontAlgn="base" hangingPunct="1">
        <a:spcBef>
          <a:spcPct val="0"/>
        </a:spcBef>
        <a:spcAft>
          <a:spcPct val="0"/>
        </a:spcAft>
        <a:defRPr sz="1900" b="1">
          <a:solidFill>
            <a:schemeClr val="tx2"/>
          </a:solidFill>
          <a:latin typeface="Arial" charset="0"/>
        </a:defRPr>
      </a:lvl3pPr>
      <a:lvl4pPr algn="l" defTabSz="895350" rtl="0" eaLnBrk="1" fontAlgn="base" hangingPunct="1">
        <a:spcBef>
          <a:spcPct val="0"/>
        </a:spcBef>
        <a:spcAft>
          <a:spcPct val="0"/>
        </a:spcAft>
        <a:defRPr sz="1900" b="1">
          <a:solidFill>
            <a:schemeClr val="tx2"/>
          </a:solidFill>
          <a:latin typeface="Arial" charset="0"/>
        </a:defRPr>
      </a:lvl4pPr>
      <a:lvl5pPr algn="l" defTabSz="895350" rtl="0" eaLnBrk="1" fontAlgn="base" hangingPunct="1">
        <a:spcBef>
          <a:spcPct val="0"/>
        </a:spcBef>
        <a:spcAft>
          <a:spcPct val="0"/>
        </a:spcAft>
        <a:defRPr sz="1900" b="1">
          <a:solidFill>
            <a:schemeClr val="tx2"/>
          </a:solidFill>
          <a:latin typeface="Arial" charset="0"/>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p:titleStyle>
    <p:bodyStyle>
      <a:lvl1pPr marL="0" indent="0" algn="l" defTabSz="895350" rtl="0" eaLnBrk="1" fontAlgn="base" hangingPunct="1">
        <a:spcBef>
          <a:spcPct val="0"/>
        </a:spcBef>
        <a:spcAft>
          <a:spcPct val="0"/>
        </a:spcAft>
        <a:buClr>
          <a:schemeClr val="tx2"/>
        </a:buClr>
        <a:buSzPct val="100000"/>
        <a:defRPr sz="14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4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4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4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4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7"/>
            </p:custDataLst>
            <p:extLst>
              <p:ext uri="{D42A27DB-BD31-4B8C-83A1-F6EECF244321}">
                <p14:modId xmlns:p14="http://schemas.microsoft.com/office/powerpoint/2010/main" val="3581376001"/>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2004" name="think-cell Slide" r:id="rId36" imgW="270" imgH="270" progId="TCLayout.ActiveDocument.1">
                  <p:embed/>
                </p:oleObj>
              </mc:Choice>
              <mc:Fallback>
                <p:oleObj name="think-cell Slide" r:id="rId36" imgW="270" imgH="270" progId="TCLayout.ActiveDocument.1">
                  <p:embed/>
                  <p:pic>
                    <p:nvPicPr>
                      <p:cNvPr id="2" name="Object 1" hidden="1"/>
                      <p:cNvPicPr/>
                      <p:nvPr/>
                    </p:nvPicPr>
                    <p:blipFill>
                      <a:blip r:embed="rId37"/>
                      <a:stretch>
                        <a:fillRect/>
                      </a:stretch>
                    </p:blipFill>
                    <p:spPr>
                      <a:xfrm>
                        <a:off x="0" y="0"/>
                        <a:ext cx="158750" cy="158750"/>
                      </a:xfrm>
                      <a:prstGeom prst="rect">
                        <a:avLst/>
                      </a:prstGeom>
                    </p:spPr>
                  </p:pic>
                </p:oleObj>
              </mc:Fallback>
            </mc:AlternateContent>
          </a:graphicData>
        </a:graphic>
      </p:graphicFrame>
      <p:sp>
        <p:nvSpPr>
          <p:cNvPr id="6" name="Rectangle 5" hidden="1"/>
          <p:cNvSpPr/>
          <p:nvPr>
            <p:custDataLst>
              <p:tags r:id="rId8"/>
            </p:custDataLst>
          </p:nvPr>
        </p:nvSpPr>
        <p:spPr bwMode="auto">
          <a:xfrm>
            <a:off x="0" y="0"/>
            <a:ext cx="158750" cy="158750"/>
          </a:xfrm>
          <a:prstGeom prst="rect">
            <a:avLst/>
          </a:prstGeom>
          <a:solidFill>
            <a:schemeClr val="bg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dirty="0">
              <a:solidFill>
                <a:srgbClr val="000000"/>
              </a:solidFill>
              <a:sym typeface="Arial" panose="020B0604020202020204" pitchFamily="34" charset="0"/>
            </a:endParaRPr>
          </a:p>
        </p:txBody>
      </p:sp>
      <p:sp>
        <p:nvSpPr>
          <p:cNvPr id="1034" name="Working Draft" hidden="1"/>
          <p:cNvSpPr txBox="1">
            <a:spLocks noChangeArrowheads="1"/>
          </p:cNvSpPr>
          <p:nvPr/>
        </p:nvSpPr>
        <p:spPr bwMode="gray">
          <a:xfrm rot="5400000">
            <a:off x="7966656" y="1940591"/>
            <a:ext cx="1849865"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600" baseline="0">
                <a:solidFill>
                  <a:srgbClr val="808080"/>
                </a:solidFill>
                <a:latin typeface="+mn-lt"/>
                <a:ea typeface="+mn-ea"/>
              </a:rPr>
              <a:t>Last Modified 21/05/2018 17:44 India Standard Time</a:t>
            </a:r>
            <a:endParaRPr lang="en-US" baseline="0" dirty="0">
              <a:solidFill>
                <a:srgbClr val="808080"/>
              </a:solidFill>
              <a:latin typeface="+mn-lt"/>
              <a:ea typeface="+mn-ea"/>
            </a:endParaRPr>
          </a:p>
        </p:txBody>
      </p:sp>
      <p:sp>
        <p:nvSpPr>
          <p:cNvPr id="1035" name="Printed" hidden="1"/>
          <p:cNvSpPr txBox="1">
            <a:spLocks noChangeArrowheads="1"/>
          </p:cNvSpPr>
          <p:nvPr/>
        </p:nvSpPr>
        <p:spPr bwMode="gray">
          <a:xfrm rot="5400000">
            <a:off x="8768958" y="4114417"/>
            <a:ext cx="245260"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600" baseline="0" dirty="0">
                <a:solidFill>
                  <a:srgbClr val="808080"/>
                </a:solidFill>
                <a:latin typeface="+mn-lt"/>
                <a:ea typeface="+mn-ea"/>
              </a:rPr>
              <a:t>Printed</a:t>
            </a:r>
            <a:endParaRPr lang="en-US" baseline="0" dirty="0">
              <a:solidFill>
                <a:srgbClr val="808080"/>
              </a:solidFill>
              <a:latin typeface="+mn-lt"/>
              <a:ea typeface="+mn-ea"/>
            </a:endParaRPr>
          </a:p>
        </p:txBody>
      </p:sp>
      <p:sp>
        <p:nvSpPr>
          <p:cNvPr id="19" name="Title Placeholder 2"/>
          <p:cNvSpPr>
            <a:spLocks noGrp="1" noChangeArrowheads="1"/>
          </p:cNvSpPr>
          <p:nvPr>
            <p:ph type="title"/>
          </p:nvPr>
        </p:nvSpPr>
        <p:spPr bwMode="gray">
          <a:xfrm>
            <a:off x="119063" y="230188"/>
            <a:ext cx="8618537"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latinLnBrk="0"/>
            <a:r>
              <a:rPr lang="en-US"/>
              <a:t>Click to edit Master title style</a:t>
            </a:r>
            <a:endParaRPr lang="en-US" noProof="0" dirty="0"/>
          </a:p>
        </p:txBody>
      </p:sp>
      <p:sp>
        <p:nvSpPr>
          <p:cNvPr id="10" name="1. On-page tracker" hidden="1"/>
          <p:cNvSpPr>
            <a:spLocks noChangeArrowheads="1"/>
          </p:cNvSpPr>
          <p:nvPr/>
        </p:nvSpPr>
        <p:spPr bwMode="gray">
          <a:xfrm>
            <a:off x="119063" y="75764"/>
            <a:ext cx="490519"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800" cap="all" baseline="0" dirty="0">
                <a:solidFill>
                  <a:schemeClr val="accent6"/>
                </a:solidFill>
                <a:latin typeface="+mn-lt"/>
                <a:ea typeface="+mn-ea"/>
              </a:rPr>
              <a:t>Tracker</a:t>
            </a:r>
          </a:p>
        </p:txBody>
      </p:sp>
      <p:sp>
        <p:nvSpPr>
          <p:cNvPr id="11" name="3. Unit of measure" hidden="1"/>
          <p:cNvSpPr txBox="1">
            <a:spLocks noChangeArrowheads="1"/>
          </p:cNvSpPr>
          <p:nvPr/>
        </p:nvSpPr>
        <p:spPr bwMode="gray">
          <a:xfrm>
            <a:off x="119063" y="554865"/>
            <a:ext cx="8618537"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600" baseline="0" dirty="0">
                <a:solidFill>
                  <a:schemeClr val="accent6"/>
                </a:solidFill>
                <a:latin typeface="+mn-lt"/>
                <a:ea typeface="+mn-ea"/>
              </a:rPr>
              <a:t>Unit of measure</a:t>
            </a:r>
          </a:p>
        </p:txBody>
      </p:sp>
      <p:grpSp>
        <p:nvGrpSpPr>
          <p:cNvPr id="4" name="Slide Elements" hidden="1"/>
          <p:cNvGrpSpPr/>
          <p:nvPr/>
        </p:nvGrpSpPr>
        <p:grpSpPr bwMode="gray">
          <a:xfrm>
            <a:off x="119063" y="6305945"/>
            <a:ext cx="8618537" cy="325438"/>
            <a:chOff x="119063" y="6305945"/>
            <a:chExt cx="8618537" cy="325438"/>
          </a:xfrm>
        </p:grpSpPr>
        <p:sp>
          <p:nvSpPr>
            <p:cNvPr id="13" name="4. Footnote"/>
            <p:cNvSpPr txBox="1">
              <a:spLocks noChangeArrowheads="1"/>
            </p:cNvSpPr>
            <p:nvPr/>
          </p:nvSpPr>
          <p:spPr bwMode="gray">
            <a:xfrm>
              <a:off x="119063" y="6305945"/>
              <a:ext cx="8618537" cy="123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800" baseline="0" dirty="0">
                  <a:solidFill>
                    <a:schemeClr val="accent6"/>
                  </a:solidFill>
                  <a:latin typeface="+mn-lt"/>
                  <a:ea typeface="+mn-ea"/>
                </a:rPr>
                <a:t>1 Footnote</a:t>
              </a:r>
            </a:p>
          </p:txBody>
        </p:sp>
        <p:sp>
          <p:nvSpPr>
            <p:cNvPr id="14" name="5. Source"/>
            <p:cNvSpPr>
              <a:spLocks noChangeArrowheads="1"/>
            </p:cNvSpPr>
            <p:nvPr/>
          </p:nvSpPr>
          <p:spPr bwMode="gray">
            <a:xfrm>
              <a:off x="119063" y="6507558"/>
              <a:ext cx="7200000" cy="123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marL="609600" indent="-609600" defTabSz="895350">
                <a:tabLst>
                  <a:tab pos="612775" algn="l"/>
                </a:tabLst>
              </a:pPr>
              <a:r>
                <a:rPr lang="en-US" sz="800" baseline="0" dirty="0">
                  <a:solidFill>
                    <a:schemeClr val="accent6"/>
                  </a:solidFill>
                  <a:latin typeface="+mn-lt"/>
                  <a:ea typeface="+mn-ea"/>
                </a:rPr>
                <a:t>SOURCE: Source</a:t>
              </a:r>
            </a:p>
          </p:txBody>
        </p:sp>
      </p:grpSp>
      <p:sp>
        <p:nvSpPr>
          <p:cNvPr id="3" name="Text Placeholder 2"/>
          <p:cNvSpPr>
            <a:spLocks noGrp="1"/>
          </p:cNvSpPr>
          <p:nvPr>
            <p:ph type="body" idx="1"/>
          </p:nvPr>
        </p:nvSpPr>
        <p:spPr bwMode="gray">
          <a:xfrm>
            <a:off x="1452564" y="1951380"/>
            <a:ext cx="4302125" cy="1077218"/>
          </a:xfrm>
          <a:prstGeom prst="rect">
            <a:avLst/>
          </a:prstGeom>
        </p:spPr>
        <p:txBody>
          <a:bodyPr vert="horz" lIns="0" tIns="0" rIns="0" bIns="0" rtlCol="0">
            <a:spAutoFit/>
          </a:bodyPr>
          <a:lstStyle/>
          <a:p>
            <a:pPr lvl="0" latinLnBrk="0"/>
            <a:r>
              <a:rPr lang="en-US"/>
              <a:t>Edit Master text styles</a:t>
            </a:r>
          </a:p>
          <a:p>
            <a:pPr lvl="1" latinLnBrk="0"/>
            <a:r>
              <a:rPr lang="en-US"/>
              <a:t>Second level</a:t>
            </a:r>
          </a:p>
          <a:p>
            <a:pPr lvl="2" latinLnBrk="0"/>
            <a:r>
              <a:rPr lang="en-US"/>
              <a:t>Third level</a:t>
            </a:r>
          </a:p>
          <a:p>
            <a:pPr lvl="3" latinLnBrk="0"/>
            <a:r>
              <a:rPr lang="en-US"/>
              <a:t>Fourth level</a:t>
            </a:r>
          </a:p>
          <a:p>
            <a:pPr lvl="4" latinLnBrk="0"/>
            <a:r>
              <a:rPr lang="en-US"/>
              <a:t>Fifth level</a:t>
            </a:r>
            <a:endParaRPr lang="en-US" dirty="0"/>
          </a:p>
        </p:txBody>
      </p:sp>
      <p:grpSp>
        <p:nvGrpSpPr>
          <p:cNvPr id="15" name="ACET" hidden="1"/>
          <p:cNvGrpSpPr>
            <a:grpSpLocks/>
          </p:cNvGrpSpPr>
          <p:nvPr/>
        </p:nvGrpSpPr>
        <p:grpSpPr bwMode="gray">
          <a:xfrm>
            <a:off x="1452563" y="1257754"/>
            <a:ext cx="4264025" cy="508000"/>
            <a:chOff x="915" y="710"/>
            <a:chExt cx="2686" cy="320"/>
          </a:xfrm>
        </p:grpSpPr>
        <p:cxnSp>
          <p:nvCxnSpPr>
            <p:cNvPr id="16" name="AutoShape 249"/>
            <p:cNvCxnSpPr>
              <a:cxnSpLocks noChangeShapeType="1"/>
              <a:stCxn id="18" idx="4"/>
              <a:endCxn id="18" idx="6"/>
            </p:cNvCxnSpPr>
            <p:nvPr/>
          </p:nvCxnSpPr>
          <p:spPr bwMode="gray">
            <a:xfrm>
              <a:off x="915" y="1030"/>
              <a:ext cx="2686" cy="0"/>
            </a:xfrm>
            <a:prstGeom prst="straightConnector1">
              <a:avLst/>
            </a:prstGeom>
            <a:noFill/>
            <a:ln w="9525">
              <a:solidFill>
                <a:schemeClr val="accent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8" name="AutoShape 250"/>
            <p:cNvSpPr>
              <a:spLocks noChangeArrowheads="1"/>
            </p:cNvSpPr>
            <p:nvPr/>
          </p:nvSpPr>
          <p:spPr bwMode="gray">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US" b="1" baseline="0" dirty="0">
                  <a:solidFill>
                    <a:srgbClr val="000000"/>
                  </a:solidFill>
                  <a:latin typeface="+mn-lt"/>
                  <a:ea typeface="+mn-ea"/>
                </a:rPr>
                <a:t>Title</a:t>
              </a:r>
            </a:p>
            <a:p>
              <a:r>
                <a:rPr lang="en-US" baseline="0" dirty="0">
                  <a:solidFill>
                    <a:schemeClr val="accent6"/>
                  </a:solidFill>
                  <a:latin typeface="+mn-lt"/>
                  <a:ea typeface="+mn-ea"/>
                </a:rPr>
                <a:t>Unit of measure</a:t>
              </a:r>
            </a:p>
          </p:txBody>
        </p:sp>
      </p:grpSp>
      <p:grpSp>
        <p:nvGrpSpPr>
          <p:cNvPr id="17" name="McKSticker" hidden="1"/>
          <p:cNvGrpSpPr/>
          <p:nvPr/>
        </p:nvGrpSpPr>
        <p:grpSpPr bwMode="gray">
          <a:xfrm>
            <a:off x="8264265" y="285750"/>
            <a:ext cx="473335" cy="150811"/>
            <a:chOff x="8267440" y="285750"/>
            <a:chExt cx="473335" cy="150811"/>
          </a:xfrm>
        </p:grpSpPr>
        <p:sp>
          <p:nvSpPr>
            <p:cNvPr id="20" name="StickerRectangle"/>
            <p:cNvSpPr>
              <a:spLocks noChangeArrowheads="1"/>
            </p:cNvSpPr>
            <p:nvPr/>
          </p:nvSpPr>
          <p:spPr bwMode="gray">
            <a:xfrm>
              <a:off x="8267440" y="285750"/>
              <a:ext cx="473335" cy="150811"/>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a:buClr>
                  <a:srgbClr val="002960"/>
                </a:buClr>
              </a:pPr>
              <a:r>
                <a:rPr lang="en-US" sz="800" baseline="0" dirty="0">
                  <a:solidFill>
                    <a:schemeClr val="accent6"/>
                  </a:solidFill>
                  <a:latin typeface="+mn-lt"/>
                  <a:ea typeface="+mn-ea"/>
                </a:rPr>
                <a:t>STICKER</a:t>
              </a:r>
            </a:p>
          </p:txBody>
        </p:sp>
        <p:cxnSp>
          <p:nvCxnSpPr>
            <p:cNvPr id="21" name="AutoShape 31"/>
            <p:cNvCxnSpPr>
              <a:cxnSpLocks noChangeShapeType="1"/>
              <a:stCxn id="20" idx="2"/>
              <a:endCxn id="20" idx="4"/>
            </p:cNvCxnSpPr>
            <p:nvPr/>
          </p:nvCxnSpPr>
          <p:spPr bwMode="gray">
            <a:xfrm>
              <a:off x="8267440" y="285750"/>
              <a:ext cx="0" cy="150811"/>
            </a:xfrm>
            <a:prstGeom prst="straightConnector1">
              <a:avLst/>
            </a:prstGeom>
            <a:noFill/>
            <a:ln w="9525">
              <a:solidFill>
                <a:schemeClr val="accent6"/>
              </a:solidFill>
              <a:round/>
              <a:headEnd/>
              <a:tailEnd/>
            </a:ln>
            <a:extLst>
              <a:ext uri="{909E8E84-426E-40DD-AFC4-6F175D3DCCD1}">
                <a14:hiddenFill xmlns:a14="http://schemas.microsoft.com/office/drawing/2010/main">
                  <a:noFill/>
                </a14:hiddenFill>
              </a:ext>
            </a:extLst>
          </p:spPr>
        </p:cxnSp>
        <p:cxnSp>
          <p:nvCxnSpPr>
            <p:cNvPr id="22" name="AutoShape 32"/>
            <p:cNvCxnSpPr>
              <a:cxnSpLocks noChangeShapeType="1"/>
              <a:stCxn id="20" idx="4"/>
              <a:endCxn id="20" idx="6"/>
            </p:cNvCxnSpPr>
            <p:nvPr/>
          </p:nvCxnSpPr>
          <p:spPr bwMode="gray">
            <a:xfrm>
              <a:off x="8267440" y="436561"/>
              <a:ext cx="473335" cy="0"/>
            </a:xfrm>
            <a:prstGeom prst="straightConnector1">
              <a:avLst/>
            </a:prstGeom>
            <a:noFill/>
            <a:ln w="25400">
              <a:solidFill>
                <a:schemeClr val="accent6"/>
              </a:solidFill>
              <a:round/>
              <a:headEnd/>
              <a:tailEnd/>
            </a:ln>
            <a:extLst>
              <a:ext uri="{909E8E84-426E-40DD-AFC4-6F175D3DCCD1}">
                <a14:hiddenFill xmlns:a14="http://schemas.microsoft.com/office/drawing/2010/main">
                  <a:noFill/>
                </a14:hiddenFill>
              </a:ext>
            </a:extLst>
          </p:spPr>
        </p:cxnSp>
      </p:grpSp>
      <p:sp>
        <p:nvSpPr>
          <p:cNvPr id="23" name="SlideBottomBar" hidden="1"/>
          <p:cNvSpPr/>
          <p:nvPr/>
        </p:nvSpPr>
        <p:spPr>
          <a:xfrm>
            <a:off x="8437547" y="6182120"/>
            <a:ext cx="45719" cy="123825"/>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aseline="0" dirty="0">
              <a:solidFill>
                <a:schemeClr val="tx1"/>
              </a:solidFill>
              <a:latin typeface="+mn-lt"/>
              <a:ea typeface="+mn-ea"/>
            </a:endParaRPr>
          </a:p>
        </p:txBody>
      </p:sp>
      <p:sp>
        <p:nvSpPr>
          <p:cNvPr id="24" name="doc id" hidden="1"/>
          <p:cNvSpPr txBox="1">
            <a:spLocks noChangeArrowheads="1"/>
          </p:cNvSpPr>
          <p:nvPr/>
        </p:nvSpPr>
        <p:spPr bwMode="white">
          <a:xfrm>
            <a:off x="8104473" y="36513"/>
            <a:ext cx="634716" cy="115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hangingPunct="1">
              <a:defRPr/>
            </a:pPr>
            <a:endParaRPr lang="en-US" sz="800" baseline="0" dirty="0">
              <a:solidFill>
                <a:schemeClr val="accent1"/>
              </a:solidFill>
              <a:latin typeface="+mn-lt"/>
              <a:ea typeface="+mn-ea"/>
            </a:endParaRPr>
          </a:p>
        </p:txBody>
      </p:sp>
      <p:grpSp>
        <p:nvGrpSpPr>
          <p:cNvPr id="63" name="LegendLines" hidden="1"/>
          <p:cNvGrpSpPr/>
          <p:nvPr/>
        </p:nvGrpSpPr>
        <p:grpSpPr>
          <a:xfrm>
            <a:off x="7551589" y="267815"/>
            <a:ext cx="1158292" cy="761545"/>
            <a:chOff x="7607284" y="279400"/>
            <a:chExt cx="1158292" cy="761545"/>
          </a:xfrm>
        </p:grpSpPr>
        <p:sp>
          <p:nvSpPr>
            <p:cNvPr id="64" name="LineLegend1"/>
            <p:cNvSpPr>
              <a:spLocks noChangeShapeType="1"/>
            </p:cNvSpPr>
            <p:nvPr/>
          </p:nvSpPr>
          <p:spPr bwMode="gray">
            <a:xfrm>
              <a:off x="7607284" y="387122"/>
              <a:ext cx="457200"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65" name="LineLegend2"/>
            <p:cNvSpPr>
              <a:spLocks noChangeShapeType="1"/>
            </p:cNvSpPr>
            <p:nvPr/>
          </p:nvSpPr>
          <p:spPr bwMode="gray">
            <a:xfrm>
              <a:off x="7607284" y="653822"/>
              <a:ext cx="457200"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66" name="LineLegend3"/>
            <p:cNvSpPr>
              <a:spLocks noChangeShapeType="1"/>
            </p:cNvSpPr>
            <p:nvPr/>
          </p:nvSpPr>
          <p:spPr bwMode="gray">
            <a:xfrm>
              <a:off x="7607284" y="933223"/>
              <a:ext cx="457200"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67" name="Legend1"/>
            <p:cNvSpPr>
              <a:spLocks noChangeArrowheads="1"/>
            </p:cNvSpPr>
            <p:nvPr>
              <p:custDataLst>
                <p:tags r:id="rId33"/>
              </p:custDataLst>
            </p:nvPr>
          </p:nvSpPr>
          <p:spPr bwMode="gray">
            <a:xfrm>
              <a:off x="8169259" y="279400"/>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sp>
          <p:nvSpPr>
            <p:cNvPr id="68" name="Legend2"/>
            <p:cNvSpPr>
              <a:spLocks noChangeArrowheads="1"/>
            </p:cNvSpPr>
            <p:nvPr>
              <p:custDataLst>
                <p:tags r:id="rId34"/>
              </p:custDataLst>
            </p:nvPr>
          </p:nvSpPr>
          <p:spPr bwMode="gray">
            <a:xfrm>
              <a:off x="8169259" y="546100"/>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a:latin typeface="+mn-lt"/>
                  <a:ea typeface="+mn-ea"/>
                </a:rPr>
                <a:t>Legend</a:t>
              </a:r>
              <a:endParaRPr lang="en-US" sz="1400" baseline="0" dirty="0">
                <a:latin typeface="+mn-lt"/>
                <a:ea typeface="+mn-ea"/>
              </a:endParaRPr>
            </a:p>
          </p:txBody>
        </p:sp>
        <p:sp>
          <p:nvSpPr>
            <p:cNvPr id="69" name="Legend3"/>
            <p:cNvSpPr>
              <a:spLocks noChangeArrowheads="1"/>
            </p:cNvSpPr>
            <p:nvPr>
              <p:custDataLst>
                <p:tags r:id="rId35"/>
              </p:custDataLst>
            </p:nvPr>
          </p:nvSpPr>
          <p:spPr bwMode="gray">
            <a:xfrm>
              <a:off x="8169259" y="825501"/>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grpSp>
      <p:grpSp>
        <p:nvGrpSpPr>
          <p:cNvPr id="70" name="LegendBoxes" hidden="1"/>
          <p:cNvGrpSpPr/>
          <p:nvPr/>
        </p:nvGrpSpPr>
        <p:grpSpPr>
          <a:xfrm>
            <a:off x="7859564" y="267919"/>
            <a:ext cx="850317" cy="1028245"/>
            <a:chOff x="5894005" y="919828"/>
            <a:chExt cx="850317" cy="1028245"/>
          </a:xfrm>
        </p:grpSpPr>
        <p:sp>
          <p:nvSpPr>
            <p:cNvPr id="71" name="RectangleLegend1"/>
            <p:cNvSpPr>
              <a:spLocks noChangeArrowheads="1"/>
            </p:cNvSpPr>
            <p:nvPr/>
          </p:nvSpPr>
          <p:spPr bwMode="gray">
            <a:xfrm>
              <a:off x="5894005" y="947381"/>
              <a:ext cx="165100" cy="160338"/>
            </a:xfrm>
            <a:prstGeom prst="rect">
              <a:avLst/>
            </a:prstGeom>
            <a:solidFill>
              <a:schemeClr val="accent1"/>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72" name="RectangleLegend2"/>
            <p:cNvSpPr>
              <a:spLocks noChangeArrowheads="1"/>
            </p:cNvSpPr>
            <p:nvPr/>
          </p:nvSpPr>
          <p:spPr bwMode="gray">
            <a:xfrm>
              <a:off x="5894005" y="1217256"/>
              <a:ext cx="165100" cy="160338"/>
            </a:xfrm>
            <a:prstGeom prst="rect">
              <a:avLst/>
            </a:prstGeom>
            <a:solidFill>
              <a:schemeClr val="accent2"/>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73" name="RectangleLegend3"/>
            <p:cNvSpPr>
              <a:spLocks noChangeArrowheads="1"/>
            </p:cNvSpPr>
            <p:nvPr/>
          </p:nvSpPr>
          <p:spPr bwMode="gray">
            <a:xfrm>
              <a:off x="5894005" y="1488719"/>
              <a:ext cx="165100" cy="160338"/>
            </a:xfrm>
            <a:prstGeom prst="rect">
              <a:avLst/>
            </a:prstGeom>
            <a:solidFill>
              <a:schemeClr val="accent3"/>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74" name="RectangleLegend4"/>
            <p:cNvSpPr>
              <a:spLocks noChangeArrowheads="1"/>
            </p:cNvSpPr>
            <p:nvPr/>
          </p:nvSpPr>
          <p:spPr bwMode="gray">
            <a:xfrm>
              <a:off x="5894005" y="1760182"/>
              <a:ext cx="165100" cy="160338"/>
            </a:xfrm>
            <a:prstGeom prst="rect">
              <a:avLst/>
            </a:prstGeom>
            <a:solidFill>
              <a:schemeClr val="accent4"/>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75" name="Legend1"/>
            <p:cNvSpPr>
              <a:spLocks noChangeArrowheads="1"/>
            </p:cNvSpPr>
            <p:nvPr>
              <p:custDataLst>
                <p:tags r:id="rId29"/>
              </p:custDataLst>
            </p:nvPr>
          </p:nvSpPr>
          <p:spPr bwMode="gray">
            <a:xfrm>
              <a:off x="6148005" y="919828"/>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sp>
          <p:nvSpPr>
            <p:cNvPr id="76" name="Legend2"/>
            <p:cNvSpPr>
              <a:spLocks noChangeArrowheads="1"/>
            </p:cNvSpPr>
            <p:nvPr>
              <p:custDataLst>
                <p:tags r:id="rId30"/>
              </p:custDataLst>
            </p:nvPr>
          </p:nvSpPr>
          <p:spPr bwMode="gray">
            <a:xfrm>
              <a:off x="6148005" y="1189703"/>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sp>
          <p:nvSpPr>
            <p:cNvPr id="77" name="Legend3"/>
            <p:cNvSpPr>
              <a:spLocks noChangeArrowheads="1"/>
            </p:cNvSpPr>
            <p:nvPr>
              <p:custDataLst>
                <p:tags r:id="rId31"/>
              </p:custDataLst>
            </p:nvPr>
          </p:nvSpPr>
          <p:spPr bwMode="gray">
            <a:xfrm>
              <a:off x="6148005" y="1461166"/>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sp>
          <p:nvSpPr>
            <p:cNvPr id="78" name="Legend4"/>
            <p:cNvSpPr>
              <a:spLocks noChangeArrowheads="1"/>
            </p:cNvSpPr>
            <p:nvPr>
              <p:custDataLst>
                <p:tags r:id="rId32"/>
              </p:custDataLst>
            </p:nvPr>
          </p:nvSpPr>
          <p:spPr bwMode="gray">
            <a:xfrm>
              <a:off x="6148005" y="1732629"/>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grpSp>
      <p:grpSp>
        <p:nvGrpSpPr>
          <p:cNvPr id="79" name="LegendMoons" hidden="1"/>
          <p:cNvGrpSpPr/>
          <p:nvPr/>
        </p:nvGrpSpPr>
        <p:grpSpPr>
          <a:xfrm>
            <a:off x="7792889" y="267414"/>
            <a:ext cx="916992" cy="1317003"/>
            <a:chOff x="5894005" y="2695123"/>
            <a:chExt cx="916992" cy="1317003"/>
          </a:xfrm>
        </p:grpSpPr>
        <p:grpSp>
          <p:nvGrpSpPr>
            <p:cNvPr id="80" name="MoonLegend1"/>
            <p:cNvGrpSpPr>
              <a:grpSpLocks noChangeAspect="1"/>
            </p:cNvGrpSpPr>
            <p:nvPr>
              <p:custDataLst>
                <p:tags r:id="rId9"/>
              </p:custDataLst>
            </p:nvPr>
          </p:nvGrpSpPr>
          <p:grpSpPr bwMode="gray">
            <a:xfrm>
              <a:off x="5894005" y="2695123"/>
              <a:ext cx="209550" cy="218282"/>
              <a:chOff x="4533" y="183"/>
              <a:chExt cx="144" cy="150"/>
            </a:xfrm>
          </p:grpSpPr>
          <p:sp>
            <p:nvSpPr>
              <p:cNvPr id="98" name="Oval 97"/>
              <p:cNvSpPr>
                <a:spLocks noChangeAspect="1" noChangeArrowheads="1"/>
              </p:cNvSpPr>
              <p:nvPr>
                <p:custDataLst>
                  <p:tags r:id="rId27"/>
                </p:custDataLst>
              </p:nvPr>
            </p:nvSpPr>
            <p:spPr bwMode="gray">
              <a:xfrm>
                <a:off x="4533" y="189"/>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99" name="Arc 98" hidden="1"/>
              <p:cNvSpPr>
                <a:spLocks noChangeAspect="1"/>
              </p:cNvSpPr>
              <p:nvPr>
                <p:custDataLst>
                  <p:tags r:id="rId28"/>
                </p:custDataLst>
              </p:nvPr>
            </p:nvSpPr>
            <p:spPr bwMode="gray">
              <a:xfrm>
                <a:off x="4533" y="183"/>
                <a:ext cx="144" cy="144"/>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grpSp>
        <p:grpSp>
          <p:nvGrpSpPr>
            <p:cNvPr id="81" name="MoonLegend2"/>
            <p:cNvGrpSpPr>
              <a:grpSpLocks noChangeAspect="1"/>
            </p:cNvGrpSpPr>
            <p:nvPr>
              <p:custDataLst>
                <p:tags r:id="rId10"/>
              </p:custDataLst>
            </p:nvPr>
          </p:nvGrpSpPr>
          <p:grpSpPr bwMode="gray">
            <a:xfrm>
              <a:off x="5894005" y="2977103"/>
              <a:ext cx="209550" cy="209551"/>
              <a:chOff x="1694" y="2051"/>
              <a:chExt cx="160" cy="160"/>
            </a:xfrm>
          </p:grpSpPr>
          <p:sp>
            <p:nvSpPr>
              <p:cNvPr id="96" name="Oval 41"/>
              <p:cNvSpPr>
                <a:spLocks noChangeAspect="1" noChangeArrowheads="1"/>
              </p:cNvSpPr>
              <p:nvPr>
                <p:custDataLst>
                  <p:tags r:id="rId25"/>
                </p:custDataLst>
              </p:nvPr>
            </p:nvSpPr>
            <p:spPr bwMode="gray">
              <a:xfrm>
                <a:off x="1694" y="2051"/>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97" name="Arc 42"/>
              <p:cNvSpPr>
                <a:spLocks noChangeAspect="1"/>
              </p:cNvSpPr>
              <p:nvPr>
                <p:custDataLst>
                  <p:tags r:id="rId26"/>
                </p:custDataLst>
              </p:nvPr>
            </p:nvSpPr>
            <p:spPr bwMode="gray">
              <a:xfrm>
                <a:off x="1694" y="2051"/>
                <a:ext cx="160" cy="160"/>
              </a:xfrm>
              <a:prstGeom prst="arc">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grpSp>
        <p:grpSp>
          <p:nvGrpSpPr>
            <p:cNvPr id="82" name="MoonLegend4"/>
            <p:cNvGrpSpPr>
              <a:grpSpLocks noChangeAspect="1"/>
            </p:cNvGrpSpPr>
            <p:nvPr>
              <p:custDataLst>
                <p:tags r:id="rId11"/>
              </p:custDataLst>
            </p:nvPr>
          </p:nvGrpSpPr>
          <p:grpSpPr bwMode="gray">
            <a:xfrm>
              <a:off x="5894005" y="3524395"/>
              <a:ext cx="209550" cy="209551"/>
              <a:chOff x="4495" y="1204"/>
              <a:chExt cx="160" cy="160"/>
            </a:xfrm>
          </p:grpSpPr>
          <p:sp>
            <p:nvSpPr>
              <p:cNvPr id="94" name="Oval 47"/>
              <p:cNvSpPr>
                <a:spLocks noChangeAspect="1" noChangeArrowheads="1"/>
              </p:cNvSpPr>
              <p:nvPr>
                <p:custDataLst>
                  <p:tags r:id="rId23"/>
                </p:custDataLst>
              </p:nvPr>
            </p:nvSpPr>
            <p:spPr bwMode="gray">
              <a:xfrm>
                <a:off x="4495" y="120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95" name="Arc 48"/>
              <p:cNvSpPr>
                <a:spLocks noChangeAspect="1"/>
              </p:cNvSpPr>
              <p:nvPr>
                <p:custDataLst>
                  <p:tags r:id="rId24"/>
                </p:custDataLst>
              </p:nvPr>
            </p:nvSpPr>
            <p:spPr bwMode="gray">
              <a:xfrm>
                <a:off x="4495" y="1204"/>
                <a:ext cx="160" cy="160"/>
              </a:xfrm>
              <a:prstGeom prst="arc">
                <a:avLst>
                  <a:gd name="adj1" fmla="val 16200000"/>
                  <a:gd name="adj2" fmla="val 108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grpSp>
        <p:grpSp>
          <p:nvGrpSpPr>
            <p:cNvPr id="83" name="MoonLegend5"/>
            <p:cNvGrpSpPr>
              <a:grpSpLocks noChangeAspect="1"/>
            </p:cNvGrpSpPr>
            <p:nvPr>
              <p:custDataLst>
                <p:tags r:id="rId12"/>
              </p:custDataLst>
            </p:nvPr>
          </p:nvGrpSpPr>
          <p:grpSpPr bwMode="gray">
            <a:xfrm>
              <a:off x="5894005" y="3799629"/>
              <a:ext cx="209550" cy="209551"/>
              <a:chOff x="4495" y="1447"/>
              <a:chExt cx="160" cy="160"/>
            </a:xfrm>
          </p:grpSpPr>
          <p:sp>
            <p:nvSpPr>
              <p:cNvPr id="92" name="Oval 50"/>
              <p:cNvSpPr>
                <a:spLocks noChangeAspect="1" noChangeArrowheads="1"/>
              </p:cNvSpPr>
              <p:nvPr>
                <p:custDataLst>
                  <p:tags r:id="rId21"/>
                </p:custDataLst>
              </p:nvPr>
            </p:nvSpPr>
            <p:spPr bwMode="gray">
              <a:xfrm>
                <a:off x="4495" y="1447"/>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93" name="Oval 51"/>
              <p:cNvSpPr>
                <a:spLocks noChangeAspect="1" noChangeArrowheads="1"/>
              </p:cNvSpPr>
              <p:nvPr>
                <p:custDataLst>
                  <p:tags r:id="rId22"/>
                </p:custDataLst>
              </p:nvPr>
            </p:nvSpPr>
            <p:spPr bwMode="gray">
              <a:xfrm>
                <a:off x="4495" y="1447"/>
                <a:ext cx="160" cy="160"/>
              </a:xfrm>
              <a:prstGeom prst="arc">
                <a:avLst>
                  <a:gd name="adj1" fmla="val 16200000"/>
                  <a:gd name="adj2" fmla="val 162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grpSp>
        <p:grpSp>
          <p:nvGrpSpPr>
            <p:cNvPr id="84" name="MoonLegend3"/>
            <p:cNvGrpSpPr>
              <a:grpSpLocks noChangeAspect="1"/>
            </p:cNvGrpSpPr>
            <p:nvPr>
              <p:custDataLst>
                <p:tags r:id="rId13"/>
              </p:custDataLst>
            </p:nvPr>
          </p:nvGrpSpPr>
          <p:grpSpPr bwMode="gray">
            <a:xfrm>
              <a:off x="5894005" y="3251543"/>
              <a:ext cx="209550" cy="209551"/>
              <a:chOff x="4495" y="1205"/>
              <a:chExt cx="160" cy="160"/>
            </a:xfrm>
          </p:grpSpPr>
          <p:sp>
            <p:nvSpPr>
              <p:cNvPr id="90" name="Oval 47"/>
              <p:cNvSpPr>
                <a:spLocks noChangeAspect="1" noChangeArrowheads="1"/>
              </p:cNvSpPr>
              <p:nvPr>
                <p:custDataLst>
                  <p:tags r:id="rId19"/>
                </p:custDataLst>
              </p:nvPr>
            </p:nvSpPr>
            <p:spPr bwMode="gray">
              <a:xfrm>
                <a:off x="4495" y="1205"/>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91" name="Arc 48"/>
              <p:cNvSpPr>
                <a:spLocks noChangeAspect="1"/>
              </p:cNvSpPr>
              <p:nvPr>
                <p:custDataLst>
                  <p:tags r:id="rId20"/>
                </p:custDataLst>
              </p:nvPr>
            </p:nvSpPr>
            <p:spPr bwMode="gray">
              <a:xfrm>
                <a:off x="4495" y="1205"/>
                <a:ext cx="160" cy="160"/>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grpSp>
        <p:sp>
          <p:nvSpPr>
            <p:cNvPr id="85" name="Legend1"/>
            <p:cNvSpPr>
              <a:spLocks noChangeArrowheads="1"/>
            </p:cNvSpPr>
            <p:nvPr>
              <p:custDataLst>
                <p:tags r:id="rId14"/>
              </p:custDataLst>
            </p:nvPr>
          </p:nvSpPr>
          <p:spPr bwMode="gray">
            <a:xfrm>
              <a:off x="6214680" y="2696542"/>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sp>
          <p:nvSpPr>
            <p:cNvPr id="86" name="Legend2"/>
            <p:cNvSpPr>
              <a:spLocks noChangeArrowheads="1"/>
            </p:cNvSpPr>
            <p:nvPr>
              <p:custDataLst>
                <p:tags r:id="rId15"/>
              </p:custDataLst>
            </p:nvPr>
          </p:nvSpPr>
          <p:spPr bwMode="gray">
            <a:xfrm>
              <a:off x="6214680" y="2974156"/>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a:latin typeface="+mn-lt"/>
                  <a:ea typeface="+mn-ea"/>
                </a:rPr>
                <a:t>Legend</a:t>
              </a:r>
              <a:endParaRPr lang="en-US" sz="1400" baseline="0" dirty="0">
                <a:latin typeface="+mn-lt"/>
                <a:ea typeface="+mn-ea"/>
              </a:endParaRPr>
            </a:p>
          </p:txBody>
        </p:sp>
        <p:sp>
          <p:nvSpPr>
            <p:cNvPr id="87" name="Legend3"/>
            <p:cNvSpPr>
              <a:spLocks noChangeArrowheads="1"/>
            </p:cNvSpPr>
            <p:nvPr>
              <p:custDataLst>
                <p:tags r:id="rId16"/>
              </p:custDataLst>
            </p:nvPr>
          </p:nvSpPr>
          <p:spPr bwMode="gray">
            <a:xfrm>
              <a:off x="6214680" y="3248596"/>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sp>
          <p:nvSpPr>
            <p:cNvPr id="88" name="Legend4"/>
            <p:cNvSpPr>
              <a:spLocks noChangeArrowheads="1"/>
            </p:cNvSpPr>
            <p:nvPr>
              <p:custDataLst>
                <p:tags r:id="rId17"/>
              </p:custDataLst>
            </p:nvPr>
          </p:nvSpPr>
          <p:spPr bwMode="gray">
            <a:xfrm>
              <a:off x="6214680" y="3521448"/>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dirty="0">
                  <a:latin typeface="+mn-lt"/>
                  <a:ea typeface="+mn-ea"/>
                </a:rPr>
                <a:t>Legend</a:t>
              </a:r>
            </a:p>
          </p:txBody>
        </p:sp>
        <p:sp>
          <p:nvSpPr>
            <p:cNvPr id="89" name="Legend5"/>
            <p:cNvSpPr>
              <a:spLocks noChangeArrowheads="1"/>
            </p:cNvSpPr>
            <p:nvPr>
              <p:custDataLst>
                <p:tags r:id="rId18"/>
              </p:custDataLst>
            </p:nvPr>
          </p:nvSpPr>
          <p:spPr bwMode="gray">
            <a:xfrm>
              <a:off x="6214680" y="3796682"/>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400" baseline="0">
                  <a:latin typeface="+mn-lt"/>
                  <a:ea typeface="+mn-ea"/>
                </a:rPr>
                <a:t>Legend</a:t>
              </a:r>
              <a:endParaRPr lang="en-US" sz="1400" baseline="0" dirty="0">
                <a:latin typeface="+mn-lt"/>
                <a:ea typeface="+mn-ea"/>
              </a:endParaRPr>
            </a:p>
          </p:txBody>
        </p:sp>
      </p:grpSp>
    </p:spTree>
    <p:extLst>
      <p:ext uri="{BB962C8B-B14F-4D97-AF65-F5344CB8AC3E}">
        <p14:creationId xmlns:p14="http://schemas.microsoft.com/office/powerpoint/2010/main" val="1646303180"/>
      </p:ext>
    </p:extLst>
  </p:cSld>
  <p:clrMap bg1="lt1" tx1="dk1" bg2="lt2" tx2="dk2" accent1="accent1" accent2="accent2" accent3="accent3" accent4="accent4" accent5="accent5" accent6="accent6" hlink="hlink" folHlink="folHlink"/>
  <p:sldLayoutIdLst>
    <p:sldLayoutId id="2147483711" r:id="rId1"/>
    <p:sldLayoutId id="2147483712" r:id="rId2"/>
    <p:sldLayoutId id="2147483713" r:id="rId3"/>
    <p:sldLayoutId id="2147483714" r:id="rId4"/>
  </p:sldLayoutIdLst>
  <p:txStyles>
    <p:titleStyle>
      <a:lvl1pPr algn="l" defTabSz="895350" rtl="0" eaLnBrk="1" fontAlgn="base" hangingPunct="1">
        <a:spcBef>
          <a:spcPct val="0"/>
        </a:spcBef>
        <a:spcAft>
          <a:spcPct val="0"/>
        </a:spcAft>
        <a:tabLst>
          <a:tab pos="269875" algn="l"/>
        </a:tabLst>
        <a:defRPr sz="2000" b="0" baseline="0">
          <a:solidFill>
            <a:schemeClr val="tx2"/>
          </a:solidFill>
          <a:latin typeface="+mj-lt"/>
          <a:ea typeface="+mj-ea"/>
          <a:cs typeface="+mj-cs"/>
        </a:defRPr>
      </a:lvl1pPr>
      <a:lvl2pPr algn="l" defTabSz="895350" rtl="0" eaLnBrk="1" fontAlgn="base" hangingPunct="1">
        <a:spcBef>
          <a:spcPct val="0"/>
        </a:spcBef>
        <a:spcAft>
          <a:spcPct val="0"/>
        </a:spcAft>
        <a:defRPr sz="1900" b="1">
          <a:solidFill>
            <a:schemeClr val="tx2"/>
          </a:solidFill>
          <a:latin typeface="Arial" charset="0"/>
        </a:defRPr>
      </a:lvl2pPr>
      <a:lvl3pPr algn="l" defTabSz="895350" rtl="0" eaLnBrk="1" fontAlgn="base" hangingPunct="1">
        <a:spcBef>
          <a:spcPct val="0"/>
        </a:spcBef>
        <a:spcAft>
          <a:spcPct val="0"/>
        </a:spcAft>
        <a:defRPr sz="1900" b="1">
          <a:solidFill>
            <a:schemeClr val="tx2"/>
          </a:solidFill>
          <a:latin typeface="Arial" charset="0"/>
        </a:defRPr>
      </a:lvl3pPr>
      <a:lvl4pPr algn="l" defTabSz="895350" rtl="0" eaLnBrk="1" fontAlgn="base" hangingPunct="1">
        <a:spcBef>
          <a:spcPct val="0"/>
        </a:spcBef>
        <a:spcAft>
          <a:spcPct val="0"/>
        </a:spcAft>
        <a:defRPr sz="1900" b="1">
          <a:solidFill>
            <a:schemeClr val="tx2"/>
          </a:solidFill>
          <a:latin typeface="Arial" charset="0"/>
        </a:defRPr>
      </a:lvl4pPr>
      <a:lvl5pPr algn="l" defTabSz="895350" rtl="0" eaLnBrk="1" fontAlgn="base" hangingPunct="1">
        <a:spcBef>
          <a:spcPct val="0"/>
        </a:spcBef>
        <a:spcAft>
          <a:spcPct val="0"/>
        </a:spcAft>
        <a:defRPr sz="1900" b="1">
          <a:solidFill>
            <a:schemeClr val="tx2"/>
          </a:solidFill>
          <a:latin typeface="Arial" charset="0"/>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p:titleStyle>
    <p:bodyStyle>
      <a:lvl1pPr marL="0" indent="0" algn="l" defTabSz="895350" rtl="0" eaLnBrk="1" fontAlgn="base" hangingPunct="1">
        <a:spcBef>
          <a:spcPct val="0"/>
        </a:spcBef>
        <a:spcAft>
          <a:spcPct val="0"/>
        </a:spcAft>
        <a:buClr>
          <a:schemeClr val="tx2"/>
        </a:buClr>
        <a:buSzPct val="100000"/>
        <a:defRPr sz="14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4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4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4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4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1820.xml"/><Relationship Id="rId1" Type="http://schemas.openxmlformats.org/officeDocument/2006/relationships/vmlDrawing" Target="../drawings/vmlDrawing259.vml"/><Relationship Id="rId6" Type="http://schemas.openxmlformats.org/officeDocument/2006/relationships/image" Target="../media/image6.emf"/><Relationship Id="rId5" Type="http://schemas.openxmlformats.org/officeDocument/2006/relationships/oleObject" Target="../embeddings/oleObject259.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2" Type="http://schemas.openxmlformats.org/officeDocument/2006/relationships/slideLayout" Target="../slideLayouts/slideLayout22.xml"/><Relationship Id="rId1" Type="http://schemas.openxmlformats.org/officeDocument/2006/relationships/tags" Target="../tags/tag1886.xml"/></Relationships>
</file>

<file path=ppt/slides/_rels/slide11.xml.rels><?xml version="1.0" encoding="UTF-8" standalone="yes"?>
<Relationships xmlns="http://schemas.openxmlformats.org/package/2006/relationships"><Relationship Id="rId8" Type="http://schemas.openxmlformats.org/officeDocument/2006/relationships/oleObject" Target="../embeddings/oleObject269.bin"/><Relationship Id="rId3" Type="http://schemas.openxmlformats.org/officeDocument/2006/relationships/tags" Target="../tags/tag1888.xml"/><Relationship Id="rId7" Type="http://schemas.openxmlformats.org/officeDocument/2006/relationships/notesSlide" Target="../notesSlides/notesSlide9.xml"/><Relationship Id="rId2" Type="http://schemas.openxmlformats.org/officeDocument/2006/relationships/tags" Target="../tags/tag1887.xml"/><Relationship Id="rId1" Type="http://schemas.openxmlformats.org/officeDocument/2006/relationships/vmlDrawing" Target="../drawings/vmlDrawing268.vml"/><Relationship Id="rId6" Type="http://schemas.openxmlformats.org/officeDocument/2006/relationships/slideLayout" Target="../slideLayouts/slideLayout26.xml"/><Relationship Id="rId5" Type="http://schemas.openxmlformats.org/officeDocument/2006/relationships/tags" Target="../tags/tag1890.xml"/><Relationship Id="rId4" Type="http://schemas.openxmlformats.org/officeDocument/2006/relationships/tags" Target="../tags/tag1889.xml"/></Relationships>
</file>

<file path=ppt/slides/_rels/slide12.xml.rels><?xml version="1.0" encoding="UTF-8" standalone="yes"?>
<Relationships xmlns="http://schemas.openxmlformats.org/package/2006/relationships"><Relationship Id="rId13" Type="http://schemas.openxmlformats.org/officeDocument/2006/relationships/tags" Target="../tags/tag1902.xml"/><Relationship Id="rId18" Type="http://schemas.openxmlformats.org/officeDocument/2006/relationships/tags" Target="../tags/tag1907.xml"/><Relationship Id="rId26" Type="http://schemas.openxmlformats.org/officeDocument/2006/relationships/tags" Target="../tags/tag1915.xml"/><Relationship Id="rId39" Type="http://schemas.openxmlformats.org/officeDocument/2006/relationships/tags" Target="../tags/tag1928.xml"/><Relationship Id="rId21" Type="http://schemas.openxmlformats.org/officeDocument/2006/relationships/tags" Target="../tags/tag1910.xml"/><Relationship Id="rId34" Type="http://schemas.openxmlformats.org/officeDocument/2006/relationships/tags" Target="../tags/tag1923.xml"/><Relationship Id="rId42" Type="http://schemas.openxmlformats.org/officeDocument/2006/relationships/tags" Target="../tags/tag1931.xml"/><Relationship Id="rId47" Type="http://schemas.openxmlformats.org/officeDocument/2006/relationships/tags" Target="../tags/tag1936.xml"/><Relationship Id="rId50" Type="http://schemas.openxmlformats.org/officeDocument/2006/relationships/oleObject" Target="../embeddings/oleObject270.bin"/><Relationship Id="rId55" Type="http://schemas.openxmlformats.org/officeDocument/2006/relationships/oleObject" Target="../embeddings/oleObject273.bin"/><Relationship Id="rId7" Type="http://schemas.openxmlformats.org/officeDocument/2006/relationships/tags" Target="../tags/tag1896.xml"/><Relationship Id="rId2" Type="http://schemas.openxmlformats.org/officeDocument/2006/relationships/tags" Target="../tags/tag1891.xml"/><Relationship Id="rId16" Type="http://schemas.openxmlformats.org/officeDocument/2006/relationships/tags" Target="../tags/tag1905.xml"/><Relationship Id="rId29" Type="http://schemas.openxmlformats.org/officeDocument/2006/relationships/tags" Target="../tags/tag1918.xml"/><Relationship Id="rId11" Type="http://schemas.openxmlformats.org/officeDocument/2006/relationships/tags" Target="../tags/tag1900.xml"/><Relationship Id="rId24" Type="http://schemas.openxmlformats.org/officeDocument/2006/relationships/tags" Target="../tags/tag1913.xml"/><Relationship Id="rId32" Type="http://schemas.openxmlformats.org/officeDocument/2006/relationships/tags" Target="../tags/tag1921.xml"/><Relationship Id="rId37" Type="http://schemas.openxmlformats.org/officeDocument/2006/relationships/tags" Target="../tags/tag1926.xml"/><Relationship Id="rId40" Type="http://schemas.openxmlformats.org/officeDocument/2006/relationships/tags" Target="../tags/tag1929.xml"/><Relationship Id="rId45" Type="http://schemas.openxmlformats.org/officeDocument/2006/relationships/tags" Target="../tags/tag1934.xml"/><Relationship Id="rId53" Type="http://schemas.openxmlformats.org/officeDocument/2006/relationships/oleObject" Target="../embeddings/oleObject272.bin"/><Relationship Id="rId5" Type="http://schemas.openxmlformats.org/officeDocument/2006/relationships/tags" Target="../tags/tag1894.xml"/><Relationship Id="rId10" Type="http://schemas.openxmlformats.org/officeDocument/2006/relationships/tags" Target="../tags/tag1899.xml"/><Relationship Id="rId19" Type="http://schemas.openxmlformats.org/officeDocument/2006/relationships/tags" Target="../tags/tag1908.xml"/><Relationship Id="rId31" Type="http://schemas.openxmlformats.org/officeDocument/2006/relationships/tags" Target="../tags/tag1920.xml"/><Relationship Id="rId44" Type="http://schemas.openxmlformats.org/officeDocument/2006/relationships/tags" Target="../tags/tag1933.xml"/><Relationship Id="rId52" Type="http://schemas.openxmlformats.org/officeDocument/2006/relationships/image" Target="../media/image71.emf"/><Relationship Id="rId4" Type="http://schemas.openxmlformats.org/officeDocument/2006/relationships/tags" Target="../tags/tag1893.xml"/><Relationship Id="rId9" Type="http://schemas.openxmlformats.org/officeDocument/2006/relationships/tags" Target="../tags/tag1898.xml"/><Relationship Id="rId14" Type="http://schemas.openxmlformats.org/officeDocument/2006/relationships/tags" Target="../tags/tag1903.xml"/><Relationship Id="rId22" Type="http://schemas.openxmlformats.org/officeDocument/2006/relationships/tags" Target="../tags/tag1911.xml"/><Relationship Id="rId27" Type="http://schemas.openxmlformats.org/officeDocument/2006/relationships/tags" Target="../tags/tag1916.xml"/><Relationship Id="rId30" Type="http://schemas.openxmlformats.org/officeDocument/2006/relationships/tags" Target="../tags/tag1919.xml"/><Relationship Id="rId35" Type="http://schemas.openxmlformats.org/officeDocument/2006/relationships/tags" Target="../tags/tag1924.xml"/><Relationship Id="rId43" Type="http://schemas.openxmlformats.org/officeDocument/2006/relationships/tags" Target="../tags/tag1932.xml"/><Relationship Id="rId48" Type="http://schemas.openxmlformats.org/officeDocument/2006/relationships/slideLayout" Target="../slideLayouts/slideLayout30.xml"/><Relationship Id="rId56" Type="http://schemas.openxmlformats.org/officeDocument/2006/relationships/image" Target="../media/image73.emf"/><Relationship Id="rId8" Type="http://schemas.openxmlformats.org/officeDocument/2006/relationships/tags" Target="../tags/tag1897.xml"/><Relationship Id="rId51" Type="http://schemas.openxmlformats.org/officeDocument/2006/relationships/oleObject" Target="../embeddings/oleObject271.bin"/><Relationship Id="rId3" Type="http://schemas.openxmlformats.org/officeDocument/2006/relationships/tags" Target="../tags/tag1892.xml"/><Relationship Id="rId12" Type="http://schemas.openxmlformats.org/officeDocument/2006/relationships/tags" Target="../tags/tag1901.xml"/><Relationship Id="rId17" Type="http://schemas.openxmlformats.org/officeDocument/2006/relationships/tags" Target="../tags/tag1906.xml"/><Relationship Id="rId25" Type="http://schemas.openxmlformats.org/officeDocument/2006/relationships/tags" Target="../tags/tag1914.xml"/><Relationship Id="rId33" Type="http://schemas.openxmlformats.org/officeDocument/2006/relationships/tags" Target="../tags/tag1922.xml"/><Relationship Id="rId38" Type="http://schemas.openxmlformats.org/officeDocument/2006/relationships/tags" Target="../tags/tag1927.xml"/><Relationship Id="rId46" Type="http://schemas.openxmlformats.org/officeDocument/2006/relationships/tags" Target="../tags/tag1935.xml"/><Relationship Id="rId20" Type="http://schemas.openxmlformats.org/officeDocument/2006/relationships/tags" Target="../tags/tag1909.xml"/><Relationship Id="rId41" Type="http://schemas.openxmlformats.org/officeDocument/2006/relationships/tags" Target="../tags/tag1930.xml"/><Relationship Id="rId54" Type="http://schemas.openxmlformats.org/officeDocument/2006/relationships/image" Target="../media/image72.emf"/><Relationship Id="rId1" Type="http://schemas.openxmlformats.org/officeDocument/2006/relationships/vmlDrawing" Target="../drawings/vmlDrawing269.vml"/><Relationship Id="rId6" Type="http://schemas.openxmlformats.org/officeDocument/2006/relationships/tags" Target="../tags/tag1895.xml"/><Relationship Id="rId15" Type="http://schemas.openxmlformats.org/officeDocument/2006/relationships/tags" Target="../tags/tag1904.xml"/><Relationship Id="rId23" Type="http://schemas.openxmlformats.org/officeDocument/2006/relationships/tags" Target="../tags/tag1912.xml"/><Relationship Id="rId28" Type="http://schemas.openxmlformats.org/officeDocument/2006/relationships/tags" Target="../tags/tag1917.xml"/><Relationship Id="rId36" Type="http://schemas.openxmlformats.org/officeDocument/2006/relationships/tags" Target="../tags/tag1925.xml"/><Relationship Id="rId49" Type="http://schemas.openxmlformats.org/officeDocument/2006/relationships/notesSlide" Target="../notesSlides/notesSlide10.xml"/></Relationships>
</file>

<file path=ppt/slides/_rels/slide13.xml.rels><?xml version="1.0" encoding="UTF-8" standalone="yes"?>
<Relationships xmlns="http://schemas.openxmlformats.org/package/2006/relationships"><Relationship Id="rId8" Type="http://schemas.openxmlformats.org/officeDocument/2006/relationships/tags" Target="../tags/tag1943.xml"/><Relationship Id="rId3" Type="http://schemas.openxmlformats.org/officeDocument/2006/relationships/tags" Target="../tags/tag1938.xml"/><Relationship Id="rId7" Type="http://schemas.openxmlformats.org/officeDocument/2006/relationships/tags" Target="../tags/tag1942.xml"/><Relationship Id="rId12" Type="http://schemas.openxmlformats.org/officeDocument/2006/relationships/image" Target="../media/image74.emf"/><Relationship Id="rId2" Type="http://schemas.openxmlformats.org/officeDocument/2006/relationships/tags" Target="../tags/tag1937.xml"/><Relationship Id="rId1" Type="http://schemas.openxmlformats.org/officeDocument/2006/relationships/vmlDrawing" Target="../drawings/vmlDrawing270.vml"/><Relationship Id="rId6" Type="http://schemas.openxmlformats.org/officeDocument/2006/relationships/tags" Target="../tags/tag1941.xml"/><Relationship Id="rId11" Type="http://schemas.openxmlformats.org/officeDocument/2006/relationships/oleObject" Target="../embeddings/oleObject274.bin"/><Relationship Id="rId5" Type="http://schemas.openxmlformats.org/officeDocument/2006/relationships/tags" Target="../tags/tag1940.xml"/><Relationship Id="rId10" Type="http://schemas.openxmlformats.org/officeDocument/2006/relationships/slideLayout" Target="../slideLayouts/slideLayout38.xml"/><Relationship Id="rId4" Type="http://schemas.openxmlformats.org/officeDocument/2006/relationships/tags" Target="../tags/tag1939.xml"/><Relationship Id="rId9" Type="http://schemas.openxmlformats.org/officeDocument/2006/relationships/tags" Target="../tags/tag1944.xml"/></Relationships>
</file>

<file path=ppt/slides/_rels/slide14.xml.rels><?xml version="1.0" encoding="UTF-8" standalone="yes"?>
<Relationships xmlns="http://schemas.openxmlformats.org/package/2006/relationships"><Relationship Id="rId8" Type="http://schemas.openxmlformats.org/officeDocument/2006/relationships/oleObject" Target="../embeddings/oleObject275.bin"/><Relationship Id="rId3" Type="http://schemas.openxmlformats.org/officeDocument/2006/relationships/tags" Target="../tags/tag1946.xml"/><Relationship Id="rId7" Type="http://schemas.openxmlformats.org/officeDocument/2006/relationships/notesSlide" Target="../notesSlides/notesSlide11.xml"/><Relationship Id="rId2" Type="http://schemas.openxmlformats.org/officeDocument/2006/relationships/tags" Target="../tags/tag1945.xml"/><Relationship Id="rId1" Type="http://schemas.openxmlformats.org/officeDocument/2006/relationships/vmlDrawing" Target="../drawings/vmlDrawing271.vml"/><Relationship Id="rId6" Type="http://schemas.openxmlformats.org/officeDocument/2006/relationships/slideLayout" Target="../slideLayouts/slideLayout42.xml"/><Relationship Id="rId5" Type="http://schemas.openxmlformats.org/officeDocument/2006/relationships/tags" Target="../tags/tag1948.xml"/><Relationship Id="rId4" Type="http://schemas.openxmlformats.org/officeDocument/2006/relationships/tags" Target="../tags/tag1947.xml"/></Relationships>
</file>

<file path=ppt/slides/_rels/slide15.xml.rels><?xml version="1.0" encoding="UTF-8" standalone="yes"?>
<Relationships xmlns="http://schemas.openxmlformats.org/package/2006/relationships"><Relationship Id="rId8" Type="http://schemas.openxmlformats.org/officeDocument/2006/relationships/oleObject" Target="../embeddings/oleObject276.bin"/><Relationship Id="rId3" Type="http://schemas.openxmlformats.org/officeDocument/2006/relationships/tags" Target="../tags/tag1950.xml"/><Relationship Id="rId7" Type="http://schemas.openxmlformats.org/officeDocument/2006/relationships/notesSlide" Target="../notesSlides/notesSlide12.xml"/><Relationship Id="rId2" Type="http://schemas.openxmlformats.org/officeDocument/2006/relationships/tags" Target="../tags/tag1949.xml"/><Relationship Id="rId1" Type="http://schemas.openxmlformats.org/officeDocument/2006/relationships/vmlDrawing" Target="../drawings/vmlDrawing272.vml"/><Relationship Id="rId6" Type="http://schemas.openxmlformats.org/officeDocument/2006/relationships/slideLayout" Target="../slideLayouts/slideLayout46.xml"/><Relationship Id="rId5" Type="http://schemas.openxmlformats.org/officeDocument/2006/relationships/tags" Target="../tags/tag1952.xml"/><Relationship Id="rId4" Type="http://schemas.openxmlformats.org/officeDocument/2006/relationships/tags" Target="../tags/tag1951.xml"/></Relationships>
</file>

<file path=ppt/slides/_rels/slide16.xml.rels><?xml version="1.0" encoding="UTF-8" standalone="yes"?>
<Relationships xmlns="http://schemas.openxmlformats.org/package/2006/relationships"><Relationship Id="rId8" Type="http://schemas.openxmlformats.org/officeDocument/2006/relationships/oleObject" Target="../embeddings/oleObject277.bin"/><Relationship Id="rId3" Type="http://schemas.openxmlformats.org/officeDocument/2006/relationships/tags" Target="../tags/tag1954.xml"/><Relationship Id="rId7" Type="http://schemas.openxmlformats.org/officeDocument/2006/relationships/notesSlide" Target="../notesSlides/notesSlide13.xml"/><Relationship Id="rId2" Type="http://schemas.openxmlformats.org/officeDocument/2006/relationships/tags" Target="../tags/tag1953.xml"/><Relationship Id="rId1" Type="http://schemas.openxmlformats.org/officeDocument/2006/relationships/vmlDrawing" Target="../drawings/vmlDrawing273.vml"/><Relationship Id="rId6" Type="http://schemas.openxmlformats.org/officeDocument/2006/relationships/slideLayout" Target="../slideLayouts/slideLayout50.xml"/><Relationship Id="rId5" Type="http://schemas.openxmlformats.org/officeDocument/2006/relationships/tags" Target="../tags/tag1956.xml"/><Relationship Id="rId4" Type="http://schemas.openxmlformats.org/officeDocument/2006/relationships/tags" Target="../tags/tag1955.xml"/></Relationships>
</file>

<file path=ppt/slides/_rels/slide17.xml.rels><?xml version="1.0" encoding="UTF-8" standalone="yes"?>
<Relationships xmlns="http://schemas.openxmlformats.org/package/2006/relationships"><Relationship Id="rId3" Type="http://schemas.openxmlformats.org/officeDocument/2006/relationships/tags" Target="../tags/tag1959.xml"/><Relationship Id="rId2" Type="http://schemas.openxmlformats.org/officeDocument/2006/relationships/tags" Target="../tags/tag1958.xml"/><Relationship Id="rId1" Type="http://schemas.openxmlformats.org/officeDocument/2006/relationships/tags" Target="../tags/tag1957.xml"/><Relationship Id="rId6" Type="http://schemas.openxmlformats.org/officeDocument/2006/relationships/slideLayout" Target="../slideLayouts/slideLayout54.xml"/><Relationship Id="rId5" Type="http://schemas.openxmlformats.org/officeDocument/2006/relationships/tags" Target="../tags/tag1961.xml"/><Relationship Id="rId4" Type="http://schemas.openxmlformats.org/officeDocument/2006/relationships/tags" Target="../tags/tag1960.xml"/></Relationships>
</file>

<file path=ppt/slides/_rels/slide18.xml.rels><?xml version="1.0" encoding="UTF-8" standalone="yes"?>
<Relationships xmlns="http://schemas.openxmlformats.org/package/2006/relationships"><Relationship Id="rId8" Type="http://schemas.openxmlformats.org/officeDocument/2006/relationships/tags" Target="../tags/tag1968.xml"/><Relationship Id="rId13" Type="http://schemas.openxmlformats.org/officeDocument/2006/relationships/image" Target="../media/image1.emf"/><Relationship Id="rId3" Type="http://schemas.openxmlformats.org/officeDocument/2006/relationships/tags" Target="../tags/tag1963.xml"/><Relationship Id="rId7" Type="http://schemas.openxmlformats.org/officeDocument/2006/relationships/tags" Target="../tags/tag1967.xml"/><Relationship Id="rId12" Type="http://schemas.openxmlformats.org/officeDocument/2006/relationships/oleObject" Target="../embeddings/oleObject278.bin"/><Relationship Id="rId2" Type="http://schemas.openxmlformats.org/officeDocument/2006/relationships/tags" Target="../tags/tag1962.xml"/><Relationship Id="rId1" Type="http://schemas.openxmlformats.org/officeDocument/2006/relationships/vmlDrawing" Target="../drawings/vmlDrawing274.vml"/><Relationship Id="rId6" Type="http://schemas.openxmlformats.org/officeDocument/2006/relationships/tags" Target="../tags/tag1966.xml"/><Relationship Id="rId11" Type="http://schemas.openxmlformats.org/officeDocument/2006/relationships/notesSlide" Target="../notesSlides/notesSlide14.xml"/><Relationship Id="rId5" Type="http://schemas.openxmlformats.org/officeDocument/2006/relationships/tags" Target="../tags/tag1965.xml"/><Relationship Id="rId10" Type="http://schemas.openxmlformats.org/officeDocument/2006/relationships/slideLayout" Target="../slideLayouts/slideLayout58.xml"/><Relationship Id="rId4" Type="http://schemas.openxmlformats.org/officeDocument/2006/relationships/tags" Target="../tags/tag1964.xml"/><Relationship Id="rId9" Type="http://schemas.openxmlformats.org/officeDocument/2006/relationships/tags" Target="../tags/tag1969.xml"/></Relationships>
</file>

<file path=ppt/slides/_rels/slide19.xml.rels><?xml version="1.0" encoding="UTF-8" standalone="yes"?>
<Relationships xmlns="http://schemas.openxmlformats.org/package/2006/relationships"><Relationship Id="rId8" Type="http://schemas.openxmlformats.org/officeDocument/2006/relationships/tags" Target="../tags/tag1976.xml"/><Relationship Id="rId13" Type="http://schemas.openxmlformats.org/officeDocument/2006/relationships/image" Target="../media/image70.emf"/><Relationship Id="rId18" Type="http://schemas.openxmlformats.org/officeDocument/2006/relationships/slide" Target="slide53.xml"/><Relationship Id="rId3" Type="http://schemas.openxmlformats.org/officeDocument/2006/relationships/tags" Target="../tags/tag1971.xml"/><Relationship Id="rId7" Type="http://schemas.openxmlformats.org/officeDocument/2006/relationships/tags" Target="../tags/tag1975.xml"/><Relationship Id="rId12" Type="http://schemas.openxmlformats.org/officeDocument/2006/relationships/oleObject" Target="../embeddings/oleObject279.bin"/><Relationship Id="rId17" Type="http://schemas.openxmlformats.org/officeDocument/2006/relationships/slide" Target="slide48.xml"/><Relationship Id="rId2" Type="http://schemas.openxmlformats.org/officeDocument/2006/relationships/tags" Target="../tags/tag1970.xml"/><Relationship Id="rId16" Type="http://schemas.openxmlformats.org/officeDocument/2006/relationships/slide" Target="slide39.xml"/><Relationship Id="rId1" Type="http://schemas.openxmlformats.org/officeDocument/2006/relationships/vmlDrawing" Target="../drawings/vmlDrawing275.vml"/><Relationship Id="rId6" Type="http://schemas.openxmlformats.org/officeDocument/2006/relationships/tags" Target="../tags/tag1974.xml"/><Relationship Id="rId11" Type="http://schemas.openxmlformats.org/officeDocument/2006/relationships/notesSlide" Target="../notesSlides/notesSlide15.xml"/><Relationship Id="rId5" Type="http://schemas.openxmlformats.org/officeDocument/2006/relationships/tags" Target="../tags/tag1973.xml"/><Relationship Id="rId15" Type="http://schemas.openxmlformats.org/officeDocument/2006/relationships/slide" Target="slide36.xml"/><Relationship Id="rId10" Type="http://schemas.openxmlformats.org/officeDocument/2006/relationships/slideLayout" Target="../slideLayouts/slideLayout67.xml"/><Relationship Id="rId4" Type="http://schemas.openxmlformats.org/officeDocument/2006/relationships/tags" Target="../tags/tag1972.xml"/><Relationship Id="rId9" Type="http://schemas.openxmlformats.org/officeDocument/2006/relationships/tags" Target="../tags/tag1977.xml"/><Relationship Id="rId14" Type="http://schemas.openxmlformats.org/officeDocument/2006/relationships/slide" Target="slide9.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821.xml"/><Relationship Id="rId1" Type="http://schemas.openxmlformats.org/officeDocument/2006/relationships/vmlDrawing" Target="../drawings/vmlDrawing260.vml"/><Relationship Id="rId6" Type="http://schemas.openxmlformats.org/officeDocument/2006/relationships/image" Target="../media/image4.emf"/><Relationship Id="rId5" Type="http://schemas.openxmlformats.org/officeDocument/2006/relationships/oleObject" Target="../embeddings/oleObject260.bin"/><Relationship Id="rId4" Type="http://schemas.openxmlformats.org/officeDocument/2006/relationships/notesSlide" Target="../notesSlides/notesSlide2.xml"/></Relationships>
</file>

<file path=ppt/slides/_rels/slide20.xml.rels><?xml version="1.0" encoding="UTF-8" standalone="yes"?>
<Relationships xmlns="http://schemas.openxmlformats.org/package/2006/relationships"><Relationship Id="rId8" Type="http://schemas.openxmlformats.org/officeDocument/2006/relationships/image" Target="../media/image75.jpeg"/><Relationship Id="rId3" Type="http://schemas.openxmlformats.org/officeDocument/2006/relationships/tags" Target="../tags/tag1979.xml"/><Relationship Id="rId7" Type="http://schemas.openxmlformats.org/officeDocument/2006/relationships/oleObject" Target="../embeddings/oleObject280.bin"/><Relationship Id="rId2" Type="http://schemas.openxmlformats.org/officeDocument/2006/relationships/tags" Target="../tags/tag1978.xml"/><Relationship Id="rId1" Type="http://schemas.openxmlformats.org/officeDocument/2006/relationships/vmlDrawing" Target="../drawings/vmlDrawing276.vml"/><Relationship Id="rId6" Type="http://schemas.openxmlformats.org/officeDocument/2006/relationships/notesSlide" Target="../notesSlides/notesSlide16.xml"/><Relationship Id="rId5" Type="http://schemas.openxmlformats.org/officeDocument/2006/relationships/slideLayout" Target="../slideLayouts/slideLayout130.xml"/><Relationship Id="rId4" Type="http://schemas.openxmlformats.org/officeDocument/2006/relationships/tags" Target="../tags/tag1980.xml"/></Relationships>
</file>

<file path=ppt/slides/_rels/slide21.xml.rels><?xml version="1.0" encoding="UTF-8" standalone="yes"?>
<Relationships xmlns="http://schemas.openxmlformats.org/package/2006/relationships"><Relationship Id="rId8" Type="http://schemas.openxmlformats.org/officeDocument/2006/relationships/slideLayout" Target="../slideLayouts/slideLayout133.xml"/><Relationship Id="rId3" Type="http://schemas.openxmlformats.org/officeDocument/2006/relationships/tags" Target="../tags/tag1982.xml"/><Relationship Id="rId7" Type="http://schemas.openxmlformats.org/officeDocument/2006/relationships/tags" Target="../tags/tag1986.xml"/><Relationship Id="rId2" Type="http://schemas.openxmlformats.org/officeDocument/2006/relationships/tags" Target="../tags/tag1981.xml"/><Relationship Id="rId1" Type="http://schemas.openxmlformats.org/officeDocument/2006/relationships/vmlDrawing" Target="../drawings/vmlDrawing277.vml"/><Relationship Id="rId6" Type="http://schemas.openxmlformats.org/officeDocument/2006/relationships/tags" Target="../tags/tag1985.xml"/><Relationship Id="rId5" Type="http://schemas.openxmlformats.org/officeDocument/2006/relationships/tags" Target="../tags/tag1984.xml"/><Relationship Id="rId10" Type="http://schemas.openxmlformats.org/officeDocument/2006/relationships/oleObject" Target="../embeddings/oleObject281.bin"/><Relationship Id="rId4" Type="http://schemas.openxmlformats.org/officeDocument/2006/relationships/tags" Target="../tags/tag1983.xml"/><Relationship Id="rId9" Type="http://schemas.openxmlformats.org/officeDocument/2006/relationships/notesSlide" Target="../notesSlides/notesSlide17.xml"/></Relationships>
</file>

<file path=ppt/slides/_rels/slide22.xml.rels><?xml version="1.0" encoding="UTF-8" standalone="yes"?>
<Relationships xmlns="http://schemas.openxmlformats.org/package/2006/relationships"><Relationship Id="rId3" Type="http://schemas.openxmlformats.org/officeDocument/2006/relationships/slideLayout" Target="../slideLayouts/slideLayout133.xml"/><Relationship Id="rId2" Type="http://schemas.openxmlformats.org/officeDocument/2006/relationships/tags" Target="../tags/tag1987.xml"/><Relationship Id="rId1" Type="http://schemas.openxmlformats.org/officeDocument/2006/relationships/vmlDrawing" Target="../drawings/vmlDrawing278.vml"/><Relationship Id="rId6" Type="http://schemas.openxmlformats.org/officeDocument/2006/relationships/image" Target="../media/image76.emf"/><Relationship Id="rId5" Type="http://schemas.openxmlformats.org/officeDocument/2006/relationships/oleObject" Target="../embeddings/oleObject282.bin"/><Relationship Id="rId4" Type="http://schemas.openxmlformats.org/officeDocument/2006/relationships/notesSlide" Target="../notesSlides/notesSlide18.xml"/></Relationships>
</file>

<file path=ppt/slides/_rels/slide23.xml.rels><?xml version="1.0" encoding="UTF-8" standalone="yes"?>
<Relationships xmlns="http://schemas.openxmlformats.org/package/2006/relationships"><Relationship Id="rId3" Type="http://schemas.openxmlformats.org/officeDocument/2006/relationships/slideLayout" Target="../slideLayouts/slideLayout133.xml"/><Relationship Id="rId2" Type="http://schemas.openxmlformats.org/officeDocument/2006/relationships/tags" Target="../tags/tag1988.xml"/><Relationship Id="rId1" Type="http://schemas.openxmlformats.org/officeDocument/2006/relationships/vmlDrawing" Target="../drawings/vmlDrawing279.vml"/><Relationship Id="rId6" Type="http://schemas.openxmlformats.org/officeDocument/2006/relationships/image" Target="../media/image77.emf"/><Relationship Id="rId5" Type="http://schemas.openxmlformats.org/officeDocument/2006/relationships/oleObject" Target="../embeddings/oleObject283.bin"/><Relationship Id="rId4" Type="http://schemas.openxmlformats.org/officeDocument/2006/relationships/notesSlide" Target="../notesSlides/notesSlide19.xml"/></Relationships>
</file>

<file path=ppt/slides/_rels/slide24.xml.rels><?xml version="1.0" encoding="UTF-8" standalone="yes"?>
<Relationships xmlns="http://schemas.openxmlformats.org/package/2006/relationships"><Relationship Id="rId13" Type="http://schemas.openxmlformats.org/officeDocument/2006/relationships/tags" Target="../tags/tag2000.xml"/><Relationship Id="rId18" Type="http://schemas.openxmlformats.org/officeDocument/2006/relationships/tags" Target="../tags/tag2005.xml"/><Relationship Id="rId26" Type="http://schemas.openxmlformats.org/officeDocument/2006/relationships/tags" Target="../tags/tag2013.xml"/><Relationship Id="rId39" Type="http://schemas.openxmlformats.org/officeDocument/2006/relationships/tags" Target="../tags/tag2026.xml"/><Relationship Id="rId21" Type="http://schemas.openxmlformats.org/officeDocument/2006/relationships/tags" Target="../tags/tag2008.xml"/><Relationship Id="rId34" Type="http://schemas.openxmlformats.org/officeDocument/2006/relationships/tags" Target="../tags/tag2021.xml"/><Relationship Id="rId42" Type="http://schemas.openxmlformats.org/officeDocument/2006/relationships/tags" Target="../tags/tag2029.xml"/><Relationship Id="rId47" Type="http://schemas.openxmlformats.org/officeDocument/2006/relationships/oleObject" Target="../embeddings/oleObject284.bin"/><Relationship Id="rId50" Type="http://schemas.openxmlformats.org/officeDocument/2006/relationships/oleObject" Target="../embeddings/oleObject286.bin"/><Relationship Id="rId7" Type="http://schemas.openxmlformats.org/officeDocument/2006/relationships/tags" Target="../tags/tag1994.xml"/><Relationship Id="rId2" Type="http://schemas.openxmlformats.org/officeDocument/2006/relationships/tags" Target="../tags/tag1989.xml"/><Relationship Id="rId16" Type="http://schemas.openxmlformats.org/officeDocument/2006/relationships/tags" Target="../tags/tag2003.xml"/><Relationship Id="rId29" Type="http://schemas.openxmlformats.org/officeDocument/2006/relationships/tags" Target="../tags/tag2016.xml"/><Relationship Id="rId11" Type="http://schemas.openxmlformats.org/officeDocument/2006/relationships/tags" Target="../tags/tag1998.xml"/><Relationship Id="rId24" Type="http://schemas.openxmlformats.org/officeDocument/2006/relationships/tags" Target="../tags/tag2011.xml"/><Relationship Id="rId32" Type="http://schemas.openxmlformats.org/officeDocument/2006/relationships/tags" Target="../tags/tag2019.xml"/><Relationship Id="rId37" Type="http://schemas.openxmlformats.org/officeDocument/2006/relationships/tags" Target="../tags/tag2024.xml"/><Relationship Id="rId40" Type="http://schemas.openxmlformats.org/officeDocument/2006/relationships/tags" Target="../tags/tag2027.xml"/><Relationship Id="rId45" Type="http://schemas.openxmlformats.org/officeDocument/2006/relationships/slideLayout" Target="../slideLayouts/slideLayout133.xml"/><Relationship Id="rId53" Type="http://schemas.openxmlformats.org/officeDocument/2006/relationships/image" Target="../media/image80.emf"/><Relationship Id="rId5" Type="http://schemas.openxmlformats.org/officeDocument/2006/relationships/tags" Target="../tags/tag1992.xml"/><Relationship Id="rId10" Type="http://schemas.openxmlformats.org/officeDocument/2006/relationships/tags" Target="../tags/tag1997.xml"/><Relationship Id="rId19" Type="http://schemas.openxmlformats.org/officeDocument/2006/relationships/tags" Target="../tags/tag2006.xml"/><Relationship Id="rId31" Type="http://schemas.openxmlformats.org/officeDocument/2006/relationships/tags" Target="../tags/tag2018.xml"/><Relationship Id="rId44" Type="http://schemas.openxmlformats.org/officeDocument/2006/relationships/tags" Target="../tags/tag2031.xml"/><Relationship Id="rId52" Type="http://schemas.openxmlformats.org/officeDocument/2006/relationships/oleObject" Target="../embeddings/oleObject287.bin"/><Relationship Id="rId4" Type="http://schemas.openxmlformats.org/officeDocument/2006/relationships/tags" Target="../tags/tag1991.xml"/><Relationship Id="rId9" Type="http://schemas.openxmlformats.org/officeDocument/2006/relationships/tags" Target="../tags/tag1996.xml"/><Relationship Id="rId14" Type="http://schemas.openxmlformats.org/officeDocument/2006/relationships/tags" Target="../tags/tag2001.xml"/><Relationship Id="rId22" Type="http://schemas.openxmlformats.org/officeDocument/2006/relationships/tags" Target="../tags/tag2009.xml"/><Relationship Id="rId27" Type="http://schemas.openxmlformats.org/officeDocument/2006/relationships/tags" Target="../tags/tag2014.xml"/><Relationship Id="rId30" Type="http://schemas.openxmlformats.org/officeDocument/2006/relationships/tags" Target="../tags/tag2017.xml"/><Relationship Id="rId35" Type="http://schemas.openxmlformats.org/officeDocument/2006/relationships/tags" Target="../tags/tag2022.xml"/><Relationship Id="rId43" Type="http://schemas.openxmlformats.org/officeDocument/2006/relationships/tags" Target="../tags/tag2030.xml"/><Relationship Id="rId48" Type="http://schemas.openxmlformats.org/officeDocument/2006/relationships/oleObject" Target="../embeddings/oleObject285.bin"/><Relationship Id="rId8" Type="http://schemas.openxmlformats.org/officeDocument/2006/relationships/tags" Target="../tags/tag1995.xml"/><Relationship Id="rId51" Type="http://schemas.openxmlformats.org/officeDocument/2006/relationships/image" Target="../media/image79.emf"/><Relationship Id="rId3" Type="http://schemas.openxmlformats.org/officeDocument/2006/relationships/tags" Target="../tags/tag1990.xml"/><Relationship Id="rId12" Type="http://schemas.openxmlformats.org/officeDocument/2006/relationships/tags" Target="../tags/tag1999.xml"/><Relationship Id="rId17" Type="http://schemas.openxmlformats.org/officeDocument/2006/relationships/tags" Target="../tags/tag2004.xml"/><Relationship Id="rId25" Type="http://schemas.openxmlformats.org/officeDocument/2006/relationships/tags" Target="../tags/tag2012.xml"/><Relationship Id="rId33" Type="http://schemas.openxmlformats.org/officeDocument/2006/relationships/tags" Target="../tags/tag2020.xml"/><Relationship Id="rId38" Type="http://schemas.openxmlformats.org/officeDocument/2006/relationships/tags" Target="../tags/tag2025.xml"/><Relationship Id="rId46" Type="http://schemas.openxmlformats.org/officeDocument/2006/relationships/notesSlide" Target="../notesSlides/notesSlide20.xml"/><Relationship Id="rId20" Type="http://schemas.openxmlformats.org/officeDocument/2006/relationships/tags" Target="../tags/tag2007.xml"/><Relationship Id="rId41" Type="http://schemas.openxmlformats.org/officeDocument/2006/relationships/tags" Target="../tags/tag2028.xml"/><Relationship Id="rId1" Type="http://schemas.openxmlformats.org/officeDocument/2006/relationships/vmlDrawing" Target="../drawings/vmlDrawing280.vml"/><Relationship Id="rId6" Type="http://schemas.openxmlformats.org/officeDocument/2006/relationships/tags" Target="../tags/tag1993.xml"/><Relationship Id="rId15" Type="http://schemas.openxmlformats.org/officeDocument/2006/relationships/tags" Target="../tags/tag2002.xml"/><Relationship Id="rId23" Type="http://schemas.openxmlformats.org/officeDocument/2006/relationships/tags" Target="../tags/tag2010.xml"/><Relationship Id="rId28" Type="http://schemas.openxmlformats.org/officeDocument/2006/relationships/tags" Target="../tags/tag2015.xml"/><Relationship Id="rId36" Type="http://schemas.openxmlformats.org/officeDocument/2006/relationships/tags" Target="../tags/tag2023.xml"/><Relationship Id="rId49" Type="http://schemas.openxmlformats.org/officeDocument/2006/relationships/image" Target="../media/image78.emf"/></Relationships>
</file>

<file path=ppt/slides/_rels/slide25.xml.rels><?xml version="1.0" encoding="UTF-8" standalone="yes"?>
<Relationships xmlns="http://schemas.openxmlformats.org/package/2006/relationships"><Relationship Id="rId8" Type="http://schemas.openxmlformats.org/officeDocument/2006/relationships/oleObject" Target="../embeddings/oleObject288.bin"/><Relationship Id="rId3" Type="http://schemas.openxmlformats.org/officeDocument/2006/relationships/tags" Target="../tags/tag2033.xml"/><Relationship Id="rId7" Type="http://schemas.openxmlformats.org/officeDocument/2006/relationships/notesSlide" Target="../notesSlides/notesSlide21.xml"/><Relationship Id="rId2" Type="http://schemas.openxmlformats.org/officeDocument/2006/relationships/tags" Target="../tags/tag2032.xml"/><Relationship Id="rId1" Type="http://schemas.openxmlformats.org/officeDocument/2006/relationships/vmlDrawing" Target="../drawings/vmlDrawing281.vml"/><Relationship Id="rId6" Type="http://schemas.openxmlformats.org/officeDocument/2006/relationships/slideLayout" Target="../slideLayouts/slideLayout185.xml"/><Relationship Id="rId5" Type="http://schemas.openxmlformats.org/officeDocument/2006/relationships/tags" Target="../tags/tag2035.xml"/><Relationship Id="rId4" Type="http://schemas.openxmlformats.org/officeDocument/2006/relationships/tags" Target="../tags/tag2034.xml"/></Relationships>
</file>

<file path=ppt/slides/_rels/slide26.xml.rels><?xml version="1.0" encoding="UTF-8" standalone="yes"?>
<Relationships xmlns="http://schemas.openxmlformats.org/package/2006/relationships"><Relationship Id="rId8" Type="http://schemas.openxmlformats.org/officeDocument/2006/relationships/tags" Target="../tags/tag2042.xml"/><Relationship Id="rId13" Type="http://schemas.openxmlformats.org/officeDocument/2006/relationships/slideLayout" Target="../slideLayouts/slideLayout204.xml"/><Relationship Id="rId3" Type="http://schemas.openxmlformats.org/officeDocument/2006/relationships/tags" Target="../tags/tag2037.xml"/><Relationship Id="rId7" Type="http://schemas.openxmlformats.org/officeDocument/2006/relationships/tags" Target="../tags/tag2041.xml"/><Relationship Id="rId12" Type="http://schemas.openxmlformats.org/officeDocument/2006/relationships/tags" Target="../tags/tag2046.xml"/><Relationship Id="rId2" Type="http://schemas.openxmlformats.org/officeDocument/2006/relationships/tags" Target="../tags/tag2036.xml"/><Relationship Id="rId1" Type="http://schemas.openxmlformats.org/officeDocument/2006/relationships/vmlDrawing" Target="../drawings/vmlDrawing282.vml"/><Relationship Id="rId6" Type="http://schemas.openxmlformats.org/officeDocument/2006/relationships/tags" Target="../tags/tag2040.xml"/><Relationship Id="rId11" Type="http://schemas.openxmlformats.org/officeDocument/2006/relationships/tags" Target="../tags/tag2045.xml"/><Relationship Id="rId5" Type="http://schemas.openxmlformats.org/officeDocument/2006/relationships/tags" Target="../tags/tag2039.xml"/><Relationship Id="rId15" Type="http://schemas.openxmlformats.org/officeDocument/2006/relationships/image" Target="../media/image81.emf"/><Relationship Id="rId10" Type="http://schemas.openxmlformats.org/officeDocument/2006/relationships/tags" Target="../tags/tag2044.xml"/><Relationship Id="rId4" Type="http://schemas.openxmlformats.org/officeDocument/2006/relationships/tags" Target="../tags/tag2038.xml"/><Relationship Id="rId9" Type="http://schemas.openxmlformats.org/officeDocument/2006/relationships/tags" Target="../tags/tag2043.xml"/><Relationship Id="rId14" Type="http://schemas.openxmlformats.org/officeDocument/2006/relationships/oleObject" Target="../embeddings/oleObject289.bin"/></Relationships>
</file>

<file path=ppt/slides/_rels/slide27.xml.rels><?xml version="1.0" encoding="UTF-8" standalone="yes"?>
<Relationships xmlns="http://schemas.openxmlformats.org/package/2006/relationships"><Relationship Id="rId13" Type="http://schemas.openxmlformats.org/officeDocument/2006/relationships/tags" Target="../tags/tag2059.xml"/><Relationship Id="rId18" Type="http://schemas.openxmlformats.org/officeDocument/2006/relationships/tags" Target="../tags/tag2064.xml"/><Relationship Id="rId26" Type="http://schemas.openxmlformats.org/officeDocument/2006/relationships/tags" Target="../tags/tag2072.xml"/><Relationship Id="rId39" Type="http://schemas.openxmlformats.org/officeDocument/2006/relationships/tags" Target="../tags/tag2085.xml"/><Relationship Id="rId21" Type="http://schemas.openxmlformats.org/officeDocument/2006/relationships/tags" Target="../tags/tag2067.xml"/><Relationship Id="rId34" Type="http://schemas.openxmlformats.org/officeDocument/2006/relationships/tags" Target="../tags/tag2080.xml"/><Relationship Id="rId42" Type="http://schemas.openxmlformats.org/officeDocument/2006/relationships/tags" Target="../tags/tag2088.xml"/><Relationship Id="rId47" Type="http://schemas.openxmlformats.org/officeDocument/2006/relationships/tags" Target="../tags/tag2093.xml"/><Relationship Id="rId50" Type="http://schemas.openxmlformats.org/officeDocument/2006/relationships/slideLayout" Target="../slideLayouts/slideLayout62.xml"/><Relationship Id="rId55" Type="http://schemas.openxmlformats.org/officeDocument/2006/relationships/image" Target="../media/image85.jpeg"/><Relationship Id="rId7" Type="http://schemas.openxmlformats.org/officeDocument/2006/relationships/tags" Target="../tags/tag2053.xml"/><Relationship Id="rId2" Type="http://schemas.openxmlformats.org/officeDocument/2006/relationships/tags" Target="../tags/tag2048.xml"/><Relationship Id="rId16" Type="http://schemas.openxmlformats.org/officeDocument/2006/relationships/tags" Target="../tags/tag2062.xml"/><Relationship Id="rId29" Type="http://schemas.openxmlformats.org/officeDocument/2006/relationships/tags" Target="../tags/tag2075.xml"/><Relationship Id="rId11" Type="http://schemas.openxmlformats.org/officeDocument/2006/relationships/tags" Target="../tags/tag2057.xml"/><Relationship Id="rId24" Type="http://schemas.openxmlformats.org/officeDocument/2006/relationships/tags" Target="../tags/tag2070.xml"/><Relationship Id="rId32" Type="http://schemas.openxmlformats.org/officeDocument/2006/relationships/tags" Target="../tags/tag2078.xml"/><Relationship Id="rId37" Type="http://schemas.openxmlformats.org/officeDocument/2006/relationships/tags" Target="../tags/tag2083.xml"/><Relationship Id="rId40" Type="http://schemas.openxmlformats.org/officeDocument/2006/relationships/tags" Target="../tags/tag2086.xml"/><Relationship Id="rId45" Type="http://schemas.openxmlformats.org/officeDocument/2006/relationships/tags" Target="../tags/tag2091.xml"/><Relationship Id="rId53" Type="http://schemas.openxmlformats.org/officeDocument/2006/relationships/image" Target="../media/image83.jpeg"/><Relationship Id="rId58" Type="http://schemas.openxmlformats.org/officeDocument/2006/relationships/image" Target="../media/image88.jpeg"/><Relationship Id="rId5" Type="http://schemas.openxmlformats.org/officeDocument/2006/relationships/tags" Target="../tags/tag2051.xml"/><Relationship Id="rId19" Type="http://schemas.openxmlformats.org/officeDocument/2006/relationships/tags" Target="../tags/tag2065.xml"/><Relationship Id="rId4" Type="http://schemas.openxmlformats.org/officeDocument/2006/relationships/tags" Target="../tags/tag2050.xml"/><Relationship Id="rId9" Type="http://schemas.openxmlformats.org/officeDocument/2006/relationships/tags" Target="../tags/tag2055.xml"/><Relationship Id="rId14" Type="http://schemas.openxmlformats.org/officeDocument/2006/relationships/tags" Target="../tags/tag2060.xml"/><Relationship Id="rId22" Type="http://schemas.openxmlformats.org/officeDocument/2006/relationships/tags" Target="../tags/tag2068.xml"/><Relationship Id="rId27" Type="http://schemas.openxmlformats.org/officeDocument/2006/relationships/tags" Target="../tags/tag2073.xml"/><Relationship Id="rId30" Type="http://schemas.openxmlformats.org/officeDocument/2006/relationships/tags" Target="../tags/tag2076.xml"/><Relationship Id="rId35" Type="http://schemas.openxmlformats.org/officeDocument/2006/relationships/tags" Target="../tags/tag2081.xml"/><Relationship Id="rId43" Type="http://schemas.openxmlformats.org/officeDocument/2006/relationships/tags" Target="../tags/tag2089.xml"/><Relationship Id="rId48" Type="http://schemas.openxmlformats.org/officeDocument/2006/relationships/tags" Target="../tags/tag2094.xml"/><Relationship Id="rId56" Type="http://schemas.openxmlformats.org/officeDocument/2006/relationships/image" Target="../media/image86.png"/><Relationship Id="rId8" Type="http://schemas.openxmlformats.org/officeDocument/2006/relationships/tags" Target="../tags/tag2054.xml"/><Relationship Id="rId51" Type="http://schemas.openxmlformats.org/officeDocument/2006/relationships/notesSlide" Target="../notesSlides/notesSlide22.xml"/><Relationship Id="rId3" Type="http://schemas.openxmlformats.org/officeDocument/2006/relationships/tags" Target="../tags/tag2049.xml"/><Relationship Id="rId12" Type="http://schemas.openxmlformats.org/officeDocument/2006/relationships/tags" Target="../tags/tag2058.xml"/><Relationship Id="rId17" Type="http://schemas.openxmlformats.org/officeDocument/2006/relationships/tags" Target="../tags/tag2063.xml"/><Relationship Id="rId25" Type="http://schemas.openxmlformats.org/officeDocument/2006/relationships/tags" Target="../tags/tag2071.xml"/><Relationship Id="rId33" Type="http://schemas.openxmlformats.org/officeDocument/2006/relationships/tags" Target="../tags/tag2079.xml"/><Relationship Id="rId38" Type="http://schemas.openxmlformats.org/officeDocument/2006/relationships/tags" Target="../tags/tag2084.xml"/><Relationship Id="rId46" Type="http://schemas.openxmlformats.org/officeDocument/2006/relationships/tags" Target="../tags/tag2092.xml"/><Relationship Id="rId20" Type="http://schemas.openxmlformats.org/officeDocument/2006/relationships/tags" Target="../tags/tag2066.xml"/><Relationship Id="rId41" Type="http://schemas.openxmlformats.org/officeDocument/2006/relationships/tags" Target="../tags/tag2087.xml"/><Relationship Id="rId54" Type="http://schemas.openxmlformats.org/officeDocument/2006/relationships/image" Target="../media/image84.jpeg"/><Relationship Id="rId1" Type="http://schemas.openxmlformats.org/officeDocument/2006/relationships/tags" Target="../tags/tag2047.xml"/><Relationship Id="rId6" Type="http://schemas.openxmlformats.org/officeDocument/2006/relationships/tags" Target="../tags/tag2052.xml"/><Relationship Id="rId15" Type="http://schemas.openxmlformats.org/officeDocument/2006/relationships/tags" Target="../tags/tag2061.xml"/><Relationship Id="rId23" Type="http://schemas.openxmlformats.org/officeDocument/2006/relationships/tags" Target="../tags/tag2069.xml"/><Relationship Id="rId28" Type="http://schemas.openxmlformats.org/officeDocument/2006/relationships/tags" Target="../tags/tag2074.xml"/><Relationship Id="rId36" Type="http://schemas.openxmlformats.org/officeDocument/2006/relationships/tags" Target="../tags/tag2082.xml"/><Relationship Id="rId49" Type="http://schemas.openxmlformats.org/officeDocument/2006/relationships/tags" Target="../tags/tag2095.xml"/><Relationship Id="rId57" Type="http://schemas.openxmlformats.org/officeDocument/2006/relationships/image" Target="../media/image87.jpeg"/><Relationship Id="rId10" Type="http://schemas.openxmlformats.org/officeDocument/2006/relationships/tags" Target="../tags/tag2056.xml"/><Relationship Id="rId31" Type="http://schemas.openxmlformats.org/officeDocument/2006/relationships/tags" Target="../tags/tag2077.xml"/><Relationship Id="rId44" Type="http://schemas.openxmlformats.org/officeDocument/2006/relationships/tags" Target="../tags/tag2090.xml"/><Relationship Id="rId52" Type="http://schemas.openxmlformats.org/officeDocument/2006/relationships/image" Target="../media/image82.png"/></Relationships>
</file>

<file path=ppt/slides/_rels/slide28.xml.rels><?xml version="1.0" encoding="UTF-8" standalone="yes"?>
<Relationships xmlns="http://schemas.openxmlformats.org/package/2006/relationships"><Relationship Id="rId8" Type="http://schemas.openxmlformats.org/officeDocument/2006/relationships/oleObject" Target="../embeddings/oleObject290.bin"/><Relationship Id="rId13" Type="http://schemas.openxmlformats.org/officeDocument/2006/relationships/image" Target="../media/image93.png"/><Relationship Id="rId3" Type="http://schemas.openxmlformats.org/officeDocument/2006/relationships/tags" Target="../tags/tag2097.xml"/><Relationship Id="rId7" Type="http://schemas.openxmlformats.org/officeDocument/2006/relationships/notesSlide" Target="../notesSlides/notesSlide23.xml"/><Relationship Id="rId12" Type="http://schemas.openxmlformats.org/officeDocument/2006/relationships/image" Target="../media/image92.emf"/><Relationship Id="rId2" Type="http://schemas.openxmlformats.org/officeDocument/2006/relationships/tags" Target="../tags/tag2096.xml"/><Relationship Id="rId1" Type="http://schemas.openxmlformats.org/officeDocument/2006/relationships/vmlDrawing" Target="../drawings/vmlDrawing283.vml"/><Relationship Id="rId6" Type="http://schemas.openxmlformats.org/officeDocument/2006/relationships/slideLayout" Target="../slideLayouts/slideLayout2.xml"/><Relationship Id="rId11" Type="http://schemas.openxmlformats.org/officeDocument/2006/relationships/image" Target="../media/image91.png"/><Relationship Id="rId5" Type="http://schemas.openxmlformats.org/officeDocument/2006/relationships/tags" Target="../tags/tag2099.xml"/><Relationship Id="rId10" Type="http://schemas.openxmlformats.org/officeDocument/2006/relationships/image" Target="../media/image90.emf"/><Relationship Id="rId4" Type="http://schemas.openxmlformats.org/officeDocument/2006/relationships/tags" Target="../tags/tag2098.xml"/><Relationship Id="rId9" Type="http://schemas.openxmlformats.org/officeDocument/2006/relationships/image" Target="../media/image89.emf"/><Relationship Id="rId14" Type="http://schemas.openxmlformats.org/officeDocument/2006/relationships/image" Target="../media/image94.png"/></Relationships>
</file>

<file path=ppt/slides/_rels/slide29.xml.rels><?xml version="1.0" encoding="UTF-8" standalone="yes"?>
<Relationships xmlns="http://schemas.openxmlformats.org/package/2006/relationships"><Relationship Id="rId8" Type="http://schemas.openxmlformats.org/officeDocument/2006/relationships/tags" Target="../tags/tag2106.xml"/><Relationship Id="rId13" Type="http://schemas.openxmlformats.org/officeDocument/2006/relationships/tags" Target="../tags/tag2111.xml"/><Relationship Id="rId18" Type="http://schemas.openxmlformats.org/officeDocument/2006/relationships/oleObject" Target="../embeddings/oleObject291.bin"/><Relationship Id="rId3" Type="http://schemas.openxmlformats.org/officeDocument/2006/relationships/tags" Target="../tags/tag2101.xml"/><Relationship Id="rId7" Type="http://schemas.openxmlformats.org/officeDocument/2006/relationships/tags" Target="../tags/tag2105.xml"/><Relationship Id="rId12" Type="http://schemas.openxmlformats.org/officeDocument/2006/relationships/tags" Target="../tags/tag2110.xml"/><Relationship Id="rId17" Type="http://schemas.openxmlformats.org/officeDocument/2006/relationships/notesSlide" Target="../notesSlides/notesSlide24.xml"/><Relationship Id="rId2" Type="http://schemas.openxmlformats.org/officeDocument/2006/relationships/tags" Target="../tags/tag2100.xml"/><Relationship Id="rId16" Type="http://schemas.openxmlformats.org/officeDocument/2006/relationships/slideLayout" Target="../slideLayouts/slideLayout2.xml"/><Relationship Id="rId20" Type="http://schemas.openxmlformats.org/officeDocument/2006/relationships/image" Target="../media/image96.png"/><Relationship Id="rId1" Type="http://schemas.openxmlformats.org/officeDocument/2006/relationships/vmlDrawing" Target="../drawings/vmlDrawing284.vml"/><Relationship Id="rId6" Type="http://schemas.openxmlformats.org/officeDocument/2006/relationships/tags" Target="../tags/tag2104.xml"/><Relationship Id="rId11" Type="http://schemas.openxmlformats.org/officeDocument/2006/relationships/tags" Target="../tags/tag2109.xml"/><Relationship Id="rId5" Type="http://schemas.openxmlformats.org/officeDocument/2006/relationships/tags" Target="../tags/tag2103.xml"/><Relationship Id="rId15" Type="http://schemas.openxmlformats.org/officeDocument/2006/relationships/tags" Target="../tags/tag2113.xml"/><Relationship Id="rId10" Type="http://schemas.openxmlformats.org/officeDocument/2006/relationships/tags" Target="../tags/tag2108.xml"/><Relationship Id="rId19" Type="http://schemas.openxmlformats.org/officeDocument/2006/relationships/image" Target="../media/image95.png"/><Relationship Id="rId4" Type="http://schemas.openxmlformats.org/officeDocument/2006/relationships/tags" Target="../tags/tag2102.xml"/><Relationship Id="rId9" Type="http://schemas.openxmlformats.org/officeDocument/2006/relationships/tags" Target="../tags/tag2107.xml"/><Relationship Id="rId14" Type="http://schemas.openxmlformats.org/officeDocument/2006/relationships/tags" Target="../tags/tag2112.xml"/></Relationships>
</file>

<file path=ppt/slides/_rels/slide3.xml.rels><?xml version="1.0" encoding="UTF-8" standalone="yes"?>
<Relationships xmlns="http://schemas.openxmlformats.org/package/2006/relationships"><Relationship Id="rId8" Type="http://schemas.openxmlformats.org/officeDocument/2006/relationships/tags" Target="../tags/tag1828.xml"/><Relationship Id="rId13" Type="http://schemas.openxmlformats.org/officeDocument/2006/relationships/tags" Target="../tags/tag1833.xml"/><Relationship Id="rId18" Type="http://schemas.openxmlformats.org/officeDocument/2006/relationships/image" Target="../media/image7.emf"/><Relationship Id="rId3" Type="http://schemas.openxmlformats.org/officeDocument/2006/relationships/tags" Target="../tags/tag1823.xml"/><Relationship Id="rId7" Type="http://schemas.openxmlformats.org/officeDocument/2006/relationships/tags" Target="../tags/tag1827.xml"/><Relationship Id="rId12" Type="http://schemas.openxmlformats.org/officeDocument/2006/relationships/tags" Target="../tags/tag1832.xml"/><Relationship Id="rId17" Type="http://schemas.openxmlformats.org/officeDocument/2006/relationships/oleObject" Target="../embeddings/oleObject262.bin"/><Relationship Id="rId2" Type="http://schemas.openxmlformats.org/officeDocument/2006/relationships/tags" Target="../tags/tag1822.xml"/><Relationship Id="rId16" Type="http://schemas.openxmlformats.org/officeDocument/2006/relationships/oleObject" Target="../embeddings/oleObject261.bin"/><Relationship Id="rId1" Type="http://schemas.openxmlformats.org/officeDocument/2006/relationships/vmlDrawing" Target="../drawings/vmlDrawing261.vml"/><Relationship Id="rId6" Type="http://schemas.openxmlformats.org/officeDocument/2006/relationships/tags" Target="../tags/tag1826.xml"/><Relationship Id="rId11" Type="http://schemas.openxmlformats.org/officeDocument/2006/relationships/tags" Target="../tags/tag1831.xml"/><Relationship Id="rId5" Type="http://schemas.openxmlformats.org/officeDocument/2006/relationships/tags" Target="../tags/tag1825.xml"/><Relationship Id="rId15" Type="http://schemas.openxmlformats.org/officeDocument/2006/relationships/notesSlide" Target="../notesSlides/notesSlide3.xml"/><Relationship Id="rId10" Type="http://schemas.openxmlformats.org/officeDocument/2006/relationships/tags" Target="../tags/tag1830.xml"/><Relationship Id="rId4" Type="http://schemas.openxmlformats.org/officeDocument/2006/relationships/tags" Target="../tags/tag1824.xml"/><Relationship Id="rId9" Type="http://schemas.openxmlformats.org/officeDocument/2006/relationships/tags" Target="../tags/tag1829.xml"/><Relationship Id="rId14"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8" Type="http://schemas.openxmlformats.org/officeDocument/2006/relationships/oleObject" Target="../embeddings/oleObject292.bin"/><Relationship Id="rId3" Type="http://schemas.openxmlformats.org/officeDocument/2006/relationships/tags" Target="../tags/tag2115.xml"/><Relationship Id="rId7" Type="http://schemas.openxmlformats.org/officeDocument/2006/relationships/notesSlide" Target="../notesSlides/notesSlide25.xml"/><Relationship Id="rId12" Type="http://schemas.openxmlformats.org/officeDocument/2006/relationships/image" Target="../media/image100.jpeg"/><Relationship Id="rId2" Type="http://schemas.openxmlformats.org/officeDocument/2006/relationships/tags" Target="../tags/tag2114.xml"/><Relationship Id="rId1" Type="http://schemas.openxmlformats.org/officeDocument/2006/relationships/vmlDrawing" Target="../drawings/vmlDrawing285.vml"/><Relationship Id="rId6" Type="http://schemas.openxmlformats.org/officeDocument/2006/relationships/slideLayout" Target="../slideLayouts/slideLayout2.xml"/><Relationship Id="rId11" Type="http://schemas.openxmlformats.org/officeDocument/2006/relationships/image" Target="../media/image99.jpeg"/><Relationship Id="rId5" Type="http://schemas.openxmlformats.org/officeDocument/2006/relationships/tags" Target="../tags/tag2117.xml"/><Relationship Id="rId10" Type="http://schemas.openxmlformats.org/officeDocument/2006/relationships/image" Target="../media/image98.jpeg"/><Relationship Id="rId4" Type="http://schemas.openxmlformats.org/officeDocument/2006/relationships/tags" Target="../tags/tag2116.xml"/><Relationship Id="rId9" Type="http://schemas.openxmlformats.org/officeDocument/2006/relationships/image" Target="../media/image97.emf"/></Relationships>
</file>

<file path=ppt/slides/_rels/slide31.xml.rels><?xml version="1.0" encoding="UTF-8" standalone="yes"?>
<Relationships xmlns="http://schemas.openxmlformats.org/package/2006/relationships"><Relationship Id="rId8" Type="http://schemas.openxmlformats.org/officeDocument/2006/relationships/tags" Target="../tags/tag2124.xml"/><Relationship Id="rId13" Type="http://schemas.openxmlformats.org/officeDocument/2006/relationships/image" Target="../media/image101.emf"/><Relationship Id="rId3" Type="http://schemas.openxmlformats.org/officeDocument/2006/relationships/tags" Target="../tags/tag2119.xml"/><Relationship Id="rId7" Type="http://schemas.openxmlformats.org/officeDocument/2006/relationships/tags" Target="../tags/tag2123.xml"/><Relationship Id="rId12" Type="http://schemas.openxmlformats.org/officeDocument/2006/relationships/oleObject" Target="../embeddings/oleObject294.bin"/><Relationship Id="rId2" Type="http://schemas.openxmlformats.org/officeDocument/2006/relationships/tags" Target="../tags/tag2118.xml"/><Relationship Id="rId16" Type="http://schemas.openxmlformats.org/officeDocument/2006/relationships/image" Target="../media/image104.emf"/><Relationship Id="rId1" Type="http://schemas.openxmlformats.org/officeDocument/2006/relationships/vmlDrawing" Target="../drawings/vmlDrawing286.vml"/><Relationship Id="rId6" Type="http://schemas.openxmlformats.org/officeDocument/2006/relationships/tags" Target="../tags/tag2122.xml"/><Relationship Id="rId11" Type="http://schemas.openxmlformats.org/officeDocument/2006/relationships/oleObject" Target="../embeddings/oleObject293.bin"/><Relationship Id="rId5" Type="http://schemas.openxmlformats.org/officeDocument/2006/relationships/tags" Target="../tags/tag2121.xml"/><Relationship Id="rId15" Type="http://schemas.openxmlformats.org/officeDocument/2006/relationships/image" Target="../media/image103.png"/><Relationship Id="rId10" Type="http://schemas.openxmlformats.org/officeDocument/2006/relationships/notesSlide" Target="../notesSlides/notesSlide26.xml"/><Relationship Id="rId4" Type="http://schemas.openxmlformats.org/officeDocument/2006/relationships/tags" Target="../tags/tag2120.xml"/><Relationship Id="rId9" Type="http://schemas.openxmlformats.org/officeDocument/2006/relationships/slideLayout" Target="../slideLayouts/slideLayout169.xml"/><Relationship Id="rId14" Type="http://schemas.openxmlformats.org/officeDocument/2006/relationships/image" Target="../media/image102.png"/></Relationships>
</file>

<file path=ppt/slides/_rels/slide32.xml.rels><?xml version="1.0" encoding="UTF-8" standalone="yes"?>
<Relationships xmlns="http://schemas.openxmlformats.org/package/2006/relationships"><Relationship Id="rId8" Type="http://schemas.openxmlformats.org/officeDocument/2006/relationships/oleObject" Target="../embeddings/oleObject295.bin"/><Relationship Id="rId13" Type="http://schemas.openxmlformats.org/officeDocument/2006/relationships/image" Target="../media/image109.png"/><Relationship Id="rId3" Type="http://schemas.openxmlformats.org/officeDocument/2006/relationships/tags" Target="../tags/tag2126.xml"/><Relationship Id="rId7" Type="http://schemas.openxmlformats.org/officeDocument/2006/relationships/notesSlide" Target="../notesSlides/notesSlide27.xml"/><Relationship Id="rId12" Type="http://schemas.openxmlformats.org/officeDocument/2006/relationships/image" Target="../media/image108.png"/><Relationship Id="rId17" Type="http://schemas.openxmlformats.org/officeDocument/2006/relationships/image" Target="../media/image113.png"/><Relationship Id="rId2" Type="http://schemas.openxmlformats.org/officeDocument/2006/relationships/tags" Target="../tags/tag2125.xml"/><Relationship Id="rId16" Type="http://schemas.openxmlformats.org/officeDocument/2006/relationships/image" Target="../media/image112.png"/><Relationship Id="rId1" Type="http://schemas.openxmlformats.org/officeDocument/2006/relationships/vmlDrawing" Target="../drawings/vmlDrawing287.vml"/><Relationship Id="rId6" Type="http://schemas.openxmlformats.org/officeDocument/2006/relationships/slideLayout" Target="../slideLayouts/slideLayout173.xml"/><Relationship Id="rId11" Type="http://schemas.openxmlformats.org/officeDocument/2006/relationships/image" Target="../media/image107.png"/><Relationship Id="rId5" Type="http://schemas.openxmlformats.org/officeDocument/2006/relationships/tags" Target="../tags/tag2128.xml"/><Relationship Id="rId15" Type="http://schemas.openxmlformats.org/officeDocument/2006/relationships/image" Target="../media/image111.png"/><Relationship Id="rId10" Type="http://schemas.openxmlformats.org/officeDocument/2006/relationships/image" Target="../media/image106.png"/><Relationship Id="rId4" Type="http://schemas.openxmlformats.org/officeDocument/2006/relationships/tags" Target="../tags/tag2127.xml"/><Relationship Id="rId9" Type="http://schemas.openxmlformats.org/officeDocument/2006/relationships/image" Target="../media/image105.png"/><Relationship Id="rId14" Type="http://schemas.openxmlformats.org/officeDocument/2006/relationships/image" Target="../media/image110.png"/></Relationships>
</file>

<file path=ppt/slides/_rels/slide33.xml.rels><?xml version="1.0" encoding="UTF-8" standalone="yes"?>
<Relationships xmlns="http://schemas.openxmlformats.org/package/2006/relationships"><Relationship Id="rId8" Type="http://schemas.openxmlformats.org/officeDocument/2006/relationships/tags" Target="../tags/tag2135.xml"/><Relationship Id="rId13" Type="http://schemas.openxmlformats.org/officeDocument/2006/relationships/image" Target="../media/image116.jpeg"/><Relationship Id="rId3" Type="http://schemas.openxmlformats.org/officeDocument/2006/relationships/tags" Target="../tags/tag2130.xml"/><Relationship Id="rId7" Type="http://schemas.openxmlformats.org/officeDocument/2006/relationships/tags" Target="../tags/tag2134.xml"/><Relationship Id="rId12" Type="http://schemas.openxmlformats.org/officeDocument/2006/relationships/image" Target="../media/image115.jpeg"/><Relationship Id="rId2" Type="http://schemas.openxmlformats.org/officeDocument/2006/relationships/tags" Target="../tags/tag2129.xml"/><Relationship Id="rId1" Type="http://schemas.openxmlformats.org/officeDocument/2006/relationships/vmlDrawing" Target="../drawings/vmlDrawing288.vml"/><Relationship Id="rId6" Type="http://schemas.openxmlformats.org/officeDocument/2006/relationships/tags" Target="../tags/tag2133.xml"/><Relationship Id="rId11" Type="http://schemas.openxmlformats.org/officeDocument/2006/relationships/image" Target="../media/image114.emf"/><Relationship Id="rId5" Type="http://schemas.openxmlformats.org/officeDocument/2006/relationships/tags" Target="../tags/tag2132.xml"/><Relationship Id="rId15" Type="http://schemas.openxmlformats.org/officeDocument/2006/relationships/image" Target="../media/image118.jpeg"/><Relationship Id="rId10" Type="http://schemas.openxmlformats.org/officeDocument/2006/relationships/oleObject" Target="../embeddings/oleObject296.bin"/><Relationship Id="rId4" Type="http://schemas.openxmlformats.org/officeDocument/2006/relationships/tags" Target="../tags/tag2131.xml"/><Relationship Id="rId9" Type="http://schemas.openxmlformats.org/officeDocument/2006/relationships/slideLayout" Target="../slideLayouts/slideLayout181.xml"/><Relationship Id="rId14" Type="http://schemas.openxmlformats.org/officeDocument/2006/relationships/image" Target="../media/image117.jpeg"/></Relationships>
</file>

<file path=ppt/slides/_rels/slide34.xml.rels><?xml version="1.0" encoding="UTF-8" standalone="yes"?>
<Relationships xmlns="http://schemas.openxmlformats.org/package/2006/relationships"><Relationship Id="rId8" Type="http://schemas.openxmlformats.org/officeDocument/2006/relationships/oleObject" Target="../embeddings/oleObject297.bin"/><Relationship Id="rId13" Type="http://schemas.openxmlformats.org/officeDocument/2006/relationships/oleObject" Target="../embeddings/oleObject300.bin"/><Relationship Id="rId3" Type="http://schemas.openxmlformats.org/officeDocument/2006/relationships/tags" Target="../tags/tag2137.xml"/><Relationship Id="rId7" Type="http://schemas.openxmlformats.org/officeDocument/2006/relationships/notesSlide" Target="../notesSlides/notesSlide28.xml"/><Relationship Id="rId12" Type="http://schemas.openxmlformats.org/officeDocument/2006/relationships/image" Target="../media/image120.wmf"/><Relationship Id="rId2" Type="http://schemas.openxmlformats.org/officeDocument/2006/relationships/tags" Target="../tags/tag2136.xml"/><Relationship Id="rId1" Type="http://schemas.openxmlformats.org/officeDocument/2006/relationships/vmlDrawing" Target="../drawings/vmlDrawing289.vml"/><Relationship Id="rId6" Type="http://schemas.openxmlformats.org/officeDocument/2006/relationships/slideLayout" Target="../slideLayouts/slideLayout189.xml"/><Relationship Id="rId11" Type="http://schemas.openxmlformats.org/officeDocument/2006/relationships/oleObject" Target="../embeddings/oleObject299.bin"/><Relationship Id="rId5" Type="http://schemas.openxmlformats.org/officeDocument/2006/relationships/tags" Target="../tags/tag2139.xml"/><Relationship Id="rId10" Type="http://schemas.openxmlformats.org/officeDocument/2006/relationships/image" Target="../media/image119.emf"/><Relationship Id="rId4" Type="http://schemas.openxmlformats.org/officeDocument/2006/relationships/tags" Target="../tags/tag2138.xml"/><Relationship Id="rId9" Type="http://schemas.openxmlformats.org/officeDocument/2006/relationships/oleObject" Target="../embeddings/oleObject298.bin"/><Relationship Id="rId14" Type="http://schemas.openxmlformats.org/officeDocument/2006/relationships/image" Target="../media/image121.emf"/></Relationships>
</file>

<file path=ppt/slides/_rels/slide35.xml.rels><?xml version="1.0" encoding="UTF-8" standalone="yes"?>
<Relationships xmlns="http://schemas.openxmlformats.org/package/2006/relationships"><Relationship Id="rId8" Type="http://schemas.openxmlformats.org/officeDocument/2006/relationships/tags" Target="../tags/tag2146.xml"/><Relationship Id="rId13" Type="http://schemas.openxmlformats.org/officeDocument/2006/relationships/tags" Target="../tags/tag2151.xml"/><Relationship Id="rId18" Type="http://schemas.openxmlformats.org/officeDocument/2006/relationships/tags" Target="../tags/tag2156.xml"/><Relationship Id="rId26" Type="http://schemas.openxmlformats.org/officeDocument/2006/relationships/image" Target="../media/image125.jpeg"/><Relationship Id="rId3" Type="http://schemas.openxmlformats.org/officeDocument/2006/relationships/tags" Target="../tags/tag2141.xml"/><Relationship Id="rId21" Type="http://schemas.openxmlformats.org/officeDocument/2006/relationships/notesSlide" Target="../notesSlides/notesSlide29.xml"/><Relationship Id="rId7" Type="http://schemas.openxmlformats.org/officeDocument/2006/relationships/tags" Target="../tags/tag2145.xml"/><Relationship Id="rId12" Type="http://schemas.openxmlformats.org/officeDocument/2006/relationships/tags" Target="../tags/tag2150.xml"/><Relationship Id="rId17" Type="http://schemas.openxmlformats.org/officeDocument/2006/relationships/tags" Target="../tags/tag2155.xml"/><Relationship Id="rId25" Type="http://schemas.openxmlformats.org/officeDocument/2006/relationships/image" Target="../media/image124.jpeg"/><Relationship Id="rId2" Type="http://schemas.openxmlformats.org/officeDocument/2006/relationships/tags" Target="../tags/tag2140.xml"/><Relationship Id="rId16" Type="http://schemas.openxmlformats.org/officeDocument/2006/relationships/tags" Target="../tags/tag2154.xml"/><Relationship Id="rId20" Type="http://schemas.openxmlformats.org/officeDocument/2006/relationships/slideLayout" Target="../slideLayouts/slideLayout193.xml"/><Relationship Id="rId29" Type="http://schemas.openxmlformats.org/officeDocument/2006/relationships/image" Target="../media/image128.jpeg"/><Relationship Id="rId1" Type="http://schemas.openxmlformats.org/officeDocument/2006/relationships/vmlDrawing" Target="../drawings/vmlDrawing290.vml"/><Relationship Id="rId6" Type="http://schemas.openxmlformats.org/officeDocument/2006/relationships/tags" Target="../tags/tag2144.xml"/><Relationship Id="rId11" Type="http://schemas.openxmlformats.org/officeDocument/2006/relationships/tags" Target="../tags/tag2149.xml"/><Relationship Id="rId24" Type="http://schemas.openxmlformats.org/officeDocument/2006/relationships/image" Target="../media/image123.jpeg"/><Relationship Id="rId5" Type="http://schemas.openxmlformats.org/officeDocument/2006/relationships/tags" Target="../tags/tag2143.xml"/><Relationship Id="rId15" Type="http://schemas.openxmlformats.org/officeDocument/2006/relationships/tags" Target="../tags/tag2153.xml"/><Relationship Id="rId23" Type="http://schemas.openxmlformats.org/officeDocument/2006/relationships/image" Target="../media/image122.jpeg"/><Relationship Id="rId28" Type="http://schemas.openxmlformats.org/officeDocument/2006/relationships/image" Target="../media/image127.jpeg"/><Relationship Id="rId10" Type="http://schemas.openxmlformats.org/officeDocument/2006/relationships/tags" Target="../tags/tag2148.xml"/><Relationship Id="rId19" Type="http://schemas.openxmlformats.org/officeDocument/2006/relationships/tags" Target="../tags/tag2157.xml"/><Relationship Id="rId31" Type="http://schemas.openxmlformats.org/officeDocument/2006/relationships/image" Target="../media/image130.jpeg"/><Relationship Id="rId4" Type="http://schemas.openxmlformats.org/officeDocument/2006/relationships/tags" Target="../tags/tag2142.xml"/><Relationship Id="rId9" Type="http://schemas.openxmlformats.org/officeDocument/2006/relationships/tags" Target="../tags/tag2147.xml"/><Relationship Id="rId14" Type="http://schemas.openxmlformats.org/officeDocument/2006/relationships/tags" Target="../tags/tag2152.xml"/><Relationship Id="rId22" Type="http://schemas.openxmlformats.org/officeDocument/2006/relationships/oleObject" Target="../embeddings/oleObject301.bin"/><Relationship Id="rId27" Type="http://schemas.openxmlformats.org/officeDocument/2006/relationships/image" Target="../media/image126.jpeg"/><Relationship Id="rId30" Type="http://schemas.openxmlformats.org/officeDocument/2006/relationships/image" Target="../media/image129.jpeg"/></Relationships>
</file>

<file path=ppt/slides/_rels/slide36.xml.rels><?xml version="1.0" encoding="UTF-8" standalone="yes"?>
<Relationships xmlns="http://schemas.openxmlformats.org/package/2006/relationships"><Relationship Id="rId8" Type="http://schemas.openxmlformats.org/officeDocument/2006/relationships/tags" Target="../tags/tag2164.xml"/><Relationship Id="rId13" Type="http://schemas.openxmlformats.org/officeDocument/2006/relationships/image" Target="../media/image70.emf"/><Relationship Id="rId18" Type="http://schemas.openxmlformats.org/officeDocument/2006/relationships/slide" Target="slide53.xml"/><Relationship Id="rId3" Type="http://schemas.openxmlformats.org/officeDocument/2006/relationships/tags" Target="../tags/tag2159.xml"/><Relationship Id="rId7" Type="http://schemas.openxmlformats.org/officeDocument/2006/relationships/tags" Target="../tags/tag2163.xml"/><Relationship Id="rId12" Type="http://schemas.openxmlformats.org/officeDocument/2006/relationships/oleObject" Target="../embeddings/oleObject302.bin"/><Relationship Id="rId17" Type="http://schemas.openxmlformats.org/officeDocument/2006/relationships/slide" Target="slide48.xml"/><Relationship Id="rId2" Type="http://schemas.openxmlformats.org/officeDocument/2006/relationships/tags" Target="../tags/tag2158.xml"/><Relationship Id="rId16" Type="http://schemas.openxmlformats.org/officeDocument/2006/relationships/slide" Target="slide39.xml"/><Relationship Id="rId1" Type="http://schemas.openxmlformats.org/officeDocument/2006/relationships/vmlDrawing" Target="../drawings/vmlDrawing291.vml"/><Relationship Id="rId6" Type="http://schemas.openxmlformats.org/officeDocument/2006/relationships/tags" Target="../tags/tag2162.xml"/><Relationship Id="rId11" Type="http://schemas.openxmlformats.org/officeDocument/2006/relationships/notesSlide" Target="../notesSlides/notesSlide30.xml"/><Relationship Id="rId5" Type="http://schemas.openxmlformats.org/officeDocument/2006/relationships/tags" Target="../tags/tag2161.xml"/><Relationship Id="rId15" Type="http://schemas.openxmlformats.org/officeDocument/2006/relationships/slide" Target="slide19.xml"/><Relationship Id="rId10" Type="http://schemas.openxmlformats.org/officeDocument/2006/relationships/slideLayout" Target="../slideLayouts/slideLayout198.xml"/><Relationship Id="rId4" Type="http://schemas.openxmlformats.org/officeDocument/2006/relationships/tags" Target="../tags/tag2160.xml"/><Relationship Id="rId9" Type="http://schemas.openxmlformats.org/officeDocument/2006/relationships/tags" Target="../tags/tag2165.xml"/><Relationship Id="rId14" Type="http://schemas.openxmlformats.org/officeDocument/2006/relationships/slide" Target="slide9.xml"/></Relationships>
</file>

<file path=ppt/slides/_rels/slide37.xml.rels><?xml version="1.0" encoding="UTF-8" standalone="yes"?>
<Relationships xmlns="http://schemas.openxmlformats.org/package/2006/relationships"><Relationship Id="rId13" Type="http://schemas.openxmlformats.org/officeDocument/2006/relationships/tags" Target="../tags/tag2177.xml"/><Relationship Id="rId18" Type="http://schemas.openxmlformats.org/officeDocument/2006/relationships/tags" Target="../tags/tag2182.xml"/><Relationship Id="rId26" Type="http://schemas.openxmlformats.org/officeDocument/2006/relationships/image" Target="../media/image133.jpeg"/><Relationship Id="rId39" Type="http://schemas.openxmlformats.org/officeDocument/2006/relationships/image" Target="../media/image146.emf"/><Relationship Id="rId21" Type="http://schemas.openxmlformats.org/officeDocument/2006/relationships/notesSlide" Target="../notesSlides/notesSlide31.xml"/><Relationship Id="rId34" Type="http://schemas.openxmlformats.org/officeDocument/2006/relationships/image" Target="../media/image141.jpeg"/><Relationship Id="rId7" Type="http://schemas.openxmlformats.org/officeDocument/2006/relationships/tags" Target="../tags/tag2171.xml"/><Relationship Id="rId12" Type="http://schemas.openxmlformats.org/officeDocument/2006/relationships/tags" Target="../tags/tag2176.xml"/><Relationship Id="rId17" Type="http://schemas.openxmlformats.org/officeDocument/2006/relationships/tags" Target="../tags/tag2181.xml"/><Relationship Id="rId25" Type="http://schemas.openxmlformats.org/officeDocument/2006/relationships/image" Target="../media/image132.png"/><Relationship Id="rId33" Type="http://schemas.openxmlformats.org/officeDocument/2006/relationships/image" Target="../media/image140.jpeg"/><Relationship Id="rId38" Type="http://schemas.openxmlformats.org/officeDocument/2006/relationships/image" Target="../media/image145.jpeg"/><Relationship Id="rId2" Type="http://schemas.openxmlformats.org/officeDocument/2006/relationships/tags" Target="../tags/tag2166.xml"/><Relationship Id="rId16" Type="http://schemas.openxmlformats.org/officeDocument/2006/relationships/tags" Target="../tags/tag2180.xml"/><Relationship Id="rId20" Type="http://schemas.openxmlformats.org/officeDocument/2006/relationships/slideLayout" Target="../slideLayouts/slideLayout201.xml"/><Relationship Id="rId29" Type="http://schemas.openxmlformats.org/officeDocument/2006/relationships/image" Target="../media/image136.jpeg"/><Relationship Id="rId1" Type="http://schemas.openxmlformats.org/officeDocument/2006/relationships/vmlDrawing" Target="../drawings/vmlDrawing292.vml"/><Relationship Id="rId6" Type="http://schemas.openxmlformats.org/officeDocument/2006/relationships/tags" Target="../tags/tag2170.xml"/><Relationship Id="rId11" Type="http://schemas.openxmlformats.org/officeDocument/2006/relationships/tags" Target="../tags/tag2175.xml"/><Relationship Id="rId24" Type="http://schemas.openxmlformats.org/officeDocument/2006/relationships/image" Target="../media/image131.jpeg"/><Relationship Id="rId32" Type="http://schemas.openxmlformats.org/officeDocument/2006/relationships/image" Target="../media/image139.jpeg"/><Relationship Id="rId37" Type="http://schemas.openxmlformats.org/officeDocument/2006/relationships/image" Target="../media/image144.jpeg"/><Relationship Id="rId5" Type="http://schemas.openxmlformats.org/officeDocument/2006/relationships/tags" Target="../tags/tag2169.xml"/><Relationship Id="rId15" Type="http://schemas.openxmlformats.org/officeDocument/2006/relationships/tags" Target="../tags/tag2179.xml"/><Relationship Id="rId23" Type="http://schemas.openxmlformats.org/officeDocument/2006/relationships/image" Target="../media/image4.emf"/><Relationship Id="rId28" Type="http://schemas.openxmlformats.org/officeDocument/2006/relationships/image" Target="../media/image135.jpeg"/><Relationship Id="rId36" Type="http://schemas.openxmlformats.org/officeDocument/2006/relationships/image" Target="../media/image143.jpeg"/><Relationship Id="rId10" Type="http://schemas.openxmlformats.org/officeDocument/2006/relationships/tags" Target="../tags/tag2174.xml"/><Relationship Id="rId19" Type="http://schemas.openxmlformats.org/officeDocument/2006/relationships/tags" Target="../tags/tag2183.xml"/><Relationship Id="rId31" Type="http://schemas.openxmlformats.org/officeDocument/2006/relationships/image" Target="../media/image138.jpeg"/><Relationship Id="rId4" Type="http://schemas.openxmlformats.org/officeDocument/2006/relationships/tags" Target="../tags/tag2168.xml"/><Relationship Id="rId9" Type="http://schemas.openxmlformats.org/officeDocument/2006/relationships/tags" Target="../tags/tag2173.xml"/><Relationship Id="rId14" Type="http://schemas.openxmlformats.org/officeDocument/2006/relationships/tags" Target="../tags/tag2178.xml"/><Relationship Id="rId22" Type="http://schemas.openxmlformats.org/officeDocument/2006/relationships/oleObject" Target="../embeddings/oleObject303.bin"/><Relationship Id="rId27" Type="http://schemas.openxmlformats.org/officeDocument/2006/relationships/image" Target="../media/image134.jpeg"/><Relationship Id="rId30" Type="http://schemas.openxmlformats.org/officeDocument/2006/relationships/image" Target="../media/image137.jpeg"/><Relationship Id="rId35" Type="http://schemas.openxmlformats.org/officeDocument/2006/relationships/image" Target="../media/image142.jpeg"/><Relationship Id="rId8" Type="http://schemas.openxmlformats.org/officeDocument/2006/relationships/tags" Target="../tags/tag2172.xml"/><Relationship Id="rId3" Type="http://schemas.openxmlformats.org/officeDocument/2006/relationships/tags" Target="../tags/tag2167.xml"/></Relationships>
</file>

<file path=ppt/slides/_rels/slide38.xml.rels><?xml version="1.0" encoding="UTF-8" standalone="yes"?>
<Relationships xmlns="http://schemas.openxmlformats.org/package/2006/relationships"><Relationship Id="rId8" Type="http://schemas.openxmlformats.org/officeDocument/2006/relationships/image" Target="../media/image4.emf"/><Relationship Id="rId3" Type="http://schemas.openxmlformats.org/officeDocument/2006/relationships/tags" Target="../tags/tag2185.xml"/><Relationship Id="rId7" Type="http://schemas.openxmlformats.org/officeDocument/2006/relationships/oleObject" Target="../embeddings/oleObject304.bin"/><Relationship Id="rId12" Type="http://schemas.openxmlformats.org/officeDocument/2006/relationships/image" Target="../media/image150.jpeg"/><Relationship Id="rId2" Type="http://schemas.openxmlformats.org/officeDocument/2006/relationships/tags" Target="../tags/tag2184.xml"/><Relationship Id="rId1" Type="http://schemas.openxmlformats.org/officeDocument/2006/relationships/vmlDrawing" Target="../drawings/vmlDrawing293.vml"/><Relationship Id="rId6" Type="http://schemas.openxmlformats.org/officeDocument/2006/relationships/notesSlide" Target="../notesSlides/notesSlide32.xml"/><Relationship Id="rId11" Type="http://schemas.openxmlformats.org/officeDocument/2006/relationships/image" Target="../media/image149.jpeg"/><Relationship Id="rId5" Type="http://schemas.openxmlformats.org/officeDocument/2006/relationships/slideLayout" Target="../slideLayouts/slideLayout2.xml"/><Relationship Id="rId10" Type="http://schemas.openxmlformats.org/officeDocument/2006/relationships/image" Target="../media/image148.jpeg"/><Relationship Id="rId4" Type="http://schemas.openxmlformats.org/officeDocument/2006/relationships/tags" Target="../tags/tag2186.xml"/><Relationship Id="rId9" Type="http://schemas.openxmlformats.org/officeDocument/2006/relationships/image" Target="../media/image147.jpeg"/></Relationships>
</file>

<file path=ppt/slides/_rels/slide39.xml.rels><?xml version="1.0" encoding="UTF-8" standalone="yes"?>
<Relationships xmlns="http://schemas.openxmlformats.org/package/2006/relationships"><Relationship Id="rId8" Type="http://schemas.openxmlformats.org/officeDocument/2006/relationships/tags" Target="../tags/tag2193.xml"/><Relationship Id="rId13" Type="http://schemas.openxmlformats.org/officeDocument/2006/relationships/image" Target="../media/image70.emf"/><Relationship Id="rId18" Type="http://schemas.openxmlformats.org/officeDocument/2006/relationships/slide" Target="slide53.xml"/><Relationship Id="rId3" Type="http://schemas.openxmlformats.org/officeDocument/2006/relationships/tags" Target="../tags/tag2188.xml"/><Relationship Id="rId7" Type="http://schemas.openxmlformats.org/officeDocument/2006/relationships/tags" Target="../tags/tag2192.xml"/><Relationship Id="rId12" Type="http://schemas.openxmlformats.org/officeDocument/2006/relationships/oleObject" Target="../embeddings/oleObject305.bin"/><Relationship Id="rId17" Type="http://schemas.openxmlformats.org/officeDocument/2006/relationships/slide" Target="slide48.xml"/><Relationship Id="rId2" Type="http://schemas.openxmlformats.org/officeDocument/2006/relationships/tags" Target="../tags/tag2187.xml"/><Relationship Id="rId16" Type="http://schemas.openxmlformats.org/officeDocument/2006/relationships/slide" Target="slide36.xml"/><Relationship Id="rId1" Type="http://schemas.openxmlformats.org/officeDocument/2006/relationships/vmlDrawing" Target="../drawings/vmlDrawing294.vml"/><Relationship Id="rId6" Type="http://schemas.openxmlformats.org/officeDocument/2006/relationships/tags" Target="../tags/tag2191.xml"/><Relationship Id="rId11" Type="http://schemas.openxmlformats.org/officeDocument/2006/relationships/notesSlide" Target="../notesSlides/notesSlide33.xml"/><Relationship Id="rId5" Type="http://schemas.openxmlformats.org/officeDocument/2006/relationships/tags" Target="../tags/tag2190.xml"/><Relationship Id="rId15" Type="http://schemas.openxmlformats.org/officeDocument/2006/relationships/slide" Target="slide19.xml"/><Relationship Id="rId10" Type="http://schemas.openxmlformats.org/officeDocument/2006/relationships/slideLayout" Target="../slideLayouts/slideLayout67.xml"/><Relationship Id="rId4" Type="http://schemas.openxmlformats.org/officeDocument/2006/relationships/tags" Target="../tags/tag2189.xml"/><Relationship Id="rId9" Type="http://schemas.openxmlformats.org/officeDocument/2006/relationships/tags" Target="../tags/tag2194.xml"/><Relationship Id="rId14" Type="http://schemas.openxmlformats.org/officeDocument/2006/relationships/slide" Target="slide9.xml"/></Relationships>
</file>

<file path=ppt/slides/_rels/slide4.xml.rels><?xml version="1.0" encoding="UTF-8" standalone="yes"?>
<Relationships xmlns="http://schemas.openxmlformats.org/package/2006/relationships"><Relationship Id="rId8" Type="http://schemas.openxmlformats.org/officeDocument/2006/relationships/oleObject" Target="../embeddings/oleObject263.bin"/><Relationship Id="rId13" Type="http://schemas.openxmlformats.org/officeDocument/2006/relationships/image" Target="../media/image12.png"/><Relationship Id="rId3" Type="http://schemas.openxmlformats.org/officeDocument/2006/relationships/tags" Target="../tags/tag1835.xml"/><Relationship Id="rId7" Type="http://schemas.openxmlformats.org/officeDocument/2006/relationships/notesSlide" Target="../notesSlides/notesSlide4.xml"/><Relationship Id="rId12" Type="http://schemas.openxmlformats.org/officeDocument/2006/relationships/image" Target="../media/image11.jpeg"/><Relationship Id="rId17" Type="http://schemas.openxmlformats.org/officeDocument/2006/relationships/image" Target="../media/image16.png"/><Relationship Id="rId2" Type="http://schemas.openxmlformats.org/officeDocument/2006/relationships/tags" Target="../tags/tag1834.xml"/><Relationship Id="rId16" Type="http://schemas.openxmlformats.org/officeDocument/2006/relationships/image" Target="../media/image15.png"/><Relationship Id="rId1" Type="http://schemas.openxmlformats.org/officeDocument/2006/relationships/vmlDrawing" Target="../drawings/vmlDrawing262.vml"/><Relationship Id="rId6" Type="http://schemas.openxmlformats.org/officeDocument/2006/relationships/slideLayout" Target="../slideLayouts/slideLayout2.xml"/><Relationship Id="rId11" Type="http://schemas.openxmlformats.org/officeDocument/2006/relationships/image" Target="../media/image10.png"/><Relationship Id="rId5" Type="http://schemas.openxmlformats.org/officeDocument/2006/relationships/tags" Target="../tags/tag1837.xml"/><Relationship Id="rId15" Type="http://schemas.openxmlformats.org/officeDocument/2006/relationships/image" Target="../media/image14.png"/><Relationship Id="rId10" Type="http://schemas.openxmlformats.org/officeDocument/2006/relationships/image" Target="../media/image9.jpeg"/><Relationship Id="rId4" Type="http://schemas.openxmlformats.org/officeDocument/2006/relationships/tags" Target="../tags/tag1836.xml"/><Relationship Id="rId9" Type="http://schemas.openxmlformats.org/officeDocument/2006/relationships/image" Target="../media/image8.png"/><Relationship Id="rId14" Type="http://schemas.openxmlformats.org/officeDocument/2006/relationships/image" Target="../media/image13.png"/></Relationships>
</file>

<file path=ppt/slides/_rels/slide40.xml.rels><?xml version="1.0" encoding="UTF-8" standalone="yes"?>
<Relationships xmlns="http://schemas.openxmlformats.org/package/2006/relationships"><Relationship Id="rId3" Type="http://schemas.openxmlformats.org/officeDocument/2006/relationships/tags" Target="../tags/tag2196.xml"/><Relationship Id="rId7" Type="http://schemas.openxmlformats.org/officeDocument/2006/relationships/image" Target="../media/image151.emf"/><Relationship Id="rId2" Type="http://schemas.openxmlformats.org/officeDocument/2006/relationships/tags" Target="../tags/tag2195.xml"/><Relationship Id="rId1" Type="http://schemas.openxmlformats.org/officeDocument/2006/relationships/vmlDrawing" Target="../drawings/vmlDrawing295.vml"/><Relationship Id="rId6" Type="http://schemas.openxmlformats.org/officeDocument/2006/relationships/oleObject" Target="../embeddings/oleObject306.bin"/><Relationship Id="rId5" Type="http://schemas.openxmlformats.org/officeDocument/2006/relationships/notesSlide" Target="../notesSlides/notesSlide34.xml"/><Relationship Id="rId4" Type="http://schemas.openxmlformats.org/officeDocument/2006/relationships/slideLayout" Target="../slideLayouts/slideLayout66.xml"/></Relationships>
</file>

<file path=ppt/slides/_rels/slide41.xml.rels><?xml version="1.0" encoding="UTF-8" standalone="yes"?>
<Relationships xmlns="http://schemas.openxmlformats.org/package/2006/relationships"><Relationship Id="rId8" Type="http://schemas.openxmlformats.org/officeDocument/2006/relationships/chart" Target="../charts/chart1.xml"/><Relationship Id="rId3" Type="http://schemas.openxmlformats.org/officeDocument/2006/relationships/tags" Target="../tags/tag2198.xml"/><Relationship Id="rId7" Type="http://schemas.openxmlformats.org/officeDocument/2006/relationships/image" Target="../media/image2.emf"/><Relationship Id="rId2" Type="http://schemas.openxmlformats.org/officeDocument/2006/relationships/tags" Target="../tags/tag2197.xml"/><Relationship Id="rId1" Type="http://schemas.openxmlformats.org/officeDocument/2006/relationships/vmlDrawing" Target="../drawings/vmlDrawing296.vml"/><Relationship Id="rId6" Type="http://schemas.openxmlformats.org/officeDocument/2006/relationships/oleObject" Target="../embeddings/oleObject307.bin"/><Relationship Id="rId5" Type="http://schemas.openxmlformats.org/officeDocument/2006/relationships/slideLayout" Target="../slideLayouts/slideLayout66.xml"/><Relationship Id="rId4" Type="http://schemas.openxmlformats.org/officeDocument/2006/relationships/tags" Target="../tags/tag2199.xml"/></Relationships>
</file>

<file path=ppt/slides/_rels/slide42.xml.rels><?xml version="1.0" encoding="UTF-8" standalone="yes"?>
<Relationships xmlns="http://schemas.openxmlformats.org/package/2006/relationships"><Relationship Id="rId13" Type="http://schemas.openxmlformats.org/officeDocument/2006/relationships/tags" Target="../tags/tag2211.xml"/><Relationship Id="rId18" Type="http://schemas.openxmlformats.org/officeDocument/2006/relationships/tags" Target="../tags/tag2216.xml"/><Relationship Id="rId26" Type="http://schemas.openxmlformats.org/officeDocument/2006/relationships/tags" Target="../tags/tag2224.xml"/><Relationship Id="rId39" Type="http://schemas.openxmlformats.org/officeDocument/2006/relationships/tags" Target="../tags/tag2237.xml"/><Relationship Id="rId21" Type="http://schemas.openxmlformats.org/officeDocument/2006/relationships/tags" Target="../tags/tag2219.xml"/><Relationship Id="rId34" Type="http://schemas.openxmlformats.org/officeDocument/2006/relationships/tags" Target="../tags/tag2232.xml"/><Relationship Id="rId42" Type="http://schemas.openxmlformats.org/officeDocument/2006/relationships/oleObject" Target="../embeddings/oleObject308.bin"/><Relationship Id="rId47" Type="http://schemas.openxmlformats.org/officeDocument/2006/relationships/image" Target="../media/image153.emf"/><Relationship Id="rId50" Type="http://schemas.openxmlformats.org/officeDocument/2006/relationships/image" Target="../media/image156.png"/><Relationship Id="rId55" Type="http://schemas.openxmlformats.org/officeDocument/2006/relationships/image" Target="../media/image161.png"/><Relationship Id="rId7" Type="http://schemas.openxmlformats.org/officeDocument/2006/relationships/tags" Target="../tags/tag2205.xml"/><Relationship Id="rId2" Type="http://schemas.openxmlformats.org/officeDocument/2006/relationships/tags" Target="../tags/tag2200.xml"/><Relationship Id="rId16" Type="http://schemas.openxmlformats.org/officeDocument/2006/relationships/tags" Target="../tags/tag2214.xml"/><Relationship Id="rId29" Type="http://schemas.openxmlformats.org/officeDocument/2006/relationships/tags" Target="../tags/tag2227.xml"/><Relationship Id="rId11" Type="http://schemas.openxmlformats.org/officeDocument/2006/relationships/tags" Target="../tags/tag2209.xml"/><Relationship Id="rId24" Type="http://schemas.openxmlformats.org/officeDocument/2006/relationships/tags" Target="../tags/tag2222.xml"/><Relationship Id="rId32" Type="http://schemas.openxmlformats.org/officeDocument/2006/relationships/tags" Target="../tags/tag2230.xml"/><Relationship Id="rId37" Type="http://schemas.openxmlformats.org/officeDocument/2006/relationships/tags" Target="../tags/tag2235.xml"/><Relationship Id="rId40" Type="http://schemas.openxmlformats.org/officeDocument/2006/relationships/tags" Target="../tags/tag2238.xml"/><Relationship Id="rId45" Type="http://schemas.openxmlformats.org/officeDocument/2006/relationships/image" Target="../media/image152.emf"/><Relationship Id="rId53" Type="http://schemas.openxmlformats.org/officeDocument/2006/relationships/image" Target="../media/image159.gif"/><Relationship Id="rId5" Type="http://schemas.openxmlformats.org/officeDocument/2006/relationships/tags" Target="../tags/tag2203.xml"/><Relationship Id="rId10" Type="http://schemas.openxmlformats.org/officeDocument/2006/relationships/tags" Target="../tags/tag2208.xml"/><Relationship Id="rId19" Type="http://schemas.openxmlformats.org/officeDocument/2006/relationships/tags" Target="../tags/tag2217.xml"/><Relationship Id="rId31" Type="http://schemas.openxmlformats.org/officeDocument/2006/relationships/tags" Target="../tags/tag2229.xml"/><Relationship Id="rId44" Type="http://schemas.openxmlformats.org/officeDocument/2006/relationships/oleObject" Target="../embeddings/oleObject309.bin"/><Relationship Id="rId52" Type="http://schemas.openxmlformats.org/officeDocument/2006/relationships/image" Target="../media/image158.jpeg"/><Relationship Id="rId4" Type="http://schemas.openxmlformats.org/officeDocument/2006/relationships/tags" Target="../tags/tag2202.xml"/><Relationship Id="rId9" Type="http://schemas.openxmlformats.org/officeDocument/2006/relationships/tags" Target="../tags/tag2207.xml"/><Relationship Id="rId14" Type="http://schemas.openxmlformats.org/officeDocument/2006/relationships/tags" Target="../tags/tag2212.xml"/><Relationship Id="rId22" Type="http://schemas.openxmlformats.org/officeDocument/2006/relationships/tags" Target="../tags/tag2220.xml"/><Relationship Id="rId27" Type="http://schemas.openxmlformats.org/officeDocument/2006/relationships/tags" Target="../tags/tag2225.xml"/><Relationship Id="rId30" Type="http://schemas.openxmlformats.org/officeDocument/2006/relationships/tags" Target="../tags/tag2228.xml"/><Relationship Id="rId35" Type="http://schemas.openxmlformats.org/officeDocument/2006/relationships/tags" Target="../tags/tag2233.xml"/><Relationship Id="rId43" Type="http://schemas.openxmlformats.org/officeDocument/2006/relationships/image" Target="../media/image2.emf"/><Relationship Id="rId48" Type="http://schemas.openxmlformats.org/officeDocument/2006/relationships/image" Target="../media/image154.png"/><Relationship Id="rId8" Type="http://schemas.openxmlformats.org/officeDocument/2006/relationships/tags" Target="../tags/tag2206.xml"/><Relationship Id="rId51" Type="http://schemas.openxmlformats.org/officeDocument/2006/relationships/image" Target="../media/image157.jpeg"/><Relationship Id="rId3" Type="http://schemas.openxmlformats.org/officeDocument/2006/relationships/tags" Target="../tags/tag2201.xml"/><Relationship Id="rId12" Type="http://schemas.openxmlformats.org/officeDocument/2006/relationships/tags" Target="../tags/tag2210.xml"/><Relationship Id="rId17" Type="http://schemas.openxmlformats.org/officeDocument/2006/relationships/tags" Target="../tags/tag2215.xml"/><Relationship Id="rId25" Type="http://schemas.openxmlformats.org/officeDocument/2006/relationships/tags" Target="../tags/tag2223.xml"/><Relationship Id="rId33" Type="http://schemas.openxmlformats.org/officeDocument/2006/relationships/tags" Target="../tags/tag2231.xml"/><Relationship Id="rId38" Type="http://schemas.openxmlformats.org/officeDocument/2006/relationships/tags" Target="../tags/tag2236.xml"/><Relationship Id="rId46" Type="http://schemas.openxmlformats.org/officeDocument/2006/relationships/oleObject" Target="../embeddings/oleObject310.bin"/><Relationship Id="rId20" Type="http://schemas.openxmlformats.org/officeDocument/2006/relationships/tags" Target="../tags/tag2218.xml"/><Relationship Id="rId41" Type="http://schemas.openxmlformats.org/officeDocument/2006/relationships/slideLayout" Target="../slideLayouts/slideLayout66.xml"/><Relationship Id="rId54" Type="http://schemas.openxmlformats.org/officeDocument/2006/relationships/image" Target="../media/image160.png"/><Relationship Id="rId1" Type="http://schemas.openxmlformats.org/officeDocument/2006/relationships/vmlDrawing" Target="../drawings/vmlDrawing297.vml"/><Relationship Id="rId6" Type="http://schemas.openxmlformats.org/officeDocument/2006/relationships/tags" Target="../tags/tag2204.xml"/><Relationship Id="rId15" Type="http://schemas.openxmlformats.org/officeDocument/2006/relationships/tags" Target="../tags/tag2213.xml"/><Relationship Id="rId23" Type="http://schemas.openxmlformats.org/officeDocument/2006/relationships/tags" Target="../tags/tag2221.xml"/><Relationship Id="rId28" Type="http://schemas.openxmlformats.org/officeDocument/2006/relationships/tags" Target="../tags/tag2226.xml"/><Relationship Id="rId36" Type="http://schemas.openxmlformats.org/officeDocument/2006/relationships/tags" Target="../tags/tag2234.xml"/><Relationship Id="rId49" Type="http://schemas.openxmlformats.org/officeDocument/2006/relationships/image" Target="../media/image155.png"/></Relationships>
</file>

<file path=ppt/slides/_rels/slide43.xml.rels><?xml version="1.0" encoding="UTF-8" standalone="yes"?>
<Relationships xmlns="http://schemas.openxmlformats.org/package/2006/relationships"><Relationship Id="rId117" Type="http://schemas.openxmlformats.org/officeDocument/2006/relationships/tags" Target="../tags/tag2354.xml"/><Relationship Id="rId21" Type="http://schemas.openxmlformats.org/officeDocument/2006/relationships/tags" Target="../tags/tag2258.xml"/><Relationship Id="rId42" Type="http://schemas.openxmlformats.org/officeDocument/2006/relationships/tags" Target="../tags/tag2279.xml"/><Relationship Id="rId63" Type="http://schemas.openxmlformats.org/officeDocument/2006/relationships/tags" Target="../tags/tag2300.xml"/><Relationship Id="rId84" Type="http://schemas.openxmlformats.org/officeDocument/2006/relationships/tags" Target="../tags/tag2321.xml"/><Relationship Id="rId138" Type="http://schemas.openxmlformats.org/officeDocument/2006/relationships/tags" Target="../tags/tag2375.xml"/><Relationship Id="rId159" Type="http://schemas.openxmlformats.org/officeDocument/2006/relationships/tags" Target="../tags/tag2396.xml"/><Relationship Id="rId170" Type="http://schemas.openxmlformats.org/officeDocument/2006/relationships/tags" Target="../tags/tag2407.xml"/><Relationship Id="rId191" Type="http://schemas.openxmlformats.org/officeDocument/2006/relationships/notesSlide" Target="../notesSlides/notesSlide35.xml"/><Relationship Id="rId107" Type="http://schemas.openxmlformats.org/officeDocument/2006/relationships/tags" Target="../tags/tag2344.xml"/><Relationship Id="rId11" Type="http://schemas.openxmlformats.org/officeDocument/2006/relationships/tags" Target="../tags/tag2248.xml"/><Relationship Id="rId32" Type="http://schemas.openxmlformats.org/officeDocument/2006/relationships/tags" Target="../tags/tag2269.xml"/><Relationship Id="rId53" Type="http://schemas.openxmlformats.org/officeDocument/2006/relationships/tags" Target="../tags/tag2290.xml"/><Relationship Id="rId74" Type="http://schemas.openxmlformats.org/officeDocument/2006/relationships/tags" Target="../tags/tag2311.xml"/><Relationship Id="rId128" Type="http://schemas.openxmlformats.org/officeDocument/2006/relationships/tags" Target="../tags/tag2365.xml"/><Relationship Id="rId149" Type="http://schemas.openxmlformats.org/officeDocument/2006/relationships/tags" Target="../tags/tag2386.xml"/><Relationship Id="rId5" Type="http://schemas.openxmlformats.org/officeDocument/2006/relationships/tags" Target="../tags/tag2242.xml"/><Relationship Id="rId95" Type="http://schemas.openxmlformats.org/officeDocument/2006/relationships/tags" Target="../tags/tag2332.xml"/><Relationship Id="rId160" Type="http://schemas.openxmlformats.org/officeDocument/2006/relationships/tags" Target="../tags/tag2397.xml"/><Relationship Id="rId181" Type="http://schemas.openxmlformats.org/officeDocument/2006/relationships/tags" Target="../tags/tag2418.xml"/><Relationship Id="rId22" Type="http://schemas.openxmlformats.org/officeDocument/2006/relationships/tags" Target="../tags/tag2259.xml"/><Relationship Id="rId43" Type="http://schemas.openxmlformats.org/officeDocument/2006/relationships/tags" Target="../tags/tag2280.xml"/><Relationship Id="rId64" Type="http://schemas.openxmlformats.org/officeDocument/2006/relationships/tags" Target="../tags/tag2301.xml"/><Relationship Id="rId118" Type="http://schemas.openxmlformats.org/officeDocument/2006/relationships/tags" Target="../tags/tag2355.xml"/><Relationship Id="rId139" Type="http://schemas.openxmlformats.org/officeDocument/2006/relationships/tags" Target="../tags/tag2376.xml"/><Relationship Id="rId85" Type="http://schemas.openxmlformats.org/officeDocument/2006/relationships/tags" Target="../tags/tag2322.xml"/><Relationship Id="rId150" Type="http://schemas.openxmlformats.org/officeDocument/2006/relationships/tags" Target="../tags/tag2387.xml"/><Relationship Id="rId171" Type="http://schemas.openxmlformats.org/officeDocument/2006/relationships/tags" Target="../tags/tag2408.xml"/><Relationship Id="rId192" Type="http://schemas.openxmlformats.org/officeDocument/2006/relationships/oleObject" Target="../embeddings/oleObject311.bin"/><Relationship Id="rId12" Type="http://schemas.openxmlformats.org/officeDocument/2006/relationships/tags" Target="../tags/tag2249.xml"/><Relationship Id="rId33" Type="http://schemas.openxmlformats.org/officeDocument/2006/relationships/tags" Target="../tags/tag2270.xml"/><Relationship Id="rId108" Type="http://schemas.openxmlformats.org/officeDocument/2006/relationships/tags" Target="../tags/tag2345.xml"/><Relationship Id="rId129" Type="http://schemas.openxmlformats.org/officeDocument/2006/relationships/tags" Target="../tags/tag2366.xml"/><Relationship Id="rId54" Type="http://schemas.openxmlformats.org/officeDocument/2006/relationships/tags" Target="../tags/tag2291.xml"/><Relationship Id="rId75" Type="http://schemas.openxmlformats.org/officeDocument/2006/relationships/tags" Target="../tags/tag2312.xml"/><Relationship Id="rId96" Type="http://schemas.openxmlformats.org/officeDocument/2006/relationships/tags" Target="../tags/tag2333.xml"/><Relationship Id="rId140" Type="http://schemas.openxmlformats.org/officeDocument/2006/relationships/tags" Target="../tags/tag2377.xml"/><Relationship Id="rId161" Type="http://schemas.openxmlformats.org/officeDocument/2006/relationships/tags" Target="../tags/tag2398.xml"/><Relationship Id="rId182" Type="http://schemas.openxmlformats.org/officeDocument/2006/relationships/tags" Target="../tags/tag2419.xml"/><Relationship Id="rId6" Type="http://schemas.openxmlformats.org/officeDocument/2006/relationships/tags" Target="../tags/tag2243.xml"/><Relationship Id="rId23" Type="http://schemas.openxmlformats.org/officeDocument/2006/relationships/tags" Target="../tags/tag2260.xml"/><Relationship Id="rId119" Type="http://schemas.openxmlformats.org/officeDocument/2006/relationships/tags" Target="../tags/tag2356.xml"/><Relationship Id="rId44" Type="http://schemas.openxmlformats.org/officeDocument/2006/relationships/tags" Target="../tags/tag2281.xml"/><Relationship Id="rId65" Type="http://schemas.openxmlformats.org/officeDocument/2006/relationships/tags" Target="../tags/tag2302.xml"/><Relationship Id="rId86" Type="http://schemas.openxmlformats.org/officeDocument/2006/relationships/tags" Target="../tags/tag2323.xml"/><Relationship Id="rId130" Type="http://schemas.openxmlformats.org/officeDocument/2006/relationships/tags" Target="../tags/tag2367.xml"/><Relationship Id="rId151" Type="http://schemas.openxmlformats.org/officeDocument/2006/relationships/tags" Target="../tags/tag2388.xml"/><Relationship Id="rId172" Type="http://schemas.openxmlformats.org/officeDocument/2006/relationships/tags" Target="../tags/tag2409.xml"/><Relationship Id="rId193" Type="http://schemas.openxmlformats.org/officeDocument/2006/relationships/image" Target="../media/image162.emf"/><Relationship Id="rId13" Type="http://schemas.openxmlformats.org/officeDocument/2006/relationships/tags" Target="../tags/tag2250.xml"/><Relationship Id="rId109" Type="http://schemas.openxmlformats.org/officeDocument/2006/relationships/tags" Target="../tags/tag2346.xml"/><Relationship Id="rId34" Type="http://schemas.openxmlformats.org/officeDocument/2006/relationships/tags" Target="../tags/tag2271.xml"/><Relationship Id="rId50" Type="http://schemas.openxmlformats.org/officeDocument/2006/relationships/tags" Target="../tags/tag2287.xml"/><Relationship Id="rId55" Type="http://schemas.openxmlformats.org/officeDocument/2006/relationships/tags" Target="../tags/tag2292.xml"/><Relationship Id="rId76" Type="http://schemas.openxmlformats.org/officeDocument/2006/relationships/tags" Target="../tags/tag2313.xml"/><Relationship Id="rId97" Type="http://schemas.openxmlformats.org/officeDocument/2006/relationships/tags" Target="../tags/tag2334.xml"/><Relationship Id="rId104" Type="http://schemas.openxmlformats.org/officeDocument/2006/relationships/tags" Target="../tags/tag2341.xml"/><Relationship Id="rId120" Type="http://schemas.openxmlformats.org/officeDocument/2006/relationships/tags" Target="../tags/tag2357.xml"/><Relationship Id="rId125" Type="http://schemas.openxmlformats.org/officeDocument/2006/relationships/tags" Target="../tags/tag2362.xml"/><Relationship Id="rId141" Type="http://schemas.openxmlformats.org/officeDocument/2006/relationships/tags" Target="../tags/tag2378.xml"/><Relationship Id="rId146" Type="http://schemas.openxmlformats.org/officeDocument/2006/relationships/tags" Target="../tags/tag2383.xml"/><Relationship Id="rId167" Type="http://schemas.openxmlformats.org/officeDocument/2006/relationships/tags" Target="../tags/tag2404.xml"/><Relationship Id="rId188" Type="http://schemas.openxmlformats.org/officeDocument/2006/relationships/tags" Target="../tags/tag2425.xml"/><Relationship Id="rId7" Type="http://schemas.openxmlformats.org/officeDocument/2006/relationships/tags" Target="../tags/tag2244.xml"/><Relationship Id="rId71" Type="http://schemas.openxmlformats.org/officeDocument/2006/relationships/tags" Target="../tags/tag2308.xml"/><Relationship Id="rId92" Type="http://schemas.openxmlformats.org/officeDocument/2006/relationships/tags" Target="../tags/tag2329.xml"/><Relationship Id="rId162" Type="http://schemas.openxmlformats.org/officeDocument/2006/relationships/tags" Target="../tags/tag2399.xml"/><Relationship Id="rId183" Type="http://schemas.openxmlformats.org/officeDocument/2006/relationships/tags" Target="../tags/tag2420.xml"/><Relationship Id="rId2" Type="http://schemas.openxmlformats.org/officeDocument/2006/relationships/tags" Target="../tags/tag2239.xml"/><Relationship Id="rId29" Type="http://schemas.openxmlformats.org/officeDocument/2006/relationships/tags" Target="../tags/tag2266.xml"/><Relationship Id="rId24" Type="http://schemas.openxmlformats.org/officeDocument/2006/relationships/tags" Target="../tags/tag2261.xml"/><Relationship Id="rId40" Type="http://schemas.openxmlformats.org/officeDocument/2006/relationships/tags" Target="../tags/tag2277.xml"/><Relationship Id="rId45" Type="http://schemas.openxmlformats.org/officeDocument/2006/relationships/tags" Target="../tags/tag2282.xml"/><Relationship Id="rId66" Type="http://schemas.openxmlformats.org/officeDocument/2006/relationships/tags" Target="../tags/tag2303.xml"/><Relationship Id="rId87" Type="http://schemas.openxmlformats.org/officeDocument/2006/relationships/tags" Target="../tags/tag2324.xml"/><Relationship Id="rId110" Type="http://schemas.openxmlformats.org/officeDocument/2006/relationships/tags" Target="../tags/tag2347.xml"/><Relationship Id="rId115" Type="http://schemas.openxmlformats.org/officeDocument/2006/relationships/tags" Target="../tags/tag2352.xml"/><Relationship Id="rId131" Type="http://schemas.openxmlformats.org/officeDocument/2006/relationships/tags" Target="../tags/tag2368.xml"/><Relationship Id="rId136" Type="http://schemas.openxmlformats.org/officeDocument/2006/relationships/tags" Target="../tags/tag2373.xml"/><Relationship Id="rId157" Type="http://schemas.openxmlformats.org/officeDocument/2006/relationships/tags" Target="../tags/tag2394.xml"/><Relationship Id="rId178" Type="http://schemas.openxmlformats.org/officeDocument/2006/relationships/tags" Target="../tags/tag2415.xml"/><Relationship Id="rId61" Type="http://schemas.openxmlformats.org/officeDocument/2006/relationships/tags" Target="../tags/tag2298.xml"/><Relationship Id="rId82" Type="http://schemas.openxmlformats.org/officeDocument/2006/relationships/tags" Target="../tags/tag2319.xml"/><Relationship Id="rId152" Type="http://schemas.openxmlformats.org/officeDocument/2006/relationships/tags" Target="../tags/tag2389.xml"/><Relationship Id="rId173" Type="http://schemas.openxmlformats.org/officeDocument/2006/relationships/tags" Target="../tags/tag2410.xml"/><Relationship Id="rId19" Type="http://schemas.openxmlformats.org/officeDocument/2006/relationships/tags" Target="../tags/tag2256.xml"/><Relationship Id="rId14" Type="http://schemas.openxmlformats.org/officeDocument/2006/relationships/tags" Target="../tags/tag2251.xml"/><Relationship Id="rId30" Type="http://schemas.openxmlformats.org/officeDocument/2006/relationships/tags" Target="../tags/tag2267.xml"/><Relationship Id="rId35" Type="http://schemas.openxmlformats.org/officeDocument/2006/relationships/tags" Target="../tags/tag2272.xml"/><Relationship Id="rId56" Type="http://schemas.openxmlformats.org/officeDocument/2006/relationships/tags" Target="../tags/tag2293.xml"/><Relationship Id="rId77" Type="http://schemas.openxmlformats.org/officeDocument/2006/relationships/tags" Target="../tags/tag2314.xml"/><Relationship Id="rId100" Type="http://schemas.openxmlformats.org/officeDocument/2006/relationships/tags" Target="../tags/tag2337.xml"/><Relationship Id="rId105" Type="http://schemas.openxmlformats.org/officeDocument/2006/relationships/tags" Target="../tags/tag2342.xml"/><Relationship Id="rId126" Type="http://schemas.openxmlformats.org/officeDocument/2006/relationships/tags" Target="../tags/tag2363.xml"/><Relationship Id="rId147" Type="http://schemas.openxmlformats.org/officeDocument/2006/relationships/tags" Target="../tags/tag2384.xml"/><Relationship Id="rId168" Type="http://schemas.openxmlformats.org/officeDocument/2006/relationships/tags" Target="../tags/tag2405.xml"/><Relationship Id="rId8" Type="http://schemas.openxmlformats.org/officeDocument/2006/relationships/tags" Target="../tags/tag2245.xml"/><Relationship Id="rId51" Type="http://schemas.openxmlformats.org/officeDocument/2006/relationships/tags" Target="../tags/tag2288.xml"/><Relationship Id="rId72" Type="http://schemas.openxmlformats.org/officeDocument/2006/relationships/tags" Target="../tags/tag2309.xml"/><Relationship Id="rId93" Type="http://schemas.openxmlformats.org/officeDocument/2006/relationships/tags" Target="../tags/tag2330.xml"/><Relationship Id="rId98" Type="http://schemas.openxmlformats.org/officeDocument/2006/relationships/tags" Target="../tags/tag2335.xml"/><Relationship Id="rId121" Type="http://schemas.openxmlformats.org/officeDocument/2006/relationships/tags" Target="../tags/tag2358.xml"/><Relationship Id="rId142" Type="http://schemas.openxmlformats.org/officeDocument/2006/relationships/tags" Target="../tags/tag2379.xml"/><Relationship Id="rId163" Type="http://schemas.openxmlformats.org/officeDocument/2006/relationships/tags" Target="../tags/tag2400.xml"/><Relationship Id="rId184" Type="http://schemas.openxmlformats.org/officeDocument/2006/relationships/tags" Target="../tags/tag2421.xml"/><Relationship Id="rId189" Type="http://schemas.openxmlformats.org/officeDocument/2006/relationships/tags" Target="../tags/tag2426.xml"/><Relationship Id="rId3" Type="http://schemas.openxmlformats.org/officeDocument/2006/relationships/tags" Target="../tags/tag2240.xml"/><Relationship Id="rId25" Type="http://schemas.openxmlformats.org/officeDocument/2006/relationships/tags" Target="../tags/tag2262.xml"/><Relationship Id="rId46" Type="http://schemas.openxmlformats.org/officeDocument/2006/relationships/tags" Target="../tags/tag2283.xml"/><Relationship Id="rId67" Type="http://schemas.openxmlformats.org/officeDocument/2006/relationships/tags" Target="../tags/tag2304.xml"/><Relationship Id="rId116" Type="http://schemas.openxmlformats.org/officeDocument/2006/relationships/tags" Target="../tags/tag2353.xml"/><Relationship Id="rId137" Type="http://schemas.openxmlformats.org/officeDocument/2006/relationships/tags" Target="../tags/tag2374.xml"/><Relationship Id="rId158" Type="http://schemas.openxmlformats.org/officeDocument/2006/relationships/tags" Target="../tags/tag2395.xml"/><Relationship Id="rId20" Type="http://schemas.openxmlformats.org/officeDocument/2006/relationships/tags" Target="../tags/tag2257.xml"/><Relationship Id="rId41" Type="http://schemas.openxmlformats.org/officeDocument/2006/relationships/tags" Target="../tags/tag2278.xml"/><Relationship Id="rId62" Type="http://schemas.openxmlformats.org/officeDocument/2006/relationships/tags" Target="../tags/tag2299.xml"/><Relationship Id="rId83" Type="http://schemas.openxmlformats.org/officeDocument/2006/relationships/tags" Target="../tags/tag2320.xml"/><Relationship Id="rId88" Type="http://schemas.openxmlformats.org/officeDocument/2006/relationships/tags" Target="../tags/tag2325.xml"/><Relationship Id="rId111" Type="http://schemas.openxmlformats.org/officeDocument/2006/relationships/tags" Target="../tags/tag2348.xml"/><Relationship Id="rId132" Type="http://schemas.openxmlformats.org/officeDocument/2006/relationships/tags" Target="../tags/tag2369.xml"/><Relationship Id="rId153" Type="http://schemas.openxmlformats.org/officeDocument/2006/relationships/tags" Target="../tags/tag2390.xml"/><Relationship Id="rId174" Type="http://schemas.openxmlformats.org/officeDocument/2006/relationships/tags" Target="../tags/tag2411.xml"/><Relationship Id="rId179" Type="http://schemas.openxmlformats.org/officeDocument/2006/relationships/tags" Target="../tags/tag2416.xml"/><Relationship Id="rId190" Type="http://schemas.openxmlformats.org/officeDocument/2006/relationships/slideLayout" Target="../slideLayouts/slideLayout66.xml"/><Relationship Id="rId15" Type="http://schemas.openxmlformats.org/officeDocument/2006/relationships/tags" Target="../tags/tag2252.xml"/><Relationship Id="rId36" Type="http://schemas.openxmlformats.org/officeDocument/2006/relationships/tags" Target="../tags/tag2273.xml"/><Relationship Id="rId57" Type="http://schemas.openxmlformats.org/officeDocument/2006/relationships/tags" Target="../tags/tag2294.xml"/><Relationship Id="rId106" Type="http://schemas.openxmlformats.org/officeDocument/2006/relationships/tags" Target="../tags/tag2343.xml"/><Relationship Id="rId127" Type="http://schemas.openxmlformats.org/officeDocument/2006/relationships/tags" Target="../tags/tag2364.xml"/><Relationship Id="rId10" Type="http://schemas.openxmlformats.org/officeDocument/2006/relationships/tags" Target="../tags/tag2247.xml"/><Relationship Id="rId31" Type="http://schemas.openxmlformats.org/officeDocument/2006/relationships/tags" Target="../tags/tag2268.xml"/><Relationship Id="rId52" Type="http://schemas.openxmlformats.org/officeDocument/2006/relationships/tags" Target="../tags/tag2289.xml"/><Relationship Id="rId73" Type="http://schemas.openxmlformats.org/officeDocument/2006/relationships/tags" Target="../tags/tag2310.xml"/><Relationship Id="rId78" Type="http://schemas.openxmlformats.org/officeDocument/2006/relationships/tags" Target="../tags/tag2315.xml"/><Relationship Id="rId94" Type="http://schemas.openxmlformats.org/officeDocument/2006/relationships/tags" Target="../tags/tag2331.xml"/><Relationship Id="rId99" Type="http://schemas.openxmlformats.org/officeDocument/2006/relationships/tags" Target="../tags/tag2336.xml"/><Relationship Id="rId101" Type="http://schemas.openxmlformats.org/officeDocument/2006/relationships/tags" Target="../tags/tag2338.xml"/><Relationship Id="rId122" Type="http://schemas.openxmlformats.org/officeDocument/2006/relationships/tags" Target="../tags/tag2359.xml"/><Relationship Id="rId143" Type="http://schemas.openxmlformats.org/officeDocument/2006/relationships/tags" Target="../tags/tag2380.xml"/><Relationship Id="rId148" Type="http://schemas.openxmlformats.org/officeDocument/2006/relationships/tags" Target="../tags/tag2385.xml"/><Relationship Id="rId164" Type="http://schemas.openxmlformats.org/officeDocument/2006/relationships/tags" Target="../tags/tag2401.xml"/><Relationship Id="rId169" Type="http://schemas.openxmlformats.org/officeDocument/2006/relationships/tags" Target="../tags/tag2406.xml"/><Relationship Id="rId185" Type="http://schemas.openxmlformats.org/officeDocument/2006/relationships/tags" Target="../tags/tag2422.xml"/><Relationship Id="rId4" Type="http://schemas.openxmlformats.org/officeDocument/2006/relationships/tags" Target="../tags/tag2241.xml"/><Relationship Id="rId9" Type="http://schemas.openxmlformats.org/officeDocument/2006/relationships/tags" Target="../tags/tag2246.xml"/><Relationship Id="rId180" Type="http://schemas.openxmlformats.org/officeDocument/2006/relationships/tags" Target="../tags/tag2417.xml"/><Relationship Id="rId26" Type="http://schemas.openxmlformats.org/officeDocument/2006/relationships/tags" Target="../tags/tag2263.xml"/><Relationship Id="rId47" Type="http://schemas.openxmlformats.org/officeDocument/2006/relationships/tags" Target="../tags/tag2284.xml"/><Relationship Id="rId68" Type="http://schemas.openxmlformats.org/officeDocument/2006/relationships/tags" Target="../tags/tag2305.xml"/><Relationship Id="rId89" Type="http://schemas.openxmlformats.org/officeDocument/2006/relationships/tags" Target="../tags/tag2326.xml"/><Relationship Id="rId112" Type="http://schemas.openxmlformats.org/officeDocument/2006/relationships/tags" Target="../tags/tag2349.xml"/><Relationship Id="rId133" Type="http://schemas.openxmlformats.org/officeDocument/2006/relationships/tags" Target="../tags/tag2370.xml"/><Relationship Id="rId154" Type="http://schemas.openxmlformats.org/officeDocument/2006/relationships/tags" Target="../tags/tag2391.xml"/><Relationship Id="rId175" Type="http://schemas.openxmlformats.org/officeDocument/2006/relationships/tags" Target="../tags/tag2412.xml"/><Relationship Id="rId16" Type="http://schemas.openxmlformats.org/officeDocument/2006/relationships/tags" Target="../tags/tag2253.xml"/><Relationship Id="rId37" Type="http://schemas.openxmlformats.org/officeDocument/2006/relationships/tags" Target="../tags/tag2274.xml"/><Relationship Id="rId58" Type="http://schemas.openxmlformats.org/officeDocument/2006/relationships/tags" Target="../tags/tag2295.xml"/><Relationship Id="rId79" Type="http://schemas.openxmlformats.org/officeDocument/2006/relationships/tags" Target="../tags/tag2316.xml"/><Relationship Id="rId102" Type="http://schemas.openxmlformats.org/officeDocument/2006/relationships/tags" Target="../tags/tag2339.xml"/><Relationship Id="rId123" Type="http://schemas.openxmlformats.org/officeDocument/2006/relationships/tags" Target="../tags/tag2360.xml"/><Relationship Id="rId144" Type="http://schemas.openxmlformats.org/officeDocument/2006/relationships/tags" Target="../tags/tag2381.xml"/><Relationship Id="rId90" Type="http://schemas.openxmlformats.org/officeDocument/2006/relationships/tags" Target="../tags/tag2327.xml"/><Relationship Id="rId165" Type="http://schemas.openxmlformats.org/officeDocument/2006/relationships/tags" Target="../tags/tag2402.xml"/><Relationship Id="rId186" Type="http://schemas.openxmlformats.org/officeDocument/2006/relationships/tags" Target="../tags/tag2423.xml"/><Relationship Id="rId27" Type="http://schemas.openxmlformats.org/officeDocument/2006/relationships/tags" Target="../tags/tag2264.xml"/><Relationship Id="rId48" Type="http://schemas.openxmlformats.org/officeDocument/2006/relationships/tags" Target="../tags/tag2285.xml"/><Relationship Id="rId69" Type="http://schemas.openxmlformats.org/officeDocument/2006/relationships/tags" Target="../tags/tag2306.xml"/><Relationship Id="rId113" Type="http://schemas.openxmlformats.org/officeDocument/2006/relationships/tags" Target="../tags/tag2350.xml"/><Relationship Id="rId134" Type="http://schemas.openxmlformats.org/officeDocument/2006/relationships/tags" Target="../tags/tag2371.xml"/><Relationship Id="rId80" Type="http://schemas.openxmlformats.org/officeDocument/2006/relationships/tags" Target="../tags/tag2317.xml"/><Relationship Id="rId155" Type="http://schemas.openxmlformats.org/officeDocument/2006/relationships/tags" Target="../tags/tag2392.xml"/><Relationship Id="rId176" Type="http://schemas.openxmlformats.org/officeDocument/2006/relationships/tags" Target="../tags/tag2413.xml"/><Relationship Id="rId17" Type="http://schemas.openxmlformats.org/officeDocument/2006/relationships/tags" Target="../tags/tag2254.xml"/><Relationship Id="rId38" Type="http://schemas.openxmlformats.org/officeDocument/2006/relationships/tags" Target="../tags/tag2275.xml"/><Relationship Id="rId59" Type="http://schemas.openxmlformats.org/officeDocument/2006/relationships/tags" Target="../tags/tag2296.xml"/><Relationship Id="rId103" Type="http://schemas.openxmlformats.org/officeDocument/2006/relationships/tags" Target="../tags/tag2340.xml"/><Relationship Id="rId124" Type="http://schemas.openxmlformats.org/officeDocument/2006/relationships/tags" Target="../tags/tag2361.xml"/><Relationship Id="rId70" Type="http://schemas.openxmlformats.org/officeDocument/2006/relationships/tags" Target="../tags/tag2307.xml"/><Relationship Id="rId91" Type="http://schemas.openxmlformats.org/officeDocument/2006/relationships/tags" Target="../tags/tag2328.xml"/><Relationship Id="rId145" Type="http://schemas.openxmlformats.org/officeDocument/2006/relationships/tags" Target="../tags/tag2382.xml"/><Relationship Id="rId166" Type="http://schemas.openxmlformats.org/officeDocument/2006/relationships/tags" Target="../tags/tag2403.xml"/><Relationship Id="rId187" Type="http://schemas.openxmlformats.org/officeDocument/2006/relationships/tags" Target="../tags/tag2424.xml"/><Relationship Id="rId1" Type="http://schemas.openxmlformats.org/officeDocument/2006/relationships/vmlDrawing" Target="../drawings/vmlDrawing298.vml"/><Relationship Id="rId28" Type="http://schemas.openxmlformats.org/officeDocument/2006/relationships/tags" Target="../tags/tag2265.xml"/><Relationship Id="rId49" Type="http://schemas.openxmlformats.org/officeDocument/2006/relationships/tags" Target="../tags/tag2286.xml"/><Relationship Id="rId114" Type="http://schemas.openxmlformats.org/officeDocument/2006/relationships/tags" Target="../tags/tag2351.xml"/><Relationship Id="rId60" Type="http://schemas.openxmlformats.org/officeDocument/2006/relationships/tags" Target="../tags/tag2297.xml"/><Relationship Id="rId81" Type="http://schemas.openxmlformats.org/officeDocument/2006/relationships/tags" Target="../tags/tag2318.xml"/><Relationship Id="rId135" Type="http://schemas.openxmlformats.org/officeDocument/2006/relationships/tags" Target="../tags/tag2372.xml"/><Relationship Id="rId156" Type="http://schemas.openxmlformats.org/officeDocument/2006/relationships/tags" Target="../tags/tag2393.xml"/><Relationship Id="rId177" Type="http://schemas.openxmlformats.org/officeDocument/2006/relationships/tags" Target="../tags/tag2414.xml"/><Relationship Id="rId18" Type="http://schemas.openxmlformats.org/officeDocument/2006/relationships/tags" Target="../tags/tag2255.xml"/><Relationship Id="rId39" Type="http://schemas.openxmlformats.org/officeDocument/2006/relationships/tags" Target="../tags/tag2276.xml"/></Relationships>
</file>

<file path=ppt/slides/_rels/slide44.xml.rels><?xml version="1.0" encoding="UTF-8" standalone="yes"?>
<Relationships xmlns="http://schemas.openxmlformats.org/package/2006/relationships"><Relationship Id="rId8" Type="http://schemas.openxmlformats.org/officeDocument/2006/relationships/tags" Target="../tags/tag2433.xml"/><Relationship Id="rId13" Type="http://schemas.openxmlformats.org/officeDocument/2006/relationships/tags" Target="../tags/tag2438.xml"/><Relationship Id="rId18" Type="http://schemas.openxmlformats.org/officeDocument/2006/relationships/oleObject" Target="../embeddings/oleObject312.bin"/><Relationship Id="rId3" Type="http://schemas.openxmlformats.org/officeDocument/2006/relationships/tags" Target="../tags/tag2428.xml"/><Relationship Id="rId7" Type="http://schemas.openxmlformats.org/officeDocument/2006/relationships/tags" Target="../tags/tag2432.xml"/><Relationship Id="rId12" Type="http://schemas.openxmlformats.org/officeDocument/2006/relationships/tags" Target="../tags/tag2437.xml"/><Relationship Id="rId17" Type="http://schemas.openxmlformats.org/officeDocument/2006/relationships/slideLayout" Target="../slideLayouts/slideLayout66.xml"/><Relationship Id="rId2" Type="http://schemas.openxmlformats.org/officeDocument/2006/relationships/tags" Target="../tags/tag2427.xml"/><Relationship Id="rId16" Type="http://schemas.openxmlformats.org/officeDocument/2006/relationships/tags" Target="../tags/tag2441.xml"/><Relationship Id="rId1" Type="http://schemas.openxmlformats.org/officeDocument/2006/relationships/vmlDrawing" Target="../drawings/vmlDrawing299.vml"/><Relationship Id="rId6" Type="http://schemas.openxmlformats.org/officeDocument/2006/relationships/tags" Target="../tags/tag2431.xml"/><Relationship Id="rId11" Type="http://schemas.openxmlformats.org/officeDocument/2006/relationships/tags" Target="../tags/tag2436.xml"/><Relationship Id="rId5" Type="http://schemas.openxmlformats.org/officeDocument/2006/relationships/tags" Target="../tags/tag2430.xml"/><Relationship Id="rId15" Type="http://schemas.openxmlformats.org/officeDocument/2006/relationships/tags" Target="../tags/tag2440.xml"/><Relationship Id="rId10" Type="http://schemas.openxmlformats.org/officeDocument/2006/relationships/tags" Target="../tags/tag2435.xml"/><Relationship Id="rId19" Type="http://schemas.openxmlformats.org/officeDocument/2006/relationships/image" Target="../media/image163.emf"/><Relationship Id="rId4" Type="http://schemas.openxmlformats.org/officeDocument/2006/relationships/tags" Target="../tags/tag2429.xml"/><Relationship Id="rId9" Type="http://schemas.openxmlformats.org/officeDocument/2006/relationships/tags" Target="../tags/tag2434.xml"/><Relationship Id="rId14" Type="http://schemas.openxmlformats.org/officeDocument/2006/relationships/tags" Target="../tags/tag2439.xml"/></Relationships>
</file>

<file path=ppt/slides/_rels/slide45.xml.rels><?xml version="1.0" encoding="UTF-8" standalone="yes"?>
<Relationships xmlns="http://schemas.openxmlformats.org/package/2006/relationships"><Relationship Id="rId3" Type="http://schemas.openxmlformats.org/officeDocument/2006/relationships/tags" Target="../tags/tag2443.xml"/><Relationship Id="rId7" Type="http://schemas.openxmlformats.org/officeDocument/2006/relationships/image" Target="../media/image2.emf"/><Relationship Id="rId2" Type="http://schemas.openxmlformats.org/officeDocument/2006/relationships/tags" Target="../tags/tag2442.xml"/><Relationship Id="rId1" Type="http://schemas.openxmlformats.org/officeDocument/2006/relationships/vmlDrawing" Target="../drawings/vmlDrawing300.vml"/><Relationship Id="rId6" Type="http://schemas.openxmlformats.org/officeDocument/2006/relationships/oleObject" Target="../embeddings/oleObject313.bin"/><Relationship Id="rId5" Type="http://schemas.openxmlformats.org/officeDocument/2006/relationships/slideLayout" Target="../slideLayouts/slideLayout66.xml"/><Relationship Id="rId4" Type="http://schemas.openxmlformats.org/officeDocument/2006/relationships/tags" Target="../tags/tag2444.xml"/></Relationships>
</file>

<file path=ppt/slides/_rels/slide46.xml.rels><?xml version="1.0" encoding="UTF-8" standalone="yes"?>
<Relationships xmlns="http://schemas.openxmlformats.org/package/2006/relationships"><Relationship Id="rId8" Type="http://schemas.openxmlformats.org/officeDocument/2006/relationships/tags" Target="../tags/tag2451.xml"/><Relationship Id="rId13" Type="http://schemas.openxmlformats.org/officeDocument/2006/relationships/tags" Target="../tags/tag2456.xml"/><Relationship Id="rId18" Type="http://schemas.openxmlformats.org/officeDocument/2006/relationships/notesSlide" Target="../notesSlides/notesSlide36.xml"/><Relationship Id="rId3" Type="http://schemas.openxmlformats.org/officeDocument/2006/relationships/tags" Target="../tags/tag2446.xml"/><Relationship Id="rId21" Type="http://schemas.openxmlformats.org/officeDocument/2006/relationships/oleObject" Target="../embeddings/oleObject315.bin"/><Relationship Id="rId7" Type="http://schemas.openxmlformats.org/officeDocument/2006/relationships/tags" Target="../tags/tag2450.xml"/><Relationship Id="rId12" Type="http://schemas.openxmlformats.org/officeDocument/2006/relationships/tags" Target="../tags/tag2455.xml"/><Relationship Id="rId17" Type="http://schemas.openxmlformats.org/officeDocument/2006/relationships/slideLayout" Target="../slideLayouts/slideLayout66.xml"/><Relationship Id="rId2" Type="http://schemas.openxmlformats.org/officeDocument/2006/relationships/tags" Target="../tags/tag2445.xml"/><Relationship Id="rId16" Type="http://schemas.openxmlformats.org/officeDocument/2006/relationships/tags" Target="../tags/tag2459.xml"/><Relationship Id="rId20" Type="http://schemas.openxmlformats.org/officeDocument/2006/relationships/image" Target="../media/image164.emf"/><Relationship Id="rId1" Type="http://schemas.openxmlformats.org/officeDocument/2006/relationships/vmlDrawing" Target="../drawings/vmlDrawing301.vml"/><Relationship Id="rId6" Type="http://schemas.openxmlformats.org/officeDocument/2006/relationships/tags" Target="../tags/tag2449.xml"/><Relationship Id="rId11" Type="http://schemas.openxmlformats.org/officeDocument/2006/relationships/tags" Target="../tags/tag2454.xml"/><Relationship Id="rId5" Type="http://schemas.openxmlformats.org/officeDocument/2006/relationships/tags" Target="../tags/tag2448.xml"/><Relationship Id="rId15" Type="http://schemas.openxmlformats.org/officeDocument/2006/relationships/tags" Target="../tags/tag2458.xml"/><Relationship Id="rId10" Type="http://schemas.openxmlformats.org/officeDocument/2006/relationships/tags" Target="../tags/tag2453.xml"/><Relationship Id="rId19" Type="http://schemas.openxmlformats.org/officeDocument/2006/relationships/oleObject" Target="../embeddings/oleObject314.bin"/><Relationship Id="rId4" Type="http://schemas.openxmlformats.org/officeDocument/2006/relationships/tags" Target="../tags/tag2447.xml"/><Relationship Id="rId9" Type="http://schemas.openxmlformats.org/officeDocument/2006/relationships/tags" Target="../tags/tag2452.xml"/><Relationship Id="rId14" Type="http://schemas.openxmlformats.org/officeDocument/2006/relationships/tags" Target="../tags/tag2457.xml"/><Relationship Id="rId22" Type="http://schemas.openxmlformats.org/officeDocument/2006/relationships/image" Target="../media/image165.emf"/></Relationships>
</file>

<file path=ppt/slides/_rels/slide47.xml.rels><?xml version="1.0" encoding="UTF-8" standalone="yes"?>
<Relationships xmlns="http://schemas.openxmlformats.org/package/2006/relationships"><Relationship Id="rId8" Type="http://schemas.openxmlformats.org/officeDocument/2006/relationships/image" Target="../media/image4.emf"/><Relationship Id="rId3" Type="http://schemas.openxmlformats.org/officeDocument/2006/relationships/tags" Target="../tags/tag2461.xml"/><Relationship Id="rId7" Type="http://schemas.openxmlformats.org/officeDocument/2006/relationships/oleObject" Target="../embeddings/oleObject316.bin"/><Relationship Id="rId2" Type="http://schemas.openxmlformats.org/officeDocument/2006/relationships/tags" Target="../tags/tag2460.xml"/><Relationship Id="rId1" Type="http://schemas.openxmlformats.org/officeDocument/2006/relationships/vmlDrawing" Target="../drawings/vmlDrawing302.vml"/><Relationship Id="rId6" Type="http://schemas.openxmlformats.org/officeDocument/2006/relationships/notesSlide" Target="../notesSlides/notesSlide37.xml"/><Relationship Id="rId5" Type="http://schemas.openxmlformats.org/officeDocument/2006/relationships/slideLayout" Target="../slideLayouts/slideLayout66.xml"/><Relationship Id="rId4" Type="http://schemas.openxmlformats.org/officeDocument/2006/relationships/tags" Target="../tags/tag2462.xml"/></Relationships>
</file>

<file path=ppt/slides/_rels/slide48.xml.rels><?xml version="1.0" encoding="UTF-8" standalone="yes"?>
<Relationships xmlns="http://schemas.openxmlformats.org/package/2006/relationships"><Relationship Id="rId8" Type="http://schemas.openxmlformats.org/officeDocument/2006/relationships/tags" Target="../tags/tag2469.xml"/><Relationship Id="rId13" Type="http://schemas.openxmlformats.org/officeDocument/2006/relationships/image" Target="../media/image70.emf"/><Relationship Id="rId18" Type="http://schemas.openxmlformats.org/officeDocument/2006/relationships/slide" Target="slide53.xml"/><Relationship Id="rId3" Type="http://schemas.openxmlformats.org/officeDocument/2006/relationships/tags" Target="../tags/tag2464.xml"/><Relationship Id="rId7" Type="http://schemas.openxmlformats.org/officeDocument/2006/relationships/tags" Target="../tags/tag2468.xml"/><Relationship Id="rId12" Type="http://schemas.openxmlformats.org/officeDocument/2006/relationships/oleObject" Target="../embeddings/oleObject317.bin"/><Relationship Id="rId17" Type="http://schemas.openxmlformats.org/officeDocument/2006/relationships/slide" Target="slide39.xml"/><Relationship Id="rId2" Type="http://schemas.openxmlformats.org/officeDocument/2006/relationships/tags" Target="../tags/tag2463.xml"/><Relationship Id="rId16" Type="http://schemas.openxmlformats.org/officeDocument/2006/relationships/slide" Target="slide36.xml"/><Relationship Id="rId1" Type="http://schemas.openxmlformats.org/officeDocument/2006/relationships/vmlDrawing" Target="../drawings/vmlDrawing303.vml"/><Relationship Id="rId6" Type="http://schemas.openxmlformats.org/officeDocument/2006/relationships/tags" Target="../tags/tag2467.xml"/><Relationship Id="rId11" Type="http://schemas.openxmlformats.org/officeDocument/2006/relationships/notesSlide" Target="../notesSlides/notesSlide38.xml"/><Relationship Id="rId5" Type="http://schemas.openxmlformats.org/officeDocument/2006/relationships/tags" Target="../tags/tag2466.xml"/><Relationship Id="rId15" Type="http://schemas.openxmlformats.org/officeDocument/2006/relationships/slide" Target="slide19.xml"/><Relationship Id="rId10" Type="http://schemas.openxmlformats.org/officeDocument/2006/relationships/slideLayout" Target="../slideLayouts/slideLayout67.xml"/><Relationship Id="rId4" Type="http://schemas.openxmlformats.org/officeDocument/2006/relationships/tags" Target="../tags/tag2465.xml"/><Relationship Id="rId9" Type="http://schemas.openxmlformats.org/officeDocument/2006/relationships/tags" Target="../tags/tag2470.xml"/><Relationship Id="rId14" Type="http://schemas.openxmlformats.org/officeDocument/2006/relationships/slide" Target="slide9.xml"/></Relationships>
</file>

<file path=ppt/slides/_rels/slide49.xml.rels><?xml version="1.0" encoding="UTF-8" standalone="yes"?>
<Relationships xmlns="http://schemas.openxmlformats.org/package/2006/relationships"><Relationship Id="rId8" Type="http://schemas.openxmlformats.org/officeDocument/2006/relationships/tags" Target="../tags/tag2477.xml"/><Relationship Id="rId13" Type="http://schemas.openxmlformats.org/officeDocument/2006/relationships/image" Target="../media/image166.emf"/><Relationship Id="rId3" Type="http://schemas.openxmlformats.org/officeDocument/2006/relationships/tags" Target="../tags/tag2472.xml"/><Relationship Id="rId7" Type="http://schemas.openxmlformats.org/officeDocument/2006/relationships/tags" Target="../tags/tag2476.xml"/><Relationship Id="rId12" Type="http://schemas.openxmlformats.org/officeDocument/2006/relationships/oleObject" Target="../embeddings/oleObject318.bin"/><Relationship Id="rId2" Type="http://schemas.openxmlformats.org/officeDocument/2006/relationships/tags" Target="../tags/tag2471.xml"/><Relationship Id="rId1" Type="http://schemas.openxmlformats.org/officeDocument/2006/relationships/vmlDrawing" Target="../drawings/vmlDrawing304.vml"/><Relationship Id="rId6" Type="http://schemas.openxmlformats.org/officeDocument/2006/relationships/tags" Target="../tags/tag2475.xml"/><Relationship Id="rId11" Type="http://schemas.openxmlformats.org/officeDocument/2006/relationships/notesSlide" Target="../notesSlides/notesSlide39.xml"/><Relationship Id="rId5" Type="http://schemas.openxmlformats.org/officeDocument/2006/relationships/tags" Target="../tags/tag2474.xml"/><Relationship Id="rId10" Type="http://schemas.openxmlformats.org/officeDocument/2006/relationships/slideLayout" Target="../slideLayouts/slideLayout70.xml"/><Relationship Id="rId4" Type="http://schemas.openxmlformats.org/officeDocument/2006/relationships/tags" Target="../tags/tag2473.xml"/><Relationship Id="rId9" Type="http://schemas.openxmlformats.org/officeDocument/2006/relationships/tags" Target="../tags/tag2478.xml"/></Relationships>
</file>

<file path=ppt/slides/_rels/slide5.xml.rels><?xml version="1.0" encoding="UTF-8" standalone="yes"?>
<Relationships xmlns="http://schemas.openxmlformats.org/package/2006/relationships"><Relationship Id="rId13" Type="http://schemas.openxmlformats.org/officeDocument/2006/relationships/tags" Target="../tags/tag1849.xml"/><Relationship Id="rId18" Type="http://schemas.openxmlformats.org/officeDocument/2006/relationships/image" Target="../media/image18.jpeg"/><Relationship Id="rId26" Type="http://schemas.openxmlformats.org/officeDocument/2006/relationships/image" Target="../media/image26.png"/><Relationship Id="rId39" Type="http://schemas.openxmlformats.org/officeDocument/2006/relationships/image" Target="../media/image39.png"/><Relationship Id="rId21" Type="http://schemas.openxmlformats.org/officeDocument/2006/relationships/image" Target="../media/image21.jpeg"/><Relationship Id="rId34" Type="http://schemas.openxmlformats.org/officeDocument/2006/relationships/image" Target="../media/image34.png"/><Relationship Id="rId42" Type="http://schemas.openxmlformats.org/officeDocument/2006/relationships/image" Target="../media/image42.png"/><Relationship Id="rId47" Type="http://schemas.openxmlformats.org/officeDocument/2006/relationships/image" Target="../media/image47.png"/><Relationship Id="rId50" Type="http://schemas.openxmlformats.org/officeDocument/2006/relationships/image" Target="../media/image50.jpeg"/><Relationship Id="rId7" Type="http://schemas.openxmlformats.org/officeDocument/2006/relationships/tags" Target="../tags/tag1843.xml"/><Relationship Id="rId2" Type="http://schemas.openxmlformats.org/officeDocument/2006/relationships/tags" Target="../tags/tag1838.xml"/><Relationship Id="rId16" Type="http://schemas.openxmlformats.org/officeDocument/2006/relationships/oleObject" Target="../embeddings/oleObject264.bin"/><Relationship Id="rId29" Type="http://schemas.openxmlformats.org/officeDocument/2006/relationships/image" Target="../media/image29.jpeg"/><Relationship Id="rId11" Type="http://schemas.openxmlformats.org/officeDocument/2006/relationships/tags" Target="../tags/tag1847.xml"/><Relationship Id="rId24" Type="http://schemas.openxmlformats.org/officeDocument/2006/relationships/image" Target="../media/image24.png"/><Relationship Id="rId32" Type="http://schemas.openxmlformats.org/officeDocument/2006/relationships/image" Target="../media/image32.png"/><Relationship Id="rId37" Type="http://schemas.openxmlformats.org/officeDocument/2006/relationships/image" Target="../media/image37.png"/><Relationship Id="rId40" Type="http://schemas.openxmlformats.org/officeDocument/2006/relationships/image" Target="../media/image40.png"/><Relationship Id="rId45" Type="http://schemas.openxmlformats.org/officeDocument/2006/relationships/image" Target="../media/image45.png"/><Relationship Id="rId53" Type="http://schemas.openxmlformats.org/officeDocument/2006/relationships/image" Target="../media/image53.jpeg"/><Relationship Id="rId5" Type="http://schemas.openxmlformats.org/officeDocument/2006/relationships/tags" Target="../tags/tag1841.xml"/><Relationship Id="rId10" Type="http://schemas.openxmlformats.org/officeDocument/2006/relationships/tags" Target="../tags/tag1846.xml"/><Relationship Id="rId19" Type="http://schemas.openxmlformats.org/officeDocument/2006/relationships/image" Target="../media/image19.png"/><Relationship Id="rId31" Type="http://schemas.openxmlformats.org/officeDocument/2006/relationships/image" Target="../media/image31.jpeg"/><Relationship Id="rId44" Type="http://schemas.openxmlformats.org/officeDocument/2006/relationships/image" Target="../media/image44.jpeg"/><Relationship Id="rId52" Type="http://schemas.openxmlformats.org/officeDocument/2006/relationships/image" Target="../media/image52.png"/><Relationship Id="rId4" Type="http://schemas.openxmlformats.org/officeDocument/2006/relationships/tags" Target="../tags/tag1840.xml"/><Relationship Id="rId9" Type="http://schemas.openxmlformats.org/officeDocument/2006/relationships/tags" Target="../tags/tag1845.xml"/><Relationship Id="rId14" Type="http://schemas.openxmlformats.org/officeDocument/2006/relationships/slideLayout" Target="../slideLayouts/slideLayout14.xml"/><Relationship Id="rId22" Type="http://schemas.openxmlformats.org/officeDocument/2006/relationships/image" Target="../media/image22.png"/><Relationship Id="rId27" Type="http://schemas.openxmlformats.org/officeDocument/2006/relationships/image" Target="../media/image27.png"/><Relationship Id="rId30" Type="http://schemas.openxmlformats.org/officeDocument/2006/relationships/image" Target="../media/image30.jpeg"/><Relationship Id="rId35" Type="http://schemas.openxmlformats.org/officeDocument/2006/relationships/image" Target="../media/image35.png"/><Relationship Id="rId43" Type="http://schemas.openxmlformats.org/officeDocument/2006/relationships/image" Target="../media/image43.jpeg"/><Relationship Id="rId48" Type="http://schemas.openxmlformats.org/officeDocument/2006/relationships/image" Target="../media/image48.png"/><Relationship Id="rId8" Type="http://schemas.openxmlformats.org/officeDocument/2006/relationships/tags" Target="../tags/tag1844.xml"/><Relationship Id="rId51" Type="http://schemas.openxmlformats.org/officeDocument/2006/relationships/image" Target="../media/image51.emf"/><Relationship Id="rId3" Type="http://schemas.openxmlformats.org/officeDocument/2006/relationships/tags" Target="../tags/tag1839.xml"/><Relationship Id="rId12" Type="http://schemas.openxmlformats.org/officeDocument/2006/relationships/tags" Target="../tags/tag1848.xml"/><Relationship Id="rId17" Type="http://schemas.openxmlformats.org/officeDocument/2006/relationships/image" Target="../media/image17.png"/><Relationship Id="rId25" Type="http://schemas.openxmlformats.org/officeDocument/2006/relationships/image" Target="../media/image25.png"/><Relationship Id="rId33" Type="http://schemas.openxmlformats.org/officeDocument/2006/relationships/image" Target="../media/image33.png"/><Relationship Id="rId38" Type="http://schemas.openxmlformats.org/officeDocument/2006/relationships/image" Target="../media/image38.png"/><Relationship Id="rId46" Type="http://schemas.openxmlformats.org/officeDocument/2006/relationships/image" Target="../media/image46.png"/><Relationship Id="rId20" Type="http://schemas.openxmlformats.org/officeDocument/2006/relationships/image" Target="../media/image20.png"/><Relationship Id="rId41" Type="http://schemas.openxmlformats.org/officeDocument/2006/relationships/image" Target="../media/image41.png"/><Relationship Id="rId1" Type="http://schemas.openxmlformats.org/officeDocument/2006/relationships/vmlDrawing" Target="../drawings/vmlDrawing263.vml"/><Relationship Id="rId6" Type="http://schemas.openxmlformats.org/officeDocument/2006/relationships/tags" Target="../tags/tag1842.xml"/><Relationship Id="rId15" Type="http://schemas.openxmlformats.org/officeDocument/2006/relationships/notesSlide" Target="../notesSlides/notesSlide5.xml"/><Relationship Id="rId23" Type="http://schemas.openxmlformats.org/officeDocument/2006/relationships/image" Target="../media/image23.png"/><Relationship Id="rId28" Type="http://schemas.openxmlformats.org/officeDocument/2006/relationships/image" Target="../media/image28.jpeg"/><Relationship Id="rId36" Type="http://schemas.openxmlformats.org/officeDocument/2006/relationships/image" Target="../media/image36.png"/><Relationship Id="rId49" Type="http://schemas.openxmlformats.org/officeDocument/2006/relationships/image" Target="../media/image49.jpeg"/></Relationships>
</file>

<file path=ppt/slides/_rels/slide50.xml.rels><?xml version="1.0" encoding="UTF-8" standalone="yes"?>
<Relationships xmlns="http://schemas.openxmlformats.org/package/2006/relationships"><Relationship Id="rId8" Type="http://schemas.openxmlformats.org/officeDocument/2006/relationships/image" Target="../media/image168.png"/><Relationship Id="rId3" Type="http://schemas.openxmlformats.org/officeDocument/2006/relationships/tags" Target="../tags/tag2480.xml"/><Relationship Id="rId7" Type="http://schemas.openxmlformats.org/officeDocument/2006/relationships/image" Target="../media/image167.png"/><Relationship Id="rId12" Type="http://schemas.openxmlformats.org/officeDocument/2006/relationships/image" Target="../media/image172.png"/><Relationship Id="rId2" Type="http://schemas.openxmlformats.org/officeDocument/2006/relationships/tags" Target="../tags/tag2479.xml"/><Relationship Id="rId1" Type="http://schemas.openxmlformats.org/officeDocument/2006/relationships/vmlDrawing" Target="../drawings/vmlDrawing305.vml"/><Relationship Id="rId6" Type="http://schemas.openxmlformats.org/officeDocument/2006/relationships/oleObject" Target="../embeddings/oleObject319.bin"/><Relationship Id="rId11" Type="http://schemas.openxmlformats.org/officeDocument/2006/relationships/image" Target="../media/image171.png"/><Relationship Id="rId5" Type="http://schemas.openxmlformats.org/officeDocument/2006/relationships/notesSlide" Target="../notesSlides/notesSlide40.xml"/><Relationship Id="rId10" Type="http://schemas.openxmlformats.org/officeDocument/2006/relationships/image" Target="../media/image170.png"/><Relationship Id="rId4" Type="http://schemas.openxmlformats.org/officeDocument/2006/relationships/slideLayout" Target="../slideLayouts/slideLayout70.xml"/><Relationship Id="rId9" Type="http://schemas.openxmlformats.org/officeDocument/2006/relationships/image" Target="../media/image169.png"/></Relationships>
</file>

<file path=ppt/slides/_rels/slide51.xml.rels><?xml version="1.0" encoding="UTF-8" standalone="yes"?>
<Relationships xmlns="http://schemas.openxmlformats.org/package/2006/relationships"><Relationship Id="rId8" Type="http://schemas.openxmlformats.org/officeDocument/2006/relationships/notesSlide" Target="../notesSlides/notesSlide41.xml"/><Relationship Id="rId13" Type="http://schemas.openxmlformats.org/officeDocument/2006/relationships/image" Target="../media/image174.png"/><Relationship Id="rId3" Type="http://schemas.openxmlformats.org/officeDocument/2006/relationships/tags" Target="../tags/tag2482.xml"/><Relationship Id="rId7" Type="http://schemas.openxmlformats.org/officeDocument/2006/relationships/slideLayout" Target="../slideLayouts/slideLayout86.xml"/><Relationship Id="rId12" Type="http://schemas.microsoft.com/office/2007/relationships/hdphoto" Target="../media/hdphoto1.wdp"/><Relationship Id="rId2" Type="http://schemas.openxmlformats.org/officeDocument/2006/relationships/tags" Target="../tags/tag2481.xml"/><Relationship Id="rId16" Type="http://schemas.microsoft.com/office/2007/relationships/hdphoto" Target="../media/hdphoto3.wdp"/><Relationship Id="rId1" Type="http://schemas.openxmlformats.org/officeDocument/2006/relationships/vmlDrawing" Target="../drawings/vmlDrawing306.vml"/><Relationship Id="rId6" Type="http://schemas.openxmlformats.org/officeDocument/2006/relationships/tags" Target="../tags/tag2485.xml"/><Relationship Id="rId11" Type="http://schemas.openxmlformats.org/officeDocument/2006/relationships/image" Target="../media/image173.png"/><Relationship Id="rId5" Type="http://schemas.openxmlformats.org/officeDocument/2006/relationships/tags" Target="../tags/tag2484.xml"/><Relationship Id="rId15" Type="http://schemas.openxmlformats.org/officeDocument/2006/relationships/image" Target="../media/image175.png"/><Relationship Id="rId10" Type="http://schemas.openxmlformats.org/officeDocument/2006/relationships/image" Target="../media/image4.emf"/><Relationship Id="rId4" Type="http://schemas.openxmlformats.org/officeDocument/2006/relationships/tags" Target="../tags/tag2483.xml"/><Relationship Id="rId9" Type="http://schemas.openxmlformats.org/officeDocument/2006/relationships/oleObject" Target="../embeddings/oleObject320.bin"/><Relationship Id="rId14" Type="http://schemas.microsoft.com/office/2007/relationships/hdphoto" Target="../media/hdphoto2.wdp"/></Relationships>
</file>

<file path=ppt/slides/_rels/slide52.xml.rels><?xml version="1.0" encoding="UTF-8" standalone="yes"?>
<Relationships xmlns="http://schemas.openxmlformats.org/package/2006/relationships"><Relationship Id="rId8" Type="http://schemas.openxmlformats.org/officeDocument/2006/relationships/image" Target="../media/image177.png"/><Relationship Id="rId3" Type="http://schemas.openxmlformats.org/officeDocument/2006/relationships/tags" Target="../tags/tag2487.xml"/><Relationship Id="rId7" Type="http://schemas.openxmlformats.org/officeDocument/2006/relationships/image" Target="../media/image176.png"/><Relationship Id="rId12" Type="http://schemas.openxmlformats.org/officeDocument/2006/relationships/image" Target="../media/image181.png"/><Relationship Id="rId2" Type="http://schemas.openxmlformats.org/officeDocument/2006/relationships/tags" Target="../tags/tag2486.xml"/><Relationship Id="rId1" Type="http://schemas.openxmlformats.org/officeDocument/2006/relationships/vmlDrawing" Target="../drawings/vmlDrawing307.vml"/><Relationship Id="rId6" Type="http://schemas.openxmlformats.org/officeDocument/2006/relationships/oleObject" Target="../embeddings/oleObject321.bin"/><Relationship Id="rId11" Type="http://schemas.openxmlformats.org/officeDocument/2006/relationships/image" Target="../media/image180.png"/><Relationship Id="rId5" Type="http://schemas.openxmlformats.org/officeDocument/2006/relationships/notesSlide" Target="../notesSlides/notesSlide42.xml"/><Relationship Id="rId10" Type="http://schemas.openxmlformats.org/officeDocument/2006/relationships/image" Target="../media/image179.png"/><Relationship Id="rId4" Type="http://schemas.openxmlformats.org/officeDocument/2006/relationships/slideLayout" Target="../slideLayouts/slideLayout94.xml"/><Relationship Id="rId9" Type="http://schemas.openxmlformats.org/officeDocument/2006/relationships/image" Target="../media/image178.png"/></Relationships>
</file>

<file path=ppt/slides/_rels/slide53.xml.rels><?xml version="1.0" encoding="UTF-8" standalone="yes"?>
<Relationships xmlns="http://schemas.openxmlformats.org/package/2006/relationships"><Relationship Id="rId8" Type="http://schemas.openxmlformats.org/officeDocument/2006/relationships/tags" Target="../tags/tag2494.xml"/><Relationship Id="rId13" Type="http://schemas.openxmlformats.org/officeDocument/2006/relationships/image" Target="../media/image70.emf"/><Relationship Id="rId18" Type="http://schemas.openxmlformats.org/officeDocument/2006/relationships/slide" Target="slide48.xml"/><Relationship Id="rId3" Type="http://schemas.openxmlformats.org/officeDocument/2006/relationships/tags" Target="../tags/tag2489.xml"/><Relationship Id="rId7" Type="http://schemas.openxmlformats.org/officeDocument/2006/relationships/tags" Target="../tags/tag2493.xml"/><Relationship Id="rId12" Type="http://schemas.openxmlformats.org/officeDocument/2006/relationships/oleObject" Target="../embeddings/oleObject322.bin"/><Relationship Id="rId17" Type="http://schemas.openxmlformats.org/officeDocument/2006/relationships/slide" Target="slide39.xml"/><Relationship Id="rId2" Type="http://schemas.openxmlformats.org/officeDocument/2006/relationships/tags" Target="../tags/tag2488.xml"/><Relationship Id="rId16" Type="http://schemas.openxmlformats.org/officeDocument/2006/relationships/slide" Target="slide36.xml"/><Relationship Id="rId1" Type="http://schemas.openxmlformats.org/officeDocument/2006/relationships/vmlDrawing" Target="../drawings/vmlDrawing308.vml"/><Relationship Id="rId6" Type="http://schemas.openxmlformats.org/officeDocument/2006/relationships/tags" Target="../tags/tag2492.xml"/><Relationship Id="rId11" Type="http://schemas.openxmlformats.org/officeDocument/2006/relationships/notesSlide" Target="../notesSlides/notesSlide43.xml"/><Relationship Id="rId5" Type="http://schemas.openxmlformats.org/officeDocument/2006/relationships/tags" Target="../tags/tag2491.xml"/><Relationship Id="rId15" Type="http://schemas.openxmlformats.org/officeDocument/2006/relationships/slide" Target="slide19.xml"/><Relationship Id="rId10" Type="http://schemas.openxmlformats.org/officeDocument/2006/relationships/slideLayout" Target="../slideLayouts/slideLayout99.xml"/><Relationship Id="rId4" Type="http://schemas.openxmlformats.org/officeDocument/2006/relationships/tags" Target="../tags/tag2490.xml"/><Relationship Id="rId9" Type="http://schemas.openxmlformats.org/officeDocument/2006/relationships/tags" Target="../tags/tag2495.xml"/><Relationship Id="rId14" Type="http://schemas.openxmlformats.org/officeDocument/2006/relationships/slide" Target="slide9.xml"/></Relationships>
</file>

<file path=ppt/slides/_rels/slide54.xml.rels><?xml version="1.0" encoding="UTF-8" standalone="yes"?>
<Relationships xmlns="http://schemas.openxmlformats.org/package/2006/relationships"><Relationship Id="rId8" Type="http://schemas.openxmlformats.org/officeDocument/2006/relationships/notesSlide" Target="../notesSlides/notesSlide44.xml"/><Relationship Id="rId13" Type="http://schemas.openxmlformats.org/officeDocument/2006/relationships/image" Target="../media/image185.png"/><Relationship Id="rId3" Type="http://schemas.openxmlformats.org/officeDocument/2006/relationships/tags" Target="../tags/tag2497.xml"/><Relationship Id="rId7" Type="http://schemas.openxmlformats.org/officeDocument/2006/relationships/slideLayout" Target="../slideLayouts/slideLayout102.xml"/><Relationship Id="rId12" Type="http://schemas.openxmlformats.org/officeDocument/2006/relationships/image" Target="../media/image184.png"/><Relationship Id="rId2" Type="http://schemas.openxmlformats.org/officeDocument/2006/relationships/tags" Target="../tags/tag2496.xml"/><Relationship Id="rId16" Type="http://schemas.openxmlformats.org/officeDocument/2006/relationships/image" Target="../media/image188.gif"/><Relationship Id="rId1" Type="http://schemas.openxmlformats.org/officeDocument/2006/relationships/vmlDrawing" Target="../drawings/vmlDrawing309.vml"/><Relationship Id="rId6" Type="http://schemas.openxmlformats.org/officeDocument/2006/relationships/tags" Target="../tags/tag2500.xml"/><Relationship Id="rId11" Type="http://schemas.openxmlformats.org/officeDocument/2006/relationships/image" Target="../media/image183.png"/><Relationship Id="rId5" Type="http://schemas.openxmlformats.org/officeDocument/2006/relationships/tags" Target="../tags/tag2499.xml"/><Relationship Id="rId15" Type="http://schemas.openxmlformats.org/officeDocument/2006/relationships/image" Target="../media/image187.png"/><Relationship Id="rId10" Type="http://schemas.openxmlformats.org/officeDocument/2006/relationships/image" Target="../media/image182.png"/><Relationship Id="rId4" Type="http://schemas.openxmlformats.org/officeDocument/2006/relationships/tags" Target="../tags/tag2498.xml"/><Relationship Id="rId9" Type="http://schemas.openxmlformats.org/officeDocument/2006/relationships/oleObject" Target="../embeddings/oleObject323.bin"/><Relationship Id="rId14" Type="http://schemas.openxmlformats.org/officeDocument/2006/relationships/image" Target="../media/image186.png"/></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106.xml"/></Relationships>
</file>

<file path=ppt/slides/_rels/slide56.xml.rels><?xml version="1.0" encoding="UTF-8" standalone="yes"?>
<Relationships xmlns="http://schemas.openxmlformats.org/package/2006/relationships"><Relationship Id="rId8" Type="http://schemas.openxmlformats.org/officeDocument/2006/relationships/image" Target="../media/image189.png"/><Relationship Id="rId3" Type="http://schemas.openxmlformats.org/officeDocument/2006/relationships/tags" Target="../tags/tag2502.xml"/><Relationship Id="rId7" Type="http://schemas.openxmlformats.org/officeDocument/2006/relationships/image" Target="../media/image54.emf"/><Relationship Id="rId2" Type="http://schemas.openxmlformats.org/officeDocument/2006/relationships/tags" Target="../tags/tag2501.xml"/><Relationship Id="rId1" Type="http://schemas.openxmlformats.org/officeDocument/2006/relationships/vmlDrawing" Target="../drawings/vmlDrawing310.vml"/><Relationship Id="rId6" Type="http://schemas.openxmlformats.org/officeDocument/2006/relationships/oleObject" Target="../embeddings/oleObject324.bin"/><Relationship Id="rId5" Type="http://schemas.openxmlformats.org/officeDocument/2006/relationships/slideLayout" Target="../slideLayouts/slideLayout110.xml"/><Relationship Id="rId10" Type="http://schemas.openxmlformats.org/officeDocument/2006/relationships/image" Target="../media/image191.png"/><Relationship Id="rId4" Type="http://schemas.openxmlformats.org/officeDocument/2006/relationships/tags" Target="../tags/tag2503.xml"/><Relationship Id="rId9" Type="http://schemas.openxmlformats.org/officeDocument/2006/relationships/image" Target="../media/image190.png"/></Relationships>
</file>

<file path=ppt/slides/_rels/slide57.xml.rels><?xml version="1.0" encoding="UTF-8" standalone="yes"?>
<Relationships xmlns="http://schemas.openxmlformats.org/package/2006/relationships"><Relationship Id="rId8" Type="http://schemas.openxmlformats.org/officeDocument/2006/relationships/image" Target="../media/image193.jpeg"/><Relationship Id="rId3" Type="http://schemas.openxmlformats.org/officeDocument/2006/relationships/tags" Target="../tags/tag2505.xml"/><Relationship Id="rId7" Type="http://schemas.openxmlformats.org/officeDocument/2006/relationships/image" Target="../media/image192.jpeg"/><Relationship Id="rId2" Type="http://schemas.openxmlformats.org/officeDocument/2006/relationships/tags" Target="../tags/tag2504.xml"/><Relationship Id="rId1" Type="http://schemas.openxmlformats.org/officeDocument/2006/relationships/vmlDrawing" Target="../drawings/vmlDrawing311.vml"/><Relationship Id="rId6" Type="http://schemas.openxmlformats.org/officeDocument/2006/relationships/oleObject" Target="../embeddings/oleObject325.bin"/><Relationship Id="rId11" Type="http://schemas.microsoft.com/office/2007/relationships/hdphoto" Target="../media/hdphoto4.wdp"/><Relationship Id="rId5" Type="http://schemas.openxmlformats.org/officeDocument/2006/relationships/notesSlide" Target="../notesSlides/notesSlide45.xml"/><Relationship Id="rId10" Type="http://schemas.openxmlformats.org/officeDocument/2006/relationships/image" Target="../media/image195.jpeg"/><Relationship Id="rId4" Type="http://schemas.openxmlformats.org/officeDocument/2006/relationships/slideLayout" Target="../slideLayouts/slideLayout114.xml"/><Relationship Id="rId9" Type="http://schemas.openxmlformats.org/officeDocument/2006/relationships/image" Target="../media/image194.jpeg"/></Relationships>
</file>

<file path=ppt/slides/_rels/slide58.xml.rels><?xml version="1.0" encoding="UTF-8" standalone="yes"?>
<Relationships xmlns="http://schemas.openxmlformats.org/package/2006/relationships"><Relationship Id="rId8" Type="http://schemas.openxmlformats.org/officeDocument/2006/relationships/image" Target="../media/image200.png"/><Relationship Id="rId13" Type="http://schemas.openxmlformats.org/officeDocument/2006/relationships/image" Target="../media/image203.png"/><Relationship Id="rId3" Type="http://schemas.openxmlformats.org/officeDocument/2006/relationships/slideLayout" Target="../slideLayouts/slideLayout118.xml"/><Relationship Id="rId7" Type="http://schemas.openxmlformats.org/officeDocument/2006/relationships/image" Target="../media/image199.png"/><Relationship Id="rId12" Type="http://schemas.openxmlformats.org/officeDocument/2006/relationships/image" Target="../media/image202.png"/><Relationship Id="rId2" Type="http://schemas.openxmlformats.org/officeDocument/2006/relationships/tags" Target="../tags/tag2506.xml"/><Relationship Id="rId1" Type="http://schemas.openxmlformats.org/officeDocument/2006/relationships/vmlDrawing" Target="../drawings/vmlDrawing312.vml"/><Relationship Id="rId6" Type="http://schemas.openxmlformats.org/officeDocument/2006/relationships/image" Target="../media/image198.png"/><Relationship Id="rId11" Type="http://schemas.openxmlformats.org/officeDocument/2006/relationships/image" Target="../media/image196.emf"/><Relationship Id="rId5" Type="http://schemas.openxmlformats.org/officeDocument/2006/relationships/image" Target="../media/image197.png"/><Relationship Id="rId10" Type="http://schemas.openxmlformats.org/officeDocument/2006/relationships/oleObject" Target="../embeddings/oleObject326.bin"/><Relationship Id="rId4" Type="http://schemas.openxmlformats.org/officeDocument/2006/relationships/notesSlide" Target="../notesSlides/notesSlide46.xml"/><Relationship Id="rId9" Type="http://schemas.openxmlformats.org/officeDocument/2006/relationships/image" Target="../media/image201.png"/></Relationships>
</file>

<file path=ppt/slides/_rels/slide6.xml.rels><?xml version="1.0" encoding="UTF-8" standalone="yes"?>
<Relationships xmlns="http://schemas.openxmlformats.org/package/2006/relationships"><Relationship Id="rId8" Type="http://schemas.openxmlformats.org/officeDocument/2006/relationships/tags" Target="../tags/tag1856.xml"/><Relationship Id="rId13" Type="http://schemas.openxmlformats.org/officeDocument/2006/relationships/tags" Target="../tags/tag1861.xml"/><Relationship Id="rId3" Type="http://schemas.openxmlformats.org/officeDocument/2006/relationships/tags" Target="../tags/tag1851.xml"/><Relationship Id="rId7" Type="http://schemas.openxmlformats.org/officeDocument/2006/relationships/tags" Target="../tags/tag1855.xml"/><Relationship Id="rId12" Type="http://schemas.openxmlformats.org/officeDocument/2006/relationships/tags" Target="../tags/tag1860.xml"/><Relationship Id="rId2" Type="http://schemas.openxmlformats.org/officeDocument/2006/relationships/tags" Target="../tags/tag1850.xml"/><Relationship Id="rId16" Type="http://schemas.openxmlformats.org/officeDocument/2006/relationships/image" Target="../media/image54.emf"/><Relationship Id="rId1" Type="http://schemas.openxmlformats.org/officeDocument/2006/relationships/vmlDrawing" Target="../drawings/vmlDrawing264.vml"/><Relationship Id="rId6" Type="http://schemas.openxmlformats.org/officeDocument/2006/relationships/tags" Target="../tags/tag1854.xml"/><Relationship Id="rId11" Type="http://schemas.openxmlformats.org/officeDocument/2006/relationships/tags" Target="../tags/tag1859.xml"/><Relationship Id="rId5" Type="http://schemas.openxmlformats.org/officeDocument/2006/relationships/tags" Target="../tags/tag1853.xml"/><Relationship Id="rId15" Type="http://schemas.openxmlformats.org/officeDocument/2006/relationships/oleObject" Target="../embeddings/oleObject265.bin"/><Relationship Id="rId10" Type="http://schemas.openxmlformats.org/officeDocument/2006/relationships/tags" Target="../tags/tag1858.xml"/><Relationship Id="rId4" Type="http://schemas.openxmlformats.org/officeDocument/2006/relationships/tags" Target="../tags/tag1852.xml"/><Relationship Id="rId9" Type="http://schemas.openxmlformats.org/officeDocument/2006/relationships/tags" Target="../tags/tag1857.xml"/><Relationship Id="rId14" Type="http://schemas.openxmlformats.org/officeDocument/2006/relationships/slideLayout" Target="../slideLayouts/slideLayout66.xml"/></Relationships>
</file>

<file path=ppt/slides/_rels/slide7.xml.rels><?xml version="1.0" encoding="UTF-8" standalone="yes"?>
<Relationships xmlns="http://schemas.openxmlformats.org/package/2006/relationships"><Relationship Id="rId8" Type="http://schemas.openxmlformats.org/officeDocument/2006/relationships/slideLayout" Target="../slideLayouts/slideLayout6.xml"/><Relationship Id="rId13" Type="http://schemas.openxmlformats.org/officeDocument/2006/relationships/image" Target="../media/image56.jpg"/><Relationship Id="rId3" Type="http://schemas.openxmlformats.org/officeDocument/2006/relationships/tags" Target="../tags/tag1863.xml"/><Relationship Id="rId7" Type="http://schemas.openxmlformats.org/officeDocument/2006/relationships/tags" Target="../tags/tag1867.xml"/><Relationship Id="rId12" Type="http://schemas.openxmlformats.org/officeDocument/2006/relationships/image" Target="../media/image55.jpg"/><Relationship Id="rId2" Type="http://schemas.openxmlformats.org/officeDocument/2006/relationships/tags" Target="../tags/tag1862.xml"/><Relationship Id="rId16" Type="http://schemas.openxmlformats.org/officeDocument/2006/relationships/image" Target="../media/image59.jpeg"/><Relationship Id="rId1" Type="http://schemas.openxmlformats.org/officeDocument/2006/relationships/vmlDrawing" Target="../drawings/vmlDrawing265.vml"/><Relationship Id="rId6" Type="http://schemas.openxmlformats.org/officeDocument/2006/relationships/tags" Target="../tags/tag1866.xml"/><Relationship Id="rId11" Type="http://schemas.openxmlformats.org/officeDocument/2006/relationships/image" Target="../media/image2.emf"/><Relationship Id="rId5" Type="http://schemas.openxmlformats.org/officeDocument/2006/relationships/tags" Target="../tags/tag1865.xml"/><Relationship Id="rId15" Type="http://schemas.openxmlformats.org/officeDocument/2006/relationships/image" Target="../media/image58.jpg"/><Relationship Id="rId10" Type="http://schemas.openxmlformats.org/officeDocument/2006/relationships/oleObject" Target="../embeddings/oleObject266.bin"/><Relationship Id="rId4" Type="http://schemas.openxmlformats.org/officeDocument/2006/relationships/tags" Target="../tags/tag1864.xml"/><Relationship Id="rId9" Type="http://schemas.openxmlformats.org/officeDocument/2006/relationships/notesSlide" Target="../notesSlides/notesSlide6.xml"/><Relationship Id="rId14" Type="http://schemas.openxmlformats.org/officeDocument/2006/relationships/image" Target="../media/image57.jpg"/></Relationships>
</file>

<file path=ppt/slides/_rels/slide8.xml.rels><?xml version="1.0" encoding="UTF-8" standalone="yes"?>
<Relationships xmlns="http://schemas.openxmlformats.org/package/2006/relationships"><Relationship Id="rId8" Type="http://schemas.openxmlformats.org/officeDocument/2006/relationships/tags" Target="../tags/tag1874.xml"/><Relationship Id="rId13" Type="http://schemas.openxmlformats.org/officeDocument/2006/relationships/notesSlide" Target="../notesSlides/notesSlide7.xml"/><Relationship Id="rId18" Type="http://schemas.openxmlformats.org/officeDocument/2006/relationships/image" Target="../media/image63.png"/><Relationship Id="rId3" Type="http://schemas.openxmlformats.org/officeDocument/2006/relationships/tags" Target="../tags/tag1869.xml"/><Relationship Id="rId21" Type="http://schemas.openxmlformats.org/officeDocument/2006/relationships/image" Target="../media/image66.png"/><Relationship Id="rId7" Type="http://schemas.openxmlformats.org/officeDocument/2006/relationships/tags" Target="../tags/tag1873.xml"/><Relationship Id="rId12" Type="http://schemas.openxmlformats.org/officeDocument/2006/relationships/slideLayout" Target="../slideLayouts/slideLayout10.xml"/><Relationship Id="rId17" Type="http://schemas.openxmlformats.org/officeDocument/2006/relationships/image" Target="../media/image62.png"/><Relationship Id="rId2" Type="http://schemas.openxmlformats.org/officeDocument/2006/relationships/tags" Target="../tags/tag1868.xml"/><Relationship Id="rId16" Type="http://schemas.openxmlformats.org/officeDocument/2006/relationships/image" Target="../media/image61.png"/><Relationship Id="rId20" Type="http://schemas.openxmlformats.org/officeDocument/2006/relationships/image" Target="../media/image65.png"/><Relationship Id="rId1" Type="http://schemas.openxmlformats.org/officeDocument/2006/relationships/vmlDrawing" Target="../drawings/vmlDrawing266.vml"/><Relationship Id="rId6" Type="http://schemas.openxmlformats.org/officeDocument/2006/relationships/tags" Target="../tags/tag1872.xml"/><Relationship Id="rId11" Type="http://schemas.openxmlformats.org/officeDocument/2006/relationships/tags" Target="../tags/tag1877.xml"/><Relationship Id="rId24" Type="http://schemas.openxmlformats.org/officeDocument/2006/relationships/image" Target="../media/image69.png"/><Relationship Id="rId5" Type="http://schemas.openxmlformats.org/officeDocument/2006/relationships/tags" Target="../tags/tag1871.xml"/><Relationship Id="rId15" Type="http://schemas.openxmlformats.org/officeDocument/2006/relationships/image" Target="../media/image60.emf"/><Relationship Id="rId23" Type="http://schemas.openxmlformats.org/officeDocument/2006/relationships/image" Target="../media/image68.png"/><Relationship Id="rId10" Type="http://schemas.openxmlformats.org/officeDocument/2006/relationships/tags" Target="../tags/tag1876.xml"/><Relationship Id="rId19" Type="http://schemas.openxmlformats.org/officeDocument/2006/relationships/image" Target="../media/image64.png"/><Relationship Id="rId4" Type="http://schemas.openxmlformats.org/officeDocument/2006/relationships/tags" Target="../tags/tag1870.xml"/><Relationship Id="rId9" Type="http://schemas.openxmlformats.org/officeDocument/2006/relationships/tags" Target="../tags/tag1875.xml"/><Relationship Id="rId14" Type="http://schemas.openxmlformats.org/officeDocument/2006/relationships/oleObject" Target="../embeddings/oleObject267.bin"/><Relationship Id="rId22" Type="http://schemas.openxmlformats.org/officeDocument/2006/relationships/image" Target="../media/image67.png"/></Relationships>
</file>

<file path=ppt/slides/_rels/slide9.xml.rels><?xml version="1.0" encoding="UTF-8" standalone="yes"?>
<Relationships xmlns="http://schemas.openxmlformats.org/package/2006/relationships"><Relationship Id="rId8" Type="http://schemas.openxmlformats.org/officeDocument/2006/relationships/tags" Target="../tags/tag1884.xml"/><Relationship Id="rId13" Type="http://schemas.openxmlformats.org/officeDocument/2006/relationships/image" Target="../media/image70.emf"/><Relationship Id="rId18" Type="http://schemas.openxmlformats.org/officeDocument/2006/relationships/slide" Target="slide53.xml"/><Relationship Id="rId3" Type="http://schemas.openxmlformats.org/officeDocument/2006/relationships/tags" Target="../tags/tag1879.xml"/><Relationship Id="rId7" Type="http://schemas.openxmlformats.org/officeDocument/2006/relationships/tags" Target="../tags/tag1883.xml"/><Relationship Id="rId12" Type="http://schemas.openxmlformats.org/officeDocument/2006/relationships/oleObject" Target="../embeddings/oleObject268.bin"/><Relationship Id="rId17" Type="http://schemas.openxmlformats.org/officeDocument/2006/relationships/slide" Target="slide48.xml"/><Relationship Id="rId2" Type="http://schemas.openxmlformats.org/officeDocument/2006/relationships/tags" Target="../tags/tag1878.xml"/><Relationship Id="rId16" Type="http://schemas.openxmlformats.org/officeDocument/2006/relationships/slide" Target="slide39.xml"/><Relationship Id="rId1" Type="http://schemas.openxmlformats.org/officeDocument/2006/relationships/vmlDrawing" Target="../drawings/vmlDrawing267.vml"/><Relationship Id="rId6" Type="http://schemas.openxmlformats.org/officeDocument/2006/relationships/tags" Target="../tags/tag1882.xml"/><Relationship Id="rId11" Type="http://schemas.openxmlformats.org/officeDocument/2006/relationships/notesSlide" Target="../notesSlides/notesSlide8.xml"/><Relationship Id="rId5" Type="http://schemas.openxmlformats.org/officeDocument/2006/relationships/tags" Target="../tags/tag1881.xml"/><Relationship Id="rId15" Type="http://schemas.openxmlformats.org/officeDocument/2006/relationships/slide" Target="slide36.xml"/><Relationship Id="rId10" Type="http://schemas.openxmlformats.org/officeDocument/2006/relationships/slideLayout" Target="../slideLayouts/slideLayout19.xml"/><Relationship Id="rId4" Type="http://schemas.openxmlformats.org/officeDocument/2006/relationships/tags" Target="../tags/tag1880.xml"/><Relationship Id="rId9" Type="http://schemas.openxmlformats.org/officeDocument/2006/relationships/tags" Target="../tags/tag1885.xml"/><Relationship Id="rId14" Type="http://schemas.openxmlformats.org/officeDocument/2006/relationships/slide" Target="slide1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65236" name="think-cell Slide" r:id="rId5" imgW="470" imgH="469" progId="TCLayout.ActiveDocument.1">
                  <p:embed/>
                </p:oleObj>
              </mc:Choice>
              <mc:Fallback>
                <p:oleObj name="think-cell Slide" r:id="rId5" imgW="470" imgH="469" progId="TCLayout.ActiveDocument.1">
                  <p:embed/>
                  <p:pic>
                    <p:nvPicPr>
                      <p:cNvPr id="4" name="Object 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Document type"/>
          <p:cNvSpPr txBox="1">
            <a:spLocks noChangeArrowheads="1"/>
          </p:cNvSpPr>
          <p:nvPr/>
        </p:nvSpPr>
        <p:spPr bwMode="gray">
          <a:xfrm>
            <a:off x="2268265" y="3231542"/>
            <a:ext cx="6231663"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defPPr>
              <a:defRPr lang="en-US"/>
            </a:defPPr>
            <a:lvl1pPr eaLnBrk="1" hangingPunct="1">
              <a:defRPr sz="1400" baseline="0">
                <a:solidFill>
                  <a:schemeClr val="accent6"/>
                </a:solidFill>
                <a:latin typeface="+mn-lt"/>
              </a:defRPr>
            </a:lvl1pPr>
            <a:lvl2pPr marL="742950" indent="-285750" eaLnBrk="0" hangingPunct="0"/>
            <a:lvl3pPr marL="1143000" indent="-228600" eaLnBrk="0" hangingPunct="0"/>
            <a:lvl4pPr marL="1600200" indent="-228600" eaLnBrk="0" hangingPunct="0"/>
            <a:lvl5pPr marL="2057400" indent="-228600" eaLnBrk="0" hangingPunct="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r>
              <a:rPr lang="en-US" dirty="0">
                <a:solidFill>
                  <a:schemeClr val="bg1"/>
                </a:solidFill>
              </a:rPr>
              <a:t>Discussion Document | March 2018</a:t>
            </a:r>
          </a:p>
        </p:txBody>
      </p:sp>
      <p:sp>
        <p:nvSpPr>
          <p:cNvPr id="2" name="Title 1"/>
          <p:cNvSpPr>
            <a:spLocks noGrp="1"/>
          </p:cNvSpPr>
          <p:nvPr>
            <p:ph type="ctrTitle"/>
          </p:nvPr>
        </p:nvSpPr>
        <p:spPr bwMode="gray">
          <a:xfrm>
            <a:off x="2268266" y="1434419"/>
            <a:ext cx="6231663" cy="984885"/>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p>
            <a:r>
              <a:rPr lang="en-US" dirty="0"/>
              <a:t>McKinsey’s qualifications for merger management</a:t>
            </a:r>
          </a:p>
        </p:txBody>
      </p:sp>
      <p:sp>
        <p:nvSpPr>
          <p:cNvPr id="3" name="Subtitle 2"/>
          <p:cNvSpPr>
            <a:spLocks noGrp="1"/>
          </p:cNvSpPr>
          <p:nvPr>
            <p:ph type="subTitle" idx="1"/>
          </p:nvPr>
        </p:nvSpPr>
        <p:spPr bwMode="gray"/>
        <p:txBody>
          <a:bodyPr vert="horz" wrap="square" lIns="0" tIns="0" rIns="0" bIns="0" rtlCol="0">
            <a:spAutoFit/>
          </a:bodyPr>
          <a:lstStyle/>
          <a:p>
            <a:r>
              <a:rPr lang="en-US" cap="all" dirty="0"/>
              <a:t>Tata steel</a:t>
            </a:r>
          </a:p>
        </p:txBody>
      </p:sp>
      <p:sp>
        <p:nvSpPr>
          <p:cNvPr id="5" name="Disclaimer-English (United States)"/>
          <p:cNvSpPr>
            <a:spLocks noChangeArrowheads="1"/>
          </p:cNvSpPr>
          <p:nvPr/>
        </p:nvSpPr>
        <p:spPr bwMode="black">
          <a:xfrm>
            <a:off x="2268266" y="6287785"/>
            <a:ext cx="3544453" cy="36908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t" anchorCtr="0">
            <a:noAutofit/>
          </a:bodyPr>
          <a:lstStyle/>
          <a:p>
            <a:pPr defTabSz="804863" eaLnBrk="0" hangingPunct="0"/>
            <a:r>
              <a:rPr lang="en-US" sz="800" dirty="0">
                <a:solidFill>
                  <a:srgbClr val="FFFFFF"/>
                </a:solidFill>
                <a:latin typeface="+mn-lt"/>
              </a:rPr>
              <a:t>CONFIDENTIAL AND PROPRIETARY</a:t>
            </a:r>
          </a:p>
          <a:p>
            <a:pPr defTabSz="804863" eaLnBrk="0" hangingPunct="0"/>
            <a:r>
              <a:rPr lang="en-US" sz="800" dirty="0">
                <a:solidFill>
                  <a:srgbClr val="FFFFFF"/>
                </a:solidFill>
                <a:latin typeface="+mn-lt"/>
              </a:rPr>
              <a:t>Any use of this material without specific permission of McKinsey &amp; Company is strictly prohibited</a:t>
            </a:r>
          </a:p>
        </p:txBody>
      </p:sp>
    </p:spTree>
    <p:extLst>
      <p:ext uri="{BB962C8B-B14F-4D97-AF65-F5344CB8AC3E}">
        <p14:creationId xmlns:p14="http://schemas.microsoft.com/office/powerpoint/2010/main" val="240246915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97B028-0291-4695-B48B-D5D4FA7EFEC1}"/>
              </a:ext>
            </a:extLst>
          </p:cNvPr>
          <p:cNvSpPr>
            <a:spLocks noGrp="1"/>
          </p:cNvSpPr>
          <p:nvPr>
            <p:ph type="title"/>
          </p:nvPr>
        </p:nvSpPr>
        <p:spPr>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r>
              <a:rPr lang="en-US" dirty="0"/>
              <a:t>McKinsey has global integration expertise and a track record of success</a:t>
            </a:r>
            <a:endParaRPr lang="en-GB" dirty="0"/>
          </a:p>
        </p:txBody>
      </p:sp>
      <p:sp>
        <p:nvSpPr>
          <p:cNvPr id="3" name="Rectangle 2">
            <a:extLst>
              <a:ext uri="{FF2B5EF4-FFF2-40B4-BE49-F238E27FC236}">
                <a16:creationId xmlns:a16="http://schemas.microsoft.com/office/drawing/2014/main" id="{976CC2D3-0981-498E-BFB0-12C0A099C259}"/>
              </a:ext>
            </a:extLst>
          </p:cNvPr>
          <p:cNvSpPr>
            <a:spLocks/>
          </p:cNvSpPr>
          <p:nvPr/>
        </p:nvSpPr>
        <p:spPr>
          <a:xfrm>
            <a:off x="171451" y="792194"/>
            <a:ext cx="8618537" cy="5563413"/>
          </a:xfrm>
          <a:prstGeom prst="rect">
            <a:avLst/>
          </a:prstGeom>
          <a:solidFill>
            <a:schemeClr val="bg1"/>
          </a:solidFill>
          <a:ln w="19050">
            <a:solidFill>
              <a:schemeClr val="accent1"/>
            </a:solidFill>
            <a:miter lim="800000"/>
            <a:headEnd/>
            <a:tailEnd/>
          </a:ln>
          <a:effectLst>
            <a:outerShdw blurRad="50800" dist="38100" dir="2700000" algn="tl" rotWithShape="0">
              <a:prstClr val="black">
                <a:alpha val="40000"/>
              </a:prstClr>
            </a:outerShdw>
          </a:effectLst>
        </p:spPr>
        <p:txBody>
          <a:bodyPr wrap="square" lIns="73152" tIns="73152" rIns="73152" bIns="73152" anchor="ctr" anchorCtr="0">
            <a:noAutofit/>
          </a:bodyPr>
          <a:lstStyle/>
          <a:p>
            <a:pPr>
              <a:buClr>
                <a:schemeClr val="tx2"/>
              </a:buClr>
            </a:pPr>
            <a:endParaRPr lang="en-GB" dirty="0">
              <a:solidFill>
                <a:schemeClr val="bg1"/>
              </a:solidFill>
              <a:latin typeface="+mn-lt"/>
            </a:endParaRPr>
          </a:p>
        </p:txBody>
      </p:sp>
      <p:cxnSp>
        <p:nvCxnSpPr>
          <p:cNvPr id="4" name="Straight Connector 3">
            <a:extLst>
              <a:ext uri="{FF2B5EF4-FFF2-40B4-BE49-F238E27FC236}">
                <a16:creationId xmlns:a16="http://schemas.microsoft.com/office/drawing/2014/main" id="{585892A8-BBA5-4B73-9A6E-2B71D2A65898}"/>
              </a:ext>
            </a:extLst>
          </p:cNvPr>
          <p:cNvCxnSpPr>
            <a:cxnSpLocks/>
          </p:cNvCxnSpPr>
          <p:nvPr/>
        </p:nvCxnSpPr>
        <p:spPr>
          <a:xfrm>
            <a:off x="421657" y="3085091"/>
            <a:ext cx="8261952" cy="0"/>
          </a:xfrm>
          <a:prstGeom prst="line">
            <a:avLst/>
          </a:prstGeom>
          <a:ln w="9525">
            <a:solidFill>
              <a:schemeClr val="accent6"/>
            </a:solidFill>
            <a:prstDash val="sysDot"/>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ED79197F-15C7-429D-BDCC-B4F97BDB6A9A}"/>
              </a:ext>
            </a:extLst>
          </p:cNvPr>
          <p:cNvCxnSpPr>
            <a:cxnSpLocks/>
          </p:cNvCxnSpPr>
          <p:nvPr/>
        </p:nvCxnSpPr>
        <p:spPr>
          <a:xfrm>
            <a:off x="421657" y="4715092"/>
            <a:ext cx="8261952" cy="0"/>
          </a:xfrm>
          <a:prstGeom prst="line">
            <a:avLst/>
          </a:prstGeom>
          <a:ln w="9525">
            <a:solidFill>
              <a:schemeClr val="accent6"/>
            </a:solidFill>
            <a:prstDash val="sysDot"/>
          </a:ln>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042ACD30-EAAC-4BB6-AFAB-E40ED6A170EA}"/>
              </a:ext>
            </a:extLst>
          </p:cNvPr>
          <p:cNvSpPr txBox="1">
            <a:spLocks/>
          </p:cNvSpPr>
          <p:nvPr/>
        </p:nvSpPr>
        <p:spPr bwMode="gray">
          <a:xfrm>
            <a:off x="421657" y="897459"/>
            <a:ext cx="1780540" cy="2092881"/>
          </a:xfrm>
          <a:prstGeom prst="rect">
            <a:avLst/>
          </a:prstGeom>
          <a:solidFill>
            <a:schemeClr val="accent1"/>
          </a:solidFill>
          <a:ln>
            <a:noFill/>
          </a:ln>
        </p:spPr>
        <p:txBody>
          <a:bodyPr vert="horz" wrap="square" lIns="72009" tIns="72009" rIns="72009" bIns="72009" rtlCol="0" anchor="ctr" anchorCtr="0">
            <a:no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115888">
              <a:spcBef>
                <a:spcPct val="40000"/>
              </a:spcBef>
            </a:pPr>
            <a:r>
              <a:rPr lang="en-US" sz="1600" b="1" dirty="0">
                <a:solidFill>
                  <a:schemeClr val="accent3"/>
                </a:solidFill>
              </a:rPr>
              <a:t>Global experience in post-merger integration</a:t>
            </a:r>
            <a:endParaRPr lang="en-US" sz="1600" dirty="0">
              <a:solidFill>
                <a:schemeClr val="accent3"/>
              </a:solidFill>
            </a:endParaRPr>
          </a:p>
        </p:txBody>
      </p:sp>
      <p:sp>
        <p:nvSpPr>
          <p:cNvPr id="7" name="TextBox 6">
            <a:extLst>
              <a:ext uri="{FF2B5EF4-FFF2-40B4-BE49-F238E27FC236}">
                <a16:creationId xmlns:a16="http://schemas.microsoft.com/office/drawing/2014/main" id="{097A2919-63FE-484F-B28F-3CA5A9D9D170}"/>
              </a:ext>
            </a:extLst>
          </p:cNvPr>
          <p:cNvSpPr txBox="1">
            <a:spLocks/>
          </p:cNvSpPr>
          <p:nvPr/>
        </p:nvSpPr>
        <p:spPr bwMode="gray">
          <a:xfrm>
            <a:off x="2296863" y="897459"/>
            <a:ext cx="6386746" cy="2092881"/>
          </a:xfrm>
          <a:prstGeom prst="rect">
            <a:avLst/>
          </a:prstGeom>
          <a:ln>
            <a:noFill/>
          </a:ln>
        </p:spPr>
        <p:txBody>
          <a:bodyPr vert="horz" wrap="square" lIns="0" tIns="0" rIns="0" bIns="0" rtlCol="0">
            <a:sp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1">
              <a:spcBef>
                <a:spcPct val="50000"/>
              </a:spcBef>
            </a:pPr>
            <a:r>
              <a:rPr lang="en-US" sz="1600" dirty="0"/>
              <a:t>Led and supported over 2,500 integrations globally over the past 5 years across industries</a:t>
            </a:r>
          </a:p>
          <a:p>
            <a:pPr lvl="1">
              <a:spcBef>
                <a:spcPct val="50000"/>
              </a:spcBef>
            </a:pPr>
            <a:r>
              <a:rPr lang="en-US" sz="1600" dirty="0"/>
              <a:t>Supported &gt;50% of the top 100 deals</a:t>
            </a:r>
          </a:p>
          <a:p>
            <a:pPr lvl="1">
              <a:spcBef>
                <a:spcPct val="50000"/>
              </a:spcBef>
            </a:pPr>
            <a:r>
              <a:rPr lang="en-US" sz="1600" dirty="0"/>
              <a:t>Global expertise on large-ticket M&amp;A: Involvement in 28% of all $2bn+ deals announced in 2016</a:t>
            </a:r>
          </a:p>
          <a:p>
            <a:pPr lvl="1">
              <a:spcBef>
                <a:spcPct val="50000"/>
              </a:spcBef>
            </a:pPr>
            <a:r>
              <a:rPr lang="en-US" sz="1600" dirty="0"/>
              <a:t>Track record of success: Median excess TRS 2 years after the deal is 5% in deals supported by McKinsey vs. -1%</a:t>
            </a:r>
          </a:p>
        </p:txBody>
      </p:sp>
      <p:sp>
        <p:nvSpPr>
          <p:cNvPr id="12" name="TextBox 11">
            <a:extLst>
              <a:ext uri="{FF2B5EF4-FFF2-40B4-BE49-F238E27FC236}">
                <a16:creationId xmlns:a16="http://schemas.microsoft.com/office/drawing/2014/main" id="{CA0C1ED5-86D1-470C-8D90-CD2B664C4EC1}"/>
              </a:ext>
            </a:extLst>
          </p:cNvPr>
          <p:cNvSpPr txBox="1">
            <a:spLocks/>
          </p:cNvSpPr>
          <p:nvPr/>
        </p:nvSpPr>
        <p:spPr bwMode="gray">
          <a:xfrm>
            <a:off x="421657" y="3179842"/>
            <a:ext cx="1780540" cy="1440499"/>
          </a:xfrm>
          <a:prstGeom prst="rect">
            <a:avLst/>
          </a:prstGeom>
          <a:solidFill>
            <a:schemeClr val="accent1"/>
          </a:solidFill>
          <a:ln>
            <a:noFill/>
          </a:ln>
        </p:spPr>
        <p:txBody>
          <a:bodyPr vert="horz" wrap="square" lIns="72009" tIns="72009" rIns="72009" bIns="72009" rtlCol="0" anchor="ctr" anchorCtr="0">
            <a:no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115888">
              <a:spcBef>
                <a:spcPct val="40000"/>
              </a:spcBef>
            </a:pPr>
            <a:r>
              <a:rPr lang="en-US" sz="1600" b="1" dirty="0">
                <a:solidFill>
                  <a:schemeClr val="accent3"/>
                </a:solidFill>
              </a:rPr>
              <a:t>Extensive experience in PMI in heavy industries</a:t>
            </a:r>
          </a:p>
        </p:txBody>
      </p:sp>
      <p:sp>
        <p:nvSpPr>
          <p:cNvPr id="11" name="TextBox 10">
            <a:extLst>
              <a:ext uri="{FF2B5EF4-FFF2-40B4-BE49-F238E27FC236}">
                <a16:creationId xmlns:a16="http://schemas.microsoft.com/office/drawing/2014/main" id="{59C7535C-D69E-4434-9C74-364FF037B680}"/>
              </a:ext>
            </a:extLst>
          </p:cNvPr>
          <p:cNvSpPr txBox="1">
            <a:spLocks/>
          </p:cNvSpPr>
          <p:nvPr/>
        </p:nvSpPr>
        <p:spPr bwMode="gray">
          <a:xfrm>
            <a:off x="2296863" y="3179842"/>
            <a:ext cx="6386746" cy="738664"/>
          </a:xfrm>
          <a:prstGeom prst="rect">
            <a:avLst/>
          </a:prstGeom>
        </p:spPr>
        <p:txBody>
          <a:bodyPr vert="horz" wrap="square" lIns="0" tIns="0" rIns="0" bIns="0" rtlCol="0">
            <a:sp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1">
              <a:spcBef>
                <a:spcPct val="50000"/>
              </a:spcBef>
            </a:pPr>
            <a:r>
              <a:rPr lang="en-US" sz="1600" dirty="0"/>
              <a:t>Supported multiple global industry-shaping mergers, including the merger to create the world’s largest steel producer and the original creation of Arcelor SA (3 way merger)</a:t>
            </a:r>
            <a:endParaRPr lang="en-IN" sz="1600" dirty="0"/>
          </a:p>
        </p:txBody>
      </p:sp>
      <p:sp>
        <p:nvSpPr>
          <p:cNvPr id="13" name="TextBox 12">
            <a:extLst>
              <a:ext uri="{FF2B5EF4-FFF2-40B4-BE49-F238E27FC236}">
                <a16:creationId xmlns:a16="http://schemas.microsoft.com/office/drawing/2014/main" id="{77D76E58-195C-4B3A-8DBE-393DDB2B39E5}"/>
              </a:ext>
            </a:extLst>
          </p:cNvPr>
          <p:cNvSpPr txBox="1">
            <a:spLocks/>
          </p:cNvSpPr>
          <p:nvPr/>
        </p:nvSpPr>
        <p:spPr bwMode="gray">
          <a:xfrm>
            <a:off x="2296863" y="4809842"/>
            <a:ext cx="6386746" cy="861774"/>
          </a:xfrm>
          <a:prstGeom prst="rect">
            <a:avLst/>
          </a:prstGeom>
        </p:spPr>
        <p:txBody>
          <a:bodyPr vert="horz" wrap="square" lIns="0" tIns="0" rIns="0" bIns="0" rtlCol="0">
            <a:sp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1">
              <a:spcBef>
                <a:spcPct val="50000"/>
              </a:spcBef>
            </a:pPr>
            <a:r>
              <a:rPr lang="en-US" sz="1600" dirty="0"/>
              <a:t>10+ post-merger integration engagements in India in the last 5 years</a:t>
            </a:r>
          </a:p>
          <a:p>
            <a:pPr lvl="1">
              <a:spcBef>
                <a:spcPct val="50000"/>
              </a:spcBef>
            </a:pPr>
            <a:r>
              <a:rPr lang="en-US" sz="1600" dirty="0"/>
              <a:t>Supported multiple industry-changing deals, including in pharma and banking</a:t>
            </a:r>
            <a:endParaRPr lang="en-IN" sz="1600" dirty="0"/>
          </a:p>
        </p:txBody>
      </p:sp>
      <p:sp>
        <p:nvSpPr>
          <p:cNvPr id="14" name="TextBox 13">
            <a:extLst>
              <a:ext uri="{FF2B5EF4-FFF2-40B4-BE49-F238E27FC236}">
                <a16:creationId xmlns:a16="http://schemas.microsoft.com/office/drawing/2014/main" id="{105FFEE8-6D0F-4928-A884-F3457F5D32CA}"/>
              </a:ext>
            </a:extLst>
          </p:cNvPr>
          <p:cNvSpPr txBox="1">
            <a:spLocks/>
          </p:cNvSpPr>
          <p:nvPr/>
        </p:nvSpPr>
        <p:spPr bwMode="gray">
          <a:xfrm>
            <a:off x="421657" y="4809842"/>
            <a:ext cx="1780540" cy="1440499"/>
          </a:xfrm>
          <a:prstGeom prst="rect">
            <a:avLst/>
          </a:prstGeom>
          <a:solidFill>
            <a:schemeClr val="accent1"/>
          </a:solidFill>
          <a:ln>
            <a:noFill/>
          </a:ln>
        </p:spPr>
        <p:txBody>
          <a:bodyPr vert="horz" wrap="square" lIns="72009" tIns="72009" rIns="72009" bIns="72009" rtlCol="0" anchor="ctr" anchorCtr="0">
            <a:no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115888">
              <a:spcBef>
                <a:spcPct val="40000"/>
              </a:spcBef>
            </a:pPr>
            <a:r>
              <a:rPr lang="en-US" sz="1600" b="1" dirty="0">
                <a:solidFill>
                  <a:schemeClr val="accent3"/>
                </a:solidFill>
              </a:rPr>
              <a:t>Experience in India, including in industry-changing deals</a:t>
            </a:r>
          </a:p>
        </p:txBody>
      </p:sp>
      <p:sp>
        <p:nvSpPr>
          <p:cNvPr id="15" name="Tracker circle">
            <a:extLst>
              <a:ext uri="{FF2B5EF4-FFF2-40B4-BE49-F238E27FC236}">
                <a16:creationId xmlns:a16="http://schemas.microsoft.com/office/drawing/2014/main" id="{D8AC4376-B6F0-45C2-BCD1-6F89709105ED}"/>
              </a:ext>
            </a:extLst>
          </p:cNvPr>
          <p:cNvSpPr>
            <a:spLocks/>
          </p:cNvSpPr>
          <p:nvPr/>
        </p:nvSpPr>
        <p:spPr bwMode="gray">
          <a:xfrm>
            <a:off x="277830" y="1815883"/>
            <a:ext cx="256032" cy="256032"/>
          </a:xfrm>
          <a:prstGeom prst="ellipse">
            <a:avLst/>
          </a:prstGeom>
          <a:solidFill>
            <a:schemeClr val="accent3"/>
          </a:solidFill>
          <a:ln w="19050">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p>
            <a:pPr algn="ctr"/>
            <a:r>
              <a:rPr lang="en-US" b="1" dirty="0">
                <a:solidFill>
                  <a:schemeClr val="bg1"/>
                </a:solidFill>
              </a:rPr>
              <a:t>1</a:t>
            </a:r>
          </a:p>
        </p:txBody>
      </p:sp>
      <p:sp>
        <p:nvSpPr>
          <p:cNvPr id="17" name="Tracker circle">
            <a:extLst>
              <a:ext uri="{FF2B5EF4-FFF2-40B4-BE49-F238E27FC236}">
                <a16:creationId xmlns:a16="http://schemas.microsoft.com/office/drawing/2014/main" id="{DC1FB6ED-B76A-41C8-91E0-7ED17FA19FA6}"/>
              </a:ext>
            </a:extLst>
          </p:cNvPr>
          <p:cNvSpPr>
            <a:spLocks/>
          </p:cNvSpPr>
          <p:nvPr/>
        </p:nvSpPr>
        <p:spPr bwMode="gray">
          <a:xfrm>
            <a:off x="277830" y="3772075"/>
            <a:ext cx="256032" cy="256032"/>
          </a:xfrm>
          <a:prstGeom prst="ellipse">
            <a:avLst/>
          </a:prstGeom>
          <a:solidFill>
            <a:schemeClr val="accent3"/>
          </a:solidFill>
          <a:ln w="19050">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noAutofit/>
          </a:bodyPr>
          <a:lstStyle/>
          <a:p>
            <a:pPr algn="ctr"/>
            <a:r>
              <a:rPr lang="en-US" b="1" dirty="0">
                <a:solidFill>
                  <a:schemeClr val="bg1"/>
                </a:solidFill>
              </a:rPr>
              <a:t>2</a:t>
            </a:r>
          </a:p>
        </p:txBody>
      </p:sp>
      <p:sp>
        <p:nvSpPr>
          <p:cNvPr id="18" name="Tracker circle">
            <a:extLst>
              <a:ext uri="{FF2B5EF4-FFF2-40B4-BE49-F238E27FC236}">
                <a16:creationId xmlns:a16="http://schemas.microsoft.com/office/drawing/2014/main" id="{5CF739C7-E59B-4776-9A57-15D9A53B4302}"/>
              </a:ext>
            </a:extLst>
          </p:cNvPr>
          <p:cNvSpPr>
            <a:spLocks/>
          </p:cNvSpPr>
          <p:nvPr/>
        </p:nvSpPr>
        <p:spPr bwMode="gray">
          <a:xfrm>
            <a:off x="277830" y="5402075"/>
            <a:ext cx="256032" cy="256032"/>
          </a:xfrm>
          <a:prstGeom prst="ellipse">
            <a:avLst/>
          </a:prstGeom>
          <a:solidFill>
            <a:schemeClr val="accent3"/>
          </a:solidFill>
          <a:ln w="19050">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noAutofit/>
          </a:bodyPr>
          <a:lstStyle/>
          <a:p>
            <a:pPr algn="ctr"/>
            <a:r>
              <a:rPr lang="en-US" b="1" dirty="0">
                <a:solidFill>
                  <a:schemeClr val="bg1"/>
                </a:solidFill>
              </a:rPr>
              <a:t>3</a:t>
            </a:r>
          </a:p>
        </p:txBody>
      </p:sp>
      <p:sp>
        <p:nvSpPr>
          <p:cNvPr id="16" name="5. Source">
            <a:extLst>
              <a:ext uri="{FF2B5EF4-FFF2-40B4-BE49-F238E27FC236}">
                <a16:creationId xmlns:a16="http://schemas.microsoft.com/office/drawing/2014/main" id="{C9F6611A-3EF5-4037-B15E-8570DC2F3ED0}"/>
              </a:ext>
            </a:extLst>
          </p:cNvPr>
          <p:cNvSpPr>
            <a:spLocks noChangeArrowheads="1"/>
          </p:cNvSpPr>
          <p:nvPr>
            <p:custDataLst>
              <p:tags r:id="rId1"/>
            </p:custDataLst>
          </p:nvPr>
        </p:nvSpPr>
        <p:spPr bwMode="gray">
          <a:xfrm>
            <a:off x="119063" y="6507558"/>
            <a:ext cx="7200000" cy="123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marL="609600" indent="-609600" defTabSz="895350">
              <a:tabLst>
                <a:tab pos="612775" algn="l"/>
              </a:tabLst>
            </a:pPr>
            <a:r>
              <a:rPr lang="en-US" altLang="zh-CN" sz="800" dirty="0">
                <a:solidFill>
                  <a:schemeClr val="accent6"/>
                </a:solidFill>
                <a:latin typeface="Arial" panose="020B0604020202020204" pitchFamily="34" charset="0"/>
              </a:rPr>
              <a:t>SOURCE: McKinsey Merger Management Practice</a:t>
            </a:r>
          </a:p>
        </p:txBody>
      </p:sp>
    </p:spTree>
    <p:extLst>
      <p:ext uri="{BB962C8B-B14F-4D97-AF65-F5344CB8AC3E}">
        <p14:creationId xmlns:p14="http://schemas.microsoft.com/office/powerpoint/2010/main" val="297350936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graphicFrame>
        <p:nvGraphicFramePr>
          <p:cNvPr id="1136642" name="Rectangle 2" hidden="1"/>
          <p:cNvGraphicFramePr>
            <a:graphicFrameLocks/>
          </p:cNvGraphicFramePr>
          <p:nvPr>
            <p:custDataLst>
              <p:tags r:id="rId3"/>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74452" name="think-cell Slide" r:id="rId8" imgW="0" imgH="0" progId="TCLayout.ActiveDocument.1">
                  <p:embed/>
                </p:oleObj>
              </mc:Choice>
              <mc:Fallback>
                <p:oleObj name="think-cell Slide" r:id="rId8" imgW="0" imgH="0" progId="TCLayout.ActiveDocument.1">
                  <p:embed/>
                  <p:pic>
                    <p:nvPicPr>
                      <p:cNvPr id="1136642"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gray">
                      <a:xfrm>
                        <a:off x="0" y="0"/>
                        <a:ext cx="158750" cy="15875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1136644" name="Rectangle 4"/>
          <p:cNvSpPr>
            <a:spLocks noGrp="1" noChangeArrowheads="1"/>
          </p:cNvSpPr>
          <p:nvPr>
            <p:ph type="title"/>
            <p:custDataLst>
              <p:tags r:id="rId4"/>
            </p:custDataLst>
          </p:nvPr>
        </p:nvSpPr>
        <p:spPr bwMode="gray">
          <a:xfrm>
            <a:off x="119063" y="230188"/>
            <a:ext cx="8618537" cy="615553"/>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marL="465138"/>
            <a:r>
              <a:rPr lang="en-US" dirty="0"/>
              <a:t>McKinsey is a global Firm supporting the largest and most complex mergers across all regions and geographies</a:t>
            </a:r>
          </a:p>
        </p:txBody>
      </p:sp>
      <p:sp>
        <p:nvSpPr>
          <p:cNvPr id="154" name="Rectangle 13"/>
          <p:cNvSpPr txBox="1">
            <a:spLocks/>
          </p:cNvSpPr>
          <p:nvPr>
            <p:custDataLst>
              <p:tags r:id="rId5"/>
            </p:custDataLst>
          </p:nvPr>
        </p:nvSpPr>
        <p:spPr>
          <a:xfrm>
            <a:off x="844299" y="1299712"/>
            <a:ext cx="7272840" cy="4819658"/>
          </a:xfrm>
          <a:prstGeom prst="rect">
            <a:avLst/>
          </a:prstGeom>
          <a:solidFill>
            <a:schemeClr val="bg1"/>
          </a:solidFill>
          <a:ln w="19050">
            <a:solidFill>
              <a:schemeClr val="accent1"/>
            </a:solidFill>
            <a:miter lim="800000"/>
            <a:headEnd/>
            <a:tailEnd/>
          </a:ln>
          <a:effectLst>
            <a:outerShdw blurRad="50800" dist="38100" dir="2700000" algn="tl" rotWithShape="0">
              <a:prstClr val="black">
                <a:alpha val="40000"/>
              </a:prstClr>
            </a:outerShdw>
          </a:effectLst>
          <a:extLst/>
        </p:spPr>
        <p:txBody>
          <a:bodyPr wrap="square" lIns="73152" tIns="73152" rIns="73152" bIns="73152" anchor="ctr" anchorCtr="0">
            <a:noAutofit/>
          </a:bodyPr>
          <a:lstStyle>
            <a:defPPr>
              <a:defRPr lang="en-US"/>
            </a:defPPr>
            <a:lvl1pPr>
              <a:buClr>
                <a:schemeClr val="tx2"/>
              </a:buClr>
              <a:defRPr sz="1400" b="0">
                <a:solidFill>
                  <a:schemeClr val="bg1"/>
                </a:solidFill>
              </a:defRPr>
            </a:lvl1pPr>
          </a:lstStyle>
          <a:p>
            <a:endParaRPr lang="en-US" altLang="ko-KR" dirty="0"/>
          </a:p>
        </p:txBody>
      </p:sp>
      <p:grpSp>
        <p:nvGrpSpPr>
          <p:cNvPr id="2" name="Group 1"/>
          <p:cNvGrpSpPr/>
          <p:nvPr/>
        </p:nvGrpSpPr>
        <p:grpSpPr>
          <a:xfrm>
            <a:off x="1077192" y="1406788"/>
            <a:ext cx="6807054" cy="4605507"/>
            <a:chOff x="381398" y="1416246"/>
            <a:chExt cx="7013315" cy="4937727"/>
          </a:xfrm>
        </p:grpSpPr>
        <p:grpSp>
          <p:nvGrpSpPr>
            <p:cNvPr id="9" name="Group 8"/>
            <p:cNvGrpSpPr/>
            <p:nvPr/>
          </p:nvGrpSpPr>
          <p:grpSpPr>
            <a:xfrm>
              <a:off x="381398" y="1416246"/>
              <a:ext cx="7013315" cy="4937727"/>
              <a:chOff x="525461" y="842007"/>
              <a:chExt cx="7289803" cy="5132388"/>
            </a:xfrm>
            <a:solidFill>
              <a:schemeClr val="bg1"/>
            </a:solidFill>
          </p:grpSpPr>
          <p:sp>
            <p:nvSpPr>
              <p:cNvPr id="10" name="Freeform 5"/>
              <p:cNvSpPr>
                <a:spLocks/>
              </p:cNvSpPr>
              <p:nvPr/>
            </p:nvSpPr>
            <p:spPr bwMode="gray">
              <a:xfrm>
                <a:off x="1858962" y="5809295"/>
                <a:ext cx="63500" cy="41275"/>
              </a:xfrm>
              <a:custGeom>
                <a:avLst/>
                <a:gdLst>
                  <a:gd name="T0" fmla="*/ 29 w 81"/>
                  <a:gd name="T1" fmla="*/ 0 h 52"/>
                  <a:gd name="T2" fmla="*/ 0 w 81"/>
                  <a:gd name="T3" fmla="*/ 29 h 52"/>
                  <a:gd name="T4" fmla="*/ 29 w 81"/>
                  <a:gd name="T5" fmla="*/ 52 h 52"/>
                  <a:gd name="T6" fmla="*/ 52 w 81"/>
                  <a:gd name="T7" fmla="*/ 52 h 52"/>
                  <a:gd name="T8" fmla="*/ 52 w 81"/>
                  <a:gd name="T9" fmla="*/ 29 h 52"/>
                  <a:gd name="T10" fmla="*/ 81 w 81"/>
                  <a:gd name="T11" fmla="*/ 29 h 52"/>
                  <a:gd name="T12" fmla="*/ 52 w 81"/>
                  <a:gd name="T13" fmla="*/ 0 h 52"/>
                  <a:gd name="T14" fmla="*/ 29 w 81"/>
                  <a:gd name="T15" fmla="*/ 0 h 52"/>
                  <a:gd name="T16" fmla="*/ 0 60000 65536"/>
                  <a:gd name="T17" fmla="*/ 0 60000 65536"/>
                  <a:gd name="T18" fmla="*/ 0 60000 65536"/>
                  <a:gd name="T19" fmla="*/ 0 60000 65536"/>
                  <a:gd name="T20" fmla="*/ 0 60000 65536"/>
                  <a:gd name="T21" fmla="*/ 0 60000 65536"/>
                  <a:gd name="T22" fmla="*/ 0 60000 65536"/>
                  <a:gd name="T23" fmla="*/ 0 60000 65536"/>
                  <a:gd name="T24" fmla="*/ 0 w 81"/>
                  <a:gd name="T25" fmla="*/ 0 h 52"/>
                  <a:gd name="T26" fmla="*/ 81 w 81"/>
                  <a:gd name="T27" fmla="*/ 52 h 5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81" h="52">
                    <a:moveTo>
                      <a:pt x="29" y="0"/>
                    </a:moveTo>
                    <a:lnTo>
                      <a:pt x="0" y="29"/>
                    </a:lnTo>
                    <a:lnTo>
                      <a:pt x="29" y="52"/>
                    </a:lnTo>
                    <a:lnTo>
                      <a:pt x="52" y="52"/>
                    </a:lnTo>
                    <a:lnTo>
                      <a:pt x="52" y="29"/>
                    </a:lnTo>
                    <a:lnTo>
                      <a:pt x="81" y="29"/>
                    </a:lnTo>
                    <a:lnTo>
                      <a:pt x="52" y="0"/>
                    </a:lnTo>
                    <a:lnTo>
                      <a:pt x="29" y="0"/>
                    </a:lnTo>
                    <a:close/>
                  </a:path>
                </a:pathLst>
              </a:custGeom>
              <a:grpFill/>
              <a:ln w="9525" cmpd="sng">
                <a:solidFill>
                  <a:schemeClr val="accent6"/>
                </a:solidFill>
                <a:prstDash val="solid"/>
                <a:round/>
                <a:headEnd/>
                <a:tailEnd/>
              </a:ln>
            </p:spPr>
            <p:txBody>
              <a:bodyPr/>
              <a:lstStyle/>
              <a:p>
                <a:endParaRPr lang="en-US" sz="1400">
                  <a:latin typeface="+mn-lt"/>
                </a:endParaRPr>
              </a:p>
            </p:txBody>
          </p:sp>
          <p:sp>
            <p:nvSpPr>
              <p:cNvPr id="11" name="Freeform 6"/>
              <p:cNvSpPr>
                <a:spLocks/>
              </p:cNvSpPr>
              <p:nvPr/>
            </p:nvSpPr>
            <p:spPr bwMode="gray">
              <a:xfrm>
                <a:off x="1693862" y="5891845"/>
                <a:ext cx="123825" cy="82550"/>
              </a:xfrm>
              <a:custGeom>
                <a:avLst/>
                <a:gdLst>
                  <a:gd name="T0" fmla="*/ 104 w 156"/>
                  <a:gd name="T1" fmla="*/ 51 h 103"/>
                  <a:gd name="T2" fmla="*/ 79 w 156"/>
                  <a:gd name="T3" fmla="*/ 0 h 103"/>
                  <a:gd name="T4" fmla="*/ 52 w 156"/>
                  <a:gd name="T5" fmla="*/ 0 h 103"/>
                  <a:gd name="T6" fmla="*/ 23 w 156"/>
                  <a:gd name="T7" fmla="*/ 28 h 103"/>
                  <a:gd name="T8" fmla="*/ 23 w 156"/>
                  <a:gd name="T9" fmla="*/ 51 h 103"/>
                  <a:gd name="T10" fmla="*/ 0 w 156"/>
                  <a:gd name="T11" fmla="*/ 51 h 103"/>
                  <a:gd name="T12" fmla="*/ 0 w 156"/>
                  <a:gd name="T13" fmla="*/ 80 h 103"/>
                  <a:gd name="T14" fmla="*/ 23 w 156"/>
                  <a:gd name="T15" fmla="*/ 80 h 103"/>
                  <a:gd name="T16" fmla="*/ 52 w 156"/>
                  <a:gd name="T17" fmla="*/ 103 h 103"/>
                  <a:gd name="T18" fmla="*/ 79 w 156"/>
                  <a:gd name="T19" fmla="*/ 103 h 103"/>
                  <a:gd name="T20" fmla="*/ 104 w 156"/>
                  <a:gd name="T21" fmla="*/ 103 h 103"/>
                  <a:gd name="T22" fmla="*/ 156 w 156"/>
                  <a:gd name="T23" fmla="*/ 103 h 103"/>
                  <a:gd name="T24" fmla="*/ 127 w 156"/>
                  <a:gd name="T25" fmla="*/ 80 h 103"/>
                  <a:gd name="T26" fmla="*/ 104 w 156"/>
                  <a:gd name="T27" fmla="*/ 51 h 103"/>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56"/>
                  <a:gd name="T43" fmla="*/ 0 h 103"/>
                  <a:gd name="T44" fmla="*/ 156 w 156"/>
                  <a:gd name="T45" fmla="*/ 103 h 103"/>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56" h="103">
                    <a:moveTo>
                      <a:pt x="104" y="51"/>
                    </a:moveTo>
                    <a:lnTo>
                      <a:pt x="79" y="0"/>
                    </a:lnTo>
                    <a:lnTo>
                      <a:pt x="52" y="0"/>
                    </a:lnTo>
                    <a:lnTo>
                      <a:pt x="23" y="28"/>
                    </a:lnTo>
                    <a:lnTo>
                      <a:pt x="23" y="51"/>
                    </a:lnTo>
                    <a:lnTo>
                      <a:pt x="0" y="51"/>
                    </a:lnTo>
                    <a:lnTo>
                      <a:pt x="0" y="80"/>
                    </a:lnTo>
                    <a:lnTo>
                      <a:pt x="23" y="80"/>
                    </a:lnTo>
                    <a:lnTo>
                      <a:pt x="52" y="103"/>
                    </a:lnTo>
                    <a:lnTo>
                      <a:pt x="79" y="103"/>
                    </a:lnTo>
                    <a:lnTo>
                      <a:pt x="104" y="103"/>
                    </a:lnTo>
                    <a:lnTo>
                      <a:pt x="156" y="103"/>
                    </a:lnTo>
                    <a:lnTo>
                      <a:pt x="127" y="80"/>
                    </a:lnTo>
                    <a:lnTo>
                      <a:pt x="104" y="51"/>
                    </a:lnTo>
                  </a:path>
                </a:pathLst>
              </a:custGeom>
              <a:grpFill/>
              <a:ln w="9525" cmpd="sng">
                <a:solidFill>
                  <a:schemeClr val="accent6"/>
                </a:solidFill>
                <a:prstDash val="solid"/>
                <a:round/>
                <a:headEnd/>
                <a:tailEnd/>
              </a:ln>
            </p:spPr>
            <p:txBody>
              <a:bodyPr/>
              <a:lstStyle/>
              <a:p>
                <a:endParaRPr lang="en-US" sz="1400">
                  <a:latin typeface="+mn-lt"/>
                </a:endParaRPr>
              </a:p>
            </p:txBody>
          </p:sp>
          <p:sp>
            <p:nvSpPr>
              <p:cNvPr id="12" name="Freeform 7"/>
              <p:cNvSpPr>
                <a:spLocks/>
              </p:cNvSpPr>
              <p:nvPr/>
            </p:nvSpPr>
            <p:spPr bwMode="gray">
              <a:xfrm>
                <a:off x="1446211" y="4017007"/>
                <a:ext cx="1341438" cy="1874838"/>
              </a:xfrm>
              <a:custGeom>
                <a:avLst/>
                <a:gdLst>
                  <a:gd name="T0" fmla="*/ 1611 w 1689"/>
                  <a:gd name="T1" fmla="*/ 779 h 2362"/>
                  <a:gd name="T2" fmla="*/ 1482 w 1689"/>
                  <a:gd name="T3" fmla="*/ 700 h 2362"/>
                  <a:gd name="T4" fmla="*/ 1378 w 1689"/>
                  <a:gd name="T5" fmla="*/ 648 h 2362"/>
                  <a:gd name="T6" fmla="*/ 1327 w 1689"/>
                  <a:gd name="T7" fmla="*/ 594 h 2362"/>
                  <a:gd name="T8" fmla="*/ 1171 w 1689"/>
                  <a:gd name="T9" fmla="*/ 594 h 2362"/>
                  <a:gd name="T10" fmla="*/ 1194 w 1689"/>
                  <a:gd name="T11" fmla="*/ 571 h 2362"/>
                  <a:gd name="T12" fmla="*/ 1143 w 1689"/>
                  <a:gd name="T13" fmla="*/ 543 h 2362"/>
                  <a:gd name="T14" fmla="*/ 1143 w 1689"/>
                  <a:gd name="T15" fmla="*/ 543 h 2362"/>
                  <a:gd name="T16" fmla="*/ 1143 w 1689"/>
                  <a:gd name="T17" fmla="*/ 416 h 2362"/>
                  <a:gd name="T18" fmla="*/ 1066 w 1689"/>
                  <a:gd name="T19" fmla="*/ 364 h 2362"/>
                  <a:gd name="T20" fmla="*/ 962 w 1689"/>
                  <a:gd name="T21" fmla="*/ 312 h 2362"/>
                  <a:gd name="T22" fmla="*/ 778 w 1689"/>
                  <a:gd name="T23" fmla="*/ 180 h 2362"/>
                  <a:gd name="T24" fmla="*/ 519 w 1689"/>
                  <a:gd name="T25" fmla="*/ 76 h 2362"/>
                  <a:gd name="T26" fmla="*/ 416 w 1689"/>
                  <a:gd name="T27" fmla="*/ 51 h 2362"/>
                  <a:gd name="T28" fmla="*/ 391 w 1689"/>
                  <a:gd name="T29" fmla="*/ 128 h 2362"/>
                  <a:gd name="T30" fmla="*/ 391 w 1689"/>
                  <a:gd name="T31" fmla="*/ 0 h 2362"/>
                  <a:gd name="T32" fmla="*/ 236 w 1689"/>
                  <a:gd name="T33" fmla="*/ 76 h 2362"/>
                  <a:gd name="T34" fmla="*/ 155 w 1689"/>
                  <a:gd name="T35" fmla="*/ 180 h 2362"/>
                  <a:gd name="T36" fmla="*/ 155 w 1689"/>
                  <a:gd name="T37" fmla="*/ 312 h 2362"/>
                  <a:gd name="T38" fmla="*/ 25 w 1689"/>
                  <a:gd name="T39" fmla="*/ 468 h 2362"/>
                  <a:gd name="T40" fmla="*/ 51 w 1689"/>
                  <a:gd name="T41" fmla="*/ 543 h 2362"/>
                  <a:gd name="T42" fmla="*/ 51 w 1689"/>
                  <a:gd name="T43" fmla="*/ 675 h 2362"/>
                  <a:gd name="T44" fmla="*/ 76 w 1689"/>
                  <a:gd name="T45" fmla="*/ 804 h 2362"/>
                  <a:gd name="T46" fmla="*/ 209 w 1689"/>
                  <a:gd name="T47" fmla="*/ 1011 h 2362"/>
                  <a:gd name="T48" fmla="*/ 364 w 1689"/>
                  <a:gd name="T49" fmla="*/ 1091 h 2362"/>
                  <a:gd name="T50" fmla="*/ 364 w 1689"/>
                  <a:gd name="T51" fmla="*/ 1143 h 2362"/>
                  <a:gd name="T52" fmla="*/ 312 w 1689"/>
                  <a:gd name="T53" fmla="*/ 1427 h 2362"/>
                  <a:gd name="T54" fmla="*/ 283 w 1689"/>
                  <a:gd name="T55" fmla="*/ 1738 h 2362"/>
                  <a:gd name="T56" fmla="*/ 260 w 1689"/>
                  <a:gd name="T57" fmla="*/ 1922 h 2362"/>
                  <a:gd name="T58" fmla="*/ 260 w 1689"/>
                  <a:gd name="T59" fmla="*/ 1999 h 2362"/>
                  <a:gd name="T60" fmla="*/ 209 w 1689"/>
                  <a:gd name="T61" fmla="*/ 2103 h 2362"/>
                  <a:gd name="T62" fmla="*/ 260 w 1689"/>
                  <a:gd name="T63" fmla="*/ 2154 h 2362"/>
                  <a:gd name="T64" fmla="*/ 236 w 1689"/>
                  <a:gd name="T65" fmla="*/ 2287 h 2362"/>
                  <a:gd name="T66" fmla="*/ 283 w 1689"/>
                  <a:gd name="T67" fmla="*/ 2339 h 2362"/>
                  <a:gd name="T68" fmla="*/ 312 w 1689"/>
                  <a:gd name="T69" fmla="*/ 2362 h 2362"/>
                  <a:gd name="T70" fmla="*/ 364 w 1689"/>
                  <a:gd name="T71" fmla="*/ 2310 h 2362"/>
                  <a:gd name="T72" fmla="*/ 439 w 1689"/>
                  <a:gd name="T73" fmla="*/ 2154 h 2362"/>
                  <a:gd name="T74" fmla="*/ 468 w 1689"/>
                  <a:gd name="T75" fmla="*/ 2103 h 2362"/>
                  <a:gd name="T76" fmla="*/ 519 w 1689"/>
                  <a:gd name="T77" fmla="*/ 1999 h 2362"/>
                  <a:gd name="T78" fmla="*/ 571 w 1689"/>
                  <a:gd name="T79" fmla="*/ 1947 h 2362"/>
                  <a:gd name="T80" fmla="*/ 675 w 1689"/>
                  <a:gd name="T81" fmla="*/ 1895 h 2362"/>
                  <a:gd name="T82" fmla="*/ 703 w 1689"/>
                  <a:gd name="T83" fmla="*/ 1715 h 2362"/>
                  <a:gd name="T84" fmla="*/ 884 w 1689"/>
                  <a:gd name="T85" fmla="*/ 1715 h 2362"/>
                  <a:gd name="T86" fmla="*/ 962 w 1689"/>
                  <a:gd name="T87" fmla="*/ 1663 h 2362"/>
                  <a:gd name="T88" fmla="*/ 1194 w 1689"/>
                  <a:gd name="T89" fmla="*/ 1402 h 2362"/>
                  <a:gd name="T90" fmla="*/ 1327 w 1689"/>
                  <a:gd name="T91" fmla="*/ 1375 h 2362"/>
                  <a:gd name="T92" fmla="*/ 1482 w 1689"/>
                  <a:gd name="T93" fmla="*/ 1166 h 2362"/>
                  <a:gd name="T94" fmla="*/ 1534 w 1689"/>
                  <a:gd name="T95" fmla="*/ 1040 h 2362"/>
                  <a:gd name="T96" fmla="*/ 1689 w 1689"/>
                  <a:gd name="T97" fmla="*/ 882 h 2362"/>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1689"/>
                  <a:gd name="T148" fmla="*/ 0 h 2362"/>
                  <a:gd name="T149" fmla="*/ 1689 w 1689"/>
                  <a:gd name="T150" fmla="*/ 2362 h 2362"/>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1689" h="2362">
                    <a:moveTo>
                      <a:pt x="1662" y="779"/>
                    </a:moveTo>
                    <a:lnTo>
                      <a:pt x="1637" y="779"/>
                    </a:lnTo>
                    <a:lnTo>
                      <a:pt x="1611" y="779"/>
                    </a:lnTo>
                    <a:lnTo>
                      <a:pt x="1534" y="700"/>
                    </a:lnTo>
                    <a:lnTo>
                      <a:pt x="1507" y="675"/>
                    </a:lnTo>
                    <a:lnTo>
                      <a:pt x="1482" y="700"/>
                    </a:lnTo>
                    <a:lnTo>
                      <a:pt x="1430" y="675"/>
                    </a:lnTo>
                    <a:lnTo>
                      <a:pt x="1350" y="675"/>
                    </a:lnTo>
                    <a:lnTo>
                      <a:pt x="1378" y="648"/>
                    </a:lnTo>
                    <a:lnTo>
                      <a:pt x="1350" y="648"/>
                    </a:lnTo>
                    <a:lnTo>
                      <a:pt x="1350" y="623"/>
                    </a:lnTo>
                    <a:lnTo>
                      <a:pt x="1327" y="594"/>
                    </a:lnTo>
                    <a:lnTo>
                      <a:pt x="1246" y="594"/>
                    </a:lnTo>
                    <a:lnTo>
                      <a:pt x="1194" y="623"/>
                    </a:lnTo>
                    <a:lnTo>
                      <a:pt x="1171" y="594"/>
                    </a:lnTo>
                    <a:lnTo>
                      <a:pt x="1194" y="594"/>
                    </a:lnTo>
                    <a:lnTo>
                      <a:pt x="1223" y="571"/>
                    </a:lnTo>
                    <a:lnTo>
                      <a:pt x="1194" y="571"/>
                    </a:lnTo>
                    <a:lnTo>
                      <a:pt x="1143" y="594"/>
                    </a:lnTo>
                    <a:lnTo>
                      <a:pt x="1091" y="594"/>
                    </a:lnTo>
                    <a:lnTo>
                      <a:pt x="1143" y="543"/>
                    </a:lnTo>
                    <a:lnTo>
                      <a:pt x="1171" y="571"/>
                    </a:lnTo>
                    <a:lnTo>
                      <a:pt x="1171" y="543"/>
                    </a:lnTo>
                    <a:lnTo>
                      <a:pt x="1143" y="543"/>
                    </a:lnTo>
                    <a:lnTo>
                      <a:pt x="1194" y="491"/>
                    </a:lnTo>
                    <a:lnTo>
                      <a:pt x="1171" y="468"/>
                    </a:lnTo>
                    <a:lnTo>
                      <a:pt x="1143" y="416"/>
                    </a:lnTo>
                    <a:lnTo>
                      <a:pt x="1120" y="387"/>
                    </a:lnTo>
                    <a:lnTo>
                      <a:pt x="1091" y="364"/>
                    </a:lnTo>
                    <a:lnTo>
                      <a:pt x="1066" y="364"/>
                    </a:lnTo>
                    <a:lnTo>
                      <a:pt x="1039" y="335"/>
                    </a:lnTo>
                    <a:lnTo>
                      <a:pt x="987" y="312"/>
                    </a:lnTo>
                    <a:lnTo>
                      <a:pt x="962" y="312"/>
                    </a:lnTo>
                    <a:lnTo>
                      <a:pt x="911" y="312"/>
                    </a:lnTo>
                    <a:lnTo>
                      <a:pt x="859" y="232"/>
                    </a:lnTo>
                    <a:lnTo>
                      <a:pt x="778" y="180"/>
                    </a:lnTo>
                    <a:lnTo>
                      <a:pt x="778" y="155"/>
                    </a:lnTo>
                    <a:lnTo>
                      <a:pt x="726" y="103"/>
                    </a:lnTo>
                    <a:lnTo>
                      <a:pt x="519" y="76"/>
                    </a:lnTo>
                    <a:lnTo>
                      <a:pt x="496" y="51"/>
                    </a:lnTo>
                    <a:lnTo>
                      <a:pt x="439" y="25"/>
                    </a:lnTo>
                    <a:lnTo>
                      <a:pt x="416" y="51"/>
                    </a:lnTo>
                    <a:lnTo>
                      <a:pt x="391" y="76"/>
                    </a:lnTo>
                    <a:lnTo>
                      <a:pt x="416" y="103"/>
                    </a:lnTo>
                    <a:lnTo>
                      <a:pt x="391" y="128"/>
                    </a:lnTo>
                    <a:lnTo>
                      <a:pt x="391" y="103"/>
                    </a:lnTo>
                    <a:lnTo>
                      <a:pt x="364" y="51"/>
                    </a:lnTo>
                    <a:lnTo>
                      <a:pt x="391" y="0"/>
                    </a:lnTo>
                    <a:lnTo>
                      <a:pt x="364" y="0"/>
                    </a:lnTo>
                    <a:lnTo>
                      <a:pt x="236" y="51"/>
                    </a:lnTo>
                    <a:lnTo>
                      <a:pt x="236" y="76"/>
                    </a:lnTo>
                    <a:lnTo>
                      <a:pt x="209" y="128"/>
                    </a:lnTo>
                    <a:lnTo>
                      <a:pt x="180" y="128"/>
                    </a:lnTo>
                    <a:lnTo>
                      <a:pt x="155" y="180"/>
                    </a:lnTo>
                    <a:lnTo>
                      <a:pt x="180" y="259"/>
                    </a:lnTo>
                    <a:lnTo>
                      <a:pt x="155" y="259"/>
                    </a:lnTo>
                    <a:lnTo>
                      <a:pt x="155" y="312"/>
                    </a:lnTo>
                    <a:lnTo>
                      <a:pt x="76" y="364"/>
                    </a:lnTo>
                    <a:lnTo>
                      <a:pt x="51" y="387"/>
                    </a:lnTo>
                    <a:lnTo>
                      <a:pt x="25" y="468"/>
                    </a:lnTo>
                    <a:lnTo>
                      <a:pt x="25" y="520"/>
                    </a:lnTo>
                    <a:lnTo>
                      <a:pt x="51" y="491"/>
                    </a:lnTo>
                    <a:lnTo>
                      <a:pt x="51" y="543"/>
                    </a:lnTo>
                    <a:lnTo>
                      <a:pt x="0" y="571"/>
                    </a:lnTo>
                    <a:lnTo>
                      <a:pt x="0" y="648"/>
                    </a:lnTo>
                    <a:lnTo>
                      <a:pt x="51" y="675"/>
                    </a:lnTo>
                    <a:lnTo>
                      <a:pt x="51" y="727"/>
                    </a:lnTo>
                    <a:lnTo>
                      <a:pt x="76" y="727"/>
                    </a:lnTo>
                    <a:lnTo>
                      <a:pt x="76" y="804"/>
                    </a:lnTo>
                    <a:lnTo>
                      <a:pt x="155" y="882"/>
                    </a:lnTo>
                    <a:lnTo>
                      <a:pt x="155" y="936"/>
                    </a:lnTo>
                    <a:lnTo>
                      <a:pt x="209" y="1011"/>
                    </a:lnTo>
                    <a:lnTo>
                      <a:pt x="312" y="1063"/>
                    </a:lnTo>
                    <a:lnTo>
                      <a:pt x="335" y="1114"/>
                    </a:lnTo>
                    <a:lnTo>
                      <a:pt x="364" y="1091"/>
                    </a:lnTo>
                    <a:lnTo>
                      <a:pt x="391" y="1091"/>
                    </a:lnTo>
                    <a:lnTo>
                      <a:pt x="335" y="1114"/>
                    </a:lnTo>
                    <a:lnTo>
                      <a:pt x="364" y="1143"/>
                    </a:lnTo>
                    <a:lnTo>
                      <a:pt x="335" y="1375"/>
                    </a:lnTo>
                    <a:lnTo>
                      <a:pt x="364" y="1402"/>
                    </a:lnTo>
                    <a:lnTo>
                      <a:pt x="312" y="1427"/>
                    </a:lnTo>
                    <a:lnTo>
                      <a:pt x="283" y="1531"/>
                    </a:lnTo>
                    <a:lnTo>
                      <a:pt x="312" y="1583"/>
                    </a:lnTo>
                    <a:lnTo>
                      <a:pt x="283" y="1738"/>
                    </a:lnTo>
                    <a:lnTo>
                      <a:pt x="236" y="1790"/>
                    </a:lnTo>
                    <a:lnTo>
                      <a:pt x="260" y="1842"/>
                    </a:lnTo>
                    <a:lnTo>
                      <a:pt x="260" y="1922"/>
                    </a:lnTo>
                    <a:lnTo>
                      <a:pt x="283" y="1947"/>
                    </a:lnTo>
                    <a:lnTo>
                      <a:pt x="283" y="1974"/>
                    </a:lnTo>
                    <a:lnTo>
                      <a:pt x="260" y="1999"/>
                    </a:lnTo>
                    <a:lnTo>
                      <a:pt x="283" y="2051"/>
                    </a:lnTo>
                    <a:lnTo>
                      <a:pt x="260" y="2078"/>
                    </a:lnTo>
                    <a:lnTo>
                      <a:pt x="209" y="2103"/>
                    </a:lnTo>
                    <a:lnTo>
                      <a:pt x="236" y="2129"/>
                    </a:lnTo>
                    <a:lnTo>
                      <a:pt x="236" y="2154"/>
                    </a:lnTo>
                    <a:lnTo>
                      <a:pt x="260" y="2154"/>
                    </a:lnTo>
                    <a:lnTo>
                      <a:pt x="236" y="2183"/>
                    </a:lnTo>
                    <a:lnTo>
                      <a:pt x="236" y="2235"/>
                    </a:lnTo>
                    <a:lnTo>
                      <a:pt x="236" y="2287"/>
                    </a:lnTo>
                    <a:lnTo>
                      <a:pt x="260" y="2310"/>
                    </a:lnTo>
                    <a:lnTo>
                      <a:pt x="260" y="2339"/>
                    </a:lnTo>
                    <a:lnTo>
                      <a:pt x="283" y="2339"/>
                    </a:lnTo>
                    <a:lnTo>
                      <a:pt x="312" y="2339"/>
                    </a:lnTo>
                    <a:lnTo>
                      <a:pt x="283" y="2362"/>
                    </a:lnTo>
                    <a:lnTo>
                      <a:pt x="312" y="2362"/>
                    </a:lnTo>
                    <a:lnTo>
                      <a:pt x="335" y="2339"/>
                    </a:lnTo>
                    <a:lnTo>
                      <a:pt x="364" y="2339"/>
                    </a:lnTo>
                    <a:lnTo>
                      <a:pt x="364" y="2310"/>
                    </a:lnTo>
                    <a:lnTo>
                      <a:pt x="364" y="2287"/>
                    </a:lnTo>
                    <a:lnTo>
                      <a:pt x="439" y="2206"/>
                    </a:lnTo>
                    <a:lnTo>
                      <a:pt x="439" y="2154"/>
                    </a:lnTo>
                    <a:lnTo>
                      <a:pt x="416" y="2154"/>
                    </a:lnTo>
                    <a:lnTo>
                      <a:pt x="416" y="2103"/>
                    </a:lnTo>
                    <a:lnTo>
                      <a:pt x="468" y="2103"/>
                    </a:lnTo>
                    <a:lnTo>
                      <a:pt x="496" y="2026"/>
                    </a:lnTo>
                    <a:lnTo>
                      <a:pt x="519" y="2026"/>
                    </a:lnTo>
                    <a:lnTo>
                      <a:pt x="519" y="1999"/>
                    </a:lnTo>
                    <a:lnTo>
                      <a:pt x="496" y="1999"/>
                    </a:lnTo>
                    <a:lnTo>
                      <a:pt x="519" y="1974"/>
                    </a:lnTo>
                    <a:lnTo>
                      <a:pt x="571" y="1947"/>
                    </a:lnTo>
                    <a:lnTo>
                      <a:pt x="600" y="1922"/>
                    </a:lnTo>
                    <a:lnTo>
                      <a:pt x="571" y="1895"/>
                    </a:lnTo>
                    <a:lnTo>
                      <a:pt x="675" y="1895"/>
                    </a:lnTo>
                    <a:lnTo>
                      <a:pt x="726" y="1870"/>
                    </a:lnTo>
                    <a:lnTo>
                      <a:pt x="755" y="1790"/>
                    </a:lnTo>
                    <a:lnTo>
                      <a:pt x="703" y="1715"/>
                    </a:lnTo>
                    <a:lnTo>
                      <a:pt x="755" y="1738"/>
                    </a:lnTo>
                    <a:lnTo>
                      <a:pt x="832" y="1767"/>
                    </a:lnTo>
                    <a:lnTo>
                      <a:pt x="884" y="1715"/>
                    </a:lnTo>
                    <a:lnTo>
                      <a:pt x="947" y="1631"/>
                    </a:lnTo>
                    <a:lnTo>
                      <a:pt x="936" y="1663"/>
                    </a:lnTo>
                    <a:lnTo>
                      <a:pt x="962" y="1663"/>
                    </a:lnTo>
                    <a:lnTo>
                      <a:pt x="1066" y="1560"/>
                    </a:lnTo>
                    <a:lnTo>
                      <a:pt x="1091" y="1454"/>
                    </a:lnTo>
                    <a:lnTo>
                      <a:pt x="1194" y="1402"/>
                    </a:lnTo>
                    <a:lnTo>
                      <a:pt x="1223" y="1402"/>
                    </a:lnTo>
                    <a:lnTo>
                      <a:pt x="1275" y="1375"/>
                    </a:lnTo>
                    <a:lnTo>
                      <a:pt x="1327" y="1375"/>
                    </a:lnTo>
                    <a:lnTo>
                      <a:pt x="1350" y="1375"/>
                    </a:lnTo>
                    <a:lnTo>
                      <a:pt x="1455" y="1218"/>
                    </a:lnTo>
                    <a:lnTo>
                      <a:pt x="1482" y="1166"/>
                    </a:lnTo>
                    <a:lnTo>
                      <a:pt x="1507" y="1114"/>
                    </a:lnTo>
                    <a:lnTo>
                      <a:pt x="1507" y="1040"/>
                    </a:lnTo>
                    <a:lnTo>
                      <a:pt x="1534" y="1040"/>
                    </a:lnTo>
                    <a:lnTo>
                      <a:pt x="1637" y="936"/>
                    </a:lnTo>
                    <a:lnTo>
                      <a:pt x="1662" y="936"/>
                    </a:lnTo>
                    <a:lnTo>
                      <a:pt x="1689" y="882"/>
                    </a:lnTo>
                    <a:lnTo>
                      <a:pt x="1689" y="804"/>
                    </a:lnTo>
                    <a:lnTo>
                      <a:pt x="1662" y="779"/>
                    </a:lnTo>
                  </a:path>
                </a:pathLst>
              </a:custGeom>
              <a:grpFill/>
              <a:ln w="9525" cmpd="sng">
                <a:solidFill>
                  <a:schemeClr val="accent6"/>
                </a:solidFill>
                <a:prstDash val="solid"/>
                <a:round/>
                <a:headEnd/>
                <a:tailEnd/>
              </a:ln>
            </p:spPr>
            <p:txBody>
              <a:bodyPr/>
              <a:lstStyle/>
              <a:p>
                <a:endParaRPr lang="en-US" sz="1400">
                  <a:latin typeface="+mn-lt"/>
                </a:endParaRPr>
              </a:p>
            </p:txBody>
          </p:sp>
          <p:sp>
            <p:nvSpPr>
              <p:cNvPr id="13" name="Freeform 8"/>
              <p:cNvSpPr>
                <a:spLocks/>
              </p:cNvSpPr>
              <p:nvPr/>
            </p:nvSpPr>
            <p:spPr bwMode="gray">
              <a:xfrm>
                <a:off x="1693862" y="4099557"/>
                <a:ext cx="41275" cy="41275"/>
              </a:xfrm>
              <a:custGeom>
                <a:avLst/>
                <a:gdLst>
                  <a:gd name="T0" fmla="*/ 23 w 52"/>
                  <a:gd name="T1" fmla="*/ 25 h 52"/>
                  <a:gd name="T2" fmla="*/ 0 w 52"/>
                  <a:gd name="T3" fmla="*/ 52 h 52"/>
                  <a:gd name="T4" fmla="*/ 52 w 52"/>
                  <a:gd name="T5" fmla="*/ 0 h 52"/>
                  <a:gd name="T6" fmla="*/ 31 w 52"/>
                  <a:gd name="T7" fmla="*/ 37 h 52"/>
                  <a:gd name="T8" fmla="*/ 23 w 52"/>
                  <a:gd name="T9" fmla="*/ 25 h 52"/>
                  <a:gd name="T10" fmla="*/ 0 60000 65536"/>
                  <a:gd name="T11" fmla="*/ 0 60000 65536"/>
                  <a:gd name="T12" fmla="*/ 0 60000 65536"/>
                  <a:gd name="T13" fmla="*/ 0 60000 65536"/>
                  <a:gd name="T14" fmla="*/ 0 60000 65536"/>
                  <a:gd name="T15" fmla="*/ 0 w 52"/>
                  <a:gd name="T16" fmla="*/ 0 h 52"/>
                  <a:gd name="T17" fmla="*/ 52 w 52"/>
                  <a:gd name="T18" fmla="*/ 52 h 52"/>
                </a:gdLst>
                <a:ahLst/>
                <a:cxnLst>
                  <a:cxn ang="T10">
                    <a:pos x="T0" y="T1"/>
                  </a:cxn>
                  <a:cxn ang="T11">
                    <a:pos x="T2" y="T3"/>
                  </a:cxn>
                  <a:cxn ang="T12">
                    <a:pos x="T4" y="T5"/>
                  </a:cxn>
                  <a:cxn ang="T13">
                    <a:pos x="T6" y="T7"/>
                  </a:cxn>
                  <a:cxn ang="T14">
                    <a:pos x="T8" y="T9"/>
                  </a:cxn>
                </a:cxnLst>
                <a:rect l="T15" t="T16" r="T17" b="T18"/>
                <a:pathLst>
                  <a:path w="52" h="52">
                    <a:moveTo>
                      <a:pt x="23" y="25"/>
                    </a:moveTo>
                    <a:lnTo>
                      <a:pt x="0" y="52"/>
                    </a:lnTo>
                    <a:lnTo>
                      <a:pt x="52" y="0"/>
                    </a:lnTo>
                    <a:lnTo>
                      <a:pt x="31" y="37"/>
                    </a:lnTo>
                    <a:lnTo>
                      <a:pt x="23" y="25"/>
                    </a:lnTo>
                  </a:path>
                </a:pathLst>
              </a:custGeom>
              <a:grpFill/>
              <a:ln w="9525" cmpd="sng">
                <a:solidFill>
                  <a:schemeClr val="accent6"/>
                </a:solidFill>
                <a:prstDash val="solid"/>
                <a:round/>
                <a:headEnd/>
                <a:tailEnd/>
              </a:ln>
            </p:spPr>
            <p:txBody>
              <a:bodyPr/>
              <a:lstStyle/>
              <a:p>
                <a:endParaRPr lang="en-US" sz="1400">
                  <a:latin typeface="+mn-lt"/>
                </a:endParaRPr>
              </a:p>
            </p:txBody>
          </p:sp>
          <p:sp>
            <p:nvSpPr>
              <p:cNvPr id="14" name="Freeform 9"/>
              <p:cNvSpPr>
                <a:spLocks/>
              </p:cNvSpPr>
              <p:nvPr/>
            </p:nvSpPr>
            <p:spPr bwMode="gray">
              <a:xfrm>
                <a:off x="2941637" y="1896107"/>
                <a:ext cx="225425" cy="142875"/>
              </a:xfrm>
              <a:custGeom>
                <a:avLst/>
                <a:gdLst>
                  <a:gd name="T0" fmla="*/ 52 w 142"/>
                  <a:gd name="T1" fmla="*/ 12 h 90"/>
                  <a:gd name="T2" fmla="*/ 52 w 142"/>
                  <a:gd name="T3" fmla="*/ 26 h 90"/>
                  <a:gd name="T4" fmla="*/ 38 w 142"/>
                  <a:gd name="T5" fmla="*/ 26 h 90"/>
                  <a:gd name="T6" fmla="*/ 38 w 142"/>
                  <a:gd name="T7" fmla="*/ 12 h 90"/>
                  <a:gd name="T8" fmla="*/ 26 w 142"/>
                  <a:gd name="T9" fmla="*/ 0 h 90"/>
                  <a:gd name="T10" fmla="*/ 12 w 142"/>
                  <a:gd name="T11" fmla="*/ 0 h 90"/>
                  <a:gd name="T12" fmla="*/ 12 w 142"/>
                  <a:gd name="T13" fmla="*/ 12 h 90"/>
                  <a:gd name="T14" fmla="*/ 26 w 142"/>
                  <a:gd name="T15" fmla="*/ 12 h 90"/>
                  <a:gd name="T16" fmla="*/ 12 w 142"/>
                  <a:gd name="T17" fmla="*/ 12 h 90"/>
                  <a:gd name="T18" fmla="*/ 0 w 142"/>
                  <a:gd name="T19" fmla="*/ 12 h 90"/>
                  <a:gd name="T20" fmla="*/ 0 w 142"/>
                  <a:gd name="T21" fmla="*/ 26 h 90"/>
                  <a:gd name="T22" fmla="*/ 12 w 142"/>
                  <a:gd name="T23" fmla="*/ 26 h 90"/>
                  <a:gd name="T24" fmla="*/ 26 w 142"/>
                  <a:gd name="T25" fmla="*/ 38 h 90"/>
                  <a:gd name="T26" fmla="*/ 38 w 142"/>
                  <a:gd name="T27" fmla="*/ 38 h 90"/>
                  <a:gd name="T28" fmla="*/ 38 w 142"/>
                  <a:gd name="T29" fmla="*/ 52 h 90"/>
                  <a:gd name="T30" fmla="*/ 26 w 142"/>
                  <a:gd name="T31" fmla="*/ 52 h 90"/>
                  <a:gd name="T32" fmla="*/ 12 w 142"/>
                  <a:gd name="T33" fmla="*/ 52 h 90"/>
                  <a:gd name="T34" fmla="*/ 26 w 142"/>
                  <a:gd name="T35" fmla="*/ 64 h 90"/>
                  <a:gd name="T36" fmla="*/ 38 w 142"/>
                  <a:gd name="T37" fmla="*/ 64 h 90"/>
                  <a:gd name="T38" fmla="*/ 26 w 142"/>
                  <a:gd name="T39" fmla="*/ 64 h 90"/>
                  <a:gd name="T40" fmla="*/ 26 w 142"/>
                  <a:gd name="T41" fmla="*/ 78 h 90"/>
                  <a:gd name="T42" fmla="*/ 38 w 142"/>
                  <a:gd name="T43" fmla="*/ 90 h 90"/>
                  <a:gd name="T44" fmla="*/ 52 w 142"/>
                  <a:gd name="T45" fmla="*/ 90 h 90"/>
                  <a:gd name="T46" fmla="*/ 64 w 142"/>
                  <a:gd name="T47" fmla="*/ 90 h 90"/>
                  <a:gd name="T48" fmla="*/ 78 w 142"/>
                  <a:gd name="T49" fmla="*/ 78 h 90"/>
                  <a:gd name="T50" fmla="*/ 104 w 142"/>
                  <a:gd name="T51" fmla="*/ 90 h 90"/>
                  <a:gd name="T52" fmla="*/ 116 w 142"/>
                  <a:gd name="T53" fmla="*/ 78 h 90"/>
                  <a:gd name="T54" fmla="*/ 116 w 142"/>
                  <a:gd name="T55" fmla="*/ 64 h 90"/>
                  <a:gd name="T56" fmla="*/ 130 w 142"/>
                  <a:gd name="T57" fmla="*/ 64 h 90"/>
                  <a:gd name="T58" fmla="*/ 142 w 142"/>
                  <a:gd name="T59" fmla="*/ 52 h 90"/>
                  <a:gd name="T60" fmla="*/ 142 w 142"/>
                  <a:gd name="T61" fmla="*/ 38 h 90"/>
                  <a:gd name="T62" fmla="*/ 142 w 142"/>
                  <a:gd name="T63" fmla="*/ 26 h 90"/>
                  <a:gd name="T64" fmla="*/ 130 w 142"/>
                  <a:gd name="T65" fmla="*/ 26 h 90"/>
                  <a:gd name="T66" fmla="*/ 130 w 142"/>
                  <a:gd name="T67" fmla="*/ 12 h 90"/>
                  <a:gd name="T68" fmla="*/ 116 w 142"/>
                  <a:gd name="T69" fmla="*/ 12 h 90"/>
                  <a:gd name="T70" fmla="*/ 104 w 142"/>
                  <a:gd name="T71" fmla="*/ 12 h 90"/>
                  <a:gd name="T72" fmla="*/ 90 w 142"/>
                  <a:gd name="T73" fmla="*/ 12 h 90"/>
                  <a:gd name="T74" fmla="*/ 78 w 142"/>
                  <a:gd name="T75" fmla="*/ 26 h 90"/>
                  <a:gd name="T76" fmla="*/ 78 w 142"/>
                  <a:gd name="T77" fmla="*/ 12 h 90"/>
                  <a:gd name="T78" fmla="*/ 64 w 142"/>
                  <a:gd name="T79" fmla="*/ 12 h 90"/>
                  <a:gd name="T80" fmla="*/ 52 w 142"/>
                  <a:gd name="T81" fmla="*/ 12 h 90"/>
                  <a:gd name="T82" fmla="*/ 52 w 142"/>
                  <a:gd name="T83" fmla="*/ 12 h 90"/>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142"/>
                  <a:gd name="T127" fmla="*/ 0 h 90"/>
                  <a:gd name="T128" fmla="*/ 142 w 142"/>
                  <a:gd name="T129" fmla="*/ 90 h 90"/>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142" h="90">
                    <a:moveTo>
                      <a:pt x="52" y="12"/>
                    </a:moveTo>
                    <a:lnTo>
                      <a:pt x="52" y="26"/>
                    </a:lnTo>
                    <a:lnTo>
                      <a:pt x="38" y="26"/>
                    </a:lnTo>
                    <a:lnTo>
                      <a:pt x="38" y="12"/>
                    </a:lnTo>
                    <a:lnTo>
                      <a:pt x="26" y="0"/>
                    </a:lnTo>
                    <a:lnTo>
                      <a:pt x="12" y="0"/>
                    </a:lnTo>
                    <a:lnTo>
                      <a:pt x="12" y="12"/>
                    </a:lnTo>
                    <a:lnTo>
                      <a:pt x="26" y="12"/>
                    </a:lnTo>
                    <a:lnTo>
                      <a:pt x="12" y="12"/>
                    </a:lnTo>
                    <a:lnTo>
                      <a:pt x="0" y="12"/>
                    </a:lnTo>
                    <a:lnTo>
                      <a:pt x="0" y="26"/>
                    </a:lnTo>
                    <a:lnTo>
                      <a:pt x="12" y="26"/>
                    </a:lnTo>
                    <a:lnTo>
                      <a:pt x="26" y="38"/>
                    </a:lnTo>
                    <a:lnTo>
                      <a:pt x="38" y="38"/>
                    </a:lnTo>
                    <a:lnTo>
                      <a:pt x="38" y="52"/>
                    </a:lnTo>
                    <a:lnTo>
                      <a:pt x="26" y="52"/>
                    </a:lnTo>
                    <a:lnTo>
                      <a:pt x="12" y="52"/>
                    </a:lnTo>
                    <a:lnTo>
                      <a:pt x="26" y="64"/>
                    </a:lnTo>
                    <a:lnTo>
                      <a:pt x="38" y="64"/>
                    </a:lnTo>
                    <a:lnTo>
                      <a:pt x="26" y="64"/>
                    </a:lnTo>
                    <a:lnTo>
                      <a:pt x="26" y="78"/>
                    </a:lnTo>
                    <a:lnTo>
                      <a:pt x="38" y="90"/>
                    </a:lnTo>
                    <a:lnTo>
                      <a:pt x="52" y="90"/>
                    </a:lnTo>
                    <a:lnTo>
                      <a:pt x="64" y="90"/>
                    </a:lnTo>
                    <a:lnTo>
                      <a:pt x="78" y="78"/>
                    </a:lnTo>
                    <a:lnTo>
                      <a:pt x="104" y="90"/>
                    </a:lnTo>
                    <a:lnTo>
                      <a:pt x="116" y="78"/>
                    </a:lnTo>
                    <a:lnTo>
                      <a:pt x="116" y="64"/>
                    </a:lnTo>
                    <a:lnTo>
                      <a:pt x="130" y="64"/>
                    </a:lnTo>
                    <a:lnTo>
                      <a:pt x="142" y="52"/>
                    </a:lnTo>
                    <a:lnTo>
                      <a:pt x="142" y="38"/>
                    </a:lnTo>
                    <a:lnTo>
                      <a:pt x="142" y="26"/>
                    </a:lnTo>
                    <a:lnTo>
                      <a:pt x="130" y="26"/>
                    </a:lnTo>
                    <a:lnTo>
                      <a:pt x="130" y="12"/>
                    </a:lnTo>
                    <a:lnTo>
                      <a:pt x="116" y="12"/>
                    </a:lnTo>
                    <a:lnTo>
                      <a:pt x="104" y="12"/>
                    </a:lnTo>
                    <a:lnTo>
                      <a:pt x="90" y="12"/>
                    </a:lnTo>
                    <a:lnTo>
                      <a:pt x="78" y="26"/>
                    </a:lnTo>
                    <a:lnTo>
                      <a:pt x="78" y="12"/>
                    </a:lnTo>
                    <a:lnTo>
                      <a:pt x="64" y="12"/>
                    </a:lnTo>
                    <a:lnTo>
                      <a:pt x="52" y="12"/>
                    </a:lnTo>
                    <a:close/>
                  </a:path>
                </a:pathLst>
              </a:custGeom>
              <a:grpFill/>
              <a:ln w="9525" cmpd="sng">
                <a:solidFill>
                  <a:schemeClr val="accent6"/>
                </a:solidFill>
                <a:prstDash val="solid"/>
                <a:round/>
                <a:headEnd/>
                <a:tailEnd/>
              </a:ln>
            </p:spPr>
            <p:txBody>
              <a:bodyPr/>
              <a:lstStyle/>
              <a:p>
                <a:endParaRPr lang="en-US" sz="1400">
                  <a:latin typeface="+mn-lt"/>
                </a:endParaRPr>
              </a:p>
            </p:txBody>
          </p:sp>
          <p:sp>
            <p:nvSpPr>
              <p:cNvPr id="15" name="Freeform 10"/>
              <p:cNvSpPr>
                <a:spLocks/>
              </p:cNvSpPr>
              <p:nvPr/>
            </p:nvSpPr>
            <p:spPr bwMode="gray">
              <a:xfrm>
                <a:off x="2382837" y="924557"/>
                <a:ext cx="701675" cy="1114425"/>
              </a:xfrm>
              <a:custGeom>
                <a:avLst/>
                <a:gdLst>
                  <a:gd name="T0" fmla="*/ 156 w 442"/>
                  <a:gd name="T1" fmla="*/ 66 h 702"/>
                  <a:gd name="T2" fmla="*/ 118 w 442"/>
                  <a:gd name="T3" fmla="*/ 92 h 702"/>
                  <a:gd name="T4" fmla="*/ 92 w 442"/>
                  <a:gd name="T5" fmla="*/ 118 h 702"/>
                  <a:gd name="T6" fmla="*/ 66 w 442"/>
                  <a:gd name="T7" fmla="*/ 144 h 702"/>
                  <a:gd name="T8" fmla="*/ 66 w 442"/>
                  <a:gd name="T9" fmla="*/ 196 h 702"/>
                  <a:gd name="T10" fmla="*/ 0 w 442"/>
                  <a:gd name="T11" fmla="*/ 234 h 702"/>
                  <a:gd name="T12" fmla="*/ 40 w 442"/>
                  <a:gd name="T13" fmla="*/ 274 h 702"/>
                  <a:gd name="T14" fmla="*/ 14 w 442"/>
                  <a:gd name="T15" fmla="*/ 300 h 702"/>
                  <a:gd name="T16" fmla="*/ 66 w 442"/>
                  <a:gd name="T17" fmla="*/ 312 h 702"/>
                  <a:gd name="T18" fmla="*/ 104 w 442"/>
                  <a:gd name="T19" fmla="*/ 326 h 702"/>
                  <a:gd name="T20" fmla="*/ 130 w 442"/>
                  <a:gd name="T21" fmla="*/ 378 h 702"/>
                  <a:gd name="T22" fmla="*/ 144 w 442"/>
                  <a:gd name="T23" fmla="*/ 416 h 702"/>
                  <a:gd name="T24" fmla="*/ 156 w 442"/>
                  <a:gd name="T25" fmla="*/ 456 h 702"/>
                  <a:gd name="T26" fmla="*/ 130 w 442"/>
                  <a:gd name="T27" fmla="*/ 482 h 702"/>
                  <a:gd name="T28" fmla="*/ 130 w 442"/>
                  <a:gd name="T29" fmla="*/ 520 h 702"/>
                  <a:gd name="T30" fmla="*/ 130 w 442"/>
                  <a:gd name="T31" fmla="*/ 546 h 702"/>
                  <a:gd name="T32" fmla="*/ 130 w 442"/>
                  <a:gd name="T33" fmla="*/ 586 h 702"/>
                  <a:gd name="T34" fmla="*/ 144 w 442"/>
                  <a:gd name="T35" fmla="*/ 638 h 702"/>
                  <a:gd name="T36" fmla="*/ 144 w 442"/>
                  <a:gd name="T37" fmla="*/ 676 h 702"/>
                  <a:gd name="T38" fmla="*/ 182 w 442"/>
                  <a:gd name="T39" fmla="*/ 690 h 702"/>
                  <a:gd name="T40" fmla="*/ 196 w 442"/>
                  <a:gd name="T41" fmla="*/ 702 h 702"/>
                  <a:gd name="T42" fmla="*/ 234 w 442"/>
                  <a:gd name="T43" fmla="*/ 664 h 702"/>
                  <a:gd name="T44" fmla="*/ 248 w 442"/>
                  <a:gd name="T45" fmla="*/ 598 h 702"/>
                  <a:gd name="T46" fmla="*/ 274 w 442"/>
                  <a:gd name="T47" fmla="*/ 546 h 702"/>
                  <a:gd name="T48" fmla="*/ 326 w 442"/>
                  <a:gd name="T49" fmla="*/ 520 h 702"/>
                  <a:gd name="T50" fmla="*/ 338 w 442"/>
                  <a:gd name="T51" fmla="*/ 482 h 702"/>
                  <a:gd name="T52" fmla="*/ 390 w 442"/>
                  <a:gd name="T53" fmla="*/ 442 h 702"/>
                  <a:gd name="T54" fmla="*/ 430 w 442"/>
                  <a:gd name="T55" fmla="*/ 416 h 702"/>
                  <a:gd name="T56" fmla="*/ 390 w 442"/>
                  <a:gd name="T57" fmla="*/ 404 h 702"/>
                  <a:gd name="T58" fmla="*/ 390 w 442"/>
                  <a:gd name="T59" fmla="*/ 378 h 702"/>
                  <a:gd name="T60" fmla="*/ 416 w 442"/>
                  <a:gd name="T61" fmla="*/ 378 h 702"/>
                  <a:gd name="T62" fmla="*/ 442 w 442"/>
                  <a:gd name="T63" fmla="*/ 378 h 702"/>
                  <a:gd name="T64" fmla="*/ 404 w 442"/>
                  <a:gd name="T65" fmla="*/ 352 h 702"/>
                  <a:gd name="T66" fmla="*/ 390 w 442"/>
                  <a:gd name="T67" fmla="*/ 326 h 702"/>
                  <a:gd name="T68" fmla="*/ 404 w 442"/>
                  <a:gd name="T69" fmla="*/ 300 h 702"/>
                  <a:gd name="T70" fmla="*/ 416 w 442"/>
                  <a:gd name="T71" fmla="*/ 274 h 702"/>
                  <a:gd name="T72" fmla="*/ 404 w 442"/>
                  <a:gd name="T73" fmla="*/ 222 h 702"/>
                  <a:gd name="T74" fmla="*/ 390 w 442"/>
                  <a:gd name="T75" fmla="*/ 182 h 702"/>
                  <a:gd name="T76" fmla="*/ 378 w 442"/>
                  <a:gd name="T77" fmla="*/ 170 h 702"/>
                  <a:gd name="T78" fmla="*/ 404 w 442"/>
                  <a:gd name="T79" fmla="*/ 130 h 702"/>
                  <a:gd name="T80" fmla="*/ 404 w 442"/>
                  <a:gd name="T81" fmla="*/ 118 h 702"/>
                  <a:gd name="T82" fmla="*/ 390 w 442"/>
                  <a:gd name="T83" fmla="*/ 92 h 702"/>
                  <a:gd name="T84" fmla="*/ 338 w 442"/>
                  <a:gd name="T85" fmla="*/ 118 h 702"/>
                  <a:gd name="T86" fmla="*/ 326 w 442"/>
                  <a:gd name="T87" fmla="*/ 104 h 702"/>
                  <a:gd name="T88" fmla="*/ 352 w 442"/>
                  <a:gd name="T89" fmla="*/ 92 h 702"/>
                  <a:gd name="T90" fmla="*/ 326 w 442"/>
                  <a:gd name="T91" fmla="*/ 92 h 702"/>
                  <a:gd name="T92" fmla="*/ 312 w 442"/>
                  <a:gd name="T93" fmla="*/ 78 h 702"/>
                  <a:gd name="T94" fmla="*/ 300 w 442"/>
                  <a:gd name="T95" fmla="*/ 66 h 702"/>
                  <a:gd name="T96" fmla="*/ 352 w 442"/>
                  <a:gd name="T97" fmla="*/ 52 h 702"/>
                  <a:gd name="T98" fmla="*/ 378 w 442"/>
                  <a:gd name="T99" fmla="*/ 26 h 702"/>
                  <a:gd name="T100" fmla="*/ 326 w 442"/>
                  <a:gd name="T101" fmla="*/ 0 h 702"/>
                  <a:gd name="T102" fmla="*/ 274 w 442"/>
                  <a:gd name="T103" fmla="*/ 0 h 702"/>
                  <a:gd name="T104" fmla="*/ 260 w 442"/>
                  <a:gd name="T105" fmla="*/ 26 h 702"/>
                  <a:gd name="T106" fmla="*/ 222 w 442"/>
                  <a:gd name="T107" fmla="*/ 26 h 702"/>
                  <a:gd name="T108" fmla="*/ 208 w 442"/>
                  <a:gd name="T109" fmla="*/ 52 h 702"/>
                  <a:gd name="T110" fmla="*/ 196 w 442"/>
                  <a:gd name="T111" fmla="*/ 52 h 702"/>
                  <a:gd name="T112" fmla="*/ 196 w 442"/>
                  <a:gd name="T113" fmla="*/ 78 h 702"/>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442"/>
                  <a:gd name="T172" fmla="*/ 0 h 702"/>
                  <a:gd name="T173" fmla="*/ 442 w 442"/>
                  <a:gd name="T174" fmla="*/ 702 h 702"/>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442" h="702">
                    <a:moveTo>
                      <a:pt x="196" y="78"/>
                    </a:moveTo>
                    <a:lnTo>
                      <a:pt x="156" y="66"/>
                    </a:lnTo>
                    <a:lnTo>
                      <a:pt x="130" y="78"/>
                    </a:lnTo>
                    <a:lnTo>
                      <a:pt x="118" y="92"/>
                    </a:lnTo>
                    <a:lnTo>
                      <a:pt x="104" y="104"/>
                    </a:lnTo>
                    <a:lnTo>
                      <a:pt x="92" y="118"/>
                    </a:lnTo>
                    <a:lnTo>
                      <a:pt x="92" y="144"/>
                    </a:lnTo>
                    <a:lnTo>
                      <a:pt x="66" y="144"/>
                    </a:lnTo>
                    <a:lnTo>
                      <a:pt x="52" y="170"/>
                    </a:lnTo>
                    <a:lnTo>
                      <a:pt x="66" y="196"/>
                    </a:lnTo>
                    <a:lnTo>
                      <a:pt x="40" y="222"/>
                    </a:lnTo>
                    <a:lnTo>
                      <a:pt x="0" y="234"/>
                    </a:lnTo>
                    <a:lnTo>
                      <a:pt x="0" y="248"/>
                    </a:lnTo>
                    <a:lnTo>
                      <a:pt x="40" y="274"/>
                    </a:lnTo>
                    <a:lnTo>
                      <a:pt x="14" y="286"/>
                    </a:lnTo>
                    <a:lnTo>
                      <a:pt x="14" y="300"/>
                    </a:lnTo>
                    <a:lnTo>
                      <a:pt x="26" y="326"/>
                    </a:lnTo>
                    <a:lnTo>
                      <a:pt x="66" y="312"/>
                    </a:lnTo>
                    <a:lnTo>
                      <a:pt x="78" y="312"/>
                    </a:lnTo>
                    <a:lnTo>
                      <a:pt x="104" y="326"/>
                    </a:lnTo>
                    <a:lnTo>
                      <a:pt x="104" y="338"/>
                    </a:lnTo>
                    <a:lnTo>
                      <a:pt x="130" y="378"/>
                    </a:lnTo>
                    <a:lnTo>
                      <a:pt x="144" y="390"/>
                    </a:lnTo>
                    <a:lnTo>
                      <a:pt x="144" y="416"/>
                    </a:lnTo>
                    <a:lnTo>
                      <a:pt x="144" y="442"/>
                    </a:lnTo>
                    <a:lnTo>
                      <a:pt x="156" y="456"/>
                    </a:lnTo>
                    <a:lnTo>
                      <a:pt x="156" y="468"/>
                    </a:lnTo>
                    <a:lnTo>
                      <a:pt x="130" y="482"/>
                    </a:lnTo>
                    <a:lnTo>
                      <a:pt x="130" y="494"/>
                    </a:lnTo>
                    <a:lnTo>
                      <a:pt x="130" y="520"/>
                    </a:lnTo>
                    <a:lnTo>
                      <a:pt x="118" y="534"/>
                    </a:lnTo>
                    <a:lnTo>
                      <a:pt x="130" y="546"/>
                    </a:lnTo>
                    <a:lnTo>
                      <a:pt x="130" y="560"/>
                    </a:lnTo>
                    <a:lnTo>
                      <a:pt x="130" y="586"/>
                    </a:lnTo>
                    <a:lnTo>
                      <a:pt x="130" y="612"/>
                    </a:lnTo>
                    <a:lnTo>
                      <a:pt x="144" y="638"/>
                    </a:lnTo>
                    <a:lnTo>
                      <a:pt x="156" y="650"/>
                    </a:lnTo>
                    <a:lnTo>
                      <a:pt x="144" y="676"/>
                    </a:lnTo>
                    <a:lnTo>
                      <a:pt x="156" y="690"/>
                    </a:lnTo>
                    <a:lnTo>
                      <a:pt x="182" y="690"/>
                    </a:lnTo>
                    <a:lnTo>
                      <a:pt x="182" y="702"/>
                    </a:lnTo>
                    <a:lnTo>
                      <a:pt x="196" y="702"/>
                    </a:lnTo>
                    <a:lnTo>
                      <a:pt x="222" y="690"/>
                    </a:lnTo>
                    <a:lnTo>
                      <a:pt x="234" y="664"/>
                    </a:lnTo>
                    <a:lnTo>
                      <a:pt x="234" y="624"/>
                    </a:lnTo>
                    <a:lnTo>
                      <a:pt x="248" y="598"/>
                    </a:lnTo>
                    <a:lnTo>
                      <a:pt x="260" y="560"/>
                    </a:lnTo>
                    <a:lnTo>
                      <a:pt x="274" y="546"/>
                    </a:lnTo>
                    <a:lnTo>
                      <a:pt x="300" y="534"/>
                    </a:lnTo>
                    <a:lnTo>
                      <a:pt x="326" y="520"/>
                    </a:lnTo>
                    <a:lnTo>
                      <a:pt x="338" y="508"/>
                    </a:lnTo>
                    <a:lnTo>
                      <a:pt x="338" y="482"/>
                    </a:lnTo>
                    <a:lnTo>
                      <a:pt x="364" y="468"/>
                    </a:lnTo>
                    <a:lnTo>
                      <a:pt x="390" y="442"/>
                    </a:lnTo>
                    <a:lnTo>
                      <a:pt x="404" y="442"/>
                    </a:lnTo>
                    <a:lnTo>
                      <a:pt x="430" y="416"/>
                    </a:lnTo>
                    <a:lnTo>
                      <a:pt x="416" y="404"/>
                    </a:lnTo>
                    <a:lnTo>
                      <a:pt x="390" y="404"/>
                    </a:lnTo>
                    <a:lnTo>
                      <a:pt x="390" y="390"/>
                    </a:lnTo>
                    <a:lnTo>
                      <a:pt x="390" y="378"/>
                    </a:lnTo>
                    <a:lnTo>
                      <a:pt x="390" y="364"/>
                    </a:lnTo>
                    <a:lnTo>
                      <a:pt x="416" y="378"/>
                    </a:lnTo>
                    <a:lnTo>
                      <a:pt x="430" y="378"/>
                    </a:lnTo>
                    <a:lnTo>
                      <a:pt x="442" y="378"/>
                    </a:lnTo>
                    <a:lnTo>
                      <a:pt x="430" y="352"/>
                    </a:lnTo>
                    <a:lnTo>
                      <a:pt x="404" y="352"/>
                    </a:lnTo>
                    <a:lnTo>
                      <a:pt x="390" y="338"/>
                    </a:lnTo>
                    <a:lnTo>
                      <a:pt x="390" y="326"/>
                    </a:lnTo>
                    <a:lnTo>
                      <a:pt x="416" y="312"/>
                    </a:lnTo>
                    <a:lnTo>
                      <a:pt x="404" y="300"/>
                    </a:lnTo>
                    <a:lnTo>
                      <a:pt x="416" y="286"/>
                    </a:lnTo>
                    <a:lnTo>
                      <a:pt x="416" y="274"/>
                    </a:lnTo>
                    <a:lnTo>
                      <a:pt x="416" y="248"/>
                    </a:lnTo>
                    <a:lnTo>
                      <a:pt x="404" y="222"/>
                    </a:lnTo>
                    <a:lnTo>
                      <a:pt x="378" y="208"/>
                    </a:lnTo>
                    <a:lnTo>
                      <a:pt x="390" y="182"/>
                    </a:lnTo>
                    <a:lnTo>
                      <a:pt x="390" y="170"/>
                    </a:lnTo>
                    <a:lnTo>
                      <a:pt x="378" y="170"/>
                    </a:lnTo>
                    <a:lnTo>
                      <a:pt x="390" y="144"/>
                    </a:lnTo>
                    <a:lnTo>
                      <a:pt x="404" y="130"/>
                    </a:lnTo>
                    <a:lnTo>
                      <a:pt x="416" y="118"/>
                    </a:lnTo>
                    <a:lnTo>
                      <a:pt x="404" y="118"/>
                    </a:lnTo>
                    <a:lnTo>
                      <a:pt x="404" y="92"/>
                    </a:lnTo>
                    <a:lnTo>
                      <a:pt x="390" y="92"/>
                    </a:lnTo>
                    <a:lnTo>
                      <a:pt x="378" y="104"/>
                    </a:lnTo>
                    <a:lnTo>
                      <a:pt x="338" y="118"/>
                    </a:lnTo>
                    <a:lnTo>
                      <a:pt x="326" y="118"/>
                    </a:lnTo>
                    <a:lnTo>
                      <a:pt x="326" y="104"/>
                    </a:lnTo>
                    <a:lnTo>
                      <a:pt x="338" y="92"/>
                    </a:lnTo>
                    <a:lnTo>
                      <a:pt x="352" y="92"/>
                    </a:lnTo>
                    <a:lnTo>
                      <a:pt x="338" y="78"/>
                    </a:lnTo>
                    <a:lnTo>
                      <a:pt x="326" y="92"/>
                    </a:lnTo>
                    <a:lnTo>
                      <a:pt x="312" y="92"/>
                    </a:lnTo>
                    <a:lnTo>
                      <a:pt x="312" y="78"/>
                    </a:lnTo>
                    <a:lnTo>
                      <a:pt x="312" y="66"/>
                    </a:lnTo>
                    <a:lnTo>
                      <a:pt x="300" y="66"/>
                    </a:lnTo>
                    <a:lnTo>
                      <a:pt x="326" y="52"/>
                    </a:lnTo>
                    <a:lnTo>
                      <a:pt x="352" y="52"/>
                    </a:lnTo>
                    <a:lnTo>
                      <a:pt x="378" y="40"/>
                    </a:lnTo>
                    <a:lnTo>
                      <a:pt x="378" y="26"/>
                    </a:lnTo>
                    <a:lnTo>
                      <a:pt x="352" y="26"/>
                    </a:lnTo>
                    <a:lnTo>
                      <a:pt x="326" y="0"/>
                    </a:lnTo>
                    <a:lnTo>
                      <a:pt x="300" y="0"/>
                    </a:lnTo>
                    <a:lnTo>
                      <a:pt x="274" y="0"/>
                    </a:lnTo>
                    <a:lnTo>
                      <a:pt x="260" y="0"/>
                    </a:lnTo>
                    <a:lnTo>
                      <a:pt x="260" y="26"/>
                    </a:lnTo>
                    <a:lnTo>
                      <a:pt x="234" y="26"/>
                    </a:lnTo>
                    <a:lnTo>
                      <a:pt x="222" y="26"/>
                    </a:lnTo>
                    <a:lnTo>
                      <a:pt x="222" y="40"/>
                    </a:lnTo>
                    <a:lnTo>
                      <a:pt x="208" y="52"/>
                    </a:lnTo>
                    <a:lnTo>
                      <a:pt x="208" y="66"/>
                    </a:lnTo>
                    <a:lnTo>
                      <a:pt x="196" y="52"/>
                    </a:lnTo>
                    <a:lnTo>
                      <a:pt x="196" y="66"/>
                    </a:lnTo>
                    <a:lnTo>
                      <a:pt x="196" y="78"/>
                    </a:lnTo>
                    <a:close/>
                  </a:path>
                </a:pathLst>
              </a:custGeom>
              <a:grpFill/>
              <a:ln w="9525" cmpd="sng">
                <a:solidFill>
                  <a:schemeClr val="accent6"/>
                </a:solidFill>
                <a:prstDash val="solid"/>
                <a:round/>
                <a:headEnd/>
                <a:tailEnd/>
              </a:ln>
            </p:spPr>
            <p:txBody>
              <a:bodyPr/>
              <a:lstStyle/>
              <a:p>
                <a:endParaRPr lang="en-US" sz="1400">
                  <a:latin typeface="+mn-lt"/>
                </a:endParaRPr>
              </a:p>
            </p:txBody>
          </p:sp>
          <p:sp>
            <p:nvSpPr>
              <p:cNvPr id="16" name="Freeform 11"/>
              <p:cNvSpPr>
                <a:spLocks/>
              </p:cNvSpPr>
              <p:nvPr/>
            </p:nvSpPr>
            <p:spPr bwMode="gray">
              <a:xfrm>
                <a:off x="525461" y="1089657"/>
                <a:ext cx="1897063" cy="2951163"/>
              </a:xfrm>
              <a:custGeom>
                <a:avLst/>
                <a:gdLst>
                  <a:gd name="T0" fmla="*/ 2130 w 2391"/>
                  <a:gd name="T1" fmla="*/ 1767 h 3718"/>
                  <a:gd name="T2" fmla="*/ 2130 w 2391"/>
                  <a:gd name="T3" fmla="*/ 1690 h 3718"/>
                  <a:gd name="T4" fmla="*/ 2391 w 2391"/>
                  <a:gd name="T5" fmla="*/ 1560 h 3718"/>
                  <a:gd name="T6" fmla="*/ 2159 w 2391"/>
                  <a:gd name="T7" fmla="*/ 1403 h 3718"/>
                  <a:gd name="T8" fmla="*/ 2004 w 2391"/>
                  <a:gd name="T9" fmla="*/ 1328 h 3718"/>
                  <a:gd name="T10" fmla="*/ 1871 w 2391"/>
                  <a:gd name="T11" fmla="*/ 1144 h 3718"/>
                  <a:gd name="T12" fmla="*/ 1739 w 2391"/>
                  <a:gd name="T13" fmla="*/ 1299 h 3718"/>
                  <a:gd name="T14" fmla="*/ 1687 w 2391"/>
                  <a:gd name="T15" fmla="*/ 1535 h 3718"/>
                  <a:gd name="T16" fmla="*/ 1664 w 2391"/>
                  <a:gd name="T17" fmla="*/ 1535 h 3718"/>
                  <a:gd name="T18" fmla="*/ 1376 w 2391"/>
                  <a:gd name="T19" fmla="*/ 1328 h 3718"/>
                  <a:gd name="T20" fmla="*/ 1455 w 2391"/>
                  <a:gd name="T21" fmla="*/ 1040 h 3718"/>
                  <a:gd name="T22" fmla="*/ 1532 w 2391"/>
                  <a:gd name="T23" fmla="*/ 963 h 3718"/>
                  <a:gd name="T24" fmla="*/ 1687 w 2391"/>
                  <a:gd name="T25" fmla="*/ 808 h 3718"/>
                  <a:gd name="T26" fmla="*/ 1583 w 2391"/>
                  <a:gd name="T27" fmla="*/ 833 h 3718"/>
                  <a:gd name="T28" fmla="*/ 1480 w 2391"/>
                  <a:gd name="T29" fmla="*/ 675 h 3718"/>
                  <a:gd name="T30" fmla="*/ 1428 w 2391"/>
                  <a:gd name="T31" fmla="*/ 833 h 3718"/>
                  <a:gd name="T32" fmla="*/ 1351 w 2391"/>
                  <a:gd name="T33" fmla="*/ 808 h 3718"/>
                  <a:gd name="T34" fmla="*/ 1196 w 2391"/>
                  <a:gd name="T35" fmla="*/ 727 h 3718"/>
                  <a:gd name="T36" fmla="*/ 1012 w 2391"/>
                  <a:gd name="T37" fmla="*/ 520 h 3718"/>
                  <a:gd name="T38" fmla="*/ 831 w 2391"/>
                  <a:gd name="T39" fmla="*/ 416 h 3718"/>
                  <a:gd name="T40" fmla="*/ 728 w 2391"/>
                  <a:gd name="T41" fmla="*/ 184 h 3718"/>
                  <a:gd name="T42" fmla="*/ 491 w 2391"/>
                  <a:gd name="T43" fmla="*/ 81 h 3718"/>
                  <a:gd name="T44" fmla="*/ 417 w 2391"/>
                  <a:gd name="T45" fmla="*/ 29 h 3718"/>
                  <a:gd name="T46" fmla="*/ 259 w 2391"/>
                  <a:gd name="T47" fmla="*/ 104 h 3718"/>
                  <a:gd name="T48" fmla="*/ 129 w 2391"/>
                  <a:gd name="T49" fmla="*/ 261 h 3718"/>
                  <a:gd name="T50" fmla="*/ 284 w 2391"/>
                  <a:gd name="T51" fmla="*/ 416 h 3718"/>
                  <a:gd name="T52" fmla="*/ 365 w 2391"/>
                  <a:gd name="T53" fmla="*/ 468 h 3718"/>
                  <a:gd name="T54" fmla="*/ 417 w 2391"/>
                  <a:gd name="T55" fmla="*/ 675 h 3718"/>
                  <a:gd name="T56" fmla="*/ 417 w 2391"/>
                  <a:gd name="T57" fmla="*/ 963 h 3718"/>
                  <a:gd name="T58" fmla="*/ 388 w 2391"/>
                  <a:gd name="T59" fmla="*/ 1247 h 3718"/>
                  <a:gd name="T60" fmla="*/ 336 w 2391"/>
                  <a:gd name="T61" fmla="*/ 1276 h 3718"/>
                  <a:gd name="T62" fmla="*/ 129 w 2391"/>
                  <a:gd name="T63" fmla="*/ 1560 h 3718"/>
                  <a:gd name="T64" fmla="*/ 181 w 2391"/>
                  <a:gd name="T65" fmla="*/ 2026 h 3718"/>
                  <a:gd name="T66" fmla="*/ 181 w 2391"/>
                  <a:gd name="T67" fmla="*/ 2368 h 3718"/>
                  <a:gd name="T68" fmla="*/ 232 w 2391"/>
                  <a:gd name="T69" fmla="*/ 2494 h 3718"/>
                  <a:gd name="T70" fmla="*/ 232 w 2391"/>
                  <a:gd name="T71" fmla="*/ 2132 h 3718"/>
                  <a:gd name="T72" fmla="*/ 336 w 2391"/>
                  <a:gd name="T73" fmla="*/ 2442 h 3718"/>
                  <a:gd name="T74" fmla="*/ 417 w 2391"/>
                  <a:gd name="T75" fmla="*/ 2914 h 3718"/>
                  <a:gd name="T76" fmla="*/ 856 w 2391"/>
                  <a:gd name="T77" fmla="*/ 3173 h 3718"/>
                  <a:gd name="T78" fmla="*/ 1115 w 2391"/>
                  <a:gd name="T79" fmla="*/ 3354 h 3718"/>
                  <a:gd name="T80" fmla="*/ 1299 w 2391"/>
                  <a:gd name="T81" fmla="*/ 3615 h 3718"/>
                  <a:gd name="T82" fmla="*/ 1455 w 2391"/>
                  <a:gd name="T83" fmla="*/ 3615 h 3718"/>
                  <a:gd name="T84" fmla="*/ 1560 w 2391"/>
                  <a:gd name="T85" fmla="*/ 3641 h 3718"/>
                  <a:gd name="T86" fmla="*/ 1272 w 2391"/>
                  <a:gd name="T87" fmla="*/ 3486 h 3718"/>
                  <a:gd name="T88" fmla="*/ 1299 w 2391"/>
                  <a:gd name="T89" fmla="*/ 3273 h 3718"/>
                  <a:gd name="T90" fmla="*/ 1144 w 2391"/>
                  <a:gd name="T91" fmla="*/ 3146 h 3718"/>
                  <a:gd name="T92" fmla="*/ 1196 w 2391"/>
                  <a:gd name="T93" fmla="*/ 2962 h 3718"/>
                  <a:gd name="T94" fmla="*/ 937 w 2391"/>
                  <a:gd name="T95" fmla="*/ 3043 h 3718"/>
                  <a:gd name="T96" fmla="*/ 728 w 2391"/>
                  <a:gd name="T97" fmla="*/ 2807 h 3718"/>
                  <a:gd name="T98" fmla="*/ 856 w 2391"/>
                  <a:gd name="T99" fmla="*/ 2546 h 3718"/>
                  <a:gd name="T100" fmla="*/ 1115 w 2391"/>
                  <a:gd name="T101" fmla="*/ 2598 h 3718"/>
                  <a:gd name="T102" fmla="*/ 1219 w 2391"/>
                  <a:gd name="T103" fmla="*/ 2627 h 3718"/>
                  <a:gd name="T104" fmla="*/ 1351 w 2391"/>
                  <a:gd name="T105" fmla="*/ 2627 h 3718"/>
                  <a:gd name="T106" fmla="*/ 1507 w 2391"/>
                  <a:gd name="T107" fmla="*/ 2834 h 3718"/>
                  <a:gd name="T108" fmla="*/ 1560 w 2391"/>
                  <a:gd name="T109" fmla="*/ 2575 h 3718"/>
                  <a:gd name="T110" fmla="*/ 1791 w 2391"/>
                  <a:gd name="T111" fmla="*/ 2287 h 3718"/>
                  <a:gd name="T112" fmla="*/ 1900 w 2391"/>
                  <a:gd name="T113" fmla="*/ 2158 h 3718"/>
                  <a:gd name="T114" fmla="*/ 2078 w 2391"/>
                  <a:gd name="T115" fmla="*/ 2003 h 3718"/>
                  <a:gd name="T116" fmla="*/ 2107 w 2391"/>
                  <a:gd name="T117" fmla="*/ 1974 h 3718"/>
                  <a:gd name="T118" fmla="*/ 2236 w 2391"/>
                  <a:gd name="T119" fmla="*/ 1951 h 3718"/>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2391"/>
                  <a:gd name="T181" fmla="*/ 0 h 3718"/>
                  <a:gd name="T182" fmla="*/ 2391 w 2391"/>
                  <a:gd name="T183" fmla="*/ 3718 h 3718"/>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2391" h="3718">
                    <a:moveTo>
                      <a:pt x="2184" y="1848"/>
                    </a:moveTo>
                    <a:lnTo>
                      <a:pt x="2159" y="1848"/>
                    </a:lnTo>
                    <a:lnTo>
                      <a:pt x="2184" y="1819"/>
                    </a:lnTo>
                    <a:lnTo>
                      <a:pt x="2159" y="1796"/>
                    </a:lnTo>
                    <a:lnTo>
                      <a:pt x="2130" y="1767"/>
                    </a:lnTo>
                    <a:lnTo>
                      <a:pt x="2027" y="1848"/>
                    </a:lnTo>
                    <a:lnTo>
                      <a:pt x="1975" y="1848"/>
                    </a:lnTo>
                    <a:lnTo>
                      <a:pt x="2004" y="1819"/>
                    </a:lnTo>
                    <a:lnTo>
                      <a:pt x="2055" y="1767"/>
                    </a:lnTo>
                    <a:lnTo>
                      <a:pt x="2130" y="1690"/>
                    </a:lnTo>
                    <a:lnTo>
                      <a:pt x="2236" y="1690"/>
                    </a:lnTo>
                    <a:lnTo>
                      <a:pt x="2314" y="1663"/>
                    </a:lnTo>
                    <a:lnTo>
                      <a:pt x="2366" y="1612"/>
                    </a:lnTo>
                    <a:lnTo>
                      <a:pt x="2391" y="1587"/>
                    </a:lnTo>
                    <a:lnTo>
                      <a:pt x="2391" y="1560"/>
                    </a:lnTo>
                    <a:lnTo>
                      <a:pt x="2339" y="1535"/>
                    </a:lnTo>
                    <a:lnTo>
                      <a:pt x="2339" y="1483"/>
                    </a:lnTo>
                    <a:lnTo>
                      <a:pt x="2314" y="1456"/>
                    </a:lnTo>
                    <a:lnTo>
                      <a:pt x="2211" y="1456"/>
                    </a:lnTo>
                    <a:lnTo>
                      <a:pt x="2159" y="1403"/>
                    </a:lnTo>
                    <a:lnTo>
                      <a:pt x="2184" y="1351"/>
                    </a:lnTo>
                    <a:lnTo>
                      <a:pt x="2130" y="1328"/>
                    </a:lnTo>
                    <a:lnTo>
                      <a:pt x="2078" y="1247"/>
                    </a:lnTo>
                    <a:lnTo>
                      <a:pt x="2027" y="1328"/>
                    </a:lnTo>
                    <a:lnTo>
                      <a:pt x="2004" y="1328"/>
                    </a:lnTo>
                    <a:lnTo>
                      <a:pt x="1975" y="1299"/>
                    </a:lnTo>
                    <a:lnTo>
                      <a:pt x="1975" y="1224"/>
                    </a:lnTo>
                    <a:lnTo>
                      <a:pt x="1923" y="1195"/>
                    </a:lnTo>
                    <a:lnTo>
                      <a:pt x="1900" y="1172"/>
                    </a:lnTo>
                    <a:lnTo>
                      <a:pt x="1871" y="1144"/>
                    </a:lnTo>
                    <a:lnTo>
                      <a:pt x="1819" y="1144"/>
                    </a:lnTo>
                    <a:lnTo>
                      <a:pt x="1739" y="1144"/>
                    </a:lnTo>
                    <a:lnTo>
                      <a:pt x="1739" y="1224"/>
                    </a:lnTo>
                    <a:lnTo>
                      <a:pt x="1768" y="1247"/>
                    </a:lnTo>
                    <a:lnTo>
                      <a:pt x="1739" y="1299"/>
                    </a:lnTo>
                    <a:lnTo>
                      <a:pt x="1716" y="1328"/>
                    </a:lnTo>
                    <a:lnTo>
                      <a:pt x="1739" y="1328"/>
                    </a:lnTo>
                    <a:lnTo>
                      <a:pt x="1768" y="1431"/>
                    </a:lnTo>
                    <a:lnTo>
                      <a:pt x="1716" y="1483"/>
                    </a:lnTo>
                    <a:lnTo>
                      <a:pt x="1687" y="1535"/>
                    </a:lnTo>
                    <a:lnTo>
                      <a:pt x="1739" y="1560"/>
                    </a:lnTo>
                    <a:lnTo>
                      <a:pt x="1739" y="1639"/>
                    </a:lnTo>
                    <a:lnTo>
                      <a:pt x="1687" y="1639"/>
                    </a:lnTo>
                    <a:lnTo>
                      <a:pt x="1635" y="1560"/>
                    </a:lnTo>
                    <a:lnTo>
                      <a:pt x="1664" y="1535"/>
                    </a:lnTo>
                    <a:lnTo>
                      <a:pt x="1635" y="1508"/>
                    </a:lnTo>
                    <a:lnTo>
                      <a:pt x="1635" y="1456"/>
                    </a:lnTo>
                    <a:lnTo>
                      <a:pt x="1560" y="1456"/>
                    </a:lnTo>
                    <a:lnTo>
                      <a:pt x="1480" y="1380"/>
                    </a:lnTo>
                    <a:lnTo>
                      <a:pt x="1376" y="1328"/>
                    </a:lnTo>
                    <a:lnTo>
                      <a:pt x="1376" y="1276"/>
                    </a:lnTo>
                    <a:lnTo>
                      <a:pt x="1324" y="1224"/>
                    </a:lnTo>
                    <a:lnTo>
                      <a:pt x="1376" y="1144"/>
                    </a:lnTo>
                    <a:lnTo>
                      <a:pt x="1480" y="1067"/>
                    </a:lnTo>
                    <a:lnTo>
                      <a:pt x="1455" y="1040"/>
                    </a:lnTo>
                    <a:lnTo>
                      <a:pt x="1507" y="1040"/>
                    </a:lnTo>
                    <a:lnTo>
                      <a:pt x="1507" y="1015"/>
                    </a:lnTo>
                    <a:lnTo>
                      <a:pt x="1532" y="1040"/>
                    </a:lnTo>
                    <a:lnTo>
                      <a:pt x="1560" y="988"/>
                    </a:lnTo>
                    <a:lnTo>
                      <a:pt x="1532" y="963"/>
                    </a:lnTo>
                    <a:lnTo>
                      <a:pt x="1583" y="963"/>
                    </a:lnTo>
                    <a:lnTo>
                      <a:pt x="1612" y="936"/>
                    </a:lnTo>
                    <a:lnTo>
                      <a:pt x="1664" y="936"/>
                    </a:lnTo>
                    <a:lnTo>
                      <a:pt x="1687" y="885"/>
                    </a:lnTo>
                    <a:lnTo>
                      <a:pt x="1687" y="808"/>
                    </a:lnTo>
                    <a:lnTo>
                      <a:pt x="1635" y="779"/>
                    </a:lnTo>
                    <a:lnTo>
                      <a:pt x="1635" y="833"/>
                    </a:lnTo>
                    <a:lnTo>
                      <a:pt x="1583" y="885"/>
                    </a:lnTo>
                    <a:lnTo>
                      <a:pt x="1560" y="833"/>
                    </a:lnTo>
                    <a:lnTo>
                      <a:pt x="1583" y="833"/>
                    </a:lnTo>
                    <a:lnTo>
                      <a:pt x="1560" y="808"/>
                    </a:lnTo>
                    <a:lnTo>
                      <a:pt x="1507" y="808"/>
                    </a:lnTo>
                    <a:lnTo>
                      <a:pt x="1507" y="756"/>
                    </a:lnTo>
                    <a:lnTo>
                      <a:pt x="1507" y="727"/>
                    </a:lnTo>
                    <a:lnTo>
                      <a:pt x="1480" y="675"/>
                    </a:lnTo>
                    <a:lnTo>
                      <a:pt x="1455" y="704"/>
                    </a:lnTo>
                    <a:lnTo>
                      <a:pt x="1480" y="779"/>
                    </a:lnTo>
                    <a:lnTo>
                      <a:pt x="1455" y="808"/>
                    </a:lnTo>
                    <a:lnTo>
                      <a:pt x="1455" y="833"/>
                    </a:lnTo>
                    <a:lnTo>
                      <a:pt x="1428" y="833"/>
                    </a:lnTo>
                    <a:lnTo>
                      <a:pt x="1403" y="833"/>
                    </a:lnTo>
                    <a:lnTo>
                      <a:pt x="1428" y="756"/>
                    </a:lnTo>
                    <a:lnTo>
                      <a:pt x="1376" y="756"/>
                    </a:lnTo>
                    <a:lnTo>
                      <a:pt x="1376" y="779"/>
                    </a:lnTo>
                    <a:lnTo>
                      <a:pt x="1351" y="808"/>
                    </a:lnTo>
                    <a:lnTo>
                      <a:pt x="1299" y="756"/>
                    </a:lnTo>
                    <a:lnTo>
                      <a:pt x="1248" y="727"/>
                    </a:lnTo>
                    <a:lnTo>
                      <a:pt x="1248" y="756"/>
                    </a:lnTo>
                    <a:lnTo>
                      <a:pt x="1196" y="756"/>
                    </a:lnTo>
                    <a:lnTo>
                      <a:pt x="1196" y="727"/>
                    </a:lnTo>
                    <a:lnTo>
                      <a:pt x="1115" y="675"/>
                    </a:lnTo>
                    <a:lnTo>
                      <a:pt x="1115" y="652"/>
                    </a:lnTo>
                    <a:lnTo>
                      <a:pt x="1063" y="624"/>
                    </a:lnTo>
                    <a:lnTo>
                      <a:pt x="1063" y="572"/>
                    </a:lnTo>
                    <a:lnTo>
                      <a:pt x="1012" y="520"/>
                    </a:lnTo>
                    <a:lnTo>
                      <a:pt x="988" y="497"/>
                    </a:lnTo>
                    <a:lnTo>
                      <a:pt x="988" y="468"/>
                    </a:lnTo>
                    <a:lnTo>
                      <a:pt x="937" y="468"/>
                    </a:lnTo>
                    <a:lnTo>
                      <a:pt x="937" y="443"/>
                    </a:lnTo>
                    <a:lnTo>
                      <a:pt x="831" y="416"/>
                    </a:lnTo>
                    <a:lnTo>
                      <a:pt x="804" y="340"/>
                    </a:lnTo>
                    <a:lnTo>
                      <a:pt x="804" y="313"/>
                    </a:lnTo>
                    <a:lnTo>
                      <a:pt x="779" y="261"/>
                    </a:lnTo>
                    <a:lnTo>
                      <a:pt x="779" y="236"/>
                    </a:lnTo>
                    <a:lnTo>
                      <a:pt x="728" y="184"/>
                    </a:lnTo>
                    <a:lnTo>
                      <a:pt x="752" y="133"/>
                    </a:lnTo>
                    <a:lnTo>
                      <a:pt x="701" y="81"/>
                    </a:lnTo>
                    <a:lnTo>
                      <a:pt x="624" y="52"/>
                    </a:lnTo>
                    <a:lnTo>
                      <a:pt x="543" y="0"/>
                    </a:lnTo>
                    <a:lnTo>
                      <a:pt x="491" y="81"/>
                    </a:lnTo>
                    <a:lnTo>
                      <a:pt x="491" y="104"/>
                    </a:lnTo>
                    <a:lnTo>
                      <a:pt x="468" y="133"/>
                    </a:lnTo>
                    <a:lnTo>
                      <a:pt x="440" y="104"/>
                    </a:lnTo>
                    <a:lnTo>
                      <a:pt x="440" y="81"/>
                    </a:lnTo>
                    <a:lnTo>
                      <a:pt x="417" y="29"/>
                    </a:lnTo>
                    <a:lnTo>
                      <a:pt x="365" y="29"/>
                    </a:lnTo>
                    <a:lnTo>
                      <a:pt x="365" y="104"/>
                    </a:lnTo>
                    <a:lnTo>
                      <a:pt x="365" y="156"/>
                    </a:lnTo>
                    <a:lnTo>
                      <a:pt x="336" y="156"/>
                    </a:lnTo>
                    <a:lnTo>
                      <a:pt x="259" y="104"/>
                    </a:lnTo>
                    <a:lnTo>
                      <a:pt x="129" y="156"/>
                    </a:lnTo>
                    <a:lnTo>
                      <a:pt x="129" y="209"/>
                    </a:lnTo>
                    <a:lnTo>
                      <a:pt x="156" y="209"/>
                    </a:lnTo>
                    <a:lnTo>
                      <a:pt x="104" y="261"/>
                    </a:lnTo>
                    <a:lnTo>
                      <a:pt x="129" y="261"/>
                    </a:lnTo>
                    <a:lnTo>
                      <a:pt x="129" y="288"/>
                    </a:lnTo>
                    <a:lnTo>
                      <a:pt x="156" y="340"/>
                    </a:lnTo>
                    <a:lnTo>
                      <a:pt x="0" y="340"/>
                    </a:lnTo>
                    <a:lnTo>
                      <a:pt x="181" y="392"/>
                    </a:lnTo>
                    <a:lnTo>
                      <a:pt x="284" y="416"/>
                    </a:lnTo>
                    <a:lnTo>
                      <a:pt x="232" y="443"/>
                    </a:lnTo>
                    <a:lnTo>
                      <a:pt x="259" y="468"/>
                    </a:lnTo>
                    <a:lnTo>
                      <a:pt x="336" y="468"/>
                    </a:lnTo>
                    <a:lnTo>
                      <a:pt x="336" y="443"/>
                    </a:lnTo>
                    <a:lnTo>
                      <a:pt x="365" y="468"/>
                    </a:lnTo>
                    <a:lnTo>
                      <a:pt x="365" y="497"/>
                    </a:lnTo>
                    <a:lnTo>
                      <a:pt x="365" y="549"/>
                    </a:lnTo>
                    <a:lnTo>
                      <a:pt x="417" y="572"/>
                    </a:lnTo>
                    <a:lnTo>
                      <a:pt x="417" y="624"/>
                    </a:lnTo>
                    <a:lnTo>
                      <a:pt x="417" y="675"/>
                    </a:lnTo>
                    <a:lnTo>
                      <a:pt x="417" y="727"/>
                    </a:lnTo>
                    <a:lnTo>
                      <a:pt x="440" y="756"/>
                    </a:lnTo>
                    <a:lnTo>
                      <a:pt x="468" y="756"/>
                    </a:lnTo>
                    <a:lnTo>
                      <a:pt x="417" y="860"/>
                    </a:lnTo>
                    <a:lnTo>
                      <a:pt x="417" y="963"/>
                    </a:lnTo>
                    <a:lnTo>
                      <a:pt x="388" y="1015"/>
                    </a:lnTo>
                    <a:lnTo>
                      <a:pt x="417" y="1040"/>
                    </a:lnTo>
                    <a:lnTo>
                      <a:pt x="388" y="1172"/>
                    </a:lnTo>
                    <a:lnTo>
                      <a:pt x="388" y="1224"/>
                    </a:lnTo>
                    <a:lnTo>
                      <a:pt x="388" y="1247"/>
                    </a:lnTo>
                    <a:lnTo>
                      <a:pt x="388" y="1299"/>
                    </a:lnTo>
                    <a:lnTo>
                      <a:pt x="388" y="1328"/>
                    </a:lnTo>
                    <a:lnTo>
                      <a:pt x="417" y="1328"/>
                    </a:lnTo>
                    <a:lnTo>
                      <a:pt x="365" y="1299"/>
                    </a:lnTo>
                    <a:lnTo>
                      <a:pt x="336" y="1276"/>
                    </a:lnTo>
                    <a:lnTo>
                      <a:pt x="313" y="1351"/>
                    </a:lnTo>
                    <a:lnTo>
                      <a:pt x="259" y="1456"/>
                    </a:lnTo>
                    <a:lnTo>
                      <a:pt x="207" y="1483"/>
                    </a:lnTo>
                    <a:lnTo>
                      <a:pt x="181" y="1535"/>
                    </a:lnTo>
                    <a:lnTo>
                      <a:pt x="129" y="1560"/>
                    </a:lnTo>
                    <a:lnTo>
                      <a:pt x="104" y="1715"/>
                    </a:lnTo>
                    <a:lnTo>
                      <a:pt x="104" y="1871"/>
                    </a:lnTo>
                    <a:lnTo>
                      <a:pt x="156" y="1974"/>
                    </a:lnTo>
                    <a:lnTo>
                      <a:pt x="181" y="2003"/>
                    </a:lnTo>
                    <a:lnTo>
                      <a:pt x="181" y="2026"/>
                    </a:lnTo>
                    <a:lnTo>
                      <a:pt x="156" y="2080"/>
                    </a:lnTo>
                    <a:lnTo>
                      <a:pt x="207" y="2262"/>
                    </a:lnTo>
                    <a:lnTo>
                      <a:pt x="181" y="2287"/>
                    </a:lnTo>
                    <a:lnTo>
                      <a:pt x="156" y="2262"/>
                    </a:lnTo>
                    <a:lnTo>
                      <a:pt x="181" y="2368"/>
                    </a:lnTo>
                    <a:lnTo>
                      <a:pt x="207" y="2391"/>
                    </a:lnTo>
                    <a:lnTo>
                      <a:pt x="181" y="2471"/>
                    </a:lnTo>
                    <a:lnTo>
                      <a:pt x="259" y="2575"/>
                    </a:lnTo>
                    <a:lnTo>
                      <a:pt x="259" y="2523"/>
                    </a:lnTo>
                    <a:lnTo>
                      <a:pt x="232" y="2494"/>
                    </a:lnTo>
                    <a:lnTo>
                      <a:pt x="232" y="2442"/>
                    </a:lnTo>
                    <a:lnTo>
                      <a:pt x="232" y="2314"/>
                    </a:lnTo>
                    <a:lnTo>
                      <a:pt x="232" y="2287"/>
                    </a:lnTo>
                    <a:lnTo>
                      <a:pt x="207" y="2210"/>
                    </a:lnTo>
                    <a:lnTo>
                      <a:pt x="232" y="2132"/>
                    </a:lnTo>
                    <a:lnTo>
                      <a:pt x="284" y="2183"/>
                    </a:lnTo>
                    <a:lnTo>
                      <a:pt x="313" y="2339"/>
                    </a:lnTo>
                    <a:lnTo>
                      <a:pt x="313" y="2391"/>
                    </a:lnTo>
                    <a:lnTo>
                      <a:pt x="313" y="2442"/>
                    </a:lnTo>
                    <a:lnTo>
                      <a:pt x="336" y="2442"/>
                    </a:lnTo>
                    <a:lnTo>
                      <a:pt x="313" y="2471"/>
                    </a:lnTo>
                    <a:lnTo>
                      <a:pt x="365" y="2523"/>
                    </a:lnTo>
                    <a:lnTo>
                      <a:pt x="417" y="2703"/>
                    </a:lnTo>
                    <a:lnTo>
                      <a:pt x="365" y="2782"/>
                    </a:lnTo>
                    <a:lnTo>
                      <a:pt x="417" y="2914"/>
                    </a:lnTo>
                    <a:lnTo>
                      <a:pt x="491" y="2937"/>
                    </a:lnTo>
                    <a:lnTo>
                      <a:pt x="543" y="3014"/>
                    </a:lnTo>
                    <a:lnTo>
                      <a:pt x="728" y="3118"/>
                    </a:lnTo>
                    <a:lnTo>
                      <a:pt x="804" y="3118"/>
                    </a:lnTo>
                    <a:lnTo>
                      <a:pt x="856" y="3173"/>
                    </a:lnTo>
                    <a:lnTo>
                      <a:pt x="883" y="3225"/>
                    </a:lnTo>
                    <a:lnTo>
                      <a:pt x="937" y="3273"/>
                    </a:lnTo>
                    <a:lnTo>
                      <a:pt x="1012" y="3302"/>
                    </a:lnTo>
                    <a:lnTo>
                      <a:pt x="1040" y="3331"/>
                    </a:lnTo>
                    <a:lnTo>
                      <a:pt x="1115" y="3354"/>
                    </a:lnTo>
                    <a:lnTo>
                      <a:pt x="1167" y="3457"/>
                    </a:lnTo>
                    <a:lnTo>
                      <a:pt x="1167" y="3486"/>
                    </a:lnTo>
                    <a:lnTo>
                      <a:pt x="1167" y="3509"/>
                    </a:lnTo>
                    <a:lnTo>
                      <a:pt x="1272" y="3615"/>
                    </a:lnTo>
                    <a:lnTo>
                      <a:pt x="1299" y="3615"/>
                    </a:lnTo>
                    <a:lnTo>
                      <a:pt x="1403" y="3693"/>
                    </a:lnTo>
                    <a:lnTo>
                      <a:pt x="1428" y="3666"/>
                    </a:lnTo>
                    <a:lnTo>
                      <a:pt x="1376" y="3641"/>
                    </a:lnTo>
                    <a:lnTo>
                      <a:pt x="1428" y="3641"/>
                    </a:lnTo>
                    <a:lnTo>
                      <a:pt x="1455" y="3615"/>
                    </a:lnTo>
                    <a:lnTo>
                      <a:pt x="1507" y="3666"/>
                    </a:lnTo>
                    <a:lnTo>
                      <a:pt x="1480" y="3693"/>
                    </a:lnTo>
                    <a:lnTo>
                      <a:pt x="1532" y="3718"/>
                    </a:lnTo>
                    <a:lnTo>
                      <a:pt x="1560" y="3718"/>
                    </a:lnTo>
                    <a:lnTo>
                      <a:pt x="1560" y="3641"/>
                    </a:lnTo>
                    <a:lnTo>
                      <a:pt x="1455" y="3590"/>
                    </a:lnTo>
                    <a:lnTo>
                      <a:pt x="1351" y="3615"/>
                    </a:lnTo>
                    <a:lnTo>
                      <a:pt x="1299" y="3561"/>
                    </a:lnTo>
                    <a:lnTo>
                      <a:pt x="1248" y="3538"/>
                    </a:lnTo>
                    <a:lnTo>
                      <a:pt x="1272" y="3486"/>
                    </a:lnTo>
                    <a:lnTo>
                      <a:pt x="1272" y="3430"/>
                    </a:lnTo>
                    <a:lnTo>
                      <a:pt x="1351" y="3354"/>
                    </a:lnTo>
                    <a:lnTo>
                      <a:pt x="1351" y="3331"/>
                    </a:lnTo>
                    <a:lnTo>
                      <a:pt x="1299" y="3302"/>
                    </a:lnTo>
                    <a:lnTo>
                      <a:pt x="1299" y="3273"/>
                    </a:lnTo>
                    <a:lnTo>
                      <a:pt x="1272" y="3273"/>
                    </a:lnTo>
                    <a:lnTo>
                      <a:pt x="1115" y="3250"/>
                    </a:lnTo>
                    <a:lnTo>
                      <a:pt x="1092" y="3225"/>
                    </a:lnTo>
                    <a:lnTo>
                      <a:pt x="1115" y="3198"/>
                    </a:lnTo>
                    <a:lnTo>
                      <a:pt x="1144" y="3146"/>
                    </a:lnTo>
                    <a:lnTo>
                      <a:pt x="1144" y="3118"/>
                    </a:lnTo>
                    <a:lnTo>
                      <a:pt x="1167" y="3095"/>
                    </a:lnTo>
                    <a:lnTo>
                      <a:pt x="1167" y="3043"/>
                    </a:lnTo>
                    <a:lnTo>
                      <a:pt x="1196" y="3014"/>
                    </a:lnTo>
                    <a:lnTo>
                      <a:pt x="1196" y="2962"/>
                    </a:lnTo>
                    <a:lnTo>
                      <a:pt x="1167" y="2962"/>
                    </a:lnTo>
                    <a:lnTo>
                      <a:pt x="1063" y="2962"/>
                    </a:lnTo>
                    <a:lnTo>
                      <a:pt x="1040" y="3043"/>
                    </a:lnTo>
                    <a:lnTo>
                      <a:pt x="1012" y="3070"/>
                    </a:lnTo>
                    <a:lnTo>
                      <a:pt x="937" y="3043"/>
                    </a:lnTo>
                    <a:lnTo>
                      <a:pt x="883" y="3043"/>
                    </a:lnTo>
                    <a:lnTo>
                      <a:pt x="779" y="2991"/>
                    </a:lnTo>
                    <a:lnTo>
                      <a:pt x="752" y="2962"/>
                    </a:lnTo>
                    <a:lnTo>
                      <a:pt x="779" y="2886"/>
                    </a:lnTo>
                    <a:lnTo>
                      <a:pt x="728" y="2807"/>
                    </a:lnTo>
                    <a:lnTo>
                      <a:pt x="752" y="2755"/>
                    </a:lnTo>
                    <a:lnTo>
                      <a:pt x="804" y="2703"/>
                    </a:lnTo>
                    <a:lnTo>
                      <a:pt x="804" y="2678"/>
                    </a:lnTo>
                    <a:lnTo>
                      <a:pt x="831" y="2575"/>
                    </a:lnTo>
                    <a:lnTo>
                      <a:pt x="856" y="2546"/>
                    </a:lnTo>
                    <a:lnTo>
                      <a:pt x="1012" y="2546"/>
                    </a:lnTo>
                    <a:lnTo>
                      <a:pt x="1040" y="2546"/>
                    </a:lnTo>
                    <a:lnTo>
                      <a:pt x="1063" y="2575"/>
                    </a:lnTo>
                    <a:lnTo>
                      <a:pt x="1092" y="2575"/>
                    </a:lnTo>
                    <a:lnTo>
                      <a:pt x="1115" y="2598"/>
                    </a:lnTo>
                    <a:lnTo>
                      <a:pt x="1144" y="2598"/>
                    </a:lnTo>
                    <a:lnTo>
                      <a:pt x="1144" y="2627"/>
                    </a:lnTo>
                    <a:lnTo>
                      <a:pt x="1167" y="2598"/>
                    </a:lnTo>
                    <a:lnTo>
                      <a:pt x="1196" y="2627"/>
                    </a:lnTo>
                    <a:lnTo>
                      <a:pt x="1219" y="2627"/>
                    </a:lnTo>
                    <a:lnTo>
                      <a:pt x="1196" y="2575"/>
                    </a:lnTo>
                    <a:lnTo>
                      <a:pt x="1272" y="2598"/>
                    </a:lnTo>
                    <a:lnTo>
                      <a:pt x="1299" y="2575"/>
                    </a:lnTo>
                    <a:lnTo>
                      <a:pt x="1351" y="2598"/>
                    </a:lnTo>
                    <a:lnTo>
                      <a:pt x="1351" y="2627"/>
                    </a:lnTo>
                    <a:lnTo>
                      <a:pt x="1455" y="2650"/>
                    </a:lnTo>
                    <a:lnTo>
                      <a:pt x="1480" y="2678"/>
                    </a:lnTo>
                    <a:lnTo>
                      <a:pt x="1455" y="2782"/>
                    </a:lnTo>
                    <a:lnTo>
                      <a:pt x="1480" y="2782"/>
                    </a:lnTo>
                    <a:lnTo>
                      <a:pt x="1507" y="2834"/>
                    </a:lnTo>
                    <a:lnTo>
                      <a:pt x="1507" y="2886"/>
                    </a:lnTo>
                    <a:lnTo>
                      <a:pt x="1560" y="2859"/>
                    </a:lnTo>
                    <a:lnTo>
                      <a:pt x="1587" y="2807"/>
                    </a:lnTo>
                    <a:lnTo>
                      <a:pt x="1560" y="2627"/>
                    </a:lnTo>
                    <a:lnTo>
                      <a:pt x="1560" y="2575"/>
                    </a:lnTo>
                    <a:lnTo>
                      <a:pt x="1743" y="2442"/>
                    </a:lnTo>
                    <a:lnTo>
                      <a:pt x="1768" y="2391"/>
                    </a:lnTo>
                    <a:lnTo>
                      <a:pt x="1819" y="2391"/>
                    </a:lnTo>
                    <a:lnTo>
                      <a:pt x="1768" y="2314"/>
                    </a:lnTo>
                    <a:lnTo>
                      <a:pt x="1791" y="2287"/>
                    </a:lnTo>
                    <a:lnTo>
                      <a:pt x="1791" y="2314"/>
                    </a:lnTo>
                    <a:lnTo>
                      <a:pt x="1819" y="2287"/>
                    </a:lnTo>
                    <a:lnTo>
                      <a:pt x="1819" y="2262"/>
                    </a:lnTo>
                    <a:lnTo>
                      <a:pt x="1871" y="2210"/>
                    </a:lnTo>
                    <a:lnTo>
                      <a:pt x="1900" y="2158"/>
                    </a:lnTo>
                    <a:lnTo>
                      <a:pt x="1975" y="2132"/>
                    </a:lnTo>
                    <a:lnTo>
                      <a:pt x="2027" y="2080"/>
                    </a:lnTo>
                    <a:lnTo>
                      <a:pt x="2004" y="2107"/>
                    </a:lnTo>
                    <a:lnTo>
                      <a:pt x="2004" y="2080"/>
                    </a:lnTo>
                    <a:lnTo>
                      <a:pt x="2078" y="2003"/>
                    </a:lnTo>
                    <a:lnTo>
                      <a:pt x="2107" y="2003"/>
                    </a:lnTo>
                    <a:lnTo>
                      <a:pt x="2130" y="1974"/>
                    </a:lnTo>
                    <a:lnTo>
                      <a:pt x="2107" y="1974"/>
                    </a:lnTo>
                    <a:lnTo>
                      <a:pt x="2078" y="1922"/>
                    </a:lnTo>
                    <a:lnTo>
                      <a:pt x="2107" y="1974"/>
                    </a:lnTo>
                    <a:lnTo>
                      <a:pt x="2130" y="1974"/>
                    </a:lnTo>
                    <a:lnTo>
                      <a:pt x="2184" y="1951"/>
                    </a:lnTo>
                    <a:lnTo>
                      <a:pt x="2159" y="2003"/>
                    </a:lnTo>
                    <a:lnTo>
                      <a:pt x="2184" y="2026"/>
                    </a:lnTo>
                    <a:lnTo>
                      <a:pt x="2236" y="1951"/>
                    </a:lnTo>
                    <a:lnTo>
                      <a:pt x="2288" y="1922"/>
                    </a:lnTo>
                    <a:lnTo>
                      <a:pt x="2184" y="1871"/>
                    </a:lnTo>
                    <a:lnTo>
                      <a:pt x="2184" y="1848"/>
                    </a:lnTo>
                  </a:path>
                </a:pathLst>
              </a:custGeom>
              <a:grpFill/>
              <a:ln w="9525" cmpd="sng">
                <a:solidFill>
                  <a:schemeClr val="accent6"/>
                </a:solidFill>
                <a:prstDash val="solid"/>
                <a:round/>
                <a:headEnd/>
                <a:tailEnd/>
              </a:ln>
            </p:spPr>
            <p:txBody>
              <a:bodyPr/>
              <a:lstStyle/>
              <a:p>
                <a:endParaRPr lang="en-US" sz="1400">
                  <a:latin typeface="+mn-lt"/>
                </a:endParaRPr>
              </a:p>
            </p:txBody>
          </p:sp>
          <p:sp>
            <p:nvSpPr>
              <p:cNvPr id="17" name="Freeform 12"/>
              <p:cNvSpPr>
                <a:spLocks/>
              </p:cNvSpPr>
              <p:nvPr/>
            </p:nvSpPr>
            <p:spPr bwMode="gray">
              <a:xfrm>
                <a:off x="2052637" y="842007"/>
                <a:ext cx="577850" cy="495300"/>
              </a:xfrm>
              <a:custGeom>
                <a:avLst/>
                <a:gdLst>
                  <a:gd name="T0" fmla="*/ 26 w 364"/>
                  <a:gd name="T1" fmla="*/ 286 h 312"/>
                  <a:gd name="T2" fmla="*/ 52 w 364"/>
                  <a:gd name="T3" fmla="*/ 286 h 312"/>
                  <a:gd name="T4" fmla="*/ 78 w 364"/>
                  <a:gd name="T5" fmla="*/ 312 h 312"/>
                  <a:gd name="T6" fmla="*/ 118 w 364"/>
                  <a:gd name="T7" fmla="*/ 312 h 312"/>
                  <a:gd name="T8" fmla="*/ 144 w 364"/>
                  <a:gd name="T9" fmla="*/ 300 h 312"/>
                  <a:gd name="T10" fmla="*/ 118 w 364"/>
                  <a:gd name="T11" fmla="*/ 260 h 312"/>
                  <a:gd name="T12" fmla="*/ 156 w 364"/>
                  <a:gd name="T13" fmla="*/ 274 h 312"/>
                  <a:gd name="T14" fmla="*/ 208 w 364"/>
                  <a:gd name="T15" fmla="*/ 248 h 312"/>
                  <a:gd name="T16" fmla="*/ 208 w 364"/>
                  <a:gd name="T17" fmla="*/ 208 h 312"/>
                  <a:gd name="T18" fmla="*/ 222 w 364"/>
                  <a:gd name="T19" fmla="*/ 182 h 312"/>
                  <a:gd name="T20" fmla="*/ 222 w 364"/>
                  <a:gd name="T21" fmla="*/ 170 h 312"/>
                  <a:gd name="T22" fmla="*/ 286 w 364"/>
                  <a:gd name="T23" fmla="*/ 144 h 312"/>
                  <a:gd name="T24" fmla="*/ 338 w 364"/>
                  <a:gd name="T25" fmla="*/ 92 h 312"/>
                  <a:gd name="T26" fmla="*/ 338 w 364"/>
                  <a:gd name="T27" fmla="*/ 78 h 312"/>
                  <a:gd name="T28" fmla="*/ 352 w 364"/>
                  <a:gd name="T29" fmla="*/ 66 h 312"/>
                  <a:gd name="T30" fmla="*/ 352 w 364"/>
                  <a:gd name="T31" fmla="*/ 40 h 312"/>
                  <a:gd name="T32" fmla="*/ 300 w 364"/>
                  <a:gd name="T33" fmla="*/ 14 h 312"/>
                  <a:gd name="T34" fmla="*/ 274 w 364"/>
                  <a:gd name="T35" fmla="*/ 0 h 312"/>
                  <a:gd name="T36" fmla="*/ 234 w 364"/>
                  <a:gd name="T37" fmla="*/ 0 h 312"/>
                  <a:gd name="T38" fmla="*/ 208 w 364"/>
                  <a:gd name="T39" fmla="*/ 26 h 312"/>
                  <a:gd name="T40" fmla="*/ 170 w 364"/>
                  <a:gd name="T41" fmla="*/ 14 h 312"/>
                  <a:gd name="T42" fmla="*/ 170 w 364"/>
                  <a:gd name="T43" fmla="*/ 40 h 312"/>
                  <a:gd name="T44" fmla="*/ 144 w 364"/>
                  <a:gd name="T45" fmla="*/ 66 h 312"/>
                  <a:gd name="T46" fmla="*/ 156 w 364"/>
                  <a:gd name="T47" fmla="*/ 92 h 312"/>
                  <a:gd name="T48" fmla="*/ 182 w 364"/>
                  <a:gd name="T49" fmla="*/ 104 h 312"/>
                  <a:gd name="T50" fmla="*/ 196 w 364"/>
                  <a:gd name="T51" fmla="*/ 118 h 312"/>
                  <a:gd name="T52" fmla="*/ 156 w 364"/>
                  <a:gd name="T53" fmla="*/ 118 h 312"/>
                  <a:gd name="T54" fmla="*/ 144 w 364"/>
                  <a:gd name="T55" fmla="*/ 156 h 312"/>
                  <a:gd name="T56" fmla="*/ 130 w 364"/>
                  <a:gd name="T57" fmla="*/ 144 h 312"/>
                  <a:gd name="T58" fmla="*/ 118 w 364"/>
                  <a:gd name="T59" fmla="*/ 144 h 312"/>
                  <a:gd name="T60" fmla="*/ 104 w 364"/>
                  <a:gd name="T61" fmla="*/ 170 h 312"/>
                  <a:gd name="T62" fmla="*/ 104 w 364"/>
                  <a:gd name="T63" fmla="*/ 196 h 312"/>
                  <a:gd name="T64" fmla="*/ 104 w 364"/>
                  <a:gd name="T65" fmla="*/ 208 h 312"/>
                  <a:gd name="T66" fmla="*/ 66 w 364"/>
                  <a:gd name="T67" fmla="*/ 222 h 312"/>
                  <a:gd name="T68" fmla="*/ 52 w 364"/>
                  <a:gd name="T69" fmla="*/ 234 h 312"/>
                  <a:gd name="T70" fmla="*/ 52 w 364"/>
                  <a:gd name="T71" fmla="*/ 234 h 312"/>
                  <a:gd name="T72" fmla="*/ 26 w 364"/>
                  <a:gd name="T73" fmla="*/ 248 h 312"/>
                  <a:gd name="T74" fmla="*/ 14 w 364"/>
                  <a:gd name="T75" fmla="*/ 234 h 312"/>
                  <a:gd name="T76" fmla="*/ 0 w 364"/>
                  <a:gd name="T77" fmla="*/ 260 h 312"/>
                  <a:gd name="T78" fmla="*/ 14 w 364"/>
                  <a:gd name="T79" fmla="*/ 274 h 312"/>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364"/>
                  <a:gd name="T121" fmla="*/ 0 h 312"/>
                  <a:gd name="T122" fmla="*/ 364 w 364"/>
                  <a:gd name="T123" fmla="*/ 312 h 312"/>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364" h="312">
                    <a:moveTo>
                      <a:pt x="14" y="274"/>
                    </a:moveTo>
                    <a:lnTo>
                      <a:pt x="26" y="286"/>
                    </a:lnTo>
                    <a:lnTo>
                      <a:pt x="40" y="286"/>
                    </a:lnTo>
                    <a:lnTo>
                      <a:pt x="52" y="286"/>
                    </a:lnTo>
                    <a:lnTo>
                      <a:pt x="52" y="312"/>
                    </a:lnTo>
                    <a:lnTo>
                      <a:pt x="78" y="312"/>
                    </a:lnTo>
                    <a:lnTo>
                      <a:pt x="92" y="312"/>
                    </a:lnTo>
                    <a:lnTo>
                      <a:pt x="118" y="312"/>
                    </a:lnTo>
                    <a:lnTo>
                      <a:pt x="130" y="312"/>
                    </a:lnTo>
                    <a:lnTo>
                      <a:pt x="144" y="300"/>
                    </a:lnTo>
                    <a:lnTo>
                      <a:pt x="118" y="274"/>
                    </a:lnTo>
                    <a:lnTo>
                      <a:pt x="118" y="260"/>
                    </a:lnTo>
                    <a:lnTo>
                      <a:pt x="156" y="286"/>
                    </a:lnTo>
                    <a:lnTo>
                      <a:pt x="156" y="274"/>
                    </a:lnTo>
                    <a:lnTo>
                      <a:pt x="182" y="248"/>
                    </a:lnTo>
                    <a:lnTo>
                      <a:pt x="208" y="248"/>
                    </a:lnTo>
                    <a:lnTo>
                      <a:pt x="222" y="234"/>
                    </a:lnTo>
                    <a:lnTo>
                      <a:pt x="208" y="208"/>
                    </a:lnTo>
                    <a:lnTo>
                      <a:pt x="208" y="196"/>
                    </a:lnTo>
                    <a:lnTo>
                      <a:pt x="222" y="182"/>
                    </a:lnTo>
                    <a:lnTo>
                      <a:pt x="208" y="170"/>
                    </a:lnTo>
                    <a:lnTo>
                      <a:pt x="222" y="170"/>
                    </a:lnTo>
                    <a:lnTo>
                      <a:pt x="248" y="156"/>
                    </a:lnTo>
                    <a:lnTo>
                      <a:pt x="286" y="144"/>
                    </a:lnTo>
                    <a:lnTo>
                      <a:pt x="312" y="118"/>
                    </a:lnTo>
                    <a:lnTo>
                      <a:pt x="338" y="92"/>
                    </a:lnTo>
                    <a:lnTo>
                      <a:pt x="352" y="92"/>
                    </a:lnTo>
                    <a:lnTo>
                      <a:pt x="338" y="78"/>
                    </a:lnTo>
                    <a:lnTo>
                      <a:pt x="338" y="66"/>
                    </a:lnTo>
                    <a:lnTo>
                      <a:pt x="352" y="66"/>
                    </a:lnTo>
                    <a:lnTo>
                      <a:pt x="364" y="52"/>
                    </a:lnTo>
                    <a:lnTo>
                      <a:pt x="352" y="40"/>
                    </a:lnTo>
                    <a:lnTo>
                      <a:pt x="326" y="26"/>
                    </a:lnTo>
                    <a:lnTo>
                      <a:pt x="300" y="14"/>
                    </a:lnTo>
                    <a:lnTo>
                      <a:pt x="300" y="26"/>
                    </a:lnTo>
                    <a:lnTo>
                      <a:pt x="274" y="0"/>
                    </a:lnTo>
                    <a:lnTo>
                      <a:pt x="260" y="0"/>
                    </a:lnTo>
                    <a:lnTo>
                      <a:pt x="234" y="0"/>
                    </a:lnTo>
                    <a:lnTo>
                      <a:pt x="222" y="14"/>
                    </a:lnTo>
                    <a:lnTo>
                      <a:pt x="208" y="26"/>
                    </a:lnTo>
                    <a:lnTo>
                      <a:pt x="196" y="14"/>
                    </a:lnTo>
                    <a:lnTo>
                      <a:pt x="170" y="14"/>
                    </a:lnTo>
                    <a:lnTo>
                      <a:pt x="170" y="26"/>
                    </a:lnTo>
                    <a:lnTo>
                      <a:pt x="170" y="40"/>
                    </a:lnTo>
                    <a:lnTo>
                      <a:pt x="156" y="40"/>
                    </a:lnTo>
                    <a:lnTo>
                      <a:pt x="144" y="66"/>
                    </a:lnTo>
                    <a:lnTo>
                      <a:pt x="144" y="78"/>
                    </a:lnTo>
                    <a:lnTo>
                      <a:pt x="156" y="92"/>
                    </a:lnTo>
                    <a:lnTo>
                      <a:pt x="182" y="92"/>
                    </a:lnTo>
                    <a:lnTo>
                      <a:pt x="182" y="104"/>
                    </a:lnTo>
                    <a:lnTo>
                      <a:pt x="208" y="104"/>
                    </a:lnTo>
                    <a:lnTo>
                      <a:pt x="196" y="118"/>
                    </a:lnTo>
                    <a:lnTo>
                      <a:pt x="170" y="118"/>
                    </a:lnTo>
                    <a:lnTo>
                      <a:pt x="156" y="118"/>
                    </a:lnTo>
                    <a:lnTo>
                      <a:pt x="144" y="130"/>
                    </a:lnTo>
                    <a:lnTo>
                      <a:pt x="144" y="156"/>
                    </a:lnTo>
                    <a:lnTo>
                      <a:pt x="156" y="156"/>
                    </a:lnTo>
                    <a:lnTo>
                      <a:pt x="130" y="144"/>
                    </a:lnTo>
                    <a:lnTo>
                      <a:pt x="118" y="130"/>
                    </a:lnTo>
                    <a:lnTo>
                      <a:pt x="118" y="144"/>
                    </a:lnTo>
                    <a:lnTo>
                      <a:pt x="104" y="156"/>
                    </a:lnTo>
                    <a:lnTo>
                      <a:pt x="104" y="170"/>
                    </a:lnTo>
                    <a:lnTo>
                      <a:pt x="118" y="182"/>
                    </a:lnTo>
                    <a:lnTo>
                      <a:pt x="104" y="196"/>
                    </a:lnTo>
                    <a:lnTo>
                      <a:pt x="118" y="208"/>
                    </a:lnTo>
                    <a:lnTo>
                      <a:pt x="104" y="208"/>
                    </a:lnTo>
                    <a:lnTo>
                      <a:pt x="92" y="208"/>
                    </a:lnTo>
                    <a:lnTo>
                      <a:pt x="66" y="222"/>
                    </a:lnTo>
                    <a:lnTo>
                      <a:pt x="52" y="222"/>
                    </a:lnTo>
                    <a:lnTo>
                      <a:pt x="52" y="234"/>
                    </a:lnTo>
                    <a:lnTo>
                      <a:pt x="66" y="234"/>
                    </a:lnTo>
                    <a:lnTo>
                      <a:pt x="52" y="234"/>
                    </a:lnTo>
                    <a:lnTo>
                      <a:pt x="40" y="234"/>
                    </a:lnTo>
                    <a:lnTo>
                      <a:pt x="26" y="248"/>
                    </a:lnTo>
                    <a:lnTo>
                      <a:pt x="26" y="222"/>
                    </a:lnTo>
                    <a:lnTo>
                      <a:pt x="14" y="234"/>
                    </a:lnTo>
                    <a:lnTo>
                      <a:pt x="14" y="248"/>
                    </a:lnTo>
                    <a:lnTo>
                      <a:pt x="0" y="260"/>
                    </a:lnTo>
                    <a:lnTo>
                      <a:pt x="14" y="274"/>
                    </a:lnTo>
                    <a:close/>
                  </a:path>
                </a:pathLst>
              </a:custGeom>
              <a:grpFill/>
              <a:ln w="9525" cmpd="sng">
                <a:solidFill>
                  <a:schemeClr val="accent6"/>
                </a:solidFill>
                <a:prstDash val="solid"/>
                <a:round/>
                <a:headEnd/>
                <a:tailEnd/>
              </a:ln>
            </p:spPr>
            <p:txBody>
              <a:bodyPr/>
              <a:lstStyle/>
              <a:p>
                <a:endParaRPr lang="en-US" sz="1400">
                  <a:latin typeface="+mn-lt"/>
                </a:endParaRPr>
              </a:p>
            </p:txBody>
          </p:sp>
          <p:sp>
            <p:nvSpPr>
              <p:cNvPr id="18" name="Freeform 13"/>
              <p:cNvSpPr>
                <a:spLocks/>
              </p:cNvSpPr>
              <p:nvPr/>
            </p:nvSpPr>
            <p:spPr bwMode="gray">
              <a:xfrm>
                <a:off x="2052637" y="946782"/>
                <a:ext cx="146050" cy="206375"/>
              </a:xfrm>
              <a:custGeom>
                <a:avLst/>
                <a:gdLst>
                  <a:gd name="T0" fmla="*/ 26 w 92"/>
                  <a:gd name="T1" fmla="*/ 130 h 130"/>
                  <a:gd name="T2" fmla="*/ 52 w 92"/>
                  <a:gd name="T3" fmla="*/ 116 h 130"/>
                  <a:gd name="T4" fmla="*/ 66 w 92"/>
                  <a:gd name="T5" fmla="*/ 116 h 130"/>
                  <a:gd name="T6" fmla="*/ 66 w 92"/>
                  <a:gd name="T7" fmla="*/ 104 h 130"/>
                  <a:gd name="T8" fmla="*/ 78 w 92"/>
                  <a:gd name="T9" fmla="*/ 90 h 130"/>
                  <a:gd name="T10" fmla="*/ 78 w 92"/>
                  <a:gd name="T11" fmla="*/ 78 h 130"/>
                  <a:gd name="T12" fmla="*/ 78 w 92"/>
                  <a:gd name="T13" fmla="*/ 52 h 130"/>
                  <a:gd name="T14" fmla="*/ 92 w 92"/>
                  <a:gd name="T15" fmla="*/ 52 h 130"/>
                  <a:gd name="T16" fmla="*/ 92 w 92"/>
                  <a:gd name="T17" fmla="*/ 38 h 130"/>
                  <a:gd name="T18" fmla="*/ 78 w 92"/>
                  <a:gd name="T19" fmla="*/ 52 h 130"/>
                  <a:gd name="T20" fmla="*/ 78 w 92"/>
                  <a:gd name="T21" fmla="*/ 26 h 130"/>
                  <a:gd name="T22" fmla="*/ 78 w 92"/>
                  <a:gd name="T23" fmla="*/ 0 h 130"/>
                  <a:gd name="T24" fmla="*/ 66 w 92"/>
                  <a:gd name="T25" fmla="*/ 0 h 130"/>
                  <a:gd name="T26" fmla="*/ 66 w 92"/>
                  <a:gd name="T27" fmla="*/ 12 h 130"/>
                  <a:gd name="T28" fmla="*/ 40 w 92"/>
                  <a:gd name="T29" fmla="*/ 12 h 130"/>
                  <a:gd name="T30" fmla="*/ 26 w 92"/>
                  <a:gd name="T31" fmla="*/ 38 h 130"/>
                  <a:gd name="T32" fmla="*/ 26 w 92"/>
                  <a:gd name="T33" fmla="*/ 52 h 130"/>
                  <a:gd name="T34" fmla="*/ 26 w 92"/>
                  <a:gd name="T35" fmla="*/ 64 h 130"/>
                  <a:gd name="T36" fmla="*/ 14 w 92"/>
                  <a:gd name="T37" fmla="*/ 64 h 130"/>
                  <a:gd name="T38" fmla="*/ 40 w 92"/>
                  <a:gd name="T39" fmla="*/ 78 h 130"/>
                  <a:gd name="T40" fmla="*/ 40 w 92"/>
                  <a:gd name="T41" fmla="*/ 90 h 130"/>
                  <a:gd name="T42" fmla="*/ 14 w 92"/>
                  <a:gd name="T43" fmla="*/ 90 h 130"/>
                  <a:gd name="T44" fmla="*/ 0 w 92"/>
                  <a:gd name="T45" fmla="*/ 104 h 130"/>
                  <a:gd name="T46" fmla="*/ 0 w 92"/>
                  <a:gd name="T47" fmla="*/ 116 h 130"/>
                  <a:gd name="T48" fmla="*/ 0 w 92"/>
                  <a:gd name="T49" fmla="*/ 130 h 130"/>
                  <a:gd name="T50" fmla="*/ 14 w 92"/>
                  <a:gd name="T51" fmla="*/ 130 h 130"/>
                  <a:gd name="T52" fmla="*/ 26 w 92"/>
                  <a:gd name="T53" fmla="*/ 130 h 130"/>
                  <a:gd name="T54" fmla="*/ 26 w 92"/>
                  <a:gd name="T55" fmla="*/ 130 h 130"/>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92"/>
                  <a:gd name="T85" fmla="*/ 0 h 130"/>
                  <a:gd name="T86" fmla="*/ 92 w 92"/>
                  <a:gd name="T87" fmla="*/ 130 h 130"/>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92" h="130">
                    <a:moveTo>
                      <a:pt x="26" y="130"/>
                    </a:moveTo>
                    <a:lnTo>
                      <a:pt x="52" y="116"/>
                    </a:lnTo>
                    <a:lnTo>
                      <a:pt x="66" y="116"/>
                    </a:lnTo>
                    <a:lnTo>
                      <a:pt x="66" y="104"/>
                    </a:lnTo>
                    <a:lnTo>
                      <a:pt x="78" y="90"/>
                    </a:lnTo>
                    <a:lnTo>
                      <a:pt x="78" y="78"/>
                    </a:lnTo>
                    <a:lnTo>
                      <a:pt x="78" y="52"/>
                    </a:lnTo>
                    <a:lnTo>
                      <a:pt x="92" y="52"/>
                    </a:lnTo>
                    <a:lnTo>
                      <a:pt x="92" y="38"/>
                    </a:lnTo>
                    <a:lnTo>
                      <a:pt x="78" y="52"/>
                    </a:lnTo>
                    <a:lnTo>
                      <a:pt x="78" y="26"/>
                    </a:lnTo>
                    <a:lnTo>
                      <a:pt x="78" y="0"/>
                    </a:lnTo>
                    <a:lnTo>
                      <a:pt x="66" y="0"/>
                    </a:lnTo>
                    <a:lnTo>
                      <a:pt x="66" y="12"/>
                    </a:lnTo>
                    <a:lnTo>
                      <a:pt x="40" y="12"/>
                    </a:lnTo>
                    <a:lnTo>
                      <a:pt x="26" y="38"/>
                    </a:lnTo>
                    <a:lnTo>
                      <a:pt x="26" y="52"/>
                    </a:lnTo>
                    <a:lnTo>
                      <a:pt x="26" y="64"/>
                    </a:lnTo>
                    <a:lnTo>
                      <a:pt x="14" y="64"/>
                    </a:lnTo>
                    <a:lnTo>
                      <a:pt x="40" y="78"/>
                    </a:lnTo>
                    <a:lnTo>
                      <a:pt x="40" y="90"/>
                    </a:lnTo>
                    <a:lnTo>
                      <a:pt x="14" y="90"/>
                    </a:lnTo>
                    <a:lnTo>
                      <a:pt x="0" y="104"/>
                    </a:lnTo>
                    <a:lnTo>
                      <a:pt x="0" y="116"/>
                    </a:lnTo>
                    <a:lnTo>
                      <a:pt x="0" y="130"/>
                    </a:lnTo>
                    <a:lnTo>
                      <a:pt x="14" y="130"/>
                    </a:lnTo>
                    <a:lnTo>
                      <a:pt x="26" y="130"/>
                    </a:lnTo>
                    <a:close/>
                  </a:path>
                </a:pathLst>
              </a:custGeom>
              <a:grpFill/>
              <a:ln w="9525" cmpd="sng">
                <a:solidFill>
                  <a:schemeClr val="accent6"/>
                </a:solidFill>
                <a:prstDash val="solid"/>
                <a:round/>
                <a:headEnd/>
                <a:tailEnd/>
              </a:ln>
            </p:spPr>
            <p:txBody>
              <a:bodyPr/>
              <a:lstStyle/>
              <a:p>
                <a:endParaRPr lang="en-US" sz="1400">
                  <a:latin typeface="+mn-lt"/>
                </a:endParaRPr>
              </a:p>
            </p:txBody>
          </p:sp>
          <p:sp>
            <p:nvSpPr>
              <p:cNvPr id="19" name="Freeform 14"/>
              <p:cNvSpPr>
                <a:spLocks/>
              </p:cNvSpPr>
              <p:nvPr/>
            </p:nvSpPr>
            <p:spPr bwMode="gray">
              <a:xfrm>
                <a:off x="2033587" y="965832"/>
                <a:ext cx="19050" cy="41275"/>
              </a:xfrm>
              <a:custGeom>
                <a:avLst/>
                <a:gdLst>
                  <a:gd name="T0" fmla="*/ 12 w 12"/>
                  <a:gd name="T1" fmla="*/ 14 h 26"/>
                  <a:gd name="T2" fmla="*/ 0 w 12"/>
                  <a:gd name="T3" fmla="*/ 0 h 26"/>
                  <a:gd name="T4" fmla="*/ 0 w 12"/>
                  <a:gd name="T5" fmla="*/ 26 h 26"/>
                  <a:gd name="T6" fmla="*/ 12 w 12"/>
                  <a:gd name="T7" fmla="*/ 26 h 26"/>
                  <a:gd name="T8" fmla="*/ 12 w 12"/>
                  <a:gd name="T9" fmla="*/ 14 h 26"/>
                  <a:gd name="T10" fmla="*/ 12 w 12"/>
                  <a:gd name="T11" fmla="*/ 14 h 26"/>
                  <a:gd name="T12" fmla="*/ 0 60000 65536"/>
                  <a:gd name="T13" fmla="*/ 0 60000 65536"/>
                  <a:gd name="T14" fmla="*/ 0 60000 65536"/>
                  <a:gd name="T15" fmla="*/ 0 60000 65536"/>
                  <a:gd name="T16" fmla="*/ 0 60000 65536"/>
                  <a:gd name="T17" fmla="*/ 0 60000 65536"/>
                  <a:gd name="T18" fmla="*/ 0 w 12"/>
                  <a:gd name="T19" fmla="*/ 0 h 26"/>
                  <a:gd name="T20" fmla="*/ 12 w 12"/>
                  <a:gd name="T21" fmla="*/ 26 h 26"/>
                </a:gdLst>
                <a:ahLst/>
                <a:cxnLst>
                  <a:cxn ang="T12">
                    <a:pos x="T0" y="T1"/>
                  </a:cxn>
                  <a:cxn ang="T13">
                    <a:pos x="T2" y="T3"/>
                  </a:cxn>
                  <a:cxn ang="T14">
                    <a:pos x="T4" y="T5"/>
                  </a:cxn>
                  <a:cxn ang="T15">
                    <a:pos x="T6" y="T7"/>
                  </a:cxn>
                  <a:cxn ang="T16">
                    <a:pos x="T8" y="T9"/>
                  </a:cxn>
                  <a:cxn ang="T17">
                    <a:pos x="T10" y="T11"/>
                  </a:cxn>
                </a:cxnLst>
                <a:rect l="T18" t="T19" r="T20" b="T21"/>
                <a:pathLst>
                  <a:path w="12" h="26">
                    <a:moveTo>
                      <a:pt x="12" y="14"/>
                    </a:moveTo>
                    <a:lnTo>
                      <a:pt x="0" y="0"/>
                    </a:lnTo>
                    <a:lnTo>
                      <a:pt x="0" y="26"/>
                    </a:lnTo>
                    <a:lnTo>
                      <a:pt x="12" y="26"/>
                    </a:lnTo>
                    <a:lnTo>
                      <a:pt x="12" y="14"/>
                    </a:lnTo>
                    <a:close/>
                  </a:path>
                </a:pathLst>
              </a:custGeom>
              <a:grpFill/>
              <a:ln w="9525" cmpd="sng">
                <a:solidFill>
                  <a:schemeClr val="accent6"/>
                </a:solidFill>
                <a:prstDash val="solid"/>
                <a:round/>
                <a:headEnd/>
                <a:tailEnd/>
              </a:ln>
            </p:spPr>
            <p:txBody>
              <a:bodyPr/>
              <a:lstStyle/>
              <a:p>
                <a:endParaRPr lang="en-US" sz="1400">
                  <a:latin typeface="+mn-lt"/>
                </a:endParaRPr>
              </a:p>
            </p:txBody>
          </p:sp>
          <p:sp>
            <p:nvSpPr>
              <p:cNvPr id="20" name="Freeform 15"/>
              <p:cNvSpPr>
                <a:spLocks/>
              </p:cNvSpPr>
              <p:nvPr/>
            </p:nvSpPr>
            <p:spPr bwMode="gray">
              <a:xfrm>
                <a:off x="1887537" y="1213482"/>
                <a:ext cx="165100" cy="269875"/>
              </a:xfrm>
              <a:custGeom>
                <a:avLst/>
                <a:gdLst>
                  <a:gd name="T0" fmla="*/ 78 w 104"/>
                  <a:gd name="T1" fmla="*/ 170 h 170"/>
                  <a:gd name="T2" fmla="*/ 92 w 104"/>
                  <a:gd name="T3" fmla="*/ 156 h 170"/>
                  <a:gd name="T4" fmla="*/ 92 w 104"/>
                  <a:gd name="T5" fmla="*/ 144 h 170"/>
                  <a:gd name="T6" fmla="*/ 104 w 104"/>
                  <a:gd name="T7" fmla="*/ 130 h 170"/>
                  <a:gd name="T8" fmla="*/ 104 w 104"/>
                  <a:gd name="T9" fmla="*/ 118 h 170"/>
                  <a:gd name="T10" fmla="*/ 92 w 104"/>
                  <a:gd name="T11" fmla="*/ 104 h 170"/>
                  <a:gd name="T12" fmla="*/ 66 w 104"/>
                  <a:gd name="T13" fmla="*/ 104 h 170"/>
                  <a:gd name="T14" fmla="*/ 52 w 104"/>
                  <a:gd name="T15" fmla="*/ 92 h 170"/>
                  <a:gd name="T16" fmla="*/ 38 w 104"/>
                  <a:gd name="T17" fmla="*/ 78 h 170"/>
                  <a:gd name="T18" fmla="*/ 38 w 104"/>
                  <a:gd name="T19" fmla="*/ 66 h 170"/>
                  <a:gd name="T20" fmla="*/ 52 w 104"/>
                  <a:gd name="T21" fmla="*/ 66 h 170"/>
                  <a:gd name="T22" fmla="*/ 66 w 104"/>
                  <a:gd name="T23" fmla="*/ 66 h 170"/>
                  <a:gd name="T24" fmla="*/ 52 w 104"/>
                  <a:gd name="T25" fmla="*/ 52 h 170"/>
                  <a:gd name="T26" fmla="*/ 66 w 104"/>
                  <a:gd name="T27" fmla="*/ 52 h 170"/>
                  <a:gd name="T28" fmla="*/ 66 w 104"/>
                  <a:gd name="T29" fmla="*/ 26 h 170"/>
                  <a:gd name="T30" fmla="*/ 52 w 104"/>
                  <a:gd name="T31" fmla="*/ 26 h 170"/>
                  <a:gd name="T32" fmla="*/ 38 w 104"/>
                  <a:gd name="T33" fmla="*/ 26 h 170"/>
                  <a:gd name="T34" fmla="*/ 26 w 104"/>
                  <a:gd name="T35" fmla="*/ 26 h 170"/>
                  <a:gd name="T36" fmla="*/ 26 w 104"/>
                  <a:gd name="T37" fmla="*/ 14 h 170"/>
                  <a:gd name="T38" fmla="*/ 0 w 104"/>
                  <a:gd name="T39" fmla="*/ 0 h 170"/>
                  <a:gd name="T40" fmla="*/ 0 w 104"/>
                  <a:gd name="T41" fmla="*/ 14 h 170"/>
                  <a:gd name="T42" fmla="*/ 0 w 104"/>
                  <a:gd name="T43" fmla="*/ 40 h 170"/>
                  <a:gd name="T44" fmla="*/ 12 w 104"/>
                  <a:gd name="T45" fmla="*/ 40 h 170"/>
                  <a:gd name="T46" fmla="*/ 12 w 104"/>
                  <a:gd name="T47" fmla="*/ 52 h 170"/>
                  <a:gd name="T48" fmla="*/ 12 w 104"/>
                  <a:gd name="T49" fmla="*/ 66 h 170"/>
                  <a:gd name="T50" fmla="*/ 12 w 104"/>
                  <a:gd name="T51" fmla="*/ 92 h 170"/>
                  <a:gd name="T52" fmla="*/ 12 w 104"/>
                  <a:gd name="T53" fmla="*/ 104 h 170"/>
                  <a:gd name="T54" fmla="*/ 26 w 104"/>
                  <a:gd name="T55" fmla="*/ 118 h 170"/>
                  <a:gd name="T56" fmla="*/ 26 w 104"/>
                  <a:gd name="T57" fmla="*/ 130 h 170"/>
                  <a:gd name="T58" fmla="*/ 26 w 104"/>
                  <a:gd name="T59" fmla="*/ 144 h 170"/>
                  <a:gd name="T60" fmla="*/ 38 w 104"/>
                  <a:gd name="T61" fmla="*/ 170 h 170"/>
                  <a:gd name="T62" fmla="*/ 52 w 104"/>
                  <a:gd name="T63" fmla="*/ 170 h 170"/>
                  <a:gd name="T64" fmla="*/ 78 w 104"/>
                  <a:gd name="T65" fmla="*/ 170 h 170"/>
                  <a:gd name="T66" fmla="*/ 78 w 104"/>
                  <a:gd name="T67" fmla="*/ 170 h 170"/>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104"/>
                  <a:gd name="T103" fmla="*/ 0 h 170"/>
                  <a:gd name="T104" fmla="*/ 104 w 104"/>
                  <a:gd name="T105" fmla="*/ 170 h 170"/>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104" h="170">
                    <a:moveTo>
                      <a:pt x="78" y="170"/>
                    </a:moveTo>
                    <a:lnTo>
                      <a:pt x="92" y="156"/>
                    </a:lnTo>
                    <a:lnTo>
                      <a:pt x="92" y="144"/>
                    </a:lnTo>
                    <a:lnTo>
                      <a:pt x="104" y="130"/>
                    </a:lnTo>
                    <a:lnTo>
                      <a:pt x="104" y="118"/>
                    </a:lnTo>
                    <a:lnTo>
                      <a:pt x="92" y="104"/>
                    </a:lnTo>
                    <a:lnTo>
                      <a:pt x="66" y="104"/>
                    </a:lnTo>
                    <a:lnTo>
                      <a:pt x="52" y="92"/>
                    </a:lnTo>
                    <a:lnTo>
                      <a:pt x="38" y="78"/>
                    </a:lnTo>
                    <a:lnTo>
                      <a:pt x="38" y="66"/>
                    </a:lnTo>
                    <a:lnTo>
                      <a:pt x="52" y="66"/>
                    </a:lnTo>
                    <a:lnTo>
                      <a:pt x="66" y="66"/>
                    </a:lnTo>
                    <a:lnTo>
                      <a:pt x="52" y="52"/>
                    </a:lnTo>
                    <a:lnTo>
                      <a:pt x="66" y="52"/>
                    </a:lnTo>
                    <a:lnTo>
                      <a:pt x="66" y="26"/>
                    </a:lnTo>
                    <a:lnTo>
                      <a:pt x="52" y="26"/>
                    </a:lnTo>
                    <a:lnTo>
                      <a:pt x="38" y="26"/>
                    </a:lnTo>
                    <a:lnTo>
                      <a:pt x="26" y="26"/>
                    </a:lnTo>
                    <a:lnTo>
                      <a:pt x="26" y="14"/>
                    </a:lnTo>
                    <a:lnTo>
                      <a:pt x="0" y="0"/>
                    </a:lnTo>
                    <a:lnTo>
                      <a:pt x="0" y="14"/>
                    </a:lnTo>
                    <a:lnTo>
                      <a:pt x="0" y="40"/>
                    </a:lnTo>
                    <a:lnTo>
                      <a:pt x="12" y="40"/>
                    </a:lnTo>
                    <a:lnTo>
                      <a:pt x="12" y="52"/>
                    </a:lnTo>
                    <a:lnTo>
                      <a:pt x="12" y="66"/>
                    </a:lnTo>
                    <a:lnTo>
                      <a:pt x="12" y="92"/>
                    </a:lnTo>
                    <a:lnTo>
                      <a:pt x="12" y="104"/>
                    </a:lnTo>
                    <a:lnTo>
                      <a:pt x="26" y="118"/>
                    </a:lnTo>
                    <a:lnTo>
                      <a:pt x="26" y="130"/>
                    </a:lnTo>
                    <a:lnTo>
                      <a:pt x="26" y="144"/>
                    </a:lnTo>
                    <a:lnTo>
                      <a:pt x="38" y="170"/>
                    </a:lnTo>
                    <a:lnTo>
                      <a:pt x="52" y="170"/>
                    </a:lnTo>
                    <a:lnTo>
                      <a:pt x="78" y="170"/>
                    </a:lnTo>
                    <a:close/>
                  </a:path>
                </a:pathLst>
              </a:custGeom>
              <a:grpFill/>
              <a:ln w="9525" cmpd="sng">
                <a:solidFill>
                  <a:schemeClr val="accent6"/>
                </a:solidFill>
                <a:prstDash val="solid"/>
                <a:round/>
                <a:headEnd/>
                <a:tailEnd/>
              </a:ln>
            </p:spPr>
            <p:txBody>
              <a:bodyPr/>
              <a:lstStyle/>
              <a:p>
                <a:endParaRPr lang="en-US" sz="1400">
                  <a:latin typeface="+mn-lt"/>
                </a:endParaRPr>
              </a:p>
            </p:txBody>
          </p:sp>
          <p:sp>
            <p:nvSpPr>
              <p:cNvPr id="21" name="Freeform 16"/>
              <p:cNvSpPr>
                <a:spLocks/>
              </p:cNvSpPr>
              <p:nvPr/>
            </p:nvSpPr>
            <p:spPr bwMode="gray">
              <a:xfrm>
                <a:off x="1992312" y="1172207"/>
                <a:ext cx="41275" cy="41275"/>
              </a:xfrm>
              <a:custGeom>
                <a:avLst/>
                <a:gdLst>
                  <a:gd name="T0" fmla="*/ 12 w 26"/>
                  <a:gd name="T1" fmla="*/ 14 h 26"/>
                  <a:gd name="T2" fmla="*/ 0 w 26"/>
                  <a:gd name="T3" fmla="*/ 14 h 26"/>
                  <a:gd name="T4" fmla="*/ 0 w 26"/>
                  <a:gd name="T5" fmla="*/ 26 h 26"/>
                  <a:gd name="T6" fmla="*/ 12 w 26"/>
                  <a:gd name="T7" fmla="*/ 26 h 26"/>
                  <a:gd name="T8" fmla="*/ 26 w 26"/>
                  <a:gd name="T9" fmla="*/ 0 h 26"/>
                  <a:gd name="T10" fmla="*/ 12 w 26"/>
                  <a:gd name="T11" fmla="*/ 14 h 26"/>
                  <a:gd name="T12" fmla="*/ 12 w 26"/>
                  <a:gd name="T13" fmla="*/ 14 h 26"/>
                  <a:gd name="T14" fmla="*/ 0 60000 65536"/>
                  <a:gd name="T15" fmla="*/ 0 60000 65536"/>
                  <a:gd name="T16" fmla="*/ 0 60000 65536"/>
                  <a:gd name="T17" fmla="*/ 0 60000 65536"/>
                  <a:gd name="T18" fmla="*/ 0 60000 65536"/>
                  <a:gd name="T19" fmla="*/ 0 60000 65536"/>
                  <a:gd name="T20" fmla="*/ 0 60000 65536"/>
                  <a:gd name="T21" fmla="*/ 0 w 26"/>
                  <a:gd name="T22" fmla="*/ 0 h 26"/>
                  <a:gd name="T23" fmla="*/ 26 w 26"/>
                  <a:gd name="T24" fmla="*/ 26 h 2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6" h="26">
                    <a:moveTo>
                      <a:pt x="12" y="14"/>
                    </a:moveTo>
                    <a:lnTo>
                      <a:pt x="0" y="14"/>
                    </a:lnTo>
                    <a:lnTo>
                      <a:pt x="0" y="26"/>
                    </a:lnTo>
                    <a:lnTo>
                      <a:pt x="12" y="26"/>
                    </a:lnTo>
                    <a:lnTo>
                      <a:pt x="26" y="0"/>
                    </a:lnTo>
                    <a:lnTo>
                      <a:pt x="12" y="14"/>
                    </a:lnTo>
                    <a:close/>
                  </a:path>
                </a:pathLst>
              </a:custGeom>
              <a:grpFill/>
              <a:ln w="9525" cmpd="sng">
                <a:solidFill>
                  <a:schemeClr val="accent6"/>
                </a:solidFill>
                <a:prstDash val="solid"/>
                <a:round/>
                <a:headEnd/>
                <a:tailEnd/>
              </a:ln>
            </p:spPr>
            <p:txBody>
              <a:bodyPr/>
              <a:lstStyle/>
              <a:p>
                <a:endParaRPr lang="en-US" sz="1400">
                  <a:latin typeface="+mn-lt"/>
                </a:endParaRPr>
              </a:p>
            </p:txBody>
          </p:sp>
          <p:sp>
            <p:nvSpPr>
              <p:cNvPr id="22" name="Freeform 17"/>
              <p:cNvSpPr>
                <a:spLocks/>
              </p:cNvSpPr>
              <p:nvPr/>
            </p:nvSpPr>
            <p:spPr bwMode="gray">
              <a:xfrm>
                <a:off x="1846262" y="1029332"/>
                <a:ext cx="60325" cy="82550"/>
              </a:xfrm>
              <a:custGeom>
                <a:avLst/>
                <a:gdLst>
                  <a:gd name="T0" fmla="*/ 0 w 38"/>
                  <a:gd name="T1" fmla="*/ 12 h 52"/>
                  <a:gd name="T2" fmla="*/ 0 w 38"/>
                  <a:gd name="T3" fmla="*/ 38 h 52"/>
                  <a:gd name="T4" fmla="*/ 12 w 38"/>
                  <a:gd name="T5" fmla="*/ 52 h 52"/>
                  <a:gd name="T6" fmla="*/ 26 w 38"/>
                  <a:gd name="T7" fmla="*/ 38 h 52"/>
                  <a:gd name="T8" fmla="*/ 38 w 38"/>
                  <a:gd name="T9" fmla="*/ 26 h 52"/>
                  <a:gd name="T10" fmla="*/ 26 w 38"/>
                  <a:gd name="T11" fmla="*/ 0 h 52"/>
                  <a:gd name="T12" fmla="*/ 0 w 38"/>
                  <a:gd name="T13" fmla="*/ 12 h 52"/>
                  <a:gd name="T14" fmla="*/ 0 w 38"/>
                  <a:gd name="T15" fmla="*/ 12 h 52"/>
                  <a:gd name="T16" fmla="*/ 0 60000 65536"/>
                  <a:gd name="T17" fmla="*/ 0 60000 65536"/>
                  <a:gd name="T18" fmla="*/ 0 60000 65536"/>
                  <a:gd name="T19" fmla="*/ 0 60000 65536"/>
                  <a:gd name="T20" fmla="*/ 0 60000 65536"/>
                  <a:gd name="T21" fmla="*/ 0 60000 65536"/>
                  <a:gd name="T22" fmla="*/ 0 60000 65536"/>
                  <a:gd name="T23" fmla="*/ 0 60000 65536"/>
                  <a:gd name="T24" fmla="*/ 0 w 38"/>
                  <a:gd name="T25" fmla="*/ 0 h 52"/>
                  <a:gd name="T26" fmla="*/ 38 w 38"/>
                  <a:gd name="T27" fmla="*/ 52 h 5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8" h="52">
                    <a:moveTo>
                      <a:pt x="0" y="12"/>
                    </a:moveTo>
                    <a:lnTo>
                      <a:pt x="0" y="38"/>
                    </a:lnTo>
                    <a:lnTo>
                      <a:pt x="12" y="52"/>
                    </a:lnTo>
                    <a:lnTo>
                      <a:pt x="26" y="38"/>
                    </a:lnTo>
                    <a:lnTo>
                      <a:pt x="38" y="26"/>
                    </a:lnTo>
                    <a:lnTo>
                      <a:pt x="26" y="0"/>
                    </a:lnTo>
                    <a:lnTo>
                      <a:pt x="0" y="12"/>
                    </a:lnTo>
                    <a:close/>
                  </a:path>
                </a:pathLst>
              </a:custGeom>
              <a:grpFill/>
              <a:ln w="9525" cmpd="sng">
                <a:solidFill>
                  <a:schemeClr val="accent6"/>
                </a:solidFill>
                <a:prstDash val="solid"/>
                <a:round/>
                <a:headEnd/>
                <a:tailEnd/>
              </a:ln>
            </p:spPr>
            <p:txBody>
              <a:bodyPr/>
              <a:lstStyle/>
              <a:p>
                <a:endParaRPr lang="en-US" sz="1400">
                  <a:latin typeface="+mn-lt"/>
                </a:endParaRPr>
              </a:p>
            </p:txBody>
          </p:sp>
          <p:sp>
            <p:nvSpPr>
              <p:cNvPr id="23" name="Freeform 18"/>
              <p:cNvSpPr>
                <a:spLocks/>
              </p:cNvSpPr>
              <p:nvPr/>
            </p:nvSpPr>
            <p:spPr bwMode="gray">
              <a:xfrm>
                <a:off x="1763712" y="988057"/>
                <a:ext cx="60325" cy="82550"/>
              </a:xfrm>
              <a:custGeom>
                <a:avLst/>
                <a:gdLst>
                  <a:gd name="T0" fmla="*/ 26 w 38"/>
                  <a:gd name="T1" fmla="*/ 0 h 52"/>
                  <a:gd name="T2" fmla="*/ 12 w 38"/>
                  <a:gd name="T3" fmla="*/ 12 h 52"/>
                  <a:gd name="T4" fmla="*/ 0 w 38"/>
                  <a:gd name="T5" fmla="*/ 12 h 52"/>
                  <a:gd name="T6" fmla="*/ 0 w 38"/>
                  <a:gd name="T7" fmla="*/ 26 h 52"/>
                  <a:gd name="T8" fmla="*/ 12 w 38"/>
                  <a:gd name="T9" fmla="*/ 38 h 52"/>
                  <a:gd name="T10" fmla="*/ 0 w 38"/>
                  <a:gd name="T11" fmla="*/ 52 h 52"/>
                  <a:gd name="T12" fmla="*/ 12 w 38"/>
                  <a:gd name="T13" fmla="*/ 52 h 52"/>
                  <a:gd name="T14" fmla="*/ 12 w 38"/>
                  <a:gd name="T15" fmla="*/ 38 h 52"/>
                  <a:gd name="T16" fmla="*/ 38 w 38"/>
                  <a:gd name="T17" fmla="*/ 26 h 52"/>
                  <a:gd name="T18" fmla="*/ 38 w 38"/>
                  <a:gd name="T19" fmla="*/ 12 h 52"/>
                  <a:gd name="T20" fmla="*/ 26 w 38"/>
                  <a:gd name="T21" fmla="*/ 0 h 52"/>
                  <a:gd name="T22" fmla="*/ 26 w 38"/>
                  <a:gd name="T23" fmla="*/ 0 h 5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38"/>
                  <a:gd name="T37" fmla="*/ 0 h 52"/>
                  <a:gd name="T38" fmla="*/ 38 w 38"/>
                  <a:gd name="T39" fmla="*/ 52 h 52"/>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38" h="52">
                    <a:moveTo>
                      <a:pt x="26" y="0"/>
                    </a:moveTo>
                    <a:lnTo>
                      <a:pt x="12" y="12"/>
                    </a:lnTo>
                    <a:lnTo>
                      <a:pt x="0" y="12"/>
                    </a:lnTo>
                    <a:lnTo>
                      <a:pt x="0" y="26"/>
                    </a:lnTo>
                    <a:lnTo>
                      <a:pt x="12" y="38"/>
                    </a:lnTo>
                    <a:lnTo>
                      <a:pt x="0" y="52"/>
                    </a:lnTo>
                    <a:lnTo>
                      <a:pt x="12" y="52"/>
                    </a:lnTo>
                    <a:lnTo>
                      <a:pt x="12" y="38"/>
                    </a:lnTo>
                    <a:lnTo>
                      <a:pt x="38" y="26"/>
                    </a:lnTo>
                    <a:lnTo>
                      <a:pt x="38" y="12"/>
                    </a:lnTo>
                    <a:lnTo>
                      <a:pt x="26" y="0"/>
                    </a:lnTo>
                    <a:close/>
                  </a:path>
                </a:pathLst>
              </a:custGeom>
              <a:grpFill/>
              <a:ln w="9525" cmpd="sng">
                <a:solidFill>
                  <a:schemeClr val="accent6"/>
                </a:solidFill>
                <a:prstDash val="solid"/>
                <a:round/>
                <a:headEnd/>
                <a:tailEnd/>
              </a:ln>
            </p:spPr>
            <p:txBody>
              <a:bodyPr/>
              <a:lstStyle/>
              <a:p>
                <a:endParaRPr lang="en-US" sz="1400">
                  <a:latin typeface="+mn-lt"/>
                </a:endParaRPr>
              </a:p>
            </p:txBody>
          </p:sp>
          <p:sp>
            <p:nvSpPr>
              <p:cNvPr id="24" name="Freeform 19"/>
              <p:cNvSpPr>
                <a:spLocks/>
              </p:cNvSpPr>
              <p:nvPr/>
            </p:nvSpPr>
            <p:spPr bwMode="gray">
              <a:xfrm>
                <a:off x="1576386" y="3402645"/>
                <a:ext cx="392113" cy="160338"/>
              </a:xfrm>
              <a:custGeom>
                <a:avLst/>
                <a:gdLst>
                  <a:gd name="T0" fmla="*/ 131 w 495"/>
                  <a:gd name="T1" fmla="*/ 48 h 204"/>
                  <a:gd name="T2" fmla="*/ 236 w 495"/>
                  <a:gd name="T3" fmla="*/ 100 h 204"/>
                  <a:gd name="T4" fmla="*/ 263 w 495"/>
                  <a:gd name="T5" fmla="*/ 100 h 204"/>
                  <a:gd name="T6" fmla="*/ 311 w 495"/>
                  <a:gd name="T7" fmla="*/ 156 h 204"/>
                  <a:gd name="T8" fmla="*/ 311 w 495"/>
                  <a:gd name="T9" fmla="*/ 181 h 204"/>
                  <a:gd name="T10" fmla="*/ 467 w 495"/>
                  <a:gd name="T11" fmla="*/ 204 h 204"/>
                  <a:gd name="T12" fmla="*/ 495 w 495"/>
                  <a:gd name="T13" fmla="*/ 181 h 204"/>
                  <a:gd name="T14" fmla="*/ 444 w 495"/>
                  <a:gd name="T15" fmla="*/ 156 h 204"/>
                  <a:gd name="T16" fmla="*/ 444 w 495"/>
                  <a:gd name="T17" fmla="*/ 129 h 204"/>
                  <a:gd name="T18" fmla="*/ 340 w 495"/>
                  <a:gd name="T19" fmla="*/ 100 h 204"/>
                  <a:gd name="T20" fmla="*/ 288 w 495"/>
                  <a:gd name="T21" fmla="*/ 48 h 204"/>
                  <a:gd name="T22" fmla="*/ 131 w 495"/>
                  <a:gd name="T23" fmla="*/ 0 h 204"/>
                  <a:gd name="T24" fmla="*/ 27 w 495"/>
                  <a:gd name="T25" fmla="*/ 23 h 204"/>
                  <a:gd name="T26" fmla="*/ 0 w 495"/>
                  <a:gd name="T27" fmla="*/ 48 h 204"/>
                  <a:gd name="T28" fmla="*/ 52 w 495"/>
                  <a:gd name="T29" fmla="*/ 48 h 204"/>
                  <a:gd name="T30" fmla="*/ 104 w 495"/>
                  <a:gd name="T31" fmla="*/ 23 h 204"/>
                  <a:gd name="T32" fmla="*/ 131 w 495"/>
                  <a:gd name="T33" fmla="*/ 48 h 204"/>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495"/>
                  <a:gd name="T52" fmla="*/ 0 h 204"/>
                  <a:gd name="T53" fmla="*/ 495 w 495"/>
                  <a:gd name="T54" fmla="*/ 204 h 204"/>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495" h="204">
                    <a:moveTo>
                      <a:pt x="131" y="48"/>
                    </a:moveTo>
                    <a:lnTo>
                      <a:pt x="236" y="100"/>
                    </a:lnTo>
                    <a:lnTo>
                      <a:pt x="263" y="100"/>
                    </a:lnTo>
                    <a:lnTo>
                      <a:pt x="311" y="156"/>
                    </a:lnTo>
                    <a:lnTo>
                      <a:pt x="311" y="181"/>
                    </a:lnTo>
                    <a:lnTo>
                      <a:pt x="467" y="204"/>
                    </a:lnTo>
                    <a:lnTo>
                      <a:pt x="495" y="181"/>
                    </a:lnTo>
                    <a:lnTo>
                      <a:pt x="444" y="156"/>
                    </a:lnTo>
                    <a:lnTo>
                      <a:pt x="444" y="129"/>
                    </a:lnTo>
                    <a:lnTo>
                      <a:pt x="340" y="100"/>
                    </a:lnTo>
                    <a:lnTo>
                      <a:pt x="288" y="48"/>
                    </a:lnTo>
                    <a:lnTo>
                      <a:pt x="131" y="0"/>
                    </a:lnTo>
                    <a:lnTo>
                      <a:pt x="27" y="23"/>
                    </a:lnTo>
                    <a:lnTo>
                      <a:pt x="0" y="48"/>
                    </a:lnTo>
                    <a:lnTo>
                      <a:pt x="52" y="48"/>
                    </a:lnTo>
                    <a:lnTo>
                      <a:pt x="104" y="23"/>
                    </a:lnTo>
                    <a:lnTo>
                      <a:pt x="131" y="48"/>
                    </a:lnTo>
                    <a:close/>
                  </a:path>
                </a:pathLst>
              </a:custGeom>
              <a:grpFill/>
              <a:ln w="9525" cmpd="sng">
                <a:solidFill>
                  <a:schemeClr val="accent6"/>
                </a:solidFill>
                <a:prstDash val="solid"/>
                <a:round/>
                <a:headEnd/>
                <a:tailEnd/>
              </a:ln>
            </p:spPr>
            <p:txBody>
              <a:bodyPr/>
              <a:lstStyle/>
              <a:p>
                <a:endParaRPr lang="en-US" sz="1400">
                  <a:latin typeface="+mn-lt"/>
                </a:endParaRPr>
              </a:p>
            </p:txBody>
          </p:sp>
          <p:sp>
            <p:nvSpPr>
              <p:cNvPr id="25" name="Freeform 20"/>
              <p:cNvSpPr>
                <a:spLocks/>
              </p:cNvSpPr>
              <p:nvPr/>
            </p:nvSpPr>
            <p:spPr bwMode="gray">
              <a:xfrm>
                <a:off x="1784349" y="3586795"/>
                <a:ext cx="79375" cy="41275"/>
              </a:xfrm>
              <a:custGeom>
                <a:avLst/>
                <a:gdLst>
                  <a:gd name="T0" fmla="*/ 48 w 100"/>
                  <a:gd name="T1" fmla="*/ 27 h 52"/>
                  <a:gd name="T2" fmla="*/ 25 w 100"/>
                  <a:gd name="T3" fmla="*/ 0 h 52"/>
                  <a:gd name="T4" fmla="*/ 0 w 100"/>
                  <a:gd name="T5" fmla="*/ 0 h 52"/>
                  <a:gd name="T6" fmla="*/ 48 w 100"/>
                  <a:gd name="T7" fmla="*/ 52 h 52"/>
                  <a:gd name="T8" fmla="*/ 77 w 100"/>
                  <a:gd name="T9" fmla="*/ 52 h 52"/>
                  <a:gd name="T10" fmla="*/ 100 w 100"/>
                  <a:gd name="T11" fmla="*/ 52 h 52"/>
                  <a:gd name="T12" fmla="*/ 77 w 100"/>
                  <a:gd name="T13" fmla="*/ 27 h 52"/>
                  <a:gd name="T14" fmla="*/ 48 w 100"/>
                  <a:gd name="T15" fmla="*/ 27 h 52"/>
                  <a:gd name="T16" fmla="*/ 0 60000 65536"/>
                  <a:gd name="T17" fmla="*/ 0 60000 65536"/>
                  <a:gd name="T18" fmla="*/ 0 60000 65536"/>
                  <a:gd name="T19" fmla="*/ 0 60000 65536"/>
                  <a:gd name="T20" fmla="*/ 0 60000 65536"/>
                  <a:gd name="T21" fmla="*/ 0 60000 65536"/>
                  <a:gd name="T22" fmla="*/ 0 60000 65536"/>
                  <a:gd name="T23" fmla="*/ 0 60000 65536"/>
                  <a:gd name="T24" fmla="*/ 0 w 100"/>
                  <a:gd name="T25" fmla="*/ 0 h 52"/>
                  <a:gd name="T26" fmla="*/ 100 w 100"/>
                  <a:gd name="T27" fmla="*/ 52 h 5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00" h="52">
                    <a:moveTo>
                      <a:pt x="48" y="27"/>
                    </a:moveTo>
                    <a:lnTo>
                      <a:pt x="25" y="0"/>
                    </a:lnTo>
                    <a:lnTo>
                      <a:pt x="0" y="0"/>
                    </a:lnTo>
                    <a:lnTo>
                      <a:pt x="48" y="52"/>
                    </a:lnTo>
                    <a:lnTo>
                      <a:pt x="77" y="52"/>
                    </a:lnTo>
                    <a:lnTo>
                      <a:pt x="100" y="52"/>
                    </a:lnTo>
                    <a:lnTo>
                      <a:pt x="77" y="27"/>
                    </a:lnTo>
                    <a:lnTo>
                      <a:pt x="48" y="27"/>
                    </a:lnTo>
                  </a:path>
                </a:pathLst>
              </a:custGeom>
              <a:grpFill/>
              <a:ln w="9525" cmpd="sng">
                <a:solidFill>
                  <a:schemeClr val="accent6"/>
                </a:solidFill>
                <a:prstDash val="solid"/>
                <a:round/>
                <a:headEnd/>
                <a:tailEnd/>
              </a:ln>
            </p:spPr>
            <p:txBody>
              <a:bodyPr/>
              <a:lstStyle/>
              <a:p>
                <a:endParaRPr lang="en-US" sz="1400">
                  <a:latin typeface="+mn-lt"/>
                </a:endParaRPr>
              </a:p>
            </p:txBody>
          </p:sp>
          <p:sp>
            <p:nvSpPr>
              <p:cNvPr id="26" name="Freeform 21"/>
              <p:cNvSpPr>
                <a:spLocks/>
              </p:cNvSpPr>
              <p:nvPr/>
            </p:nvSpPr>
            <p:spPr bwMode="gray">
              <a:xfrm>
                <a:off x="1617661" y="3440745"/>
                <a:ext cx="39688" cy="22225"/>
              </a:xfrm>
              <a:custGeom>
                <a:avLst/>
                <a:gdLst>
                  <a:gd name="T0" fmla="*/ 52 w 52"/>
                  <a:gd name="T1" fmla="*/ 29 h 29"/>
                  <a:gd name="T2" fmla="*/ 27 w 52"/>
                  <a:gd name="T3" fmla="*/ 0 h 29"/>
                  <a:gd name="T4" fmla="*/ 0 w 52"/>
                  <a:gd name="T5" fmla="*/ 29 h 29"/>
                  <a:gd name="T6" fmla="*/ 52 w 52"/>
                  <a:gd name="T7" fmla="*/ 29 h 29"/>
                  <a:gd name="T8" fmla="*/ 0 60000 65536"/>
                  <a:gd name="T9" fmla="*/ 0 60000 65536"/>
                  <a:gd name="T10" fmla="*/ 0 60000 65536"/>
                  <a:gd name="T11" fmla="*/ 0 60000 65536"/>
                  <a:gd name="T12" fmla="*/ 0 w 52"/>
                  <a:gd name="T13" fmla="*/ 0 h 29"/>
                  <a:gd name="T14" fmla="*/ 52 w 52"/>
                  <a:gd name="T15" fmla="*/ 29 h 29"/>
                </a:gdLst>
                <a:ahLst/>
                <a:cxnLst>
                  <a:cxn ang="T8">
                    <a:pos x="T0" y="T1"/>
                  </a:cxn>
                  <a:cxn ang="T9">
                    <a:pos x="T2" y="T3"/>
                  </a:cxn>
                  <a:cxn ang="T10">
                    <a:pos x="T4" y="T5"/>
                  </a:cxn>
                  <a:cxn ang="T11">
                    <a:pos x="T6" y="T7"/>
                  </a:cxn>
                </a:cxnLst>
                <a:rect l="T12" t="T13" r="T14" b="T15"/>
                <a:pathLst>
                  <a:path w="52" h="29">
                    <a:moveTo>
                      <a:pt x="52" y="29"/>
                    </a:moveTo>
                    <a:lnTo>
                      <a:pt x="27" y="0"/>
                    </a:lnTo>
                    <a:lnTo>
                      <a:pt x="0" y="29"/>
                    </a:lnTo>
                    <a:lnTo>
                      <a:pt x="52" y="29"/>
                    </a:lnTo>
                  </a:path>
                </a:pathLst>
              </a:custGeom>
              <a:grpFill/>
              <a:ln w="9525" cmpd="sng">
                <a:solidFill>
                  <a:schemeClr val="accent6"/>
                </a:solidFill>
                <a:prstDash val="solid"/>
                <a:round/>
                <a:headEnd/>
                <a:tailEnd/>
              </a:ln>
            </p:spPr>
            <p:txBody>
              <a:bodyPr/>
              <a:lstStyle/>
              <a:p>
                <a:endParaRPr lang="en-US" sz="1400">
                  <a:latin typeface="+mn-lt"/>
                </a:endParaRPr>
              </a:p>
            </p:txBody>
          </p:sp>
          <p:sp>
            <p:nvSpPr>
              <p:cNvPr id="27" name="Freeform 22"/>
              <p:cNvSpPr>
                <a:spLocks/>
              </p:cNvSpPr>
              <p:nvPr/>
            </p:nvSpPr>
            <p:spPr bwMode="gray">
              <a:xfrm>
                <a:off x="2362199" y="2348545"/>
                <a:ext cx="184150" cy="184150"/>
              </a:xfrm>
              <a:custGeom>
                <a:avLst/>
                <a:gdLst>
                  <a:gd name="T0" fmla="*/ 233 w 233"/>
                  <a:gd name="T1" fmla="*/ 128 h 232"/>
                  <a:gd name="T2" fmla="*/ 210 w 233"/>
                  <a:gd name="T3" fmla="*/ 103 h 232"/>
                  <a:gd name="T4" fmla="*/ 210 w 233"/>
                  <a:gd name="T5" fmla="*/ 76 h 232"/>
                  <a:gd name="T6" fmla="*/ 129 w 233"/>
                  <a:gd name="T7" fmla="*/ 76 h 232"/>
                  <a:gd name="T8" fmla="*/ 104 w 233"/>
                  <a:gd name="T9" fmla="*/ 103 h 232"/>
                  <a:gd name="T10" fmla="*/ 129 w 233"/>
                  <a:gd name="T11" fmla="*/ 25 h 232"/>
                  <a:gd name="T12" fmla="*/ 104 w 233"/>
                  <a:gd name="T13" fmla="*/ 0 h 232"/>
                  <a:gd name="T14" fmla="*/ 52 w 233"/>
                  <a:gd name="T15" fmla="*/ 128 h 232"/>
                  <a:gd name="T16" fmla="*/ 0 w 233"/>
                  <a:gd name="T17" fmla="*/ 157 h 232"/>
                  <a:gd name="T18" fmla="*/ 52 w 233"/>
                  <a:gd name="T19" fmla="*/ 157 h 232"/>
                  <a:gd name="T20" fmla="*/ 52 w 233"/>
                  <a:gd name="T21" fmla="*/ 209 h 232"/>
                  <a:gd name="T22" fmla="*/ 77 w 233"/>
                  <a:gd name="T23" fmla="*/ 232 h 232"/>
                  <a:gd name="T24" fmla="*/ 129 w 233"/>
                  <a:gd name="T25" fmla="*/ 209 h 232"/>
                  <a:gd name="T26" fmla="*/ 158 w 233"/>
                  <a:gd name="T27" fmla="*/ 209 h 232"/>
                  <a:gd name="T28" fmla="*/ 181 w 233"/>
                  <a:gd name="T29" fmla="*/ 232 h 232"/>
                  <a:gd name="T30" fmla="*/ 210 w 233"/>
                  <a:gd name="T31" fmla="*/ 209 h 232"/>
                  <a:gd name="T32" fmla="*/ 233 w 233"/>
                  <a:gd name="T33" fmla="*/ 232 h 232"/>
                  <a:gd name="T34" fmla="*/ 233 w 233"/>
                  <a:gd name="T35" fmla="*/ 157 h 232"/>
                  <a:gd name="T36" fmla="*/ 210 w 233"/>
                  <a:gd name="T37" fmla="*/ 157 h 232"/>
                  <a:gd name="T38" fmla="*/ 233 w 233"/>
                  <a:gd name="T39" fmla="*/ 128 h 232"/>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233"/>
                  <a:gd name="T61" fmla="*/ 0 h 232"/>
                  <a:gd name="T62" fmla="*/ 233 w 233"/>
                  <a:gd name="T63" fmla="*/ 232 h 232"/>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233" h="232">
                    <a:moveTo>
                      <a:pt x="233" y="128"/>
                    </a:moveTo>
                    <a:lnTo>
                      <a:pt x="210" y="103"/>
                    </a:lnTo>
                    <a:lnTo>
                      <a:pt x="210" y="76"/>
                    </a:lnTo>
                    <a:lnTo>
                      <a:pt x="129" y="76"/>
                    </a:lnTo>
                    <a:lnTo>
                      <a:pt x="104" y="103"/>
                    </a:lnTo>
                    <a:lnTo>
                      <a:pt x="129" y="25"/>
                    </a:lnTo>
                    <a:lnTo>
                      <a:pt x="104" y="0"/>
                    </a:lnTo>
                    <a:lnTo>
                      <a:pt x="52" y="128"/>
                    </a:lnTo>
                    <a:lnTo>
                      <a:pt x="0" y="157"/>
                    </a:lnTo>
                    <a:lnTo>
                      <a:pt x="52" y="157"/>
                    </a:lnTo>
                    <a:lnTo>
                      <a:pt x="52" y="209"/>
                    </a:lnTo>
                    <a:lnTo>
                      <a:pt x="77" y="232"/>
                    </a:lnTo>
                    <a:lnTo>
                      <a:pt x="129" y="209"/>
                    </a:lnTo>
                    <a:lnTo>
                      <a:pt x="158" y="209"/>
                    </a:lnTo>
                    <a:lnTo>
                      <a:pt x="181" y="232"/>
                    </a:lnTo>
                    <a:lnTo>
                      <a:pt x="210" y="209"/>
                    </a:lnTo>
                    <a:lnTo>
                      <a:pt x="233" y="232"/>
                    </a:lnTo>
                    <a:lnTo>
                      <a:pt x="233" y="157"/>
                    </a:lnTo>
                    <a:lnTo>
                      <a:pt x="210" y="157"/>
                    </a:lnTo>
                    <a:lnTo>
                      <a:pt x="233" y="128"/>
                    </a:lnTo>
                  </a:path>
                </a:pathLst>
              </a:custGeom>
              <a:grpFill/>
              <a:ln w="9525" cmpd="sng">
                <a:solidFill>
                  <a:schemeClr val="accent6"/>
                </a:solidFill>
                <a:prstDash val="solid"/>
                <a:round/>
                <a:headEnd/>
                <a:tailEnd/>
              </a:ln>
            </p:spPr>
            <p:txBody>
              <a:bodyPr/>
              <a:lstStyle/>
              <a:p>
                <a:endParaRPr lang="en-US" sz="1400">
                  <a:latin typeface="+mn-lt"/>
                </a:endParaRPr>
              </a:p>
            </p:txBody>
          </p:sp>
          <p:sp>
            <p:nvSpPr>
              <p:cNvPr id="28" name="Freeform 23"/>
              <p:cNvSpPr>
                <a:spLocks/>
              </p:cNvSpPr>
              <p:nvPr/>
            </p:nvSpPr>
            <p:spPr bwMode="gray">
              <a:xfrm>
                <a:off x="1781174" y="1873882"/>
                <a:ext cx="104775" cy="80963"/>
              </a:xfrm>
              <a:custGeom>
                <a:avLst/>
                <a:gdLst>
                  <a:gd name="T0" fmla="*/ 52 w 133"/>
                  <a:gd name="T1" fmla="*/ 52 h 104"/>
                  <a:gd name="T2" fmla="*/ 81 w 133"/>
                  <a:gd name="T3" fmla="*/ 79 h 104"/>
                  <a:gd name="T4" fmla="*/ 104 w 133"/>
                  <a:gd name="T5" fmla="*/ 104 h 104"/>
                  <a:gd name="T6" fmla="*/ 133 w 133"/>
                  <a:gd name="T7" fmla="*/ 79 h 104"/>
                  <a:gd name="T8" fmla="*/ 133 w 133"/>
                  <a:gd name="T9" fmla="*/ 52 h 104"/>
                  <a:gd name="T10" fmla="*/ 104 w 133"/>
                  <a:gd name="T11" fmla="*/ 52 h 104"/>
                  <a:gd name="T12" fmla="*/ 81 w 133"/>
                  <a:gd name="T13" fmla="*/ 27 h 104"/>
                  <a:gd name="T14" fmla="*/ 52 w 133"/>
                  <a:gd name="T15" fmla="*/ 0 h 104"/>
                  <a:gd name="T16" fmla="*/ 29 w 133"/>
                  <a:gd name="T17" fmla="*/ 0 h 104"/>
                  <a:gd name="T18" fmla="*/ 0 w 133"/>
                  <a:gd name="T19" fmla="*/ 52 h 104"/>
                  <a:gd name="T20" fmla="*/ 29 w 133"/>
                  <a:gd name="T21" fmla="*/ 104 h 104"/>
                  <a:gd name="T22" fmla="*/ 52 w 133"/>
                  <a:gd name="T23" fmla="*/ 79 h 104"/>
                  <a:gd name="T24" fmla="*/ 52 w 133"/>
                  <a:gd name="T25" fmla="*/ 52 h 10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33"/>
                  <a:gd name="T40" fmla="*/ 0 h 104"/>
                  <a:gd name="T41" fmla="*/ 133 w 133"/>
                  <a:gd name="T42" fmla="*/ 104 h 104"/>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33" h="104">
                    <a:moveTo>
                      <a:pt x="52" y="52"/>
                    </a:moveTo>
                    <a:lnTo>
                      <a:pt x="81" y="79"/>
                    </a:lnTo>
                    <a:lnTo>
                      <a:pt x="104" y="104"/>
                    </a:lnTo>
                    <a:lnTo>
                      <a:pt x="133" y="79"/>
                    </a:lnTo>
                    <a:lnTo>
                      <a:pt x="133" y="52"/>
                    </a:lnTo>
                    <a:lnTo>
                      <a:pt x="104" y="52"/>
                    </a:lnTo>
                    <a:lnTo>
                      <a:pt x="81" y="27"/>
                    </a:lnTo>
                    <a:lnTo>
                      <a:pt x="52" y="0"/>
                    </a:lnTo>
                    <a:lnTo>
                      <a:pt x="29" y="0"/>
                    </a:lnTo>
                    <a:lnTo>
                      <a:pt x="0" y="52"/>
                    </a:lnTo>
                    <a:lnTo>
                      <a:pt x="29" y="104"/>
                    </a:lnTo>
                    <a:lnTo>
                      <a:pt x="52" y="79"/>
                    </a:lnTo>
                    <a:lnTo>
                      <a:pt x="52" y="52"/>
                    </a:lnTo>
                  </a:path>
                </a:pathLst>
              </a:custGeom>
              <a:grpFill/>
              <a:ln w="9525" cmpd="sng">
                <a:solidFill>
                  <a:schemeClr val="accent6"/>
                </a:solidFill>
                <a:prstDash val="solid"/>
                <a:round/>
                <a:headEnd/>
                <a:tailEnd/>
              </a:ln>
            </p:spPr>
            <p:txBody>
              <a:bodyPr/>
              <a:lstStyle/>
              <a:p>
                <a:endParaRPr lang="en-US" sz="1400">
                  <a:latin typeface="+mn-lt"/>
                </a:endParaRPr>
              </a:p>
            </p:txBody>
          </p:sp>
          <p:sp>
            <p:nvSpPr>
              <p:cNvPr id="29" name="Freeform 24"/>
              <p:cNvSpPr>
                <a:spLocks/>
              </p:cNvSpPr>
              <p:nvPr/>
            </p:nvSpPr>
            <p:spPr bwMode="gray">
              <a:xfrm>
                <a:off x="1368424" y="1378582"/>
                <a:ext cx="123825" cy="104775"/>
              </a:xfrm>
              <a:custGeom>
                <a:avLst/>
                <a:gdLst>
                  <a:gd name="T0" fmla="*/ 81 w 156"/>
                  <a:gd name="T1" fmla="*/ 103 h 132"/>
                  <a:gd name="T2" fmla="*/ 156 w 156"/>
                  <a:gd name="T3" fmla="*/ 103 h 132"/>
                  <a:gd name="T4" fmla="*/ 133 w 156"/>
                  <a:gd name="T5" fmla="*/ 0 h 132"/>
                  <a:gd name="T6" fmla="*/ 104 w 156"/>
                  <a:gd name="T7" fmla="*/ 0 h 132"/>
                  <a:gd name="T8" fmla="*/ 52 w 156"/>
                  <a:gd name="T9" fmla="*/ 51 h 132"/>
                  <a:gd name="T10" fmla="*/ 0 w 156"/>
                  <a:gd name="T11" fmla="*/ 78 h 132"/>
                  <a:gd name="T12" fmla="*/ 0 w 156"/>
                  <a:gd name="T13" fmla="*/ 132 h 132"/>
                  <a:gd name="T14" fmla="*/ 52 w 156"/>
                  <a:gd name="T15" fmla="*/ 132 h 132"/>
                  <a:gd name="T16" fmla="*/ 81 w 156"/>
                  <a:gd name="T17" fmla="*/ 103 h 13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56"/>
                  <a:gd name="T28" fmla="*/ 0 h 132"/>
                  <a:gd name="T29" fmla="*/ 156 w 156"/>
                  <a:gd name="T30" fmla="*/ 132 h 13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56" h="132">
                    <a:moveTo>
                      <a:pt x="81" y="103"/>
                    </a:moveTo>
                    <a:lnTo>
                      <a:pt x="156" y="103"/>
                    </a:lnTo>
                    <a:lnTo>
                      <a:pt x="133" y="0"/>
                    </a:lnTo>
                    <a:lnTo>
                      <a:pt x="104" y="0"/>
                    </a:lnTo>
                    <a:lnTo>
                      <a:pt x="52" y="51"/>
                    </a:lnTo>
                    <a:lnTo>
                      <a:pt x="0" y="78"/>
                    </a:lnTo>
                    <a:lnTo>
                      <a:pt x="0" y="132"/>
                    </a:lnTo>
                    <a:lnTo>
                      <a:pt x="52" y="132"/>
                    </a:lnTo>
                    <a:lnTo>
                      <a:pt x="81" y="103"/>
                    </a:lnTo>
                  </a:path>
                </a:pathLst>
              </a:custGeom>
              <a:grpFill/>
              <a:ln w="9525" cmpd="sng">
                <a:solidFill>
                  <a:schemeClr val="accent6"/>
                </a:solidFill>
                <a:prstDash val="solid"/>
                <a:round/>
                <a:headEnd/>
                <a:tailEnd/>
              </a:ln>
            </p:spPr>
            <p:txBody>
              <a:bodyPr/>
              <a:lstStyle/>
              <a:p>
                <a:endParaRPr lang="en-US" sz="1400">
                  <a:latin typeface="+mn-lt"/>
                </a:endParaRPr>
              </a:p>
            </p:txBody>
          </p:sp>
          <p:sp>
            <p:nvSpPr>
              <p:cNvPr id="30" name="Freeform 25"/>
              <p:cNvSpPr>
                <a:spLocks/>
              </p:cNvSpPr>
              <p:nvPr/>
            </p:nvSpPr>
            <p:spPr bwMode="gray">
              <a:xfrm>
                <a:off x="1409699" y="1483357"/>
                <a:ext cx="187325" cy="182563"/>
              </a:xfrm>
              <a:custGeom>
                <a:avLst/>
                <a:gdLst>
                  <a:gd name="T0" fmla="*/ 209 w 236"/>
                  <a:gd name="T1" fmla="*/ 23 h 230"/>
                  <a:gd name="T2" fmla="*/ 184 w 236"/>
                  <a:gd name="T3" fmla="*/ 75 h 230"/>
                  <a:gd name="T4" fmla="*/ 184 w 236"/>
                  <a:gd name="T5" fmla="*/ 23 h 230"/>
                  <a:gd name="T6" fmla="*/ 133 w 236"/>
                  <a:gd name="T7" fmla="*/ 23 h 230"/>
                  <a:gd name="T8" fmla="*/ 104 w 236"/>
                  <a:gd name="T9" fmla="*/ 0 h 230"/>
                  <a:gd name="T10" fmla="*/ 52 w 236"/>
                  <a:gd name="T11" fmla="*/ 0 h 230"/>
                  <a:gd name="T12" fmla="*/ 29 w 236"/>
                  <a:gd name="T13" fmla="*/ 23 h 230"/>
                  <a:gd name="T14" fmla="*/ 29 w 236"/>
                  <a:gd name="T15" fmla="*/ 75 h 230"/>
                  <a:gd name="T16" fmla="*/ 52 w 236"/>
                  <a:gd name="T17" fmla="*/ 104 h 230"/>
                  <a:gd name="T18" fmla="*/ 0 w 236"/>
                  <a:gd name="T19" fmla="*/ 104 h 230"/>
                  <a:gd name="T20" fmla="*/ 52 w 236"/>
                  <a:gd name="T21" fmla="*/ 127 h 230"/>
                  <a:gd name="T22" fmla="*/ 52 w 236"/>
                  <a:gd name="T23" fmla="*/ 178 h 230"/>
                  <a:gd name="T24" fmla="*/ 133 w 236"/>
                  <a:gd name="T25" fmla="*/ 207 h 230"/>
                  <a:gd name="T26" fmla="*/ 184 w 236"/>
                  <a:gd name="T27" fmla="*/ 230 h 230"/>
                  <a:gd name="T28" fmla="*/ 236 w 236"/>
                  <a:gd name="T29" fmla="*/ 230 h 230"/>
                  <a:gd name="T30" fmla="*/ 209 w 236"/>
                  <a:gd name="T31" fmla="*/ 207 h 230"/>
                  <a:gd name="T32" fmla="*/ 236 w 236"/>
                  <a:gd name="T33" fmla="*/ 207 h 230"/>
                  <a:gd name="T34" fmla="*/ 209 w 236"/>
                  <a:gd name="T35" fmla="*/ 127 h 230"/>
                  <a:gd name="T36" fmla="*/ 236 w 236"/>
                  <a:gd name="T37" fmla="*/ 52 h 230"/>
                  <a:gd name="T38" fmla="*/ 209 w 236"/>
                  <a:gd name="T39" fmla="*/ 23 h 230"/>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236"/>
                  <a:gd name="T61" fmla="*/ 0 h 230"/>
                  <a:gd name="T62" fmla="*/ 236 w 236"/>
                  <a:gd name="T63" fmla="*/ 230 h 230"/>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236" h="230">
                    <a:moveTo>
                      <a:pt x="209" y="23"/>
                    </a:moveTo>
                    <a:lnTo>
                      <a:pt x="184" y="75"/>
                    </a:lnTo>
                    <a:lnTo>
                      <a:pt x="184" y="23"/>
                    </a:lnTo>
                    <a:lnTo>
                      <a:pt x="133" y="23"/>
                    </a:lnTo>
                    <a:lnTo>
                      <a:pt x="104" y="0"/>
                    </a:lnTo>
                    <a:lnTo>
                      <a:pt x="52" y="0"/>
                    </a:lnTo>
                    <a:lnTo>
                      <a:pt x="29" y="23"/>
                    </a:lnTo>
                    <a:lnTo>
                      <a:pt x="29" y="75"/>
                    </a:lnTo>
                    <a:lnTo>
                      <a:pt x="52" y="104"/>
                    </a:lnTo>
                    <a:lnTo>
                      <a:pt x="0" y="104"/>
                    </a:lnTo>
                    <a:lnTo>
                      <a:pt x="52" y="127"/>
                    </a:lnTo>
                    <a:lnTo>
                      <a:pt x="52" y="178"/>
                    </a:lnTo>
                    <a:lnTo>
                      <a:pt x="133" y="207"/>
                    </a:lnTo>
                    <a:lnTo>
                      <a:pt x="184" y="230"/>
                    </a:lnTo>
                    <a:lnTo>
                      <a:pt x="236" y="230"/>
                    </a:lnTo>
                    <a:lnTo>
                      <a:pt x="209" y="207"/>
                    </a:lnTo>
                    <a:lnTo>
                      <a:pt x="236" y="207"/>
                    </a:lnTo>
                    <a:lnTo>
                      <a:pt x="209" y="127"/>
                    </a:lnTo>
                    <a:lnTo>
                      <a:pt x="236" y="52"/>
                    </a:lnTo>
                    <a:lnTo>
                      <a:pt x="209" y="23"/>
                    </a:lnTo>
                  </a:path>
                </a:pathLst>
              </a:custGeom>
              <a:grpFill/>
              <a:ln w="9525" cmpd="sng">
                <a:solidFill>
                  <a:schemeClr val="accent6"/>
                </a:solidFill>
                <a:prstDash val="solid"/>
                <a:round/>
                <a:headEnd/>
                <a:tailEnd/>
              </a:ln>
            </p:spPr>
            <p:txBody>
              <a:bodyPr/>
              <a:lstStyle/>
              <a:p>
                <a:endParaRPr lang="en-US" sz="1400">
                  <a:latin typeface="+mn-lt"/>
                </a:endParaRPr>
              </a:p>
            </p:txBody>
          </p:sp>
          <p:sp>
            <p:nvSpPr>
              <p:cNvPr id="31" name="Freeform 26"/>
              <p:cNvSpPr>
                <a:spLocks/>
              </p:cNvSpPr>
              <p:nvPr/>
            </p:nvSpPr>
            <p:spPr bwMode="gray">
              <a:xfrm>
                <a:off x="1739899" y="1565907"/>
                <a:ext cx="434975" cy="454025"/>
              </a:xfrm>
              <a:custGeom>
                <a:avLst/>
                <a:gdLst>
                  <a:gd name="T0" fmla="*/ 207 w 546"/>
                  <a:gd name="T1" fmla="*/ 51 h 571"/>
                  <a:gd name="T2" fmla="*/ 155 w 546"/>
                  <a:gd name="T3" fmla="*/ 23 h 571"/>
                  <a:gd name="T4" fmla="*/ 103 w 546"/>
                  <a:gd name="T5" fmla="*/ 23 h 571"/>
                  <a:gd name="T6" fmla="*/ 103 w 546"/>
                  <a:gd name="T7" fmla="*/ 74 h 571"/>
                  <a:gd name="T8" fmla="*/ 80 w 546"/>
                  <a:gd name="T9" fmla="*/ 51 h 571"/>
                  <a:gd name="T10" fmla="*/ 80 w 546"/>
                  <a:gd name="T11" fmla="*/ 23 h 571"/>
                  <a:gd name="T12" fmla="*/ 80 w 546"/>
                  <a:gd name="T13" fmla="*/ 0 h 571"/>
                  <a:gd name="T14" fmla="*/ 51 w 546"/>
                  <a:gd name="T15" fmla="*/ 23 h 571"/>
                  <a:gd name="T16" fmla="*/ 28 w 546"/>
                  <a:gd name="T17" fmla="*/ 23 h 571"/>
                  <a:gd name="T18" fmla="*/ 0 w 546"/>
                  <a:gd name="T19" fmla="*/ 51 h 571"/>
                  <a:gd name="T20" fmla="*/ 51 w 546"/>
                  <a:gd name="T21" fmla="*/ 103 h 571"/>
                  <a:gd name="T22" fmla="*/ 28 w 546"/>
                  <a:gd name="T23" fmla="*/ 103 h 571"/>
                  <a:gd name="T24" fmla="*/ 51 w 546"/>
                  <a:gd name="T25" fmla="*/ 155 h 571"/>
                  <a:gd name="T26" fmla="*/ 103 w 546"/>
                  <a:gd name="T27" fmla="*/ 155 h 571"/>
                  <a:gd name="T28" fmla="*/ 184 w 546"/>
                  <a:gd name="T29" fmla="*/ 207 h 571"/>
                  <a:gd name="T30" fmla="*/ 184 w 546"/>
                  <a:gd name="T31" fmla="*/ 178 h 571"/>
                  <a:gd name="T32" fmla="*/ 184 w 546"/>
                  <a:gd name="T33" fmla="*/ 126 h 571"/>
                  <a:gd name="T34" fmla="*/ 207 w 546"/>
                  <a:gd name="T35" fmla="*/ 155 h 571"/>
                  <a:gd name="T36" fmla="*/ 207 w 546"/>
                  <a:gd name="T37" fmla="*/ 178 h 571"/>
                  <a:gd name="T38" fmla="*/ 287 w 546"/>
                  <a:gd name="T39" fmla="*/ 207 h 571"/>
                  <a:gd name="T40" fmla="*/ 259 w 546"/>
                  <a:gd name="T41" fmla="*/ 232 h 571"/>
                  <a:gd name="T42" fmla="*/ 316 w 546"/>
                  <a:gd name="T43" fmla="*/ 284 h 571"/>
                  <a:gd name="T44" fmla="*/ 316 w 546"/>
                  <a:gd name="T45" fmla="*/ 310 h 571"/>
                  <a:gd name="T46" fmla="*/ 287 w 546"/>
                  <a:gd name="T47" fmla="*/ 310 h 571"/>
                  <a:gd name="T48" fmla="*/ 316 w 546"/>
                  <a:gd name="T49" fmla="*/ 387 h 571"/>
                  <a:gd name="T50" fmla="*/ 287 w 546"/>
                  <a:gd name="T51" fmla="*/ 387 h 571"/>
                  <a:gd name="T52" fmla="*/ 236 w 546"/>
                  <a:gd name="T53" fmla="*/ 387 h 571"/>
                  <a:gd name="T54" fmla="*/ 236 w 546"/>
                  <a:gd name="T55" fmla="*/ 466 h 571"/>
                  <a:gd name="T56" fmla="*/ 287 w 546"/>
                  <a:gd name="T57" fmla="*/ 466 h 571"/>
                  <a:gd name="T58" fmla="*/ 316 w 546"/>
                  <a:gd name="T59" fmla="*/ 439 h 571"/>
                  <a:gd name="T60" fmla="*/ 368 w 546"/>
                  <a:gd name="T61" fmla="*/ 520 h 571"/>
                  <a:gd name="T62" fmla="*/ 391 w 546"/>
                  <a:gd name="T63" fmla="*/ 520 h 571"/>
                  <a:gd name="T64" fmla="*/ 420 w 546"/>
                  <a:gd name="T65" fmla="*/ 543 h 571"/>
                  <a:gd name="T66" fmla="*/ 523 w 546"/>
                  <a:gd name="T67" fmla="*/ 571 h 571"/>
                  <a:gd name="T68" fmla="*/ 523 w 546"/>
                  <a:gd name="T69" fmla="*/ 543 h 571"/>
                  <a:gd name="T70" fmla="*/ 483 w 546"/>
                  <a:gd name="T71" fmla="*/ 506 h 571"/>
                  <a:gd name="T72" fmla="*/ 523 w 546"/>
                  <a:gd name="T73" fmla="*/ 520 h 571"/>
                  <a:gd name="T74" fmla="*/ 523 w 546"/>
                  <a:gd name="T75" fmla="*/ 491 h 571"/>
                  <a:gd name="T76" fmla="*/ 495 w 546"/>
                  <a:gd name="T77" fmla="*/ 466 h 571"/>
                  <a:gd name="T78" fmla="*/ 495 w 546"/>
                  <a:gd name="T79" fmla="*/ 439 h 571"/>
                  <a:gd name="T80" fmla="*/ 443 w 546"/>
                  <a:gd name="T81" fmla="*/ 414 h 571"/>
                  <a:gd name="T82" fmla="*/ 472 w 546"/>
                  <a:gd name="T83" fmla="*/ 387 h 571"/>
                  <a:gd name="T84" fmla="*/ 443 w 546"/>
                  <a:gd name="T85" fmla="*/ 362 h 571"/>
                  <a:gd name="T86" fmla="*/ 523 w 546"/>
                  <a:gd name="T87" fmla="*/ 387 h 571"/>
                  <a:gd name="T88" fmla="*/ 523 w 546"/>
                  <a:gd name="T89" fmla="*/ 362 h 571"/>
                  <a:gd name="T90" fmla="*/ 546 w 546"/>
                  <a:gd name="T91" fmla="*/ 362 h 571"/>
                  <a:gd name="T92" fmla="*/ 546 w 546"/>
                  <a:gd name="T93" fmla="*/ 310 h 571"/>
                  <a:gd name="T94" fmla="*/ 495 w 546"/>
                  <a:gd name="T95" fmla="*/ 310 h 571"/>
                  <a:gd name="T96" fmla="*/ 472 w 546"/>
                  <a:gd name="T97" fmla="*/ 284 h 571"/>
                  <a:gd name="T98" fmla="*/ 420 w 546"/>
                  <a:gd name="T99" fmla="*/ 259 h 571"/>
                  <a:gd name="T100" fmla="*/ 391 w 546"/>
                  <a:gd name="T101" fmla="*/ 232 h 571"/>
                  <a:gd name="T102" fmla="*/ 420 w 546"/>
                  <a:gd name="T103" fmla="*/ 207 h 571"/>
                  <a:gd name="T104" fmla="*/ 391 w 546"/>
                  <a:gd name="T105" fmla="*/ 155 h 571"/>
                  <a:gd name="T106" fmla="*/ 339 w 546"/>
                  <a:gd name="T107" fmla="*/ 155 h 571"/>
                  <a:gd name="T108" fmla="*/ 287 w 546"/>
                  <a:gd name="T109" fmla="*/ 126 h 571"/>
                  <a:gd name="T110" fmla="*/ 287 w 546"/>
                  <a:gd name="T111" fmla="*/ 74 h 571"/>
                  <a:gd name="T112" fmla="*/ 236 w 546"/>
                  <a:gd name="T113" fmla="*/ 103 h 571"/>
                  <a:gd name="T114" fmla="*/ 236 w 546"/>
                  <a:gd name="T115" fmla="*/ 74 h 571"/>
                  <a:gd name="T116" fmla="*/ 184 w 546"/>
                  <a:gd name="T117" fmla="*/ 74 h 571"/>
                  <a:gd name="T118" fmla="*/ 184 w 546"/>
                  <a:gd name="T119" fmla="*/ 51 h 571"/>
                  <a:gd name="T120" fmla="*/ 207 w 546"/>
                  <a:gd name="T121" fmla="*/ 51 h 571"/>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546"/>
                  <a:gd name="T184" fmla="*/ 0 h 571"/>
                  <a:gd name="T185" fmla="*/ 546 w 546"/>
                  <a:gd name="T186" fmla="*/ 571 h 571"/>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546" h="571">
                    <a:moveTo>
                      <a:pt x="207" y="51"/>
                    </a:moveTo>
                    <a:lnTo>
                      <a:pt x="155" y="23"/>
                    </a:lnTo>
                    <a:lnTo>
                      <a:pt x="103" y="23"/>
                    </a:lnTo>
                    <a:lnTo>
                      <a:pt x="103" y="74"/>
                    </a:lnTo>
                    <a:lnTo>
                      <a:pt x="80" y="51"/>
                    </a:lnTo>
                    <a:lnTo>
                      <a:pt x="80" y="23"/>
                    </a:lnTo>
                    <a:lnTo>
                      <a:pt x="80" y="0"/>
                    </a:lnTo>
                    <a:lnTo>
                      <a:pt x="51" y="23"/>
                    </a:lnTo>
                    <a:lnTo>
                      <a:pt x="28" y="23"/>
                    </a:lnTo>
                    <a:lnTo>
                      <a:pt x="0" y="51"/>
                    </a:lnTo>
                    <a:lnTo>
                      <a:pt x="51" y="103"/>
                    </a:lnTo>
                    <a:lnTo>
                      <a:pt x="28" y="103"/>
                    </a:lnTo>
                    <a:lnTo>
                      <a:pt x="51" y="155"/>
                    </a:lnTo>
                    <a:lnTo>
                      <a:pt x="103" y="155"/>
                    </a:lnTo>
                    <a:lnTo>
                      <a:pt x="184" y="207"/>
                    </a:lnTo>
                    <a:lnTo>
                      <a:pt x="184" y="178"/>
                    </a:lnTo>
                    <a:lnTo>
                      <a:pt x="184" y="126"/>
                    </a:lnTo>
                    <a:lnTo>
                      <a:pt x="207" y="155"/>
                    </a:lnTo>
                    <a:lnTo>
                      <a:pt x="207" y="178"/>
                    </a:lnTo>
                    <a:lnTo>
                      <a:pt x="287" y="207"/>
                    </a:lnTo>
                    <a:lnTo>
                      <a:pt x="259" y="232"/>
                    </a:lnTo>
                    <a:lnTo>
                      <a:pt x="316" y="284"/>
                    </a:lnTo>
                    <a:lnTo>
                      <a:pt x="316" y="310"/>
                    </a:lnTo>
                    <a:lnTo>
                      <a:pt x="287" y="310"/>
                    </a:lnTo>
                    <a:lnTo>
                      <a:pt x="316" y="387"/>
                    </a:lnTo>
                    <a:lnTo>
                      <a:pt x="287" y="387"/>
                    </a:lnTo>
                    <a:lnTo>
                      <a:pt x="236" y="387"/>
                    </a:lnTo>
                    <a:lnTo>
                      <a:pt x="236" y="466"/>
                    </a:lnTo>
                    <a:lnTo>
                      <a:pt x="287" y="466"/>
                    </a:lnTo>
                    <a:lnTo>
                      <a:pt x="316" y="439"/>
                    </a:lnTo>
                    <a:lnTo>
                      <a:pt x="368" y="520"/>
                    </a:lnTo>
                    <a:lnTo>
                      <a:pt x="391" y="520"/>
                    </a:lnTo>
                    <a:lnTo>
                      <a:pt x="420" y="543"/>
                    </a:lnTo>
                    <a:lnTo>
                      <a:pt x="523" y="571"/>
                    </a:lnTo>
                    <a:lnTo>
                      <a:pt x="523" y="543"/>
                    </a:lnTo>
                    <a:lnTo>
                      <a:pt x="483" y="506"/>
                    </a:lnTo>
                    <a:lnTo>
                      <a:pt x="523" y="520"/>
                    </a:lnTo>
                    <a:lnTo>
                      <a:pt x="523" y="491"/>
                    </a:lnTo>
                    <a:lnTo>
                      <a:pt x="495" y="466"/>
                    </a:lnTo>
                    <a:lnTo>
                      <a:pt x="495" y="439"/>
                    </a:lnTo>
                    <a:lnTo>
                      <a:pt x="443" y="414"/>
                    </a:lnTo>
                    <a:lnTo>
                      <a:pt x="472" y="387"/>
                    </a:lnTo>
                    <a:lnTo>
                      <a:pt x="443" y="362"/>
                    </a:lnTo>
                    <a:lnTo>
                      <a:pt x="523" y="387"/>
                    </a:lnTo>
                    <a:lnTo>
                      <a:pt x="523" y="362"/>
                    </a:lnTo>
                    <a:lnTo>
                      <a:pt x="546" y="362"/>
                    </a:lnTo>
                    <a:lnTo>
                      <a:pt x="546" y="310"/>
                    </a:lnTo>
                    <a:lnTo>
                      <a:pt x="495" y="310"/>
                    </a:lnTo>
                    <a:lnTo>
                      <a:pt x="472" y="284"/>
                    </a:lnTo>
                    <a:lnTo>
                      <a:pt x="420" y="259"/>
                    </a:lnTo>
                    <a:lnTo>
                      <a:pt x="391" y="232"/>
                    </a:lnTo>
                    <a:lnTo>
                      <a:pt x="420" y="207"/>
                    </a:lnTo>
                    <a:lnTo>
                      <a:pt x="391" y="155"/>
                    </a:lnTo>
                    <a:lnTo>
                      <a:pt x="339" y="155"/>
                    </a:lnTo>
                    <a:lnTo>
                      <a:pt x="287" y="126"/>
                    </a:lnTo>
                    <a:lnTo>
                      <a:pt x="287" y="74"/>
                    </a:lnTo>
                    <a:lnTo>
                      <a:pt x="236" y="103"/>
                    </a:lnTo>
                    <a:lnTo>
                      <a:pt x="236" y="74"/>
                    </a:lnTo>
                    <a:lnTo>
                      <a:pt x="184" y="74"/>
                    </a:lnTo>
                    <a:lnTo>
                      <a:pt x="184" y="51"/>
                    </a:lnTo>
                    <a:lnTo>
                      <a:pt x="207" y="51"/>
                    </a:lnTo>
                  </a:path>
                </a:pathLst>
              </a:custGeom>
              <a:grpFill/>
              <a:ln w="9525" cmpd="sng">
                <a:solidFill>
                  <a:schemeClr val="accent6"/>
                </a:solidFill>
                <a:prstDash val="solid"/>
                <a:round/>
                <a:headEnd/>
                <a:tailEnd/>
              </a:ln>
            </p:spPr>
            <p:txBody>
              <a:bodyPr/>
              <a:lstStyle/>
              <a:p>
                <a:endParaRPr lang="en-US" sz="1400">
                  <a:latin typeface="+mn-lt"/>
                </a:endParaRPr>
              </a:p>
            </p:txBody>
          </p:sp>
          <p:sp>
            <p:nvSpPr>
              <p:cNvPr id="32" name="Freeform 27"/>
              <p:cNvSpPr>
                <a:spLocks/>
              </p:cNvSpPr>
              <p:nvPr/>
            </p:nvSpPr>
            <p:spPr bwMode="gray">
              <a:xfrm>
                <a:off x="1927224" y="1770695"/>
                <a:ext cx="19050" cy="41275"/>
              </a:xfrm>
              <a:custGeom>
                <a:avLst/>
                <a:gdLst>
                  <a:gd name="T0" fmla="*/ 0 w 23"/>
                  <a:gd name="T1" fmla="*/ 0 h 51"/>
                  <a:gd name="T2" fmla="*/ 0 w 23"/>
                  <a:gd name="T3" fmla="*/ 25 h 51"/>
                  <a:gd name="T4" fmla="*/ 0 w 23"/>
                  <a:gd name="T5" fmla="*/ 51 h 51"/>
                  <a:gd name="T6" fmla="*/ 23 w 23"/>
                  <a:gd name="T7" fmla="*/ 51 h 51"/>
                  <a:gd name="T8" fmla="*/ 23 w 23"/>
                  <a:gd name="T9" fmla="*/ 25 h 51"/>
                  <a:gd name="T10" fmla="*/ 0 w 23"/>
                  <a:gd name="T11" fmla="*/ 0 h 51"/>
                  <a:gd name="T12" fmla="*/ 0 60000 65536"/>
                  <a:gd name="T13" fmla="*/ 0 60000 65536"/>
                  <a:gd name="T14" fmla="*/ 0 60000 65536"/>
                  <a:gd name="T15" fmla="*/ 0 60000 65536"/>
                  <a:gd name="T16" fmla="*/ 0 60000 65536"/>
                  <a:gd name="T17" fmla="*/ 0 60000 65536"/>
                  <a:gd name="T18" fmla="*/ 0 w 23"/>
                  <a:gd name="T19" fmla="*/ 0 h 51"/>
                  <a:gd name="T20" fmla="*/ 23 w 23"/>
                  <a:gd name="T21" fmla="*/ 51 h 51"/>
                </a:gdLst>
                <a:ahLst/>
                <a:cxnLst>
                  <a:cxn ang="T12">
                    <a:pos x="T0" y="T1"/>
                  </a:cxn>
                  <a:cxn ang="T13">
                    <a:pos x="T2" y="T3"/>
                  </a:cxn>
                  <a:cxn ang="T14">
                    <a:pos x="T4" y="T5"/>
                  </a:cxn>
                  <a:cxn ang="T15">
                    <a:pos x="T6" y="T7"/>
                  </a:cxn>
                  <a:cxn ang="T16">
                    <a:pos x="T8" y="T9"/>
                  </a:cxn>
                  <a:cxn ang="T17">
                    <a:pos x="T10" y="T11"/>
                  </a:cxn>
                </a:cxnLst>
                <a:rect l="T18" t="T19" r="T20" b="T21"/>
                <a:pathLst>
                  <a:path w="23" h="51">
                    <a:moveTo>
                      <a:pt x="0" y="0"/>
                    </a:moveTo>
                    <a:lnTo>
                      <a:pt x="0" y="25"/>
                    </a:lnTo>
                    <a:lnTo>
                      <a:pt x="0" y="51"/>
                    </a:lnTo>
                    <a:lnTo>
                      <a:pt x="23" y="51"/>
                    </a:lnTo>
                    <a:lnTo>
                      <a:pt x="23" y="25"/>
                    </a:lnTo>
                    <a:lnTo>
                      <a:pt x="0" y="0"/>
                    </a:lnTo>
                  </a:path>
                </a:pathLst>
              </a:custGeom>
              <a:grpFill/>
              <a:ln w="9525" cmpd="sng">
                <a:solidFill>
                  <a:schemeClr val="accent6"/>
                </a:solidFill>
                <a:prstDash val="solid"/>
                <a:round/>
                <a:headEnd/>
                <a:tailEnd/>
              </a:ln>
            </p:spPr>
            <p:txBody>
              <a:bodyPr/>
              <a:lstStyle/>
              <a:p>
                <a:endParaRPr lang="en-US" sz="1400">
                  <a:latin typeface="+mn-lt"/>
                </a:endParaRPr>
              </a:p>
            </p:txBody>
          </p:sp>
          <p:sp>
            <p:nvSpPr>
              <p:cNvPr id="33" name="Freeform 28"/>
              <p:cNvSpPr>
                <a:spLocks/>
              </p:cNvSpPr>
              <p:nvPr/>
            </p:nvSpPr>
            <p:spPr bwMode="gray">
              <a:xfrm>
                <a:off x="1763712" y="2573970"/>
                <a:ext cx="392113" cy="206375"/>
              </a:xfrm>
              <a:custGeom>
                <a:avLst/>
                <a:gdLst>
                  <a:gd name="T0" fmla="*/ 415 w 495"/>
                  <a:gd name="T1" fmla="*/ 80 h 261"/>
                  <a:gd name="T2" fmla="*/ 311 w 495"/>
                  <a:gd name="T3" fmla="*/ 103 h 261"/>
                  <a:gd name="T4" fmla="*/ 259 w 495"/>
                  <a:gd name="T5" fmla="*/ 132 h 261"/>
                  <a:gd name="T6" fmla="*/ 231 w 495"/>
                  <a:gd name="T7" fmla="*/ 184 h 261"/>
                  <a:gd name="T8" fmla="*/ 208 w 495"/>
                  <a:gd name="T9" fmla="*/ 184 h 261"/>
                  <a:gd name="T10" fmla="*/ 156 w 495"/>
                  <a:gd name="T11" fmla="*/ 209 h 261"/>
                  <a:gd name="T12" fmla="*/ 104 w 495"/>
                  <a:gd name="T13" fmla="*/ 236 h 261"/>
                  <a:gd name="T14" fmla="*/ 52 w 495"/>
                  <a:gd name="T15" fmla="*/ 261 h 261"/>
                  <a:gd name="T16" fmla="*/ 27 w 495"/>
                  <a:gd name="T17" fmla="*/ 236 h 261"/>
                  <a:gd name="T18" fmla="*/ 0 w 495"/>
                  <a:gd name="T19" fmla="*/ 209 h 261"/>
                  <a:gd name="T20" fmla="*/ 23 w 495"/>
                  <a:gd name="T21" fmla="*/ 209 h 261"/>
                  <a:gd name="T22" fmla="*/ 27 w 495"/>
                  <a:gd name="T23" fmla="*/ 209 h 261"/>
                  <a:gd name="T24" fmla="*/ 52 w 495"/>
                  <a:gd name="T25" fmla="*/ 209 h 261"/>
                  <a:gd name="T26" fmla="*/ 156 w 495"/>
                  <a:gd name="T27" fmla="*/ 184 h 261"/>
                  <a:gd name="T28" fmla="*/ 208 w 495"/>
                  <a:gd name="T29" fmla="*/ 132 h 261"/>
                  <a:gd name="T30" fmla="*/ 259 w 495"/>
                  <a:gd name="T31" fmla="*/ 132 h 261"/>
                  <a:gd name="T32" fmla="*/ 311 w 495"/>
                  <a:gd name="T33" fmla="*/ 103 h 261"/>
                  <a:gd name="T34" fmla="*/ 415 w 495"/>
                  <a:gd name="T35" fmla="*/ 80 h 261"/>
                  <a:gd name="T36" fmla="*/ 495 w 495"/>
                  <a:gd name="T37" fmla="*/ 0 h 261"/>
                  <a:gd name="T38" fmla="*/ 415 w 495"/>
                  <a:gd name="T39" fmla="*/ 80 h 261"/>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495"/>
                  <a:gd name="T61" fmla="*/ 0 h 261"/>
                  <a:gd name="T62" fmla="*/ 495 w 495"/>
                  <a:gd name="T63" fmla="*/ 261 h 261"/>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495" h="261">
                    <a:moveTo>
                      <a:pt x="415" y="80"/>
                    </a:moveTo>
                    <a:lnTo>
                      <a:pt x="311" y="103"/>
                    </a:lnTo>
                    <a:lnTo>
                      <a:pt x="259" y="132"/>
                    </a:lnTo>
                    <a:lnTo>
                      <a:pt x="231" y="184"/>
                    </a:lnTo>
                    <a:lnTo>
                      <a:pt x="208" y="184"/>
                    </a:lnTo>
                    <a:lnTo>
                      <a:pt x="156" y="209"/>
                    </a:lnTo>
                    <a:lnTo>
                      <a:pt x="104" y="236"/>
                    </a:lnTo>
                    <a:lnTo>
                      <a:pt x="52" y="261"/>
                    </a:lnTo>
                    <a:lnTo>
                      <a:pt x="27" y="236"/>
                    </a:lnTo>
                    <a:lnTo>
                      <a:pt x="0" y="209"/>
                    </a:lnTo>
                    <a:lnTo>
                      <a:pt x="23" y="209"/>
                    </a:lnTo>
                    <a:lnTo>
                      <a:pt x="27" y="209"/>
                    </a:lnTo>
                    <a:lnTo>
                      <a:pt x="52" y="209"/>
                    </a:lnTo>
                    <a:lnTo>
                      <a:pt x="156" y="184"/>
                    </a:lnTo>
                    <a:lnTo>
                      <a:pt x="208" y="132"/>
                    </a:lnTo>
                    <a:lnTo>
                      <a:pt x="259" y="132"/>
                    </a:lnTo>
                    <a:lnTo>
                      <a:pt x="311" y="103"/>
                    </a:lnTo>
                    <a:lnTo>
                      <a:pt x="415" y="80"/>
                    </a:lnTo>
                    <a:lnTo>
                      <a:pt x="495" y="0"/>
                    </a:lnTo>
                    <a:lnTo>
                      <a:pt x="415" y="80"/>
                    </a:lnTo>
                  </a:path>
                </a:pathLst>
              </a:custGeom>
              <a:grpFill/>
              <a:ln w="9525" cmpd="sng">
                <a:solidFill>
                  <a:schemeClr val="accent6"/>
                </a:solidFill>
                <a:prstDash val="solid"/>
                <a:round/>
                <a:headEnd/>
                <a:tailEnd/>
              </a:ln>
            </p:spPr>
            <p:txBody>
              <a:bodyPr/>
              <a:lstStyle/>
              <a:p>
                <a:endParaRPr lang="en-US" sz="1400">
                  <a:latin typeface="+mn-lt"/>
                </a:endParaRPr>
              </a:p>
            </p:txBody>
          </p:sp>
          <p:sp>
            <p:nvSpPr>
              <p:cNvPr id="34" name="Freeform 29"/>
              <p:cNvSpPr>
                <a:spLocks/>
              </p:cNvSpPr>
              <p:nvPr/>
            </p:nvSpPr>
            <p:spPr bwMode="gray">
              <a:xfrm>
                <a:off x="1927224" y="3562982"/>
                <a:ext cx="247650" cy="85725"/>
              </a:xfrm>
              <a:custGeom>
                <a:avLst/>
                <a:gdLst>
                  <a:gd name="T0" fmla="*/ 236 w 310"/>
                  <a:gd name="T1" fmla="*/ 55 h 107"/>
                  <a:gd name="T2" fmla="*/ 236 w 310"/>
                  <a:gd name="T3" fmla="*/ 0 h 107"/>
                  <a:gd name="T4" fmla="*/ 155 w 310"/>
                  <a:gd name="T5" fmla="*/ 0 h 107"/>
                  <a:gd name="T6" fmla="*/ 132 w 310"/>
                  <a:gd name="T7" fmla="*/ 0 h 107"/>
                  <a:gd name="T8" fmla="*/ 103 w 310"/>
                  <a:gd name="T9" fmla="*/ 0 h 107"/>
                  <a:gd name="T10" fmla="*/ 51 w 310"/>
                  <a:gd name="T11" fmla="*/ 0 h 107"/>
                  <a:gd name="T12" fmla="*/ 103 w 310"/>
                  <a:gd name="T13" fmla="*/ 28 h 107"/>
                  <a:gd name="T14" fmla="*/ 80 w 310"/>
                  <a:gd name="T15" fmla="*/ 55 h 107"/>
                  <a:gd name="T16" fmla="*/ 51 w 310"/>
                  <a:gd name="T17" fmla="*/ 55 h 107"/>
                  <a:gd name="T18" fmla="*/ 0 w 310"/>
                  <a:gd name="T19" fmla="*/ 80 h 107"/>
                  <a:gd name="T20" fmla="*/ 51 w 310"/>
                  <a:gd name="T21" fmla="*/ 107 h 107"/>
                  <a:gd name="T22" fmla="*/ 80 w 310"/>
                  <a:gd name="T23" fmla="*/ 80 h 107"/>
                  <a:gd name="T24" fmla="*/ 132 w 310"/>
                  <a:gd name="T25" fmla="*/ 107 h 107"/>
                  <a:gd name="T26" fmla="*/ 155 w 310"/>
                  <a:gd name="T27" fmla="*/ 107 h 107"/>
                  <a:gd name="T28" fmla="*/ 184 w 310"/>
                  <a:gd name="T29" fmla="*/ 107 h 107"/>
                  <a:gd name="T30" fmla="*/ 207 w 310"/>
                  <a:gd name="T31" fmla="*/ 107 h 107"/>
                  <a:gd name="T32" fmla="*/ 236 w 310"/>
                  <a:gd name="T33" fmla="*/ 80 h 107"/>
                  <a:gd name="T34" fmla="*/ 287 w 310"/>
                  <a:gd name="T35" fmla="*/ 107 h 107"/>
                  <a:gd name="T36" fmla="*/ 310 w 310"/>
                  <a:gd name="T37" fmla="*/ 107 h 107"/>
                  <a:gd name="T38" fmla="*/ 287 w 310"/>
                  <a:gd name="T39" fmla="*/ 55 h 107"/>
                  <a:gd name="T40" fmla="*/ 236 w 310"/>
                  <a:gd name="T41" fmla="*/ 55 h 107"/>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310"/>
                  <a:gd name="T64" fmla="*/ 0 h 107"/>
                  <a:gd name="T65" fmla="*/ 310 w 310"/>
                  <a:gd name="T66" fmla="*/ 107 h 107"/>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310" h="107">
                    <a:moveTo>
                      <a:pt x="236" y="55"/>
                    </a:moveTo>
                    <a:lnTo>
                      <a:pt x="236" y="0"/>
                    </a:lnTo>
                    <a:lnTo>
                      <a:pt x="155" y="0"/>
                    </a:lnTo>
                    <a:lnTo>
                      <a:pt x="132" y="0"/>
                    </a:lnTo>
                    <a:lnTo>
                      <a:pt x="103" y="0"/>
                    </a:lnTo>
                    <a:lnTo>
                      <a:pt x="51" y="0"/>
                    </a:lnTo>
                    <a:lnTo>
                      <a:pt x="103" y="28"/>
                    </a:lnTo>
                    <a:lnTo>
                      <a:pt x="80" y="55"/>
                    </a:lnTo>
                    <a:lnTo>
                      <a:pt x="51" y="55"/>
                    </a:lnTo>
                    <a:lnTo>
                      <a:pt x="0" y="80"/>
                    </a:lnTo>
                    <a:lnTo>
                      <a:pt x="51" y="107"/>
                    </a:lnTo>
                    <a:lnTo>
                      <a:pt x="80" y="80"/>
                    </a:lnTo>
                    <a:lnTo>
                      <a:pt x="132" y="107"/>
                    </a:lnTo>
                    <a:lnTo>
                      <a:pt x="155" y="107"/>
                    </a:lnTo>
                    <a:lnTo>
                      <a:pt x="184" y="107"/>
                    </a:lnTo>
                    <a:lnTo>
                      <a:pt x="207" y="107"/>
                    </a:lnTo>
                    <a:lnTo>
                      <a:pt x="236" y="80"/>
                    </a:lnTo>
                    <a:lnTo>
                      <a:pt x="287" y="107"/>
                    </a:lnTo>
                    <a:lnTo>
                      <a:pt x="310" y="107"/>
                    </a:lnTo>
                    <a:lnTo>
                      <a:pt x="287" y="55"/>
                    </a:lnTo>
                    <a:lnTo>
                      <a:pt x="236" y="55"/>
                    </a:lnTo>
                  </a:path>
                </a:pathLst>
              </a:custGeom>
              <a:grpFill/>
              <a:ln w="9525" cmpd="sng">
                <a:solidFill>
                  <a:schemeClr val="accent6"/>
                </a:solidFill>
                <a:prstDash val="solid"/>
                <a:round/>
                <a:headEnd/>
                <a:tailEnd/>
              </a:ln>
            </p:spPr>
            <p:txBody>
              <a:bodyPr/>
              <a:lstStyle/>
              <a:p>
                <a:endParaRPr lang="en-US" sz="1400">
                  <a:latin typeface="+mn-lt"/>
                </a:endParaRPr>
              </a:p>
            </p:txBody>
          </p:sp>
          <p:sp>
            <p:nvSpPr>
              <p:cNvPr id="35" name="Freeform 30"/>
              <p:cNvSpPr>
                <a:spLocks/>
              </p:cNvSpPr>
              <p:nvPr/>
            </p:nvSpPr>
            <p:spPr bwMode="gray">
              <a:xfrm>
                <a:off x="1617661" y="1524632"/>
                <a:ext cx="61913" cy="82550"/>
              </a:xfrm>
              <a:custGeom>
                <a:avLst/>
                <a:gdLst>
                  <a:gd name="T0" fmla="*/ 52 w 79"/>
                  <a:gd name="T1" fmla="*/ 103 h 103"/>
                  <a:gd name="T2" fmla="*/ 79 w 79"/>
                  <a:gd name="T3" fmla="*/ 75 h 103"/>
                  <a:gd name="T4" fmla="*/ 79 w 79"/>
                  <a:gd name="T5" fmla="*/ 0 h 103"/>
                  <a:gd name="T6" fmla="*/ 52 w 79"/>
                  <a:gd name="T7" fmla="*/ 0 h 103"/>
                  <a:gd name="T8" fmla="*/ 27 w 79"/>
                  <a:gd name="T9" fmla="*/ 23 h 103"/>
                  <a:gd name="T10" fmla="*/ 0 w 79"/>
                  <a:gd name="T11" fmla="*/ 23 h 103"/>
                  <a:gd name="T12" fmla="*/ 27 w 79"/>
                  <a:gd name="T13" fmla="*/ 75 h 103"/>
                  <a:gd name="T14" fmla="*/ 27 w 79"/>
                  <a:gd name="T15" fmla="*/ 103 h 103"/>
                  <a:gd name="T16" fmla="*/ 52 w 79"/>
                  <a:gd name="T17" fmla="*/ 103 h 10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79"/>
                  <a:gd name="T28" fmla="*/ 0 h 103"/>
                  <a:gd name="T29" fmla="*/ 79 w 79"/>
                  <a:gd name="T30" fmla="*/ 103 h 10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79" h="103">
                    <a:moveTo>
                      <a:pt x="52" y="103"/>
                    </a:moveTo>
                    <a:lnTo>
                      <a:pt x="79" y="75"/>
                    </a:lnTo>
                    <a:lnTo>
                      <a:pt x="79" y="0"/>
                    </a:lnTo>
                    <a:lnTo>
                      <a:pt x="52" y="0"/>
                    </a:lnTo>
                    <a:lnTo>
                      <a:pt x="27" y="23"/>
                    </a:lnTo>
                    <a:lnTo>
                      <a:pt x="0" y="23"/>
                    </a:lnTo>
                    <a:lnTo>
                      <a:pt x="27" y="75"/>
                    </a:lnTo>
                    <a:lnTo>
                      <a:pt x="27" y="103"/>
                    </a:lnTo>
                    <a:lnTo>
                      <a:pt x="52" y="103"/>
                    </a:lnTo>
                  </a:path>
                </a:pathLst>
              </a:custGeom>
              <a:grpFill/>
              <a:ln w="9525" cmpd="sng">
                <a:solidFill>
                  <a:schemeClr val="accent6"/>
                </a:solidFill>
                <a:prstDash val="solid"/>
                <a:round/>
                <a:headEnd/>
                <a:tailEnd/>
              </a:ln>
            </p:spPr>
            <p:txBody>
              <a:bodyPr/>
              <a:lstStyle/>
              <a:p>
                <a:endParaRPr lang="en-US" sz="1400">
                  <a:latin typeface="+mn-lt"/>
                </a:endParaRPr>
              </a:p>
            </p:txBody>
          </p:sp>
          <p:sp>
            <p:nvSpPr>
              <p:cNvPr id="36" name="Freeform 31"/>
              <p:cNvSpPr>
                <a:spLocks/>
              </p:cNvSpPr>
              <p:nvPr/>
            </p:nvSpPr>
            <p:spPr bwMode="gray">
              <a:xfrm>
                <a:off x="1698624" y="1524632"/>
                <a:ext cx="65088" cy="58738"/>
              </a:xfrm>
              <a:custGeom>
                <a:avLst/>
                <a:gdLst>
                  <a:gd name="T0" fmla="*/ 0 w 80"/>
                  <a:gd name="T1" fmla="*/ 23 h 75"/>
                  <a:gd name="T2" fmla="*/ 0 w 80"/>
                  <a:gd name="T3" fmla="*/ 75 h 75"/>
                  <a:gd name="T4" fmla="*/ 27 w 80"/>
                  <a:gd name="T5" fmla="*/ 75 h 75"/>
                  <a:gd name="T6" fmla="*/ 80 w 80"/>
                  <a:gd name="T7" fmla="*/ 23 h 75"/>
                  <a:gd name="T8" fmla="*/ 52 w 80"/>
                  <a:gd name="T9" fmla="*/ 0 h 75"/>
                  <a:gd name="T10" fmla="*/ 27 w 80"/>
                  <a:gd name="T11" fmla="*/ 0 h 75"/>
                  <a:gd name="T12" fmla="*/ 0 w 80"/>
                  <a:gd name="T13" fmla="*/ 23 h 75"/>
                  <a:gd name="T14" fmla="*/ 0 60000 65536"/>
                  <a:gd name="T15" fmla="*/ 0 60000 65536"/>
                  <a:gd name="T16" fmla="*/ 0 60000 65536"/>
                  <a:gd name="T17" fmla="*/ 0 60000 65536"/>
                  <a:gd name="T18" fmla="*/ 0 60000 65536"/>
                  <a:gd name="T19" fmla="*/ 0 60000 65536"/>
                  <a:gd name="T20" fmla="*/ 0 60000 65536"/>
                  <a:gd name="T21" fmla="*/ 0 w 80"/>
                  <a:gd name="T22" fmla="*/ 0 h 75"/>
                  <a:gd name="T23" fmla="*/ 80 w 80"/>
                  <a:gd name="T24" fmla="*/ 75 h 7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80" h="75">
                    <a:moveTo>
                      <a:pt x="0" y="23"/>
                    </a:moveTo>
                    <a:lnTo>
                      <a:pt x="0" y="75"/>
                    </a:lnTo>
                    <a:lnTo>
                      <a:pt x="27" y="75"/>
                    </a:lnTo>
                    <a:lnTo>
                      <a:pt x="80" y="23"/>
                    </a:lnTo>
                    <a:lnTo>
                      <a:pt x="52" y="0"/>
                    </a:lnTo>
                    <a:lnTo>
                      <a:pt x="27" y="0"/>
                    </a:lnTo>
                    <a:lnTo>
                      <a:pt x="0" y="23"/>
                    </a:lnTo>
                  </a:path>
                </a:pathLst>
              </a:custGeom>
              <a:grpFill/>
              <a:ln w="9525" cmpd="sng">
                <a:solidFill>
                  <a:schemeClr val="accent6"/>
                </a:solidFill>
                <a:prstDash val="solid"/>
                <a:round/>
                <a:headEnd/>
                <a:tailEnd/>
              </a:ln>
            </p:spPr>
            <p:txBody>
              <a:bodyPr/>
              <a:lstStyle/>
              <a:p>
                <a:endParaRPr lang="en-US" sz="1400">
                  <a:latin typeface="+mn-lt"/>
                </a:endParaRPr>
              </a:p>
            </p:txBody>
          </p:sp>
          <p:sp>
            <p:nvSpPr>
              <p:cNvPr id="37" name="Freeform 32"/>
              <p:cNvSpPr>
                <a:spLocks/>
              </p:cNvSpPr>
              <p:nvPr/>
            </p:nvSpPr>
            <p:spPr bwMode="gray">
              <a:xfrm>
                <a:off x="1473199" y="1316670"/>
                <a:ext cx="103188" cy="41275"/>
              </a:xfrm>
              <a:custGeom>
                <a:avLst/>
                <a:gdLst>
                  <a:gd name="T0" fmla="*/ 103 w 128"/>
                  <a:gd name="T1" fmla="*/ 52 h 52"/>
                  <a:gd name="T2" fmla="*/ 128 w 128"/>
                  <a:gd name="T3" fmla="*/ 25 h 52"/>
                  <a:gd name="T4" fmla="*/ 103 w 128"/>
                  <a:gd name="T5" fmla="*/ 0 h 52"/>
                  <a:gd name="T6" fmla="*/ 76 w 128"/>
                  <a:gd name="T7" fmla="*/ 0 h 52"/>
                  <a:gd name="T8" fmla="*/ 0 w 128"/>
                  <a:gd name="T9" fmla="*/ 25 h 52"/>
                  <a:gd name="T10" fmla="*/ 52 w 128"/>
                  <a:gd name="T11" fmla="*/ 52 h 52"/>
                  <a:gd name="T12" fmla="*/ 103 w 128"/>
                  <a:gd name="T13" fmla="*/ 52 h 52"/>
                  <a:gd name="T14" fmla="*/ 0 60000 65536"/>
                  <a:gd name="T15" fmla="*/ 0 60000 65536"/>
                  <a:gd name="T16" fmla="*/ 0 60000 65536"/>
                  <a:gd name="T17" fmla="*/ 0 60000 65536"/>
                  <a:gd name="T18" fmla="*/ 0 60000 65536"/>
                  <a:gd name="T19" fmla="*/ 0 60000 65536"/>
                  <a:gd name="T20" fmla="*/ 0 60000 65536"/>
                  <a:gd name="T21" fmla="*/ 0 w 128"/>
                  <a:gd name="T22" fmla="*/ 0 h 52"/>
                  <a:gd name="T23" fmla="*/ 128 w 128"/>
                  <a:gd name="T24" fmla="*/ 52 h 5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28" h="52">
                    <a:moveTo>
                      <a:pt x="103" y="52"/>
                    </a:moveTo>
                    <a:lnTo>
                      <a:pt x="128" y="25"/>
                    </a:lnTo>
                    <a:lnTo>
                      <a:pt x="103" y="0"/>
                    </a:lnTo>
                    <a:lnTo>
                      <a:pt x="76" y="0"/>
                    </a:lnTo>
                    <a:lnTo>
                      <a:pt x="0" y="25"/>
                    </a:lnTo>
                    <a:lnTo>
                      <a:pt x="52" y="52"/>
                    </a:lnTo>
                    <a:lnTo>
                      <a:pt x="103" y="52"/>
                    </a:lnTo>
                  </a:path>
                </a:pathLst>
              </a:custGeom>
              <a:grpFill/>
              <a:ln w="9525" cmpd="sng">
                <a:solidFill>
                  <a:schemeClr val="accent6"/>
                </a:solidFill>
                <a:prstDash val="solid"/>
                <a:round/>
                <a:headEnd/>
                <a:tailEnd/>
              </a:ln>
            </p:spPr>
            <p:txBody>
              <a:bodyPr/>
              <a:lstStyle/>
              <a:p>
                <a:endParaRPr lang="en-US" sz="1400">
                  <a:latin typeface="+mn-lt"/>
                </a:endParaRPr>
              </a:p>
            </p:txBody>
          </p:sp>
          <p:sp>
            <p:nvSpPr>
              <p:cNvPr id="38" name="Freeform 33"/>
              <p:cNvSpPr>
                <a:spLocks/>
              </p:cNvSpPr>
              <p:nvPr/>
            </p:nvSpPr>
            <p:spPr bwMode="gray">
              <a:xfrm>
                <a:off x="1720849" y="1440495"/>
                <a:ext cx="165100" cy="84138"/>
              </a:xfrm>
              <a:custGeom>
                <a:avLst/>
                <a:gdLst>
                  <a:gd name="T0" fmla="*/ 25 w 209"/>
                  <a:gd name="T1" fmla="*/ 0 h 106"/>
                  <a:gd name="T2" fmla="*/ 0 w 209"/>
                  <a:gd name="T3" fmla="*/ 0 h 106"/>
                  <a:gd name="T4" fmla="*/ 25 w 209"/>
                  <a:gd name="T5" fmla="*/ 25 h 106"/>
                  <a:gd name="T6" fmla="*/ 25 w 209"/>
                  <a:gd name="T7" fmla="*/ 106 h 106"/>
                  <a:gd name="T8" fmla="*/ 209 w 209"/>
                  <a:gd name="T9" fmla="*/ 106 h 106"/>
                  <a:gd name="T10" fmla="*/ 209 w 209"/>
                  <a:gd name="T11" fmla="*/ 77 h 106"/>
                  <a:gd name="T12" fmla="*/ 105 w 209"/>
                  <a:gd name="T13" fmla="*/ 54 h 106"/>
                  <a:gd name="T14" fmla="*/ 25 w 209"/>
                  <a:gd name="T15" fmla="*/ 0 h 106"/>
                  <a:gd name="T16" fmla="*/ 0 60000 65536"/>
                  <a:gd name="T17" fmla="*/ 0 60000 65536"/>
                  <a:gd name="T18" fmla="*/ 0 60000 65536"/>
                  <a:gd name="T19" fmla="*/ 0 60000 65536"/>
                  <a:gd name="T20" fmla="*/ 0 60000 65536"/>
                  <a:gd name="T21" fmla="*/ 0 60000 65536"/>
                  <a:gd name="T22" fmla="*/ 0 60000 65536"/>
                  <a:gd name="T23" fmla="*/ 0 60000 65536"/>
                  <a:gd name="T24" fmla="*/ 0 w 209"/>
                  <a:gd name="T25" fmla="*/ 0 h 106"/>
                  <a:gd name="T26" fmla="*/ 209 w 209"/>
                  <a:gd name="T27" fmla="*/ 106 h 10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09" h="106">
                    <a:moveTo>
                      <a:pt x="25" y="0"/>
                    </a:moveTo>
                    <a:lnTo>
                      <a:pt x="0" y="0"/>
                    </a:lnTo>
                    <a:lnTo>
                      <a:pt x="25" y="25"/>
                    </a:lnTo>
                    <a:lnTo>
                      <a:pt x="25" y="106"/>
                    </a:lnTo>
                    <a:lnTo>
                      <a:pt x="209" y="106"/>
                    </a:lnTo>
                    <a:lnTo>
                      <a:pt x="209" y="77"/>
                    </a:lnTo>
                    <a:lnTo>
                      <a:pt x="105" y="54"/>
                    </a:lnTo>
                    <a:lnTo>
                      <a:pt x="25" y="0"/>
                    </a:lnTo>
                  </a:path>
                </a:pathLst>
              </a:custGeom>
              <a:grpFill/>
              <a:ln w="9525" cmpd="sng">
                <a:solidFill>
                  <a:schemeClr val="accent6"/>
                </a:solidFill>
                <a:prstDash val="solid"/>
                <a:round/>
                <a:headEnd/>
                <a:tailEnd/>
              </a:ln>
            </p:spPr>
            <p:txBody>
              <a:bodyPr/>
              <a:lstStyle/>
              <a:p>
                <a:endParaRPr lang="en-US" sz="1400">
                  <a:latin typeface="+mn-lt"/>
                </a:endParaRPr>
              </a:p>
            </p:txBody>
          </p:sp>
          <p:sp>
            <p:nvSpPr>
              <p:cNvPr id="39" name="Freeform 34"/>
              <p:cNvSpPr>
                <a:spLocks/>
              </p:cNvSpPr>
              <p:nvPr/>
            </p:nvSpPr>
            <p:spPr bwMode="gray">
              <a:xfrm>
                <a:off x="1535111" y="1378582"/>
                <a:ext cx="103188" cy="82550"/>
              </a:xfrm>
              <a:custGeom>
                <a:avLst/>
                <a:gdLst>
                  <a:gd name="T0" fmla="*/ 131 w 131"/>
                  <a:gd name="T1" fmla="*/ 51 h 103"/>
                  <a:gd name="T2" fmla="*/ 104 w 131"/>
                  <a:gd name="T3" fmla="*/ 27 h 103"/>
                  <a:gd name="T4" fmla="*/ 27 w 131"/>
                  <a:gd name="T5" fmla="*/ 0 h 103"/>
                  <a:gd name="T6" fmla="*/ 0 w 131"/>
                  <a:gd name="T7" fmla="*/ 27 h 103"/>
                  <a:gd name="T8" fmla="*/ 0 w 131"/>
                  <a:gd name="T9" fmla="*/ 51 h 103"/>
                  <a:gd name="T10" fmla="*/ 27 w 131"/>
                  <a:gd name="T11" fmla="*/ 78 h 103"/>
                  <a:gd name="T12" fmla="*/ 52 w 131"/>
                  <a:gd name="T13" fmla="*/ 78 h 103"/>
                  <a:gd name="T14" fmla="*/ 104 w 131"/>
                  <a:gd name="T15" fmla="*/ 103 h 103"/>
                  <a:gd name="T16" fmla="*/ 131 w 131"/>
                  <a:gd name="T17" fmla="*/ 51 h 10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31"/>
                  <a:gd name="T28" fmla="*/ 0 h 103"/>
                  <a:gd name="T29" fmla="*/ 131 w 131"/>
                  <a:gd name="T30" fmla="*/ 103 h 10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31" h="103">
                    <a:moveTo>
                      <a:pt x="131" y="51"/>
                    </a:moveTo>
                    <a:lnTo>
                      <a:pt x="104" y="27"/>
                    </a:lnTo>
                    <a:lnTo>
                      <a:pt x="27" y="0"/>
                    </a:lnTo>
                    <a:lnTo>
                      <a:pt x="0" y="27"/>
                    </a:lnTo>
                    <a:lnTo>
                      <a:pt x="0" y="51"/>
                    </a:lnTo>
                    <a:lnTo>
                      <a:pt x="27" y="78"/>
                    </a:lnTo>
                    <a:lnTo>
                      <a:pt x="52" y="78"/>
                    </a:lnTo>
                    <a:lnTo>
                      <a:pt x="104" y="103"/>
                    </a:lnTo>
                    <a:lnTo>
                      <a:pt x="131" y="51"/>
                    </a:lnTo>
                  </a:path>
                </a:pathLst>
              </a:custGeom>
              <a:grpFill/>
              <a:ln w="9525" cmpd="sng">
                <a:solidFill>
                  <a:schemeClr val="accent6"/>
                </a:solidFill>
                <a:prstDash val="solid"/>
                <a:round/>
                <a:headEnd/>
                <a:tailEnd/>
              </a:ln>
            </p:spPr>
            <p:txBody>
              <a:bodyPr/>
              <a:lstStyle/>
              <a:p>
                <a:endParaRPr lang="en-US" sz="1400">
                  <a:latin typeface="+mn-lt"/>
                </a:endParaRPr>
              </a:p>
            </p:txBody>
          </p:sp>
          <p:sp>
            <p:nvSpPr>
              <p:cNvPr id="40" name="Freeform 35"/>
              <p:cNvSpPr>
                <a:spLocks/>
              </p:cNvSpPr>
              <p:nvPr/>
            </p:nvSpPr>
            <p:spPr bwMode="gray">
              <a:xfrm>
                <a:off x="1638299" y="1419857"/>
                <a:ext cx="60325" cy="63500"/>
              </a:xfrm>
              <a:custGeom>
                <a:avLst/>
                <a:gdLst>
                  <a:gd name="T0" fmla="*/ 77 w 77"/>
                  <a:gd name="T1" fmla="*/ 81 h 81"/>
                  <a:gd name="T2" fmla="*/ 52 w 77"/>
                  <a:gd name="T3" fmla="*/ 52 h 81"/>
                  <a:gd name="T4" fmla="*/ 77 w 77"/>
                  <a:gd name="T5" fmla="*/ 52 h 81"/>
                  <a:gd name="T6" fmla="*/ 52 w 77"/>
                  <a:gd name="T7" fmla="*/ 0 h 81"/>
                  <a:gd name="T8" fmla="*/ 25 w 77"/>
                  <a:gd name="T9" fmla="*/ 27 h 81"/>
                  <a:gd name="T10" fmla="*/ 0 w 77"/>
                  <a:gd name="T11" fmla="*/ 52 h 81"/>
                  <a:gd name="T12" fmla="*/ 25 w 77"/>
                  <a:gd name="T13" fmla="*/ 52 h 81"/>
                  <a:gd name="T14" fmla="*/ 25 w 77"/>
                  <a:gd name="T15" fmla="*/ 81 h 81"/>
                  <a:gd name="T16" fmla="*/ 52 w 77"/>
                  <a:gd name="T17" fmla="*/ 81 h 81"/>
                  <a:gd name="T18" fmla="*/ 77 w 77"/>
                  <a:gd name="T19" fmla="*/ 81 h 81"/>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77"/>
                  <a:gd name="T31" fmla="*/ 0 h 81"/>
                  <a:gd name="T32" fmla="*/ 77 w 77"/>
                  <a:gd name="T33" fmla="*/ 81 h 81"/>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77" h="81">
                    <a:moveTo>
                      <a:pt x="77" y="81"/>
                    </a:moveTo>
                    <a:lnTo>
                      <a:pt x="52" y="52"/>
                    </a:lnTo>
                    <a:lnTo>
                      <a:pt x="77" y="52"/>
                    </a:lnTo>
                    <a:lnTo>
                      <a:pt x="52" y="0"/>
                    </a:lnTo>
                    <a:lnTo>
                      <a:pt x="25" y="27"/>
                    </a:lnTo>
                    <a:lnTo>
                      <a:pt x="0" y="52"/>
                    </a:lnTo>
                    <a:lnTo>
                      <a:pt x="25" y="52"/>
                    </a:lnTo>
                    <a:lnTo>
                      <a:pt x="25" y="81"/>
                    </a:lnTo>
                    <a:lnTo>
                      <a:pt x="52" y="81"/>
                    </a:lnTo>
                    <a:lnTo>
                      <a:pt x="77" y="81"/>
                    </a:lnTo>
                  </a:path>
                </a:pathLst>
              </a:custGeom>
              <a:grpFill/>
              <a:ln w="9525" cmpd="sng">
                <a:solidFill>
                  <a:schemeClr val="accent6"/>
                </a:solidFill>
                <a:prstDash val="solid"/>
                <a:round/>
                <a:headEnd/>
                <a:tailEnd/>
              </a:ln>
            </p:spPr>
            <p:txBody>
              <a:bodyPr/>
              <a:lstStyle/>
              <a:p>
                <a:endParaRPr lang="en-US" sz="1400">
                  <a:latin typeface="+mn-lt"/>
                </a:endParaRPr>
              </a:p>
            </p:txBody>
          </p:sp>
          <p:sp>
            <p:nvSpPr>
              <p:cNvPr id="41" name="Freeform 36"/>
              <p:cNvSpPr>
                <a:spLocks/>
              </p:cNvSpPr>
              <p:nvPr/>
            </p:nvSpPr>
            <p:spPr bwMode="gray">
              <a:xfrm>
                <a:off x="1555749" y="1129345"/>
                <a:ext cx="165100" cy="125413"/>
              </a:xfrm>
              <a:custGeom>
                <a:avLst/>
                <a:gdLst>
                  <a:gd name="T0" fmla="*/ 104 w 208"/>
                  <a:gd name="T1" fmla="*/ 104 h 157"/>
                  <a:gd name="T2" fmla="*/ 129 w 208"/>
                  <a:gd name="T3" fmla="*/ 81 h 157"/>
                  <a:gd name="T4" fmla="*/ 129 w 208"/>
                  <a:gd name="T5" fmla="*/ 104 h 157"/>
                  <a:gd name="T6" fmla="*/ 156 w 208"/>
                  <a:gd name="T7" fmla="*/ 81 h 157"/>
                  <a:gd name="T8" fmla="*/ 181 w 208"/>
                  <a:gd name="T9" fmla="*/ 52 h 157"/>
                  <a:gd name="T10" fmla="*/ 208 w 208"/>
                  <a:gd name="T11" fmla="*/ 29 h 157"/>
                  <a:gd name="T12" fmla="*/ 156 w 208"/>
                  <a:gd name="T13" fmla="*/ 0 h 157"/>
                  <a:gd name="T14" fmla="*/ 129 w 208"/>
                  <a:gd name="T15" fmla="*/ 29 h 157"/>
                  <a:gd name="T16" fmla="*/ 104 w 208"/>
                  <a:gd name="T17" fmla="*/ 52 h 157"/>
                  <a:gd name="T18" fmla="*/ 77 w 208"/>
                  <a:gd name="T19" fmla="*/ 29 h 157"/>
                  <a:gd name="T20" fmla="*/ 52 w 208"/>
                  <a:gd name="T21" fmla="*/ 81 h 157"/>
                  <a:gd name="T22" fmla="*/ 25 w 208"/>
                  <a:gd name="T23" fmla="*/ 104 h 157"/>
                  <a:gd name="T24" fmla="*/ 0 w 208"/>
                  <a:gd name="T25" fmla="*/ 132 h 157"/>
                  <a:gd name="T26" fmla="*/ 0 w 208"/>
                  <a:gd name="T27" fmla="*/ 157 h 157"/>
                  <a:gd name="T28" fmla="*/ 52 w 208"/>
                  <a:gd name="T29" fmla="*/ 132 h 157"/>
                  <a:gd name="T30" fmla="*/ 104 w 208"/>
                  <a:gd name="T31" fmla="*/ 104 h 157"/>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208"/>
                  <a:gd name="T49" fmla="*/ 0 h 157"/>
                  <a:gd name="T50" fmla="*/ 208 w 208"/>
                  <a:gd name="T51" fmla="*/ 157 h 157"/>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208" h="157">
                    <a:moveTo>
                      <a:pt x="104" y="104"/>
                    </a:moveTo>
                    <a:lnTo>
                      <a:pt x="129" y="81"/>
                    </a:lnTo>
                    <a:lnTo>
                      <a:pt x="129" y="104"/>
                    </a:lnTo>
                    <a:lnTo>
                      <a:pt x="156" y="81"/>
                    </a:lnTo>
                    <a:lnTo>
                      <a:pt x="181" y="52"/>
                    </a:lnTo>
                    <a:lnTo>
                      <a:pt x="208" y="29"/>
                    </a:lnTo>
                    <a:lnTo>
                      <a:pt x="156" y="0"/>
                    </a:lnTo>
                    <a:lnTo>
                      <a:pt x="129" y="29"/>
                    </a:lnTo>
                    <a:lnTo>
                      <a:pt x="104" y="52"/>
                    </a:lnTo>
                    <a:lnTo>
                      <a:pt x="77" y="29"/>
                    </a:lnTo>
                    <a:lnTo>
                      <a:pt x="52" y="81"/>
                    </a:lnTo>
                    <a:lnTo>
                      <a:pt x="25" y="104"/>
                    </a:lnTo>
                    <a:lnTo>
                      <a:pt x="0" y="132"/>
                    </a:lnTo>
                    <a:lnTo>
                      <a:pt x="0" y="157"/>
                    </a:lnTo>
                    <a:lnTo>
                      <a:pt x="52" y="132"/>
                    </a:lnTo>
                    <a:lnTo>
                      <a:pt x="104" y="104"/>
                    </a:lnTo>
                  </a:path>
                </a:pathLst>
              </a:custGeom>
              <a:grpFill/>
              <a:ln w="9525" cmpd="sng">
                <a:solidFill>
                  <a:schemeClr val="accent6"/>
                </a:solidFill>
                <a:prstDash val="solid"/>
                <a:round/>
                <a:headEnd/>
                <a:tailEnd/>
              </a:ln>
            </p:spPr>
            <p:txBody>
              <a:bodyPr/>
              <a:lstStyle/>
              <a:p>
                <a:endParaRPr lang="en-US" sz="1400">
                  <a:latin typeface="+mn-lt"/>
                </a:endParaRPr>
              </a:p>
            </p:txBody>
          </p:sp>
          <p:sp>
            <p:nvSpPr>
              <p:cNvPr id="42" name="Freeform 37"/>
              <p:cNvSpPr>
                <a:spLocks/>
              </p:cNvSpPr>
              <p:nvPr/>
            </p:nvSpPr>
            <p:spPr bwMode="gray">
              <a:xfrm>
                <a:off x="1638299" y="1276982"/>
                <a:ext cx="166688" cy="122238"/>
              </a:xfrm>
              <a:custGeom>
                <a:avLst/>
                <a:gdLst>
                  <a:gd name="T0" fmla="*/ 77 w 209"/>
                  <a:gd name="T1" fmla="*/ 52 h 156"/>
                  <a:gd name="T2" fmla="*/ 77 w 209"/>
                  <a:gd name="T3" fmla="*/ 0 h 156"/>
                  <a:gd name="T4" fmla="*/ 52 w 209"/>
                  <a:gd name="T5" fmla="*/ 0 h 156"/>
                  <a:gd name="T6" fmla="*/ 25 w 209"/>
                  <a:gd name="T7" fmla="*/ 25 h 156"/>
                  <a:gd name="T8" fmla="*/ 25 w 209"/>
                  <a:gd name="T9" fmla="*/ 52 h 156"/>
                  <a:gd name="T10" fmla="*/ 0 w 209"/>
                  <a:gd name="T11" fmla="*/ 52 h 156"/>
                  <a:gd name="T12" fmla="*/ 0 w 209"/>
                  <a:gd name="T13" fmla="*/ 77 h 156"/>
                  <a:gd name="T14" fmla="*/ 25 w 209"/>
                  <a:gd name="T15" fmla="*/ 104 h 156"/>
                  <a:gd name="T16" fmla="*/ 0 w 209"/>
                  <a:gd name="T17" fmla="*/ 129 h 156"/>
                  <a:gd name="T18" fmla="*/ 0 w 209"/>
                  <a:gd name="T19" fmla="*/ 156 h 156"/>
                  <a:gd name="T20" fmla="*/ 52 w 209"/>
                  <a:gd name="T21" fmla="*/ 156 h 156"/>
                  <a:gd name="T22" fmla="*/ 104 w 209"/>
                  <a:gd name="T23" fmla="*/ 129 h 156"/>
                  <a:gd name="T24" fmla="*/ 129 w 209"/>
                  <a:gd name="T25" fmla="*/ 129 h 156"/>
                  <a:gd name="T26" fmla="*/ 157 w 209"/>
                  <a:gd name="T27" fmla="*/ 129 h 156"/>
                  <a:gd name="T28" fmla="*/ 180 w 209"/>
                  <a:gd name="T29" fmla="*/ 104 h 156"/>
                  <a:gd name="T30" fmla="*/ 157 w 209"/>
                  <a:gd name="T31" fmla="*/ 77 h 156"/>
                  <a:gd name="T32" fmla="*/ 180 w 209"/>
                  <a:gd name="T33" fmla="*/ 52 h 156"/>
                  <a:gd name="T34" fmla="*/ 209 w 209"/>
                  <a:gd name="T35" fmla="*/ 25 h 156"/>
                  <a:gd name="T36" fmla="*/ 180 w 209"/>
                  <a:gd name="T37" fmla="*/ 0 h 156"/>
                  <a:gd name="T38" fmla="*/ 157 w 209"/>
                  <a:gd name="T39" fmla="*/ 0 h 156"/>
                  <a:gd name="T40" fmla="*/ 157 w 209"/>
                  <a:gd name="T41" fmla="*/ 52 h 156"/>
                  <a:gd name="T42" fmla="*/ 129 w 209"/>
                  <a:gd name="T43" fmla="*/ 52 h 156"/>
                  <a:gd name="T44" fmla="*/ 104 w 209"/>
                  <a:gd name="T45" fmla="*/ 52 h 156"/>
                  <a:gd name="T46" fmla="*/ 77 w 209"/>
                  <a:gd name="T47" fmla="*/ 52 h 15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209"/>
                  <a:gd name="T73" fmla="*/ 0 h 156"/>
                  <a:gd name="T74" fmla="*/ 209 w 209"/>
                  <a:gd name="T75" fmla="*/ 156 h 15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209" h="156">
                    <a:moveTo>
                      <a:pt x="77" y="52"/>
                    </a:moveTo>
                    <a:lnTo>
                      <a:pt x="77" y="0"/>
                    </a:lnTo>
                    <a:lnTo>
                      <a:pt x="52" y="0"/>
                    </a:lnTo>
                    <a:lnTo>
                      <a:pt x="25" y="25"/>
                    </a:lnTo>
                    <a:lnTo>
                      <a:pt x="25" y="52"/>
                    </a:lnTo>
                    <a:lnTo>
                      <a:pt x="0" y="52"/>
                    </a:lnTo>
                    <a:lnTo>
                      <a:pt x="0" y="77"/>
                    </a:lnTo>
                    <a:lnTo>
                      <a:pt x="25" y="104"/>
                    </a:lnTo>
                    <a:lnTo>
                      <a:pt x="0" y="129"/>
                    </a:lnTo>
                    <a:lnTo>
                      <a:pt x="0" y="156"/>
                    </a:lnTo>
                    <a:lnTo>
                      <a:pt x="52" y="156"/>
                    </a:lnTo>
                    <a:lnTo>
                      <a:pt x="104" y="129"/>
                    </a:lnTo>
                    <a:lnTo>
                      <a:pt x="129" y="129"/>
                    </a:lnTo>
                    <a:lnTo>
                      <a:pt x="157" y="129"/>
                    </a:lnTo>
                    <a:lnTo>
                      <a:pt x="180" y="104"/>
                    </a:lnTo>
                    <a:lnTo>
                      <a:pt x="157" y="77"/>
                    </a:lnTo>
                    <a:lnTo>
                      <a:pt x="180" y="52"/>
                    </a:lnTo>
                    <a:lnTo>
                      <a:pt x="209" y="25"/>
                    </a:lnTo>
                    <a:lnTo>
                      <a:pt x="180" y="0"/>
                    </a:lnTo>
                    <a:lnTo>
                      <a:pt x="157" y="0"/>
                    </a:lnTo>
                    <a:lnTo>
                      <a:pt x="157" y="52"/>
                    </a:lnTo>
                    <a:lnTo>
                      <a:pt x="129" y="52"/>
                    </a:lnTo>
                    <a:lnTo>
                      <a:pt x="104" y="52"/>
                    </a:lnTo>
                    <a:lnTo>
                      <a:pt x="77" y="52"/>
                    </a:lnTo>
                  </a:path>
                </a:pathLst>
              </a:custGeom>
              <a:grpFill/>
              <a:ln w="9525" cmpd="sng">
                <a:solidFill>
                  <a:schemeClr val="accent6"/>
                </a:solidFill>
                <a:prstDash val="solid"/>
                <a:round/>
                <a:headEnd/>
                <a:tailEnd/>
              </a:ln>
            </p:spPr>
            <p:txBody>
              <a:bodyPr/>
              <a:lstStyle/>
              <a:p>
                <a:endParaRPr lang="en-US" sz="1400">
                  <a:latin typeface="+mn-lt"/>
                </a:endParaRPr>
              </a:p>
            </p:txBody>
          </p:sp>
          <p:sp>
            <p:nvSpPr>
              <p:cNvPr id="43" name="Freeform 38"/>
              <p:cNvSpPr>
                <a:spLocks/>
              </p:cNvSpPr>
              <p:nvPr/>
            </p:nvSpPr>
            <p:spPr bwMode="gray">
              <a:xfrm>
                <a:off x="3786187" y="1172207"/>
                <a:ext cx="163513" cy="228600"/>
              </a:xfrm>
              <a:custGeom>
                <a:avLst/>
                <a:gdLst>
                  <a:gd name="T0" fmla="*/ 27 w 207"/>
                  <a:gd name="T1" fmla="*/ 106 h 288"/>
                  <a:gd name="T2" fmla="*/ 27 w 207"/>
                  <a:gd name="T3" fmla="*/ 133 h 288"/>
                  <a:gd name="T4" fmla="*/ 52 w 207"/>
                  <a:gd name="T5" fmla="*/ 158 h 288"/>
                  <a:gd name="T6" fmla="*/ 79 w 207"/>
                  <a:gd name="T7" fmla="*/ 158 h 288"/>
                  <a:gd name="T8" fmla="*/ 104 w 207"/>
                  <a:gd name="T9" fmla="*/ 133 h 288"/>
                  <a:gd name="T10" fmla="*/ 131 w 207"/>
                  <a:gd name="T11" fmla="*/ 133 h 288"/>
                  <a:gd name="T12" fmla="*/ 131 w 207"/>
                  <a:gd name="T13" fmla="*/ 158 h 288"/>
                  <a:gd name="T14" fmla="*/ 104 w 207"/>
                  <a:gd name="T15" fmla="*/ 158 h 288"/>
                  <a:gd name="T16" fmla="*/ 104 w 207"/>
                  <a:gd name="T17" fmla="*/ 185 h 288"/>
                  <a:gd name="T18" fmla="*/ 131 w 207"/>
                  <a:gd name="T19" fmla="*/ 185 h 288"/>
                  <a:gd name="T20" fmla="*/ 131 w 207"/>
                  <a:gd name="T21" fmla="*/ 210 h 288"/>
                  <a:gd name="T22" fmla="*/ 104 w 207"/>
                  <a:gd name="T23" fmla="*/ 237 h 288"/>
                  <a:gd name="T24" fmla="*/ 104 w 207"/>
                  <a:gd name="T25" fmla="*/ 261 h 288"/>
                  <a:gd name="T26" fmla="*/ 156 w 207"/>
                  <a:gd name="T27" fmla="*/ 288 h 288"/>
                  <a:gd name="T28" fmla="*/ 156 w 207"/>
                  <a:gd name="T29" fmla="*/ 261 h 288"/>
                  <a:gd name="T30" fmla="*/ 156 w 207"/>
                  <a:gd name="T31" fmla="*/ 237 h 288"/>
                  <a:gd name="T32" fmla="*/ 184 w 207"/>
                  <a:gd name="T33" fmla="*/ 185 h 288"/>
                  <a:gd name="T34" fmla="*/ 184 w 207"/>
                  <a:gd name="T35" fmla="*/ 158 h 288"/>
                  <a:gd name="T36" fmla="*/ 184 w 207"/>
                  <a:gd name="T37" fmla="*/ 106 h 288"/>
                  <a:gd name="T38" fmla="*/ 207 w 207"/>
                  <a:gd name="T39" fmla="*/ 106 h 288"/>
                  <a:gd name="T40" fmla="*/ 184 w 207"/>
                  <a:gd name="T41" fmla="*/ 81 h 288"/>
                  <a:gd name="T42" fmla="*/ 156 w 207"/>
                  <a:gd name="T43" fmla="*/ 81 h 288"/>
                  <a:gd name="T44" fmla="*/ 131 w 207"/>
                  <a:gd name="T45" fmla="*/ 29 h 288"/>
                  <a:gd name="T46" fmla="*/ 131 w 207"/>
                  <a:gd name="T47" fmla="*/ 54 h 288"/>
                  <a:gd name="T48" fmla="*/ 104 w 207"/>
                  <a:gd name="T49" fmla="*/ 54 h 288"/>
                  <a:gd name="T50" fmla="*/ 104 w 207"/>
                  <a:gd name="T51" fmla="*/ 81 h 288"/>
                  <a:gd name="T52" fmla="*/ 79 w 207"/>
                  <a:gd name="T53" fmla="*/ 54 h 288"/>
                  <a:gd name="T54" fmla="*/ 79 w 207"/>
                  <a:gd name="T55" fmla="*/ 29 h 288"/>
                  <a:gd name="T56" fmla="*/ 52 w 207"/>
                  <a:gd name="T57" fmla="*/ 0 h 288"/>
                  <a:gd name="T58" fmla="*/ 52 w 207"/>
                  <a:gd name="T59" fmla="*/ 29 h 288"/>
                  <a:gd name="T60" fmla="*/ 27 w 207"/>
                  <a:gd name="T61" fmla="*/ 29 h 288"/>
                  <a:gd name="T62" fmla="*/ 0 w 207"/>
                  <a:gd name="T63" fmla="*/ 29 h 288"/>
                  <a:gd name="T64" fmla="*/ 27 w 207"/>
                  <a:gd name="T65" fmla="*/ 81 h 288"/>
                  <a:gd name="T66" fmla="*/ 27 w 207"/>
                  <a:gd name="T67" fmla="*/ 106 h 288"/>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207"/>
                  <a:gd name="T103" fmla="*/ 0 h 288"/>
                  <a:gd name="T104" fmla="*/ 207 w 207"/>
                  <a:gd name="T105" fmla="*/ 288 h 288"/>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207" h="288">
                    <a:moveTo>
                      <a:pt x="27" y="106"/>
                    </a:moveTo>
                    <a:lnTo>
                      <a:pt x="27" y="133"/>
                    </a:lnTo>
                    <a:lnTo>
                      <a:pt x="52" y="158"/>
                    </a:lnTo>
                    <a:lnTo>
                      <a:pt x="79" y="158"/>
                    </a:lnTo>
                    <a:lnTo>
                      <a:pt x="104" y="133"/>
                    </a:lnTo>
                    <a:lnTo>
                      <a:pt x="131" y="133"/>
                    </a:lnTo>
                    <a:lnTo>
                      <a:pt x="131" y="158"/>
                    </a:lnTo>
                    <a:lnTo>
                      <a:pt x="104" y="158"/>
                    </a:lnTo>
                    <a:lnTo>
                      <a:pt x="104" y="185"/>
                    </a:lnTo>
                    <a:lnTo>
                      <a:pt x="131" y="185"/>
                    </a:lnTo>
                    <a:lnTo>
                      <a:pt x="131" y="210"/>
                    </a:lnTo>
                    <a:lnTo>
                      <a:pt x="104" y="237"/>
                    </a:lnTo>
                    <a:lnTo>
                      <a:pt x="104" y="261"/>
                    </a:lnTo>
                    <a:lnTo>
                      <a:pt x="156" y="288"/>
                    </a:lnTo>
                    <a:lnTo>
                      <a:pt x="156" y="261"/>
                    </a:lnTo>
                    <a:lnTo>
                      <a:pt x="156" y="237"/>
                    </a:lnTo>
                    <a:lnTo>
                      <a:pt x="184" y="185"/>
                    </a:lnTo>
                    <a:lnTo>
                      <a:pt x="184" y="158"/>
                    </a:lnTo>
                    <a:lnTo>
                      <a:pt x="184" y="106"/>
                    </a:lnTo>
                    <a:lnTo>
                      <a:pt x="207" y="106"/>
                    </a:lnTo>
                    <a:lnTo>
                      <a:pt x="184" y="81"/>
                    </a:lnTo>
                    <a:lnTo>
                      <a:pt x="156" y="81"/>
                    </a:lnTo>
                    <a:lnTo>
                      <a:pt x="131" y="29"/>
                    </a:lnTo>
                    <a:lnTo>
                      <a:pt x="131" y="54"/>
                    </a:lnTo>
                    <a:lnTo>
                      <a:pt x="104" y="54"/>
                    </a:lnTo>
                    <a:lnTo>
                      <a:pt x="104" y="81"/>
                    </a:lnTo>
                    <a:lnTo>
                      <a:pt x="79" y="54"/>
                    </a:lnTo>
                    <a:lnTo>
                      <a:pt x="79" y="29"/>
                    </a:lnTo>
                    <a:lnTo>
                      <a:pt x="52" y="0"/>
                    </a:lnTo>
                    <a:lnTo>
                      <a:pt x="52" y="29"/>
                    </a:lnTo>
                    <a:lnTo>
                      <a:pt x="27" y="29"/>
                    </a:lnTo>
                    <a:lnTo>
                      <a:pt x="0" y="29"/>
                    </a:lnTo>
                    <a:lnTo>
                      <a:pt x="27" y="81"/>
                    </a:lnTo>
                    <a:lnTo>
                      <a:pt x="27" y="106"/>
                    </a:lnTo>
                    <a:close/>
                  </a:path>
                </a:pathLst>
              </a:custGeom>
              <a:grpFill/>
              <a:ln w="9525" cmpd="sng">
                <a:solidFill>
                  <a:schemeClr val="accent6"/>
                </a:solidFill>
                <a:prstDash val="solid"/>
                <a:round/>
                <a:headEnd/>
                <a:tailEnd/>
              </a:ln>
            </p:spPr>
            <p:txBody>
              <a:bodyPr/>
              <a:lstStyle/>
              <a:p>
                <a:endParaRPr lang="en-US" sz="1400">
                  <a:latin typeface="+mn-lt"/>
                </a:endParaRPr>
              </a:p>
            </p:txBody>
          </p:sp>
          <p:sp>
            <p:nvSpPr>
              <p:cNvPr id="44" name="Freeform 39"/>
              <p:cNvSpPr>
                <a:spLocks/>
              </p:cNvSpPr>
              <p:nvPr/>
            </p:nvSpPr>
            <p:spPr bwMode="gray">
              <a:xfrm>
                <a:off x="3949700" y="1172207"/>
                <a:ext cx="82550" cy="84138"/>
              </a:xfrm>
              <a:custGeom>
                <a:avLst/>
                <a:gdLst>
                  <a:gd name="T0" fmla="*/ 52 w 104"/>
                  <a:gd name="T1" fmla="*/ 106 h 106"/>
                  <a:gd name="T2" fmla="*/ 52 w 104"/>
                  <a:gd name="T3" fmla="*/ 81 h 106"/>
                  <a:gd name="T4" fmla="*/ 81 w 104"/>
                  <a:gd name="T5" fmla="*/ 54 h 106"/>
                  <a:gd name="T6" fmla="*/ 104 w 104"/>
                  <a:gd name="T7" fmla="*/ 54 h 106"/>
                  <a:gd name="T8" fmla="*/ 104 w 104"/>
                  <a:gd name="T9" fmla="*/ 29 h 106"/>
                  <a:gd name="T10" fmla="*/ 104 w 104"/>
                  <a:gd name="T11" fmla="*/ 0 h 106"/>
                  <a:gd name="T12" fmla="*/ 81 w 104"/>
                  <a:gd name="T13" fmla="*/ 0 h 106"/>
                  <a:gd name="T14" fmla="*/ 29 w 104"/>
                  <a:gd name="T15" fmla="*/ 29 h 106"/>
                  <a:gd name="T16" fmla="*/ 29 w 104"/>
                  <a:gd name="T17" fmla="*/ 0 h 106"/>
                  <a:gd name="T18" fmla="*/ 0 w 104"/>
                  <a:gd name="T19" fmla="*/ 29 h 106"/>
                  <a:gd name="T20" fmla="*/ 0 w 104"/>
                  <a:gd name="T21" fmla="*/ 54 h 106"/>
                  <a:gd name="T22" fmla="*/ 0 w 104"/>
                  <a:gd name="T23" fmla="*/ 81 h 106"/>
                  <a:gd name="T24" fmla="*/ 29 w 104"/>
                  <a:gd name="T25" fmla="*/ 106 h 106"/>
                  <a:gd name="T26" fmla="*/ 52 w 104"/>
                  <a:gd name="T27" fmla="*/ 106 h 10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04"/>
                  <a:gd name="T43" fmla="*/ 0 h 106"/>
                  <a:gd name="T44" fmla="*/ 104 w 104"/>
                  <a:gd name="T45" fmla="*/ 106 h 10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04" h="106">
                    <a:moveTo>
                      <a:pt x="52" y="106"/>
                    </a:moveTo>
                    <a:lnTo>
                      <a:pt x="52" y="81"/>
                    </a:lnTo>
                    <a:lnTo>
                      <a:pt x="81" y="54"/>
                    </a:lnTo>
                    <a:lnTo>
                      <a:pt x="104" y="54"/>
                    </a:lnTo>
                    <a:lnTo>
                      <a:pt x="104" y="29"/>
                    </a:lnTo>
                    <a:lnTo>
                      <a:pt x="104" y="0"/>
                    </a:lnTo>
                    <a:lnTo>
                      <a:pt x="81" y="0"/>
                    </a:lnTo>
                    <a:lnTo>
                      <a:pt x="29" y="29"/>
                    </a:lnTo>
                    <a:lnTo>
                      <a:pt x="29" y="0"/>
                    </a:lnTo>
                    <a:lnTo>
                      <a:pt x="0" y="29"/>
                    </a:lnTo>
                    <a:lnTo>
                      <a:pt x="0" y="54"/>
                    </a:lnTo>
                    <a:lnTo>
                      <a:pt x="0" y="81"/>
                    </a:lnTo>
                    <a:lnTo>
                      <a:pt x="29" y="106"/>
                    </a:lnTo>
                    <a:lnTo>
                      <a:pt x="52" y="106"/>
                    </a:lnTo>
                  </a:path>
                </a:pathLst>
              </a:custGeom>
              <a:grpFill/>
              <a:ln w="9525" cmpd="sng">
                <a:solidFill>
                  <a:schemeClr val="accent6"/>
                </a:solidFill>
                <a:prstDash val="solid"/>
                <a:round/>
                <a:headEnd/>
                <a:tailEnd/>
              </a:ln>
            </p:spPr>
            <p:txBody>
              <a:bodyPr/>
              <a:lstStyle/>
              <a:p>
                <a:endParaRPr lang="en-US" sz="1400">
                  <a:latin typeface="+mn-lt"/>
                </a:endParaRPr>
              </a:p>
            </p:txBody>
          </p:sp>
          <p:sp>
            <p:nvSpPr>
              <p:cNvPr id="45" name="Freeform 40"/>
              <p:cNvSpPr>
                <a:spLocks/>
              </p:cNvSpPr>
              <p:nvPr/>
            </p:nvSpPr>
            <p:spPr bwMode="gray">
              <a:xfrm>
                <a:off x="3949700" y="1296032"/>
                <a:ext cx="65088" cy="82550"/>
              </a:xfrm>
              <a:custGeom>
                <a:avLst/>
                <a:gdLst>
                  <a:gd name="T0" fmla="*/ 0 w 81"/>
                  <a:gd name="T1" fmla="*/ 0 h 103"/>
                  <a:gd name="T2" fmla="*/ 0 w 81"/>
                  <a:gd name="T3" fmla="*/ 52 h 103"/>
                  <a:gd name="T4" fmla="*/ 29 w 81"/>
                  <a:gd name="T5" fmla="*/ 79 h 103"/>
                  <a:gd name="T6" fmla="*/ 52 w 81"/>
                  <a:gd name="T7" fmla="*/ 103 h 103"/>
                  <a:gd name="T8" fmla="*/ 81 w 81"/>
                  <a:gd name="T9" fmla="*/ 79 h 103"/>
                  <a:gd name="T10" fmla="*/ 81 w 81"/>
                  <a:gd name="T11" fmla="*/ 52 h 103"/>
                  <a:gd name="T12" fmla="*/ 52 w 81"/>
                  <a:gd name="T13" fmla="*/ 52 h 103"/>
                  <a:gd name="T14" fmla="*/ 29 w 81"/>
                  <a:gd name="T15" fmla="*/ 52 h 103"/>
                  <a:gd name="T16" fmla="*/ 29 w 81"/>
                  <a:gd name="T17" fmla="*/ 27 h 103"/>
                  <a:gd name="T18" fmla="*/ 0 w 81"/>
                  <a:gd name="T19" fmla="*/ 0 h 10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81"/>
                  <a:gd name="T31" fmla="*/ 0 h 103"/>
                  <a:gd name="T32" fmla="*/ 81 w 81"/>
                  <a:gd name="T33" fmla="*/ 103 h 10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81" h="103">
                    <a:moveTo>
                      <a:pt x="0" y="0"/>
                    </a:moveTo>
                    <a:lnTo>
                      <a:pt x="0" y="52"/>
                    </a:lnTo>
                    <a:lnTo>
                      <a:pt x="29" y="79"/>
                    </a:lnTo>
                    <a:lnTo>
                      <a:pt x="52" y="103"/>
                    </a:lnTo>
                    <a:lnTo>
                      <a:pt x="81" y="79"/>
                    </a:lnTo>
                    <a:lnTo>
                      <a:pt x="81" y="52"/>
                    </a:lnTo>
                    <a:lnTo>
                      <a:pt x="52" y="52"/>
                    </a:lnTo>
                    <a:lnTo>
                      <a:pt x="29" y="52"/>
                    </a:lnTo>
                    <a:lnTo>
                      <a:pt x="29" y="27"/>
                    </a:lnTo>
                    <a:lnTo>
                      <a:pt x="0" y="0"/>
                    </a:lnTo>
                  </a:path>
                </a:pathLst>
              </a:custGeom>
              <a:grpFill/>
              <a:ln w="9525" cmpd="sng">
                <a:solidFill>
                  <a:schemeClr val="accent6"/>
                </a:solidFill>
                <a:prstDash val="solid"/>
                <a:round/>
                <a:headEnd/>
                <a:tailEnd/>
              </a:ln>
            </p:spPr>
            <p:txBody>
              <a:bodyPr/>
              <a:lstStyle/>
              <a:p>
                <a:endParaRPr lang="en-US" sz="1400">
                  <a:latin typeface="+mn-lt"/>
                </a:endParaRPr>
              </a:p>
            </p:txBody>
          </p:sp>
          <p:sp>
            <p:nvSpPr>
              <p:cNvPr id="46" name="Freeform 41"/>
              <p:cNvSpPr>
                <a:spLocks/>
              </p:cNvSpPr>
              <p:nvPr/>
            </p:nvSpPr>
            <p:spPr bwMode="gray">
              <a:xfrm>
                <a:off x="6142038" y="4271007"/>
                <a:ext cx="80963" cy="39688"/>
              </a:xfrm>
              <a:custGeom>
                <a:avLst/>
                <a:gdLst>
                  <a:gd name="T0" fmla="*/ 52 w 104"/>
                  <a:gd name="T1" fmla="*/ 0 h 52"/>
                  <a:gd name="T2" fmla="*/ 23 w 104"/>
                  <a:gd name="T3" fmla="*/ 0 h 52"/>
                  <a:gd name="T4" fmla="*/ 0 w 104"/>
                  <a:gd name="T5" fmla="*/ 23 h 52"/>
                  <a:gd name="T6" fmla="*/ 23 w 104"/>
                  <a:gd name="T7" fmla="*/ 23 h 52"/>
                  <a:gd name="T8" fmla="*/ 52 w 104"/>
                  <a:gd name="T9" fmla="*/ 52 h 52"/>
                  <a:gd name="T10" fmla="*/ 75 w 104"/>
                  <a:gd name="T11" fmla="*/ 23 h 52"/>
                  <a:gd name="T12" fmla="*/ 104 w 104"/>
                  <a:gd name="T13" fmla="*/ 23 h 52"/>
                  <a:gd name="T14" fmla="*/ 75 w 104"/>
                  <a:gd name="T15" fmla="*/ 0 h 52"/>
                  <a:gd name="T16" fmla="*/ 52 w 104"/>
                  <a:gd name="T17" fmla="*/ 0 h 5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04"/>
                  <a:gd name="T28" fmla="*/ 0 h 52"/>
                  <a:gd name="T29" fmla="*/ 104 w 104"/>
                  <a:gd name="T30" fmla="*/ 52 h 5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04" h="52">
                    <a:moveTo>
                      <a:pt x="52" y="0"/>
                    </a:moveTo>
                    <a:lnTo>
                      <a:pt x="23" y="0"/>
                    </a:lnTo>
                    <a:lnTo>
                      <a:pt x="0" y="23"/>
                    </a:lnTo>
                    <a:lnTo>
                      <a:pt x="23" y="23"/>
                    </a:lnTo>
                    <a:lnTo>
                      <a:pt x="52" y="52"/>
                    </a:lnTo>
                    <a:lnTo>
                      <a:pt x="75" y="23"/>
                    </a:lnTo>
                    <a:lnTo>
                      <a:pt x="104" y="23"/>
                    </a:lnTo>
                    <a:lnTo>
                      <a:pt x="75" y="0"/>
                    </a:lnTo>
                    <a:lnTo>
                      <a:pt x="52" y="0"/>
                    </a:lnTo>
                  </a:path>
                </a:pathLst>
              </a:custGeom>
              <a:grpFill/>
              <a:ln w="9525" cmpd="sng">
                <a:solidFill>
                  <a:schemeClr val="accent6"/>
                </a:solidFill>
                <a:prstDash val="solid"/>
                <a:round/>
                <a:headEnd/>
                <a:tailEnd/>
              </a:ln>
            </p:spPr>
            <p:txBody>
              <a:bodyPr/>
              <a:lstStyle/>
              <a:p>
                <a:endParaRPr lang="en-US" sz="1400">
                  <a:latin typeface="+mn-lt"/>
                </a:endParaRPr>
              </a:p>
            </p:txBody>
          </p:sp>
          <p:sp>
            <p:nvSpPr>
              <p:cNvPr id="47" name="Freeform 42"/>
              <p:cNvSpPr>
                <a:spLocks/>
              </p:cNvSpPr>
              <p:nvPr/>
            </p:nvSpPr>
            <p:spPr bwMode="gray">
              <a:xfrm>
                <a:off x="6223001" y="4271007"/>
                <a:ext cx="142875" cy="39688"/>
              </a:xfrm>
              <a:custGeom>
                <a:avLst/>
                <a:gdLst>
                  <a:gd name="T0" fmla="*/ 127 w 179"/>
                  <a:gd name="T1" fmla="*/ 23 h 52"/>
                  <a:gd name="T2" fmla="*/ 127 w 179"/>
                  <a:gd name="T3" fmla="*/ 0 h 52"/>
                  <a:gd name="T4" fmla="*/ 104 w 179"/>
                  <a:gd name="T5" fmla="*/ 0 h 52"/>
                  <a:gd name="T6" fmla="*/ 52 w 179"/>
                  <a:gd name="T7" fmla="*/ 0 h 52"/>
                  <a:gd name="T8" fmla="*/ 0 w 179"/>
                  <a:gd name="T9" fmla="*/ 0 h 52"/>
                  <a:gd name="T10" fmla="*/ 0 w 179"/>
                  <a:gd name="T11" fmla="*/ 23 h 52"/>
                  <a:gd name="T12" fmla="*/ 23 w 179"/>
                  <a:gd name="T13" fmla="*/ 23 h 52"/>
                  <a:gd name="T14" fmla="*/ 52 w 179"/>
                  <a:gd name="T15" fmla="*/ 52 h 52"/>
                  <a:gd name="T16" fmla="*/ 75 w 179"/>
                  <a:gd name="T17" fmla="*/ 52 h 52"/>
                  <a:gd name="T18" fmla="*/ 104 w 179"/>
                  <a:gd name="T19" fmla="*/ 52 h 52"/>
                  <a:gd name="T20" fmla="*/ 179 w 179"/>
                  <a:gd name="T21" fmla="*/ 52 h 52"/>
                  <a:gd name="T22" fmla="*/ 179 w 179"/>
                  <a:gd name="T23" fmla="*/ 23 h 52"/>
                  <a:gd name="T24" fmla="*/ 155 w 179"/>
                  <a:gd name="T25" fmla="*/ 23 h 52"/>
                  <a:gd name="T26" fmla="*/ 127 w 179"/>
                  <a:gd name="T27" fmla="*/ 23 h 52"/>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79"/>
                  <a:gd name="T43" fmla="*/ 0 h 52"/>
                  <a:gd name="T44" fmla="*/ 179 w 179"/>
                  <a:gd name="T45" fmla="*/ 52 h 52"/>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79" h="52">
                    <a:moveTo>
                      <a:pt x="127" y="23"/>
                    </a:moveTo>
                    <a:lnTo>
                      <a:pt x="127" y="0"/>
                    </a:lnTo>
                    <a:lnTo>
                      <a:pt x="104" y="0"/>
                    </a:lnTo>
                    <a:lnTo>
                      <a:pt x="52" y="0"/>
                    </a:lnTo>
                    <a:lnTo>
                      <a:pt x="0" y="0"/>
                    </a:lnTo>
                    <a:lnTo>
                      <a:pt x="0" y="23"/>
                    </a:lnTo>
                    <a:lnTo>
                      <a:pt x="23" y="23"/>
                    </a:lnTo>
                    <a:lnTo>
                      <a:pt x="52" y="52"/>
                    </a:lnTo>
                    <a:lnTo>
                      <a:pt x="75" y="52"/>
                    </a:lnTo>
                    <a:lnTo>
                      <a:pt x="104" y="52"/>
                    </a:lnTo>
                    <a:lnTo>
                      <a:pt x="179" y="52"/>
                    </a:lnTo>
                    <a:lnTo>
                      <a:pt x="179" y="23"/>
                    </a:lnTo>
                    <a:lnTo>
                      <a:pt x="155" y="23"/>
                    </a:lnTo>
                    <a:lnTo>
                      <a:pt x="127" y="23"/>
                    </a:lnTo>
                  </a:path>
                </a:pathLst>
              </a:custGeom>
              <a:grpFill/>
              <a:ln w="9525" cmpd="sng">
                <a:solidFill>
                  <a:schemeClr val="accent6"/>
                </a:solidFill>
                <a:prstDash val="solid"/>
                <a:round/>
                <a:headEnd/>
                <a:tailEnd/>
              </a:ln>
            </p:spPr>
            <p:txBody>
              <a:bodyPr/>
              <a:lstStyle/>
              <a:p>
                <a:endParaRPr lang="en-US" sz="1400">
                  <a:latin typeface="+mn-lt"/>
                </a:endParaRPr>
              </a:p>
            </p:txBody>
          </p:sp>
          <p:sp>
            <p:nvSpPr>
              <p:cNvPr id="48" name="Freeform 43"/>
              <p:cNvSpPr>
                <a:spLocks/>
              </p:cNvSpPr>
              <p:nvPr/>
            </p:nvSpPr>
            <p:spPr bwMode="gray">
              <a:xfrm>
                <a:off x="6470651" y="4271007"/>
                <a:ext cx="60325" cy="17463"/>
              </a:xfrm>
              <a:custGeom>
                <a:avLst/>
                <a:gdLst>
                  <a:gd name="T0" fmla="*/ 25 w 77"/>
                  <a:gd name="T1" fmla="*/ 0 h 23"/>
                  <a:gd name="T2" fmla="*/ 0 w 77"/>
                  <a:gd name="T3" fmla="*/ 0 h 23"/>
                  <a:gd name="T4" fmla="*/ 25 w 77"/>
                  <a:gd name="T5" fmla="*/ 23 h 23"/>
                  <a:gd name="T6" fmla="*/ 52 w 77"/>
                  <a:gd name="T7" fmla="*/ 23 h 23"/>
                  <a:gd name="T8" fmla="*/ 77 w 77"/>
                  <a:gd name="T9" fmla="*/ 23 h 23"/>
                  <a:gd name="T10" fmla="*/ 77 w 77"/>
                  <a:gd name="T11" fmla="*/ 0 h 23"/>
                  <a:gd name="T12" fmla="*/ 52 w 77"/>
                  <a:gd name="T13" fmla="*/ 0 h 23"/>
                  <a:gd name="T14" fmla="*/ 25 w 77"/>
                  <a:gd name="T15" fmla="*/ 0 h 23"/>
                  <a:gd name="T16" fmla="*/ 0 60000 65536"/>
                  <a:gd name="T17" fmla="*/ 0 60000 65536"/>
                  <a:gd name="T18" fmla="*/ 0 60000 65536"/>
                  <a:gd name="T19" fmla="*/ 0 60000 65536"/>
                  <a:gd name="T20" fmla="*/ 0 60000 65536"/>
                  <a:gd name="T21" fmla="*/ 0 60000 65536"/>
                  <a:gd name="T22" fmla="*/ 0 60000 65536"/>
                  <a:gd name="T23" fmla="*/ 0 60000 65536"/>
                  <a:gd name="T24" fmla="*/ 0 w 77"/>
                  <a:gd name="T25" fmla="*/ 0 h 23"/>
                  <a:gd name="T26" fmla="*/ 77 w 77"/>
                  <a:gd name="T27" fmla="*/ 23 h 2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77" h="23">
                    <a:moveTo>
                      <a:pt x="25" y="0"/>
                    </a:moveTo>
                    <a:lnTo>
                      <a:pt x="0" y="0"/>
                    </a:lnTo>
                    <a:lnTo>
                      <a:pt x="25" y="23"/>
                    </a:lnTo>
                    <a:lnTo>
                      <a:pt x="52" y="23"/>
                    </a:lnTo>
                    <a:lnTo>
                      <a:pt x="77" y="23"/>
                    </a:lnTo>
                    <a:lnTo>
                      <a:pt x="77" y="0"/>
                    </a:lnTo>
                    <a:lnTo>
                      <a:pt x="52" y="0"/>
                    </a:lnTo>
                    <a:lnTo>
                      <a:pt x="25" y="0"/>
                    </a:lnTo>
                  </a:path>
                </a:pathLst>
              </a:custGeom>
              <a:grpFill/>
              <a:ln w="9525" cmpd="sng">
                <a:solidFill>
                  <a:schemeClr val="accent6"/>
                </a:solidFill>
                <a:prstDash val="solid"/>
                <a:round/>
                <a:headEnd/>
                <a:tailEnd/>
              </a:ln>
            </p:spPr>
            <p:txBody>
              <a:bodyPr/>
              <a:lstStyle/>
              <a:p>
                <a:endParaRPr lang="en-US" sz="1400">
                  <a:latin typeface="+mn-lt"/>
                </a:endParaRPr>
              </a:p>
            </p:txBody>
          </p:sp>
          <p:sp>
            <p:nvSpPr>
              <p:cNvPr id="49" name="Freeform 44"/>
              <p:cNvSpPr>
                <a:spLocks/>
              </p:cNvSpPr>
              <p:nvPr/>
            </p:nvSpPr>
            <p:spPr bwMode="gray">
              <a:xfrm>
                <a:off x="6470651" y="4310695"/>
                <a:ext cx="19050" cy="19050"/>
              </a:xfrm>
              <a:custGeom>
                <a:avLst/>
                <a:gdLst>
                  <a:gd name="T0" fmla="*/ 25 w 25"/>
                  <a:gd name="T1" fmla="*/ 23 h 23"/>
                  <a:gd name="T2" fmla="*/ 25 w 25"/>
                  <a:gd name="T3" fmla="*/ 0 h 23"/>
                  <a:gd name="T4" fmla="*/ 0 w 25"/>
                  <a:gd name="T5" fmla="*/ 0 h 23"/>
                  <a:gd name="T6" fmla="*/ 25 w 25"/>
                  <a:gd name="T7" fmla="*/ 23 h 23"/>
                  <a:gd name="T8" fmla="*/ 0 60000 65536"/>
                  <a:gd name="T9" fmla="*/ 0 60000 65536"/>
                  <a:gd name="T10" fmla="*/ 0 60000 65536"/>
                  <a:gd name="T11" fmla="*/ 0 60000 65536"/>
                  <a:gd name="T12" fmla="*/ 0 w 25"/>
                  <a:gd name="T13" fmla="*/ 0 h 23"/>
                  <a:gd name="T14" fmla="*/ 25 w 25"/>
                  <a:gd name="T15" fmla="*/ 23 h 23"/>
                </a:gdLst>
                <a:ahLst/>
                <a:cxnLst>
                  <a:cxn ang="T8">
                    <a:pos x="T0" y="T1"/>
                  </a:cxn>
                  <a:cxn ang="T9">
                    <a:pos x="T2" y="T3"/>
                  </a:cxn>
                  <a:cxn ang="T10">
                    <a:pos x="T4" y="T5"/>
                  </a:cxn>
                  <a:cxn ang="T11">
                    <a:pos x="T6" y="T7"/>
                  </a:cxn>
                </a:cxnLst>
                <a:rect l="T12" t="T13" r="T14" b="T15"/>
                <a:pathLst>
                  <a:path w="25" h="23">
                    <a:moveTo>
                      <a:pt x="25" y="23"/>
                    </a:moveTo>
                    <a:lnTo>
                      <a:pt x="25" y="0"/>
                    </a:lnTo>
                    <a:lnTo>
                      <a:pt x="0" y="0"/>
                    </a:lnTo>
                    <a:lnTo>
                      <a:pt x="25" y="23"/>
                    </a:lnTo>
                  </a:path>
                </a:pathLst>
              </a:custGeom>
              <a:grpFill/>
              <a:ln w="9525" cmpd="sng">
                <a:solidFill>
                  <a:schemeClr val="accent6"/>
                </a:solidFill>
                <a:prstDash val="solid"/>
                <a:round/>
                <a:headEnd/>
                <a:tailEnd/>
              </a:ln>
            </p:spPr>
            <p:txBody>
              <a:bodyPr/>
              <a:lstStyle/>
              <a:p>
                <a:endParaRPr lang="en-US" sz="1400">
                  <a:latin typeface="+mn-lt"/>
                </a:endParaRPr>
              </a:p>
            </p:txBody>
          </p:sp>
          <p:sp>
            <p:nvSpPr>
              <p:cNvPr id="50" name="Freeform 45"/>
              <p:cNvSpPr>
                <a:spLocks/>
              </p:cNvSpPr>
              <p:nvPr/>
            </p:nvSpPr>
            <p:spPr bwMode="gray">
              <a:xfrm>
                <a:off x="6613526" y="4229732"/>
                <a:ext cx="23813" cy="41275"/>
              </a:xfrm>
              <a:custGeom>
                <a:avLst/>
                <a:gdLst>
                  <a:gd name="T0" fmla="*/ 0 w 29"/>
                  <a:gd name="T1" fmla="*/ 52 h 52"/>
                  <a:gd name="T2" fmla="*/ 29 w 29"/>
                  <a:gd name="T3" fmla="*/ 23 h 52"/>
                  <a:gd name="T4" fmla="*/ 29 w 29"/>
                  <a:gd name="T5" fmla="*/ 0 h 52"/>
                  <a:gd name="T6" fmla="*/ 0 w 29"/>
                  <a:gd name="T7" fmla="*/ 23 h 52"/>
                  <a:gd name="T8" fmla="*/ 0 w 29"/>
                  <a:gd name="T9" fmla="*/ 52 h 52"/>
                  <a:gd name="T10" fmla="*/ 0 60000 65536"/>
                  <a:gd name="T11" fmla="*/ 0 60000 65536"/>
                  <a:gd name="T12" fmla="*/ 0 60000 65536"/>
                  <a:gd name="T13" fmla="*/ 0 60000 65536"/>
                  <a:gd name="T14" fmla="*/ 0 60000 65536"/>
                  <a:gd name="T15" fmla="*/ 0 w 29"/>
                  <a:gd name="T16" fmla="*/ 0 h 52"/>
                  <a:gd name="T17" fmla="*/ 29 w 29"/>
                  <a:gd name="T18" fmla="*/ 52 h 52"/>
                </a:gdLst>
                <a:ahLst/>
                <a:cxnLst>
                  <a:cxn ang="T10">
                    <a:pos x="T0" y="T1"/>
                  </a:cxn>
                  <a:cxn ang="T11">
                    <a:pos x="T2" y="T3"/>
                  </a:cxn>
                  <a:cxn ang="T12">
                    <a:pos x="T4" y="T5"/>
                  </a:cxn>
                  <a:cxn ang="T13">
                    <a:pos x="T6" y="T7"/>
                  </a:cxn>
                  <a:cxn ang="T14">
                    <a:pos x="T8" y="T9"/>
                  </a:cxn>
                </a:cxnLst>
                <a:rect l="T15" t="T16" r="T17" b="T18"/>
                <a:pathLst>
                  <a:path w="29" h="52">
                    <a:moveTo>
                      <a:pt x="0" y="52"/>
                    </a:moveTo>
                    <a:lnTo>
                      <a:pt x="29" y="23"/>
                    </a:lnTo>
                    <a:lnTo>
                      <a:pt x="29" y="0"/>
                    </a:lnTo>
                    <a:lnTo>
                      <a:pt x="0" y="23"/>
                    </a:lnTo>
                    <a:lnTo>
                      <a:pt x="0" y="52"/>
                    </a:lnTo>
                  </a:path>
                </a:pathLst>
              </a:custGeom>
              <a:grpFill/>
              <a:ln w="9525" cmpd="sng">
                <a:solidFill>
                  <a:schemeClr val="accent6"/>
                </a:solidFill>
                <a:prstDash val="solid"/>
                <a:round/>
                <a:headEnd/>
                <a:tailEnd/>
              </a:ln>
            </p:spPr>
            <p:txBody>
              <a:bodyPr/>
              <a:lstStyle/>
              <a:p>
                <a:endParaRPr lang="en-US" sz="1400">
                  <a:latin typeface="+mn-lt"/>
                </a:endParaRPr>
              </a:p>
            </p:txBody>
          </p:sp>
          <p:sp>
            <p:nvSpPr>
              <p:cNvPr id="51" name="Freeform 46"/>
              <p:cNvSpPr>
                <a:spLocks/>
              </p:cNvSpPr>
              <p:nvPr/>
            </p:nvSpPr>
            <p:spPr bwMode="gray">
              <a:xfrm>
                <a:off x="6242051" y="3897945"/>
                <a:ext cx="228600" cy="307975"/>
              </a:xfrm>
              <a:custGeom>
                <a:avLst/>
                <a:gdLst>
                  <a:gd name="T0" fmla="*/ 288 w 288"/>
                  <a:gd name="T1" fmla="*/ 155 h 388"/>
                  <a:gd name="T2" fmla="*/ 261 w 288"/>
                  <a:gd name="T3" fmla="*/ 128 h 388"/>
                  <a:gd name="T4" fmla="*/ 261 w 288"/>
                  <a:gd name="T5" fmla="*/ 104 h 388"/>
                  <a:gd name="T6" fmla="*/ 261 w 288"/>
                  <a:gd name="T7" fmla="*/ 77 h 388"/>
                  <a:gd name="T8" fmla="*/ 261 w 288"/>
                  <a:gd name="T9" fmla="*/ 52 h 388"/>
                  <a:gd name="T10" fmla="*/ 261 w 288"/>
                  <a:gd name="T11" fmla="*/ 0 h 388"/>
                  <a:gd name="T12" fmla="*/ 236 w 288"/>
                  <a:gd name="T13" fmla="*/ 0 h 388"/>
                  <a:gd name="T14" fmla="*/ 209 w 288"/>
                  <a:gd name="T15" fmla="*/ 0 h 388"/>
                  <a:gd name="T16" fmla="*/ 184 w 288"/>
                  <a:gd name="T17" fmla="*/ 25 h 388"/>
                  <a:gd name="T18" fmla="*/ 184 w 288"/>
                  <a:gd name="T19" fmla="*/ 77 h 388"/>
                  <a:gd name="T20" fmla="*/ 156 w 288"/>
                  <a:gd name="T21" fmla="*/ 104 h 388"/>
                  <a:gd name="T22" fmla="*/ 104 w 288"/>
                  <a:gd name="T23" fmla="*/ 128 h 388"/>
                  <a:gd name="T24" fmla="*/ 81 w 288"/>
                  <a:gd name="T25" fmla="*/ 155 h 388"/>
                  <a:gd name="T26" fmla="*/ 81 w 288"/>
                  <a:gd name="T27" fmla="*/ 180 h 388"/>
                  <a:gd name="T28" fmla="*/ 52 w 288"/>
                  <a:gd name="T29" fmla="*/ 180 h 388"/>
                  <a:gd name="T30" fmla="*/ 29 w 288"/>
                  <a:gd name="T31" fmla="*/ 180 h 388"/>
                  <a:gd name="T32" fmla="*/ 29 w 288"/>
                  <a:gd name="T33" fmla="*/ 207 h 388"/>
                  <a:gd name="T34" fmla="*/ 0 w 288"/>
                  <a:gd name="T35" fmla="*/ 232 h 388"/>
                  <a:gd name="T36" fmla="*/ 0 w 288"/>
                  <a:gd name="T37" fmla="*/ 259 h 388"/>
                  <a:gd name="T38" fmla="*/ 0 w 288"/>
                  <a:gd name="T39" fmla="*/ 284 h 388"/>
                  <a:gd name="T40" fmla="*/ 0 w 288"/>
                  <a:gd name="T41" fmla="*/ 313 h 388"/>
                  <a:gd name="T42" fmla="*/ 29 w 288"/>
                  <a:gd name="T43" fmla="*/ 313 h 388"/>
                  <a:gd name="T44" fmla="*/ 29 w 288"/>
                  <a:gd name="T45" fmla="*/ 336 h 388"/>
                  <a:gd name="T46" fmla="*/ 29 w 288"/>
                  <a:gd name="T47" fmla="*/ 365 h 388"/>
                  <a:gd name="T48" fmla="*/ 52 w 288"/>
                  <a:gd name="T49" fmla="*/ 388 h 388"/>
                  <a:gd name="T50" fmla="*/ 81 w 288"/>
                  <a:gd name="T51" fmla="*/ 388 h 388"/>
                  <a:gd name="T52" fmla="*/ 104 w 288"/>
                  <a:gd name="T53" fmla="*/ 365 h 388"/>
                  <a:gd name="T54" fmla="*/ 156 w 288"/>
                  <a:gd name="T55" fmla="*/ 365 h 388"/>
                  <a:gd name="T56" fmla="*/ 184 w 288"/>
                  <a:gd name="T57" fmla="*/ 365 h 388"/>
                  <a:gd name="T58" fmla="*/ 209 w 288"/>
                  <a:gd name="T59" fmla="*/ 336 h 388"/>
                  <a:gd name="T60" fmla="*/ 209 w 288"/>
                  <a:gd name="T61" fmla="*/ 313 h 388"/>
                  <a:gd name="T62" fmla="*/ 209 w 288"/>
                  <a:gd name="T63" fmla="*/ 284 h 388"/>
                  <a:gd name="T64" fmla="*/ 236 w 288"/>
                  <a:gd name="T65" fmla="*/ 259 h 388"/>
                  <a:gd name="T66" fmla="*/ 236 w 288"/>
                  <a:gd name="T67" fmla="*/ 232 h 388"/>
                  <a:gd name="T68" fmla="*/ 261 w 288"/>
                  <a:gd name="T69" fmla="*/ 207 h 388"/>
                  <a:gd name="T70" fmla="*/ 288 w 288"/>
                  <a:gd name="T71" fmla="*/ 180 h 388"/>
                  <a:gd name="T72" fmla="*/ 288 w 288"/>
                  <a:gd name="T73" fmla="*/ 155 h 388"/>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288"/>
                  <a:gd name="T112" fmla="*/ 0 h 388"/>
                  <a:gd name="T113" fmla="*/ 288 w 288"/>
                  <a:gd name="T114" fmla="*/ 388 h 388"/>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288" h="388">
                    <a:moveTo>
                      <a:pt x="288" y="155"/>
                    </a:moveTo>
                    <a:lnTo>
                      <a:pt x="261" y="128"/>
                    </a:lnTo>
                    <a:lnTo>
                      <a:pt x="261" y="104"/>
                    </a:lnTo>
                    <a:lnTo>
                      <a:pt x="261" y="77"/>
                    </a:lnTo>
                    <a:lnTo>
                      <a:pt x="261" y="52"/>
                    </a:lnTo>
                    <a:lnTo>
                      <a:pt x="261" y="0"/>
                    </a:lnTo>
                    <a:lnTo>
                      <a:pt x="236" y="0"/>
                    </a:lnTo>
                    <a:lnTo>
                      <a:pt x="209" y="0"/>
                    </a:lnTo>
                    <a:lnTo>
                      <a:pt x="184" y="25"/>
                    </a:lnTo>
                    <a:lnTo>
                      <a:pt x="184" y="77"/>
                    </a:lnTo>
                    <a:lnTo>
                      <a:pt x="156" y="104"/>
                    </a:lnTo>
                    <a:lnTo>
                      <a:pt x="104" y="128"/>
                    </a:lnTo>
                    <a:lnTo>
                      <a:pt x="81" y="155"/>
                    </a:lnTo>
                    <a:lnTo>
                      <a:pt x="81" y="180"/>
                    </a:lnTo>
                    <a:lnTo>
                      <a:pt x="52" y="180"/>
                    </a:lnTo>
                    <a:lnTo>
                      <a:pt x="29" y="180"/>
                    </a:lnTo>
                    <a:lnTo>
                      <a:pt x="29" y="207"/>
                    </a:lnTo>
                    <a:lnTo>
                      <a:pt x="0" y="232"/>
                    </a:lnTo>
                    <a:lnTo>
                      <a:pt x="0" y="259"/>
                    </a:lnTo>
                    <a:lnTo>
                      <a:pt x="0" y="284"/>
                    </a:lnTo>
                    <a:lnTo>
                      <a:pt x="0" y="313"/>
                    </a:lnTo>
                    <a:lnTo>
                      <a:pt x="29" y="313"/>
                    </a:lnTo>
                    <a:lnTo>
                      <a:pt x="29" y="336"/>
                    </a:lnTo>
                    <a:lnTo>
                      <a:pt x="29" y="365"/>
                    </a:lnTo>
                    <a:lnTo>
                      <a:pt x="52" y="388"/>
                    </a:lnTo>
                    <a:lnTo>
                      <a:pt x="81" y="388"/>
                    </a:lnTo>
                    <a:lnTo>
                      <a:pt x="104" y="365"/>
                    </a:lnTo>
                    <a:lnTo>
                      <a:pt x="156" y="365"/>
                    </a:lnTo>
                    <a:lnTo>
                      <a:pt x="184" y="365"/>
                    </a:lnTo>
                    <a:lnTo>
                      <a:pt x="209" y="336"/>
                    </a:lnTo>
                    <a:lnTo>
                      <a:pt x="209" y="313"/>
                    </a:lnTo>
                    <a:lnTo>
                      <a:pt x="209" y="284"/>
                    </a:lnTo>
                    <a:lnTo>
                      <a:pt x="236" y="259"/>
                    </a:lnTo>
                    <a:lnTo>
                      <a:pt x="236" y="232"/>
                    </a:lnTo>
                    <a:lnTo>
                      <a:pt x="261" y="207"/>
                    </a:lnTo>
                    <a:lnTo>
                      <a:pt x="288" y="180"/>
                    </a:lnTo>
                    <a:lnTo>
                      <a:pt x="288" y="155"/>
                    </a:lnTo>
                  </a:path>
                </a:pathLst>
              </a:custGeom>
              <a:grpFill/>
              <a:ln w="9525" cmpd="sng">
                <a:solidFill>
                  <a:schemeClr val="accent6"/>
                </a:solidFill>
                <a:prstDash val="solid"/>
                <a:round/>
                <a:headEnd/>
                <a:tailEnd/>
              </a:ln>
            </p:spPr>
            <p:txBody>
              <a:bodyPr/>
              <a:lstStyle/>
              <a:p>
                <a:endParaRPr lang="en-US" sz="1400">
                  <a:latin typeface="+mn-lt"/>
                </a:endParaRPr>
              </a:p>
            </p:txBody>
          </p:sp>
          <p:sp>
            <p:nvSpPr>
              <p:cNvPr id="52" name="Freeform 47"/>
              <p:cNvSpPr>
                <a:spLocks/>
              </p:cNvSpPr>
              <p:nvPr/>
            </p:nvSpPr>
            <p:spPr bwMode="gray">
              <a:xfrm>
                <a:off x="6388101" y="3959857"/>
                <a:ext cx="20638" cy="41275"/>
              </a:xfrm>
              <a:custGeom>
                <a:avLst/>
                <a:gdLst>
                  <a:gd name="T0" fmla="*/ 0 w 25"/>
                  <a:gd name="T1" fmla="*/ 51 h 51"/>
                  <a:gd name="T2" fmla="*/ 0 w 25"/>
                  <a:gd name="T3" fmla="*/ 27 h 51"/>
                  <a:gd name="T4" fmla="*/ 25 w 25"/>
                  <a:gd name="T5" fmla="*/ 0 h 51"/>
                  <a:gd name="T6" fmla="*/ 0 w 25"/>
                  <a:gd name="T7" fmla="*/ 51 h 51"/>
                  <a:gd name="T8" fmla="*/ 0 60000 65536"/>
                  <a:gd name="T9" fmla="*/ 0 60000 65536"/>
                  <a:gd name="T10" fmla="*/ 0 60000 65536"/>
                  <a:gd name="T11" fmla="*/ 0 60000 65536"/>
                  <a:gd name="T12" fmla="*/ 0 w 25"/>
                  <a:gd name="T13" fmla="*/ 0 h 51"/>
                  <a:gd name="T14" fmla="*/ 25 w 25"/>
                  <a:gd name="T15" fmla="*/ 51 h 51"/>
                </a:gdLst>
                <a:ahLst/>
                <a:cxnLst>
                  <a:cxn ang="T8">
                    <a:pos x="T0" y="T1"/>
                  </a:cxn>
                  <a:cxn ang="T9">
                    <a:pos x="T2" y="T3"/>
                  </a:cxn>
                  <a:cxn ang="T10">
                    <a:pos x="T4" y="T5"/>
                  </a:cxn>
                  <a:cxn ang="T11">
                    <a:pos x="T6" y="T7"/>
                  </a:cxn>
                </a:cxnLst>
                <a:rect l="T12" t="T13" r="T14" b="T15"/>
                <a:pathLst>
                  <a:path w="25" h="51">
                    <a:moveTo>
                      <a:pt x="0" y="51"/>
                    </a:moveTo>
                    <a:lnTo>
                      <a:pt x="0" y="27"/>
                    </a:lnTo>
                    <a:lnTo>
                      <a:pt x="25" y="0"/>
                    </a:lnTo>
                    <a:lnTo>
                      <a:pt x="0" y="51"/>
                    </a:lnTo>
                  </a:path>
                </a:pathLst>
              </a:custGeom>
              <a:grpFill/>
              <a:ln w="9525" cmpd="sng">
                <a:solidFill>
                  <a:schemeClr val="accent6"/>
                </a:solidFill>
                <a:prstDash val="solid"/>
                <a:round/>
                <a:headEnd/>
                <a:tailEnd/>
              </a:ln>
            </p:spPr>
            <p:txBody>
              <a:bodyPr/>
              <a:lstStyle/>
              <a:p>
                <a:endParaRPr lang="en-US" sz="1400">
                  <a:latin typeface="+mn-lt"/>
                </a:endParaRPr>
              </a:p>
            </p:txBody>
          </p:sp>
          <p:sp>
            <p:nvSpPr>
              <p:cNvPr id="53" name="Freeform 48"/>
              <p:cNvSpPr>
                <a:spLocks/>
              </p:cNvSpPr>
              <p:nvPr/>
            </p:nvSpPr>
            <p:spPr bwMode="gray">
              <a:xfrm>
                <a:off x="6584951" y="4063045"/>
                <a:ext cx="9525" cy="20638"/>
              </a:xfrm>
              <a:custGeom>
                <a:avLst/>
                <a:gdLst>
                  <a:gd name="T0" fmla="*/ 11 w 11"/>
                  <a:gd name="T1" fmla="*/ 0 h 25"/>
                  <a:gd name="T2" fmla="*/ 0 w 11"/>
                  <a:gd name="T3" fmla="*/ 21 h 25"/>
                  <a:gd name="T4" fmla="*/ 11 w 11"/>
                  <a:gd name="T5" fmla="*/ 25 h 25"/>
                  <a:gd name="T6" fmla="*/ 11 w 11"/>
                  <a:gd name="T7" fmla="*/ 0 h 25"/>
                  <a:gd name="T8" fmla="*/ 0 60000 65536"/>
                  <a:gd name="T9" fmla="*/ 0 60000 65536"/>
                  <a:gd name="T10" fmla="*/ 0 60000 65536"/>
                  <a:gd name="T11" fmla="*/ 0 60000 65536"/>
                  <a:gd name="T12" fmla="*/ 0 w 11"/>
                  <a:gd name="T13" fmla="*/ 0 h 25"/>
                  <a:gd name="T14" fmla="*/ 11 w 11"/>
                  <a:gd name="T15" fmla="*/ 25 h 25"/>
                </a:gdLst>
                <a:ahLst/>
                <a:cxnLst>
                  <a:cxn ang="T8">
                    <a:pos x="T0" y="T1"/>
                  </a:cxn>
                  <a:cxn ang="T9">
                    <a:pos x="T2" y="T3"/>
                  </a:cxn>
                  <a:cxn ang="T10">
                    <a:pos x="T4" y="T5"/>
                  </a:cxn>
                  <a:cxn ang="T11">
                    <a:pos x="T6" y="T7"/>
                  </a:cxn>
                </a:cxnLst>
                <a:rect l="T12" t="T13" r="T14" b="T15"/>
                <a:pathLst>
                  <a:path w="11" h="25">
                    <a:moveTo>
                      <a:pt x="11" y="0"/>
                    </a:moveTo>
                    <a:lnTo>
                      <a:pt x="0" y="21"/>
                    </a:lnTo>
                    <a:lnTo>
                      <a:pt x="11" y="25"/>
                    </a:lnTo>
                    <a:lnTo>
                      <a:pt x="11" y="0"/>
                    </a:lnTo>
                  </a:path>
                </a:pathLst>
              </a:custGeom>
              <a:grpFill/>
              <a:ln w="9525" cmpd="sng">
                <a:solidFill>
                  <a:schemeClr val="accent6"/>
                </a:solidFill>
                <a:prstDash val="solid"/>
                <a:round/>
                <a:headEnd/>
                <a:tailEnd/>
              </a:ln>
            </p:spPr>
            <p:txBody>
              <a:bodyPr/>
              <a:lstStyle/>
              <a:p>
                <a:endParaRPr lang="en-US" sz="1400">
                  <a:latin typeface="+mn-lt"/>
                </a:endParaRPr>
              </a:p>
            </p:txBody>
          </p:sp>
          <p:sp>
            <p:nvSpPr>
              <p:cNvPr id="54" name="Freeform 49"/>
              <p:cNvSpPr>
                <a:spLocks/>
              </p:cNvSpPr>
              <p:nvPr/>
            </p:nvSpPr>
            <p:spPr bwMode="gray">
              <a:xfrm>
                <a:off x="6604001" y="4001132"/>
                <a:ext cx="9525" cy="20638"/>
              </a:xfrm>
              <a:custGeom>
                <a:avLst/>
                <a:gdLst>
                  <a:gd name="T0" fmla="*/ 11 w 11"/>
                  <a:gd name="T1" fmla="*/ 0 h 27"/>
                  <a:gd name="T2" fmla="*/ 0 w 11"/>
                  <a:gd name="T3" fmla="*/ 27 h 27"/>
                  <a:gd name="T4" fmla="*/ 11 w 11"/>
                  <a:gd name="T5" fmla="*/ 27 h 27"/>
                  <a:gd name="T6" fmla="*/ 11 w 11"/>
                  <a:gd name="T7" fmla="*/ 0 h 27"/>
                  <a:gd name="T8" fmla="*/ 0 60000 65536"/>
                  <a:gd name="T9" fmla="*/ 0 60000 65536"/>
                  <a:gd name="T10" fmla="*/ 0 60000 65536"/>
                  <a:gd name="T11" fmla="*/ 0 60000 65536"/>
                  <a:gd name="T12" fmla="*/ 0 w 11"/>
                  <a:gd name="T13" fmla="*/ 0 h 27"/>
                  <a:gd name="T14" fmla="*/ 11 w 11"/>
                  <a:gd name="T15" fmla="*/ 27 h 27"/>
                </a:gdLst>
                <a:ahLst/>
                <a:cxnLst>
                  <a:cxn ang="T8">
                    <a:pos x="T0" y="T1"/>
                  </a:cxn>
                  <a:cxn ang="T9">
                    <a:pos x="T2" y="T3"/>
                  </a:cxn>
                  <a:cxn ang="T10">
                    <a:pos x="T4" y="T5"/>
                  </a:cxn>
                  <a:cxn ang="T11">
                    <a:pos x="T6" y="T7"/>
                  </a:cxn>
                </a:cxnLst>
                <a:rect l="T12" t="T13" r="T14" b="T15"/>
                <a:pathLst>
                  <a:path w="11" h="27">
                    <a:moveTo>
                      <a:pt x="11" y="0"/>
                    </a:moveTo>
                    <a:lnTo>
                      <a:pt x="0" y="27"/>
                    </a:lnTo>
                    <a:lnTo>
                      <a:pt x="11" y="27"/>
                    </a:lnTo>
                    <a:lnTo>
                      <a:pt x="11" y="0"/>
                    </a:lnTo>
                  </a:path>
                </a:pathLst>
              </a:custGeom>
              <a:grpFill/>
              <a:ln w="9525" cmpd="sng">
                <a:solidFill>
                  <a:schemeClr val="accent6"/>
                </a:solidFill>
                <a:prstDash val="solid"/>
                <a:round/>
                <a:headEnd/>
                <a:tailEnd/>
              </a:ln>
            </p:spPr>
            <p:txBody>
              <a:bodyPr/>
              <a:lstStyle/>
              <a:p>
                <a:endParaRPr lang="en-US" sz="1400">
                  <a:latin typeface="+mn-lt"/>
                </a:endParaRPr>
              </a:p>
            </p:txBody>
          </p:sp>
          <p:sp>
            <p:nvSpPr>
              <p:cNvPr id="55" name="Freeform 50"/>
              <p:cNvSpPr>
                <a:spLocks/>
              </p:cNvSpPr>
              <p:nvPr/>
            </p:nvSpPr>
            <p:spPr bwMode="gray">
              <a:xfrm>
                <a:off x="6470651" y="4021770"/>
                <a:ext cx="133350" cy="207963"/>
              </a:xfrm>
              <a:custGeom>
                <a:avLst/>
                <a:gdLst>
                  <a:gd name="T0" fmla="*/ 77 w 169"/>
                  <a:gd name="T1" fmla="*/ 0 h 261"/>
                  <a:gd name="T2" fmla="*/ 77 w 169"/>
                  <a:gd name="T3" fmla="*/ 25 h 261"/>
                  <a:gd name="T4" fmla="*/ 52 w 169"/>
                  <a:gd name="T5" fmla="*/ 52 h 261"/>
                  <a:gd name="T6" fmla="*/ 25 w 169"/>
                  <a:gd name="T7" fmla="*/ 104 h 261"/>
                  <a:gd name="T8" fmla="*/ 25 w 169"/>
                  <a:gd name="T9" fmla="*/ 129 h 261"/>
                  <a:gd name="T10" fmla="*/ 25 w 169"/>
                  <a:gd name="T11" fmla="*/ 181 h 261"/>
                  <a:gd name="T12" fmla="*/ 0 w 169"/>
                  <a:gd name="T13" fmla="*/ 210 h 261"/>
                  <a:gd name="T14" fmla="*/ 25 w 169"/>
                  <a:gd name="T15" fmla="*/ 261 h 261"/>
                  <a:gd name="T16" fmla="*/ 52 w 169"/>
                  <a:gd name="T17" fmla="*/ 261 h 261"/>
                  <a:gd name="T18" fmla="*/ 52 w 169"/>
                  <a:gd name="T19" fmla="*/ 233 h 261"/>
                  <a:gd name="T20" fmla="*/ 52 w 169"/>
                  <a:gd name="T21" fmla="*/ 181 h 261"/>
                  <a:gd name="T22" fmla="*/ 77 w 169"/>
                  <a:gd name="T23" fmla="*/ 158 h 261"/>
                  <a:gd name="T24" fmla="*/ 104 w 169"/>
                  <a:gd name="T25" fmla="*/ 158 h 261"/>
                  <a:gd name="T26" fmla="*/ 129 w 169"/>
                  <a:gd name="T27" fmla="*/ 158 h 261"/>
                  <a:gd name="T28" fmla="*/ 129 w 169"/>
                  <a:gd name="T29" fmla="*/ 129 h 261"/>
                  <a:gd name="T30" fmla="*/ 129 w 169"/>
                  <a:gd name="T31" fmla="*/ 104 h 261"/>
                  <a:gd name="T32" fmla="*/ 144 w 169"/>
                  <a:gd name="T33" fmla="*/ 73 h 261"/>
                  <a:gd name="T34" fmla="*/ 104 w 169"/>
                  <a:gd name="T35" fmla="*/ 52 h 261"/>
                  <a:gd name="T36" fmla="*/ 155 w 169"/>
                  <a:gd name="T37" fmla="*/ 25 h 261"/>
                  <a:gd name="T38" fmla="*/ 169 w 169"/>
                  <a:gd name="T39" fmla="*/ 0 h 261"/>
                  <a:gd name="T40" fmla="*/ 129 w 169"/>
                  <a:gd name="T41" fmla="*/ 0 h 261"/>
                  <a:gd name="T42" fmla="*/ 77 w 169"/>
                  <a:gd name="T43" fmla="*/ 0 h 261"/>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169"/>
                  <a:gd name="T67" fmla="*/ 0 h 261"/>
                  <a:gd name="T68" fmla="*/ 169 w 169"/>
                  <a:gd name="T69" fmla="*/ 261 h 261"/>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169" h="261">
                    <a:moveTo>
                      <a:pt x="77" y="0"/>
                    </a:moveTo>
                    <a:lnTo>
                      <a:pt x="77" y="25"/>
                    </a:lnTo>
                    <a:lnTo>
                      <a:pt x="52" y="52"/>
                    </a:lnTo>
                    <a:lnTo>
                      <a:pt x="25" y="104"/>
                    </a:lnTo>
                    <a:lnTo>
                      <a:pt x="25" y="129"/>
                    </a:lnTo>
                    <a:lnTo>
                      <a:pt x="25" y="181"/>
                    </a:lnTo>
                    <a:lnTo>
                      <a:pt x="0" y="210"/>
                    </a:lnTo>
                    <a:lnTo>
                      <a:pt x="25" y="261"/>
                    </a:lnTo>
                    <a:lnTo>
                      <a:pt x="52" y="261"/>
                    </a:lnTo>
                    <a:lnTo>
                      <a:pt x="52" y="233"/>
                    </a:lnTo>
                    <a:lnTo>
                      <a:pt x="52" y="181"/>
                    </a:lnTo>
                    <a:lnTo>
                      <a:pt x="77" y="158"/>
                    </a:lnTo>
                    <a:lnTo>
                      <a:pt x="104" y="158"/>
                    </a:lnTo>
                    <a:lnTo>
                      <a:pt x="129" y="158"/>
                    </a:lnTo>
                    <a:lnTo>
                      <a:pt x="129" y="129"/>
                    </a:lnTo>
                    <a:lnTo>
                      <a:pt x="129" y="104"/>
                    </a:lnTo>
                    <a:lnTo>
                      <a:pt x="144" y="73"/>
                    </a:lnTo>
                    <a:lnTo>
                      <a:pt x="104" y="52"/>
                    </a:lnTo>
                    <a:lnTo>
                      <a:pt x="155" y="25"/>
                    </a:lnTo>
                    <a:lnTo>
                      <a:pt x="169" y="0"/>
                    </a:lnTo>
                    <a:lnTo>
                      <a:pt x="129" y="0"/>
                    </a:lnTo>
                    <a:lnTo>
                      <a:pt x="77" y="0"/>
                    </a:lnTo>
                  </a:path>
                </a:pathLst>
              </a:custGeom>
              <a:grpFill/>
              <a:ln w="9525" cmpd="sng">
                <a:solidFill>
                  <a:schemeClr val="accent6"/>
                </a:solidFill>
                <a:prstDash val="solid"/>
                <a:round/>
                <a:headEnd/>
                <a:tailEnd/>
              </a:ln>
            </p:spPr>
            <p:txBody>
              <a:bodyPr/>
              <a:lstStyle/>
              <a:p>
                <a:endParaRPr lang="en-US" sz="1400">
                  <a:latin typeface="+mn-lt"/>
                </a:endParaRPr>
              </a:p>
            </p:txBody>
          </p:sp>
          <p:sp>
            <p:nvSpPr>
              <p:cNvPr id="56" name="Freeform 51"/>
              <p:cNvSpPr>
                <a:spLocks/>
              </p:cNvSpPr>
              <p:nvPr/>
            </p:nvSpPr>
            <p:spPr bwMode="gray">
              <a:xfrm>
                <a:off x="6696076" y="3959857"/>
                <a:ext cx="22225" cy="41275"/>
              </a:xfrm>
              <a:custGeom>
                <a:avLst/>
                <a:gdLst>
                  <a:gd name="T0" fmla="*/ 29 w 29"/>
                  <a:gd name="T1" fmla="*/ 27 h 51"/>
                  <a:gd name="T2" fmla="*/ 29 w 29"/>
                  <a:gd name="T3" fmla="*/ 0 h 51"/>
                  <a:gd name="T4" fmla="*/ 0 w 29"/>
                  <a:gd name="T5" fmla="*/ 27 h 51"/>
                  <a:gd name="T6" fmla="*/ 0 w 29"/>
                  <a:gd name="T7" fmla="*/ 51 h 51"/>
                  <a:gd name="T8" fmla="*/ 29 w 29"/>
                  <a:gd name="T9" fmla="*/ 51 h 51"/>
                  <a:gd name="T10" fmla="*/ 29 w 29"/>
                  <a:gd name="T11" fmla="*/ 27 h 51"/>
                  <a:gd name="T12" fmla="*/ 0 60000 65536"/>
                  <a:gd name="T13" fmla="*/ 0 60000 65536"/>
                  <a:gd name="T14" fmla="*/ 0 60000 65536"/>
                  <a:gd name="T15" fmla="*/ 0 60000 65536"/>
                  <a:gd name="T16" fmla="*/ 0 60000 65536"/>
                  <a:gd name="T17" fmla="*/ 0 60000 65536"/>
                  <a:gd name="T18" fmla="*/ 0 w 29"/>
                  <a:gd name="T19" fmla="*/ 0 h 51"/>
                  <a:gd name="T20" fmla="*/ 29 w 29"/>
                  <a:gd name="T21" fmla="*/ 51 h 51"/>
                </a:gdLst>
                <a:ahLst/>
                <a:cxnLst>
                  <a:cxn ang="T12">
                    <a:pos x="T0" y="T1"/>
                  </a:cxn>
                  <a:cxn ang="T13">
                    <a:pos x="T2" y="T3"/>
                  </a:cxn>
                  <a:cxn ang="T14">
                    <a:pos x="T4" y="T5"/>
                  </a:cxn>
                  <a:cxn ang="T15">
                    <a:pos x="T6" y="T7"/>
                  </a:cxn>
                  <a:cxn ang="T16">
                    <a:pos x="T8" y="T9"/>
                  </a:cxn>
                  <a:cxn ang="T17">
                    <a:pos x="T10" y="T11"/>
                  </a:cxn>
                </a:cxnLst>
                <a:rect l="T18" t="T19" r="T20" b="T21"/>
                <a:pathLst>
                  <a:path w="29" h="51">
                    <a:moveTo>
                      <a:pt x="29" y="27"/>
                    </a:moveTo>
                    <a:lnTo>
                      <a:pt x="29" y="0"/>
                    </a:lnTo>
                    <a:lnTo>
                      <a:pt x="0" y="27"/>
                    </a:lnTo>
                    <a:lnTo>
                      <a:pt x="0" y="51"/>
                    </a:lnTo>
                    <a:lnTo>
                      <a:pt x="29" y="51"/>
                    </a:lnTo>
                    <a:lnTo>
                      <a:pt x="29" y="27"/>
                    </a:lnTo>
                  </a:path>
                </a:pathLst>
              </a:custGeom>
              <a:grpFill/>
              <a:ln w="9525" cmpd="sng">
                <a:solidFill>
                  <a:schemeClr val="accent6"/>
                </a:solidFill>
                <a:prstDash val="solid"/>
                <a:round/>
                <a:headEnd/>
                <a:tailEnd/>
              </a:ln>
            </p:spPr>
            <p:txBody>
              <a:bodyPr/>
              <a:lstStyle/>
              <a:p>
                <a:endParaRPr lang="en-US" sz="1400">
                  <a:latin typeface="+mn-lt"/>
                </a:endParaRPr>
              </a:p>
            </p:txBody>
          </p:sp>
          <p:sp>
            <p:nvSpPr>
              <p:cNvPr id="57" name="Freeform 52"/>
              <p:cNvSpPr>
                <a:spLocks/>
              </p:cNvSpPr>
              <p:nvPr/>
            </p:nvSpPr>
            <p:spPr bwMode="gray">
              <a:xfrm>
                <a:off x="6572251" y="3775707"/>
                <a:ext cx="106363" cy="100013"/>
              </a:xfrm>
              <a:custGeom>
                <a:avLst/>
                <a:gdLst>
                  <a:gd name="T0" fmla="*/ 80 w 132"/>
                  <a:gd name="T1" fmla="*/ 23 h 127"/>
                  <a:gd name="T2" fmla="*/ 26 w 132"/>
                  <a:gd name="T3" fmla="*/ 52 h 127"/>
                  <a:gd name="T4" fmla="*/ 0 w 132"/>
                  <a:gd name="T5" fmla="*/ 52 h 127"/>
                  <a:gd name="T6" fmla="*/ 0 w 132"/>
                  <a:gd name="T7" fmla="*/ 75 h 127"/>
                  <a:gd name="T8" fmla="*/ 26 w 132"/>
                  <a:gd name="T9" fmla="*/ 75 h 127"/>
                  <a:gd name="T10" fmla="*/ 51 w 132"/>
                  <a:gd name="T11" fmla="*/ 104 h 127"/>
                  <a:gd name="T12" fmla="*/ 51 w 132"/>
                  <a:gd name="T13" fmla="*/ 127 h 127"/>
                  <a:gd name="T14" fmla="*/ 103 w 132"/>
                  <a:gd name="T15" fmla="*/ 104 h 127"/>
                  <a:gd name="T16" fmla="*/ 132 w 132"/>
                  <a:gd name="T17" fmla="*/ 52 h 127"/>
                  <a:gd name="T18" fmla="*/ 132 w 132"/>
                  <a:gd name="T19" fmla="*/ 23 h 127"/>
                  <a:gd name="T20" fmla="*/ 132 w 132"/>
                  <a:gd name="T21" fmla="*/ 0 h 127"/>
                  <a:gd name="T22" fmla="*/ 103 w 132"/>
                  <a:gd name="T23" fmla="*/ 0 h 127"/>
                  <a:gd name="T24" fmla="*/ 80 w 132"/>
                  <a:gd name="T25" fmla="*/ 23 h 12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32"/>
                  <a:gd name="T40" fmla="*/ 0 h 127"/>
                  <a:gd name="T41" fmla="*/ 132 w 132"/>
                  <a:gd name="T42" fmla="*/ 127 h 127"/>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32" h="127">
                    <a:moveTo>
                      <a:pt x="80" y="23"/>
                    </a:moveTo>
                    <a:lnTo>
                      <a:pt x="26" y="52"/>
                    </a:lnTo>
                    <a:lnTo>
                      <a:pt x="0" y="52"/>
                    </a:lnTo>
                    <a:lnTo>
                      <a:pt x="0" y="75"/>
                    </a:lnTo>
                    <a:lnTo>
                      <a:pt x="26" y="75"/>
                    </a:lnTo>
                    <a:lnTo>
                      <a:pt x="51" y="104"/>
                    </a:lnTo>
                    <a:lnTo>
                      <a:pt x="51" y="127"/>
                    </a:lnTo>
                    <a:lnTo>
                      <a:pt x="103" y="104"/>
                    </a:lnTo>
                    <a:lnTo>
                      <a:pt x="132" y="52"/>
                    </a:lnTo>
                    <a:lnTo>
                      <a:pt x="132" y="23"/>
                    </a:lnTo>
                    <a:lnTo>
                      <a:pt x="132" y="0"/>
                    </a:lnTo>
                    <a:lnTo>
                      <a:pt x="103" y="0"/>
                    </a:lnTo>
                    <a:lnTo>
                      <a:pt x="80" y="23"/>
                    </a:lnTo>
                  </a:path>
                </a:pathLst>
              </a:custGeom>
              <a:grpFill/>
              <a:ln w="9525" cmpd="sng">
                <a:solidFill>
                  <a:schemeClr val="accent6"/>
                </a:solidFill>
                <a:prstDash val="solid"/>
                <a:round/>
                <a:headEnd/>
                <a:tailEnd/>
              </a:ln>
            </p:spPr>
            <p:txBody>
              <a:bodyPr/>
              <a:lstStyle/>
              <a:p>
                <a:endParaRPr lang="en-US" sz="1400">
                  <a:latin typeface="+mn-lt"/>
                </a:endParaRPr>
              </a:p>
            </p:txBody>
          </p:sp>
          <p:sp>
            <p:nvSpPr>
              <p:cNvPr id="58" name="Freeform 53"/>
              <p:cNvSpPr>
                <a:spLocks/>
              </p:cNvSpPr>
              <p:nvPr/>
            </p:nvSpPr>
            <p:spPr bwMode="gray">
              <a:xfrm>
                <a:off x="6553201" y="3834445"/>
                <a:ext cx="19050" cy="23813"/>
              </a:xfrm>
              <a:custGeom>
                <a:avLst/>
                <a:gdLst>
                  <a:gd name="T0" fmla="*/ 25 w 25"/>
                  <a:gd name="T1" fmla="*/ 29 h 29"/>
                  <a:gd name="T2" fmla="*/ 25 w 25"/>
                  <a:gd name="T3" fmla="*/ 0 h 29"/>
                  <a:gd name="T4" fmla="*/ 0 w 25"/>
                  <a:gd name="T5" fmla="*/ 29 h 29"/>
                  <a:gd name="T6" fmla="*/ 25 w 25"/>
                  <a:gd name="T7" fmla="*/ 29 h 29"/>
                  <a:gd name="T8" fmla="*/ 0 60000 65536"/>
                  <a:gd name="T9" fmla="*/ 0 60000 65536"/>
                  <a:gd name="T10" fmla="*/ 0 60000 65536"/>
                  <a:gd name="T11" fmla="*/ 0 60000 65536"/>
                  <a:gd name="T12" fmla="*/ 0 w 25"/>
                  <a:gd name="T13" fmla="*/ 0 h 29"/>
                  <a:gd name="T14" fmla="*/ 25 w 25"/>
                  <a:gd name="T15" fmla="*/ 29 h 29"/>
                </a:gdLst>
                <a:ahLst/>
                <a:cxnLst>
                  <a:cxn ang="T8">
                    <a:pos x="T0" y="T1"/>
                  </a:cxn>
                  <a:cxn ang="T9">
                    <a:pos x="T2" y="T3"/>
                  </a:cxn>
                  <a:cxn ang="T10">
                    <a:pos x="T4" y="T5"/>
                  </a:cxn>
                  <a:cxn ang="T11">
                    <a:pos x="T6" y="T7"/>
                  </a:cxn>
                </a:cxnLst>
                <a:rect l="T12" t="T13" r="T14" b="T15"/>
                <a:pathLst>
                  <a:path w="25" h="29">
                    <a:moveTo>
                      <a:pt x="25" y="29"/>
                    </a:moveTo>
                    <a:lnTo>
                      <a:pt x="25" y="0"/>
                    </a:lnTo>
                    <a:lnTo>
                      <a:pt x="0" y="29"/>
                    </a:lnTo>
                    <a:lnTo>
                      <a:pt x="25" y="29"/>
                    </a:lnTo>
                  </a:path>
                </a:pathLst>
              </a:custGeom>
              <a:grpFill/>
              <a:ln w="9525" cmpd="sng">
                <a:solidFill>
                  <a:schemeClr val="accent6"/>
                </a:solidFill>
                <a:prstDash val="solid"/>
                <a:round/>
                <a:headEnd/>
                <a:tailEnd/>
              </a:ln>
            </p:spPr>
            <p:txBody>
              <a:bodyPr/>
              <a:lstStyle/>
              <a:p>
                <a:endParaRPr lang="en-US" sz="1400">
                  <a:latin typeface="+mn-lt"/>
                </a:endParaRPr>
              </a:p>
            </p:txBody>
          </p:sp>
          <p:sp>
            <p:nvSpPr>
              <p:cNvPr id="59" name="Freeform 54"/>
              <p:cNvSpPr>
                <a:spLocks/>
              </p:cNvSpPr>
              <p:nvPr/>
            </p:nvSpPr>
            <p:spPr bwMode="gray">
              <a:xfrm>
                <a:off x="6489701" y="3547107"/>
                <a:ext cx="63500" cy="146050"/>
              </a:xfrm>
              <a:custGeom>
                <a:avLst/>
                <a:gdLst>
                  <a:gd name="T0" fmla="*/ 27 w 79"/>
                  <a:gd name="T1" fmla="*/ 0 h 184"/>
                  <a:gd name="T2" fmla="*/ 27 w 79"/>
                  <a:gd name="T3" fmla="*/ 26 h 184"/>
                  <a:gd name="T4" fmla="*/ 27 w 79"/>
                  <a:gd name="T5" fmla="*/ 51 h 184"/>
                  <a:gd name="T6" fmla="*/ 27 w 79"/>
                  <a:gd name="T7" fmla="*/ 78 h 184"/>
                  <a:gd name="T8" fmla="*/ 0 w 79"/>
                  <a:gd name="T9" fmla="*/ 132 h 184"/>
                  <a:gd name="T10" fmla="*/ 0 w 79"/>
                  <a:gd name="T11" fmla="*/ 155 h 184"/>
                  <a:gd name="T12" fmla="*/ 27 w 79"/>
                  <a:gd name="T13" fmla="*/ 184 h 184"/>
                  <a:gd name="T14" fmla="*/ 52 w 79"/>
                  <a:gd name="T15" fmla="*/ 155 h 184"/>
                  <a:gd name="T16" fmla="*/ 52 w 79"/>
                  <a:gd name="T17" fmla="*/ 132 h 184"/>
                  <a:gd name="T18" fmla="*/ 52 w 79"/>
                  <a:gd name="T19" fmla="*/ 103 h 184"/>
                  <a:gd name="T20" fmla="*/ 79 w 79"/>
                  <a:gd name="T21" fmla="*/ 78 h 184"/>
                  <a:gd name="T22" fmla="*/ 79 w 79"/>
                  <a:gd name="T23" fmla="*/ 51 h 184"/>
                  <a:gd name="T24" fmla="*/ 79 w 79"/>
                  <a:gd name="T25" fmla="*/ 26 h 184"/>
                  <a:gd name="T26" fmla="*/ 52 w 79"/>
                  <a:gd name="T27" fmla="*/ 0 h 184"/>
                  <a:gd name="T28" fmla="*/ 27 w 79"/>
                  <a:gd name="T29" fmla="*/ 0 h 184"/>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79"/>
                  <a:gd name="T46" fmla="*/ 0 h 184"/>
                  <a:gd name="T47" fmla="*/ 79 w 79"/>
                  <a:gd name="T48" fmla="*/ 184 h 184"/>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79" h="184">
                    <a:moveTo>
                      <a:pt x="27" y="0"/>
                    </a:moveTo>
                    <a:lnTo>
                      <a:pt x="27" y="26"/>
                    </a:lnTo>
                    <a:lnTo>
                      <a:pt x="27" y="51"/>
                    </a:lnTo>
                    <a:lnTo>
                      <a:pt x="27" y="78"/>
                    </a:lnTo>
                    <a:lnTo>
                      <a:pt x="0" y="132"/>
                    </a:lnTo>
                    <a:lnTo>
                      <a:pt x="0" y="155"/>
                    </a:lnTo>
                    <a:lnTo>
                      <a:pt x="27" y="184"/>
                    </a:lnTo>
                    <a:lnTo>
                      <a:pt x="52" y="155"/>
                    </a:lnTo>
                    <a:lnTo>
                      <a:pt x="52" y="132"/>
                    </a:lnTo>
                    <a:lnTo>
                      <a:pt x="52" y="103"/>
                    </a:lnTo>
                    <a:lnTo>
                      <a:pt x="79" y="78"/>
                    </a:lnTo>
                    <a:lnTo>
                      <a:pt x="79" y="51"/>
                    </a:lnTo>
                    <a:lnTo>
                      <a:pt x="79" y="26"/>
                    </a:lnTo>
                    <a:lnTo>
                      <a:pt x="52" y="0"/>
                    </a:lnTo>
                    <a:lnTo>
                      <a:pt x="27" y="0"/>
                    </a:lnTo>
                  </a:path>
                </a:pathLst>
              </a:custGeom>
              <a:grpFill/>
              <a:ln w="9525" cmpd="sng">
                <a:solidFill>
                  <a:schemeClr val="accent6"/>
                </a:solidFill>
                <a:prstDash val="solid"/>
                <a:round/>
                <a:headEnd/>
                <a:tailEnd/>
              </a:ln>
            </p:spPr>
            <p:txBody>
              <a:bodyPr/>
              <a:lstStyle/>
              <a:p>
                <a:endParaRPr lang="en-US" sz="1400">
                  <a:latin typeface="+mn-lt"/>
                </a:endParaRPr>
              </a:p>
            </p:txBody>
          </p:sp>
          <p:sp>
            <p:nvSpPr>
              <p:cNvPr id="60" name="Freeform 55"/>
              <p:cNvSpPr>
                <a:spLocks/>
              </p:cNvSpPr>
              <p:nvPr/>
            </p:nvSpPr>
            <p:spPr bwMode="gray">
              <a:xfrm>
                <a:off x="3495675" y="2204082"/>
                <a:ext cx="146050" cy="288925"/>
              </a:xfrm>
              <a:custGeom>
                <a:avLst/>
                <a:gdLst>
                  <a:gd name="T0" fmla="*/ 81 w 185"/>
                  <a:gd name="T1" fmla="*/ 207 h 362"/>
                  <a:gd name="T2" fmla="*/ 81 w 185"/>
                  <a:gd name="T3" fmla="*/ 234 h 362"/>
                  <a:gd name="T4" fmla="*/ 52 w 185"/>
                  <a:gd name="T5" fmla="*/ 234 h 362"/>
                  <a:gd name="T6" fmla="*/ 29 w 185"/>
                  <a:gd name="T7" fmla="*/ 288 h 362"/>
                  <a:gd name="T8" fmla="*/ 29 w 185"/>
                  <a:gd name="T9" fmla="*/ 311 h 362"/>
                  <a:gd name="T10" fmla="*/ 29 w 185"/>
                  <a:gd name="T11" fmla="*/ 339 h 362"/>
                  <a:gd name="T12" fmla="*/ 0 w 185"/>
                  <a:gd name="T13" fmla="*/ 339 h 362"/>
                  <a:gd name="T14" fmla="*/ 0 w 185"/>
                  <a:gd name="T15" fmla="*/ 362 h 362"/>
                  <a:gd name="T16" fmla="*/ 29 w 185"/>
                  <a:gd name="T17" fmla="*/ 362 h 362"/>
                  <a:gd name="T18" fmla="*/ 81 w 185"/>
                  <a:gd name="T19" fmla="*/ 339 h 362"/>
                  <a:gd name="T20" fmla="*/ 81 w 185"/>
                  <a:gd name="T21" fmla="*/ 362 h 362"/>
                  <a:gd name="T22" fmla="*/ 133 w 185"/>
                  <a:gd name="T23" fmla="*/ 362 h 362"/>
                  <a:gd name="T24" fmla="*/ 133 w 185"/>
                  <a:gd name="T25" fmla="*/ 339 h 362"/>
                  <a:gd name="T26" fmla="*/ 156 w 185"/>
                  <a:gd name="T27" fmla="*/ 362 h 362"/>
                  <a:gd name="T28" fmla="*/ 156 w 185"/>
                  <a:gd name="T29" fmla="*/ 339 h 362"/>
                  <a:gd name="T30" fmla="*/ 185 w 185"/>
                  <a:gd name="T31" fmla="*/ 339 h 362"/>
                  <a:gd name="T32" fmla="*/ 156 w 185"/>
                  <a:gd name="T33" fmla="*/ 311 h 362"/>
                  <a:gd name="T34" fmla="*/ 185 w 185"/>
                  <a:gd name="T35" fmla="*/ 311 h 362"/>
                  <a:gd name="T36" fmla="*/ 185 w 185"/>
                  <a:gd name="T37" fmla="*/ 288 h 362"/>
                  <a:gd name="T38" fmla="*/ 156 w 185"/>
                  <a:gd name="T39" fmla="*/ 259 h 362"/>
                  <a:gd name="T40" fmla="*/ 156 w 185"/>
                  <a:gd name="T41" fmla="*/ 234 h 362"/>
                  <a:gd name="T42" fmla="*/ 133 w 185"/>
                  <a:gd name="T43" fmla="*/ 207 h 362"/>
                  <a:gd name="T44" fmla="*/ 156 w 185"/>
                  <a:gd name="T45" fmla="*/ 182 h 362"/>
                  <a:gd name="T46" fmla="*/ 133 w 185"/>
                  <a:gd name="T47" fmla="*/ 182 h 362"/>
                  <a:gd name="T48" fmla="*/ 104 w 185"/>
                  <a:gd name="T49" fmla="*/ 182 h 362"/>
                  <a:gd name="T50" fmla="*/ 133 w 185"/>
                  <a:gd name="T51" fmla="*/ 155 h 362"/>
                  <a:gd name="T52" fmla="*/ 104 w 185"/>
                  <a:gd name="T53" fmla="*/ 155 h 362"/>
                  <a:gd name="T54" fmla="*/ 104 w 185"/>
                  <a:gd name="T55" fmla="*/ 130 h 362"/>
                  <a:gd name="T56" fmla="*/ 81 w 185"/>
                  <a:gd name="T57" fmla="*/ 103 h 362"/>
                  <a:gd name="T58" fmla="*/ 104 w 185"/>
                  <a:gd name="T59" fmla="*/ 52 h 362"/>
                  <a:gd name="T60" fmla="*/ 81 w 185"/>
                  <a:gd name="T61" fmla="*/ 52 h 362"/>
                  <a:gd name="T62" fmla="*/ 81 w 185"/>
                  <a:gd name="T63" fmla="*/ 27 h 362"/>
                  <a:gd name="T64" fmla="*/ 52 w 185"/>
                  <a:gd name="T65" fmla="*/ 27 h 362"/>
                  <a:gd name="T66" fmla="*/ 81 w 185"/>
                  <a:gd name="T67" fmla="*/ 0 h 362"/>
                  <a:gd name="T68" fmla="*/ 29 w 185"/>
                  <a:gd name="T69" fmla="*/ 0 h 362"/>
                  <a:gd name="T70" fmla="*/ 29 w 185"/>
                  <a:gd name="T71" fmla="*/ 27 h 362"/>
                  <a:gd name="T72" fmla="*/ 29 w 185"/>
                  <a:gd name="T73" fmla="*/ 52 h 362"/>
                  <a:gd name="T74" fmla="*/ 29 w 185"/>
                  <a:gd name="T75" fmla="*/ 78 h 362"/>
                  <a:gd name="T76" fmla="*/ 0 w 185"/>
                  <a:gd name="T77" fmla="*/ 78 h 362"/>
                  <a:gd name="T78" fmla="*/ 0 w 185"/>
                  <a:gd name="T79" fmla="*/ 103 h 362"/>
                  <a:gd name="T80" fmla="*/ 29 w 185"/>
                  <a:gd name="T81" fmla="*/ 103 h 362"/>
                  <a:gd name="T82" fmla="*/ 29 w 185"/>
                  <a:gd name="T83" fmla="*/ 130 h 362"/>
                  <a:gd name="T84" fmla="*/ 29 w 185"/>
                  <a:gd name="T85" fmla="*/ 155 h 362"/>
                  <a:gd name="T86" fmla="*/ 52 w 185"/>
                  <a:gd name="T87" fmla="*/ 182 h 362"/>
                  <a:gd name="T88" fmla="*/ 81 w 185"/>
                  <a:gd name="T89" fmla="*/ 207 h 362"/>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185"/>
                  <a:gd name="T136" fmla="*/ 0 h 362"/>
                  <a:gd name="T137" fmla="*/ 185 w 185"/>
                  <a:gd name="T138" fmla="*/ 362 h 362"/>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185" h="362">
                    <a:moveTo>
                      <a:pt x="81" y="207"/>
                    </a:moveTo>
                    <a:lnTo>
                      <a:pt x="81" y="234"/>
                    </a:lnTo>
                    <a:lnTo>
                      <a:pt x="52" y="234"/>
                    </a:lnTo>
                    <a:lnTo>
                      <a:pt x="29" y="288"/>
                    </a:lnTo>
                    <a:lnTo>
                      <a:pt x="29" y="311"/>
                    </a:lnTo>
                    <a:lnTo>
                      <a:pt x="29" y="339"/>
                    </a:lnTo>
                    <a:lnTo>
                      <a:pt x="0" y="339"/>
                    </a:lnTo>
                    <a:lnTo>
                      <a:pt x="0" y="362"/>
                    </a:lnTo>
                    <a:lnTo>
                      <a:pt x="29" y="362"/>
                    </a:lnTo>
                    <a:lnTo>
                      <a:pt x="81" y="339"/>
                    </a:lnTo>
                    <a:lnTo>
                      <a:pt x="81" y="362"/>
                    </a:lnTo>
                    <a:lnTo>
                      <a:pt x="133" y="362"/>
                    </a:lnTo>
                    <a:lnTo>
                      <a:pt x="133" y="339"/>
                    </a:lnTo>
                    <a:lnTo>
                      <a:pt x="156" y="362"/>
                    </a:lnTo>
                    <a:lnTo>
                      <a:pt x="156" y="339"/>
                    </a:lnTo>
                    <a:lnTo>
                      <a:pt x="185" y="339"/>
                    </a:lnTo>
                    <a:lnTo>
                      <a:pt x="156" y="311"/>
                    </a:lnTo>
                    <a:lnTo>
                      <a:pt x="185" y="311"/>
                    </a:lnTo>
                    <a:lnTo>
                      <a:pt x="185" y="288"/>
                    </a:lnTo>
                    <a:lnTo>
                      <a:pt x="156" y="259"/>
                    </a:lnTo>
                    <a:lnTo>
                      <a:pt x="156" y="234"/>
                    </a:lnTo>
                    <a:lnTo>
                      <a:pt x="133" y="207"/>
                    </a:lnTo>
                    <a:lnTo>
                      <a:pt x="156" y="182"/>
                    </a:lnTo>
                    <a:lnTo>
                      <a:pt x="133" y="182"/>
                    </a:lnTo>
                    <a:lnTo>
                      <a:pt x="104" y="182"/>
                    </a:lnTo>
                    <a:lnTo>
                      <a:pt x="133" y="155"/>
                    </a:lnTo>
                    <a:lnTo>
                      <a:pt x="104" y="155"/>
                    </a:lnTo>
                    <a:lnTo>
                      <a:pt x="104" y="130"/>
                    </a:lnTo>
                    <a:lnTo>
                      <a:pt x="81" y="103"/>
                    </a:lnTo>
                    <a:lnTo>
                      <a:pt x="104" y="52"/>
                    </a:lnTo>
                    <a:lnTo>
                      <a:pt x="81" y="52"/>
                    </a:lnTo>
                    <a:lnTo>
                      <a:pt x="81" y="27"/>
                    </a:lnTo>
                    <a:lnTo>
                      <a:pt x="52" y="27"/>
                    </a:lnTo>
                    <a:lnTo>
                      <a:pt x="81" y="0"/>
                    </a:lnTo>
                    <a:lnTo>
                      <a:pt x="29" y="0"/>
                    </a:lnTo>
                    <a:lnTo>
                      <a:pt x="29" y="27"/>
                    </a:lnTo>
                    <a:lnTo>
                      <a:pt x="29" y="52"/>
                    </a:lnTo>
                    <a:lnTo>
                      <a:pt x="29" y="78"/>
                    </a:lnTo>
                    <a:lnTo>
                      <a:pt x="0" y="78"/>
                    </a:lnTo>
                    <a:lnTo>
                      <a:pt x="0" y="103"/>
                    </a:lnTo>
                    <a:lnTo>
                      <a:pt x="29" y="103"/>
                    </a:lnTo>
                    <a:lnTo>
                      <a:pt x="29" y="130"/>
                    </a:lnTo>
                    <a:lnTo>
                      <a:pt x="29" y="155"/>
                    </a:lnTo>
                    <a:lnTo>
                      <a:pt x="52" y="182"/>
                    </a:lnTo>
                    <a:lnTo>
                      <a:pt x="81" y="207"/>
                    </a:lnTo>
                  </a:path>
                </a:pathLst>
              </a:custGeom>
              <a:grpFill/>
              <a:ln w="9525" cmpd="sng">
                <a:solidFill>
                  <a:schemeClr val="accent6"/>
                </a:solidFill>
                <a:prstDash val="solid"/>
                <a:round/>
                <a:headEnd/>
                <a:tailEnd/>
              </a:ln>
            </p:spPr>
            <p:txBody>
              <a:bodyPr/>
              <a:lstStyle/>
              <a:p>
                <a:endParaRPr lang="en-US" sz="1400">
                  <a:latin typeface="+mn-lt"/>
                </a:endParaRPr>
              </a:p>
            </p:txBody>
          </p:sp>
          <p:sp>
            <p:nvSpPr>
              <p:cNvPr id="61" name="Freeform 56"/>
              <p:cNvSpPr>
                <a:spLocks/>
              </p:cNvSpPr>
              <p:nvPr/>
            </p:nvSpPr>
            <p:spPr bwMode="gray">
              <a:xfrm>
                <a:off x="3394075" y="2308857"/>
                <a:ext cx="125413" cy="123825"/>
              </a:xfrm>
              <a:custGeom>
                <a:avLst/>
                <a:gdLst>
                  <a:gd name="T0" fmla="*/ 25 w 157"/>
                  <a:gd name="T1" fmla="*/ 158 h 158"/>
                  <a:gd name="T2" fmla="*/ 76 w 157"/>
                  <a:gd name="T3" fmla="*/ 158 h 158"/>
                  <a:gd name="T4" fmla="*/ 105 w 157"/>
                  <a:gd name="T5" fmla="*/ 129 h 158"/>
                  <a:gd name="T6" fmla="*/ 105 w 157"/>
                  <a:gd name="T7" fmla="*/ 158 h 158"/>
                  <a:gd name="T8" fmla="*/ 128 w 157"/>
                  <a:gd name="T9" fmla="*/ 158 h 158"/>
                  <a:gd name="T10" fmla="*/ 128 w 157"/>
                  <a:gd name="T11" fmla="*/ 104 h 158"/>
                  <a:gd name="T12" fmla="*/ 128 w 157"/>
                  <a:gd name="T13" fmla="*/ 77 h 158"/>
                  <a:gd name="T14" fmla="*/ 157 w 157"/>
                  <a:gd name="T15" fmla="*/ 52 h 158"/>
                  <a:gd name="T16" fmla="*/ 157 w 157"/>
                  <a:gd name="T17" fmla="*/ 25 h 158"/>
                  <a:gd name="T18" fmla="*/ 128 w 157"/>
                  <a:gd name="T19" fmla="*/ 25 h 158"/>
                  <a:gd name="T20" fmla="*/ 105 w 157"/>
                  <a:gd name="T21" fmla="*/ 0 h 158"/>
                  <a:gd name="T22" fmla="*/ 105 w 157"/>
                  <a:gd name="T23" fmla="*/ 25 h 158"/>
                  <a:gd name="T24" fmla="*/ 76 w 157"/>
                  <a:gd name="T25" fmla="*/ 25 h 158"/>
                  <a:gd name="T26" fmla="*/ 53 w 157"/>
                  <a:gd name="T27" fmla="*/ 25 h 158"/>
                  <a:gd name="T28" fmla="*/ 25 w 157"/>
                  <a:gd name="T29" fmla="*/ 52 h 158"/>
                  <a:gd name="T30" fmla="*/ 53 w 157"/>
                  <a:gd name="T31" fmla="*/ 77 h 158"/>
                  <a:gd name="T32" fmla="*/ 25 w 157"/>
                  <a:gd name="T33" fmla="*/ 77 h 158"/>
                  <a:gd name="T34" fmla="*/ 53 w 157"/>
                  <a:gd name="T35" fmla="*/ 104 h 158"/>
                  <a:gd name="T36" fmla="*/ 0 w 157"/>
                  <a:gd name="T37" fmla="*/ 129 h 158"/>
                  <a:gd name="T38" fmla="*/ 25 w 157"/>
                  <a:gd name="T39" fmla="*/ 158 h 158"/>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57"/>
                  <a:gd name="T61" fmla="*/ 0 h 158"/>
                  <a:gd name="T62" fmla="*/ 157 w 157"/>
                  <a:gd name="T63" fmla="*/ 158 h 158"/>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57" h="158">
                    <a:moveTo>
                      <a:pt x="25" y="158"/>
                    </a:moveTo>
                    <a:lnTo>
                      <a:pt x="76" y="158"/>
                    </a:lnTo>
                    <a:lnTo>
                      <a:pt x="105" y="129"/>
                    </a:lnTo>
                    <a:lnTo>
                      <a:pt x="105" y="158"/>
                    </a:lnTo>
                    <a:lnTo>
                      <a:pt x="128" y="158"/>
                    </a:lnTo>
                    <a:lnTo>
                      <a:pt x="128" y="104"/>
                    </a:lnTo>
                    <a:lnTo>
                      <a:pt x="128" y="77"/>
                    </a:lnTo>
                    <a:lnTo>
                      <a:pt x="157" y="52"/>
                    </a:lnTo>
                    <a:lnTo>
                      <a:pt x="157" y="25"/>
                    </a:lnTo>
                    <a:lnTo>
                      <a:pt x="128" y="25"/>
                    </a:lnTo>
                    <a:lnTo>
                      <a:pt x="105" y="0"/>
                    </a:lnTo>
                    <a:lnTo>
                      <a:pt x="105" y="25"/>
                    </a:lnTo>
                    <a:lnTo>
                      <a:pt x="76" y="25"/>
                    </a:lnTo>
                    <a:lnTo>
                      <a:pt x="53" y="25"/>
                    </a:lnTo>
                    <a:lnTo>
                      <a:pt x="25" y="52"/>
                    </a:lnTo>
                    <a:lnTo>
                      <a:pt x="53" y="77"/>
                    </a:lnTo>
                    <a:lnTo>
                      <a:pt x="25" y="77"/>
                    </a:lnTo>
                    <a:lnTo>
                      <a:pt x="53" y="104"/>
                    </a:lnTo>
                    <a:lnTo>
                      <a:pt x="0" y="129"/>
                    </a:lnTo>
                    <a:lnTo>
                      <a:pt x="25" y="158"/>
                    </a:lnTo>
                  </a:path>
                </a:pathLst>
              </a:custGeom>
              <a:grpFill/>
              <a:ln w="9525" cmpd="sng">
                <a:solidFill>
                  <a:schemeClr val="accent6"/>
                </a:solidFill>
                <a:prstDash val="solid"/>
                <a:round/>
                <a:headEnd/>
                <a:tailEnd/>
              </a:ln>
            </p:spPr>
            <p:txBody>
              <a:bodyPr/>
              <a:lstStyle/>
              <a:p>
                <a:endParaRPr lang="en-US" sz="1400">
                  <a:latin typeface="+mn-lt"/>
                </a:endParaRPr>
              </a:p>
            </p:txBody>
          </p:sp>
          <p:sp>
            <p:nvSpPr>
              <p:cNvPr id="62" name="Freeform 57"/>
              <p:cNvSpPr>
                <a:spLocks/>
              </p:cNvSpPr>
              <p:nvPr/>
            </p:nvSpPr>
            <p:spPr bwMode="gray">
              <a:xfrm>
                <a:off x="6778626" y="2308857"/>
                <a:ext cx="104775" cy="352425"/>
              </a:xfrm>
              <a:custGeom>
                <a:avLst/>
                <a:gdLst>
                  <a:gd name="T0" fmla="*/ 80 w 132"/>
                  <a:gd name="T1" fmla="*/ 417 h 445"/>
                  <a:gd name="T2" fmla="*/ 80 w 132"/>
                  <a:gd name="T3" fmla="*/ 445 h 445"/>
                  <a:gd name="T4" fmla="*/ 109 w 132"/>
                  <a:gd name="T5" fmla="*/ 417 h 445"/>
                  <a:gd name="T6" fmla="*/ 132 w 132"/>
                  <a:gd name="T7" fmla="*/ 445 h 445"/>
                  <a:gd name="T8" fmla="*/ 132 w 132"/>
                  <a:gd name="T9" fmla="*/ 417 h 445"/>
                  <a:gd name="T10" fmla="*/ 109 w 132"/>
                  <a:gd name="T11" fmla="*/ 388 h 445"/>
                  <a:gd name="T12" fmla="*/ 80 w 132"/>
                  <a:gd name="T13" fmla="*/ 261 h 445"/>
                  <a:gd name="T14" fmla="*/ 109 w 132"/>
                  <a:gd name="T15" fmla="*/ 261 h 445"/>
                  <a:gd name="T16" fmla="*/ 109 w 132"/>
                  <a:gd name="T17" fmla="*/ 232 h 445"/>
                  <a:gd name="T18" fmla="*/ 52 w 132"/>
                  <a:gd name="T19" fmla="*/ 181 h 445"/>
                  <a:gd name="T20" fmla="*/ 52 w 132"/>
                  <a:gd name="T21" fmla="*/ 77 h 445"/>
                  <a:gd name="T22" fmla="*/ 29 w 132"/>
                  <a:gd name="T23" fmla="*/ 25 h 445"/>
                  <a:gd name="T24" fmla="*/ 0 w 132"/>
                  <a:gd name="T25" fmla="*/ 0 h 445"/>
                  <a:gd name="T26" fmla="*/ 29 w 132"/>
                  <a:gd name="T27" fmla="*/ 52 h 445"/>
                  <a:gd name="T28" fmla="*/ 29 w 132"/>
                  <a:gd name="T29" fmla="*/ 129 h 445"/>
                  <a:gd name="T30" fmla="*/ 52 w 132"/>
                  <a:gd name="T31" fmla="*/ 313 h 445"/>
                  <a:gd name="T32" fmla="*/ 80 w 132"/>
                  <a:gd name="T33" fmla="*/ 417 h 445"/>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32"/>
                  <a:gd name="T52" fmla="*/ 0 h 445"/>
                  <a:gd name="T53" fmla="*/ 132 w 132"/>
                  <a:gd name="T54" fmla="*/ 445 h 445"/>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32" h="445">
                    <a:moveTo>
                      <a:pt x="80" y="417"/>
                    </a:moveTo>
                    <a:lnTo>
                      <a:pt x="80" y="445"/>
                    </a:lnTo>
                    <a:lnTo>
                      <a:pt x="109" y="417"/>
                    </a:lnTo>
                    <a:lnTo>
                      <a:pt x="132" y="445"/>
                    </a:lnTo>
                    <a:lnTo>
                      <a:pt x="132" y="417"/>
                    </a:lnTo>
                    <a:lnTo>
                      <a:pt x="109" y="388"/>
                    </a:lnTo>
                    <a:lnTo>
                      <a:pt x="80" y="261"/>
                    </a:lnTo>
                    <a:lnTo>
                      <a:pt x="109" y="261"/>
                    </a:lnTo>
                    <a:lnTo>
                      <a:pt x="109" y="232"/>
                    </a:lnTo>
                    <a:lnTo>
                      <a:pt x="52" y="181"/>
                    </a:lnTo>
                    <a:lnTo>
                      <a:pt x="52" y="77"/>
                    </a:lnTo>
                    <a:lnTo>
                      <a:pt x="29" y="25"/>
                    </a:lnTo>
                    <a:lnTo>
                      <a:pt x="0" y="0"/>
                    </a:lnTo>
                    <a:lnTo>
                      <a:pt x="29" y="52"/>
                    </a:lnTo>
                    <a:lnTo>
                      <a:pt x="29" y="129"/>
                    </a:lnTo>
                    <a:lnTo>
                      <a:pt x="52" y="313"/>
                    </a:lnTo>
                    <a:lnTo>
                      <a:pt x="80" y="417"/>
                    </a:lnTo>
                  </a:path>
                </a:pathLst>
              </a:custGeom>
              <a:grpFill/>
              <a:ln w="9525" cmpd="sng">
                <a:solidFill>
                  <a:schemeClr val="accent6"/>
                </a:solidFill>
                <a:prstDash val="solid"/>
                <a:round/>
                <a:headEnd/>
                <a:tailEnd/>
              </a:ln>
            </p:spPr>
            <p:txBody>
              <a:bodyPr/>
              <a:lstStyle/>
              <a:p>
                <a:endParaRPr lang="en-US" sz="1400">
                  <a:latin typeface="+mn-lt"/>
                </a:endParaRPr>
              </a:p>
            </p:txBody>
          </p:sp>
          <p:sp>
            <p:nvSpPr>
              <p:cNvPr id="63" name="Freeform 58"/>
              <p:cNvSpPr>
                <a:spLocks/>
              </p:cNvSpPr>
              <p:nvPr/>
            </p:nvSpPr>
            <p:spPr bwMode="gray">
              <a:xfrm>
                <a:off x="6865939" y="2680332"/>
                <a:ext cx="122238" cy="122238"/>
              </a:xfrm>
              <a:custGeom>
                <a:avLst/>
                <a:gdLst>
                  <a:gd name="T0" fmla="*/ 75 w 156"/>
                  <a:gd name="T1" fmla="*/ 51 h 155"/>
                  <a:gd name="T2" fmla="*/ 0 w 156"/>
                  <a:gd name="T3" fmla="*/ 0 h 155"/>
                  <a:gd name="T4" fmla="*/ 0 w 156"/>
                  <a:gd name="T5" fmla="*/ 51 h 155"/>
                  <a:gd name="T6" fmla="*/ 0 w 156"/>
                  <a:gd name="T7" fmla="*/ 155 h 155"/>
                  <a:gd name="T8" fmla="*/ 23 w 156"/>
                  <a:gd name="T9" fmla="*/ 132 h 155"/>
                  <a:gd name="T10" fmla="*/ 75 w 156"/>
                  <a:gd name="T11" fmla="*/ 155 h 155"/>
                  <a:gd name="T12" fmla="*/ 75 w 156"/>
                  <a:gd name="T13" fmla="*/ 132 h 155"/>
                  <a:gd name="T14" fmla="*/ 156 w 156"/>
                  <a:gd name="T15" fmla="*/ 76 h 155"/>
                  <a:gd name="T16" fmla="*/ 127 w 156"/>
                  <a:gd name="T17" fmla="*/ 51 h 155"/>
                  <a:gd name="T18" fmla="*/ 75 w 156"/>
                  <a:gd name="T19" fmla="*/ 51 h 15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56"/>
                  <a:gd name="T31" fmla="*/ 0 h 155"/>
                  <a:gd name="T32" fmla="*/ 156 w 156"/>
                  <a:gd name="T33" fmla="*/ 155 h 15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56" h="155">
                    <a:moveTo>
                      <a:pt x="75" y="51"/>
                    </a:moveTo>
                    <a:lnTo>
                      <a:pt x="0" y="0"/>
                    </a:lnTo>
                    <a:lnTo>
                      <a:pt x="0" y="51"/>
                    </a:lnTo>
                    <a:lnTo>
                      <a:pt x="0" y="155"/>
                    </a:lnTo>
                    <a:lnTo>
                      <a:pt x="23" y="132"/>
                    </a:lnTo>
                    <a:lnTo>
                      <a:pt x="75" y="155"/>
                    </a:lnTo>
                    <a:lnTo>
                      <a:pt x="75" y="132"/>
                    </a:lnTo>
                    <a:lnTo>
                      <a:pt x="156" y="76"/>
                    </a:lnTo>
                    <a:lnTo>
                      <a:pt x="127" y="51"/>
                    </a:lnTo>
                    <a:lnTo>
                      <a:pt x="75" y="51"/>
                    </a:lnTo>
                  </a:path>
                </a:pathLst>
              </a:custGeom>
              <a:grpFill/>
              <a:ln w="9525" cmpd="sng">
                <a:solidFill>
                  <a:schemeClr val="accent6"/>
                </a:solidFill>
                <a:prstDash val="solid"/>
                <a:round/>
                <a:headEnd/>
                <a:tailEnd/>
              </a:ln>
            </p:spPr>
            <p:txBody>
              <a:bodyPr/>
              <a:lstStyle/>
              <a:p>
                <a:endParaRPr lang="en-US" sz="1400">
                  <a:latin typeface="+mn-lt"/>
                </a:endParaRPr>
              </a:p>
            </p:txBody>
          </p:sp>
          <p:sp>
            <p:nvSpPr>
              <p:cNvPr id="64" name="Freeform 59"/>
              <p:cNvSpPr>
                <a:spLocks/>
              </p:cNvSpPr>
              <p:nvPr/>
            </p:nvSpPr>
            <p:spPr bwMode="gray">
              <a:xfrm>
                <a:off x="6696076" y="2823207"/>
                <a:ext cx="207963" cy="269875"/>
              </a:xfrm>
              <a:custGeom>
                <a:avLst/>
                <a:gdLst>
                  <a:gd name="T0" fmla="*/ 213 w 261"/>
                  <a:gd name="T1" fmla="*/ 0 h 340"/>
                  <a:gd name="T2" fmla="*/ 184 w 261"/>
                  <a:gd name="T3" fmla="*/ 132 h 340"/>
                  <a:gd name="T4" fmla="*/ 184 w 261"/>
                  <a:gd name="T5" fmla="*/ 155 h 340"/>
                  <a:gd name="T6" fmla="*/ 104 w 261"/>
                  <a:gd name="T7" fmla="*/ 236 h 340"/>
                  <a:gd name="T8" fmla="*/ 104 w 261"/>
                  <a:gd name="T9" fmla="*/ 263 h 340"/>
                  <a:gd name="T10" fmla="*/ 29 w 261"/>
                  <a:gd name="T11" fmla="*/ 288 h 340"/>
                  <a:gd name="T12" fmla="*/ 0 w 261"/>
                  <a:gd name="T13" fmla="*/ 315 h 340"/>
                  <a:gd name="T14" fmla="*/ 29 w 261"/>
                  <a:gd name="T15" fmla="*/ 340 h 340"/>
                  <a:gd name="T16" fmla="*/ 56 w 261"/>
                  <a:gd name="T17" fmla="*/ 315 h 340"/>
                  <a:gd name="T18" fmla="*/ 81 w 261"/>
                  <a:gd name="T19" fmla="*/ 315 h 340"/>
                  <a:gd name="T20" fmla="*/ 104 w 261"/>
                  <a:gd name="T21" fmla="*/ 315 h 340"/>
                  <a:gd name="T22" fmla="*/ 133 w 261"/>
                  <a:gd name="T23" fmla="*/ 340 h 340"/>
                  <a:gd name="T24" fmla="*/ 156 w 261"/>
                  <a:gd name="T25" fmla="*/ 340 h 340"/>
                  <a:gd name="T26" fmla="*/ 156 w 261"/>
                  <a:gd name="T27" fmla="*/ 315 h 340"/>
                  <a:gd name="T28" fmla="*/ 184 w 261"/>
                  <a:gd name="T29" fmla="*/ 315 h 340"/>
                  <a:gd name="T30" fmla="*/ 184 w 261"/>
                  <a:gd name="T31" fmla="*/ 288 h 340"/>
                  <a:gd name="T32" fmla="*/ 236 w 261"/>
                  <a:gd name="T33" fmla="*/ 288 h 340"/>
                  <a:gd name="T34" fmla="*/ 236 w 261"/>
                  <a:gd name="T35" fmla="*/ 263 h 340"/>
                  <a:gd name="T36" fmla="*/ 261 w 261"/>
                  <a:gd name="T37" fmla="*/ 288 h 340"/>
                  <a:gd name="T38" fmla="*/ 261 w 261"/>
                  <a:gd name="T39" fmla="*/ 207 h 340"/>
                  <a:gd name="T40" fmla="*/ 236 w 261"/>
                  <a:gd name="T41" fmla="*/ 155 h 340"/>
                  <a:gd name="T42" fmla="*/ 261 w 261"/>
                  <a:gd name="T43" fmla="*/ 132 h 340"/>
                  <a:gd name="T44" fmla="*/ 261 w 261"/>
                  <a:gd name="T45" fmla="*/ 107 h 340"/>
                  <a:gd name="T46" fmla="*/ 261 w 261"/>
                  <a:gd name="T47" fmla="*/ 79 h 340"/>
                  <a:gd name="T48" fmla="*/ 236 w 261"/>
                  <a:gd name="T49" fmla="*/ 27 h 340"/>
                  <a:gd name="T50" fmla="*/ 213 w 261"/>
                  <a:gd name="T51" fmla="*/ 0 h 340"/>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261"/>
                  <a:gd name="T79" fmla="*/ 0 h 340"/>
                  <a:gd name="T80" fmla="*/ 261 w 261"/>
                  <a:gd name="T81" fmla="*/ 340 h 340"/>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261" h="340">
                    <a:moveTo>
                      <a:pt x="213" y="0"/>
                    </a:moveTo>
                    <a:lnTo>
                      <a:pt x="184" y="132"/>
                    </a:lnTo>
                    <a:lnTo>
                      <a:pt x="184" y="155"/>
                    </a:lnTo>
                    <a:lnTo>
                      <a:pt x="104" y="236"/>
                    </a:lnTo>
                    <a:lnTo>
                      <a:pt x="104" y="263"/>
                    </a:lnTo>
                    <a:lnTo>
                      <a:pt x="29" y="288"/>
                    </a:lnTo>
                    <a:lnTo>
                      <a:pt x="0" y="315"/>
                    </a:lnTo>
                    <a:lnTo>
                      <a:pt x="29" y="340"/>
                    </a:lnTo>
                    <a:lnTo>
                      <a:pt x="56" y="315"/>
                    </a:lnTo>
                    <a:lnTo>
                      <a:pt x="81" y="315"/>
                    </a:lnTo>
                    <a:lnTo>
                      <a:pt x="104" y="315"/>
                    </a:lnTo>
                    <a:lnTo>
                      <a:pt x="133" y="340"/>
                    </a:lnTo>
                    <a:lnTo>
                      <a:pt x="156" y="340"/>
                    </a:lnTo>
                    <a:lnTo>
                      <a:pt x="156" y="315"/>
                    </a:lnTo>
                    <a:lnTo>
                      <a:pt x="184" y="315"/>
                    </a:lnTo>
                    <a:lnTo>
                      <a:pt x="184" y="288"/>
                    </a:lnTo>
                    <a:lnTo>
                      <a:pt x="236" y="288"/>
                    </a:lnTo>
                    <a:lnTo>
                      <a:pt x="236" y="263"/>
                    </a:lnTo>
                    <a:lnTo>
                      <a:pt x="261" y="288"/>
                    </a:lnTo>
                    <a:lnTo>
                      <a:pt x="261" y="207"/>
                    </a:lnTo>
                    <a:lnTo>
                      <a:pt x="236" y="155"/>
                    </a:lnTo>
                    <a:lnTo>
                      <a:pt x="261" y="132"/>
                    </a:lnTo>
                    <a:lnTo>
                      <a:pt x="261" y="107"/>
                    </a:lnTo>
                    <a:lnTo>
                      <a:pt x="261" y="79"/>
                    </a:lnTo>
                    <a:lnTo>
                      <a:pt x="236" y="27"/>
                    </a:lnTo>
                    <a:lnTo>
                      <a:pt x="213" y="0"/>
                    </a:lnTo>
                  </a:path>
                </a:pathLst>
              </a:custGeom>
              <a:grpFill/>
              <a:ln w="9525" cmpd="sng">
                <a:solidFill>
                  <a:schemeClr val="accent6"/>
                </a:solidFill>
                <a:prstDash val="solid"/>
                <a:round/>
                <a:headEnd/>
                <a:tailEnd/>
              </a:ln>
            </p:spPr>
            <p:txBody>
              <a:bodyPr/>
              <a:lstStyle/>
              <a:p>
                <a:endParaRPr lang="en-US" sz="1400">
                  <a:latin typeface="+mn-lt"/>
                </a:endParaRPr>
              </a:p>
            </p:txBody>
          </p:sp>
          <p:sp>
            <p:nvSpPr>
              <p:cNvPr id="65" name="Freeform 60"/>
              <p:cNvSpPr>
                <a:spLocks/>
              </p:cNvSpPr>
              <p:nvPr/>
            </p:nvSpPr>
            <p:spPr bwMode="gray">
              <a:xfrm>
                <a:off x="6678614" y="3110545"/>
                <a:ext cx="39688" cy="87313"/>
              </a:xfrm>
              <a:custGeom>
                <a:avLst/>
                <a:gdLst>
                  <a:gd name="T0" fmla="*/ 52 w 52"/>
                  <a:gd name="T1" fmla="*/ 80 h 109"/>
                  <a:gd name="T2" fmla="*/ 52 w 52"/>
                  <a:gd name="T3" fmla="*/ 57 h 109"/>
                  <a:gd name="T4" fmla="*/ 52 w 52"/>
                  <a:gd name="T5" fmla="*/ 28 h 109"/>
                  <a:gd name="T6" fmla="*/ 23 w 52"/>
                  <a:gd name="T7" fmla="*/ 0 h 109"/>
                  <a:gd name="T8" fmla="*/ 0 w 52"/>
                  <a:gd name="T9" fmla="*/ 28 h 109"/>
                  <a:gd name="T10" fmla="*/ 0 w 52"/>
                  <a:gd name="T11" fmla="*/ 80 h 109"/>
                  <a:gd name="T12" fmla="*/ 23 w 52"/>
                  <a:gd name="T13" fmla="*/ 109 h 109"/>
                  <a:gd name="T14" fmla="*/ 52 w 52"/>
                  <a:gd name="T15" fmla="*/ 80 h 109"/>
                  <a:gd name="T16" fmla="*/ 0 60000 65536"/>
                  <a:gd name="T17" fmla="*/ 0 60000 65536"/>
                  <a:gd name="T18" fmla="*/ 0 60000 65536"/>
                  <a:gd name="T19" fmla="*/ 0 60000 65536"/>
                  <a:gd name="T20" fmla="*/ 0 60000 65536"/>
                  <a:gd name="T21" fmla="*/ 0 60000 65536"/>
                  <a:gd name="T22" fmla="*/ 0 60000 65536"/>
                  <a:gd name="T23" fmla="*/ 0 60000 65536"/>
                  <a:gd name="T24" fmla="*/ 0 w 52"/>
                  <a:gd name="T25" fmla="*/ 0 h 109"/>
                  <a:gd name="T26" fmla="*/ 52 w 52"/>
                  <a:gd name="T27" fmla="*/ 109 h 109"/>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2" h="109">
                    <a:moveTo>
                      <a:pt x="52" y="80"/>
                    </a:moveTo>
                    <a:lnTo>
                      <a:pt x="52" y="57"/>
                    </a:lnTo>
                    <a:lnTo>
                      <a:pt x="52" y="28"/>
                    </a:lnTo>
                    <a:lnTo>
                      <a:pt x="23" y="0"/>
                    </a:lnTo>
                    <a:lnTo>
                      <a:pt x="0" y="28"/>
                    </a:lnTo>
                    <a:lnTo>
                      <a:pt x="0" y="80"/>
                    </a:lnTo>
                    <a:lnTo>
                      <a:pt x="23" y="109"/>
                    </a:lnTo>
                    <a:lnTo>
                      <a:pt x="52" y="80"/>
                    </a:lnTo>
                  </a:path>
                </a:pathLst>
              </a:custGeom>
              <a:grpFill/>
              <a:ln w="9525" cmpd="sng">
                <a:solidFill>
                  <a:schemeClr val="accent6"/>
                </a:solidFill>
                <a:prstDash val="solid"/>
                <a:round/>
                <a:headEnd/>
                <a:tailEnd/>
              </a:ln>
            </p:spPr>
            <p:txBody>
              <a:bodyPr/>
              <a:lstStyle/>
              <a:p>
                <a:endParaRPr lang="en-US" sz="1400">
                  <a:latin typeface="+mn-lt"/>
                </a:endParaRPr>
              </a:p>
            </p:txBody>
          </p:sp>
          <p:sp>
            <p:nvSpPr>
              <p:cNvPr id="66" name="Freeform 61"/>
              <p:cNvSpPr>
                <a:spLocks/>
              </p:cNvSpPr>
              <p:nvPr/>
            </p:nvSpPr>
            <p:spPr bwMode="gray">
              <a:xfrm>
                <a:off x="6470651" y="3339145"/>
                <a:ext cx="41275" cy="84138"/>
              </a:xfrm>
              <a:custGeom>
                <a:avLst/>
                <a:gdLst>
                  <a:gd name="T0" fmla="*/ 0 w 52"/>
                  <a:gd name="T1" fmla="*/ 24 h 105"/>
                  <a:gd name="T2" fmla="*/ 0 w 52"/>
                  <a:gd name="T3" fmla="*/ 51 h 105"/>
                  <a:gd name="T4" fmla="*/ 25 w 52"/>
                  <a:gd name="T5" fmla="*/ 80 h 105"/>
                  <a:gd name="T6" fmla="*/ 25 w 52"/>
                  <a:gd name="T7" fmla="*/ 105 h 105"/>
                  <a:gd name="T8" fmla="*/ 52 w 52"/>
                  <a:gd name="T9" fmla="*/ 80 h 105"/>
                  <a:gd name="T10" fmla="*/ 52 w 52"/>
                  <a:gd name="T11" fmla="*/ 51 h 105"/>
                  <a:gd name="T12" fmla="*/ 25 w 52"/>
                  <a:gd name="T13" fmla="*/ 0 h 105"/>
                  <a:gd name="T14" fmla="*/ 0 w 52"/>
                  <a:gd name="T15" fmla="*/ 24 h 105"/>
                  <a:gd name="T16" fmla="*/ 0 60000 65536"/>
                  <a:gd name="T17" fmla="*/ 0 60000 65536"/>
                  <a:gd name="T18" fmla="*/ 0 60000 65536"/>
                  <a:gd name="T19" fmla="*/ 0 60000 65536"/>
                  <a:gd name="T20" fmla="*/ 0 60000 65536"/>
                  <a:gd name="T21" fmla="*/ 0 60000 65536"/>
                  <a:gd name="T22" fmla="*/ 0 60000 65536"/>
                  <a:gd name="T23" fmla="*/ 0 60000 65536"/>
                  <a:gd name="T24" fmla="*/ 0 w 52"/>
                  <a:gd name="T25" fmla="*/ 0 h 105"/>
                  <a:gd name="T26" fmla="*/ 52 w 52"/>
                  <a:gd name="T27" fmla="*/ 105 h 105"/>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2" h="105">
                    <a:moveTo>
                      <a:pt x="0" y="24"/>
                    </a:moveTo>
                    <a:lnTo>
                      <a:pt x="0" y="51"/>
                    </a:lnTo>
                    <a:lnTo>
                      <a:pt x="25" y="80"/>
                    </a:lnTo>
                    <a:lnTo>
                      <a:pt x="25" y="105"/>
                    </a:lnTo>
                    <a:lnTo>
                      <a:pt x="52" y="80"/>
                    </a:lnTo>
                    <a:lnTo>
                      <a:pt x="52" y="51"/>
                    </a:lnTo>
                    <a:lnTo>
                      <a:pt x="25" y="0"/>
                    </a:lnTo>
                    <a:lnTo>
                      <a:pt x="0" y="24"/>
                    </a:lnTo>
                  </a:path>
                </a:pathLst>
              </a:custGeom>
              <a:grpFill/>
              <a:ln w="9525" cmpd="sng">
                <a:solidFill>
                  <a:schemeClr val="accent6"/>
                </a:solidFill>
                <a:prstDash val="solid"/>
                <a:round/>
                <a:headEnd/>
                <a:tailEnd/>
              </a:ln>
            </p:spPr>
            <p:txBody>
              <a:bodyPr/>
              <a:lstStyle/>
              <a:p>
                <a:endParaRPr lang="en-US" sz="1400">
                  <a:latin typeface="+mn-lt"/>
                </a:endParaRPr>
              </a:p>
            </p:txBody>
          </p:sp>
          <p:sp>
            <p:nvSpPr>
              <p:cNvPr id="67" name="Freeform 62"/>
              <p:cNvSpPr>
                <a:spLocks/>
              </p:cNvSpPr>
              <p:nvPr/>
            </p:nvSpPr>
            <p:spPr bwMode="gray">
              <a:xfrm>
                <a:off x="6183314" y="3547107"/>
                <a:ext cx="58738" cy="41275"/>
              </a:xfrm>
              <a:custGeom>
                <a:avLst/>
                <a:gdLst>
                  <a:gd name="T0" fmla="*/ 75 w 75"/>
                  <a:gd name="T1" fmla="*/ 0 h 51"/>
                  <a:gd name="T2" fmla="*/ 23 w 75"/>
                  <a:gd name="T3" fmla="*/ 0 h 51"/>
                  <a:gd name="T4" fmla="*/ 0 w 75"/>
                  <a:gd name="T5" fmla="*/ 26 h 51"/>
                  <a:gd name="T6" fmla="*/ 23 w 75"/>
                  <a:gd name="T7" fmla="*/ 51 h 51"/>
                  <a:gd name="T8" fmla="*/ 75 w 75"/>
                  <a:gd name="T9" fmla="*/ 26 h 51"/>
                  <a:gd name="T10" fmla="*/ 75 w 75"/>
                  <a:gd name="T11" fmla="*/ 0 h 51"/>
                  <a:gd name="T12" fmla="*/ 0 60000 65536"/>
                  <a:gd name="T13" fmla="*/ 0 60000 65536"/>
                  <a:gd name="T14" fmla="*/ 0 60000 65536"/>
                  <a:gd name="T15" fmla="*/ 0 60000 65536"/>
                  <a:gd name="T16" fmla="*/ 0 60000 65536"/>
                  <a:gd name="T17" fmla="*/ 0 60000 65536"/>
                  <a:gd name="T18" fmla="*/ 0 w 75"/>
                  <a:gd name="T19" fmla="*/ 0 h 51"/>
                  <a:gd name="T20" fmla="*/ 75 w 75"/>
                  <a:gd name="T21" fmla="*/ 51 h 51"/>
                </a:gdLst>
                <a:ahLst/>
                <a:cxnLst>
                  <a:cxn ang="T12">
                    <a:pos x="T0" y="T1"/>
                  </a:cxn>
                  <a:cxn ang="T13">
                    <a:pos x="T2" y="T3"/>
                  </a:cxn>
                  <a:cxn ang="T14">
                    <a:pos x="T4" y="T5"/>
                  </a:cxn>
                  <a:cxn ang="T15">
                    <a:pos x="T6" y="T7"/>
                  </a:cxn>
                  <a:cxn ang="T16">
                    <a:pos x="T8" y="T9"/>
                  </a:cxn>
                  <a:cxn ang="T17">
                    <a:pos x="T10" y="T11"/>
                  </a:cxn>
                </a:cxnLst>
                <a:rect l="T18" t="T19" r="T20" b="T21"/>
                <a:pathLst>
                  <a:path w="75" h="51">
                    <a:moveTo>
                      <a:pt x="75" y="0"/>
                    </a:moveTo>
                    <a:lnTo>
                      <a:pt x="23" y="0"/>
                    </a:lnTo>
                    <a:lnTo>
                      <a:pt x="0" y="26"/>
                    </a:lnTo>
                    <a:lnTo>
                      <a:pt x="23" y="51"/>
                    </a:lnTo>
                    <a:lnTo>
                      <a:pt x="75" y="26"/>
                    </a:lnTo>
                    <a:lnTo>
                      <a:pt x="75" y="0"/>
                    </a:lnTo>
                  </a:path>
                </a:pathLst>
              </a:custGeom>
              <a:grpFill/>
              <a:ln w="9525" cmpd="sng">
                <a:solidFill>
                  <a:schemeClr val="accent6"/>
                </a:solidFill>
                <a:prstDash val="solid"/>
                <a:round/>
                <a:headEnd/>
                <a:tailEnd/>
              </a:ln>
            </p:spPr>
            <p:txBody>
              <a:bodyPr/>
              <a:lstStyle/>
              <a:p>
                <a:endParaRPr lang="en-US" sz="1400">
                  <a:latin typeface="+mn-lt"/>
                </a:endParaRPr>
              </a:p>
            </p:txBody>
          </p:sp>
          <p:sp>
            <p:nvSpPr>
              <p:cNvPr id="68" name="Freeform 63"/>
              <p:cNvSpPr>
                <a:spLocks/>
              </p:cNvSpPr>
              <p:nvPr/>
            </p:nvSpPr>
            <p:spPr bwMode="gray">
              <a:xfrm>
                <a:off x="5499101" y="3813807"/>
                <a:ext cx="63500" cy="84138"/>
              </a:xfrm>
              <a:custGeom>
                <a:avLst/>
                <a:gdLst>
                  <a:gd name="T0" fmla="*/ 27 w 79"/>
                  <a:gd name="T1" fmla="*/ 0 h 108"/>
                  <a:gd name="T2" fmla="*/ 27 w 79"/>
                  <a:gd name="T3" fmla="*/ 27 h 108"/>
                  <a:gd name="T4" fmla="*/ 0 w 79"/>
                  <a:gd name="T5" fmla="*/ 56 h 108"/>
                  <a:gd name="T6" fmla="*/ 0 w 79"/>
                  <a:gd name="T7" fmla="*/ 79 h 108"/>
                  <a:gd name="T8" fmla="*/ 27 w 79"/>
                  <a:gd name="T9" fmla="*/ 108 h 108"/>
                  <a:gd name="T10" fmla="*/ 52 w 79"/>
                  <a:gd name="T11" fmla="*/ 108 h 108"/>
                  <a:gd name="T12" fmla="*/ 79 w 79"/>
                  <a:gd name="T13" fmla="*/ 79 h 108"/>
                  <a:gd name="T14" fmla="*/ 52 w 79"/>
                  <a:gd name="T15" fmla="*/ 56 h 108"/>
                  <a:gd name="T16" fmla="*/ 27 w 79"/>
                  <a:gd name="T17" fmla="*/ 0 h 10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79"/>
                  <a:gd name="T28" fmla="*/ 0 h 108"/>
                  <a:gd name="T29" fmla="*/ 79 w 79"/>
                  <a:gd name="T30" fmla="*/ 108 h 10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79" h="108">
                    <a:moveTo>
                      <a:pt x="27" y="0"/>
                    </a:moveTo>
                    <a:lnTo>
                      <a:pt x="27" y="27"/>
                    </a:lnTo>
                    <a:lnTo>
                      <a:pt x="0" y="56"/>
                    </a:lnTo>
                    <a:lnTo>
                      <a:pt x="0" y="79"/>
                    </a:lnTo>
                    <a:lnTo>
                      <a:pt x="27" y="108"/>
                    </a:lnTo>
                    <a:lnTo>
                      <a:pt x="52" y="108"/>
                    </a:lnTo>
                    <a:lnTo>
                      <a:pt x="79" y="79"/>
                    </a:lnTo>
                    <a:lnTo>
                      <a:pt x="52" y="56"/>
                    </a:lnTo>
                    <a:lnTo>
                      <a:pt x="27" y="0"/>
                    </a:lnTo>
                  </a:path>
                </a:pathLst>
              </a:custGeom>
              <a:grpFill/>
              <a:ln w="9525" cmpd="sng">
                <a:solidFill>
                  <a:schemeClr val="accent6"/>
                </a:solidFill>
                <a:prstDash val="solid"/>
                <a:round/>
                <a:headEnd/>
                <a:tailEnd/>
              </a:ln>
            </p:spPr>
            <p:txBody>
              <a:bodyPr/>
              <a:lstStyle/>
              <a:p>
                <a:endParaRPr lang="en-US" sz="1400">
                  <a:latin typeface="+mn-lt"/>
                </a:endParaRPr>
              </a:p>
            </p:txBody>
          </p:sp>
          <p:sp>
            <p:nvSpPr>
              <p:cNvPr id="69" name="Freeform 64"/>
              <p:cNvSpPr>
                <a:spLocks/>
              </p:cNvSpPr>
              <p:nvPr/>
            </p:nvSpPr>
            <p:spPr bwMode="gray">
              <a:xfrm>
                <a:off x="4549775" y="1626232"/>
                <a:ext cx="147638" cy="146050"/>
              </a:xfrm>
              <a:custGeom>
                <a:avLst/>
                <a:gdLst>
                  <a:gd name="T0" fmla="*/ 52 w 184"/>
                  <a:gd name="T1" fmla="*/ 133 h 185"/>
                  <a:gd name="T2" fmla="*/ 104 w 184"/>
                  <a:gd name="T3" fmla="*/ 185 h 185"/>
                  <a:gd name="T4" fmla="*/ 184 w 184"/>
                  <a:gd name="T5" fmla="*/ 185 h 185"/>
                  <a:gd name="T6" fmla="*/ 155 w 184"/>
                  <a:gd name="T7" fmla="*/ 158 h 185"/>
                  <a:gd name="T8" fmla="*/ 75 w 184"/>
                  <a:gd name="T9" fmla="*/ 106 h 185"/>
                  <a:gd name="T10" fmla="*/ 75 w 184"/>
                  <a:gd name="T11" fmla="*/ 52 h 185"/>
                  <a:gd name="T12" fmla="*/ 75 w 184"/>
                  <a:gd name="T13" fmla="*/ 0 h 185"/>
                  <a:gd name="T14" fmla="*/ 52 w 184"/>
                  <a:gd name="T15" fmla="*/ 0 h 185"/>
                  <a:gd name="T16" fmla="*/ 27 w 184"/>
                  <a:gd name="T17" fmla="*/ 0 h 185"/>
                  <a:gd name="T18" fmla="*/ 27 w 184"/>
                  <a:gd name="T19" fmla="*/ 29 h 185"/>
                  <a:gd name="T20" fmla="*/ 0 w 184"/>
                  <a:gd name="T21" fmla="*/ 52 h 185"/>
                  <a:gd name="T22" fmla="*/ 0 w 184"/>
                  <a:gd name="T23" fmla="*/ 81 h 185"/>
                  <a:gd name="T24" fmla="*/ 0 w 184"/>
                  <a:gd name="T25" fmla="*/ 133 h 185"/>
                  <a:gd name="T26" fmla="*/ 27 w 184"/>
                  <a:gd name="T27" fmla="*/ 133 h 185"/>
                  <a:gd name="T28" fmla="*/ 52 w 184"/>
                  <a:gd name="T29" fmla="*/ 133 h 18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84"/>
                  <a:gd name="T46" fmla="*/ 0 h 185"/>
                  <a:gd name="T47" fmla="*/ 184 w 184"/>
                  <a:gd name="T48" fmla="*/ 185 h 185"/>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84" h="185">
                    <a:moveTo>
                      <a:pt x="52" y="133"/>
                    </a:moveTo>
                    <a:lnTo>
                      <a:pt x="104" y="185"/>
                    </a:lnTo>
                    <a:lnTo>
                      <a:pt x="184" y="185"/>
                    </a:lnTo>
                    <a:lnTo>
                      <a:pt x="155" y="158"/>
                    </a:lnTo>
                    <a:lnTo>
                      <a:pt x="75" y="106"/>
                    </a:lnTo>
                    <a:lnTo>
                      <a:pt x="75" y="52"/>
                    </a:lnTo>
                    <a:lnTo>
                      <a:pt x="75" y="0"/>
                    </a:lnTo>
                    <a:lnTo>
                      <a:pt x="52" y="0"/>
                    </a:lnTo>
                    <a:lnTo>
                      <a:pt x="27" y="0"/>
                    </a:lnTo>
                    <a:lnTo>
                      <a:pt x="27" y="29"/>
                    </a:lnTo>
                    <a:lnTo>
                      <a:pt x="0" y="52"/>
                    </a:lnTo>
                    <a:lnTo>
                      <a:pt x="0" y="81"/>
                    </a:lnTo>
                    <a:lnTo>
                      <a:pt x="0" y="133"/>
                    </a:lnTo>
                    <a:lnTo>
                      <a:pt x="27" y="133"/>
                    </a:lnTo>
                    <a:lnTo>
                      <a:pt x="52" y="133"/>
                    </a:lnTo>
                  </a:path>
                </a:pathLst>
              </a:custGeom>
              <a:grpFill/>
              <a:ln w="9525" cmpd="sng">
                <a:solidFill>
                  <a:schemeClr val="accent6"/>
                </a:solidFill>
                <a:prstDash val="solid"/>
                <a:round/>
                <a:headEnd/>
                <a:tailEnd/>
              </a:ln>
            </p:spPr>
            <p:txBody>
              <a:bodyPr/>
              <a:lstStyle/>
              <a:p>
                <a:endParaRPr lang="en-US" sz="1400">
                  <a:latin typeface="+mn-lt"/>
                </a:endParaRPr>
              </a:p>
            </p:txBody>
          </p:sp>
          <p:sp>
            <p:nvSpPr>
              <p:cNvPr id="70" name="Freeform 65"/>
              <p:cNvSpPr>
                <a:spLocks/>
              </p:cNvSpPr>
              <p:nvPr/>
            </p:nvSpPr>
            <p:spPr bwMode="gray">
              <a:xfrm>
                <a:off x="4572000" y="1359532"/>
                <a:ext cx="206375" cy="247650"/>
              </a:xfrm>
              <a:custGeom>
                <a:avLst/>
                <a:gdLst>
                  <a:gd name="T0" fmla="*/ 25 w 261"/>
                  <a:gd name="T1" fmla="*/ 312 h 312"/>
                  <a:gd name="T2" fmla="*/ 48 w 261"/>
                  <a:gd name="T3" fmla="*/ 312 h 312"/>
                  <a:gd name="T4" fmla="*/ 77 w 261"/>
                  <a:gd name="T5" fmla="*/ 232 h 312"/>
                  <a:gd name="T6" fmla="*/ 105 w 261"/>
                  <a:gd name="T7" fmla="*/ 232 h 312"/>
                  <a:gd name="T8" fmla="*/ 128 w 261"/>
                  <a:gd name="T9" fmla="*/ 209 h 312"/>
                  <a:gd name="T10" fmla="*/ 157 w 261"/>
                  <a:gd name="T11" fmla="*/ 157 h 312"/>
                  <a:gd name="T12" fmla="*/ 232 w 261"/>
                  <a:gd name="T13" fmla="*/ 105 h 312"/>
                  <a:gd name="T14" fmla="*/ 261 w 261"/>
                  <a:gd name="T15" fmla="*/ 51 h 312"/>
                  <a:gd name="T16" fmla="*/ 232 w 261"/>
                  <a:gd name="T17" fmla="*/ 24 h 312"/>
                  <a:gd name="T18" fmla="*/ 232 w 261"/>
                  <a:gd name="T19" fmla="*/ 0 h 312"/>
                  <a:gd name="T20" fmla="*/ 209 w 261"/>
                  <a:gd name="T21" fmla="*/ 24 h 312"/>
                  <a:gd name="T22" fmla="*/ 180 w 261"/>
                  <a:gd name="T23" fmla="*/ 24 h 312"/>
                  <a:gd name="T24" fmla="*/ 128 w 261"/>
                  <a:gd name="T25" fmla="*/ 76 h 312"/>
                  <a:gd name="T26" fmla="*/ 77 w 261"/>
                  <a:gd name="T27" fmla="*/ 105 h 312"/>
                  <a:gd name="T28" fmla="*/ 77 w 261"/>
                  <a:gd name="T29" fmla="*/ 157 h 312"/>
                  <a:gd name="T30" fmla="*/ 77 w 261"/>
                  <a:gd name="T31" fmla="*/ 180 h 312"/>
                  <a:gd name="T32" fmla="*/ 48 w 261"/>
                  <a:gd name="T33" fmla="*/ 180 h 312"/>
                  <a:gd name="T34" fmla="*/ 0 w 261"/>
                  <a:gd name="T35" fmla="*/ 180 h 312"/>
                  <a:gd name="T36" fmla="*/ 0 w 261"/>
                  <a:gd name="T37" fmla="*/ 209 h 312"/>
                  <a:gd name="T38" fmla="*/ 25 w 261"/>
                  <a:gd name="T39" fmla="*/ 209 h 312"/>
                  <a:gd name="T40" fmla="*/ 0 w 261"/>
                  <a:gd name="T41" fmla="*/ 261 h 312"/>
                  <a:gd name="T42" fmla="*/ 25 w 261"/>
                  <a:gd name="T43" fmla="*/ 284 h 312"/>
                  <a:gd name="T44" fmla="*/ 0 w 261"/>
                  <a:gd name="T45" fmla="*/ 312 h 312"/>
                  <a:gd name="T46" fmla="*/ 25 w 261"/>
                  <a:gd name="T47" fmla="*/ 312 h 312"/>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261"/>
                  <a:gd name="T73" fmla="*/ 0 h 312"/>
                  <a:gd name="T74" fmla="*/ 261 w 261"/>
                  <a:gd name="T75" fmla="*/ 312 h 312"/>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261" h="312">
                    <a:moveTo>
                      <a:pt x="25" y="312"/>
                    </a:moveTo>
                    <a:lnTo>
                      <a:pt x="48" y="312"/>
                    </a:lnTo>
                    <a:lnTo>
                      <a:pt x="77" y="232"/>
                    </a:lnTo>
                    <a:lnTo>
                      <a:pt x="105" y="232"/>
                    </a:lnTo>
                    <a:lnTo>
                      <a:pt x="128" y="209"/>
                    </a:lnTo>
                    <a:lnTo>
                      <a:pt x="157" y="157"/>
                    </a:lnTo>
                    <a:lnTo>
                      <a:pt x="232" y="105"/>
                    </a:lnTo>
                    <a:lnTo>
                      <a:pt x="261" y="51"/>
                    </a:lnTo>
                    <a:lnTo>
                      <a:pt x="232" y="24"/>
                    </a:lnTo>
                    <a:lnTo>
                      <a:pt x="232" y="0"/>
                    </a:lnTo>
                    <a:lnTo>
                      <a:pt x="209" y="24"/>
                    </a:lnTo>
                    <a:lnTo>
                      <a:pt x="180" y="24"/>
                    </a:lnTo>
                    <a:lnTo>
                      <a:pt x="128" y="76"/>
                    </a:lnTo>
                    <a:lnTo>
                      <a:pt x="77" y="105"/>
                    </a:lnTo>
                    <a:lnTo>
                      <a:pt x="77" y="157"/>
                    </a:lnTo>
                    <a:lnTo>
                      <a:pt x="77" y="180"/>
                    </a:lnTo>
                    <a:lnTo>
                      <a:pt x="48" y="180"/>
                    </a:lnTo>
                    <a:lnTo>
                      <a:pt x="0" y="180"/>
                    </a:lnTo>
                    <a:lnTo>
                      <a:pt x="0" y="209"/>
                    </a:lnTo>
                    <a:lnTo>
                      <a:pt x="25" y="209"/>
                    </a:lnTo>
                    <a:lnTo>
                      <a:pt x="0" y="261"/>
                    </a:lnTo>
                    <a:lnTo>
                      <a:pt x="25" y="284"/>
                    </a:lnTo>
                    <a:lnTo>
                      <a:pt x="0" y="312"/>
                    </a:lnTo>
                    <a:lnTo>
                      <a:pt x="25" y="312"/>
                    </a:lnTo>
                  </a:path>
                </a:pathLst>
              </a:custGeom>
              <a:grpFill/>
              <a:ln w="9525" cmpd="sng">
                <a:solidFill>
                  <a:schemeClr val="accent6"/>
                </a:solidFill>
                <a:prstDash val="solid"/>
                <a:round/>
                <a:headEnd/>
                <a:tailEnd/>
              </a:ln>
            </p:spPr>
            <p:txBody>
              <a:bodyPr/>
              <a:lstStyle/>
              <a:p>
                <a:endParaRPr lang="en-US" sz="1400">
                  <a:latin typeface="+mn-lt"/>
                </a:endParaRPr>
              </a:p>
            </p:txBody>
          </p:sp>
          <p:sp>
            <p:nvSpPr>
              <p:cNvPr id="71" name="Freeform 66"/>
              <p:cNvSpPr>
                <a:spLocks/>
              </p:cNvSpPr>
              <p:nvPr/>
            </p:nvSpPr>
            <p:spPr bwMode="gray">
              <a:xfrm>
                <a:off x="5005388" y="965832"/>
                <a:ext cx="80963" cy="104775"/>
              </a:xfrm>
              <a:custGeom>
                <a:avLst/>
                <a:gdLst>
                  <a:gd name="T0" fmla="*/ 79 w 104"/>
                  <a:gd name="T1" fmla="*/ 133 h 133"/>
                  <a:gd name="T2" fmla="*/ 79 w 104"/>
                  <a:gd name="T3" fmla="*/ 104 h 133"/>
                  <a:gd name="T4" fmla="*/ 79 w 104"/>
                  <a:gd name="T5" fmla="*/ 81 h 133"/>
                  <a:gd name="T6" fmla="*/ 104 w 104"/>
                  <a:gd name="T7" fmla="*/ 81 h 133"/>
                  <a:gd name="T8" fmla="*/ 104 w 104"/>
                  <a:gd name="T9" fmla="*/ 52 h 133"/>
                  <a:gd name="T10" fmla="*/ 52 w 104"/>
                  <a:gd name="T11" fmla="*/ 0 h 133"/>
                  <a:gd name="T12" fmla="*/ 27 w 104"/>
                  <a:gd name="T13" fmla="*/ 29 h 133"/>
                  <a:gd name="T14" fmla="*/ 27 w 104"/>
                  <a:gd name="T15" fmla="*/ 0 h 133"/>
                  <a:gd name="T16" fmla="*/ 0 w 104"/>
                  <a:gd name="T17" fmla="*/ 52 h 133"/>
                  <a:gd name="T18" fmla="*/ 0 w 104"/>
                  <a:gd name="T19" fmla="*/ 81 h 133"/>
                  <a:gd name="T20" fmla="*/ 52 w 104"/>
                  <a:gd name="T21" fmla="*/ 104 h 133"/>
                  <a:gd name="T22" fmla="*/ 79 w 104"/>
                  <a:gd name="T23" fmla="*/ 133 h 133"/>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04"/>
                  <a:gd name="T37" fmla="*/ 0 h 133"/>
                  <a:gd name="T38" fmla="*/ 104 w 104"/>
                  <a:gd name="T39" fmla="*/ 133 h 133"/>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04" h="133">
                    <a:moveTo>
                      <a:pt x="79" y="133"/>
                    </a:moveTo>
                    <a:lnTo>
                      <a:pt x="79" y="104"/>
                    </a:lnTo>
                    <a:lnTo>
                      <a:pt x="79" y="81"/>
                    </a:lnTo>
                    <a:lnTo>
                      <a:pt x="104" y="81"/>
                    </a:lnTo>
                    <a:lnTo>
                      <a:pt x="104" y="52"/>
                    </a:lnTo>
                    <a:lnTo>
                      <a:pt x="52" y="0"/>
                    </a:lnTo>
                    <a:lnTo>
                      <a:pt x="27" y="29"/>
                    </a:lnTo>
                    <a:lnTo>
                      <a:pt x="27" y="0"/>
                    </a:lnTo>
                    <a:lnTo>
                      <a:pt x="0" y="52"/>
                    </a:lnTo>
                    <a:lnTo>
                      <a:pt x="0" y="81"/>
                    </a:lnTo>
                    <a:lnTo>
                      <a:pt x="52" y="104"/>
                    </a:lnTo>
                    <a:lnTo>
                      <a:pt x="79" y="133"/>
                    </a:lnTo>
                  </a:path>
                </a:pathLst>
              </a:custGeom>
              <a:grpFill/>
              <a:ln w="9525" cmpd="sng">
                <a:solidFill>
                  <a:schemeClr val="accent6"/>
                </a:solidFill>
                <a:prstDash val="solid"/>
                <a:round/>
                <a:headEnd/>
                <a:tailEnd/>
              </a:ln>
            </p:spPr>
            <p:txBody>
              <a:bodyPr/>
              <a:lstStyle/>
              <a:p>
                <a:endParaRPr lang="en-US" sz="1400">
                  <a:latin typeface="+mn-lt"/>
                </a:endParaRPr>
              </a:p>
            </p:txBody>
          </p:sp>
          <p:sp>
            <p:nvSpPr>
              <p:cNvPr id="72" name="Freeform 67"/>
              <p:cNvSpPr>
                <a:spLocks/>
              </p:cNvSpPr>
              <p:nvPr/>
            </p:nvSpPr>
            <p:spPr bwMode="gray">
              <a:xfrm>
                <a:off x="5086351" y="1048382"/>
                <a:ext cx="106363" cy="104775"/>
              </a:xfrm>
              <a:custGeom>
                <a:avLst/>
                <a:gdLst>
                  <a:gd name="T0" fmla="*/ 0 w 132"/>
                  <a:gd name="T1" fmla="*/ 52 h 132"/>
                  <a:gd name="T2" fmla="*/ 27 w 132"/>
                  <a:gd name="T3" fmla="*/ 81 h 132"/>
                  <a:gd name="T4" fmla="*/ 80 w 132"/>
                  <a:gd name="T5" fmla="*/ 104 h 132"/>
                  <a:gd name="T6" fmla="*/ 132 w 132"/>
                  <a:gd name="T7" fmla="*/ 132 h 132"/>
                  <a:gd name="T8" fmla="*/ 132 w 132"/>
                  <a:gd name="T9" fmla="*/ 104 h 132"/>
                  <a:gd name="T10" fmla="*/ 103 w 132"/>
                  <a:gd name="T11" fmla="*/ 81 h 132"/>
                  <a:gd name="T12" fmla="*/ 103 w 132"/>
                  <a:gd name="T13" fmla="*/ 29 h 132"/>
                  <a:gd name="T14" fmla="*/ 103 w 132"/>
                  <a:gd name="T15" fmla="*/ 0 h 132"/>
                  <a:gd name="T16" fmla="*/ 52 w 132"/>
                  <a:gd name="T17" fmla="*/ 0 h 132"/>
                  <a:gd name="T18" fmla="*/ 0 w 132"/>
                  <a:gd name="T19" fmla="*/ 0 h 132"/>
                  <a:gd name="T20" fmla="*/ 0 w 132"/>
                  <a:gd name="T21" fmla="*/ 52 h 13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32"/>
                  <a:gd name="T34" fmla="*/ 0 h 132"/>
                  <a:gd name="T35" fmla="*/ 132 w 132"/>
                  <a:gd name="T36" fmla="*/ 132 h 13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32" h="132">
                    <a:moveTo>
                      <a:pt x="0" y="52"/>
                    </a:moveTo>
                    <a:lnTo>
                      <a:pt x="27" y="81"/>
                    </a:lnTo>
                    <a:lnTo>
                      <a:pt x="80" y="104"/>
                    </a:lnTo>
                    <a:lnTo>
                      <a:pt x="132" y="132"/>
                    </a:lnTo>
                    <a:lnTo>
                      <a:pt x="132" y="104"/>
                    </a:lnTo>
                    <a:lnTo>
                      <a:pt x="103" y="81"/>
                    </a:lnTo>
                    <a:lnTo>
                      <a:pt x="103" y="29"/>
                    </a:lnTo>
                    <a:lnTo>
                      <a:pt x="103" y="0"/>
                    </a:lnTo>
                    <a:lnTo>
                      <a:pt x="52" y="0"/>
                    </a:lnTo>
                    <a:lnTo>
                      <a:pt x="0" y="0"/>
                    </a:lnTo>
                    <a:lnTo>
                      <a:pt x="0" y="52"/>
                    </a:lnTo>
                  </a:path>
                </a:pathLst>
              </a:custGeom>
              <a:grpFill/>
              <a:ln w="9525" cmpd="sng">
                <a:solidFill>
                  <a:schemeClr val="accent6"/>
                </a:solidFill>
                <a:prstDash val="solid"/>
                <a:round/>
                <a:headEnd/>
                <a:tailEnd/>
              </a:ln>
            </p:spPr>
            <p:txBody>
              <a:bodyPr/>
              <a:lstStyle/>
              <a:p>
                <a:endParaRPr lang="en-US" sz="1400">
                  <a:latin typeface="+mn-lt"/>
                </a:endParaRPr>
              </a:p>
            </p:txBody>
          </p:sp>
          <p:sp>
            <p:nvSpPr>
              <p:cNvPr id="73" name="Freeform 68"/>
              <p:cNvSpPr>
                <a:spLocks/>
              </p:cNvSpPr>
              <p:nvPr/>
            </p:nvSpPr>
            <p:spPr bwMode="gray">
              <a:xfrm>
                <a:off x="5233988" y="1070607"/>
                <a:ext cx="80963" cy="123825"/>
              </a:xfrm>
              <a:custGeom>
                <a:avLst/>
                <a:gdLst>
                  <a:gd name="T0" fmla="*/ 23 w 104"/>
                  <a:gd name="T1" fmla="*/ 103 h 155"/>
                  <a:gd name="T2" fmla="*/ 23 w 104"/>
                  <a:gd name="T3" fmla="*/ 155 h 155"/>
                  <a:gd name="T4" fmla="*/ 52 w 104"/>
                  <a:gd name="T5" fmla="*/ 126 h 155"/>
                  <a:gd name="T6" fmla="*/ 104 w 104"/>
                  <a:gd name="T7" fmla="*/ 126 h 155"/>
                  <a:gd name="T8" fmla="*/ 104 w 104"/>
                  <a:gd name="T9" fmla="*/ 103 h 155"/>
                  <a:gd name="T10" fmla="*/ 104 w 104"/>
                  <a:gd name="T11" fmla="*/ 75 h 155"/>
                  <a:gd name="T12" fmla="*/ 75 w 104"/>
                  <a:gd name="T13" fmla="*/ 52 h 155"/>
                  <a:gd name="T14" fmla="*/ 52 w 104"/>
                  <a:gd name="T15" fmla="*/ 23 h 155"/>
                  <a:gd name="T16" fmla="*/ 52 w 104"/>
                  <a:gd name="T17" fmla="*/ 0 h 155"/>
                  <a:gd name="T18" fmla="*/ 23 w 104"/>
                  <a:gd name="T19" fmla="*/ 23 h 155"/>
                  <a:gd name="T20" fmla="*/ 0 w 104"/>
                  <a:gd name="T21" fmla="*/ 23 h 155"/>
                  <a:gd name="T22" fmla="*/ 0 w 104"/>
                  <a:gd name="T23" fmla="*/ 52 h 155"/>
                  <a:gd name="T24" fmla="*/ 23 w 104"/>
                  <a:gd name="T25" fmla="*/ 75 h 155"/>
                  <a:gd name="T26" fmla="*/ 23 w 104"/>
                  <a:gd name="T27" fmla="*/ 103 h 15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04"/>
                  <a:gd name="T43" fmla="*/ 0 h 155"/>
                  <a:gd name="T44" fmla="*/ 104 w 104"/>
                  <a:gd name="T45" fmla="*/ 155 h 155"/>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04" h="155">
                    <a:moveTo>
                      <a:pt x="23" y="103"/>
                    </a:moveTo>
                    <a:lnTo>
                      <a:pt x="23" y="155"/>
                    </a:lnTo>
                    <a:lnTo>
                      <a:pt x="52" y="126"/>
                    </a:lnTo>
                    <a:lnTo>
                      <a:pt x="104" y="126"/>
                    </a:lnTo>
                    <a:lnTo>
                      <a:pt x="104" y="103"/>
                    </a:lnTo>
                    <a:lnTo>
                      <a:pt x="104" y="75"/>
                    </a:lnTo>
                    <a:lnTo>
                      <a:pt x="75" y="52"/>
                    </a:lnTo>
                    <a:lnTo>
                      <a:pt x="52" y="23"/>
                    </a:lnTo>
                    <a:lnTo>
                      <a:pt x="52" y="0"/>
                    </a:lnTo>
                    <a:lnTo>
                      <a:pt x="23" y="23"/>
                    </a:lnTo>
                    <a:lnTo>
                      <a:pt x="0" y="23"/>
                    </a:lnTo>
                    <a:lnTo>
                      <a:pt x="0" y="52"/>
                    </a:lnTo>
                    <a:lnTo>
                      <a:pt x="23" y="75"/>
                    </a:lnTo>
                    <a:lnTo>
                      <a:pt x="23" y="103"/>
                    </a:lnTo>
                  </a:path>
                </a:pathLst>
              </a:custGeom>
              <a:grpFill/>
              <a:ln w="9525" cmpd="sng">
                <a:solidFill>
                  <a:schemeClr val="accent6"/>
                </a:solidFill>
                <a:prstDash val="solid"/>
                <a:round/>
                <a:headEnd/>
                <a:tailEnd/>
              </a:ln>
            </p:spPr>
            <p:txBody>
              <a:bodyPr/>
              <a:lstStyle/>
              <a:p>
                <a:endParaRPr lang="en-US" sz="1400">
                  <a:latin typeface="+mn-lt"/>
                </a:endParaRPr>
              </a:p>
            </p:txBody>
          </p:sp>
          <p:sp>
            <p:nvSpPr>
              <p:cNvPr id="74" name="Freeform 69"/>
              <p:cNvSpPr>
                <a:spLocks/>
              </p:cNvSpPr>
              <p:nvPr/>
            </p:nvSpPr>
            <p:spPr bwMode="gray">
              <a:xfrm>
                <a:off x="5005388" y="1070607"/>
                <a:ext cx="61913" cy="41275"/>
              </a:xfrm>
              <a:custGeom>
                <a:avLst/>
                <a:gdLst>
                  <a:gd name="T0" fmla="*/ 79 w 79"/>
                  <a:gd name="T1" fmla="*/ 23 h 52"/>
                  <a:gd name="T2" fmla="*/ 52 w 79"/>
                  <a:gd name="T3" fmla="*/ 0 h 52"/>
                  <a:gd name="T4" fmla="*/ 0 w 79"/>
                  <a:gd name="T5" fmla="*/ 23 h 52"/>
                  <a:gd name="T6" fmla="*/ 52 w 79"/>
                  <a:gd name="T7" fmla="*/ 52 h 52"/>
                  <a:gd name="T8" fmla="*/ 79 w 79"/>
                  <a:gd name="T9" fmla="*/ 23 h 52"/>
                  <a:gd name="T10" fmla="*/ 0 60000 65536"/>
                  <a:gd name="T11" fmla="*/ 0 60000 65536"/>
                  <a:gd name="T12" fmla="*/ 0 60000 65536"/>
                  <a:gd name="T13" fmla="*/ 0 60000 65536"/>
                  <a:gd name="T14" fmla="*/ 0 60000 65536"/>
                  <a:gd name="T15" fmla="*/ 0 w 79"/>
                  <a:gd name="T16" fmla="*/ 0 h 52"/>
                  <a:gd name="T17" fmla="*/ 79 w 79"/>
                  <a:gd name="T18" fmla="*/ 52 h 52"/>
                </a:gdLst>
                <a:ahLst/>
                <a:cxnLst>
                  <a:cxn ang="T10">
                    <a:pos x="T0" y="T1"/>
                  </a:cxn>
                  <a:cxn ang="T11">
                    <a:pos x="T2" y="T3"/>
                  </a:cxn>
                  <a:cxn ang="T12">
                    <a:pos x="T4" y="T5"/>
                  </a:cxn>
                  <a:cxn ang="T13">
                    <a:pos x="T6" y="T7"/>
                  </a:cxn>
                  <a:cxn ang="T14">
                    <a:pos x="T8" y="T9"/>
                  </a:cxn>
                </a:cxnLst>
                <a:rect l="T15" t="T16" r="T17" b="T18"/>
                <a:pathLst>
                  <a:path w="79" h="52">
                    <a:moveTo>
                      <a:pt x="79" y="23"/>
                    </a:moveTo>
                    <a:lnTo>
                      <a:pt x="52" y="0"/>
                    </a:lnTo>
                    <a:lnTo>
                      <a:pt x="0" y="23"/>
                    </a:lnTo>
                    <a:lnTo>
                      <a:pt x="52" y="52"/>
                    </a:lnTo>
                    <a:lnTo>
                      <a:pt x="79" y="23"/>
                    </a:lnTo>
                  </a:path>
                </a:pathLst>
              </a:custGeom>
              <a:grpFill/>
              <a:ln w="9525" cmpd="sng">
                <a:solidFill>
                  <a:schemeClr val="accent6"/>
                </a:solidFill>
                <a:prstDash val="solid"/>
                <a:round/>
                <a:headEnd/>
                <a:tailEnd/>
              </a:ln>
            </p:spPr>
            <p:txBody>
              <a:bodyPr/>
              <a:lstStyle/>
              <a:p>
                <a:endParaRPr lang="en-US" sz="1400">
                  <a:latin typeface="+mn-lt"/>
                </a:endParaRPr>
              </a:p>
            </p:txBody>
          </p:sp>
          <p:sp>
            <p:nvSpPr>
              <p:cNvPr id="75" name="Freeform 70"/>
              <p:cNvSpPr>
                <a:spLocks/>
              </p:cNvSpPr>
              <p:nvPr/>
            </p:nvSpPr>
            <p:spPr bwMode="gray">
              <a:xfrm>
                <a:off x="5994401" y="1111882"/>
                <a:ext cx="147638" cy="103188"/>
              </a:xfrm>
              <a:custGeom>
                <a:avLst/>
                <a:gdLst>
                  <a:gd name="T0" fmla="*/ 27 w 184"/>
                  <a:gd name="T1" fmla="*/ 103 h 128"/>
                  <a:gd name="T2" fmla="*/ 52 w 184"/>
                  <a:gd name="T3" fmla="*/ 128 h 128"/>
                  <a:gd name="T4" fmla="*/ 79 w 184"/>
                  <a:gd name="T5" fmla="*/ 128 h 128"/>
                  <a:gd name="T6" fmla="*/ 79 w 184"/>
                  <a:gd name="T7" fmla="*/ 103 h 128"/>
                  <a:gd name="T8" fmla="*/ 131 w 184"/>
                  <a:gd name="T9" fmla="*/ 103 h 128"/>
                  <a:gd name="T10" fmla="*/ 155 w 184"/>
                  <a:gd name="T11" fmla="*/ 74 h 128"/>
                  <a:gd name="T12" fmla="*/ 104 w 184"/>
                  <a:gd name="T13" fmla="*/ 51 h 128"/>
                  <a:gd name="T14" fmla="*/ 104 w 184"/>
                  <a:gd name="T15" fmla="*/ 23 h 128"/>
                  <a:gd name="T16" fmla="*/ 155 w 184"/>
                  <a:gd name="T17" fmla="*/ 74 h 128"/>
                  <a:gd name="T18" fmla="*/ 184 w 184"/>
                  <a:gd name="T19" fmla="*/ 51 h 128"/>
                  <a:gd name="T20" fmla="*/ 184 w 184"/>
                  <a:gd name="T21" fmla="*/ 23 h 128"/>
                  <a:gd name="T22" fmla="*/ 131 w 184"/>
                  <a:gd name="T23" fmla="*/ 0 h 128"/>
                  <a:gd name="T24" fmla="*/ 104 w 184"/>
                  <a:gd name="T25" fmla="*/ 0 h 128"/>
                  <a:gd name="T26" fmla="*/ 79 w 184"/>
                  <a:gd name="T27" fmla="*/ 0 h 128"/>
                  <a:gd name="T28" fmla="*/ 52 w 184"/>
                  <a:gd name="T29" fmla="*/ 23 h 128"/>
                  <a:gd name="T30" fmla="*/ 52 w 184"/>
                  <a:gd name="T31" fmla="*/ 0 h 128"/>
                  <a:gd name="T32" fmla="*/ 27 w 184"/>
                  <a:gd name="T33" fmla="*/ 0 h 128"/>
                  <a:gd name="T34" fmla="*/ 0 w 184"/>
                  <a:gd name="T35" fmla="*/ 51 h 128"/>
                  <a:gd name="T36" fmla="*/ 27 w 184"/>
                  <a:gd name="T37" fmla="*/ 74 h 128"/>
                  <a:gd name="T38" fmla="*/ 27 w 184"/>
                  <a:gd name="T39" fmla="*/ 103 h 128"/>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84"/>
                  <a:gd name="T61" fmla="*/ 0 h 128"/>
                  <a:gd name="T62" fmla="*/ 184 w 184"/>
                  <a:gd name="T63" fmla="*/ 128 h 128"/>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84" h="128">
                    <a:moveTo>
                      <a:pt x="27" y="103"/>
                    </a:moveTo>
                    <a:lnTo>
                      <a:pt x="52" y="128"/>
                    </a:lnTo>
                    <a:lnTo>
                      <a:pt x="79" y="128"/>
                    </a:lnTo>
                    <a:lnTo>
                      <a:pt x="79" y="103"/>
                    </a:lnTo>
                    <a:lnTo>
                      <a:pt x="131" y="103"/>
                    </a:lnTo>
                    <a:lnTo>
                      <a:pt x="155" y="74"/>
                    </a:lnTo>
                    <a:lnTo>
                      <a:pt x="104" y="51"/>
                    </a:lnTo>
                    <a:lnTo>
                      <a:pt x="104" y="23"/>
                    </a:lnTo>
                    <a:lnTo>
                      <a:pt x="155" y="74"/>
                    </a:lnTo>
                    <a:lnTo>
                      <a:pt x="184" y="51"/>
                    </a:lnTo>
                    <a:lnTo>
                      <a:pt x="184" y="23"/>
                    </a:lnTo>
                    <a:lnTo>
                      <a:pt x="131" y="0"/>
                    </a:lnTo>
                    <a:lnTo>
                      <a:pt x="104" y="0"/>
                    </a:lnTo>
                    <a:lnTo>
                      <a:pt x="79" y="0"/>
                    </a:lnTo>
                    <a:lnTo>
                      <a:pt x="52" y="23"/>
                    </a:lnTo>
                    <a:lnTo>
                      <a:pt x="52" y="0"/>
                    </a:lnTo>
                    <a:lnTo>
                      <a:pt x="27" y="0"/>
                    </a:lnTo>
                    <a:lnTo>
                      <a:pt x="0" y="51"/>
                    </a:lnTo>
                    <a:lnTo>
                      <a:pt x="27" y="74"/>
                    </a:lnTo>
                    <a:lnTo>
                      <a:pt x="27" y="103"/>
                    </a:lnTo>
                  </a:path>
                </a:pathLst>
              </a:custGeom>
              <a:grpFill/>
              <a:ln w="9525" cmpd="sng">
                <a:solidFill>
                  <a:schemeClr val="accent6"/>
                </a:solidFill>
                <a:prstDash val="solid"/>
                <a:round/>
                <a:headEnd/>
                <a:tailEnd/>
              </a:ln>
            </p:spPr>
            <p:txBody>
              <a:bodyPr/>
              <a:lstStyle/>
              <a:p>
                <a:endParaRPr lang="en-US" sz="1400">
                  <a:latin typeface="+mn-lt"/>
                </a:endParaRPr>
              </a:p>
            </p:txBody>
          </p:sp>
          <p:sp>
            <p:nvSpPr>
              <p:cNvPr id="76" name="Freeform 71"/>
              <p:cNvSpPr>
                <a:spLocks/>
              </p:cNvSpPr>
              <p:nvPr/>
            </p:nvSpPr>
            <p:spPr bwMode="gray">
              <a:xfrm>
                <a:off x="7132639" y="1337307"/>
                <a:ext cx="76200" cy="15875"/>
              </a:xfrm>
              <a:custGeom>
                <a:avLst/>
                <a:gdLst>
                  <a:gd name="T0" fmla="*/ 79 w 96"/>
                  <a:gd name="T1" fmla="*/ 0 h 19"/>
                  <a:gd name="T2" fmla="*/ 0 w 96"/>
                  <a:gd name="T3" fmla="*/ 0 h 19"/>
                  <a:gd name="T4" fmla="*/ 96 w 96"/>
                  <a:gd name="T5" fmla="*/ 19 h 19"/>
                  <a:gd name="T6" fmla="*/ 79 w 96"/>
                  <a:gd name="T7" fmla="*/ 0 h 19"/>
                  <a:gd name="T8" fmla="*/ 0 60000 65536"/>
                  <a:gd name="T9" fmla="*/ 0 60000 65536"/>
                  <a:gd name="T10" fmla="*/ 0 60000 65536"/>
                  <a:gd name="T11" fmla="*/ 0 60000 65536"/>
                  <a:gd name="T12" fmla="*/ 0 w 96"/>
                  <a:gd name="T13" fmla="*/ 0 h 19"/>
                  <a:gd name="T14" fmla="*/ 96 w 96"/>
                  <a:gd name="T15" fmla="*/ 19 h 19"/>
                </a:gdLst>
                <a:ahLst/>
                <a:cxnLst>
                  <a:cxn ang="T8">
                    <a:pos x="T0" y="T1"/>
                  </a:cxn>
                  <a:cxn ang="T9">
                    <a:pos x="T2" y="T3"/>
                  </a:cxn>
                  <a:cxn ang="T10">
                    <a:pos x="T4" y="T5"/>
                  </a:cxn>
                  <a:cxn ang="T11">
                    <a:pos x="T6" y="T7"/>
                  </a:cxn>
                </a:cxnLst>
                <a:rect l="T12" t="T13" r="T14" b="T15"/>
                <a:pathLst>
                  <a:path w="96" h="19">
                    <a:moveTo>
                      <a:pt x="79" y="0"/>
                    </a:moveTo>
                    <a:lnTo>
                      <a:pt x="0" y="0"/>
                    </a:lnTo>
                    <a:lnTo>
                      <a:pt x="96" y="19"/>
                    </a:lnTo>
                    <a:lnTo>
                      <a:pt x="79" y="0"/>
                    </a:lnTo>
                  </a:path>
                </a:pathLst>
              </a:custGeom>
              <a:grpFill/>
              <a:ln w="9525" cmpd="sng">
                <a:solidFill>
                  <a:schemeClr val="accent6"/>
                </a:solidFill>
                <a:prstDash val="solid"/>
                <a:round/>
                <a:headEnd/>
                <a:tailEnd/>
              </a:ln>
            </p:spPr>
            <p:txBody>
              <a:bodyPr/>
              <a:lstStyle/>
              <a:p>
                <a:endParaRPr lang="en-US" sz="1400">
                  <a:latin typeface="+mn-lt"/>
                </a:endParaRPr>
              </a:p>
            </p:txBody>
          </p:sp>
          <p:sp>
            <p:nvSpPr>
              <p:cNvPr id="77" name="Freeform 72"/>
              <p:cNvSpPr>
                <a:spLocks/>
              </p:cNvSpPr>
              <p:nvPr/>
            </p:nvSpPr>
            <p:spPr bwMode="gray">
              <a:xfrm>
                <a:off x="5913438" y="3980495"/>
                <a:ext cx="246063" cy="266700"/>
              </a:xfrm>
              <a:custGeom>
                <a:avLst/>
                <a:gdLst>
                  <a:gd name="T0" fmla="*/ 311 w 311"/>
                  <a:gd name="T1" fmla="*/ 312 h 335"/>
                  <a:gd name="T2" fmla="*/ 311 w 311"/>
                  <a:gd name="T3" fmla="*/ 284 h 335"/>
                  <a:gd name="T4" fmla="*/ 288 w 311"/>
                  <a:gd name="T5" fmla="*/ 261 h 335"/>
                  <a:gd name="T6" fmla="*/ 288 w 311"/>
                  <a:gd name="T7" fmla="*/ 232 h 335"/>
                  <a:gd name="T8" fmla="*/ 259 w 311"/>
                  <a:gd name="T9" fmla="*/ 209 h 335"/>
                  <a:gd name="T10" fmla="*/ 235 w 311"/>
                  <a:gd name="T11" fmla="*/ 180 h 335"/>
                  <a:gd name="T12" fmla="*/ 208 w 311"/>
                  <a:gd name="T13" fmla="*/ 155 h 335"/>
                  <a:gd name="T14" fmla="*/ 183 w 311"/>
                  <a:gd name="T15" fmla="*/ 155 h 335"/>
                  <a:gd name="T16" fmla="*/ 183 w 311"/>
                  <a:gd name="T17" fmla="*/ 128 h 335"/>
                  <a:gd name="T18" fmla="*/ 156 w 311"/>
                  <a:gd name="T19" fmla="*/ 103 h 335"/>
                  <a:gd name="T20" fmla="*/ 131 w 311"/>
                  <a:gd name="T21" fmla="*/ 103 h 335"/>
                  <a:gd name="T22" fmla="*/ 131 w 311"/>
                  <a:gd name="T23" fmla="*/ 51 h 335"/>
                  <a:gd name="T24" fmla="*/ 104 w 311"/>
                  <a:gd name="T25" fmla="*/ 51 h 335"/>
                  <a:gd name="T26" fmla="*/ 79 w 311"/>
                  <a:gd name="T27" fmla="*/ 24 h 335"/>
                  <a:gd name="T28" fmla="*/ 52 w 311"/>
                  <a:gd name="T29" fmla="*/ 0 h 335"/>
                  <a:gd name="T30" fmla="*/ 0 w 311"/>
                  <a:gd name="T31" fmla="*/ 24 h 335"/>
                  <a:gd name="T32" fmla="*/ 27 w 311"/>
                  <a:gd name="T33" fmla="*/ 51 h 335"/>
                  <a:gd name="T34" fmla="*/ 52 w 311"/>
                  <a:gd name="T35" fmla="*/ 76 h 335"/>
                  <a:gd name="T36" fmla="*/ 79 w 311"/>
                  <a:gd name="T37" fmla="*/ 128 h 335"/>
                  <a:gd name="T38" fmla="*/ 104 w 311"/>
                  <a:gd name="T39" fmla="*/ 155 h 335"/>
                  <a:gd name="T40" fmla="*/ 104 w 311"/>
                  <a:gd name="T41" fmla="*/ 180 h 335"/>
                  <a:gd name="T42" fmla="*/ 104 w 311"/>
                  <a:gd name="T43" fmla="*/ 232 h 335"/>
                  <a:gd name="T44" fmla="*/ 131 w 311"/>
                  <a:gd name="T45" fmla="*/ 261 h 335"/>
                  <a:gd name="T46" fmla="*/ 156 w 311"/>
                  <a:gd name="T47" fmla="*/ 284 h 335"/>
                  <a:gd name="T48" fmla="*/ 208 w 311"/>
                  <a:gd name="T49" fmla="*/ 312 h 335"/>
                  <a:gd name="T50" fmla="*/ 235 w 311"/>
                  <a:gd name="T51" fmla="*/ 335 h 335"/>
                  <a:gd name="T52" fmla="*/ 259 w 311"/>
                  <a:gd name="T53" fmla="*/ 335 h 335"/>
                  <a:gd name="T54" fmla="*/ 288 w 311"/>
                  <a:gd name="T55" fmla="*/ 335 h 335"/>
                  <a:gd name="T56" fmla="*/ 311 w 311"/>
                  <a:gd name="T57" fmla="*/ 312 h 335"/>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311"/>
                  <a:gd name="T88" fmla="*/ 0 h 335"/>
                  <a:gd name="T89" fmla="*/ 311 w 311"/>
                  <a:gd name="T90" fmla="*/ 335 h 335"/>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311" h="335">
                    <a:moveTo>
                      <a:pt x="311" y="312"/>
                    </a:moveTo>
                    <a:lnTo>
                      <a:pt x="311" y="284"/>
                    </a:lnTo>
                    <a:lnTo>
                      <a:pt x="288" y="261"/>
                    </a:lnTo>
                    <a:lnTo>
                      <a:pt x="288" y="232"/>
                    </a:lnTo>
                    <a:lnTo>
                      <a:pt x="259" y="209"/>
                    </a:lnTo>
                    <a:lnTo>
                      <a:pt x="235" y="180"/>
                    </a:lnTo>
                    <a:lnTo>
                      <a:pt x="208" y="155"/>
                    </a:lnTo>
                    <a:lnTo>
                      <a:pt x="183" y="155"/>
                    </a:lnTo>
                    <a:lnTo>
                      <a:pt x="183" y="128"/>
                    </a:lnTo>
                    <a:lnTo>
                      <a:pt x="156" y="103"/>
                    </a:lnTo>
                    <a:lnTo>
                      <a:pt x="131" y="103"/>
                    </a:lnTo>
                    <a:lnTo>
                      <a:pt x="131" y="51"/>
                    </a:lnTo>
                    <a:lnTo>
                      <a:pt x="104" y="51"/>
                    </a:lnTo>
                    <a:lnTo>
                      <a:pt x="79" y="24"/>
                    </a:lnTo>
                    <a:lnTo>
                      <a:pt x="52" y="0"/>
                    </a:lnTo>
                    <a:lnTo>
                      <a:pt x="0" y="24"/>
                    </a:lnTo>
                    <a:lnTo>
                      <a:pt x="27" y="51"/>
                    </a:lnTo>
                    <a:lnTo>
                      <a:pt x="52" y="76"/>
                    </a:lnTo>
                    <a:lnTo>
                      <a:pt x="79" y="128"/>
                    </a:lnTo>
                    <a:lnTo>
                      <a:pt x="104" y="155"/>
                    </a:lnTo>
                    <a:lnTo>
                      <a:pt x="104" y="180"/>
                    </a:lnTo>
                    <a:lnTo>
                      <a:pt x="104" y="232"/>
                    </a:lnTo>
                    <a:lnTo>
                      <a:pt x="131" y="261"/>
                    </a:lnTo>
                    <a:lnTo>
                      <a:pt x="156" y="284"/>
                    </a:lnTo>
                    <a:lnTo>
                      <a:pt x="208" y="312"/>
                    </a:lnTo>
                    <a:lnTo>
                      <a:pt x="235" y="335"/>
                    </a:lnTo>
                    <a:lnTo>
                      <a:pt x="259" y="335"/>
                    </a:lnTo>
                    <a:lnTo>
                      <a:pt x="288" y="335"/>
                    </a:lnTo>
                    <a:lnTo>
                      <a:pt x="311" y="312"/>
                    </a:lnTo>
                  </a:path>
                </a:pathLst>
              </a:custGeom>
              <a:grpFill/>
              <a:ln w="9525" cmpd="sng">
                <a:solidFill>
                  <a:schemeClr val="accent6"/>
                </a:solidFill>
                <a:prstDash val="solid"/>
                <a:round/>
                <a:headEnd/>
                <a:tailEnd/>
              </a:ln>
            </p:spPr>
            <p:txBody>
              <a:bodyPr/>
              <a:lstStyle/>
              <a:p>
                <a:endParaRPr lang="en-US" sz="1400">
                  <a:latin typeface="+mn-lt"/>
                </a:endParaRPr>
              </a:p>
            </p:txBody>
          </p:sp>
          <p:sp>
            <p:nvSpPr>
              <p:cNvPr id="78" name="Freeform 73"/>
              <p:cNvSpPr>
                <a:spLocks/>
              </p:cNvSpPr>
              <p:nvPr/>
            </p:nvSpPr>
            <p:spPr bwMode="gray">
              <a:xfrm>
                <a:off x="5892801" y="3980495"/>
                <a:ext cx="20638" cy="20638"/>
              </a:xfrm>
              <a:custGeom>
                <a:avLst/>
                <a:gdLst>
                  <a:gd name="T0" fmla="*/ 0 w 25"/>
                  <a:gd name="T1" fmla="*/ 0 h 24"/>
                  <a:gd name="T2" fmla="*/ 25 w 25"/>
                  <a:gd name="T3" fmla="*/ 24 h 24"/>
                  <a:gd name="T4" fmla="*/ 25 w 25"/>
                  <a:gd name="T5" fmla="*/ 0 h 24"/>
                  <a:gd name="T6" fmla="*/ 0 w 25"/>
                  <a:gd name="T7" fmla="*/ 0 h 24"/>
                  <a:gd name="T8" fmla="*/ 0 60000 65536"/>
                  <a:gd name="T9" fmla="*/ 0 60000 65536"/>
                  <a:gd name="T10" fmla="*/ 0 60000 65536"/>
                  <a:gd name="T11" fmla="*/ 0 60000 65536"/>
                  <a:gd name="T12" fmla="*/ 0 w 25"/>
                  <a:gd name="T13" fmla="*/ 0 h 24"/>
                  <a:gd name="T14" fmla="*/ 25 w 25"/>
                  <a:gd name="T15" fmla="*/ 24 h 24"/>
                </a:gdLst>
                <a:ahLst/>
                <a:cxnLst>
                  <a:cxn ang="T8">
                    <a:pos x="T0" y="T1"/>
                  </a:cxn>
                  <a:cxn ang="T9">
                    <a:pos x="T2" y="T3"/>
                  </a:cxn>
                  <a:cxn ang="T10">
                    <a:pos x="T4" y="T5"/>
                  </a:cxn>
                  <a:cxn ang="T11">
                    <a:pos x="T6" y="T7"/>
                  </a:cxn>
                </a:cxnLst>
                <a:rect l="T12" t="T13" r="T14" b="T15"/>
                <a:pathLst>
                  <a:path w="25" h="24">
                    <a:moveTo>
                      <a:pt x="0" y="0"/>
                    </a:moveTo>
                    <a:lnTo>
                      <a:pt x="25" y="24"/>
                    </a:lnTo>
                    <a:lnTo>
                      <a:pt x="25" y="0"/>
                    </a:lnTo>
                    <a:lnTo>
                      <a:pt x="0" y="0"/>
                    </a:lnTo>
                  </a:path>
                </a:pathLst>
              </a:custGeom>
              <a:grpFill/>
              <a:ln w="9525" cmpd="sng">
                <a:solidFill>
                  <a:schemeClr val="accent6"/>
                </a:solidFill>
                <a:prstDash val="solid"/>
                <a:round/>
                <a:headEnd/>
                <a:tailEnd/>
              </a:ln>
            </p:spPr>
            <p:txBody>
              <a:bodyPr/>
              <a:lstStyle/>
              <a:p>
                <a:endParaRPr lang="en-US" sz="1400">
                  <a:latin typeface="+mn-lt"/>
                </a:endParaRPr>
              </a:p>
            </p:txBody>
          </p:sp>
          <p:sp>
            <p:nvSpPr>
              <p:cNvPr id="79" name="Freeform 74"/>
              <p:cNvSpPr>
                <a:spLocks/>
              </p:cNvSpPr>
              <p:nvPr/>
            </p:nvSpPr>
            <p:spPr bwMode="gray">
              <a:xfrm>
                <a:off x="3806825" y="2969257"/>
                <a:ext cx="82550" cy="41275"/>
              </a:xfrm>
              <a:custGeom>
                <a:avLst/>
                <a:gdLst>
                  <a:gd name="T0" fmla="*/ 52 w 104"/>
                  <a:gd name="T1" fmla="*/ 0 h 52"/>
                  <a:gd name="T2" fmla="*/ 25 w 104"/>
                  <a:gd name="T3" fmla="*/ 0 h 52"/>
                  <a:gd name="T4" fmla="*/ 0 w 104"/>
                  <a:gd name="T5" fmla="*/ 23 h 52"/>
                  <a:gd name="T6" fmla="*/ 0 w 104"/>
                  <a:gd name="T7" fmla="*/ 52 h 52"/>
                  <a:gd name="T8" fmla="*/ 52 w 104"/>
                  <a:gd name="T9" fmla="*/ 52 h 52"/>
                  <a:gd name="T10" fmla="*/ 77 w 104"/>
                  <a:gd name="T11" fmla="*/ 52 h 52"/>
                  <a:gd name="T12" fmla="*/ 77 w 104"/>
                  <a:gd name="T13" fmla="*/ 23 h 52"/>
                  <a:gd name="T14" fmla="*/ 104 w 104"/>
                  <a:gd name="T15" fmla="*/ 0 h 52"/>
                  <a:gd name="T16" fmla="*/ 77 w 104"/>
                  <a:gd name="T17" fmla="*/ 0 h 52"/>
                  <a:gd name="T18" fmla="*/ 52 w 104"/>
                  <a:gd name="T19" fmla="*/ 0 h 5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04"/>
                  <a:gd name="T31" fmla="*/ 0 h 52"/>
                  <a:gd name="T32" fmla="*/ 104 w 104"/>
                  <a:gd name="T33" fmla="*/ 52 h 52"/>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04" h="52">
                    <a:moveTo>
                      <a:pt x="52" y="0"/>
                    </a:moveTo>
                    <a:lnTo>
                      <a:pt x="25" y="0"/>
                    </a:lnTo>
                    <a:lnTo>
                      <a:pt x="0" y="23"/>
                    </a:lnTo>
                    <a:lnTo>
                      <a:pt x="0" y="52"/>
                    </a:lnTo>
                    <a:lnTo>
                      <a:pt x="52" y="52"/>
                    </a:lnTo>
                    <a:lnTo>
                      <a:pt x="77" y="52"/>
                    </a:lnTo>
                    <a:lnTo>
                      <a:pt x="77" y="23"/>
                    </a:lnTo>
                    <a:lnTo>
                      <a:pt x="104" y="0"/>
                    </a:lnTo>
                    <a:lnTo>
                      <a:pt x="77" y="0"/>
                    </a:lnTo>
                    <a:lnTo>
                      <a:pt x="52" y="0"/>
                    </a:lnTo>
                  </a:path>
                </a:pathLst>
              </a:custGeom>
              <a:grpFill/>
              <a:ln w="9525" cmpd="sng">
                <a:solidFill>
                  <a:schemeClr val="accent6"/>
                </a:solidFill>
                <a:prstDash val="solid"/>
                <a:round/>
                <a:headEnd/>
                <a:tailEnd/>
              </a:ln>
            </p:spPr>
            <p:txBody>
              <a:bodyPr/>
              <a:lstStyle/>
              <a:p>
                <a:endParaRPr lang="en-US" sz="1400">
                  <a:latin typeface="+mn-lt"/>
                </a:endParaRPr>
              </a:p>
            </p:txBody>
          </p:sp>
          <p:sp>
            <p:nvSpPr>
              <p:cNvPr id="80" name="Freeform 75"/>
              <p:cNvSpPr>
                <a:spLocks/>
              </p:cNvSpPr>
              <p:nvPr/>
            </p:nvSpPr>
            <p:spPr bwMode="gray">
              <a:xfrm>
                <a:off x="3683000" y="2885120"/>
                <a:ext cx="61913" cy="61913"/>
              </a:xfrm>
              <a:custGeom>
                <a:avLst/>
                <a:gdLst>
                  <a:gd name="T0" fmla="*/ 52 w 77"/>
                  <a:gd name="T1" fmla="*/ 0 h 76"/>
                  <a:gd name="T2" fmla="*/ 25 w 77"/>
                  <a:gd name="T3" fmla="*/ 0 h 76"/>
                  <a:gd name="T4" fmla="*/ 0 w 77"/>
                  <a:gd name="T5" fmla="*/ 53 h 76"/>
                  <a:gd name="T6" fmla="*/ 0 w 77"/>
                  <a:gd name="T7" fmla="*/ 76 h 76"/>
                  <a:gd name="T8" fmla="*/ 25 w 77"/>
                  <a:gd name="T9" fmla="*/ 76 h 76"/>
                  <a:gd name="T10" fmla="*/ 52 w 77"/>
                  <a:gd name="T11" fmla="*/ 76 h 76"/>
                  <a:gd name="T12" fmla="*/ 77 w 77"/>
                  <a:gd name="T13" fmla="*/ 53 h 76"/>
                  <a:gd name="T14" fmla="*/ 52 w 77"/>
                  <a:gd name="T15" fmla="*/ 53 h 76"/>
                  <a:gd name="T16" fmla="*/ 77 w 77"/>
                  <a:gd name="T17" fmla="*/ 0 h 76"/>
                  <a:gd name="T18" fmla="*/ 52 w 77"/>
                  <a:gd name="T19" fmla="*/ 0 h 7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77"/>
                  <a:gd name="T31" fmla="*/ 0 h 76"/>
                  <a:gd name="T32" fmla="*/ 77 w 77"/>
                  <a:gd name="T33" fmla="*/ 76 h 7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77" h="76">
                    <a:moveTo>
                      <a:pt x="52" y="0"/>
                    </a:moveTo>
                    <a:lnTo>
                      <a:pt x="25" y="0"/>
                    </a:lnTo>
                    <a:lnTo>
                      <a:pt x="0" y="53"/>
                    </a:lnTo>
                    <a:lnTo>
                      <a:pt x="0" y="76"/>
                    </a:lnTo>
                    <a:lnTo>
                      <a:pt x="25" y="76"/>
                    </a:lnTo>
                    <a:lnTo>
                      <a:pt x="52" y="76"/>
                    </a:lnTo>
                    <a:lnTo>
                      <a:pt x="77" y="53"/>
                    </a:lnTo>
                    <a:lnTo>
                      <a:pt x="52" y="53"/>
                    </a:lnTo>
                    <a:lnTo>
                      <a:pt x="77" y="0"/>
                    </a:lnTo>
                    <a:lnTo>
                      <a:pt x="52" y="0"/>
                    </a:lnTo>
                  </a:path>
                </a:pathLst>
              </a:custGeom>
              <a:grpFill/>
              <a:ln w="9525" cmpd="sng">
                <a:solidFill>
                  <a:schemeClr val="accent6"/>
                </a:solidFill>
                <a:prstDash val="solid"/>
                <a:round/>
                <a:headEnd/>
                <a:tailEnd/>
              </a:ln>
            </p:spPr>
            <p:txBody>
              <a:bodyPr/>
              <a:lstStyle/>
              <a:p>
                <a:endParaRPr lang="en-US" sz="1400">
                  <a:latin typeface="+mn-lt"/>
                </a:endParaRPr>
              </a:p>
            </p:txBody>
          </p:sp>
          <p:sp>
            <p:nvSpPr>
              <p:cNvPr id="81" name="Freeform 76"/>
              <p:cNvSpPr>
                <a:spLocks/>
              </p:cNvSpPr>
              <p:nvPr/>
            </p:nvSpPr>
            <p:spPr bwMode="gray">
              <a:xfrm>
                <a:off x="3290887" y="1172207"/>
                <a:ext cx="4211639" cy="2870200"/>
              </a:xfrm>
              <a:custGeom>
                <a:avLst/>
                <a:gdLst>
                  <a:gd name="T0" fmla="*/ 4712 w 5307"/>
                  <a:gd name="T1" fmla="*/ 158 h 3616"/>
                  <a:gd name="T2" fmla="*/ 4216 w 5307"/>
                  <a:gd name="T3" fmla="*/ 210 h 3616"/>
                  <a:gd name="T4" fmla="*/ 3719 w 5307"/>
                  <a:gd name="T5" fmla="*/ 288 h 3616"/>
                  <a:gd name="T6" fmla="*/ 3383 w 5307"/>
                  <a:gd name="T7" fmla="*/ 237 h 3616"/>
                  <a:gd name="T8" fmla="*/ 2888 w 5307"/>
                  <a:gd name="T9" fmla="*/ 394 h 3616"/>
                  <a:gd name="T10" fmla="*/ 2759 w 5307"/>
                  <a:gd name="T11" fmla="*/ 106 h 3616"/>
                  <a:gd name="T12" fmla="*/ 2604 w 5307"/>
                  <a:gd name="T13" fmla="*/ 158 h 3616"/>
                  <a:gd name="T14" fmla="*/ 2264 w 5307"/>
                  <a:gd name="T15" fmla="*/ 469 h 3616"/>
                  <a:gd name="T16" fmla="*/ 2187 w 5307"/>
                  <a:gd name="T17" fmla="*/ 624 h 3616"/>
                  <a:gd name="T18" fmla="*/ 2264 w 5307"/>
                  <a:gd name="T19" fmla="*/ 808 h 3616"/>
                  <a:gd name="T20" fmla="*/ 2056 w 5307"/>
                  <a:gd name="T21" fmla="*/ 572 h 3616"/>
                  <a:gd name="T22" fmla="*/ 1847 w 5307"/>
                  <a:gd name="T23" fmla="*/ 860 h 3616"/>
                  <a:gd name="T24" fmla="*/ 1484 w 5307"/>
                  <a:gd name="T25" fmla="*/ 912 h 3616"/>
                  <a:gd name="T26" fmla="*/ 1252 w 5307"/>
                  <a:gd name="T27" fmla="*/ 1121 h 3616"/>
                  <a:gd name="T28" fmla="*/ 1144 w 5307"/>
                  <a:gd name="T29" fmla="*/ 833 h 3616"/>
                  <a:gd name="T30" fmla="*/ 912 w 5307"/>
                  <a:gd name="T31" fmla="*/ 782 h 3616"/>
                  <a:gd name="T32" fmla="*/ 651 w 5307"/>
                  <a:gd name="T33" fmla="*/ 1093 h 3616"/>
                  <a:gd name="T34" fmla="*/ 495 w 5307"/>
                  <a:gd name="T35" fmla="*/ 1405 h 3616"/>
                  <a:gd name="T36" fmla="*/ 728 w 5307"/>
                  <a:gd name="T37" fmla="*/ 1561 h 3616"/>
                  <a:gd name="T38" fmla="*/ 808 w 5307"/>
                  <a:gd name="T39" fmla="*/ 1225 h 3616"/>
                  <a:gd name="T40" fmla="*/ 912 w 5307"/>
                  <a:gd name="T41" fmla="*/ 1196 h 3616"/>
                  <a:gd name="T42" fmla="*/ 1171 w 5307"/>
                  <a:gd name="T43" fmla="*/ 1354 h 3616"/>
                  <a:gd name="T44" fmla="*/ 912 w 5307"/>
                  <a:gd name="T45" fmla="*/ 1509 h 3616"/>
                  <a:gd name="T46" fmla="*/ 728 w 5307"/>
                  <a:gd name="T47" fmla="*/ 1641 h 3616"/>
                  <a:gd name="T48" fmla="*/ 572 w 5307"/>
                  <a:gd name="T49" fmla="*/ 1613 h 3616"/>
                  <a:gd name="T50" fmla="*/ 311 w 5307"/>
                  <a:gd name="T51" fmla="*/ 1797 h 3616"/>
                  <a:gd name="T52" fmla="*/ 184 w 5307"/>
                  <a:gd name="T53" fmla="*/ 2029 h 3616"/>
                  <a:gd name="T54" fmla="*/ 0 w 5307"/>
                  <a:gd name="T55" fmla="*/ 2317 h 3616"/>
                  <a:gd name="T56" fmla="*/ 392 w 5307"/>
                  <a:gd name="T57" fmla="*/ 2081 h 3616"/>
                  <a:gd name="T58" fmla="*/ 728 w 5307"/>
                  <a:gd name="T59" fmla="*/ 2160 h 3616"/>
                  <a:gd name="T60" fmla="*/ 780 w 5307"/>
                  <a:gd name="T61" fmla="*/ 2133 h 3616"/>
                  <a:gd name="T62" fmla="*/ 755 w 5307"/>
                  <a:gd name="T63" fmla="*/ 2029 h 3616"/>
                  <a:gd name="T64" fmla="*/ 987 w 5307"/>
                  <a:gd name="T65" fmla="*/ 2288 h 3616"/>
                  <a:gd name="T66" fmla="*/ 1068 w 5307"/>
                  <a:gd name="T67" fmla="*/ 2185 h 3616"/>
                  <a:gd name="T68" fmla="*/ 1223 w 5307"/>
                  <a:gd name="T69" fmla="*/ 1952 h 3616"/>
                  <a:gd name="T70" fmla="*/ 1432 w 5307"/>
                  <a:gd name="T71" fmla="*/ 1901 h 3616"/>
                  <a:gd name="T72" fmla="*/ 1563 w 5307"/>
                  <a:gd name="T73" fmla="*/ 2133 h 3616"/>
                  <a:gd name="T74" fmla="*/ 1119 w 5307"/>
                  <a:gd name="T75" fmla="*/ 2185 h 3616"/>
                  <a:gd name="T76" fmla="*/ 1352 w 5307"/>
                  <a:gd name="T77" fmla="*/ 2369 h 3616"/>
                  <a:gd name="T78" fmla="*/ 1459 w 5307"/>
                  <a:gd name="T79" fmla="*/ 2783 h 3616"/>
                  <a:gd name="T80" fmla="*/ 1980 w 5307"/>
                  <a:gd name="T81" fmla="*/ 3044 h 3616"/>
                  <a:gd name="T82" fmla="*/ 2003 w 5307"/>
                  <a:gd name="T83" fmla="*/ 2912 h 3616"/>
                  <a:gd name="T84" fmla="*/ 1772 w 5307"/>
                  <a:gd name="T85" fmla="*/ 2601 h 3616"/>
                  <a:gd name="T86" fmla="*/ 2187 w 5307"/>
                  <a:gd name="T87" fmla="*/ 2783 h 3616"/>
                  <a:gd name="T88" fmla="*/ 2552 w 5307"/>
                  <a:gd name="T89" fmla="*/ 2912 h 3616"/>
                  <a:gd name="T90" fmla="*/ 3043 w 5307"/>
                  <a:gd name="T91" fmla="*/ 2912 h 3616"/>
                  <a:gd name="T92" fmla="*/ 3279 w 5307"/>
                  <a:gd name="T93" fmla="*/ 3125 h 3616"/>
                  <a:gd name="T94" fmla="*/ 3408 w 5307"/>
                  <a:gd name="T95" fmla="*/ 3436 h 3616"/>
                  <a:gd name="T96" fmla="*/ 3435 w 5307"/>
                  <a:gd name="T97" fmla="*/ 3280 h 3616"/>
                  <a:gd name="T98" fmla="*/ 3696 w 5307"/>
                  <a:gd name="T99" fmla="*/ 3229 h 3616"/>
                  <a:gd name="T100" fmla="*/ 3667 w 5307"/>
                  <a:gd name="T101" fmla="*/ 2968 h 3616"/>
                  <a:gd name="T102" fmla="*/ 4032 w 5307"/>
                  <a:gd name="T103" fmla="*/ 2628 h 3616"/>
                  <a:gd name="T104" fmla="*/ 3955 w 5307"/>
                  <a:gd name="T105" fmla="*/ 2288 h 3616"/>
                  <a:gd name="T106" fmla="*/ 4072 w 5307"/>
                  <a:gd name="T107" fmla="*/ 2148 h 3616"/>
                  <a:gd name="T108" fmla="*/ 4162 w 5307"/>
                  <a:gd name="T109" fmla="*/ 2236 h 3616"/>
                  <a:gd name="T110" fmla="*/ 4424 w 5307"/>
                  <a:gd name="T111" fmla="*/ 1561 h 3616"/>
                  <a:gd name="T112" fmla="*/ 4447 w 5307"/>
                  <a:gd name="T113" fmla="*/ 1069 h 3616"/>
                  <a:gd name="T114" fmla="*/ 4786 w 5307"/>
                  <a:gd name="T115" fmla="*/ 912 h 3616"/>
                  <a:gd name="T116" fmla="*/ 4892 w 5307"/>
                  <a:gd name="T117" fmla="*/ 1354 h 3616"/>
                  <a:gd name="T118" fmla="*/ 5023 w 5307"/>
                  <a:gd name="T119" fmla="*/ 730 h 3616"/>
                  <a:gd name="T120" fmla="*/ 5023 w 5307"/>
                  <a:gd name="T121" fmla="*/ 417 h 361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5307"/>
                  <a:gd name="T184" fmla="*/ 0 h 3616"/>
                  <a:gd name="T185" fmla="*/ 5307 w 5307"/>
                  <a:gd name="T186" fmla="*/ 3616 h 361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5307" h="3616">
                    <a:moveTo>
                      <a:pt x="5203" y="394"/>
                    </a:moveTo>
                    <a:lnTo>
                      <a:pt x="5232" y="342"/>
                    </a:lnTo>
                    <a:lnTo>
                      <a:pt x="5180" y="288"/>
                    </a:lnTo>
                    <a:lnTo>
                      <a:pt x="5099" y="313"/>
                    </a:lnTo>
                    <a:lnTo>
                      <a:pt x="5023" y="261"/>
                    </a:lnTo>
                    <a:lnTo>
                      <a:pt x="4971" y="237"/>
                    </a:lnTo>
                    <a:lnTo>
                      <a:pt x="4936" y="229"/>
                    </a:lnTo>
                    <a:lnTo>
                      <a:pt x="4944" y="237"/>
                    </a:lnTo>
                    <a:lnTo>
                      <a:pt x="4919" y="237"/>
                    </a:lnTo>
                    <a:lnTo>
                      <a:pt x="4840" y="210"/>
                    </a:lnTo>
                    <a:lnTo>
                      <a:pt x="4712" y="158"/>
                    </a:lnTo>
                    <a:lnTo>
                      <a:pt x="4604" y="158"/>
                    </a:lnTo>
                    <a:lnTo>
                      <a:pt x="4527" y="210"/>
                    </a:lnTo>
                    <a:lnTo>
                      <a:pt x="4579" y="237"/>
                    </a:lnTo>
                    <a:lnTo>
                      <a:pt x="4579" y="288"/>
                    </a:lnTo>
                    <a:lnTo>
                      <a:pt x="4552" y="288"/>
                    </a:lnTo>
                    <a:lnTo>
                      <a:pt x="4504" y="237"/>
                    </a:lnTo>
                    <a:lnTo>
                      <a:pt x="4395" y="261"/>
                    </a:lnTo>
                    <a:lnTo>
                      <a:pt x="4372" y="313"/>
                    </a:lnTo>
                    <a:lnTo>
                      <a:pt x="4320" y="288"/>
                    </a:lnTo>
                    <a:lnTo>
                      <a:pt x="4268" y="288"/>
                    </a:lnTo>
                    <a:lnTo>
                      <a:pt x="4216" y="210"/>
                    </a:lnTo>
                    <a:lnTo>
                      <a:pt x="4084" y="210"/>
                    </a:lnTo>
                    <a:lnTo>
                      <a:pt x="4059" y="261"/>
                    </a:lnTo>
                    <a:lnTo>
                      <a:pt x="4007" y="237"/>
                    </a:lnTo>
                    <a:lnTo>
                      <a:pt x="3928" y="237"/>
                    </a:lnTo>
                    <a:lnTo>
                      <a:pt x="3955" y="185"/>
                    </a:lnTo>
                    <a:lnTo>
                      <a:pt x="3903" y="185"/>
                    </a:lnTo>
                    <a:lnTo>
                      <a:pt x="3800" y="261"/>
                    </a:lnTo>
                    <a:lnTo>
                      <a:pt x="3800" y="210"/>
                    </a:lnTo>
                    <a:lnTo>
                      <a:pt x="3719" y="210"/>
                    </a:lnTo>
                    <a:lnTo>
                      <a:pt x="3667" y="237"/>
                    </a:lnTo>
                    <a:lnTo>
                      <a:pt x="3719" y="288"/>
                    </a:lnTo>
                    <a:lnTo>
                      <a:pt x="3696" y="288"/>
                    </a:lnTo>
                    <a:lnTo>
                      <a:pt x="3696" y="313"/>
                    </a:lnTo>
                    <a:lnTo>
                      <a:pt x="3644" y="313"/>
                    </a:lnTo>
                    <a:lnTo>
                      <a:pt x="3615" y="313"/>
                    </a:lnTo>
                    <a:lnTo>
                      <a:pt x="3563" y="365"/>
                    </a:lnTo>
                    <a:lnTo>
                      <a:pt x="3563" y="394"/>
                    </a:lnTo>
                    <a:lnTo>
                      <a:pt x="3512" y="365"/>
                    </a:lnTo>
                    <a:lnTo>
                      <a:pt x="3487" y="342"/>
                    </a:lnTo>
                    <a:lnTo>
                      <a:pt x="3435" y="342"/>
                    </a:lnTo>
                    <a:lnTo>
                      <a:pt x="3435" y="313"/>
                    </a:lnTo>
                    <a:lnTo>
                      <a:pt x="3383" y="237"/>
                    </a:lnTo>
                    <a:lnTo>
                      <a:pt x="3304" y="237"/>
                    </a:lnTo>
                    <a:lnTo>
                      <a:pt x="3279" y="237"/>
                    </a:lnTo>
                    <a:lnTo>
                      <a:pt x="3279" y="288"/>
                    </a:lnTo>
                    <a:lnTo>
                      <a:pt x="3176" y="313"/>
                    </a:lnTo>
                    <a:lnTo>
                      <a:pt x="3176" y="288"/>
                    </a:lnTo>
                    <a:lnTo>
                      <a:pt x="3147" y="288"/>
                    </a:lnTo>
                    <a:lnTo>
                      <a:pt x="3072" y="313"/>
                    </a:lnTo>
                    <a:lnTo>
                      <a:pt x="2968" y="288"/>
                    </a:lnTo>
                    <a:lnTo>
                      <a:pt x="2968" y="342"/>
                    </a:lnTo>
                    <a:lnTo>
                      <a:pt x="2915" y="365"/>
                    </a:lnTo>
                    <a:lnTo>
                      <a:pt x="2888" y="394"/>
                    </a:lnTo>
                    <a:lnTo>
                      <a:pt x="2863" y="394"/>
                    </a:lnTo>
                    <a:lnTo>
                      <a:pt x="2915" y="288"/>
                    </a:lnTo>
                    <a:lnTo>
                      <a:pt x="2940" y="261"/>
                    </a:lnTo>
                    <a:lnTo>
                      <a:pt x="2940" y="237"/>
                    </a:lnTo>
                    <a:lnTo>
                      <a:pt x="2940" y="185"/>
                    </a:lnTo>
                    <a:lnTo>
                      <a:pt x="2915" y="133"/>
                    </a:lnTo>
                    <a:lnTo>
                      <a:pt x="2915" y="81"/>
                    </a:lnTo>
                    <a:lnTo>
                      <a:pt x="2836" y="54"/>
                    </a:lnTo>
                    <a:lnTo>
                      <a:pt x="2784" y="54"/>
                    </a:lnTo>
                    <a:lnTo>
                      <a:pt x="2759" y="54"/>
                    </a:lnTo>
                    <a:lnTo>
                      <a:pt x="2759" y="106"/>
                    </a:lnTo>
                    <a:lnTo>
                      <a:pt x="2732" y="106"/>
                    </a:lnTo>
                    <a:lnTo>
                      <a:pt x="2707" y="54"/>
                    </a:lnTo>
                    <a:lnTo>
                      <a:pt x="2655" y="29"/>
                    </a:lnTo>
                    <a:lnTo>
                      <a:pt x="2627" y="0"/>
                    </a:lnTo>
                    <a:lnTo>
                      <a:pt x="2604" y="0"/>
                    </a:lnTo>
                    <a:lnTo>
                      <a:pt x="2575" y="54"/>
                    </a:lnTo>
                    <a:lnTo>
                      <a:pt x="2575" y="81"/>
                    </a:lnTo>
                    <a:lnTo>
                      <a:pt x="2627" y="106"/>
                    </a:lnTo>
                    <a:lnTo>
                      <a:pt x="2604" y="133"/>
                    </a:lnTo>
                    <a:lnTo>
                      <a:pt x="2627" y="158"/>
                    </a:lnTo>
                    <a:lnTo>
                      <a:pt x="2604" y="158"/>
                    </a:lnTo>
                    <a:lnTo>
                      <a:pt x="2575" y="210"/>
                    </a:lnTo>
                    <a:lnTo>
                      <a:pt x="2500" y="210"/>
                    </a:lnTo>
                    <a:lnTo>
                      <a:pt x="2471" y="210"/>
                    </a:lnTo>
                    <a:lnTo>
                      <a:pt x="2448" y="210"/>
                    </a:lnTo>
                    <a:lnTo>
                      <a:pt x="2448" y="237"/>
                    </a:lnTo>
                    <a:lnTo>
                      <a:pt x="2367" y="288"/>
                    </a:lnTo>
                    <a:lnTo>
                      <a:pt x="2367" y="365"/>
                    </a:lnTo>
                    <a:lnTo>
                      <a:pt x="2396" y="417"/>
                    </a:lnTo>
                    <a:lnTo>
                      <a:pt x="2367" y="417"/>
                    </a:lnTo>
                    <a:lnTo>
                      <a:pt x="2291" y="446"/>
                    </a:lnTo>
                    <a:lnTo>
                      <a:pt x="2264" y="469"/>
                    </a:lnTo>
                    <a:lnTo>
                      <a:pt x="2291" y="549"/>
                    </a:lnTo>
                    <a:lnTo>
                      <a:pt x="2367" y="549"/>
                    </a:lnTo>
                    <a:lnTo>
                      <a:pt x="2367" y="601"/>
                    </a:lnTo>
                    <a:lnTo>
                      <a:pt x="2419" y="653"/>
                    </a:lnTo>
                    <a:lnTo>
                      <a:pt x="2448" y="730"/>
                    </a:lnTo>
                    <a:lnTo>
                      <a:pt x="2396" y="678"/>
                    </a:lnTo>
                    <a:lnTo>
                      <a:pt x="2367" y="601"/>
                    </a:lnTo>
                    <a:lnTo>
                      <a:pt x="2264" y="549"/>
                    </a:lnTo>
                    <a:lnTo>
                      <a:pt x="2239" y="549"/>
                    </a:lnTo>
                    <a:lnTo>
                      <a:pt x="2239" y="572"/>
                    </a:lnTo>
                    <a:lnTo>
                      <a:pt x="2187" y="624"/>
                    </a:lnTo>
                    <a:lnTo>
                      <a:pt x="2239" y="624"/>
                    </a:lnTo>
                    <a:lnTo>
                      <a:pt x="2264" y="653"/>
                    </a:lnTo>
                    <a:lnTo>
                      <a:pt x="2187" y="653"/>
                    </a:lnTo>
                    <a:lnTo>
                      <a:pt x="2135" y="601"/>
                    </a:lnTo>
                    <a:lnTo>
                      <a:pt x="2135" y="653"/>
                    </a:lnTo>
                    <a:lnTo>
                      <a:pt x="2187" y="730"/>
                    </a:lnTo>
                    <a:lnTo>
                      <a:pt x="2187" y="757"/>
                    </a:lnTo>
                    <a:lnTo>
                      <a:pt x="2212" y="782"/>
                    </a:lnTo>
                    <a:lnTo>
                      <a:pt x="2291" y="782"/>
                    </a:lnTo>
                    <a:lnTo>
                      <a:pt x="2327" y="841"/>
                    </a:lnTo>
                    <a:lnTo>
                      <a:pt x="2264" y="808"/>
                    </a:lnTo>
                    <a:lnTo>
                      <a:pt x="2239" y="808"/>
                    </a:lnTo>
                    <a:lnTo>
                      <a:pt x="2212" y="833"/>
                    </a:lnTo>
                    <a:lnTo>
                      <a:pt x="2239" y="912"/>
                    </a:lnTo>
                    <a:lnTo>
                      <a:pt x="2212" y="989"/>
                    </a:lnTo>
                    <a:lnTo>
                      <a:pt x="2160" y="989"/>
                    </a:lnTo>
                    <a:lnTo>
                      <a:pt x="2108" y="989"/>
                    </a:lnTo>
                    <a:lnTo>
                      <a:pt x="2160" y="966"/>
                    </a:lnTo>
                    <a:lnTo>
                      <a:pt x="2187" y="860"/>
                    </a:lnTo>
                    <a:lnTo>
                      <a:pt x="2187" y="808"/>
                    </a:lnTo>
                    <a:lnTo>
                      <a:pt x="2083" y="653"/>
                    </a:lnTo>
                    <a:lnTo>
                      <a:pt x="2056" y="572"/>
                    </a:lnTo>
                    <a:lnTo>
                      <a:pt x="2003" y="549"/>
                    </a:lnTo>
                    <a:lnTo>
                      <a:pt x="1980" y="678"/>
                    </a:lnTo>
                    <a:lnTo>
                      <a:pt x="2003" y="757"/>
                    </a:lnTo>
                    <a:lnTo>
                      <a:pt x="2056" y="808"/>
                    </a:lnTo>
                    <a:lnTo>
                      <a:pt x="2056" y="833"/>
                    </a:lnTo>
                    <a:lnTo>
                      <a:pt x="2003" y="808"/>
                    </a:lnTo>
                    <a:lnTo>
                      <a:pt x="1951" y="782"/>
                    </a:lnTo>
                    <a:lnTo>
                      <a:pt x="1847" y="782"/>
                    </a:lnTo>
                    <a:lnTo>
                      <a:pt x="1876" y="833"/>
                    </a:lnTo>
                    <a:lnTo>
                      <a:pt x="1876" y="860"/>
                    </a:lnTo>
                    <a:lnTo>
                      <a:pt x="1847" y="860"/>
                    </a:lnTo>
                    <a:lnTo>
                      <a:pt x="1824" y="833"/>
                    </a:lnTo>
                    <a:lnTo>
                      <a:pt x="1743" y="885"/>
                    </a:lnTo>
                    <a:lnTo>
                      <a:pt x="1720" y="885"/>
                    </a:lnTo>
                    <a:lnTo>
                      <a:pt x="1692" y="860"/>
                    </a:lnTo>
                    <a:lnTo>
                      <a:pt x="1615" y="912"/>
                    </a:lnTo>
                    <a:lnTo>
                      <a:pt x="1588" y="937"/>
                    </a:lnTo>
                    <a:lnTo>
                      <a:pt x="1563" y="937"/>
                    </a:lnTo>
                    <a:lnTo>
                      <a:pt x="1536" y="989"/>
                    </a:lnTo>
                    <a:lnTo>
                      <a:pt x="1507" y="966"/>
                    </a:lnTo>
                    <a:lnTo>
                      <a:pt x="1507" y="885"/>
                    </a:lnTo>
                    <a:lnTo>
                      <a:pt x="1484" y="912"/>
                    </a:lnTo>
                    <a:lnTo>
                      <a:pt x="1459" y="937"/>
                    </a:lnTo>
                    <a:lnTo>
                      <a:pt x="1484" y="1018"/>
                    </a:lnTo>
                    <a:lnTo>
                      <a:pt x="1459" y="1041"/>
                    </a:lnTo>
                    <a:lnTo>
                      <a:pt x="1407" y="1041"/>
                    </a:lnTo>
                    <a:lnTo>
                      <a:pt x="1379" y="1093"/>
                    </a:lnTo>
                    <a:lnTo>
                      <a:pt x="1379" y="1121"/>
                    </a:lnTo>
                    <a:lnTo>
                      <a:pt x="1379" y="1144"/>
                    </a:lnTo>
                    <a:lnTo>
                      <a:pt x="1327" y="1093"/>
                    </a:lnTo>
                    <a:lnTo>
                      <a:pt x="1300" y="1144"/>
                    </a:lnTo>
                    <a:lnTo>
                      <a:pt x="1300" y="1173"/>
                    </a:lnTo>
                    <a:lnTo>
                      <a:pt x="1252" y="1121"/>
                    </a:lnTo>
                    <a:lnTo>
                      <a:pt x="1252" y="1041"/>
                    </a:lnTo>
                    <a:lnTo>
                      <a:pt x="1196" y="1018"/>
                    </a:lnTo>
                    <a:lnTo>
                      <a:pt x="1196" y="989"/>
                    </a:lnTo>
                    <a:lnTo>
                      <a:pt x="1252" y="1018"/>
                    </a:lnTo>
                    <a:lnTo>
                      <a:pt x="1300" y="1041"/>
                    </a:lnTo>
                    <a:lnTo>
                      <a:pt x="1352" y="1018"/>
                    </a:lnTo>
                    <a:lnTo>
                      <a:pt x="1379" y="989"/>
                    </a:lnTo>
                    <a:lnTo>
                      <a:pt x="1300" y="885"/>
                    </a:lnTo>
                    <a:lnTo>
                      <a:pt x="1252" y="860"/>
                    </a:lnTo>
                    <a:lnTo>
                      <a:pt x="1196" y="860"/>
                    </a:lnTo>
                    <a:lnTo>
                      <a:pt x="1144" y="833"/>
                    </a:lnTo>
                    <a:lnTo>
                      <a:pt x="1119" y="808"/>
                    </a:lnTo>
                    <a:lnTo>
                      <a:pt x="1091" y="808"/>
                    </a:lnTo>
                    <a:lnTo>
                      <a:pt x="1119" y="782"/>
                    </a:lnTo>
                    <a:lnTo>
                      <a:pt x="1091" y="757"/>
                    </a:lnTo>
                    <a:lnTo>
                      <a:pt x="1039" y="757"/>
                    </a:lnTo>
                    <a:lnTo>
                      <a:pt x="1016" y="782"/>
                    </a:lnTo>
                    <a:lnTo>
                      <a:pt x="987" y="757"/>
                    </a:lnTo>
                    <a:lnTo>
                      <a:pt x="964" y="757"/>
                    </a:lnTo>
                    <a:lnTo>
                      <a:pt x="964" y="782"/>
                    </a:lnTo>
                    <a:lnTo>
                      <a:pt x="935" y="782"/>
                    </a:lnTo>
                    <a:lnTo>
                      <a:pt x="912" y="782"/>
                    </a:lnTo>
                    <a:lnTo>
                      <a:pt x="912" y="833"/>
                    </a:lnTo>
                    <a:lnTo>
                      <a:pt x="860" y="833"/>
                    </a:lnTo>
                    <a:lnTo>
                      <a:pt x="808" y="833"/>
                    </a:lnTo>
                    <a:lnTo>
                      <a:pt x="755" y="912"/>
                    </a:lnTo>
                    <a:lnTo>
                      <a:pt x="780" y="912"/>
                    </a:lnTo>
                    <a:lnTo>
                      <a:pt x="755" y="937"/>
                    </a:lnTo>
                    <a:lnTo>
                      <a:pt x="755" y="966"/>
                    </a:lnTo>
                    <a:lnTo>
                      <a:pt x="728" y="937"/>
                    </a:lnTo>
                    <a:lnTo>
                      <a:pt x="703" y="989"/>
                    </a:lnTo>
                    <a:lnTo>
                      <a:pt x="703" y="1018"/>
                    </a:lnTo>
                    <a:lnTo>
                      <a:pt x="651" y="1093"/>
                    </a:lnTo>
                    <a:lnTo>
                      <a:pt x="599" y="1144"/>
                    </a:lnTo>
                    <a:lnTo>
                      <a:pt x="599" y="1173"/>
                    </a:lnTo>
                    <a:lnTo>
                      <a:pt x="572" y="1173"/>
                    </a:lnTo>
                    <a:lnTo>
                      <a:pt x="572" y="1196"/>
                    </a:lnTo>
                    <a:lnTo>
                      <a:pt x="520" y="1248"/>
                    </a:lnTo>
                    <a:lnTo>
                      <a:pt x="495" y="1277"/>
                    </a:lnTo>
                    <a:lnTo>
                      <a:pt x="495" y="1302"/>
                    </a:lnTo>
                    <a:lnTo>
                      <a:pt x="495" y="1329"/>
                    </a:lnTo>
                    <a:lnTo>
                      <a:pt x="495" y="1354"/>
                    </a:lnTo>
                    <a:lnTo>
                      <a:pt x="495" y="1380"/>
                    </a:lnTo>
                    <a:lnTo>
                      <a:pt x="495" y="1405"/>
                    </a:lnTo>
                    <a:lnTo>
                      <a:pt x="495" y="1432"/>
                    </a:lnTo>
                    <a:lnTo>
                      <a:pt x="520" y="1457"/>
                    </a:lnTo>
                    <a:lnTo>
                      <a:pt x="572" y="1432"/>
                    </a:lnTo>
                    <a:lnTo>
                      <a:pt x="599" y="1405"/>
                    </a:lnTo>
                    <a:lnTo>
                      <a:pt x="651" y="1380"/>
                    </a:lnTo>
                    <a:lnTo>
                      <a:pt x="651" y="1432"/>
                    </a:lnTo>
                    <a:lnTo>
                      <a:pt x="651" y="1457"/>
                    </a:lnTo>
                    <a:lnTo>
                      <a:pt x="676" y="1484"/>
                    </a:lnTo>
                    <a:lnTo>
                      <a:pt x="676" y="1509"/>
                    </a:lnTo>
                    <a:lnTo>
                      <a:pt x="703" y="1561"/>
                    </a:lnTo>
                    <a:lnTo>
                      <a:pt x="728" y="1561"/>
                    </a:lnTo>
                    <a:lnTo>
                      <a:pt x="728" y="1509"/>
                    </a:lnTo>
                    <a:lnTo>
                      <a:pt x="755" y="1509"/>
                    </a:lnTo>
                    <a:lnTo>
                      <a:pt x="780" y="1484"/>
                    </a:lnTo>
                    <a:lnTo>
                      <a:pt x="780" y="1432"/>
                    </a:lnTo>
                    <a:lnTo>
                      <a:pt x="780" y="1405"/>
                    </a:lnTo>
                    <a:lnTo>
                      <a:pt x="780" y="1380"/>
                    </a:lnTo>
                    <a:lnTo>
                      <a:pt x="808" y="1380"/>
                    </a:lnTo>
                    <a:lnTo>
                      <a:pt x="831" y="1380"/>
                    </a:lnTo>
                    <a:lnTo>
                      <a:pt x="831" y="1354"/>
                    </a:lnTo>
                    <a:lnTo>
                      <a:pt x="780" y="1302"/>
                    </a:lnTo>
                    <a:lnTo>
                      <a:pt x="808" y="1225"/>
                    </a:lnTo>
                    <a:lnTo>
                      <a:pt x="860" y="1225"/>
                    </a:lnTo>
                    <a:lnTo>
                      <a:pt x="883" y="1173"/>
                    </a:lnTo>
                    <a:lnTo>
                      <a:pt x="912" y="1144"/>
                    </a:lnTo>
                    <a:lnTo>
                      <a:pt x="912" y="1093"/>
                    </a:lnTo>
                    <a:lnTo>
                      <a:pt x="964" y="1041"/>
                    </a:lnTo>
                    <a:lnTo>
                      <a:pt x="987" y="1069"/>
                    </a:lnTo>
                    <a:lnTo>
                      <a:pt x="1016" y="1093"/>
                    </a:lnTo>
                    <a:lnTo>
                      <a:pt x="987" y="1121"/>
                    </a:lnTo>
                    <a:lnTo>
                      <a:pt x="935" y="1173"/>
                    </a:lnTo>
                    <a:lnTo>
                      <a:pt x="935" y="1196"/>
                    </a:lnTo>
                    <a:lnTo>
                      <a:pt x="912" y="1196"/>
                    </a:lnTo>
                    <a:lnTo>
                      <a:pt x="912" y="1225"/>
                    </a:lnTo>
                    <a:lnTo>
                      <a:pt x="912" y="1248"/>
                    </a:lnTo>
                    <a:lnTo>
                      <a:pt x="935" y="1277"/>
                    </a:lnTo>
                    <a:lnTo>
                      <a:pt x="912" y="1302"/>
                    </a:lnTo>
                    <a:lnTo>
                      <a:pt x="912" y="1329"/>
                    </a:lnTo>
                    <a:lnTo>
                      <a:pt x="935" y="1329"/>
                    </a:lnTo>
                    <a:lnTo>
                      <a:pt x="987" y="1329"/>
                    </a:lnTo>
                    <a:lnTo>
                      <a:pt x="1091" y="1302"/>
                    </a:lnTo>
                    <a:lnTo>
                      <a:pt x="1119" y="1302"/>
                    </a:lnTo>
                    <a:lnTo>
                      <a:pt x="1144" y="1329"/>
                    </a:lnTo>
                    <a:lnTo>
                      <a:pt x="1171" y="1354"/>
                    </a:lnTo>
                    <a:lnTo>
                      <a:pt x="1144" y="1380"/>
                    </a:lnTo>
                    <a:lnTo>
                      <a:pt x="1119" y="1405"/>
                    </a:lnTo>
                    <a:lnTo>
                      <a:pt x="1144" y="1380"/>
                    </a:lnTo>
                    <a:lnTo>
                      <a:pt x="1091" y="1380"/>
                    </a:lnTo>
                    <a:lnTo>
                      <a:pt x="1068" y="1380"/>
                    </a:lnTo>
                    <a:lnTo>
                      <a:pt x="1016" y="1405"/>
                    </a:lnTo>
                    <a:lnTo>
                      <a:pt x="987" y="1405"/>
                    </a:lnTo>
                    <a:lnTo>
                      <a:pt x="987" y="1457"/>
                    </a:lnTo>
                    <a:lnTo>
                      <a:pt x="987" y="1484"/>
                    </a:lnTo>
                    <a:lnTo>
                      <a:pt x="935" y="1484"/>
                    </a:lnTo>
                    <a:lnTo>
                      <a:pt x="912" y="1509"/>
                    </a:lnTo>
                    <a:lnTo>
                      <a:pt x="912" y="1536"/>
                    </a:lnTo>
                    <a:lnTo>
                      <a:pt x="912" y="1561"/>
                    </a:lnTo>
                    <a:lnTo>
                      <a:pt x="912" y="1590"/>
                    </a:lnTo>
                    <a:lnTo>
                      <a:pt x="883" y="1613"/>
                    </a:lnTo>
                    <a:lnTo>
                      <a:pt x="912" y="1613"/>
                    </a:lnTo>
                    <a:lnTo>
                      <a:pt x="964" y="1641"/>
                    </a:lnTo>
                    <a:lnTo>
                      <a:pt x="935" y="1641"/>
                    </a:lnTo>
                    <a:lnTo>
                      <a:pt x="883" y="1613"/>
                    </a:lnTo>
                    <a:lnTo>
                      <a:pt x="860" y="1613"/>
                    </a:lnTo>
                    <a:lnTo>
                      <a:pt x="808" y="1613"/>
                    </a:lnTo>
                    <a:lnTo>
                      <a:pt x="728" y="1641"/>
                    </a:lnTo>
                    <a:lnTo>
                      <a:pt x="676" y="1641"/>
                    </a:lnTo>
                    <a:lnTo>
                      <a:pt x="624" y="1641"/>
                    </a:lnTo>
                    <a:lnTo>
                      <a:pt x="599" y="1613"/>
                    </a:lnTo>
                    <a:lnTo>
                      <a:pt x="599" y="1561"/>
                    </a:lnTo>
                    <a:lnTo>
                      <a:pt x="624" y="1536"/>
                    </a:lnTo>
                    <a:lnTo>
                      <a:pt x="624" y="1509"/>
                    </a:lnTo>
                    <a:lnTo>
                      <a:pt x="599" y="1457"/>
                    </a:lnTo>
                    <a:lnTo>
                      <a:pt x="572" y="1509"/>
                    </a:lnTo>
                    <a:lnTo>
                      <a:pt x="572" y="1536"/>
                    </a:lnTo>
                    <a:lnTo>
                      <a:pt x="572" y="1590"/>
                    </a:lnTo>
                    <a:lnTo>
                      <a:pt x="572" y="1613"/>
                    </a:lnTo>
                    <a:lnTo>
                      <a:pt x="572" y="1641"/>
                    </a:lnTo>
                    <a:lnTo>
                      <a:pt x="547" y="1641"/>
                    </a:lnTo>
                    <a:lnTo>
                      <a:pt x="520" y="1664"/>
                    </a:lnTo>
                    <a:lnTo>
                      <a:pt x="467" y="1664"/>
                    </a:lnTo>
                    <a:lnTo>
                      <a:pt x="467" y="1693"/>
                    </a:lnTo>
                    <a:lnTo>
                      <a:pt x="444" y="1716"/>
                    </a:lnTo>
                    <a:lnTo>
                      <a:pt x="415" y="1716"/>
                    </a:lnTo>
                    <a:lnTo>
                      <a:pt x="415" y="1745"/>
                    </a:lnTo>
                    <a:lnTo>
                      <a:pt x="392" y="1745"/>
                    </a:lnTo>
                    <a:lnTo>
                      <a:pt x="363" y="1768"/>
                    </a:lnTo>
                    <a:lnTo>
                      <a:pt x="311" y="1797"/>
                    </a:lnTo>
                    <a:lnTo>
                      <a:pt x="288" y="1797"/>
                    </a:lnTo>
                    <a:lnTo>
                      <a:pt x="236" y="1820"/>
                    </a:lnTo>
                    <a:lnTo>
                      <a:pt x="207" y="1849"/>
                    </a:lnTo>
                    <a:lnTo>
                      <a:pt x="184" y="1849"/>
                    </a:lnTo>
                    <a:lnTo>
                      <a:pt x="184" y="1872"/>
                    </a:lnTo>
                    <a:lnTo>
                      <a:pt x="207" y="1872"/>
                    </a:lnTo>
                    <a:lnTo>
                      <a:pt x="236" y="1901"/>
                    </a:lnTo>
                    <a:lnTo>
                      <a:pt x="236" y="1925"/>
                    </a:lnTo>
                    <a:lnTo>
                      <a:pt x="236" y="2004"/>
                    </a:lnTo>
                    <a:lnTo>
                      <a:pt x="207" y="2029"/>
                    </a:lnTo>
                    <a:lnTo>
                      <a:pt x="184" y="2029"/>
                    </a:lnTo>
                    <a:lnTo>
                      <a:pt x="156" y="2029"/>
                    </a:lnTo>
                    <a:lnTo>
                      <a:pt x="131" y="2004"/>
                    </a:lnTo>
                    <a:lnTo>
                      <a:pt x="79" y="2029"/>
                    </a:lnTo>
                    <a:lnTo>
                      <a:pt x="52" y="2029"/>
                    </a:lnTo>
                    <a:lnTo>
                      <a:pt x="27" y="2029"/>
                    </a:lnTo>
                    <a:lnTo>
                      <a:pt x="27" y="2081"/>
                    </a:lnTo>
                    <a:lnTo>
                      <a:pt x="27" y="2133"/>
                    </a:lnTo>
                    <a:lnTo>
                      <a:pt x="27" y="2185"/>
                    </a:lnTo>
                    <a:lnTo>
                      <a:pt x="0" y="2213"/>
                    </a:lnTo>
                    <a:lnTo>
                      <a:pt x="27" y="2265"/>
                    </a:lnTo>
                    <a:lnTo>
                      <a:pt x="0" y="2317"/>
                    </a:lnTo>
                    <a:lnTo>
                      <a:pt x="52" y="2317"/>
                    </a:lnTo>
                    <a:lnTo>
                      <a:pt x="79" y="2317"/>
                    </a:lnTo>
                    <a:lnTo>
                      <a:pt x="104" y="2369"/>
                    </a:lnTo>
                    <a:lnTo>
                      <a:pt x="156" y="2340"/>
                    </a:lnTo>
                    <a:lnTo>
                      <a:pt x="207" y="2369"/>
                    </a:lnTo>
                    <a:lnTo>
                      <a:pt x="236" y="2340"/>
                    </a:lnTo>
                    <a:lnTo>
                      <a:pt x="259" y="2317"/>
                    </a:lnTo>
                    <a:lnTo>
                      <a:pt x="288" y="2265"/>
                    </a:lnTo>
                    <a:lnTo>
                      <a:pt x="340" y="2185"/>
                    </a:lnTo>
                    <a:lnTo>
                      <a:pt x="392" y="2133"/>
                    </a:lnTo>
                    <a:lnTo>
                      <a:pt x="392" y="2081"/>
                    </a:lnTo>
                    <a:lnTo>
                      <a:pt x="415" y="2081"/>
                    </a:lnTo>
                    <a:lnTo>
                      <a:pt x="415" y="2056"/>
                    </a:lnTo>
                    <a:lnTo>
                      <a:pt x="467" y="2056"/>
                    </a:lnTo>
                    <a:lnTo>
                      <a:pt x="495" y="2029"/>
                    </a:lnTo>
                    <a:lnTo>
                      <a:pt x="520" y="2029"/>
                    </a:lnTo>
                    <a:lnTo>
                      <a:pt x="572" y="2029"/>
                    </a:lnTo>
                    <a:lnTo>
                      <a:pt x="599" y="2029"/>
                    </a:lnTo>
                    <a:lnTo>
                      <a:pt x="624" y="2056"/>
                    </a:lnTo>
                    <a:lnTo>
                      <a:pt x="624" y="2081"/>
                    </a:lnTo>
                    <a:lnTo>
                      <a:pt x="703" y="2160"/>
                    </a:lnTo>
                    <a:lnTo>
                      <a:pt x="728" y="2160"/>
                    </a:lnTo>
                    <a:lnTo>
                      <a:pt x="755" y="2185"/>
                    </a:lnTo>
                    <a:lnTo>
                      <a:pt x="780" y="2213"/>
                    </a:lnTo>
                    <a:lnTo>
                      <a:pt x="755" y="2236"/>
                    </a:lnTo>
                    <a:lnTo>
                      <a:pt x="755" y="2265"/>
                    </a:lnTo>
                    <a:lnTo>
                      <a:pt x="808" y="2236"/>
                    </a:lnTo>
                    <a:lnTo>
                      <a:pt x="780" y="2185"/>
                    </a:lnTo>
                    <a:lnTo>
                      <a:pt x="780" y="2160"/>
                    </a:lnTo>
                    <a:lnTo>
                      <a:pt x="808" y="2185"/>
                    </a:lnTo>
                    <a:lnTo>
                      <a:pt x="831" y="2213"/>
                    </a:lnTo>
                    <a:lnTo>
                      <a:pt x="831" y="2185"/>
                    </a:lnTo>
                    <a:lnTo>
                      <a:pt x="780" y="2133"/>
                    </a:lnTo>
                    <a:lnTo>
                      <a:pt x="755" y="2108"/>
                    </a:lnTo>
                    <a:lnTo>
                      <a:pt x="728" y="2081"/>
                    </a:lnTo>
                    <a:lnTo>
                      <a:pt x="703" y="2081"/>
                    </a:lnTo>
                    <a:lnTo>
                      <a:pt x="676" y="2029"/>
                    </a:lnTo>
                    <a:lnTo>
                      <a:pt x="651" y="2029"/>
                    </a:lnTo>
                    <a:lnTo>
                      <a:pt x="651" y="2004"/>
                    </a:lnTo>
                    <a:lnTo>
                      <a:pt x="651" y="1977"/>
                    </a:lnTo>
                    <a:lnTo>
                      <a:pt x="676" y="1977"/>
                    </a:lnTo>
                    <a:lnTo>
                      <a:pt x="703" y="2004"/>
                    </a:lnTo>
                    <a:lnTo>
                      <a:pt x="755" y="2004"/>
                    </a:lnTo>
                    <a:lnTo>
                      <a:pt x="755" y="2029"/>
                    </a:lnTo>
                    <a:lnTo>
                      <a:pt x="780" y="2056"/>
                    </a:lnTo>
                    <a:lnTo>
                      <a:pt x="808" y="2081"/>
                    </a:lnTo>
                    <a:lnTo>
                      <a:pt x="860" y="2081"/>
                    </a:lnTo>
                    <a:lnTo>
                      <a:pt x="883" y="2108"/>
                    </a:lnTo>
                    <a:lnTo>
                      <a:pt x="883" y="2133"/>
                    </a:lnTo>
                    <a:lnTo>
                      <a:pt x="883" y="2185"/>
                    </a:lnTo>
                    <a:lnTo>
                      <a:pt x="912" y="2185"/>
                    </a:lnTo>
                    <a:lnTo>
                      <a:pt x="935" y="2185"/>
                    </a:lnTo>
                    <a:lnTo>
                      <a:pt x="935" y="2213"/>
                    </a:lnTo>
                    <a:lnTo>
                      <a:pt x="935" y="2236"/>
                    </a:lnTo>
                    <a:lnTo>
                      <a:pt x="987" y="2288"/>
                    </a:lnTo>
                    <a:lnTo>
                      <a:pt x="1016" y="2288"/>
                    </a:lnTo>
                    <a:lnTo>
                      <a:pt x="987" y="2265"/>
                    </a:lnTo>
                    <a:lnTo>
                      <a:pt x="964" y="2236"/>
                    </a:lnTo>
                    <a:lnTo>
                      <a:pt x="964" y="2213"/>
                    </a:lnTo>
                    <a:lnTo>
                      <a:pt x="1016" y="2213"/>
                    </a:lnTo>
                    <a:lnTo>
                      <a:pt x="964" y="2185"/>
                    </a:lnTo>
                    <a:lnTo>
                      <a:pt x="987" y="2185"/>
                    </a:lnTo>
                    <a:lnTo>
                      <a:pt x="1016" y="2213"/>
                    </a:lnTo>
                    <a:lnTo>
                      <a:pt x="1016" y="2185"/>
                    </a:lnTo>
                    <a:lnTo>
                      <a:pt x="1039" y="2185"/>
                    </a:lnTo>
                    <a:lnTo>
                      <a:pt x="1068" y="2185"/>
                    </a:lnTo>
                    <a:lnTo>
                      <a:pt x="1091" y="2160"/>
                    </a:lnTo>
                    <a:lnTo>
                      <a:pt x="1091" y="2133"/>
                    </a:lnTo>
                    <a:lnTo>
                      <a:pt x="1119" y="2133"/>
                    </a:lnTo>
                    <a:lnTo>
                      <a:pt x="1144" y="2108"/>
                    </a:lnTo>
                    <a:lnTo>
                      <a:pt x="1119" y="2081"/>
                    </a:lnTo>
                    <a:lnTo>
                      <a:pt x="1144" y="2056"/>
                    </a:lnTo>
                    <a:lnTo>
                      <a:pt x="1144" y="2029"/>
                    </a:lnTo>
                    <a:lnTo>
                      <a:pt x="1144" y="2004"/>
                    </a:lnTo>
                    <a:lnTo>
                      <a:pt x="1171" y="2004"/>
                    </a:lnTo>
                    <a:lnTo>
                      <a:pt x="1196" y="2004"/>
                    </a:lnTo>
                    <a:lnTo>
                      <a:pt x="1223" y="1952"/>
                    </a:lnTo>
                    <a:lnTo>
                      <a:pt x="1248" y="1952"/>
                    </a:lnTo>
                    <a:lnTo>
                      <a:pt x="1275" y="1952"/>
                    </a:lnTo>
                    <a:lnTo>
                      <a:pt x="1275" y="1977"/>
                    </a:lnTo>
                    <a:lnTo>
                      <a:pt x="1300" y="2004"/>
                    </a:lnTo>
                    <a:lnTo>
                      <a:pt x="1327" y="2004"/>
                    </a:lnTo>
                    <a:lnTo>
                      <a:pt x="1300" y="1977"/>
                    </a:lnTo>
                    <a:lnTo>
                      <a:pt x="1300" y="1952"/>
                    </a:lnTo>
                    <a:lnTo>
                      <a:pt x="1327" y="1952"/>
                    </a:lnTo>
                    <a:lnTo>
                      <a:pt x="1379" y="1952"/>
                    </a:lnTo>
                    <a:lnTo>
                      <a:pt x="1404" y="1925"/>
                    </a:lnTo>
                    <a:lnTo>
                      <a:pt x="1432" y="1901"/>
                    </a:lnTo>
                    <a:lnTo>
                      <a:pt x="1459" y="1872"/>
                    </a:lnTo>
                    <a:lnTo>
                      <a:pt x="1459" y="1877"/>
                    </a:lnTo>
                    <a:lnTo>
                      <a:pt x="1432" y="1901"/>
                    </a:lnTo>
                    <a:lnTo>
                      <a:pt x="1407" y="1925"/>
                    </a:lnTo>
                    <a:lnTo>
                      <a:pt x="1459" y="1925"/>
                    </a:lnTo>
                    <a:lnTo>
                      <a:pt x="1459" y="1952"/>
                    </a:lnTo>
                    <a:lnTo>
                      <a:pt x="1432" y="2004"/>
                    </a:lnTo>
                    <a:lnTo>
                      <a:pt x="1459" y="2033"/>
                    </a:lnTo>
                    <a:lnTo>
                      <a:pt x="1484" y="2056"/>
                    </a:lnTo>
                    <a:lnTo>
                      <a:pt x="1536" y="2081"/>
                    </a:lnTo>
                    <a:lnTo>
                      <a:pt x="1563" y="2133"/>
                    </a:lnTo>
                    <a:lnTo>
                      <a:pt x="1563" y="2160"/>
                    </a:lnTo>
                    <a:lnTo>
                      <a:pt x="1507" y="2160"/>
                    </a:lnTo>
                    <a:lnTo>
                      <a:pt x="1484" y="2185"/>
                    </a:lnTo>
                    <a:lnTo>
                      <a:pt x="1459" y="2185"/>
                    </a:lnTo>
                    <a:lnTo>
                      <a:pt x="1327" y="2133"/>
                    </a:lnTo>
                    <a:lnTo>
                      <a:pt x="1275" y="2133"/>
                    </a:lnTo>
                    <a:lnTo>
                      <a:pt x="1223" y="2160"/>
                    </a:lnTo>
                    <a:lnTo>
                      <a:pt x="1171" y="2185"/>
                    </a:lnTo>
                    <a:lnTo>
                      <a:pt x="1144" y="2185"/>
                    </a:lnTo>
                    <a:lnTo>
                      <a:pt x="1171" y="2213"/>
                    </a:lnTo>
                    <a:lnTo>
                      <a:pt x="1119" y="2185"/>
                    </a:lnTo>
                    <a:lnTo>
                      <a:pt x="1119" y="2213"/>
                    </a:lnTo>
                    <a:lnTo>
                      <a:pt x="1119" y="2236"/>
                    </a:lnTo>
                    <a:lnTo>
                      <a:pt x="1091" y="2288"/>
                    </a:lnTo>
                    <a:lnTo>
                      <a:pt x="1119" y="2288"/>
                    </a:lnTo>
                    <a:lnTo>
                      <a:pt x="1144" y="2317"/>
                    </a:lnTo>
                    <a:lnTo>
                      <a:pt x="1171" y="2340"/>
                    </a:lnTo>
                    <a:lnTo>
                      <a:pt x="1196" y="2369"/>
                    </a:lnTo>
                    <a:lnTo>
                      <a:pt x="1275" y="2340"/>
                    </a:lnTo>
                    <a:lnTo>
                      <a:pt x="1275" y="2369"/>
                    </a:lnTo>
                    <a:lnTo>
                      <a:pt x="1300" y="2369"/>
                    </a:lnTo>
                    <a:lnTo>
                      <a:pt x="1352" y="2369"/>
                    </a:lnTo>
                    <a:lnTo>
                      <a:pt x="1379" y="2369"/>
                    </a:lnTo>
                    <a:lnTo>
                      <a:pt x="1404" y="2392"/>
                    </a:lnTo>
                    <a:lnTo>
                      <a:pt x="1379" y="2421"/>
                    </a:lnTo>
                    <a:lnTo>
                      <a:pt x="1404" y="2444"/>
                    </a:lnTo>
                    <a:lnTo>
                      <a:pt x="1404" y="2472"/>
                    </a:lnTo>
                    <a:lnTo>
                      <a:pt x="1379" y="2495"/>
                    </a:lnTo>
                    <a:lnTo>
                      <a:pt x="1352" y="2524"/>
                    </a:lnTo>
                    <a:lnTo>
                      <a:pt x="1359" y="2620"/>
                    </a:lnTo>
                    <a:lnTo>
                      <a:pt x="1379" y="2680"/>
                    </a:lnTo>
                    <a:lnTo>
                      <a:pt x="1459" y="2756"/>
                    </a:lnTo>
                    <a:lnTo>
                      <a:pt x="1459" y="2783"/>
                    </a:lnTo>
                    <a:lnTo>
                      <a:pt x="1484" y="2889"/>
                    </a:lnTo>
                    <a:lnTo>
                      <a:pt x="1563" y="2968"/>
                    </a:lnTo>
                    <a:lnTo>
                      <a:pt x="1615" y="3096"/>
                    </a:lnTo>
                    <a:lnTo>
                      <a:pt x="1615" y="3148"/>
                    </a:lnTo>
                    <a:lnTo>
                      <a:pt x="1663" y="3173"/>
                    </a:lnTo>
                    <a:lnTo>
                      <a:pt x="1720" y="3148"/>
                    </a:lnTo>
                    <a:lnTo>
                      <a:pt x="1772" y="3125"/>
                    </a:lnTo>
                    <a:lnTo>
                      <a:pt x="1795" y="3125"/>
                    </a:lnTo>
                    <a:lnTo>
                      <a:pt x="1899" y="3096"/>
                    </a:lnTo>
                    <a:lnTo>
                      <a:pt x="1928" y="3071"/>
                    </a:lnTo>
                    <a:lnTo>
                      <a:pt x="1980" y="3044"/>
                    </a:lnTo>
                    <a:lnTo>
                      <a:pt x="2031" y="3016"/>
                    </a:lnTo>
                    <a:lnTo>
                      <a:pt x="2056" y="2993"/>
                    </a:lnTo>
                    <a:lnTo>
                      <a:pt x="2083" y="2941"/>
                    </a:lnTo>
                    <a:lnTo>
                      <a:pt x="2135" y="2912"/>
                    </a:lnTo>
                    <a:lnTo>
                      <a:pt x="2135" y="2889"/>
                    </a:lnTo>
                    <a:lnTo>
                      <a:pt x="2108" y="2860"/>
                    </a:lnTo>
                    <a:lnTo>
                      <a:pt x="2083" y="2837"/>
                    </a:lnTo>
                    <a:lnTo>
                      <a:pt x="2031" y="2812"/>
                    </a:lnTo>
                    <a:lnTo>
                      <a:pt x="2003" y="2837"/>
                    </a:lnTo>
                    <a:lnTo>
                      <a:pt x="2003" y="2860"/>
                    </a:lnTo>
                    <a:lnTo>
                      <a:pt x="2003" y="2912"/>
                    </a:lnTo>
                    <a:lnTo>
                      <a:pt x="1980" y="2860"/>
                    </a:lnTo>
                    <a:lnTo>
                      <a:pt x="2031" y="2812"/>
                    </a:lnTo>
                    <a:lnTo>
                      <a:pt x="2003" y="2783"/>
                    </a:lnTo>
                    <a:lnTo>
                      <a:pt x="1980" y="2783"/>
                    </a:lnTo>
                    <a:lnTo>
                      <a:pt x="1980" y="2812"/>
                    </a:lnTo>
                    <a:lnTo>
                      <a:pt x="1899" y="2783"/>
                    </a:lnTo>
                    <a:lnTo>
                      <a:pt x="1876" y="2783"/>
                    </a:lnTo>
                    <a:lnTo>
                      <a:pt x="1847" y="2732"/>
                    </a:lnTo>
                    <a:lnTo>
                      <a:pt x="1847" y="2705"/>
                    </a:lnTo>
                    <a:lnTo>
                      <a:pt x="1795" y="2653"/>
                    </a:lnTo>
                    <a:lnTo>
                      <a:pt x="1772" y="2601"/>
                    </a:lnTo>
                    <a:lnTo>
                      <a:pt x="1795" y="2601"/>
                    </a:lnTo>
                    <a:lnTo>
                      <a:pt x="1847" y="2601"/>
                    </a:lnTo>
                    <a:lnTo>
                      <a:pt x="1876" y="2653"/>
                    </a:lnTo>
                    <a:lnTo>
                      <a:pt x="1899" y="2680"/>
                    </a:lnTo>
                    <a:lnTo>
                      <a:pt x="1951" y="2705"/>
                    </a:lnTo>
                    <a:lnTo>
                      <a:pt x="1980" y="2732"/>
                    </a:lnTo>
                    <a:lnTo>
                      <a:pt x="2056" y="2705"/>
                    </a:lnTo>
                    <a:lnTo>
                      <a:pt x="2056" y="2756"/>
                    </a:lnTo>
                    <a:lnTo>
                      <a:pt x="2160" y="2756"/>
                    </a:lnTo>
                    <a:lnTo>
                      <a:pt x="2191" y="2772"/>
                    </a:lnTo>
                    <a:lnTo>
                      <a:pt x="2187" y="2783"/>
                    </a:lnTo>
                    <a:lnTo>
                      <a:pt x="2239" y="2783"/>
                    </a:lnTo>
                    <a:lnTo>
                      <a:pt x="2344" y="2783"/>
                    </a:lnTo>
                    <a:lnTo>
                      <a:pt x="2367" y="2783"/>
                    </a:lnTo>
                    <a:lnTo>
                      <a:pt x="2396" y="2837"/>
                    </a:lnTo>
                    <a:lnTo>
                      <a:pt x="2419" y="2860"/>
                    </a:lnTo>
                    <a:lnTo>
                      <a:pt x="2471" y="2860"/>
                    </a:lnTo>
                    <a:lnTo>
                      <a:pt x="2448" y="2889"/>
                    </a:lnTo>
                    <a:lnTo>
                      <a:pt x="2471" y="2912"/>
                    </a:lnTo>
                    <a:lnTo>
                      <a:pt x="2500" y="2912"/>
                    </a:lnTo>
                    <a:lnTo>
                      <a:pt x="2523" y="2860"/>
                    </a:lnTo>
                    <a:lnTo>
                      <a:pt x="2552" y="2912"/>
                    </a:lnTo>
                    <a:lnTo>
                      <a:pt x="2552" y="3016"/>
                    </a:lnTo>
                    <a:lnTo>
                      <a:pt x="2627" y="3173"/>
                    </a:lnTo>
                    <a:lnTo>
                      <a:pt x="2655" y="3280"/>
                    </a:lnTo>
                    <a:lnTo>
                      <a:pt x="2707" y="3328"/>
                    </a:lnTo>
                    <a:lnTo>
                      <a:pt x="2759" y="3303"/>
                    </a:lnTo>
                    <a:lnTo>
                      <a:pt x="2836" y="3173"/>
                    </a:lnTo>
                    <a:lnTo>
                      <a:pt x="2863" y="3071"/>
                    </a:lnTo>
                    <a:lnTo>
                      <a:pt x="2888" y="3044"/>
                    </a:lnTo>
                    <a:lnTo>
                      <a:pt x="2991" y="2968"/>
                    </a:lnTo>
                    <a:lnTo>
                      <a:pt x="3020" y="2912"/>
                    </a:lnTo>
                    <a:lnTo>
                      <a:pt x="3043" y="2912"/>
                    </a:lnTo>
                    <a:lnTo>
                      <a:pt x="3043" y="2860"/>
                    </a:lnTo>
                    <a:lnTo>
                      <a:pt x="3043" y="2837"/>
                    </a:lnTo>
                    <a:lnTo>
                      <a:pt x="3072" y="2812"/>
                    </a:lnTo>
                    <a:lnTo>
                      <a:pt x="3095" y="2860"/>
                    </a:lnTo>
                    <a:lnTo>
                      <a:pt x="3124" y="2889"/>
                    </a:lnTo>
                    <a:lnTo>
                      <a:pt x="3147" y="2912"/>
                    </a:lnTo>
                    <a:lnTo>
                      <a:pt x="3176" y="2968"/>
                    </a:lnTo>
                    <a:lnTo>
                      <a:pt x="3199" y="2993"/>
                    </a:lnTo>
                    <a:lnTo>
                      <a:pt x="3227" y="3071"/>
                    </a:lnTo>
                    <a:lnTo>
                      <a:pt x="3251" y="3096"/>
                    </a:lnTo>
                    <a:lnTo>
                      <a:pt x="3279" y="3125"/>
                    </a:lnTo>
                    <a:lnTo>
                      <a:pt x="3304" y="3071"/>
                    </a:lnTo>
                    <a:lnTo>
                      <a:pt x="3331" y="3096"/>
                    </a:lnTo>
                    <a:lnTo>
                      <a:pt x="3331" y="3125"/>
                    </a:lnTo>
                    <a:lnTo>
                      <a:pt x="3356" y="3177"/>
                    </a:lnTo>
                    <a:lnTo>
                      <a:pt x="3356" y="3229"/>
                    </a:lnTo>
                    <a:lnTo>
                      <a:pt x="3383" y="3280"/>
                    </a:lnTo>
                    <a:lnTo>
                      <a:pt x="3383" y="3332"/>
                    </a:lnTo>
                    <a:lnTo>
                      <a:pt x="3383" y="3355"/>
                    </a:lnTo>
                    <a:lnTo>
                      <a:pt x="3408" y="3384"/>
                    </a:lnTo>
                    <a:lnTo>
                      <a:pt x="3435" y="3436"/>
                    </a:lnTo>
                    <a:lnTo>
                      <a:pt x="3408" y="3436"/>
                    </a:lnTo>
                    <a:lnTo>
                      <a:pt x="3435" y="3488"/>
                    </a:lnTo>
                    <a:lnTo>
                      <a:pt x="3460" y="3564"/>
                    </a:lnTo>
                    <a:lnTo>
                      <a:pt x="3539" y="3616"/>
                    </a:lnTo>
                    <a:lnTo>
                      <a:pt x="3539" y="3564"/>
                    </a:lnTo>
                    <a:lnTo>
                      <a:pt x="3512" y="3540"/>
                    </a:lnTo>
                    <a:lnTo>
                      <a:pt x="3512" y="3488"/>
                    </a:lnTo>
                    <a:lnTo>
                      <a:pt x="3487" y="3436"/>
                    </a:lnTo>
                    <a:lnTo>
                      <a:pt x="3460" y="3436"/>
                    </a:lnTo>
                    <a:lnTo>
                      <a:pt x="3435" y="3384"/>
                    </a:lnTo>
                    <a:lnTo>
                      <a:pt x="3408" y="3355"/>
                    </a:lnTo>
                    <a:lnTo>
                      <a:pt x="3435" y="3280"/>
                    </a:lnTo>
                    <a:lnTo>
                      <a:pt x="3435" y="3229"/>
                    </a:lnTo>
                    <a:lnTo>
                      <a:pt x="3460" y="3229"/>
                    </a:lnTo>
                    <a:lnTo>
                      <a:pt x="3487" y="3229"/>
                    </a:lnTo>
                    <a:lnTo>
                      <a:pt x="3487" y="3280"/>
                    </a:lnTo>
                    <a:lnTo>
                      <a:pt x="3512" y="3303"/>
                    </a:lnTo>
                    <a:lnTo>
                      <a:pt x="3563" y="3332"/>
                    </a:lnTo>
                    <a:lnTo>
                      <a:pt x="3563" y="3355"/>
                    </a:lnTo>
                    <a:lnTo>
                      <a:pt x="3592" y="3355"/>
                    </a:lnTo>
                    <a:lnTo>
                      <a:pt x="3667" y="3280"/>
                    </a:lnTo>
                    <a:lnTo>
                      <a:pt x="3696" y="3280"/>
                    </a:lnTo>
                    <a:lnTo>
                      <a:pt x="3696" y="3229"/>
                    </a:lnTo>
                    <a:lnTo>
                      <a:pt x="3696" y="3148"/>
                    </a:lnTo>
                    <a:lnTo>
                      <a:pt x="3667" y="3125"/>
                    </a:lnTo>
                    <a:lnTo>
                      <a:pt x="3667" y="3096"/>
                    </a:lnTo>
                    <a:lnTo>
                      <a:pt x="3615" y="3096"/>
                    </a:lnTo>
                    <a:lnTo>
                      <a:pt x="3615" y="3071"/>
                    </a:lnTo>
                    <a:lnTo>
                      <a:pt x="3592" y="3019"/>
                    </a:lnTo>
                    <a:lnTo>
                      <a:pt x="3592" y="2968"/>
                    </a:lnTo>
                    <a:lnTo>
                      <a:pt x="3615" y="2941"/>
                    </a:lnTo>
                    <a:lnTo>
                      <a:pt x="3615" y="2912"/>
                    </a:lnTo>
                    <a:lnTo>
                      <a:pt x="3667" y="2912"/>
                    </a:lnTo>
                    <a:lnTo>
                      <a:pt x="3667" y="2968"/>
                    </a:lnTo>
                    <a:lnTo>
                      <a:pt x="3719" y="2968"/>
                    </a:lnTo>
                    <a:lnTo>
                      <a:pt x="3719" y="2912"/>
                    </a:lnTo>
                    <a:lnTo>
                      <a:pt x="3771" y="2912"/>
                    </a:lnTo>
                    <a:lnTo>
                      <a:pt x="3800" y="2889"/>
                    </a:lnTo>
                    <a:lnTo>
                      <a:pt x="3823" y="2889"/>
                    </a:lnTo>
                    <a:lnTo>
                      <a:pt x="3903" y="2864"/>
                    </a:lnTo>
                    <a:lnTo>
                      <a:pt x="3955" y="2783"/>
                    </a:lnTo>
                    <a:lnTo>
                      <a:pt x="3955" y="2756"/>
                    </a:lnTo>
                    <a:lnTo>
                      <a:pt x="3980" y="2732"/>
                    </a:lnTo>
                    <a:lnTo>
                      <a:pt x="4007" y="2680"/>
                    </a:lnTo>
                    <a:lnTo>
                      <a:pt x="4032" y="2628"/>
                    </a:lnTo>
                    <a:lnTo>
                      <a:pt x="4032" y="2601"/>
                    </a:lnTo>
                    <a:lnTo>
                      <a:pt x="3980" y="2628"/>
                    </a:lnTo>
                    <a:lnTo>
                      <a:pt x="3955" y="2601"/>
                    </a:lnTo>
                    <a:lnTo>
                      <a:pt x="3980" y="2576"/>
                    </a:lnTo>
                    <a:lnTo>
                      <a:pt x="3955" y="2524"/>
                    </a:lnTo>
                    <a:lnTo>
                      <a:pt x="4007" y="2524"/>
                    </a:lnTo>
                    <a:lnTo>
                      <a:pt x="3980" y="2501"/>
                    </a:lnTo>
                    <a:lnTo>
                      <a:pt x="3955" y="2421"/>
                    </a:lnTo>
                    <a:lnTo>
                      <a:pt x="3928" y="2396"/>
                    </a:lnTo>
                    <a:lnTo>
                      <a:pt x="3980" y="2317"/>
                    </a:lnTo>
                    <a:lnTo>
                      <a:pt x="3955" y="2288"/>
                    </a:lnTo>
                    <a:lnTo>
                      <a:pt x="3928" y="2288"/>
                    </a:lnTo>
                    <a:lnTo>
                      <a:pt x="3903" y="2317"/>
                    </a:lnTo>
                    <a:lnTo>
                      <a:pt x="3875" y="2288"/>
                    </a:lnTo>
                    <a:lnTo>
                      <a:pt x="3851" y="2265"/>
                    </a:lnTo>
                    <a:lnTo>
                      <a:pt x="3851" y="2236"/>
                    </a:lnTo>
                    <a:lnTo>
                      <a:pt x="3903" y="2213"/>
                    </a:lnTo>
                    <a:lnTo>
                      <a:pt x="3955" y="2160"/>
                    </a:lnTo>
                    <a:lnTo>
                      <a:pt x="3955" y="2213"/>
                    </a:lnTo>
                    <a:lnTo>
                      <a:pt x="4007" y="2213"/>
                    </a:lnTo>
                    <a:lnTo>
                      <a:pt x="4032" y="2188"/>
                    </a:lnTo>
                    <a:lnTo>
                      <a:pt x="4072" y="2148"/>
                    </a:lnTo>
                    <a:lnTo>
                      <a:pt x="4059" y="2188"/>
                    </a:lnTo>
                    <a:lnTo>
                      <a:pt x="4084" y="2213"/>
                    </a:lnTo>
                    <a:lnTo>
                      <a:pt x="4084" y="2265"/>
                    </a:lnTo>
                    <a:lnTo>
                      <a:pt x="4111" y="2265"/>
                    </a:lnTo>
                    <a:lnTo>
                      <a:pt x="4136" y="2288"/>
                    </a:lnTo>
                    <a:lnTo>
                      <a:pt x="4162" y="2344"/>
                    </a:lnTo>
                    <a:lnTo>
                      <a:pt x="4162" y="2396"/>
                    </a:lnTo>
                    <a:lnTo>
                      <a:pt x="4216" y="2396"/>
                    </a:lnTo>
                    <a:lnTo>
                      <a:pt x="4216" y="2344"/>
                    </a:lnTo>
                    <a:lnTo>
                      <a:pt x="4187" y="2288"/>
                    </a:lnTo>
                    <a:lnTo>
                      <a:pt x="4162" y="2236"/>
                    </a:lnTo>
                    <a:lnTo>
                      <a:pt x="4136" y="2213"/>
                    </a:lnTo>
                    <a:lnTo>
                      <a:pt x="4162" y="2188"/>
                    </a:lnTo>
                    <a:lnTo>
                      <a:pt x="4187" y="2133"/>
                    </a:lnTo>
                    <a:lnTo>
                      <a:pt x="4187" y="2081"/>
                    </a:lnTo>
                    <a:lnTo>
                      <a:pt x="4216" y="2033"/>
                    </a:lnTo>
                    <a:lnTo>
                      <a:pt x="4228" y="2016"/>
                    </a:lnTo>
                    <a:lnTo>
                      <a:pt x="4239" y="2033"/>
                    </a:lnTo>
                    <a:lnTo>
                      <a:pt x="4268" y="2056"/>
                    </a:lnTo>
                    <a:lnTo>
                      <a:pt x="4291" y="2033"/>
                    </a:lnTo>
                    <a:lnTo>
                      <a:pt x="4395" y="1901"/>
                    </a:lnTo>
                    <a:lnTo>
                      <a:pt x="4424" y="1561"/>
                    </a:lnTo>
                    <a:lnTo>
                      <a:pt x="4395" y="1536"/>
                    </a:lnTo>
                    <a:lnTo>
                      <a:pt x="4395" y="1457"/>
                    </a:lnTo>
                    <a:lnTo>
                      <a:pt x="4347" y="1457"/>
                    </a:lnTo>
                    <a:lnTo>
                      <a:pt x="4239" y="1484"/>
                    </a:lnTo>
                    <a:lnTo>
                      <a:pt x="4239" y="1432"/>
                    </a:lnTo>
                    <a:lnTo>
                      <a:pt x="4187" y="1405"/>
                    </a:lnTo>
                    <a:lnTo>
                      <a:pt x="4239" y="1248"/>
                    </a:lnTo>
                    <a:lnTo>
                      <a:pt x="4239" y="1173"/>
                    </a:lnTo>
                    <a:lnTo>
                      <a:pt x="4291" y="1121"/>
                    </a:lnTo>
                    <a:lnTo>
                      <a:pt x="4395" y="1093"/>
                    </a:lnTo>
                    <a:lnTo>
                      <a:pt x="4447" y="1069"/>
                    </a:lnTo>
                    <a:lnTo>
                      <a:pt x="4527" y="1041"/>
                    </a:lnTo>
                    <a:lnTo>
                      <a:pt x="4504" y="1093"/>
                    </a:lnTo>
                    <a:lnTo>
                      <a:pt x="4552" y="1069"/>
                    </a:lnTo>
                    <a:lnTo>
                      <a:pt x="4604" y="1041"/>
                    </a:lnTo>
                    <a:lnTo>
                      <a:pt x="4579" y="1018"/>
                    </a:lnTo>
                    <a:lnTo>
                      <a:pt x="4604" y="885"/>
                    </a:lnTo>
                    <a:lnTo>
                      <a:pt x="4660" y="860"/>
                    </a:lnTo>
                    <a:lnTo>
                      <a:pt x="4683" y="912"/>
                    </a:lnTo>
                    <a:lnTo>
                      <a:pt x="4735" y="808"/>
                    </a:lnTo>
                    <a:lnTo>
                      <a:pt x="4760" y="885"/>
                    </a:lnTo>
                    <a:lnTo>
                      <a:pt x="4786" y="912"/>
                    </a:lnTo>
                    <a:lnTo>
                      <a:pt x="4760" y="966"/>
                    </a:lnTo>
                    <a:lnTo>
                      <a:pt x="4735" y="1093"/>
                    </a:lnTo>
                    <a:lnTo>
                      <a:pt x="4712" y="1144"/>
                    </a:lnTo>
                    <a:lnTo>
                      <a:pt x="4712" y="1248"/>
                    </a:lnTo>
                    <a:lnTo>
                      <a:pt x="4760" y="1432"/>
                    </a:lnTo>
                    <a:lnTo>
                      <a:pt x="4815" y="1457"/>
                    </a:lnTo>
                    <a:lnTo>
                      <a:pt x="4840" y="1561"/>
                    </a:lnTo>
                    <a:lnTo>
                      <a:pt x="4892" y="1457"/>
                    </a:lnTo>
                    <a:lnTo>
                      <a:pt x="4892" y="1405"/>
                    </a:lnTo>
                    <a:lnTo>
                      <a:pt x="4919" y="1405"/>
                    </a:lnTo>
                    <a:lnTo>
                      <a:pt x="4892" y="1354"/>
                    </a:lnTo>
                    <a:lnTo>
                      <a:pt x="4919" y="1302"/>
                    </a:lnTo>
                    <a:lnTo>
                      <a:pt x="4867" y="1248"/>
                    </a:lnTo>
                    <a:lnTo>
                      <a:pt x="4892" y="1196"/>
                    </a:lnTo>
                    <a:lnTo>
                      <a:pt x="4867" y="1093"/>
                    </a:lnTo>
                    <a:lnTo>
                      <a:pt x="4840" y="1121"/>
                    </a:lnTo>
                    <a:lnTo>
                      <a:pt x="4815" y="989"/>
                    </a:lnTo>
                    <a:lnTo>
                      <a:pt x="4815" y="966"/>
                    </a:lnTo>
                    <a:lnTo>
                      <a:pt x="4892" y="912"/>
                    </a:lnTo>
                    <a:lnTo>
                      <a:pt x="4944" y="885"/>
                    </a:lnTo>
                    <a:lnTo>
                      <a:pt x="4996" y="966"/>
                    </a:lnTo>
                    <a:lnTo>
                      <a:pt x="5023" y="730"/>
                    </a:lnTo>
                    <a:lnTo>
                      <a:pt x="5128" y="678"/>
                    </a:lnTo>
                    <a:lnTo>
                      <a:pt x="5074" y="653"/>
                    </a:lnTo>
                    <a:lnTo>
                      <a:pt x="5074" y="624"/>
                    </a:lnTo>
                    <a:lnTo>
                      <a:pt x="5023" y="624"/>
                    </a:lnTo>
                    <a:lnTo>
                      <a:pt x="4971" y="572"/>
                    </a:lnTo>
                    <a:lnTo>
                      <a:pt x="4919" y="521"/>
                    </a:lnTo>
                    <a:lnTo>
                      <a:pt x="4971" y="521"/>
                    </a:lnTo>
                    <a:lnTo>
                      <a:pt x="5048" y="498"/>
                    </a:lnTo>
                    <a:lnTo>
                      <a:pt x="4996" y="469"/>
                    </a:lnTo>
                    <a:lnTo>
                      <a:pt x="4996" y="394"/>
                    </a:lnTo>
                    <a:lnTo>
                      <a:pt x="5023" y="417"/>
                    </a:lnTo>
                    <a:lnTo>
                      <a:pt x="5128" y="446"/>
                    </a:lnTo>
                    <a:lnTo>
                      <a:pt x="5180" y="469"/>
                    </a:lnTo>
                    <a:lnTo>
                      <a:pt x="5255" y="469"/>
                    </a:lnTo>
                    <a:lnTo>
                      <a:pt x="5307" y="417"/>
                    </a:lnTo>
                    <a:lnTo>
                      <a:pt x="5203" y="394"/>
                    </a:lnTo>
                  </a:path>
                </a:pathLst>
              </a:custGeom>
              <a:grpFill/>
              <a:ln w="9525" cmpd="sng">
                <a:solidFill>
                  <a:schemeClr val="accent6"/>
                </a:solidFill>
                <a:prstDash val="solid"/>
                <a:round/>
                <a:headEnd/>
                <a:tailEnd/>
              </a:ln>
            </p:spPr>
            <p:txBody>
              <a:bodyPr/>
              <a:lstStyle/>
              <a:p>
                <a:endParaRPr lang="en-US" sz="1400">
                  <a:latin typeface="+mn-lt"/>
                </a:endParaRPr>
              </a:p>
            </p:txBody>
          </p:sp>
          <p:sp>
            <p:nvSpPr>
              <p:cNvPr id="82" name="Freeform 77"/>
              <p:cNvSpPr>
                <a:spLocks/>
              </p:cNvSpPr>
              <p:nvPr/>
            </p:nvSpPr>
            <p:spPr bwMode="gray">
              <a:xfrm>
                <a:off x="4032250" y="2969257"/>
                <a:ext cx="63500" cy="60325"/>
              </a:xfrm>
              <a:custGeom>
                <a:avLst/>
                <a:gdLst>
                  <a:gd name="T0" fmla="*/ 0 w 81"/>
                  <a:gd name="T1" fmla="*/ 52 h 75"/>
                  <a:gd name="T2" fmla="*/ 29 w 81"/>
                  <a:gd name="T3" fmla="*/ 75 h 75"/>
                  <a:gd name="T4" fmla="*/ 81 w 81"/>
                  <a:gd name="T5" fmla="*/ 75 h 75"/>
                  <a:gd name="T6" fmla="*/ 81 w 81"/>
                  <a:gd name="T7" fmla="*/ 52 h 75"/>
                  <a:gd name="T8" fmla="*/ 52 w 81"/>
                  <a:gd name="T9" fmla="*/ 23 h 75"/>
                  <a:gd name="T10" fmla="*/ 0 w 81"/>
                  <a:gd name="T11" fmla="*/ 0 h 75"/>
                  <a:gd name="T12" fmla="*/ 0 w 81"/>
                  <a:gd name="T13" fmla="*/ 52 h 75"/>
                  <a:gd name="T14" fmla="*/ 0 60000 65536"/>
                  <a:gd name="T15" fmla="*/ 0 60000 65536"/>
                  <a:gd name="T16" fmla="*/ 0 60000 65536"/>
                  <a:gd name="T17" fmla="*/ 0 60000 65536"/>
                  <a:gd name="T18" fmla="*/ 0 60000 65536"/>
                  <a:gd name="T19" fmla="*/ 0 60000 65536"/>
                  <a:gd name="T20" fmla="*/ 0 60000 65536"/>
                  <a:gd name="T21" fmla="*/ 0 w 81"/>
                  <a:gd name="T22" fmla="*/ 0 h 75"/>
                  <a:gd name="T23" fmla="*/ 81 w 81"/>
                  <a:gd name="T24" fmla="*/ 75 h 7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81" h="75">
                    <a:moveTo>
                      <a:pt x="0" y="52"/>
                    </a:moveTo>
                    <a:lnTo>
                      <a:pt x="29" y="75"/>
                    </a:lnTo>
                    <a:lnTo>
                      <a:pt x="81" y="75"/>
                    </a:lnTo>
                    <a:lnTo>
                      <a:pt x="81" y="52"/>
                    </a:lnTo>
                    <a:lnTo>
                      <a:pt x="52" y="23"/>
                    </a:lnTo>
                    <a:lnTo>
                      <a:pt x="0" y="0"/>
                    </a:lnTo>
                    <a:lnTo>
                      <a:pt x="0" y="52"/>
                    </a:lnTo>
                  </a:path>
                </a:pathLst>
              </a:custGeom>
              <a:grpFill/>
              <a:ln w="9525" cmpd="sng">
                <a:solidFill>
                  <a:schemeClr val="accent6"/>
                </a:solidFill>
                <a:prstDash val="solid"/>
                <a:round/>
                <a:headEnd/>
                <a:tailEnd/>
              </a:ln>
            </p:spPr>
            <p:txBody>
              <a:bodyPr/>
              <a:lstStyle/>
              <a:p>
                <a:endParaRPr lang="en-US" sz="1400">
                  <a:latin typeface="+mn-lt"/>
                </a:endParaRPr>
              </a:p>
            </p:txBody>
          </p:sp>
          <p:sp>
            <p:nvSpPr>
              <p:cNvPr id="83" name="Freeform 78"/>
              <p:cNvSpPr>
                <a:spLocks/>
              </p:cNvSpPr>
              <p:nvPr/>
            </p:nvSpPr>
            <p:spPr bwMode="gray">
              <a:xfrm>
                <a:off x="3703637" y="2823207"/>
                <a:ext cx="41275" cy="41275"/>
              </a:xfrm>
              <a:custGeom>
                <a:avLst/>
                <a:gdLst>
                  <a:gd name="T0" fmla="*/ 27 w 52"/>
                  <a:gd name="T1" fmla="*/ 52 h 52"/>
                  <a:gd name="T2" fmla="*/ 52 w 52"/>
                  <a:gd name="T3" fmla="*/ 52 h 52"/>
                  <a:gd name="T4" fmla="*/ 52 w 52"/>
                  <a:gd name="T5" fmla="*/ 27 h 52"/>
                  <a:gd name="T6" fmla="*/ 52 w 52"/>
                  <a:gd name="T7" fmla="*/ 0 h 52"/>
                  <a:gd name="T8" fmla="*/ 0 w 52"/>
                  <a:gd name="T9" fmla="*/ 27 h 52"/>
                  <a:gd name="T10" fmla="*/ 27 w 52"/>
                  <a:gd name="T11" fmla="*/ 52 h 52"/>
                  <a:gd name="T12" fmla="*/ 0 60000 65536"/>
                  <a:gd name="T13" fmla="*/ 0 60000 65536"/>
                  <a:gd name="T14" fmla="*/ 0 60000 65536"/>
                  <a:gd name="T15" fmla="*/ 0 60000 65536"/>
                  <a:gd name="T16" fmla="*/ 0 60000 65536"/>
                  <a:gd name="T17" fmla="*/ 0 60000 65536"/>
                  <a:gd name="T18" fmla="*/ 0 w 52"/>
                  <a:gd name="T19" fmla="*/ 0 h 52"/>
                  <a:gd name="T20" fmla="*/ 52 w 52"/>
                  <a:gd name="T21" fmla="*/ 52 h 52"/>
                </a:gdLst>
                <a:ahLst/>
                <a:cxnLst>
                  <a:cxn ang="T12">
                    <a:pos x="T0" y="T1"/>
                  </a:cxn>
                  <a:cxn ang="T13">
                    <a:pos x="T2" y="T3"/>
                  </a:cxn>
                  <a:cxn ang="T14">
                    <a:pos x="T4" y="T5"/>
                  </a:cxn>
                  <a:cxn ang="T15">
                    <a:pos x="T6" y="T7"/>
                  </a:cxn>
                  <a:cxn ang="T16">
                    <a:pos x="T8" y="T9"/>
                  </a:cxn>
                  <a:cxn ang="T17">
                    <a:pos x="T10" y="T11"/>
                  </a:cxn>
                </a:cxnLst>
                <a:rect l="T18" t="T19" r="T20" b="T21"/>
                <a:pathLst>
                  <a:path w="52" h="52">
                    <a:moveTo>
                      <a:pt x="27" y="52"/>
                    </a:moveTo>
                    <a:lnTo>
                      <a:pt x="52" y="52"/>
                    </a:lnTo>
                    <a:lnTo>
                      <a:pt x="52" y="27"/>
                    </a:lnTo>
                    <a:lnTo>
                      <a:pt x="52" y="0"/>
                    </a:lnTo>
                    <a:lnTo>
                      <a:pt x="0" y="27"/>
                    </a:lnTo>
                    <a:lnTo>
                      <a:pt x="27" y="52"/>
                    </a:lnTo>
                  </a:path>
                </a:pathLst>
              </a:custGeom>
              <a:grpFill/>
              <a:ln w="9525" cmpd="sng">
                <a:solidFill>
                  <a:schemeClr val="accent6"/>
                </a:solidFill>
                <a:prstDash val="solid"/>
                <a:round/>
                <a:headEnd/>
                <a:tailEnd/>
              </a:ln>
            </p:spPr>
            <p:txBody>
              <a:bodyPr/>
              <a:lstStyle/>
              <a:p>
                <a:endParaRPr lang="en-US" sz="1400">
                  <a:latin typeface="+mn-lt"/>
                </a:endParaRPr>
              </a:p>
            </p:txBody>
          </p:sp>
          <p:sp>
            <p:nvSpPr>
              <p:cNvPr id="84" name="Freeform 79"/>
              <p:cNvSpPr>
                <a:spLocks/>
              </p:cNvSpPr>
              <p:nvPr/>
            </p:nvSpPr>
            <p:spPr bwMode="gray">
              <a:xfrm>
                <a:off x="7462839" y="5487032"/>
                <a:ext cx="247650" cy="206375"/>
              </a:xfrm>
              <a:custGeom>
                <a:avLst/>
                <a:gdLst>
                  <a:gd name="T0" fmla="*/ 40 w 156"/>
                  <a:gd name="T1" fmla="*/ 118 h 130"/>
                  <a:gd name="T2" fmla="*/ 26 w 156"/>
                  <a:gd name="T3" fmla="*/ 118 h 130"/>
                  <a:gd name="T4" fmla="*/ 14 w 156"/>
                  <a:gd name="T5" fmla="*/ 104 h 130"/>
                  <a:gd name="T6" fmla="*/ 0 w 156"/>
                  <a:gd name="T7" fmla="*/ 104 h 130"/>
                  <a:gd name="T8" fmla="*/ 0 w 156"/>
                  <a:gd name="T9" fmla="*/ 92 h 130"/>
                  <a:gd name="T10" fmla="*/ 26 w 156"/>
                  <a:gd name="T11" fmla="*/ 78 h 130"/>
                  <a:gd name="T12" fmla="*/ 26 w 156"/>
                  <a:gd name="T13" fmla="*/ 66 h 130"/>
                  <a:gd name="T14" fmla="*/ 52 w 156"/>
                  <a:gd name="T15" fmla="*/ 66 h 130"/>
                  <a:gd name="T16" fmla="*/ 78 w 156"/>
                  <a:gd name="T17" fmla="*/ 52 h 130"/>
                  <a:gd name="T18" fmla="*/ 78 w 156"/>
                  <a:gd name="T19" fmla="*/ 40 h 130"/>
                  <a:gd name="T20" fmla="*/ 92 w 156"/>
                  <a:gd name="T21" fmla="*/ 26 h 130"/>
                  <a:gd name="T22" fmla="*/ 130 w 156"/>
                  <a:gd name="T23" fmla="*/ 14 h 130"/>
                  <a:gd name="T24" fmla="*/ 130 w 156"/>
                  <a:gd name="T25" fmla="*/ 0 h 130"/>
                  <a:gd name="T26" fmla="*/ 144 w 156"/>
                  <a:gd name="T27" fmla="*/ 0 h 130"/>
                  <a:gd name="T28" fmla="*/ 144 w 156"/>
                  <a:gd name="T29" fmla="*/ 26 h 130"/>
                  <a:gd name="T30" fmla="*/ 156 w 156"/>
                  <a:gd name="T31" fmla="*/ 26 h 130"/>
                  <a:gd name="T32" fmla="*/ 144 w 156"/>
                  <a:gd name="T33" fmla="*/ 52 h 130"/>
                  <a:gd name="T34" fmla="*/ 130 w 156"/>
                  <a:gd name="T35" fmla="*/ 52 h 130"/>
                  <a:gd name="T36" fmla="*/ 118 w 156"/>
                  <a:gd name="T37" fmla="*/ 66 h 130"/>
                  <a:gd name="T38" fmla="*/ 104 w 156"/>
                  <a:gd name="T39" fmla="*/ 78 h 130"/>
                  <a:gd name="T40" fmla="*/ 92 w 156"/>
                  <a:gd name="T41" fmla="*/ 66 h 130"/>
                  <a:gd name="T42" fmla="*/ 92 w 156"/>
                  <a:gd name="T43" fmla="*/ 78 h 130"/>
                  <a:gd name="T44" fmla="*/ 78 w 156"/>
                  <a:gd name="T45" fmla="*/ 92 h 130"/>
                  <a:gd name="T46" fmla="*/ 78 w 156"/>
                  <a:gd name="T47" fmla="*/ 104 h 130"/>
                  <a:gd name="T48" fmla="*/ 66 w 156"/>
                  <a:gd name="T49" fmla="*/ 118 h 130"/>
                  <a:gd name="T50" fmla="*/ 52 w 156"/>
                  <a:gd name="T51" fmla="*/ 118 h 130"/>
                  <a:gd name="T52" fmla="*/ 52 w 156"/>
                  <a:gd name="T53" fmla="*/ 130 h 130"/>
                  <a:gd name="T54" fmla="*/ 40 w 156"/>
                  <a:gd name="T55" fmla="*/ 118 h 130"/>
                  <a:gd name="T56" fmla="*/ 40 w 156"/>
                  <a:gd name="T57" fmla="*/ 118 h 130"/>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156"/>
                  <a:gd name="T88" fmla="*/ 0 h 130"/>
                  <a:gd name="T89" fmla="*/ 156 w 156"/>
                  <a:gd name="T90" fmla="*/ 130 h 130"/>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156" h="130">
                    <a:moveTo>
                      <a:pt x="40" y="118"/>
                    </a:moveTo>
                    <a:lnTo>
                      <a:pt x="26" y="118"/>
                    </a:lnTo>
                    <a:lnTo>
                      <a:pt x="14" y="104"/>
                    </a:lnTo>
                    <a:lnTo>
                      <a:pt x="0" y="104"/>
                    </a:lnTo>
                    <a:lnTo>
                      <a:pt x="0" y="92"/>
                    </a:lnTo>
                    <a:lnTo>
                      <a:pt x="26" y="78"/>
                    </a:lnTo>
                    <a:lnTo>
                      <a:pt x="26" y="66"/>
                    </a:lnTo>
                    <a:lnTo>
                      <a:pt x="52" y="66"/>
                    </a:lnTo>
                    <a:lnTo>
                      <a:pt x="78" y="52"/>
                    </a:lnTo>
                    <a:lnTo>
                      <a:pt x="78" y="40"/>
                    </a:lnTo>
                    <a:lnTo>
                      <a:pt x="92" y="26"/>
                    </a:lnTo>
                    <a:lnTo>
                      <a:pt x="130" y="14"/>
                    </a:lnTo>
                    <a:lnTo>
                      <a:pt x="130" y="0"/>
                    </a:lnTo>
                    <a:lnTo>
                      <a:pt x="144" y="0"/>
                    </a:lnTo>
                    <a:lnTo>
                      <a:pt x="144" y="26"/>
                    </a:lnTo>
                    <a:lnTo>
                      <a:pt x="156" y="26"/>
                    </a:lnTo>
                    <a:lnTo>
                      <a:pt x="144" y="52"/>
                    </a:lnTo>
                    <a:lnTo>
                      <a:pt x="130" y="52"/>
                    </a:lnTo>
                    <a:lnTo>
                      <a:pt x="118" y="66"/>
                    </a:lnTo>
                    <a:lnTo>
                      <a:pt x="104" y="78"/>
                    </a:lnTo>
                    <a:lnTo>
                      <a:pt x="92" y="66"/>
                    </a:lnTo>
                    <a:lnTo>
                      <a:pt x="92" y="78"/>
                    </a:lnTo>
                    <a:lnTo>
                      <a:pt x="78" y="92"/>
                    </a:lnTo>
                    <a:lnTo>
                      <a:pt x="78" y="104"/>
                    </a:lnTo>
                    <a:lnTo>
                      <a:pt x="66" y="118"/>
                    </a:lnTo>
                    <a:lnTo>
                      <a:pt x="52" y="118"/>
                    </a:lnTo>
                    <a:lnTo>
                      <a:pt x="52" y="130"/>
                    </a:lnTo>
                    <a:lnTo>
                      <a:pt x="40" y="118"/>
                    </a:lnTo>
                    <a:close/>
                  </a:path>
                </a:pathLst>
              </a:custGeom>
              <a:grpFill/>
              <a:ln w="9525" cmpd="sng">
                <a:solidFill>
                  <a:schemeClr val="accent6"/>
                </a:solidFill>
                <a:prstDash val="solid"/>
                <a:round/>
                <a:headEnd/>
                <a:tailEnd/>
              </a:ln>
            </p:spPr>
            <p:txBody>
              <a:bodyPr/>
              <a:lstStyle/>
              <a:p>
                <a:endParaRPr lang="en-US" sz="1400">
                  <a:latin typeface="+mn-lt"/>
                </a:endParaRPr>
              </a:p>
            </p:txBody>
          </p:sp>
          <p:sp>
            <p:nvSpPr>
              <p:cNvPr id="85" name="Freeform 80"/>
              <p:cNvSpPr>
                <a:spLocks/>
              </p:cNvSpPr>
              <p:nvPr/>
            </p:nvSpPr>
            <p:spPr bwMode="gray">
              <a:xfrm>
                <a:off x="7710489" y="5321932"/>
                <a:ext cx="104775" cy="206375"/>
              </a:xfrm>
              <a:custGeom>
                <a:avLst/>
                <a:gdLst>
                  <a:gd name="T0" fmla="*/ 0 w 66"/>
                  <a:gd name="T1" fmla="*/ 130 h 130"/>
                  <a:gd name="T2" fmla="*/ 0 w 66"/>
                  <a:gd name="T3" fmla="*/ 118 h 130"/>
                  <a:gd name="T4" fmla="*/ 0 w 66"/>
                  <a:gd name="T5" fmla="*/ 104 h 130"/>
                  <a:gd name="T6" fmla="*/ 14 w 66"/>
                  <a:gd name="T7" fmla="*/ 92 h 130"/>
                  <a:gd name="T8" fmla="*/ 26 w 66"/>
                  <a:gd name="T9" fmla="*/ 78 h 130"/>
                  <a:gd name="T10" fmla="*/ 26 w 66"/>
                  <a:gd name="T11" fmla="*/ 66 h 130"/>
                  <a:gd name="T12" fmla="*/ 26 w 66"/>
                  <a:gd name="T13" fmla="*/ 40 h 130"/>
                  <a:gd name="T14" fmla="*/ 26 w 66"/>
                  <a:gd name="T15" fmla="*/ 26 h 130"/>
                  <a:gd name="T16" fmla="*/ 14 w 66"/>
                  <a:gd name="T17" fmla="*/ 0 h 130"/>
                  <a:gd name="T18" fmla="*/ 26 w 66"/>
                  <a:gd name="T19" fmla="*/ 26 h 130"/>
                  <a:gd name="T20" fmla="*/ 40 w 66"/>
                  <a:gd name="T21" fmla="*/ 52 h 130"/>
                  <a:gd name="T22" fmla="*/ 52 w 66"/>
                  <a:gd name="T23" fmla="*/ 66 h 130"/>
                  <a:gd name="T24" fmla="*/ 66 w 66"/>
                  <a:gd name="T25" fmla="*/ 78 h 130"/>
                  <a:gd name="T26" fmla="*/ 66 w 66"/>
                  <a:gd name="T27" fmla="*/ 66 h 130"/>
                  <a:gd name="T28" fmla="*/ 66 w 66"/>
                  <a:gd name="T29" fmla="*/ 78 h 130"/>
                  <a:gd name="T30" fmla="*/ 66 w 66"/>
                  <a:gd name="T31" fmla="*/ 92 h 130"/>
                  <a:gd name="T32" fmla="*/ 52 w 66"/>
                  <a:gd name="T33" fmla="*/ 104 h 130"/>
                  <a:gd name="T34" fmla="*/ 40 w 66"/>
                  <a:gd name="T35" fmla="*/ 118 h 130"/>
                  <a:gd name="T36" fmla="*/ 26 w 66"/>
                  <a:gd name="T37" fmla="*/ 130 h 130"/>
                  <a:gd name="T38" fmla="*/ 14 w 66"/>
                  <a:gd name="T39" fmla="*/ 130 h 130"/>
                  <a:gd name="T40" fmla="*/ 0 w 66"/>
                  <a:gd name="T41" fmla="*/ 130 h 130"/>
                  <a:gd name="T42" fmla="*/ 0 w 66"/>
                  <a:gd name="T43" fmla="*/ 130 h 130"/>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66"/>
                  <a:gd name="T67" fmla="*/ 0 h 130"/>
                  <a:gd name="T68" fmla="*/ 66 w 66"/>
                  <a:gd name="T69" fmla="*/ 130 h 130"/>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66" h="130">
                    <a:moveTo>
                      <a:pt x="0" y="130"/>
                    </a:moveTo>
                    <a:lnTo>
                      <a:pt x="0" y="118"/>
                    </a:lnTo>
                    <a:lnTo>
                      <a:pt x="0" y="104"/>
                    </a:lnTo>
                    <a:lnTo>
                      <a:pt x="14" y="92"/>
                    </a:lnTo>
                    <a:lnTo>
                      <a:pt x="26" y="78"/>
                    </a:lnTo>
                    <a:lnTo>
                      <a:pt x="26" y="66"/>
                    </a:lnTo>
                    <a:lnTo>
                      <a:pt x="26" y="40"/>
                    </a:lnTo>
                    <a:lnTo>
                      <a:pt x="26" y="26"/>
                    </a:lnTo>
                    <a:lnTo>
                      <a:pt x="14" y="0"/>
                    </a:lnTo>
                    <a:lnTo>
                      <a:pt x="26" y="26"/>
                    </a:lnTo>
                    <a:lnTo>
                      <a:pt x="40" y="52"/>
                    </a:lnTo>
                    <a:lnTo>
                      <a:pt x="52" y="66"/>
                    </a:lnTo>
                    <a:lnTo>
                      <a:pt x="66" y="78"/>
                    </a:lnTo>
                    <a:lnTo>
                      <a:pt x="66" y="66"/>
                    </a:lnTo>
                    <a:lnTo>
                      <a:pt x="66" y="78"/>
                    </a:lnTo>
                    <a:lnTo>
                      <a:pt x="66" y="92"/>
                    </a:lnTo>
                    <a:lnTo>
                      <a:pt x="52" y="104"/>
                    </a:lnTo>
                    <a:lnTo>
                      <a:pt x="40" y="118"/>
                    </a:lnTo>
                    <a:lnTo>
                      <a:pt x="26" y="130"/>
                    </a:lnTo>
                    <a:lnTo>
                      <a:pt x="14" y="130"/>
                    </a:lnTo>
                    <a:lnTo>
                      <a:pt x="0" y="130"/>
                    </a:lnTo>
                    <a:close/>
                  </a:path>
                </a:pathLst>
              </a:custGeom>
              <a:grpFill/>
              <a:ln w="9525" cmpd="sng">
                <a:solidFill>
                  <a:schemeClr val="accent6"/>
                </a:solidFill>
                <a:prstDash val="solid"/>
                <a:round/>
                <a:headEnd/>
                <a:tailEnd/>
              </a:ln>
            </p:spPr>
            <p:txBody>
              <a:bodyPr/>
              <a:lstStyle/>
              <a:p>
                <a:endParaRPr lang="en-US" sz="1400">
                  <a:latin typeface="+mn-lt"/>
                </a:endParaRPr>
              </a:p>
            </p:txBody>
          </p:sp>
          <p:sp>
            <p:nvSpPr>
              <p:cNvPr id="86" name="Freeform 81"/>
              <p:cNvSpPr>
                <a:spLocks/>
              </p:cNvSpPr>
              <p:nvPr/>
            </p:nvSpPr>
            <p:spPr bwMode="gray">
              <a:xfrm>
                <a:off x="7235826" y="4371020"/>
                <a:ext cx="125413" cy="42863"/>
              </a:xfrm>
              <a:custGeom>
                <a:avLst/>
                <a:gdLst>
                  <a:gd name="T0" fmla="*/ 128 w 157"/>
                  <a:gd name="T1" fmla="*/ 0 h 53"/>
                  <a:gd name="T2" fmla="*/ 103 w 157"/>
                  <a:gd name="T3" fmla="*/ 0 h 53"/>
                  <a:gd name="T4" fmla="*/ 76 w 157"/>
                  <a:gd name="T5" fmla="*/ 29 h 53"/>
                  <a:gd name="T6" fmla="*/ 51 w 157"/>
                  <a:gd name="T7" fmla="*/ 29 h 53"/>
                  <a:gd name="T8" fmla="*/ 51 w 157"/>
                  <a:gd name="T9" fmla="*/ 0 h 53"/>
                  <a:gd name="T10" fmla="*/ 25 w 157"/>
                  <a:gd name="T11" fmla="*/ 0 h 53"/>
                  <a:gd name="T12" fmla="*/ 0 w 157"/>
                  <a:gd name="T13" fmla="*/ 0 h 53"/>
                  <a:gd name="T14" fmla="*/ 0 w 157"/>
                  <a:gd name="T15" fmla="*/ 29 h 53"/>
                  <a:gd name="T16" fmla="*/ 25 w 157"/>
                  <a:gd name="T17" fmla="*/ 53 h 53"/>
                  <a:gd name="T18" fmla="*/ 51 w 157"/>
                  <a:gd name="T19" fmla="*/ 53 h 53"/>
                  <a:gd name="T20" fmla="*/ 76 w 157"/>
                  <a:gd name="T21" fmla="*/ 53 h 53"/>
                  <a:gd name="T22" fmla="*/ 103 w 157"/>
                  <a:gd name="T23" fmla="*/ 53 h 53"/>
                  <a:gd name="T24" fmla="*/ 128 w 157"/>
                  <a:gd name="T25" fmla="*/ 53 h 53"/>
                  <a:gd name="T26" fmla="*/ 157 w 157"/>
                  <a:gd name="T27" fmla="*/ 29 h 53"/>
                  <a:gd name="T28" fmla="*/ 128 w 157"/>
                  <a:gd name="T29" fmla="*/ 0 h 53"/>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57"/>
                  <a:gd name="T46" fmla="*/ 0 h 53"/>
                  <a:gd name="T47" fmla="*/ 157 w 157"/>
                  <a:gd name="T48" fmla="*/ 53 h 53"/>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57" h="53">
                    <a:moveTo>
                      <a:pt x="128" y="0"/>
                    </a:moveTo>
                    <a:lnTo>
                      <a:pt x="103" y="0"/>
                    </a:lnTo>
                    <a:lnTo>
                      <a:pt x="76" y="29"/>
                    </a:lnTo>
                    <a:lnTo>
                      <a:pt x="51" y="29"/>
                    </a:lnTo>
                    <a:lnTo>
                      <a:pt x="51" y="0"/>
                    </a:lnTo>
                    <a:lnTo>
                      <a:pt x="25" y="0"/>
                    </a:lnTo>
                    <a:lnTo>
                      <a:pt x="0" y="0"/>
                    </a:lnTo>
                    <a:lnTo>
                      <a:pt x="0" y="29"/>
                    </a:lnTo>
                    <a:lnTo>
                      <a:pt x="25" y="53"/>
                    </a:lnTo>
                    <a:lnTo>
                      <a:pt x="51" y="53"/>
                    </a:lnTo>
                    <a:lnTo>
                      <a:pt x="76" y="53"/>
                    </a:lnTo>
                    <a:lnTo>
                      <a:pt x="103" y="53"/>
                    </a:lnTo>
                    <a:lnTo>
                      <a:pt x="128" y="53"/>
                    </a:lnTo>
                    <a:lnTo>
                      <a:pt x="157" y="29"/>
                    </a:lnTo>
                    <a:lnTo>
                      <a:pt x="128" y="0"/>
                    </a:lnTo>
                    <a:close/>
                  </a:path>
                </a:pathLst>
              </a:custGeom>
              <a:grpFill/>
              <a:ln w="9525" cmpd="sng">
                <a:solidFill>
                  <a:schemeClr val="accent6"/>
                </a:solidFill>
                <a:prstDash val="solid"/>
                <a:round/>
                <a:headEnd/>
                <a:tailEnd/>
              </a:ln>
            </p:spPr>
            <p:txBody>
              <a:bodyPr/>
              <a:lstStyle/>
              <a:p>
                <a:endParaRPr lang="en-US" sz="1400">
                  <a:latin typeface="+mn-lt"/>
                </a:endParaRPr>
              </a:p>
            </p:txBody>
          </p:sp>
          <p:sp>
            <p:nvSpPr>
              <p:cNvPr id="87" name="Freeform 82"/>
              <p:cNvSpPr>
                <a:spLocks/>
              </p:cNvSpPr>
              <p:nvPr/>
            </p:nvSpPr>
            <p:spPr bwMode="gray">
              <a:xfrm>
                <a:off x="7297739" y="4329745"/>
                <a:ext cx="39688" cy="41275"/>
              </a:xfrm>
              <a:custGeom>
                <a:avLst/>
                <a:gdLst>
                  <a:gd name="T0" fmla="*/ 52 w 52"/>
                  <a:gd name="T1" fmla="*/ 0 h 52"/>
                  <a:gd name="T2" fmla="*/ 0 w 52"/>
                  <a:gd name="T3" fmla="*/ 0 h 52"/>
                  <a:gd name="T4" fmla="*/ 27 w 52"/>
                  <a:gd name="T5" fmla="*/ 29 h 52"/>
                  <a:gd name="T6" fmla="*/ 52 w 52"/>
                  <a:gd name="T7" fmla="*/ 52 h 52"/>
                  <a:gd name="T8" fmla="*/ 52 w 52"/>
                  <a:gd name="T9" fmla="*/ 29 h 52"/>
                  <a:gd name="T10" fmla="*/ 52 w 52"/>
                  <a:gd name="T11" fmla="*/ 0 h 52"/>
                  <a:gd name="T12" fmla="*/ 0 60000 65536"/>
                  <a:gd name="T13" fmla="*/ 0 60000 65536"/>
                  <a:gd name="T14" fmla="*/ 0 60000 65536"/>
                  <a:gd name="T15" fmla="*/ 0 60000 65536"/>
                  <a:gd name="T16" fmla="*/ 0 60000 65536"/>
                  <a:gd name="T17" fmla="*/ 0 60000 65536"/>
                  <a:gd name="T18" fmla="*/ 0 w 52"/>
                  <a:gd name="T19" fmla="*/ 0 h 52"/>
                  <a:gd name="T20" fmla="*/ 52 w 52"/>
                  <a:gd name="T21" fmla="*/ 52 h 52"/>
                </a:gdLst>
                <a:ahLst/>
                <a:cxnLst>
                  <a:cxn ang="T12">
                    <a:pos x="T0" y="T1"/>
                  </a:cxn>
                  <a:cxn ang="T13">
                    <a:pos x="T2" y="T3"/>
                  </a:cxn>
                  <a:cxn ang="T14">
                    <a:pos x="T4" y="T5"/>
                  </a:cxn>
                  <a:cxn ang="T15">
                    <a:pos x="T6" y="T7"/>
                  </a:cxn>
                  <a:cxn ang="T16">
                    <a:pos x="T8" y="T9"/>
                  </a:cxn>
                  <a:cxn ang="T17">
                    <a:pos x="T10" y="T11"/>
                  </a:cxn>
                </a:cxnLst>
                <a:rect l="T18" t="T19" r="T20" b="T21"/>
                <a:pathLst>
                  <a:path w="52" h="52">
                    <a:moveTo>
                      <a:pt x="52" y="0"/>
                    </a:moveTo>
                    <a:lnTo>
                      <a:pt x="0" y="0"/>
                    </a:lnTo>
                    <a:lnTo>
                      <a:pt x="27" y="29"/>
                    </a:lnTo>
                    <a:lnTo>
                      <a:pt x="52" y="52"/>
                    </a:lnTo>
                    <a:lnTo>
                      <a:pt x="52" y="29"/>
                    </a:lnTo>
                    <a:lnTo>
                      <a:pt x="52" y="0"/>
                    </a:lnTo>
                  </a:path>
                </a:pathLst>
              </a:custGeom>
              <a:grpFill/>
              <a:ln w="9525" cmpd="sng">
                <a:solidFill>
                  <a:schemeClr val="accent6"/>
                </a:solidFill>
                <a:prstDash val="solid"/>
                <a:round/>
                <a:headEnd/>
                <a:tailEnd/>
              </a:ln>
            </p:spPr>
            <p:txBody>
              <a:bodyPr/>
              <a:lstStyle/>
              <a:p>
                <a:endParaRPr lang="en-US" sz="1400">
                  <a:latin typeface="+mn-lt"/>
                </a:endParaRPr>
              </a:p>
            </p:txBody>
          </p:sp>
          <p:sp>
            <p:nvSpPr>
              <p:cNvPr id="88" name="Freeform 83"/>
              <p:cNvSpPr>
                <a:spLocks/>
              </p:cNvSpPr>
              <p:nvPr/>
            </p:nvSpPr>
            <p:spPr bwMode="gray">
              <a:xfrm>
                <a:off x="6926264" y="4393245"/>
                <a:ext cx="41275" cy="41275"/>
              </a:xfrm>
              <a:custGeom>
                <a:avLst/>
                <a:gdLst>
                  <a:gd name="T0" fmla="*/ 0 w 52"/>
                  <a:gd name="T1" fmla="*/ 0 h 51"/>
                  <a:gd name="T2" fmla="*/ 0 w 52"/>
                  <a:gd name="T3" fmla="*/ 24 h 51"/>
                  <a:gd name="T4" fmla="*/ 25 w 52"/>
                  <a:gd name="T5" fmla="*/ 51 h 51"/>
                  <a:gd name="T6" fmla="*/ 52 w 52"/>
                  <a:gd name="T7" fmla="*/ 24 h 51"/>
                  <a:gd name="T8" fmla="*/ 25 w 52"/>
                  <a:gd name="T9" fmla="*/ 0 h 51"/>
                  <a:gd name="T10" fmla="*/ 0 w 52"/>
                  <a:gd name="T11" fmla="*/ 0 h 51"/>
                  <a:gd name="T12" fmla="*/ 0 60000 65536"/>
                  <a:gd name="T13" fmla="*/ 0 60000 65536"/>
                  <a:gd name="T14" fmla="*/ 0 60000 65536"/>
                  <a:gd name="T15" fmla="*/ 0 60000 65536"/>
                  <a:gd name="T16" fmla="*/ 0 60000 65536"/>
                  <a:gd name="T17" fmla="*/ 0 60000 65536"/>
                  <a:gd name="T18" fmla="*/ 0 w 52"/>
                  <a:gd name="T19" fmla="*/ 0 h 51"/>
                  <a:gd name="T20" fmla="*/ 52 w 52"/>
                  <a:gd name="T21" fmla="*/ 51 h 51"/>
                </a:gdLst>
                <a:ahLst/>
                <a:cxnLst>
                  <a:cxn ang="T12">
                    <a:pos x="T0" y="T1"/>
                  </a:cxn>
                  <a:cxn ang="T13">
                    <a:pos x="T2" y="T3"/>
                  </a:cxn>
                  <a:cxn ang="T14">
                    <a:pos x="T4" y="T5"/>
                  </a:cxn>
                  <a:cxn ang="T15">
                    <a:pos x="T6" y="T7"/>
                  </a:cxn>
                  <a:cxn ang="T16">
                    <a:pos x="T8" y="T9"/>
                  </a:cxn>
                  <a:cxn ang="T17">
                    <a:pos x="T10" y="T11"/>
                  </a:cxn>
                </a:cxnLst>
                <a:rect l="T18" t="T19" r="T20" b="T21"/>
                <a:pathLst>
                  <a:path w="52" h="51">
                    <a:moveTo>
                      <a:pt x="0" y="0"/>
                    </a:moveTo>
                    <a:lnTo>
                      <a:pt x="0" y="24"/>
                    </a:lnTo>
                    <a:lnTo>
                      <a:pt x="25" y="51"/>
                    </a:lnTo>
                    <a:lnTo>
                      <a:pt x="52" y="24"/>
                    </a:lnTo>
                    <a:lnTo>
                      <a:pt x="25" y="0"/>
                    </a:lnTo>
                    <a:lnTo>
                      <a:pt x="0" y="0"/>
                    </a:lnTo>
                  </a:path>
                </a:pathLst>
              </a:custGeom>
              <a:grpFill/>
              <a:ln w="9525" cmpd="sng">
                <a:solidFill>
                  <a:schemeClr val="accent6"/>
                </a:solidFill>
                <a:prstDash val="solid"/>
                <a:round/>
                <a:headEnd/>
                <a:tailEnd/>
              </a:ln>
            </p:spPr>
            <p:txBody>
              <a:bodyPr/>
              <a:lstStyle/>
              <a:p>
                <a:endParaRPr lang="en-US" sz="1400">
                  <a:latin typeface="+mn-lt"/>
                </a:endParaRPr>
              </a:p>
            </p:txBody>
          </p:sp>
          <p:sp>
            <p:nvSpPr>
              <p:cNvPr id="90" name="Freeform 84"/>
              <p:cNvSpPr>
                <a:spLocks/>
              </p:cNvSpPr>
              <p:nvPr/>
            </p:nvSpPr>
            <p:spPr bwMode="gray">
              <a:xfrm>
                <a:off x="6802439" y="4166232"/>
                <a:ext cx="474663" cy="392113"/>
              </a:xfrm>
              <a:custGeom>
                <a:avLst/>
                <a:gdLst>
                  <a:gd name="T0" fmla="*/ 571 w 597"/>
                  <a:gd name="T1" fmla="*/ 442 h 493"/>
                  <a:gd name="T2" fmla="*/ 519 w 597"/>
                  <a:gd name="T3" fmla="*/ 390 h 493"/>
                  <a:gd name="T4" fmla="*/ 494 w 597"/>
                  <a:gd name="T5" fmla="*/ 338 h 493"/>
                  <a:gd name="T6" fmla="*/ 519 w 597"/>
                  <a:gd name="T7" fmla="*/ 311 h 493"/>
                  <a:gd name="T8" fmla="*/ 519 w 597"/>
                  <a:gd name="T9" fmla="*/ 287 h 493"/>
                  <a:gd name="T10" fmla="*/ 494 w 597"/>
                  <a:gd name="T11" fmla="*/ 258 h 493"/>
                  <a:gd name="T12" fmla="*/ 467 w 597"/>
                  <a:gd name="T13" fmla="*/ 258 h 493"/>
                  <a:gd name="T14" fmla="*/ 467 w 597"/>
                  <a:gd name="T15" fmla="*/ 235 h 493"/>
                  <a:gd name="T16" fmla="*/ 442 w 597"/>
                  <a:gd name="T17" fmla="*/ 183 h 493"/>
                  <a:gd name="T18" fmla="*/ 391 w 597"/>
                  <a:gd name="T19" fmla="*/ 155 h 493"/>
                  <a:gd name="T20" fmla="*/ 362 w 597"/>
                  <a:gd name="T21" fmla="*/ 132 h 493"/>
                  <a:gd name="T22" fmla="*/ 335 w 597"/>
                  <a:gd name="T23" fmla="*/ 132 h 493"/>
                  <a:gd name="T24" fmla="*/ 287 w 597"/>
                  <a:gd name="T25" fmla="*/ 103 h 493"/>
                  <a:gd name="T26" fmla="*/ 258 w 597"/>
                  <a:gd name="T27" fmla="*/ 80 h 493"/>
                  <a:gd name="T28" fmla="*/ 235 w 597"/>
                  <a:gd name="T29" fmla="*/ 80 h 493"/>
                  <a:gd name="T30" fmla="*/ 180 w 597"/>
                  <a:gd name="T31" fmla="*/ 103 h 493"/>
                  <a:gd name="T32" fmla="*/ 155 w 597"/>
                  <a:gd name="T33" fmla="*/ 103 h 493"/>
                  <a:gd name="T34" fmla="*/ 128 w 597"/>
                  <a:gd name="T35" fmla="*/ 103 h 493"/>
                  <a:gd name="T36" fmla="*/ 103 w 597"/>
                  <a:gd name="T37" fmla="*/ 28 h 493"/>
                  <a:gd name="T38" fmla="*/ 80 w 597"/>
                  <a:gd name="T39" fmla="*/ 0 h 493"/>
                  <a:gd name="T40" fmla="*/ 52 w 597"/>
                  <a:gd name="T41" fmla="*/ 0 h 493"/>
                  <a:gd name="T42" fmla="*/ 0 w 597"/>
                  <a:gd name="T43" fmla="*/ 28 h 493"/>
                  <a:gd name="T44" fmla="*/ 52 w 597"/>
                  <a:gd name="T45" fmla="*/ 51 h 493"/>
                  <a:gd name="T46" fmla="*/ 52 w 597"/>
                  <a:gd name="T47" fmla="*/ 80 h 493"/>
                  <a:gd name="T48" fmla="*/ 80 w 597"/>
                  <a:gd name="T49" fmla="*/ 80 h 493"/>
                  <a:gd name="T50" fmla="*/ 103 w 597"/>
                  <a:gd name="T51" fmla="*/ 80 h 493"/>
                  <a:gd name="T52" fmla="*/ 80 w 597"/>
                  <a:gd name="T53" fmla="*/ 103 h 493"/>
                  <a:gd name="T54" fmla="*/ 52 w 597"/>
                  <a:gd name="T55" fmla="*/ 132 h 493"/>
                  <a:gd name="T56" fmla="*/ 80 w 597"/>
                  <a:gd name="T57" fmla="*/ 132 h 493"/>
                  <a:gd name="T58" fmla="*/ 103 w 597"/>
                  <a:gd name="T59" fmla="*/ 132 h 493"/>
                  <a:gd name="T60" fmla="*/ 128 w 597"/>
                  <a:gd name="T61" fmla="*/ 132 h 493"/>
                  <a:gd name="T62" fmla="*/ 180 w 597"/>
                  <a:gd name="T63" fmla="*/ 155 h 493"/>
                  <a:gd name="T64" fmla="*/ 235 w 597"/>
                  <a:gd name="T65" fmla="*/ 206 h 493"/>
                  <a:gd name="T66" fmla="*/ 235 w 597"/>
                  <a:gd name="T67" fmla="*/ 235 h 493"/>
                  <a:gd name="T68" fmla="*/ 235 w 597"/>
                  <a:gd name="T69" fmla="*/ 258 h 493"/>
                  <a:gd name="T70" fmla="*/ 207 w 597"/>
                  <a:gd name="T71" fmla="*/ 258 h 493"/>
                  <a:gd name="T72" fmla="*/ 207 w 597"/>
                  <a:gd name="T73" fmla="*/ 287 h 493"/>
                  <a:gd name="T74" fmla="*/ 235 w 597"/>
                  <a:gd name="T75" fmla="*/ 287 h 493"/>
                  <a:gd name="T76" fmla="*/ 235 w 597"/>
                  <a:gd name="T77" fmla="*/ 311 h 493"/>
                  <a:gd name="T78" fmla="*/ 235 w 597"/>
                  <a:gd name="T79" fmla="*/ 338 h 493"/>
                  <a:gd name="T80" fmla="*/ 258 w 597"/>
                  <a:gd name="T81" fmla="*/ 338 h 493"/>
                  <a:gd name="T82" fmla="*/ 287 w 597"/>
                  <a:gd name="T83" fmla="*/ 363 h 493"/>
                  <a:gd name="T84" fmla="*/ 310 w 597"/>
                  <a:gd name="T85" fmla="*/ 390 h 493"/>
                  <a:gd name="T86" fmla="*/ 335 w 597"/>
                  <a:gd name="T87" fmla="*/ 363 h 493"/>
                  <a:gd name="T88" fmla="*/ 335 w 597"/>
                  <a:gd name="T89" fmla="*/ 390 h 493"/>
                  <a:gd name="T90" fmla="*/ 362 w 597"/>
                  <a:gd name="T91" fmla="*/ 390 h 493"/>
                  <a:gd name="T92" fmla="*/ 362 w 597"/>
                  <a:gd name="T93" fmla="*/ 363 h 493"/>
                  <a:gd name="T94" fmla="*/ 335 w 597"/>
                  <a:gd name="T95" fmla="*/ 338 h 493"/>
                  <a:gd name="T96" fmla="*/ 362 w 597"/>
                  <a:gd name="T97" fmla="*/ 338 h 493"/>
                  <a:gd name="T98" fmla="*/ 391 w 597"/>
                  <a:gd name="T99" fmla="*/ 338 h 493"/>
                  <a:gd name="T100" fmla="*/ 442 w 597"/>
                  <a:gd name="T101" fmla="*/ 363 h 493"/>
                  <a:gd name="T102" fmla="*/ 467 w 597"/>
                  <a:gd name="T103" fmla="*/ 390 h 493"/>
                  <a:gd name="T104" fmla="*/ 494 w 597"/>
                  <a:gd name="T105" fmla="*/ 415 h 493"/>
                  <a:gd name="T106" fmla="*/ 519 w 597"/>
                  <a:gd name="T107" fmla="*/ 442 h 493"/>
                  <a:gd name="T108" fmla="*/ 519 w 597"/>
                  <a:gd name="T109" fmla="*/ 466 h 493"/>
                  <a:gd name="T110" fmla="*/ 571 w 597"/>
                  <a:gd name="T111" fmla="*/ 493 h 493"/>
                  <a:gd name="T112" fmla="*/ 597 w 597"/>
                  <a:gd name="T113" fmla="*/ 493 h 493"/>
                  <a:gd name="T114" fmla="*/ 571 w 597"/>
                  <a:gd name="T115" fmla="*/ 466 h 493"/>
                  <a:gd name="T116" fmla="*/ 597 w 597"/>
                  <a:gd name="T117" fmla="*/ 466 h 493"/>
                  <a:gd name="T118" fmla="*/ 571 w 597"/>
                  <a:gd name="T119" fmla="*/ 442 h 493"/>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597"/>
                  <a:gd name="T181" fmla="*/ 0 h 493"/>
                  <a:gd name="T182" fmla="*/ 597 w 597"/>
                  <a:gd name="T183" fmla="*/ 493 h 493"/>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597" h="493">
                    <a:moveTo>
                      <a:pt x="571" y="442"/>
                    </a:moveTo>
                    <a:lnTo>
                      <a:pt x="519" y="390"/>
                    </a:lnTo>
                    <a:lnTo>
                      <a:pt x="494" y="338"/>
                    </a:lnTo>
                    <a:lnTo>
                      <a:pt x="519" y="311"/>
                    </a:lnTo>
                    <a:lnTo>
                      <a:pt x="519" y="287"/>
                    </a:lnTo>
                    <a:lnTo>
                      <a:pt x="494" y="258"/>
                    </a:lnTo>
                    <a:lnTo>
                      <a:pt x="467" y="258"/>
                    </a:lnTo>
                    <a:lnTo>
                      <a:pt x="467" y="235"/>
                    </a:lnTo>
                    <a:lnTo>
                      <a:pt x="442" y="183"/>
                    </a:lnTo>
                    <a:lnTo>
                      <a:pt x="391" y="155"/>
                    </a:lnTo>
                    <a:lnTo>
                      <a:pt x="362" y="132"/>
                    </a:lnTo>
                    <a:lnTo>
                      <a:pt x="335" y="132"/>
                    </a:lnTo>
                    <a:lnTo>
                      <a:pt x="287" y="103"/>
                    </a:lnTo>
                    <a:lnTo>
                      <a:pt x="258" y="80"/>
                    </a:lnTo>
                    <a:lnTo>
                      <a:pt x="235" y="80"/>
                    </a:lnTo>
                    <a:lnTo>
                      <a:pt x="180" y="103"/>
                    </a:lnTo>
                    <a:lnTo>
                      <a:pt x="155" y="103"/>
                    </a:lnTo>
                    <a:lnTo>
                      <a:pt x="128" y="103"/>
                    </a:lnTo>
                    <a:lnTo>
                      <a:pt x="103" y="28"/>
                    </a:lnTo>
                    <a:lnTo>
                      <a:pt x="80" y="0"/>
                    </a:lnTo>
                    <a:lnTo>
                      <a:pt x="52" y="0"/>
                    </a:lnTo>
                    <a:lnTo>
                      <a:pt x="0" y="28"/>
                    </a:lnTo>
                    <a:lnTo>
                      <a:pt x="52" y="51"/>
                    </a:lnTo>
                    <a:lnTo>
                      <a:pt x="52" y="80"/>
                    </a:lnTo>
                    <a:lnTo>
                      <a:pt x="80" y="80"/>
                    </a:lnTo>
                    <a:lnTo>
                      <a:pt x="103" y="80"/>
                    </a:lnTo>
                    <a:lnTo>
                      <a:pt x="80" y="103"/>
                    </a:lnTo>
                    <a:lnTo>
                      <a:pt x="52" y="132"/>
                    </a:lnTo>
                    <a:lnTo>
                      <a:pt x="80" y="132"/>
                    </a:lnTo>
                    <a:lnTo>
                      <a:pt x="103" y="132"/>
                    </a:lnTo>
                    <a:lnTo>
                      <a:pt x="128" y="132"/>
                    </a:lnTo>
                    <a:lnTo>
                      <a:pt x="180" y="155"/>
                    </a:lnTo>
                    <a:lnTo>
                      <a:pt x="235" y="206"/>
                    </a:lnTo>
                    <a:lnTo>
                      <a:pt x="235" y="235"/>
                    </a:lnTo>
                    <a:lnTo>
                      <a:pt x="235" y="258"/>
                    </a:lnTo>
                    <a:lnTo>
                      <a:pt x="207" y="258"/>
                    </a:lnTo>
                    <a:lnTo>
                      <a:pt x="207" y="287"/>
                    </a:lnTo>
                    <a:lnTo>
                      <a:pt x="235" y="287"/>
                    </a:lnTo>
                    <a:lnTo>
                      <a:pt x="235" y="311"/>
                    </a:lnTo>
                    <a:lnTo>
                      <a:pt x="235" y="338"/>
                    </a:lnTo>
                    <a:lnTo>
                      <a:pt x="258" y="338"/>
                    </a:lnTo>
                    <a:lnTo>
                      <a:pt x="287" y="363"/>
                    </a:lnTo>
                    <a:lnTo>
                      <a:pt x="310" y="390"/>
                    </a:lnTo>
                    <a:lnTo>
                      <a:pt x="335" y="363"/>
                    </a:lnTo>
                    <a:lnTo>
                      <a:pt x="335" y="390"/>
                    </a:lnTo>
                    <a:lnTo>
                      <a:pt x="362" y="390"/>
                    </a:lnTo>
                    <a:lnTo>
                      <a:pt x="362" y="363"/>
                    </a:lnTo>
                    <a:lnTo>
                      <a:pt x="335" y="338"/>
                    </a:lnTo>
                    <a:lnTo>
                      <a:pt x="362" y="338"/>
                    </a:lnTo>
                    <a:lnTo>
                      <a:pt x="391" y="338"/>
                    </a:lnTo>
                    <a:lnTo>
                      <a:pt x="442" y="363"/>
                    </a:lnTo>
                    <a:lnTo>
                      <a:pt x="467" y="390"/>
                    </a:lnTo>
                    <a:lnTo>
                      <a:pt x="494" y="415"/>
                    </a:lnTo>
                    <a:lnTo>
                      <a:pt x="519" y="442"/>
                    </a:lnTo>
                    <a:lnTo>
                      <a:pt x="519" y="466"/>
                    </a:lnTo>
                    <a:lnTo>
                      <a:pt x="571" y="493"/>
                    </a:lnTo>
                    <a:lnTo>
                      <a:pt x="597" y="493"/>
                    </a:lnTo>
                    <a:lnTo>
                      <a:pt x="571" y="466"/>
                    </a:lnTo>
                    <a:lnTo>
                      <a:pt x="597" y="466"/>
                    </a:lnTo>
                    <a:lnTo>
                      <a:pt x="571" y="442"/>
                    </a:lnTo>
                  </a:path>
                </a:pathLst>
              </a:custGeom>
              <a:grpFill/>
              <a:ln w="9525" cmpd="sng">
                <a:solidFill>
                  <a:schemeClr val="accent6"/>
                </a:solidFill>
                <a:prstDash val="solid"/>
                <a:round/>
                <a:headEnd/>
                <a:tailEnd/>
              </a:ln>
            </p:spPr>
            <p:txBody>
              <a:bodyPr/>
              <a:lstStyle/>
              <a:p>
                <a:endParaRPr lang="en-US" sz="1400">
                  <a:latin typeface="+mn-lt"/>
                </a:endParaRPr>
              </a:p>
            </p:txBody>
          </p:sp>
          <p:sp>
            <p:nvSpPr>
              <p:cNvPr id="91" name="Freeform 85"/>
              <p:cNvSpPr>
                <a:spLocks/>
              </p:cNvSpPr>
              <p:nvPr/>
            </p:nvSpPr>
            <p:spPr bwMode="gray">
              <a:xfrm>
                <a:off x="3703637" y="3051807"/>
                <a:ext cx="104775" cy="184150"/>
              </a:xfrm>
              <a:custGeom>
                <a:avLst/>
                <a:gdLst>
                  <a:gd name="T0" fmla="*/ 14 w 66"/>
                  <a:gd name="T1" fmla="*/ 0 h 116"/>
                  <a:gd name="T2" fmla="*/ 14 w 66"/>
                  <a:gd name="T3" fmla="*/ 38 h 116"/>
                  <a:gd name="T4" fmla="*/ 0 w 66"/>
                  <a:gd name="T5" fmla="*/ 52 h 116"/>
                  <a:gd name="T6" fmla="*/ 26 w 66"/>
                  <a:gd name="T7" fmla="*/ 116 h 116"/>
                  <a:gd name="T8" fmla="*/ 66 w 66"/>
                  <a:gd name="T9" fmla="*/ 78 h 116"/>
                  <a:gd name="T10" fmla="*/ 40 w 66"/>
                  <a:gd name="T11" fmla="*/ 52 h 116"/>
                  <a:gd name="T12" fmla="*/ 66 w 66"/>
                  <a:gd name="T13" fmla="*/ 26 h 116"/>
                  <a:gd name="T14" fmla="*/ 52 w 66"/>
                  <a:gd name="T15" fmla="*/ 0 h 116"/>
                  <a:gd name="T16" fmla="*/ 14 w 66"/>
                  <a:gd name="T17" fmla="*/ 0 h 116"/>
                  <a:gd name="T18" fmla="*/ 14 w 66"/>
                  <a:gd name="T19" fmla="*/ 0 h 11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66"/>
                  <a:gd name="T31" fmla="*/ 0 h 116"/>
                  <a:gd name="T32" fmla="*/ 66 w 66"/>
                  <a:gd name="T33" fmla="*/ 116 h 11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66" h="116">
                    <a:moveTo>
                      <a:pt x="14" y="0"/>
                    </a:moveTo>
                    <a:lnTo>
                      <a:pt x="14" y="38"/>
                    </a:lnTo>
                    <a:lnTo>
                      <a:pt x="0" y="52"/>
                    </a:lnTo>
                    <a:lnTo>
                      <a:pt x="26" y="116"/>
                    </a:lnTo>
                    <a:lnTo>
                      <a:pt x="66" y="78"/>
                    </a:lnTo>
                    <a:lnTo>
                      <a:pt x="40" y="52"/>
                    </a:lnTo>
                    <a:lnTo>
                      <a:pt x="66" y="26"/>
                    </a:lnTo>
                    <a:lnTo>
                      <a:pt x="52" y="0"/>
                    </a:lnTo>
                    <a:lnTo>
                      <a:pt x="14" y="0"/>
                    </a:lnTo>
                    <a:close/>
                  </a:path>
                </a:pathLst>
              </a:custGeom>
              <a:grpFill/>
              <a:ln w="9525" cmpd="sng">
                <a:solidFill>
                  <a:schemeClr val="accent6"/>
                </a:solidFill>
                <a:prstDash val="solid"/>
                <a:round/>
                <a:headEnd/>
                <a:tailEnd/>
              </a:ln>
            </p:spPr>
            <p:txBody>
              <a:bodyPr/>
              <a:lstStyle/>
              <a:p>
                <a:endParaRPr lang="en-US" sz="1400">
                  <a:latin typeface="+mn-lt"/>
                </a:endParaRPr>
              </a:p>
            </p:txBody>
          </p:sp>
          <p:sp>
            <p:nvSpPr>
              <p:cNvPr id="92" name="Freeform 86"/>
              <p:cNvSpPr>
                <a:spLocks/>
              </p:cNvSpPr>
              <p:nvPr/>
            </p:nvSpPr>
            <p:spPr bwMode="gray">
              <a:xfrm>
                <a:off x="4633913" y="4436107"/>
                <a:ext cx="228600" cy="412750"/>
              </a:xfrm>
              <a:custGeom>
                <a:avLst/>
                <a:gdLst>
                  <a:gd name="T0" fmla="*/ 26 w 144"/>
                  <a:gd name="T1" fmla="*/ 104 h 260"/>
                  <a:gd name="T2" fmla="*/ 26 w 144"/>
                  <a:gd name="T3" fmla="*/ 142 h 260"/>
                  <a:gd name="T4" fmla="*/ 0 w 144"/>
                  <a:gd name="T5" fmla="*/ 194 h 260"/>
                  <a:gd name="T6" fmla="*/ 0 w 144"/>
                  <a:gd name="T7" fmla="*/ 246 h 260"/>
                  <a:gd name="T8" fmla="*/ 26 w 144"/>
                  <a:gd name="T9" fmla="*/ 260 h 260"/>
                  <a:gd name="T10" fmla="*/ 40 w 144"/>
                  <a:gd name="T11" fmla="*/ 246 h 260"/>
                  <a:gd name="T12" fmla="*/ 66 w 144"/>
                  <a:gd name="T13" fmla="*/ 246 h 260"/>
                  <a:gd name="T14" fmla="*/ 78 w 144"/>
                  <a:gd name="T15" fmla="*/ 220 h 260"/>
                  <a:gd name="T16" fmla="*/ 78 w 144"/>
                  <a:gd name="T17" fmla="*/ 208 h 260"/>
                  <a:gd name="T18" fmla="*/ 118 w 144"/>
                  <a:gd name="T19" fmla="*/ 116 h 260"/>
                  <a:gd name="T20" fmla="*/ 118 w 144"/>
                  <a:gd name="T21" fmla="*/ 104 h 260"/>
                  <a:gd name="T22" fmla="*/ 118 w 144"/>
                  <a:gd name="T23" fmla="*/ 64 h 260"/>
                  <a:gd name="T24" fmla="*/ 130 w 144"/>
                  <a:gd name="T25" fmla="*/ 64 h 260"/>
                  <a:gd name="T26" fmla="*/ 130 w 144"/>
                  <a:gd name="T27" fmla="*/ 90 h 260"/>
                  <a:gd name="T28" fmla="*/ 144 w 144"/>
                  <a:gd name="T29" fmla="*/ 52 h 260"/>
                  <a:gd name="T30" fmla="*/ 130 w 144"/>
                  <a:gd name="T31" fmla="*/ 38 h 260"/>
                  <a:gd name="T32" fmla="*/ 118 w 144"/>
                  <a:gd name="T33" fmla="*/ 12 h 260"/>
                  <a:gd name="T34" fmla="*/ 118 w 144"/>
                  <a:gd name="T35" fmla="*/ 0 h 260"/>
                  <a:gd name="T36" fmla="*/ 78 w 144"/>
                  <a:gd name="T37" fmla="*/ 64 h 260"/>
                  <a:gd name="T38" fmla="*/ 66 w 144"/>
                  <a:gd name="T39" fmla="*/ 64 h 260"/>
                  <a:gd name="T40" fmla="*/ 66 w 144"/>
                  <a:gd name="T41" fmla="*/ 78 h 260"/>
                  <a:gd name="T42" fmla="*/ 52 w 144"/>
                  <a:gd name="T43" fmla="*/ 78 h 260"/>
                  <a:gd name="T44" fmla="*/ 26 w 144"/>
                  <a:gd name="T45" fmla="*/ 104 h 260"/>
                  <a:gd name="T46" fmla="*/ 26 w 144"/>
                  <a:gd name="T47" fmla="*/ 104 h 260"/>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44"/>
                  <a:gd name="T73" fmla="*/ 0 h 260"/>
                  <a:gd name="T74" fmla="*/ 144 w 144"/>
                  <a:gd name="T75" fmla="*/ 260 h 260"/>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44" h="260">
                    <a:moveTo>
                      <a:pt x="26" y="104"/>
                    </a:moveTo>
                    <a:lnTo>
                      <a:pt x="26" y="142"/>
                    </a:lnTo>
                    <a:lnTo>
                      <a:pt x="0" y="194"/>
                    </a:lnTo>
                    <a:lnTo>
                      <a:pt x="0" y="246"/>
                    </a:lnTo>
                    <a:lnTo>
                      <a:pt x="26" y="260"/>
                    </a:lnTo>
                    <a:lnTo>
                      <a:pt x="40" y="246"/>
                    </a:lnTo>
                    <a:lnTo>
                      <a:pt x="66" y="246"/>
                    </a:lnTo>
                    <a:lnTo>
                      <a:pt x="78" y="220"/>
                    </a:lnTo>
                    <a:lnTo>
                      <a:pt x="78" y="208"/>
                    </a:lnTo>
                    <a:lnTo>
                      <a:pt x="118" y="116"/>
                    </a:lnTo>
                    <a:lnTo>
                      <a:pt x="118" y="104"/>
                    </a:lnTo>
                    <a:lnTo>
                      <a:pt x="118" y="64"/>
                    </a:lnTo>
                    <a:lnTo>
                      <a:pt x="130" y="64"/>
                    </a:lnTo>
                    <a:lnTo>
                      <a:pt x="130" y="90"/>
                    </a:lnTo>
                    <a:lnTo>
                      <a:pt x="144" y="52"/>
                    </a:lnTo>
                    <a:lnTo>
                      <a:pt x="130" y="38"/>
                    </a:lnTo>
                    <a:lnTo>
                      <a:pt x="118" y="12"/>
                    </a:lnTo>
                    <a:lnTo>
                      <a:pt x="118" y="0"/>
                    </a:lnTo>
                    <a:lnTo>
                      <a:pt x="78" y="64"/>
                    </a:lnTo>
                    <a:lnTo>
                      <a:pt x="66" y="64"/>
                    </a:lnTo>
                    <a:lnTo>
                      <a:pt x="66" y="78"/>
                    </a:lnTo>
                    <a:lnTo>
                      <a:pt x="52" y="78"/>
                    </a:lnTo>
                    <a:lnTo>
                      <a:pt x="26" y="104"/>
                    </a:lnTo>
                    <a:close/>
                  </a:path>
                </a:pathLst>
              </a:custGeom>
              <a:grpFill/>
              <a:ln w="9525" cmpd="sng">
                <a:solidFill>
                  <a:schemeClr val="accent6"/>
                </a:solidFill>
                <a:prstDash val="solid"/>
                <a:round/>
                <a:headEnd/>
                <a:tailEnd/>
              </a:ln>
            </p:spPr>
            <p:txBody>
              <a:bodyPr/>
              <a:lstStyle/>
              <a:p>
                <a:endParaRPr lang="en-US" sz="1400">
                  <a:latin typeface="+mn-lt"/>
                </a:endParaRPr>
              </a:p>
            </p:txBody>
          </p:sp>
          <p:sp>
            <p:nvSpPr>
              <p:cNvPr id="93" name="Freeform 87"/>
              <p:cNvSpPr>
                <a:spLocks/>
              </p:cNvSpPr>
              <p:nvPr/>
            </p:nvSpPr>
            <p:spPr bwMode="gray">
              <a:xfrm>
                <a:off x="2982912" y="3051807"/>
                <a:ext cx="1898651" cy="2105025"/>
              </a:xfrm>
              <a:custGeom>
                <a:avLst/>
                <a:gdLst>
                  <a:gd name="T0" fmla="*/ 852 w 1196"/>
                  <a:gd name="T1" fmla="*/ 108 h 1326"/>
                  <a:gd name="T2" fmla="*/ 780 w 1196"/>
                  <a:gd name="T3" fmla="*/ 116 h 1326"/>
                  <a:gd name="T4" fmla="*/ 676 w 1196"/>
                  <a:gd name="T5" fmla="*/ 78 h 1326"/>
                  <a:gd name="T6" fmla="*/ 636 w 1196"/>
                  <a:gd name="T7" fmla="*/ 116 h 1326"/>
                  <a:gd name="T8" fmla="*/ 584 w 1196"/>
                  <a:gd name="T9" fmla="*/ 104 h 1326"/>
                  <a:gd name="T10" fmla="*/ 520 w 1196"/>
                  <a:gd name="T11" fmla="*/ 78 h 1326"/>
                  <a:gd name="T12" fmla="*/ 480 w 1196"/>
                  <a:gd name="T13" fmla="*/ 116 h 1326"/>
                  <a:gd name="T14" fmla="*/ 468 w 1196"/>
                  <a:gd name="T15" fmla="*/ 38 h 1326"/>
                  <a:gd name="T16" fmla="*/ 428 w 1196"/>
                  <a:gd name="T17" fmla="*/ 12 h 1326"/>
                  <a:gd name="T18" fmla="*/ 324 w 1196"/>
                  <a:gd name="T19" fmla="*/ 38 h 1326"/>
                  <a:gd name="T20" fmla="*/ 260 w 1196"/>
                  <a:gd name="T21" fmla="*/ 26 h 1326"/>
                  <a:gd name="T22" fmla="*/ 208 w 1196"/>
                  <a:gd name="T23" fmla="*/ 78 h 1326"/>
                  <a:gd name="T24" fmla="*/ 182 w 1196"/>
                  <a:gd name="T25" fmla="*/ 142 h 1326"/>
                  <a:gd name="T26" fmla="*/ 78 w 1196"/>
                  <a:gd name="T27" fmla="*/ 208 h 1326"/>
                  <a:gd name="T28" fmla="*/ 26 w 1196"/>
                  <a:gd name="T29" fmla="*/ 300 h 1326"/>
                  <a:gd name="T30" fmla="*/ 26 w 1196"/>
                  <a:gd name="T31" fmla="*/ 324 h 1326"/>
                  <a:gd name="T32" fmla="*/ 12 w 1196"/>
                  <a:gd name="T33" fmla="*/ 390 h 1326"/>
                  <a:gd name="T34" fmla="*/ 0 w 1196"/>
                  <a:gd name="T35" fmla="*/ 430 h 1326"/>
                  <a:gd name="T36" fmla="*/ 0 w 1196"/>
                  <a:gd name="T37" fmla="*/ 468 h 1326"/>
                  <a:gd name="T38" fmla="*/ 52 w 1196"/>
                  <a:gd name="T39" fmla="*/ 508 h 1326"/>
                  <a:gd name="T40" fmla="*/ 64 w 1196"/>
                  <a:gd name="T41" fmla="*/ 546 h 1326"/>
                  <a:gd name="T42" fmla="*/ 156 w 1196"/>
                  <a:gd name="T43" fmla="*/ 598 h 1326"/>
                  <a:gd name="T44" fmla="*/ 246 w 1196"/>
                  <a:gd name="T45" fmla="*/ 598 h 1326"/>
                  <a:gd name="T46" fmla="*/ 312 w 1196"/>
                  <a:gd name="T47" fmla="*/ 572 h 1326"/>
                  <a:gd name="T48" fmla="*/ 376 w 1196"/>
                  <a:gd name="T49" fmla="*/ 572 h 1326"/>
                  <a:gd name="T50" fmla="*/ 416 w 1196"/>
                  <a:gd name="T51" fmla="*/ 612 h 1326"/>
                  <a:gd name="T52" fmla="*/ 468 w 1196"/>
                  <a:gd name="T53" fmla="*/ 598 h 1326"/>
                  <a:gd name="T54" fmla="*/ 454 w 1196"/>
                  <a:gd name="T55" fmla="*/ 650 h 1326"/>
                  <a:gd name="T56" fmla="*/ 468 w 1196"/>
                  <a:gd name="T57" fmla="*/ 716 h 1326"/>
                  <a:gd name="T58" fmla="*/ 506 w 1196"/>
                  <a:gd name="T59" fmla="*/ 768 h 1326"/>
                  <a:gd name="T60" fmla="*/ 532 w 1196"/>
                  <a:gd name="T61" fmla="*/ 820 h 1326"/>
                  <a:gd name="T62" fmla="*/ 532 w 1196"/>
                  <a:gd name="T63" fmla="*/ 858 h 1326"/>
                  <a:gd name="T64" fmla="*/ 532 w 1196"/>
                  <a:gd name="T65" fmla="*/ 898 h 1326"/>
                  <a:gd name="T66" fmla="*/ 506 w 1196"/>
                  <a:gd name="T67" fmla="*/ 962 h 1326"/>
                  <a:gd name="T68" fmla="*/ 532 w 1196"/>
                  <a:gd name="T69" fmla="*/ 1066 h 1326"/>
                  <a:gd name="T70" fmla="*/ 572 w 1196"/>
                  <a:gd name="T71" fmla="*/ 1170 h 1326"/>
                  <a:gd name="T72" fmla="*/ 600 w 1196"/>
                  <a:gd name="T73" fmla="*/ 1204 h 1326"/>
                  <a:gd name="T74" fmla="*/ 624 w 1196"/>
                  <a:gd name="T75" fmla="*/ 1288 h 1326"/>
                  <a:gd name="T76" fmla="*/ 650 w 1196"/>
                  <a:gd name="T77" fmla="*/ 1326 h 1326"/>
                  <a:gd name="T78" fmla="*/ 714 w 1196"/>
                  <a:gd name="T79" fmla="*/ 1314 h 1326"/>
                  <a:gd name="T80" fmla="*/ 806 w 1196"/>
                  <a:gd name="T81" fmla="*/ 1262 h 1326"/>
                  <a:gd name="T82" fmla="*/ 858 w 1196"/>
                  <a:gd name="T83" fmla="*/ 1170 h 1326"/>
                  <a:gd name="T84" fmla="*/ 870 w 1196"/>
                  <a:gd name="T85" fmla="*/ 1170 h 1326"/>
                  <a:gd name="T86" fmla="*/ 910 w 1196"/>
                  <a:gd name="T87" fmla="*/ 1106 h 1326"/>
                  <a:gd name="T88" fmla="*/ 896 w 1196"/>
                  <a:gd name="T89" fmla="*/ 1040 h 1326"/>
                  <a:gd name="T90" fmla="*/ 924 w 1196"/>
                  <a:gd name="T91" fmla="*/ 1014 h 1326"/>
                  <a:gd name="T92" fmla="*/ 1002 w 1196"/>
                  <a:gd name="T93" fmla="*/ 950 h 1326"/>
                  <a:gd name="T94" fmla="*/ 1002 w 1196"/>
                  <a:gd name="T95" fmla="*/ 846 h 1326"/>
                  <a:gd name="T96" fmla="*/ 988 w 1196"/>
                  <a:gd name="T97" fmla="*/ 780 h 1326"/>
                  <a:gd name="T98" fmla="*/ 1026 w 1196"/>
                  <a:gd name="T99" fmla="*/ 690 h 1326"/>
                  <a:gd name="T100" fmla="*/ 1196 w 1196"/>
                  <a:gd name="T101" fmla="*/ 468 h 1326"/>
                  <a:gd name="T102" fmla="*/ 1158 w 1196"/>
                  <a:gd name="T103" fmla="*/ 456 h 1326"/>
                  <a:gd name="T104" fmla="*/ 1092 w 1196"/>
                  <a:gd name="T105" fmla="*/ 468 h 1326"/>
                  <a:gd name="T106" fmla="*/ 1054 w 1196"/>
                  <a:gd name="T107" fmla="*/ 456 h 1326"/>
                  <a:gd name="T108" fmla="*/ 976 w 1196"/>
                  <a:gd name="T109" fmla="*/ 390 h 1326"/>
                  <a:gd name="T110" fmla="*/ 936 w 1196"/>
                  <a:gd name="T111" fmla="*/ 324 h 1326"/>
                  <a:gd name="T112" fmla="*/ 910 w 1196"/>
                  <a:gd name="T113" fmla="*/ 260 h 1326"/>
                  <a:gd name="T114" fmla="*/ 832 w 1196"/>
                  <a:gd name="T115" fmla="*/ 130 h 1326"/>
                  <a:gd name="T116" fmla="*/ 870 w 1196"/>
                  <a:gd name="T117" fmla="*/ 168 h 132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1196"/>
                  <a:gd name="T178" fmla="*/ 0 h 1326"/>
                  <a:gd name="T179" fmla="*/ 1196 w 1196"/>
                  <a:gd name="T180" fmla="*/ 1326 h 132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1196" h="1326">
                    <a:moveTo>
                      <a:pt x="864" y="144"/>
                    </a:moveTo>
                    <a:lnTo>
                      <a:pt x="852" y="108"/>
                    </a:lnTo>
                    <a:lnTo>
                      <a:pt x="806" y="90"/>
                    </a:lnTo>
                    <a:lnTo>
                      <a:pt x="780" y="116"/>
                    </a:lnTo>
                    <a:lnTo>
                      <a:pt x="714" y="104"/>
                    </a:lnTo>
                    <a:lnTo>
                      <a:pt x="676" y="78"/>
                    </a:lnTo>
                    <a:lnTo>
                      <a:pt x="650" y="78"/>
                    </a:lnTo>
                    <a:lnTo>
                      <a:pt x="636" y="116"/>
                    </a:lnTo>
                    <a:lnTo>
                      <a:pt x="624" y="130"/>
                    </a:lnTo>
                    <a:lnTo>
                      <a:pt x="584" y="104"/>
                    </a:lnTo>
                    <a:lnTo>
                      <a:pt x="572" y="78"/>
                    </a:lnTo>
                    <a:lnTo>
                      <a:pt x="520" y="78"/>
                    </a:lnTo>
                    <a:lnTo>
                      <a:pt x="480" y="130"/>
                    </a:lnTo>
                    <a:lnTo>
                      <a:pt x="480" y="116"/>
                    </a:lnTo>
                    <a:lnTo>
                      <a:pt x="454" y="52"/>
                    </a:lnTo>
                    <a:lnTo>
                      <a:pt x="468" y="38"/>
                    </a:lnTo>
                    <a:lnTo>
                      <a:pt x="468" y="0"/>
                    </a:lnTo>
                    <a:lnTo>
                      <a:pt x="428" y="12"/>
                    </a:lnTo>
                    <a:lnTo>
                      <a:pt x="390" y="0"/>
                    </a:lnTo>
                    <a:lnTo>
                      <a:pt x="324" y="38"/>
                    </a:lnTo>
                    <a:lnTo>
                      <a:pt x="298" y="38"/>
                    </a:lnTo>
                    <a:lnTo>
                      <a:pt x="260" y="26"/>
                    </a:lnTo>
                    <a:lnTo>
                      <a:pt x="246" y="52"/>
                    </a:lnTo>
                    <a:lnTo>
                      <a:pt x="208" y="78"/>
                    </a:lnTo>
                    <a:lnTo>
                      <a:pt x="182" y="116"/>
                    </a:lnTo>
                    <a:lnTo>
                      <a:pt x="182" y="142"/>
                    </a:lnTo>
                    <a:lnTo>
                      <a:pt x="104" y="194"/>
                    </a:lnTo>
                    <a:lnTo>
                      <a:pt x="78" y="208"/>
                    </a:lnTo>
                    <a:lnTo>
                      <a:pt x="12" y="286"/>
                    </a:lnTo>
                    <a:lnTo>
                      <a:pt x="26" y="300"/>
                    </a:lnTo>
                    <a:lnTo>
                      <a:pt x="26" y="312"/>
                    </a:lnTo>
                    <a:lnTo>
                      <a:pt x="26" y="324"/>
                    </a:lnTo>
                    <a:lnTo>
                      <a:pt x="26" y="378"/>
                    </a:lnTo>
                    <a:lnTo>
                      <a:pt x="12" y="390"/>
                    </a:lnTo>
                    <a:lnTo>
                      <a:pt x="0" y="416"/>
                    </a:lnTo>
                    <a:lnTo>
                      <a:pt x="0" y="430"/>
                    </a:lnTo>
                    <a:lnTo>
                      <a:pt x="0" y="456"/>
                    </a:lnTo>
                    <a:lnTo>
                      <a:pt x="0" y="468"/>
                    </a:lnTo>
                    <a:lnTo>
                      <a:pt x="26" y="494"/>
                    </a:lnTo>
                    <a:lnTo>
                      <a:pt x="52" y="508"/>
                    </a:lnTo>
                    <a:lnTo>
                      <a:pt x="52" y="520"/>
                    </a:lnTo>
                    <a:lnTo>
                      <a:pt x="64" y="546"/>
                    </a:lnTo>
                    <a:lnTo>
                      <a:pt x="78" y="560"/>
                    </a:lnTo>
                    <a:lnTo>
                      <a:pt x="156" y="598"/>
                    </a:lnTo>
                    <a:lnTo>
                      <a:pt x="208" y="598"/>
                    </a:lnTo>
                    <a:lnTo>
                      <a:pt x="246" y="598"/>
                    </a:lnTo>
                    <a:lnTo>
                      <a:pt x="286" y="586"/>
                    </a:lnTo>
                    <a:lnTo>
                      <a:pt x="312" y="572"/>
                    </a:lnTo>
                    <a:lnTo>
                      <a:pt x="338" y="560"/>
                    </a:lnTo>
                    <a:lnTo>
                      <a:pt x="376" y="572"/>
                    </a:lnTo>
                    <a:lnTo>
                      <a:pt x="390" y="598"/>
                    </a:lnTo>
                    <a:lnTo>
                      <a:pt x="416" y="612"/>
                    </a:lnTo>
                    <a:lnTo>
                      <a:pt x="442" y="586"/>
                    </a:lnTo>
                    <a:lnTo>
                      <a:pt x="468" y="598"/>
                    </a:lnTo>
                    <a:lnTo>
                      <a:pt x="468" y="638"/>
                    </a:lnTo>
                    <a:lnTo>
                      <a:pt x="454" y="650"/>
                    </a:lnTo>
                    <a:lnTo>
                      <a:pt x="454" y="690"/>
                    </a:lnTo>
                    <a:lnTo>
                      <a:pt x="468" y="716"/>
                    </a:lnTo>
                    <a:lnTo>
                      <a:pt x="494" y="742"/>
                    </a:lnTo>
                    <a:lnTo>
                      <a:pt x="506" y="768"/>
                    </a:lnTo>
                    <a:lnTo>
                      <a:pt x="520" y="780"/>
                    </a:lnTo>
                    <a:lnTo>
                      <a:pt x="532" y="820"/>
                    </a:lnTo>
                    <a:lnTo>
                      <a:pt x="520" y="846"/>
                    </a:lnTo>
                    <a:lnTo>
                      <a:pt x="532" y="858"/>
                    </a:lnTo>
                    <a:lnTo>
                      <a:pt x="546" y="872"/>
                    </a:lnTo>
                    <a:lnTo>
                      <a:pt x="532" y="898"/>
                    </a:lnTo>
                    <a:lnTo>
                      <a:pt x="520" y="924"/>
                    </a:lnTo>
                    <a:lnTo>
                      <a:pt x="506" y="962"/>
                    </a:lnTo>
                    <a:lnTo>
                      <a:pt x="506" y="1002"/>
                    </a:lnTo>
                    <a:lnTo>
                      <a:pt x="532" y="1066"/>
                    </a:lnTo>
                    <a:lnTo>
                      <a:pt x="558" y="1080"/>
                    </a:lnTo>
                    <a:lnTo>
                      <a:pt x="572" y="1170"/>
                    </a:lnTo>
                    <a:lnTo>
                      <a:pt x="598" y="1210"/>
                    </a:lnTo>
                    <a:lnTo>
                      <a:pt x="600" y="1204"/>
                    </a:lnTo>
                    <a:lnTo>
                      <a:pt x="624" y="1262"/>
                    </a:lnTo>
                    <a:lnTo>
                      <a:pt x="624" y="1288"/>
                    </a:lnTo>
                    <a:lnTo>
                      <a:pt x="636" y="1326"/>
                    </a:lnTo>
                    <a:lnTo>
                      <a:pt x="650" y="1326"/>
                    </a:lnTo>
                    <a:lnTo>
                      <a:pt x="676" y="1314"/>
                    </a:lnTo>
                    <a:lnTo>
                      <a:pt x="714" y="1314"/>
                    </a:lnTo>
                    <a:lnTo>
                      <a:pt x="754" y="1288"/>
                    </a:lnTo>
                    <a:lnTo>
                      <a:pt x="806" y="1262"/>
                    </a:lnTo>
                    <a:lnTo>
                      <a:pt x="858" y="1184"/>
                    </a:lnTo>
                    <a:lnTo>
                      <a:pt x="858" y="1170"/>
                    </a:lnTo>
                    <a:lnTo>
                      <a:pt x="844" y="1158"/>
                    </a:lnTo>
                    <a:lnTo>
                      <a:pt x="870" y="1170"/>
                    </a:lnTo>
                    <a:lnTo>
                      <a:pt x="870" y="1132"/>
                    </a:lnTo>
                    <a:lnTo>
                      <a:pt x="910" y="1106"/>
                    </a:lnTo>
                    <a:lnTo>
                      <a:pt x="910" y="1054"/>
                    </a:lnTo>
                    <a:lnTo>
                      <a:pt x="896" y="1040"/>
                    </a:lnTo>
                    <a:lnTo>
                      <a:pt x="910" y="1028"/>
                    </a:lnTo>
                    <a:lnTo>
                      <a:pt x="924" y="1014"/>
                    </a:lnTo>
                    <a:lnTo>
                      <a:pt x="936" y="1002"/>
                    </a:lnTo>
                    <a:lnTo>
                      <a:pt x="1002" y="950"/>
                    </a:lnTo>
                    <a:lnTo>
                      <a:pt x="1014" y="858"/>
                    </a:lnTo>
                    <a:lnTo>
                      <a:pt x="1002" y="846"/>
                    </a:lnTo>
                    <a:lnTo>
                      <a:pt x="1002" y="780"/>
                    </a:lnTo>
                    <a:lnTo>
                      <a:pt x="988" y="780"/>
                    </a:lnTo>
                    <a:lnTo>
                      <a:pt x="988" y="754"/>
                    </a:lnTo>
                    <a:lnTo>
                      <a:pt x="1026" y="690"/>
                    </a:lnTo>
                    <a:lnTo>
                      <a:pt x="1132" y="586"/>
                    </a:lnTo>
                    <a:lnTo>
                      <a:pt x="1196" y="468"/>
                    </a:lnTo>
                    <a:lnTo>
                      <a:pt x="1184" y="442"/>
                    </a:lnTo>
                    <a:lnTo>
                      <a:pt x="1158" y="456"/>
                    </a:lnTo>
                    <a:lnTo>
                      <a:pt x="1132" y="468"/>
                    </a:lnTo>
                    <a:lnTo>
                      <a:pt x="1092" y="468"/>
                    </a:lnTo>
                    <a:lnTo>
                      <a:pt x="1054" y="468"/>
                    </a:lnTo>
                    <a:lnTo>
                      <a:pt x="1054" y="456"/>
                    </a:lnTo>
                    <a:lnTo>
                      <a:pt x="1040" y="430"/>
                    </a:lnTo>
                    <a:lnTo>
                      <a:pt x="976" y="390"/>
                    </a:lnTo>
                    <a:lnTo>
                      <a:pt x="962" y="338"/>
                    </a:lnTo>
                    <a:lnTo>
                      <a:pt x="936" y="324"/>
                    </a:lnTo>
                    <a:lnTo>
                      <a:pt x="936" y="286"/>
                    </a:lnTo>
                    <a:lnTo>
                      <a:pt x="910" y="260"/>
                    </a:lnTo>
                    <a:lnTo>
                      <a:pt x="844" y="156"/>
                    </a:lnTo>
                    <a:lnTo>
                      <a:pt x="832" y="130"/>
                    </a:lnTo>
                    <a:lnTo>
                      <a:pt x="844" y="142"/>
                    </a:lnTo>
                    <a:lnTo>
                      <a:pt x="870" y="168"/>
                    </a:lnTo>
                    <a:lnTo>
                      <a:pt x="864" y="144"/>
                    </a:lnTo>
                  </a:path>
                </a:pathLst>
              </a:custGeom>
              <a:grpFill/>
              <a:ln w="9525" cmpd="sng">
                <a:solidFill>
                  <a:schemeClr val="accent6"/>
                </a:solidFill>
                <a:prstDash val="solid"/>
                <a:round/>
                <a:headEnd/>
                <a:tailEnd/>
              </a:ln>
            </p:spPr>
            <p:txBody>
              <a:bodyPr/>
              <a:lstStyle/>
              <a:p>
                <a:endParaRPr lang="en-US" sz="1400">
                  <a:latin typeface="+mn-lt"/>
                </a:endParaRPr>
              </a:p>
            </p:txBody>
          </p:sp>
          <p:sp>
            <p:nvSpPr>
              <p:cNvPr id="95" name="Freeform 88"/>
              <p:cNvSpPr>
                <a:spLocks/>
              </p:cNvSpPr>
              <p:nvPr/>
            </p:nvSpPr>
            <p:spPr bwMode="gray">
              <a:xfrm>
                <a:off x="4364038" y="3175632"/>
                <a:ext cx="15875" cy="28575"/>
              </a:xfrm>
              <a:custGeom>
                <a:avLst/>
                <a:gdLst>
                  <a:gd name="T0" fmla="*/ 0 w 10"/>
                  <a:gd name="T1" fmla="*/ 0 h 18"/>
                  <a:gd name="T2" fmla="*/ 0 w 10"/>
                  <a:gd name="T3" fmla="*/ 6 h 18"/>
                  <a:gd name="T4" fmla="*/ 0 w 10"/>
                  <a:gd name="T5" fmla="*/ 6 h 18"/>
                  <a:gd name="T6" fmla="*/ 10 w 10"/>
                  <a:gd name="T7" fmla="*/ 18 h 18"/>
                  <a:gd name="T8" fmla="*/ 0 w 10"/>
                  <a:gd name="T9" fmla="*/ 0 h 18"/>
                  <a:gd name="T10" fmla="*/ 0 60000 65536"/>
                  <a:gd name="T11" fmla="*/ 0 60000 65536"/>
                  <a:gd name="T12" fmla="*/ 0 60000 65536"/>
                  <a:gd name="T13" fmla="*/ 0 60000 65536"/>
                  <a:gd name="T14" fmla="*/ 0 60000 65536"/>
                  <a:gd name="T15" fmla="*/ 0 w 10"/>
                  <a:gd name="T16" fmla="*/ 0 h 18"/>
                  <a:gd name="T17" fmla="*/ 10 w 10"/>
                  <a:gd name="T18" fmla="*/ 18 h 18"/>
                </a:gdLst>
                <a:ahLst/>
                <a:cxnLst>
                  <a:cxn ang="T10">
                    <a:pos x="T0" y="T1"/>
                  </a:cxn>
                  <a:cxn ang="T11">
                    <a:pos x="T2" y="T3"/>
                  </a:cxn>
                  <a:cxn ang="T12">
                    <a:pos x="T4" y="T5"/>
                  </a:cxn>
                  <a:cxn ang="T13">
                    <a:pos x="T6" y="T7"/>
                  </a:cxn>
                  <a:cxn ang="T14">
                    <a:pos x="T8" y="T9"/>
                  </a:cxn>
                </a:cxnLst>
                <a:rect l="T15" t="T16" r="T17" b="T18"/>
                <a:pathLst>
                  <a:path w="10" h="18">
                    <a:moveTo>
                      <a:pt x="0" y="0"/>
                    </a:moveTo>
                    <a:lnTo>
                      <a:pt x="0" y="6"/>
                    </a:lnTo>
                    <a:lnTo>
                      <a:pt x="10" y="18"/>
                    </a:lnTo>
                    <a:lnTo>
                      <a:pt x="0" y="0"/>
                    </a:lnTo>
                    <a:close/>
                  </a:path>
                </a:pathLst>
              </a:custGeom>
              <a:grpFill/>
              <a:ln w="9525" cmpd="sng">
                <a:solidFill>
                  <a:schemeClr val="accent6"/>
                </a:solidFill>
                <a:prstDash val="solid"/>
                <a:round/>
                <a:headEnd/>
                <a:tailEnd/>
              </a:ln>
            </p:spPr>
            <p:txBody>
              <a:bodyPr/>
              <a:lstStyle/>
              <a:p>
                <a:endParaRPr lang="en-US" sz="1400">
                  <a:latin typeface="+mn-lt"/>
                </a:endParaRPr>
              </a:p>
            </p:txBody>
          </p:sp>
          <p:sp>
            <p:nvSpPr>
              <p:cNvPr id="96" name="Freeform 89"/>
              <p:cNvSpPr>
                <a:spLocks/>
              </p:cNvSpPr>
              <p:nvPr/>
            </p:nvSpPr>
            <p:spPr bwMode="gray">
              <a:xfrm>
                <a:off x="4364038" y="3191507"/>
                <a:ext cx="22225" cy="66675"/>
              </a:xfrm>
              <a:custGeom>
                <a:avLst/>
                <a:gdLst>
                  <a:gd name="T0" fmla="*/ 6 w 14"/>
                  <a:gd name="T1" fmla="*/ 0 h 42"/>
                  <a:gd name="T2" fmla="*/ 14 w 14"/>
                  <a:gd name="T3" fmla="*/ 16 h 42"/>
                  <a:gd name="T4" fmla="*/ 0 w 14"/>
                  <a:gd name="T5" fmla="*/ 28 h 42"/>
                  <a:gd name="T6" fmla="*/ 0 w 14"/>
                  <a:gd name="T7" fmla="*/ 42 h 42"/>
                  <a:gd name="T8" fmla="*/ 6 w 14"/>
                  <a:gd name="T9" fmla="*/ 0 h 42"/>
                  <a:gd name="T10" fmla="*/ 0 60000 65536"/>
                  <a:gd name="T11" fmla="*/ 0 60000 65536"/>
                  <a:gd name="T12" fmla="*/ 0 60000 65536"/>
                  <a:gd name="T13" fmla="*/ 0 60000 65536"/>
                  <a:gd name="T14" fmla="*/ 0 60000 65536"/>
                  <a:gd name="T15" fmla="*/ 0 w 14"/>
                  <a:gd name="T16" fmla="*/ 0 h 42"/>
                  <a:gd name="T17" fmla="*/ 14 w 14"/>
                  <a:gd name="T18" fmla="*/ 42 h 42"/>
                </a:gdLst>
                <a:ahLst/>
                <a:cxnLst>
                  <a:cxn ang="T10">
                    <a:pos x="T0" y="T1"/>
                  </a:cxn>
                  <a:cxn ang="T11">
                    <a:pos x="T2" y="T3"/>
                  </a:cxn>
                  <a:cxn ang="T12">
                    <a:pos x="T4" y="T5"/>
                  </a:cxn>
                  <a:cxn ang="T13">
                    <a:pos x="T6" y="T7"/>
                  </a:cxn>
                  <a:cxn ang="T14">
                    <a:pos x="T8" y="T9"/>
                  </a:cxn>
                </a:cxnLst>
                <a:rect l="T15" t="T16" r="T17" b="T18"/>
                <a:pathLst>
                  <a:path w="14" h="42">
                    <a:moveTo>
                      <a:pt x="6" y="0"/>
                    </a:moveTo>
                    <a:lnTo>
                      <a:pt x="14" y="16"/>
                    </a:lnTo>
                    <a:lnTo>
                      <a:pt x="0" y="28"/>
                    </a:lnTo>
                    <a:lnTo>
                      <a:pt x="0" y="42"/>
                    </a:lnTo>
                    <a:lnTo>
                      <a:pt x="6" y="0"/>
                    </a:lnTo>
                    <a:close/>
                  </a:path>
                </a:pathLst>
              </a:custGeom>
              <a:grpFill/>
              <a:ln w="9525" cmpd="sng">
                <a:solidFill>
                  <a:schemeClr val="accent6"/>
                </a:solidFill>
                <a:round/>
                <a:headEnd/>
                <a:tailEnd/>
              </a:ln>
            </p:spPr>
            <p:txBody>
              <a:bodyPr/>
              <a:lstStyle/>
              <a:p>
                <a:endParaRPr lang="en-US" sz="1400">
                  <a:latin typeface="+mn-lt"/>
                </a:endParaRPr>
              </a:p>
            </p:txBody>
          </p:sp>
          <p:sp>
            <p:nvSpPr>
              <p:cNvPr id="97" name="Freeform 90"/>
              <p:cNvSpPr>
                <a:spLocks/>
              </p:cNvSpPr>
              <p:nvPr/>
            </p:nvSpPr>
            <p:spPr bwMode="gray">
              <a:xfrm>
                <a:off x="4364038" y="3191507"/>
                <a:ext cx="22225" cy="66675"/>
              </a:xfrm>
              <a:custGeom>
                <a:avLst/>
                <a:gdLst>
                  <a:gd name="T0" fmla="*/ 6 w 14"/>
                  <a:gd name="T1" fmla="*/ 0 h 42"/>
                  <a:gd name="T2" fmla="*/ 14 w 14"/>
                  <a:gd name="T3" fmla="*/ 16 h 42"/>
                  <a:gd name="T4" fmla="*/ 0 w 14"/>
                  <a:gd name="T5" fmla="*/ 28 h 42"/>
                  <a:gd name="T6" fmla="*/ 0 w 14"/>
                  <a:gd name="T7" fmla="*/ 42 h 42"/>
                  <a:gd name="T8" fmla="*/ 0 60000 65536"/>
                  <a:gd name="T9" fmla="*/ 0 60000 65536"/>
                  <a:gd name="T10" fmla="*/ 0 60000 65536"/>
                  <a:gd name="T11" fmla="*/ 0 60000 65536"/>
                  <a:gd name="T12" fmla="*/ 0 w 14"/>
                  <a:gd name="T13" fmla="*/ 0 h 42"/>
                  <a:gd name="T14" fmla="*/ 14 w 14"/>
                  <a:gd name="T15" fmla="*/ 42 h 42"/>
                </a:gdLst>
                <a:ahLst/>
                <a:cxnLst>
                  <a:cxn ang="T8">
                    <a:pos x="T0" y="T1"/>
                  </a:cxn>
                  <a:cxn ang="T9">
                    <a:pos x="T2" y="T3"/>
                  </a:cxn>
                  <a:cxn ang="T10">
                    <a:pos x="T4" y="T5"/>
                  </a:cxn>
                  <a:cxn ang="T11">
                    <a:pos x="T6" y="T7"/>
                  </a:cxn>
                </a:cxnLst>
                <a:rect l="T12" t="T13" r="T14" b="T15"/>
                <a:pathLst>
                  <a:path w="14" h="42">
                    <a:moveTo>
                      <a:pt x="6" y="0"/>
                    </a:moveTo>
                    <a:lnTo>
                      <a:pt x="14" y="16"/>
                    </a:lnTo>
                    <a:lnTo>
                      <a:pt x="0" y="28"/>
                    </a:lnTo>
                    <a:lnTo>
                      <a:pt x="0" y="42"/>
                    </a:lnTo>
                  </a:path>
                </a:pathLst>
              </a:custGeom>
              <a:grpFill/>
              <a:ln w="9525" cmpd="sng">
                <a:solidFill>
                  <a:schemeClr val="accent6"/>
                </a:solidFill>
                <a:prstDash val="solid"/>
                <a:round/>
                <a:headEnd/>
                <a:tailEnd/>
              </a:ln>
            </p:spPr>
            <p:txBody>
              <a:bodyPr/>
              <a:lstStyle/>
              <a:p>
                <a:endParaRPr lang="en-US" sz="1400">
                  <a:latin typeface="+mn-lt"/>
                </a:endParaRPr>
              </a:p>
            </p:txBody>
          </p:sp>
          <p:sp>
            <p:nvSpPr>
              <p:cNvPr id="98" name="Freeform 91"/>
              <p:cNvSpPr>
                <a:spLocks/>
              </p:cNvSpPr>
              <p:nvPr/>
            </p:nvSpPr>
            <p:spPr bwMode="gray">
              <a:xfrm>
                <a:off x="6926264" y="5404482"/>
                <a:ext cx="104775" cy="123825"/>
              </a:xfrm>
              <a:custGeom>
                <a:avLst/>
                <a:gdLst>
                  <a:gd name="T0" fmla="*/ 52 w 66"/>
                  <a:gd name="T1" fmla="*/ 0 h 78"/>
                  <a:gd name="T2" fmla="*/ 26 w 66"/>
                  <a:gd name="T3" fmla="*/ 0 h 78"/>
                  <a:gd name="T4" fmla="*/ 0 w 66"/>
                  <a:gd name="T5" fmla="*/ 0 h 78"/>
                  <a:gd name="T6" fmla="*/ 12 w 66"/>
                  <a:gd name="T7" fmla="*/ 26 h 78"/>
                  <a:gd name="T8" fmla="*/ 12 w 66"/>
                  <a:gd name="T9" fmla="*/ 52 h 78"/>
                  <a:gd name="T10" fmla="*/ 12 w 66"/>
                  <a:gd name="T11" fmla="*/ 66 h 78"/>
                  <a:gd name="T12" fmla="*/ 40 w 66"/>
                  <a:gd name="T13" fmla="*/ 78 h 78"/>
                  <a:gd name="T14" fmla="*/ 40 w 66"/>
                  <a:gd name="T15" fmla="*/ 66 h 78"/>
                  <a:gd name="T16" fmla="*/ 52 w 66"/>
                  <a:gd name="T17" fmla="*/ 52 h 78"/>
                  <a:gd name="T18" fmla="*/ 66 w 66"/>
                  <a:gd name="T19" fmla="*/ 40 h 78"/>
                  <a:gd name="T20" fmla="*/ 66 w 66"/>
                  <a:gd name="T21" fmla="*/ 26 h 78"/>
                  <a:gd name="T22" fmla="*/ 66 w 66"/>
                  <a:gd name="T23" fmla="*/ 14 h 78"/>
                  <a:gd name="T24" fmla="*/ 52 w 66"/>
                  <a:gd name="T25" fmla="*/ 14 h 78"/>
                  <a:gd name="T26" fmla="*/ 52 w 66"/>
                  <a:gd name="T27" fmla="*/ 0 h 78"/>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66"/>
                  <a:gd name="T43" fmla="*/ 0 h 78"/>
                  <a:gd name="T44" fmla="*/ 66 w 66"/>
                  <a:gd name="T45" fmla="*/ 78 h 78"/>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66" h="78">
                    <a:moveTo>
                      <a:pt x="52" y="0"/>
                    </a:moveTo>
                    <a:lnTo>
                      <a:pt x="26" y="0"/>
                    </a:lnTo>
                    <a:lnTo>
                      <a:pt x="0" y="0"/>
                    </a:lnTo>
                    <a:lnTo>
                      <a:pt x="12" y="26"/>
                    </a:lnTo>
                    <a:lnTo>
                      <a:pt x="12" y="52"/>
                    </a:lnTo>
                    <a:lnTo>
                      <a:pt x="12" y="66"/>
                    </a:lnTo>
                    <a:lnTo>
                      <a:pt x="40" y="78"/>
                    </a:lnTo>
                    <a:lnTo>
                      <a:pt x="40" y="66"/>
                    </a:lnTo>
                    <a:lnTo>
                      <a:pt x="52" y="52"/>
                    </a:lnTo>
                    <a:lnTo>
                      <a:pt x="66" y="40"/>
                    </a:lnTo>
                    <a:lnTo>
                      <a:pt x="66" y="26"/>
                    </a:lnTo>
                    <a:lnTo>
                      <a:pt x="66" y="14"/>
                    </a:lnTo>
                    <a:lnTo>
                      <a:pt x="52" y="14"/>
                    </a:lnTo>
                    <a:lnTo>
                      <a:pt x="52" y="0"/>
                    </a:lnTo>
                    <a:close/>
                  </a:path>
                </a:pathLst>
              </a:custGeom>
              <a:grpFill/>
              <a:ln w="9525" cap="flat" cmpd="sng">
                <a:solidFill>
                  <a:schemeClr val="accent6"/>
                </a:solidFill>
                <a:prstDash val="solid"/>
                <a:miter lim="800000"/>
                <a:headEnd/>
                <a:tailEnd/>
              </a:ln>
            </p:spPr>
            <p:txBody>
              <a:bodyPr/>
              <a:lstStyle/>
              <a:p>
                <a:endParaRPr lang="en-US" sz="1400">
                  <a:latin typeface="+mn-lt"/>
                </a:endParaRPr>
              </a:p>
            </p:txBody>
          </p:sp>
          <p:sp>
            <p:nvSpPr>
              <p:cNvPr id="99" name="Freeform 92"/>
              <p:cNvSpPr>
                <a:spLocks/>
              </p:cNvSpPr>
              <p:nvPr/>
            </p:nvSpPr>
            <p:spPr bwMode="gray">
              <a:xfrm>
                <a:off x="6243639" y="4455157"/>
                <a:ext cx="993775" cy="889000"/>
              </a:xfrm>
              <a:custGeom>
                <a:avLst/>
                <a:gdLst>
                  <a:gd name="T0" fmla="*/ 586 w 626"/>
                  <a:gd name="T1" fmla="*/ 208 h 560"/>
                  <a:gd name="T2" fmla="*/ 560 w 626"/>
                  <a:gd name="T3" fmla="*/ 170 h 560"/>
                  <a:gd name="T4" fmla="*/ 548 w 626"/>
                  <a:gd name="T5" fmla="*/ 130 h 560"/>
                  <a:gd name="T6" fmla="*/ 534 w 626"/>
                  <a:gd name="T7" fmla="*/ 92 h 560"/>
                  <a:gd name="T8" fmla="*/ 520 w 626"/>
                  <a:gd name="T9" fmla="*/ 40 h 560"/>
                  <a:gd name="T10" fmla="*/ 508 w 626"/>
                  <a:gd name="T11" fmla="*/ 78 h 560"/>
                  <a:gd name="T12" fmla="*/ 482 w 626"/>
                  <a:gd name="T13" fmla="*/ 130 h 560"/>
                  <a:gd name="T14" fmla="*/ 442 w 626"/>
                  <a:gd name="T15" fmla="*/ 104 h 560"/>
                  <a:gd name="T16" fmla="*/ 416 w 626"/>
                  <a:gd name="T17" fmla="*/ 78 h 560"/>
                  <a:gd name="T18" fmla="*/ 416 w 626"/>
                  <a:gd name="T19" fmla="*/ 52 h 560"/>
                  <a:gd name="T20" fmla="*/ 430 w 626"/>
                  <a:gd name="T21" fmla="*/ 26 h 560"/>
                  <a:gd name="T22" fmla="*/ 378 w 626"/>
                  <a:gd name="T23" fmla="*/ 14 h 560"/>
                  <a:gd name="T24" fmla="*/ 352 w 626"/>
                  <a:gd name="T25" fmla="*/ 26 h 560"/>
                  <a:gd name="T26" fmla="*/ 314 w 626"/>
                  <a:gd name="T27" fmla="*/ 26 h 560"/>
                  <a:gd name="T28" fmla="*/ 300 w 626"/>
                  <a:gd name="T29" fmla="*/ 52 h 560"/>
                  <a:gd name="T30" fmla="*/ 260 w 626"/>
                  <a:gd name="T31" fmla="*/ 52 h 560"/>
                  <a:gd name="T32" fmla="*/ 222 w 626"/>
                  <a:gd name="T33" fmla="*/ 52 h 560"/>
                  <a:gd name="T34" fmla="*/ 182 w 626"/>
                  <a:gd name="T35" fmla="*/ 66 h 560"/>
                  <a:gd name="T36" fmla="*/ 170 w 626"/>
                  <a:gd name="T37" fmla="*/ 92 h 560"/>
                  <a:gd name="T38" fmla="*/ 130 w 626"/>
                  <a:gd name="T39" fmla="*/ 118 h 560"/>
                  <a:gd name="T40" fmla="*/ 66 w 626"/>
                  <a:gd name="T41" fmla="*/ 130 h 560"/>
                  <a:gd name="T42" fmla="*/ 26 w 626"/>
                  <a:gd name="T43" fmla="*/ 144 h 560"/>
                  <a:gd name="T44" fmla="*/ 26 w 626"/>
                  <a:gd name="T45" fmla="*/ 222 h 560"/>
                  <a:gd name="T46" fmla="*/ 0 w 626"/>
                  <a:gd name="T47" fmla="*/ 248 h 560"/>
                  <a:gd name="T48" fmla="*/ 14 w 626"/>
                  <a:gd name="T49" fmla="*/ 338 h 560"/>
                  <a:gd name="T50" fmla="*/ 14 w 626"/>
                  <a:gd name="T51" fmla="*/ 390 h 560"/>
                  <a:gd name="T52" fmla="*/ 26 w 626"/>
                  <a:gd name="T53" fmla="*/ 404 h 560"/>
                  <a:gd name="T54" fmla="*/ 78 w 626"/>
                  <a:gd name="T55" fmla="*/ 378 h 560"/>
                  <a:gd name="T56" fmla="*/ 118 w 626"/>
                  <a:gd name="T57" fmla="*/ 390 h 560"/>
                  <a:gd name="T58" fmla="*/ 156 w 626"/>
                  <a:gd name="T59" fmla="*/ 364 h 560"/>
                  <a:gd name="T60" fmla="*/ 208 w 626"/>
                  <a:gd name="T61" fmla="*/ 364 h 560"/>
                  <a:gd name="T62" fmla="*/ 286 w 626"/>
                  <a:gd name="T63" fmla="*/ 390 h 560"/>
                  <a:gd name="T64" fmla="*/ 314 w 626"/>
                  <a:gd name="T65" fmla="*/ 430 h 560"/>
                  <a:gd name="T66" fmla="*/ 352 w 626"/>
                  <a:gd name="T67" fmla="*/ 416 h 560"/>
                  <a:gd name="T68" fmla="*/ 364 w 626"/>
                  <a:gd name="T69" fmla="*/ 416 h 560"/>
                  <a:gd name="T70" fmla="*/ 338 w 626"/>
                  <a:gd name="T71" fmla="*/ 456 h 560"/>
                  <a:gd name="T72" fmla="*/ 392 w 626"/>
                  <a:gd name="T73" fmla="*/ 430 h 560"/>
                  <a:gd name="T74" fmla="*/ 352 w 626"/>
                  <a:gd name="T75" fmla="*/ 468 h 560"/>
                  <a:gd name="T76" fmla="*/ 392 w 626"/>
                  <a:gd name="T77" fmla="*/ 456 h 560"/>
                  <a:gd name="T78" fmla="*/ 378 w 626"/>
                  <a:gd name="T79" fmla="*/ 494 h 560"/>
                  <a:gd name="T80" fmla="*/ 404 w 626"/>
                  <a:gd name="T81" fmla="*/ 534 h 560"/>
                  <a:gd name="T82" fmla="*/ 442 w 626"/>
                  <a:gd name="T83" fmla="*/ 546 h 560"/>
                  <a:gd name="T84" fmla="*/ 456 w 626"/>
                  <a:gd name="T85" fmla="*/ 546 h 560"/>
                  <a:gd name="T86" fmla="*/ 508 w 626"/>
                  <a:gd name="T87" fmla="*/ 546 h 560"/>
                  <a:gd name="T88" fmla="*/ 534 w 626"/>
                  <a:gd name="T89" fmla="*/ 546 h 560"/>
                  <a:gd name="T90" fmla="*/ 574 w 626"/>
                  <a:gd name="T91" fmla="*/ 482 h 560"/>
                  <a:gd name="T92" fmla="*/ 612 w 626"/>
                  <a:gd name="T93" fmla="*/ 430 h 560"/>
                  <a:gd name="T94" fmla="*/ 626 w 626"/>
                  <a:gd name="T95" fmla="*/ 338 h 560"/>
                  <a:gd name="T96" fmla="*/ 612 w 626"/>
                  <a:gd name="T97" fmla="*/ 234 h 560"/>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626"/>
                  <a:gd name="T148" fmla="*/ 0 h 560"/>
                  <a:gd name="T149" fmla="*/ 626 w 626"/>
                  <a:gd name="T150" fmla="*/ 560 h 560"/>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626" h="560">
                    <a:moveTo>
                      <a:pt x="612" y="234"/>
                    </a:moveTo>
                    <a:lnTo>
                      <a:pt x="586" y="208"/>
                    </a:lnTo>
                    <a:lnTo>
                      <a:pt x="574" y="182"/>
                    </a:lnTo>
                    <a:lnTo>
                      <a:pt x="560" y="170"/>
                    </a:lnTo>
                    <a:lnTo>
                      <a:pt x="548" y="156"/>
                    </a:lnTo>
                    <a:lnTo>
                      <a:pt x="548" y="130"/>
                    </a:lnTo>
                    <a:lnTo>
                      <a:pt x="548" y="104"/>
                    </a:lnTo>
                    <a:lnTo>
                      <a:pt x="534" y="92"/>
                    </a:lnTo>
                    <a:lnTo>
                      <a:pt x="520" y="66"/>
                    </a:lnTo>
                    <a:lnTo>
                      <a:pt x="520" y="40"/>
                    </a:lnTo>
                    <a:lnTo>
                      <a:pt x="508" y="52"/>
                    </a:lnTo>
                    <a:lnTo>
                      <a:pt x="508" y="78"/>
                    </a:lnTo>
                    <a:lnTo>
                      <a:pt x="496" y="118"/>
                    </a:lnTo>
                    <a:lnTo>
                      <a:pt x="482" y="130"/>
                    </a:lnTo>
                    <a:lnTo>
                      <a:pt x="470" y="130"/>
                    </a:lnTo>
                    <a:lnTo>
                      <a:pt x="442" y="104"/>
                    </a:lnTo>
                    <a:lnTo>
                      <a:pt x="430" y="92"/>
                    </a:lnTo>
                    <a:lnTo>
                      <a:pt x="416" y="78"/>
                    </a:lnTo>
                    <a:lnTo>
                      <a:pt x="404" y="66"/>
                    </a:lnTo>
                    <a:lnTo>
                      <a:pt x="416" y="52"/>
                    </a:lnTo>
                    <a:lnTo>
                      <a:pt x="430" y="40"/>
                    </a:lnTo>
                    <a:lnTo>
                      <a:pt x="430" y="26"/>
                    </a:lnTo>
                    <a:lnTo>
                      <a:pt x="416" y="26"/>
                    </a:lnTo>
                    <a:lnTo>
                      <a:pt x="378" y="14"/>
                    </a:lnTo>
                    <a:lnTo>
                      <a:pt x="364" y="0"/>
                    </a:lnTo>
                    <a:lnTo>
                      <a:pt x="352" y="26"/>
                    </a:lnTo>
                    <a:lnTo>
                      <a:pt x="338" y="14"/>
                    </a:lnTo>
                    <a:lnTo>
                      <a:pt x="314" y="26"/>
                    </a:lnTo>
                    <a:lnTo>
                      <a:pt x="314" y="52"/>
                    </a:lnTo>
                    <a:lnTo>
                      <a:pt x="300" y="52"/>
                    </a:lnTo>
                    <a:lnTo>
                      <a:pt x="274" y="52"/>
                    </a:lnTo>
                    <a:lnTo>
                      <a:pt x="260" y="52"/>
                    </a:lnTo>
                    <a:lnTo>
                      <a:pt x="260" y="40"/>
                    </a:lnTo>
                    <a:lnTo>
                      <a:pt x="222" y="52"/>
                    </a:lnTo>
                    <a:lnTo>
                      <a:pt x="208" y="66"/>
                    </a:lnTo>
                    <a:lnTo>
                      <a:pt x="182" y="66"/>
                    </a:lnTo>
                    <a:lnTo>
                      <a:pt x="170" y="78"/>
                    </a:lnTo>
                    <a:lnTo>
                      <a:pt x="170" y="92"/>
                    </a:lnTo>
                    <a:lnTo>
                      <a:pt x="144" y="118"/>
                    </a:lnTo>
                    <a:lnTo>
                      <a:pt x="130" y="118"/>
                    </a:lnTo>
                    <a:lnTo>
                      <a:pt x="130" y="130"/>
                    </a:lnTo>
                    <a:lnTo>
                      <a:pt x="66" y="130"/>
                    </a:lnTo>
                    <a:lnTo>
                      <a:pt x="40" y="130"/>
                    </a:lnTo>
                    <a:lnTo>
                      <a:pt x="26" y="144"/>
                    </a:lnTo>
                    <a:lnTo>
                      <a:pt x="14" y="182"/>
                    </a:lnTo>
                    <a:lnTo>
                      <a:pt x="26" y="222"/>
                    </a:lnTo>
                    <a:lnTo>
                      <a:pt x="0" y="208"/>
                    </a:lnTo>
                    <a:lnTo>
                      <a:pt x="0" y="248"/>
                    </a:lnTo>
                    <a:lnTo>
                      <a:pt x="14" y="326"/>
                    </a:lnTo>
                    <a:lnTo>
                      <a:pt x="14" y="338"/>
                    </a:lnTo>
                    <a:lnTo>
                      <a:pt x="0" y="378"/>
                    </a:lnTo>
                    <a:lnTo>
                      <a:pt x="14" y="390"/>
                    </a:lnTo>
                    <a:lnTo>
                      <a:pt x="26" y="390"/>
                    </a:lnTo>
                    <a:lnTo>
                      <a:pt x="26" y="404"/>
                    </a:lnTo>
                    <a:lnTo>
                      <a:pt x="52" y="404"/>
                    </a:lnTo>
                    <a:lnTo>
                      <a:pt x="78" y="378"/>
                    </a:lnTo>
                    <a:lnTo>
                      <a:pt x="104" y="390"/>
                    </a:lnTo>
                    <a:lnTo>
                      <a:pt x="118" y="390"/>
                    </a:lnTo>
                    <a:lnTo>
                      <a:pt x="144" y="390"/>
                    </a:lnTo>
                    <a:lnTo>
                      <a:pt x="156" y="364"/>
                    </a:lnTo>
                    <a:lnTo>
                      <a:pt x="182" y="364"/>
                    </a:lnTo>
                    <a:lnTo>
                      <a:pt x="208" y="364"/>
                    </a:lnTo>
                    <a:lnTo>
                      <a:pt x="260" y="364"/>
                    </a:lnTo>
                    <a:lnTo>
                      <a:pt x="286" y="390"/>
                    </a:lnTo>
                    <a:lnTo>
                      <a:pt x="314" y="416"/>
                    </a:lnTo>
                    <a:lnTo>
                      <a:pt x="314" y="430"/>
                    </a:lnTo>
                    <a:lnTo>
                      <a:pt x="326" y="430"/>
                    </a:lnTo>
                    <a:lnTo>
                      <a:pt x="352" y="416"/>
                    </a:lnTo>
                    <a:lnTo>
                      <a:pt x="378" y="390"/>
                    </a:lnTo>
                    <a:lnTo>
                      <a:pt x="364" y="416"/>
                    </a:lnTo>
                    <a:lnTo>
                      <a:pt x="352" y="442"/>
                    </a:lnTo>
                    <a:lnTo>
                      <a:pt x="338" y="456"/>
                    </a:lnTo>
                    <a:lnTo>
                      <a:pt x="364" y="442"/>
                    </a:lnTo>
                    <a:lnTo>
                      <a:pt x="392" y="430"/>
                    </a:lnTo>
                    <a:lnTo>
                      <a:pt x="364" y="456"/>
                    </a:lnTo>
                    <a:lnTo>
                      <a:pt x="352" y="468"/>
                    </a:lnTo>
                    <a:lnTo>
                      <a:pt x="378" y="456"/>
                    </a:lnTo>
                    <a:lnTo>
                      <a:pt x="392" y="456"/>
                    </a:lnTo>
                    <a:lnTo>
                      <a:pt x="378" y="482"/>
                    </a:lnTo>
                    <a:lnTo>
                      <a:pt x="378" y="494"/>
                    </a:lnTo>
                    <a:lnTo>
                      <a:pt x="378" y="508"/>
                    </a:lnTo>
                    <a:lnTo>
                      <a:pt x="404" y="534"/>
                    </a:lnTo>
                    <a:lnTo>
                      <a:pt x="416" y="546"/>
                    </a:lnTo>
                    <a:lnTo>
                      <a:pt x="442" y="546"/>
                    </a:lnTo>
                    <a:lnTo>
                      <a:pt x="470" y="534"/>
                    </a:lnTo>
                    <a:lnTo>
                      <a:pt x="456" y="546"/>
                    </a:lnTo>
                    <a:lnTo>
                      <a:pt x="470" y="560"/>
                    </a:lnTo>
                    <a:lnTo>
                      <a:pt x="508" y="546"/>
                    </a:lnTo>
                    <a:lnTo>
                      <a:pt x="520" y="546"/>
                    </a:lnTo>
                    <a:lnTo>
                      <a:pt x="534" y="546"/>
                    </a:lnTo>
                    <a:lnTo>
                      <a:pt x="560" y="508"/>
                    </a:lnTo>
                    <a:lnTo>
                      <a:pt x="574" y="482"/>
                    </a:lnTo>
                    <a:lnTo>
                      <a:pt x="586" y="468"/>
                    </a:lnTo>
                    <a:lnTo>
                      <a:pt x="612" y="430"/>
                    </a:lnTo>
                    <a:lnTo>
                      <a:pt x="626" y="390"/>
                    </a:lnTo>
                    <a:lnTo>
                      <a:pt x="626" y="338"/>
                    </a:lnTo>
                    <a:lnTo>
                      <a:pt x="626" y="274"/>
                    </a:lnTo>
                    <a:lnTo>
                      <a:pt x="612" y="234"/>
                    </a:lnTo>
                    <a:close/>
                  </a:path>
                </a:pathLst>
              </a:custGeom>
              <a:grpFill/>
              <a:ln w="9525" cap="flat" cmpd="sng">
                <a:solidFill>
                  <a:schemeClr val="accent6"/>
                </a:solidFill>
                <a:prstDash val="solid"/>
                <a:miter lim="800000"/>
                <a:headEnd/>
                <a:tailEnd/>
              </a:ln>
            </p:spPr>
            <p:txBody>
              <a:bodyPr/>
              <a:lstStyle/>
              <a:p>
                <a:endParaRPr lang="en-US" sz="1400">
                  <a:latin typeface="+mn-lt"/>
                </a:endParaRPr>
              </a:p>
            </p:txBody>
          </p:sp>
        </p:grpSp>
        <p:sp>
          <p:nvSpPr>
            <p:cNvPr id="100" name="Rectangle 207"/>
            <p:cNvSpPr txBox="1"/>
            <p:nvPr/>
          </p:nvSpPr>
          <p:spPr>
            <a:xfrm>
              <a:off x="1013224" y="2338985"/>
              <a:ext cx="1449388" cy="868559"/>
            </a:xfrm>
            <a:prstGeom prst="rect">
              <a:avLst/>
            </a:prstGeom>
            <a:solidFill>
              <a:schemeClr val="accent3">
                <a:alpha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defPPr>
                <a:defRPr lang="en-US"/>
              </a:defPPr>
              <a:lvl1pPr>
                <a:defRPr sz="5400">
                  <a:solidFill>
                    <a:schemeClr val="bg1"/>
                  </a:solidFill>
                  <a:latin typeface="+mn-lt"/>
                </a:defRPr>
              </a:lvl1pPr>
              <a:lvl2pPr>
                <a:defRPr>
                  <a:solidFill>
                    <a:schemeClr val="lt1"/>
                  </a:solidFill>
                  <a:latin typeface="+mn-lt"/>
                </a:defRPr>
              </a:lvl2pPr>
              <a:lvl3pPr>
                <a:defRPr>
                  <a:solidFill>
                    <a:schemeClr val="lt1"/>
                  </a:solidFill>
                  <a:latin typeface="+mn-lt"/>
                </a:defRPr>
              </a:lvl3pPr>
              <a:lvl4pPr>
                <a:defRPr>
                  <a:solidFill>
                    <a:schemeClr val="lt1"/>
                  </a:solidFill>
                  <a:latin typeface="+mn-lt"/>
                </a:defRPr>
              </a:lvl4pPr>
              <a:lvl5pPr>
                <a:defRPr>
                  <a:solidFill>
                    <a:schemeClr val="lt1"/>
                  </a:solidFill>
                  <a:latin typeface="+mn-lt"/>
                </a:defRPr>
              </a:lvl5pPr>
              <a:lvl6pPr>
                <a:defRPr>
                  <a:solidFill>
                    <a:schemeClr val="lt1"/>
                  </a:solidFill>
                  <a:latin typeface="+mn-lt"/>
                </a:defRPr>
              </a:lvl6pPr>
              <a:lvl7pPr>
                <a:defRPr>
                  <a:solidFill>
                    <a:schemeClr val="lt1"/>
                  </a:solidFill>
                  <a:latin typeface="+mn-lt"/>
                </a:defRPr>
              </a:lvl7pPr>
              <a:lvl8pPr>
                <a:defRPr>
                  <a:solidFill>
                    <a:schemeClr val="lt1"/>
                  </a:solidFill>
                  <a:latin typeface="+mn-lt"/>
                </a:defRPr>
              </a:lvl8pPr>
              <a:lvl9pPr>
                <a:defRPr>
                  <a:solidFill>
                    <a:schemeClr val="lt1"/>
                  </a:solidFill>
                  <a:latin typeface="+mn-lt"/>
                </a:defRPr>
              </a:lvl9pPr>
            </a:lstStyle>
            <a:p>
              <a:endParaRPr lang="en-US" sz="1400" dirty="0"/>
            </a:p>
          </p:txBody>
        </p:sp>
        <p:sp>
          <p:nvSpPr>
            <p:cNvPr id="101" name="AutoShape 95"/>
            <p:cNvSpPr>
              <a:spLocks noChangeArrowheads="1"/>
            </p:cNvSpPr>
            <p:nvPr/>
          </p:nvSpPr>
          <p:spPr bwMode="gray">
            <a:xfrm>
              <a:off x="1219598" y="2810211"/>
              <a:ext cx="1335088" cy="227945"/>
            </a:xfrm>
            <a:prstGeom prst="roundRect">
              <a:avLst>
                <a:gd name="adj" fmla="val 10417"/>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round/>
                  <a:headEnd/>
                  <a:tailEnd/>
                </a14:hiddenLine>
              </a:ext>
            </a:extLst>
          </p:spPr>
          <p:txBody>
            <a:bodyPr lIns="0" tIns="0" rIns="0" bIns="0" anchor="ctr">
              <a:spAutoFit/>
            </a:bodyPr>
            <a:lstStyle/>
            <a:p>
              <a:endParaRPr lang="en-US" sz="1400">
                <a:latin typeface="+mn-lt"/>
                <a:cs typeface="Arial" charset="0"/>
              </a:endParaRPr>
            </a:p>
          </p:txBody>
        </p:sp>
        <p:sp>
          <p:nvSpPr>
            <p:cNvPr id="102" name="AutoShape 98"/>
            <p:cNvSpPr>
              <a:spLocks noChangeArrowheads="1"/>
            </p:cNvSpPr>
            <p:nvPr/>
          </p:nvSpPr>
          <p:spPr bwMode="gray">
            <a:xfrm>
              <a:off x="3573223" y="4505771"/>
              <a:ext cx="1316038" cy="227945"/>
            </a:xfrm>
            <a:prstGeom prst="roundRect">
              <a:avLst>
                <a:gd name="adj" fmla="val 10417"/>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round/>
                  <a:headEnd/>
                  <a:tailEnd/>
                </a14:hiddenLine>
              </a:ext>
            </a:extLst>
          </p:spPr>
          <p:txBody>
            <a:bodyPr lIns="0" tIns="0" rIns="0" bIns="0" anchor="ctr">
              <a:spAutoFit/>
            </a:bodyPr>
            <a:lstStyle/>
            <a:p>
              <a:endParaRPr lang="en-US" sz="1400">
                <a:latin typeface="+mn-lt"/>
                <a:cs typeface="Arial" charset="0"/>
              </a:endParaRPr>
            </a:p>
          </p:txBody>
        </p:sp>
        <p:sp>
          <p:nvSpPr>
            <p:cNvPr id="103" name="AutoShape 101"/>
            <p:cNvSpPr>
              <a:spLocks noChangeArrowheads="1"/>
            </p:cNvSpPr>
            <p:nvPr/>
          </p:nvSpPr>
          <p:spPr bwMode="gray">
            <a:xfrm>
              <a:off x="3654823" y="3062623"/>
              <a:ext cx="1316038" cy="227945"/>
            </a:xfrm>
            <a:prstGeom prst="roundRect">
              <a:avLst>
                <a:gd name="adj" fmla="val 10417"/>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round/>
                  <a:headEnd/>
                  <a:tailEnd/>
                </a14:hiddenLine>
              </a:ext>
            </a:extLst>
          </p:spPr>
          <p:txBody>
            <a:bodyPr lIns="0" tIns="0" rIns="0" bIns="0" anchor="ctr">
              <a:spAutoFit/>
            </a:bodyPr>
            <a:lstStyle/>
            <a:p>
              <a:endParaRPr lang="en-US" sz="1400">
                <a:latin typeface="+mn-lt"/>
                <a:cs typeface="Arial" charset="0"/>
              </a:endParaRPr>
            </a:p>
          </p:txBody>
        </p:sp>
        <p:sp>
          <p:nvSpPr>
            <p:cNvPr id="104" name="Rectangle 96"/>
            <p:cNvSpPr>
              <a:spLocks noChangeArrowheads="1"/>
            </p:cNvSpPr>
            <p:nvPr/>
          </p:nvSpPr>
          <p:spPr bwMode="gray">
            <a:xfrm>
              <a:off x="1314284" y="2707489"/>
              <a:ext cx="1081375" cy="430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p>
              <a:pPr defTabSz="895350">
                <a:buClr>
                  <a:schemeClr val="tx2"/>
                </a:buClr>
              </a:pPr>
              <a:r>
                <a:rPr lang="en-US" altLang="ko-KR" sz="1400" dirty="0">
                  <a:solidFill>
                    <a:schemeClr val="bg1"/>
                  </a:solidFill>
                  <a:latin typeface="+mn-lt"/>
                  <a:ea typeface="Gulim" pitchFamily="34" charset="-127"/>
                  <a:cs typeface="Arial" charset="0"/>
                </a:rPr>
                <a:t>960+ engagements</a:t>
              </a:r>
            </a:p>
          </p:txBody>
        </p:sp>
        <p:sp>
          <p:nvSpPr>
            <p:cNvPr id="105" name="Line 120"/>
            <p:cNvSpPr>
              <a:spLocks noChangeShapeType="1"/>
            </p:cNvSpPr>
            <p:nvPr/>
          </p:nvSpPr>
          <p:spPr bwMode="gray">
            <a:xfrm>
              <a:off x="1314284" y="2653033"/>
              <a:ext cx="1081375" cy="0"/>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spAutoFit/>
            </a:bodyPr>
            <a:lstStyle/>
            <a:p>
              <a:endParaRPr lang="en-US" sz="1400">
                <a:latin typeface="+mn-lt"/>
              </a:endParaRPr>
            </a:p>
          </p:txBody>
        </p:sp>
        <p:sp>
          <p:nvSpPr>
            <p:cNvPr id="106" name="Measure"/>
            <p:cNvSpPr txBox="1">
              <a:spLocks noChangeArrowheads="1"/>
            </p:cNvSpPr>
            <p:nvPr/>
          </p:nvSpPr>
          <p:spPr bwMode="gray">
            <a:xfrm>
              <a:off x="1314284" y="2405861"/>
              <a:ext cx="931089"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895350">
                <a:defRPr sz="2400">
                  <a:solidFill>
                    <a:schemeClr val="tx1"/>
                  </a:solidFill>
                  <a:latin typeface="Arial" charset="0"/>
                </a:defRPr>
              </a:lvl1pPr>
              <a:lvl2pPr marL="742950" indent="-285750" defTabSz="895350">
                <a:defRPr sz="2400">
                  <a:solidFill>
                    <a:schemeClr val="tx1"/>
                  </a:solidFill>
                  <a:latin typeface="Arial" charset="0"/>
                </a:defRPr>
              </a:lvl2pPr>
              <a:lvl3pPr marL="1143000" indent="-228600" defTabSz="895350">
                <a:defRPr sz="2400">
                  <a:solidFill>
                    <a:schemeClr val="tx1"/>
                  </a:solidFill>
                  <a:latin typeface="Arial" charset="0"/>
                </a:defRPr>
              </a:lvl3pPr>
              <a:lvl4pPr marL="1600200" indent="-228600" defTabSz="895350">
                <a:defRPr sz="2400">
                  <a:solidFill>
                    <a:schemeClr val="tx1"/>
                  </a:solidFill>
                  <a:latin typeface="Arial" charset="0"/>
                </a:defRPr>
              </a:lvl4pPr>
              <a:lvl5pPr marL="2057400" indent="-228600" defTabSz="895350">
                <a:defRPr sz="2400">
                  <a:solidFill>
                    <a:schemeClr val="tx1"/>
                  </a:solidFill>
                  <a:latin typeface="Arial" charset="0"/>
                </a:defRPr>
              </a:lvl5pPr>
              <a:lvl6pPr marL="2514600" indent="-228600" defTabSz="895350" fontAlgn="base">
                <a:spcBef>
                  <a:spcPct val="0"/>
                </a:spcBef>
                <a:spcAft>
                  <a:spcPct val="0"/>
                </a:spcAft>
                <a:defRPr sz="2400">
                  <a:solidFill>
                    <a:schemeClr val="tx1"/>
                  </a:solidFill>
                  <a:latin typeface="Arial" charset="0"/>
                </a:defRPr>
              </a:lvl6pPr>
              <a:lvl7pPr marL="2971800" indent="-228600" defTabSz="895350" fontAlgn="base">
                <a:spcBef>
                  <a:spcPct val="0"/>
                </a:spcBef>
                <a:spcAft>
                  <a:spcPct val="0"/>
                </a:spcAft>
                <a:defRPr sz="2400">
                  <a:solidFill>
                    <a:schemeClr val="tx1"/>
                  </a:solidFill>
                  <a:latin typeface="Arial" charset="0"/>
                </a:defRPr>
              </a:lvl7pPr>
              <a:lvl8pPr marL="3429000" indent="-228600" defTabSz="895350" fontAlgn="base">
                <a:spcBef>
                  <a:spcPct val="0"/>
                </a:spcBef>
                <a:spcAft>
                  <a:spcPct val="0"/>
                </a:spcAft>
                <a:defRPr sz="2400">
                  <a:solidFill>
                    <a:schemeClr val="tx1"/>
                  </a:solidFill>
                  <a:latin typeface="Arial" charset="0"/>
                </a:defRPr>
              </a:lvl8pPr>
              <a:lvl9pPr marL="3886200" indent="-228600" defTabSz="895350" fontAlgn="base">
                <a:spcBef>
                  <a:spcPct val="0"/>
                </a:spcBef>
                <a:spcAft>
                  <a:spcPct val="0"/>
                </a:spcAft>
                <a:defRPr sz="2400">
                  <a:solidFill>
                    <a:schemeClr val="tx1"/>
                  </a:solidFill>
                  <a:latin typeface="Arial" charset="0"/>
                </a:defRPr>
              </a:lvl9pPr>
            </a:lstStyle>
            <a:p>
              <a:r>
                <a:rPr lang="en-US" altLang="ko-KR" sz="1400" b="1" dirty="0">
                  <a:solidFill>
                    <a:schemeClr val="bg1"/>
                  </a:solidFill>
                  <a:latin typeface="+mn-lt"/>
                  <a:ea typeface="Gulim" pitchFamily="34" charset="-127"/>
                  <a:cs typeface="Arial" charset="0"/>
                </a:rPr>
                <a:t>N. America</a:t>
              </a:r>
            </a:p>
          </p:txBody>
        </p:sp>
        <p:grpSp>
          <p:nvGrpSpPr>
            <p:cNvPr id="109" name="Group 108"/>
            <p:cNvGrpSpPr/>
            <p:nvPr/>
          </p:nvGrpSpPr>
          <p:grpSpPr>
            <a:xfrm>
              <a:off x="853099" y="2234463"/>
              <a:ext cx="324553" cy="511076"/>
              <a:chOff x="990647" y="4044247"/>
              <a:chExt cx="379499" cy="597600"/>
            </a:xfrm>
          </p:grpSpPr>
          <p:sp>
            <p:nvSpPr>
              <p:cNvPr id="110" name="Oval 109"/>
              <p:cNvSpPr/>
              <p:nvPr/>
            </p:nvSpPr>
            <p:spPr>
              <a:xfrm rot="21542992">
                <a:off x="990647" y="4044247"/>
                <a:ext cx="379499" cy="379499"/>
              </a:xfrm>
              <a:prstGeom prst="ellipse">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chemeClr val="tx1"/>
                  </a:solidFill>
                </a:endParaRPr>
              </a:p>
            </p:txBody>
          </p:sp>
          <p:sp>
            <p:nvSpPr>
              <p:cNvPr id="111" name="Isosceles Triangle 110"/>
              <p:cNvSpPr/>
              <p:nvPr/>
            </p:nvSpPr>
            <p:spPr>
              <a:xfrm rot="21542992" flipV="1">
                <a:off x="1020027" y="4324172"/>
                <a:ext cx="332398" cy="317675"/>
              </a:xfrm>
              <a:prstGeom prst="triangle">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chemeClr val="tx1"/>
                  </a:solidFill>
                </a:endParaRPr>
              </a:p>
            </p:txBody>
          </p:sp>
          <p:sp>
            <p:nvSpPr>
              <p:cNvPr id="112" name="Oval 111"/>
              <p:cNvSpPr/>
              <p:nvPr/>
            </p:nvSpPr>
            <p:spPr>
              <a:xfrm rot="21542992">
                <a:off x="1052188" y="4105788"/>
                <a:ext cx="256418" cy="256417"/>
              </a:xfrm>
              <a:prstGeom prst="ellipse">
                <a:avLst/>
              </a:prstGeom>
              <a:solidFill>
                <a:schemeClr val="accent5">
                  <a:lumMod val="20000"/>
                  <a:lumOff val="80000"/>
                  <a:alpha val="75000"/>
                </a:schemeClr>
              </a:solidFill>
              <a:ln w="9525">
                <a:noFill/>
              </a:ln>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1" forceAA="0" compatLnSpc="1">
                <a:prstTxWarp prst="textNoShape">
                  <a:avLst/>
                </a:prstTxWarp>
                <a:noAutofit/>
              </a:bodyPr>
              <a:lstStyle/>
              <a:p>
                <a:endParaRPr lang="en-US" sz="1400" dirty="0" err="1">
                  <a:solidFill>
                    <a:schemeClr val="bg1"/>
                  </a:solidFill>
                </a:endParaRPr>
              </a:p>
            </p:txBody>
          </p:sp>
        </p:grpSp>
        <p:sp>
          <p:nvSpPr>
            <p:cNvPr id="113" name="Rectangle 207"/>
            <p:cNvSpPr txBox="1"/>
            <p:nvPr/>
          </p:nvSpPr>
          <p:spPr>
            <a:xfrm>
              <a:off x="3381135" y="4043441"/>
              <a:ext cx="1449388" cy="868559"/>
            </a:xfrm>
            <a:prstGeom prst="rect">
              <a:avLst/>
            </a:prstGeom>
            <a:solidFill>
              <a:schemeClr val="accent3">
                <a:alpha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defPPr>
                <a:defRPr lang="en-US"/>
              </a:defPPr>
              <a:lvl1pPr>
                <a:defRPr sz="5400">
                  <a:solidFill>
                    <a:schemeClr val="bg1"/>
                  </a:solidFill>
                  <a:latin typeface="+mn-lt"/>
                </a:defRPr>
              </a:lvl1pPr>
              <a:lvl2pPr>
                <a:defRPr>
                  <a:solidFill>
                    <a:schemeClr val="lt1"/>
                  </a:solidFill>
                  <a:latin typeface="+mn-lt"/>
                </a:defRPr>
              </a:lvl2pPr>
              <a:lvl3pPr>
                <a:defRPr>
                  <a:solidFill>
                    <a:schemeClr val="lt1"/>
                  </a:solidFill>
                  <a:latin typeface="+mn-lt"/>
                </a:defRPr>
              </a:lvl3pPr>
              <a:lvl4pPr>
                <a:defRPr>
                  <a:solidFill>
                    <a:schemeClr val="lt1"/>
                  </a:solidFill>
                  <a:latin typeface="+mn-lt"/>
                </a:defRPr>
              </a:lvl4pPr>
              <a:lvl5pPr>
                <a:defRPr>
                  <a:solidFill>
                    <a:schemeClr val="lt1"/>
                  </a:solidFill>
                  <a:latin typeface="+mn-lt"/>
                </a:defRPr>
              </a:lvl5pPr>
              <a:lvl6pPr>
                <a:defRPr>
                  <a:solidFill>
                    <a:schemeClr val="lt1"/>
                  </a:solidFill>
                  <a:latin typeface="+mn-lt"/>
                </a:defRPr>
              </a:lvl6pPr>
              <a:lvl7pPr>
                <a:defRPr>
                  <a:solidFill>
                    <a:schemeClr val="lt1"/>
                  </a:solidFill>
                  <a:latin typeface="+mn-lt"/>
                </a:defRPr>
              </a:lvl7pPr>
              <a:lvl8pPr>
                <a:defRPr>
                  <a:solidFill>
                    <a:schemeClr val="lt1"/>
                  </a:solidFill>
                  <a:latin typeface="+mn-lt"/>
                </a:defRPr>
              </a:lvl8pPr>
              <a:lvl9pPr>
                <a:defRPr>
                  <a:solidFill>
                    <a:schemeClr val="lt1"/>
                  </a:solidFill>
                  <a:latin typeface="+mn-lt"/>
                </a:defRPr>
              </a:lvl9pPr>
            </a:lstStyle>
            <a:p>
              <a:endParaRPr lang="en-US" sz="1400" dirty="0"/>
            </a:p>
          </p:txBody>
        </p:sp>
        <p:sp>
          <p:nvSpPr>
            <p:cNvPr id="114" name="Rectangle 99"/>
            <p:cNvSpPr>
              <a:spLocks noChangeArrowheads="1"/>
            </p:cNvSpPr>
            <p:nvPr/>
          </p:nvSpPr>
          <p:spPr bwMode="gray">
            <a:xfrm>
              <a:off x="3567202" y="4390349"/>
              <a:ext cx="1206587" cy="430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p>
              <a:pPr defTabSz="895350">
                <a:buClr>
                  <a:schemeClr val="tx2"/>
                </a:buClr>
              </a:pPr>
              <a:r>
                <a:rPr lang="en-US" altLang="ko-KR" sz="1400" dirty="0">
                  <a:solidFill>
                    <a:schemeClr val="bg1"/>
                  </a:solidFill>
                  <a:latin typeface="+mn-lt"/>
                  <a:ea typeface="Gulim" pitchFamily="34" charset="-127"/>
                  <a:cs typeface="Arial" charset="0"/>
                </a:rPr>
                <a:t>80+ engagements</a:t>
              </a:r>
            </a:p>
          </p:txBody>
        </p:sp>
        <p:sp>
          <p:nvSpPr>
            <p:cNvPr id="115" name="Line 122"/>
            <p:cNvSpPr>
              <a:spLocks noChangeShapeType="1"/>
            </p:cNvSpPr>
            <p:nvPr/>
          </p:nvSpPr>
          <p:spPr bwMode="gray">
            <a:xfrm>
              <a:off x="3567202" y="4327954"/>
              <a:ext cx="1206587" cy="0"/>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lstStyle/>
            <a:p>
              <a:endParaRPr lang="en-US" sz="1400">
                <a:solidFill>
                  <a:schemeClr val="bg1"/>
                </a:solidFill>
                <a:latin typeface="+mn-lt"/>
              </a:endParaRPr>
            </a:p>
          </p:txBody>
        </p:sp>
        <p:sp>
          <p:nvSpPr>
            <p:cNvPr id="116" name="Measure"/>
            <p:cNvSpPr txBox="1">
              <a:spLocks noChangeArrowheads="1"/>
            </p:cNvSpPr>
            <p:nvPr/>
          </p:nvSpPr>
          <p:spPr bwMode="gray">
            <a:xfrm>
              <a:off x="3567202" y="4093482"/>
              <a:ext cx="1206587"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oAutofit/>
            </a:bodyPr>
            <a:lstStyle>
              <a:lvl1pPr defTabSz="895350">
                <a:defRPr sz="2400">
                  <a:solidFill>
                    <a:schemeClr val="tx1"/>
                  </a:solidFill>
                  <a:latin typeface="Arial" charset="0"/>
                </a:defRPr>
              </a:lvl1pPr>
              <a:lvl2pPr marL="742950" indent="-285750" defTabSz="895350">
                <a:defRPr sz="2400">
                  <a:solidFill>
                    <a:schemeClr val="tx1"/>
                  </a:solidFill>
                  <a:latin typeface="Arial" charset="0"/>
                </a:defRPr>
              </a:lvl2pPr>
              <a:lvl3pPr marL="1143000" indent="-228600" defTabSz="895350">
                <a:defRPr sz="2400">
                  <a:solidFill>
                    <a:schemeClr val="tx1"/>
                  </a:solidFill>
                  <a:latin typeface="Arial" charset="0"/>
                </a:defRPr>
              </a:lvl3pPr>
              <a:lvl4pPr marL="1600200" indent="-228600" defTabSz="895350">
                <a:defRPr sz="2400">
                  <a:solidFill>
                    <a:schemeClr val="tx1"/>
                  </a:solidFill>
                  <a:latin typeface="Arial" charset="0"/>
                </a:defRPr>
              </a:lvl4pPr>
              <a:lvl5pPr marL="2057400" indent="-228600" defTabSz="895350">
                <a:defRPr sz="2400">
                  <a:solidFill>
                    <a:schemeClr val="tx1"/>
                  </a:solidFill>
                  <a:latin typeface="Arial" charset="0"/>
                </a:defRPr>
              </a:lvl5pPr>
              <a:lvl6pPr marL="2514600" indent="-228600" defTabSz="895350" fontAlgn="base">
                <a:spcBef>
                  <a:spcPct val="0"/>
                </a:spcBef>
                <a:spcAft>
                  <a:spcPct val="0"/>
                </a:spcAft>
                <a:defRPr sz="2400">
                  <a:solidFill>
                    <a:schemeClr val="tx1"/>
                  </a:solidFill>
                  <a:latin typeface="Arial" charset="0"/>
                </a:defRPr>
              </a:lvl6pPr>
              <a:lvl7pPr marL="2971800" indent="-228600" defTabSz="895350" fontAlgn="base">
                <a:spcBef>
                  <a:spcPct val="0"/>
                </a:spcBef>
                <a:spcAft>
                  <a:spcPct val="0"/>
                </a:spcAft>
                <a:defRPr sz="2400">
                  <a:solidFill>
                    <a:schemeClr val="tx1"/>
                  </a:solidFill>
                  <a:latin typeface="Arial" charset="0"/>
                </a:defRPr>
              </a:lvl7pPr>
              <a:lvl8pPr marL="3429000" indent="-228600" defTabSz="895350" fontAlgn="base">
                <a:spcBef>
                  <a:spcPct val="0"/>
                </a:spcBef>
                <a:spcAft>
                  <a:spcPct val="0"/>
                </a:spcAft>
                <a:defRPr sz="2400">
                  <a:solidFill>
                    <a:schemeClr val="tx1"/>
                  </a:solidFill>
                  <a:latin typeface="Arial" charset="0"/>
                </a:defRPr>
              </a:lvl8pPr>
              <a:lvl9pPr marL="3886200" indent="-228600" defTabSz="895350" fontAlgn="base">
                <a:spcBef>
                  <a:spcPct val="0"/>
                </a:spcBef>
                <a:spcAft>
                  <a:spcPct val="0"/>
                </a:spcAft>
                <a:defRPr sz="2400">
                  <a:solidFill>
                    <a:schemeClr val="tx1"/>
                  </a:solidFill>
                  <a:latin typeface="Arial" charset="0"/>
                </a:defRPr>
              </a:lvl9pPr>
            </a:lstStyle>
            <a:p>
              <a:r>
                <a:rPr lang="en-US" altLang="ko-KR" sz="1400" b="1" dirty="0">
                  <a:solidFill>
                    <a:schemeClr val="bg1"/>
                  </a:solidFill>
                  <a:latin typeface="+mn-lt"/>
                  <a:ea typeface="Gulim" pitchFamily="34" charset="-127"/>
                  <a:cs typeface="Arial" charset="0"/>
                </a:rPr>
                <a:t>MEA</a:t>
              </a:r>
            </a:p>
          </p:txBody>
        </p:sp>
        <p:grpSp>
          <p:nvGrpSpPr>
            <p:cNvPr id="117" name="Group 116"/>
            <p:cNvGrpSpPr/>
            <p:nvPr/>
          </p:nvGrpSpPr>
          <p:grpSpPr>
            <a:xfrm>
              <a:off x="3212108" y="3948563"/>
              <a:ext cx="324553" cy="511076"/>
              <a:chOff x="990647" y="4044247"/>
              <a:chExt cx="379499" cy="597600"/>
            </a:xfrm>
          </p:grpSpPr>
          <p:sp>
            <p:nvSpPr>
              <p:cNvPr id="118" name="Oval 117"/>
              <p:cNvSpPr/>
              <p:nvPr/>
            </p:nvSpPr>
            <p:spPr>
              <a:xfrm rot="21542992">
                <a:off x="990647" y="4044247"/>
                <a:ext cx="379499" cy="379499"/>
              </a:xfrm>
              <a:prstGeom prst="ellipse">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chemeClr val="tx1"/>
                  </a:solidFill>
                </a:endParaRPr>
              </a:p>
            </p:txBody>
          </p:sp>
          <p:sp>
            <p:nvSpPr>
              <p:cNvPr id="119" name="Isosceles Triangle 118"/>
              <p:cNvSpPr/>
              <p:nvPr/>
            </p:nvSpPr>
            <p:spPr>
              <a:xfrm rot="21542992" flipV="1">
                <a:off x="1020027" y="4324172"/>
                <a:ext cx="332398" cy="317675"/>
              </a:xfrm>
              <a:prstGeom prst="triangle">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chemeClr val="tx1"/>
                  </a:solidFill>
                </a:endParaRPr>
              </a:p>
            </p:txBody>
          </p:sp>
          <p:sp>
            <p:nvSpPr>
              <p:cNvPr id="120" name="Oval 119"/>
              <p:cNvSpPr/>
              <p:nvPr/>
            </p:nvSpPr>
            <p:spPr>
              <a:xfrm rot="21542992">
                <a:off x="1052188" y="4105788"/>
                <a:ext cx="256418" cy="256417"/>
              </a:xfrm>
              <a:prstGeom prst="ellipse">
                <a:avLst/>
              </a:prstGeom>
              <a:solidFill>
                <a:schemeClr val="accent5">
                  <a:lumMod val="20000"/>
                  <a:lumOff val="80000"/>
                  <a:alpha val="75000"/>
                </a:schemeClr>
              </a:solidFill>
              <a:ln w="9525">
                <a:noFill/>
              </a:ln>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1" forceAA="0" compatLnSpc="1">
                <a:prstTxWarp prst="textNoShape">
                  <a:avLst/>
                </a:prstTxWarp>
                <a:noAutofit/>
              </a:bodyPr>
              <a:lstStyle/>
              <a:p>
                <a:endParaRPr lang="en-US" sz="1400" dirty="0" err="1">
                  <a:solidFill>
                    <a:schemeClr val="bg1"/>
                  </a:solidFill>
                </a:endParaRPr>
              </a:p>
            </p:txBody>
          </p:sp>
        </p:grpSp>
        <p:sp>
          <p:nvSpPr>
            <p:cNvPr id="121" name="Rectangle 207"/>
            <p:cNvSpPr txBox="1">
              <a:spLocks/>
            </p:cNvSpPr>
            <p:nvPr/>
          </p:nvSpPr>
          <p:spPr>
            <a:xfrm>
              <a:off x="3549401" y="2417180"/>
              <a:ext cx="1390444" cy="868559"/>
            </a:xfrm>
            <a:prstGeom prst="rect">
              <a:avLst/>
            </a:prstGeom>
            <a:solidFill>
              <a:schemeClr val="accent3">
                <a:alpha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defPPr>
                <a:defRPr lang="en-US"/>
              </a:defPPr>
              <a:lvl1pPr>
                <a:defRPr sz="5400">
                  <a:solidFill>
                    <a:schemeClr val="bg1"/>
                  </a:solidFill>
                  <a:latin typeface="+mn-lt"/>
                </a:defRPr>
              </a:lvl1pPr>
              <a:lvl2pPr>
                <a:defRPr>
                  <a:solidFill>
                    <a:schemeClr val="lt1"/>
                  </a:solidFill>
                  <a:latin typeface="+mn-lt"/>
                </a:defRPr>
              </a:lvl2pPr>
              <a:lvl3pPr>
                <a:defRPr>
                  <a:solidFill>
                    <a:schemeClr val="lt1"/>
                  </a:solidFill>
                  <a:latin typeface="+mn-lt"/>
                </a:defRPr>
              </a:lvl3pPr>
              <a:lvl4pPr>
                <a:defRPr>
                  <a:solidFill>
                    <a:schemeClr val="lt1"/>
                  </a:solidFill>
                  <a:latin typeface="+mn-lt"/>
                </a:defRPr>
              </a:lvl4pPr>
              <a:lvl5pPr>
                <a:defRPr>
                  <a:solidFill>
                    <a:schemeClr val="lt1"/>
                  </a:solidFill>
                  <a:latin typeface="+mn-lt"/>
                </a:defRPr>
              </a:lvl5pPr>
              <a:lvl6pPr>
                <a:defRPr>
                  <a:solidFill>
                    <a:schemeClr val="lt1"/>
                  </a:solidFill>
                  <a:latin typeface="+mn-lt"/>
                </a:defRPr>
              </a:lvl6pPr>
              <a:lvl7pPr>
                <a:defRPr>
                  <a:solidFill>
                    <a:schemeClr val="lt1"/>
                  </a:solidFill>
                  <a:latin typeface="+mn-lt"/>
                </a:defRPr>
              </a:lvl7pPr>
              <a:lvl8pPr>
                <a:defRPr>
                  <a:solidFill>
                    <a:schemeClr val="lt1"/>
                  </a:solidFill>
                  <a:latin typeface="+mn-lt"/>
                </a:defRPr>
              </a:lvl8pPr>
              <a:lvl9pPr>
                <a:defRPr>
                  <a:solidFill>
                    <a:schemeClr val="lt1"/>
                  </a:solidFill>
                  <a:latin typeface="+mn-lt"/>
                </a:defRPr>
              </a:lvl9pPr>
            </a:lstStyle>
            <a:p>
              <a:endParaRPr lang="en-US" sz="1400" dirty="0"/>
            </a:p>
          </p:txBody>
        </p:sp>
        <p:sp>
          <p:nvSpPr>
            <p:cNvPr id="122" name="Rectangle 102"/>
            <p:cNvSpPr>
              <a:spLocks noChangeArrowheads="1"/>
            </p:cNvSpPr>
            <p:nvPr/>
          </p:nvSpPr>
          <p:spPr bwMode="gray">
            <a:xfrm>
              <a:off x="3773549" y="2744352"/>
              <a:ext cx="1147445" cy="430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p>
              <a:pPr defTabSz="895350">
                <a:buClr>
                  <a:schemeClr val="tx2"/>
                </a:buClr>
              </a:pPr>
              <a:r>
                <a:rPr lang="en-US" altLang="ko-KR" sz="1400" dirty="0">
                  <a:solidFill>
                    <a:schemeClr val="bg1"/>
                  </a:solidFill>
                  <a:latin typeface="+mn-lt"/>
                  <a:ea typeface="Gulim" pitchFamily="34" charset="-127"/>
                  <a:cs typeface="Arial" charset="0"/>
                </a:rPr>
                <a:t>960+ engagements</a:t>
              </a:r>
            </a:p>
          </p:txBody>
        </p:sp>
        <p:sp>
          <p:nvSpPr>
            <p:cNvPr id="123" name="Measure"/>
            <p:cNvSpPr txBox="1">
              <a:spLocks noChangeArrowheads="1"/>
            </p:cNvSpPr>
            <p:nvPr/>
          </p:nvSpPr>
          <p:spPr bwMode="gray">
            <a:xfrm>
              <a:off x="3773550" y="2479237"/>
              <a:ext cx="1020004"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oAutofit/>
            </a:bodyPr>
            <a:lstStyle>
              <a:lvl1pPr defTabSz="895350">
                <a:defRPr sz="2400">
                  <a:solidFill>
                    <a:schemeClr val="tx1"/>
                  </a:solidFill>
                  <a:latin typeface="Arial" charset="0"/>
                </a:defRPr>
              </a:lvl1pPr>
              <a:lvl2pPr marL="742950" indent="-285750" defTabSz="895350">
                <a:defRPr sz="2400">
                  <a:solidFill>
                    <a:schemeClr val="tx1"/>
                  </a:solidFill>
                  <a:latin typeface="Arial" charset="0"/>
                </a:defRPr>
              </a:lvl2pPr>
              <a:lvl3pPr marL="1143000" indent="-228600" defTabSz="895350">
                <a:defRPr sz="2400">
                  <a:solidFill>
                    <a:schemeClr val="tx1"/>
                  </a:solidFill>
                  <a:latin typeface="Arial" charset="0"/>
                </a:defRPr>
              </a:lvl3pPr>
              <a:lvl4pPr marL="1600200" indent="-228600" defTabSz="895350">
                <a:defRPr sz="2400">
                  <a:solidFill>
                    <a:schemeClr val="tx1"/>
                  </a:solidFill>
                  <a:latin typeface="Arial" charset="0"/>
                </a:defRPr>
              </a:lvl4pPr>
              <a:lvl5pPr marL="2057400" indent="-228600" defTabSz="895350">
                <a:defRPr sz="2400">
                  <a:solidFill>
                    <a:schemeClr val="tx1"/>
                  </a:solidFill>
                  <a:latin typeface="Arial" charset="0"/>
                </a:defRPr>
              </a:lvl5pPr>
              <a:lvl6pPr marL="2514600" indent="-228600" defTabSz="895350" fontAlgn="base">
                <a:spcBef>
                  <a:spcPct val="0"/>
                </a:spcBef>
                <a:spcAft>
                  <a:spcPct val="0"/>
                </a:spcAft>
                <a:defRPr sz="2400">
                  <a:solidFill>
                    <a:schemeClr val="tx1"/>
                  </a:solidFill>
                  <a:latin typeface="Arial" charset="0"/>
                </a:defRPr>
              </a:lvl6pPr>
              <a:lvl7pPr marL="2971800" indent="-228600" defTabSz="895350" fontAlgn="base">
                <a:spcBef>
                  <a:spcPct val="0"/>
                </a:spcBef>
                <a:spcAft>
                  <a:spcPct val="0"/>
                </a:spcAft>
                <a:defRPr sz="2400">
                  <a:solidFill>
                    <a:schemeClr val="tx1"/>
                  </a:solidFill>
                  <a:latin typeface="Arial" charset="0"/>
                </a:defRPr>
              </a:lvl7pPr>
              <a:lvl8pPr marL="3429000" indent="-228600" defTabSz="895350" fontAlgn="base">
                <a:spcBef>
                  <a:spcPct val="0"/>
                </a:spcBef>
                <a:spcAft>
                  <a:spcPct val="0"/>
                </a:spcAft>
                <a:defRPr sz="2400">
                  <a:solidFill>
                    <a:schemeClr val="tx1"/>
                  </a:solidFill>
                  <a:latin typeface="Arial" charset="0"/>
                </a:defRPr>
              </a:lvl8pPr>
              <a:lvl9pPr marL="3886200" indent="-228600" defTabSz="895350" fontAlgn="base">
                <a:spcBef>
                  <a:spcPct val="0"/>
                </a:spcBef>
                <a:spcAft>
                  <a:spcPct val="0"/>
                </a:spcAft>
                <a:defRPr sz="2400">
                  <a:solidFill>
                    <a:schemeClr val="tx1"/>
                  </a:solidFill>
                  <a:latin typeface="Arial" charset="0"/>
                </a:defRPr>
              </a:lvl9pPr>
            </a:lstStyle>
            <a:p>
              <a:r>
                <a:rPr lang="en-US" altLang="ko-KR" sz="1400" b="1" dirty="0">
                  <a:solidFill>
                    <a:schemeClr val="bg1"/>
                  </a:solidFill>
                  <a:latin typeface="+mn-lt"/>
                  <a:ea typeface="Gulim" pitchFamily="34" charset="-127"/>
                  <a:cs typeface="Arial" charset="0"/>
                </a:rPr>
                <a:t>Europe</a:t>
              </a:r>
            </a:p>
          </p:txBody>
        </p:sp>
        <p:sp>
          <p:nvSpPr>
            <p:cNvPr id="124" name="Line 127"/>
            <p:cNvSpPr>
              <a:spLocks noChangeShapeType="1"/>
            </p:cNvSpPr>
            <p:nvPr/>
          </p:nvSpPr>
          <p:spPr bwMode="gray">
            <a:xfrm>
              <a:off x="3773550" y="2720059"/>
              <a:ext cx="1020004" cy="0"/>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lstStyle/>
            <a:p>
              <a:endParaRPr lang="en-US" sz="1400">
                <a:solidFill>
                  <a:schemeClr val="bg1"/>
                </a:solidFill>
                <a:latin typeface="+mn-lt"/>
              </a:endParaRPr>
            </a:p>
          </p:txBody>
        </p:sp>
        <p:grpSp>
          <p:nvGrpSpPr>
            <p:cNvPr id="125" name="Group 124"/>
            <p:cNvGrpSpPr/>
            <p:nvPr/>
          </p:nvGrpSpPr>
          <p:grpSpPr>
            <a:xfrm>
              <a:off x="3375523" y="2313217"/>
              <a:ext cx="324553" cy="511076"/>
              <a:chOff x="990647" y="4044247"/>
              <a:chExt cx="379499" cy="597600"/>
            </a:xfrm>
          </p:grpSpPr>
          <p:sp>
            <p:nvSpPr>
              <p:cNvPr id="126" name="Oval 125"/>
              <p:cNvSpPr/>
              <p:nvPr/>
            </p:nvSpPr>
            <p:spPr>
              <a:xfrm rot="21542992">
                <a:off x="990647" y="4044247"/>
                <a:ext cx="379499" cy="379499"/>
              </a:xfrm>
              <a:prstGeom prst="ellipse">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chemeClr val="tx1"/>
                  </a:solidFill>
                </a:endParaRPr>
              </a:p>
            </p:txBody>
          </p:sp>
          <p:sp>
            <p:nvSpPr>
              <p:cNvPr id="127" name="Isosceles Triangle 126"/>
              <p:cNvSpPr/>
              <p:nvPr/>
            </p:nvSpPr>
            <p:spPr>
              <a:xfrm rot="21542992" flipV="1">
                <a:off x="1020027" y="4324172"/>
                <a:ext cx="332398" cy="317675"/>
              </a:xfrm>
              <a:prstGeom prst="triangle">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chemeClr val="tx1"/>
                  </a:solidFill>
                </a:endParaRPr>
              </a:p>
            </p:txBody>
          </p:sp>
          <p:sp>
            <p:nvSpPr>
              <p:cNvPr id="128" name="Oval 127"/>
              <p:cNvSpPr/>
              <p:nvPr/>
            </p:nvSpPr>
            <p:spPr>
              <a:xfrm rot="21542992">
                <a:off x="1052188" y="4105788"/>
                <a:ext cx="256418" cy="256417"/>
              </a:xfrm>
              <a:prstGeom prst="ellipse">
                <a:avLst/>
              </a:prstGeom>
              <a:solidFill>
                <a:schemeClr val="accent5">
                  <a:lumMod val="20000"/>
                  <a:lumOff val="80000"/>
                  <a:alpha val="75000"/>
                </a:schemeClr>
              </a:solidFill>
              <a:ln w="9525">
                <a:noFill/>
              </a:ln>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1" forceAA="0" compatLnSpc="1">
                <a:prstTxWarp prst="textNoShape">
                  <a:avLst/>
                </a:prstTxWarp>
                <a:noAutofit/>
              </a:bodyPr>
              <a:lstStyle/>
              <a:p>
                <a:endParaRPr lang="en-US" sz="1400" dirty="0" err="1">
                  <a:solidFill>
                    <a:schemeClr val="bg1"/>
                  </a:solidFill>
                </a:endParaRPr>
              </a:p>
            </p:txBody>
          </p:sp>
        </p:grpSp>
        <p:sp>
          <p:nvSpPr>
            <p:cNvPr id="137" name="Rectangle 207"/>
            <p:cNvSpPr txBox="1">
              <a:spLocks/>
            </p:cNvSpPr>
            <p:nvPr/>
          </p:nvSpPr>
          <p:spPr>
            <a:xfrm>
              <a:off x="5790485" y="3194880"/>
              <a:ext cx="1363191" cy="868559"/>
            </a:xfrm>
            <a:prstGeom prst="rect">
              <a:avLst/>
            </a:prstGeom>
            <a:solidFill>
              <a:schemeClr val="accent3">
                <a:alpha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defPPr>
                <a:defRPr lang="en-US"/>
              </a:defPPr>
              <a:lvl1pPr>
                <a:defRPr sz="5400">
                  <a:solidFill>
                    <a:schemeClr val="bg1"/>
                  </a:solidFill>
                  <a:latin typeface="+mn-lt"/>
                </a:defRPr>
              </a:lvl1pPr>
              <a:lvl2pPr>
                <a:defRPr>
                  <a:solidFill>
                    <a:schemeClr val="lt1"/>
                  </a:solidFill>
                  <a:latin typeface="+mn-lt"/>
                </a:defRPr>
              </a:lvl2pPr>
              <a:lvl3pPr>
                <a:defRPr>
                  <a:solidFill>
                    <a:schemeClr val="lt1"/>
                  </a:solidFill>
                  <a:latin typeface="+mn-lt"/>
                </a:defRPr>
              </a:lvl3pPr>
              <a:lvl4pPr>
                <a:defRPr>
                  <a:solidFill>
                    <a:schemeClr val="lt1"/>
                  </a:solidFill>
                  <a:latin typeface="+mn-lt"/>
                </a:defRPr>
              </a:lvl4pPr>
              <a:lvl5pPr>
                <a:defRPr>
                  <a:solidFill>
                    <a:schemeClr val="lt1"/>
                  </a:solidFill>
                  <a:latin typeface="+mn-lt"/>
                </a:defRPr>
              </a:lvl5pPr>
              <a:lvl6pPr>
                <a:defRPr>
                  <a:solidFill>
                    <a:schemeClr val="lt1"/>
                  </a:solidFill>
                  <a:latin typeface="+mn-lt"/>
                </a:defRPr>
              </a:lvl6pPr>
              <a:lvl7pPr>
                <a:defRPr>
                  <a:solidFill>
                    <a:schemeClr val="lt1"/>
                  </a:solidFill>
                  <a:latin typeface="+mn-lt"/>
                </a:defRPr>
              </a:lvl7pPr>
              <a:lvl8pPr>
                <a:defRPr>
                  <a:solidFill>
                    <a:schemeClr val="lt1"/>
                  </a:solidFill>
                  <a:latin typeface="+mn-lt"/>
                </a:defRPr>
              </a:lvl8pPr>
              <a:lvl9pPr>
                <a:defRPr>
                  <a:solidFill>
                    <a:schemeClr val="lt1"/>
                  </a:solidFill>
                  <a:latin typeface="+mn-lt"/>
                </a:defRPr>
              </a:lvl9pPr>
            </a:lstStyle>
            <a:p>
              <a:endParaRPr lang="en-US" sz="1400" dirty="0"/>
            </a:p>
          </p:txBody>
        </p:sp>
        <p:sp>
          <p:nvSpPr>
            <p:cNvPr id="138" name="Rectangle 108"/>
            <p:cNvSpPr>
              <a:spLocks noChangeArrowheads="1"/>
            </p:cNvSpPr>
            <p:nvPr/>
          </p:nvSpPr>
          <p:spPr bwMode="gray">
            <a:xfrm>
              <a:off x="6006993" y="3577881"/>
              <a:ext cx="1103347" cy="430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p>
              <a:pPr defTabSz="895350">
                <a:buClr>
                  <a:schemeClr val="tx2"/>
                </a:buClr>
              </a:pPr>
              <a:r>
                <a:rPr lang="en-US" altLang="ko-KR" sz="1400" dirty="0">
                  <a:solidFill>
                    <a:schemeClr val="bg1"/>
                  </a:solidFill>
                  <a:latin typeface="+mn-lt"/>
                  <a:ea typeface="Gulim" pitchFamily="34" charset="-127"/>
                  <a:cs typeface="Arial" charset="0"/>
                </a:rPr>
                <a:t>280+ engagements</a:t>
              </a:r>
            </a:p>
          </p:txBody>
        </p:sp>
        <p:sp>
          <p:nvSpPr>
            <p:cNvPr id="139" name="Measure"/>
            <p:cNvSpPr txBox="1">
              <a:spLocks noChangeArrowheads="1"/>
            </p:cNvSpPr>
            <p:nvPr/>
          </p:nvSpPr>
          <p:spPr bwMode="gray">
            <a:xfrm>
              <a:off x="6006993" y="3227044"/>
              <a:ext cx="1029701"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oAutofit/>
            </a:bodyPr>
            <a:lstStyle>
              <a:lvl1pPr defTabSz="895350">
                <a:defRPr sz="2400">
                  <a:solidFill>
                    <a:schemeClr val="tx1"/>
                  </a:solidFill>
                  <a:latin typeface="Arial" charset="0"/>
                </a:defRPr>
              </a:lvl1pPr>
              <a:lvl2pPr marL="742950" indent="-285750" defTabSz="895350">
                <a:defRPr sz="2400">
                  <a:solidFill>
                    <a:schemeClr val="tx1"/>
                  </a:solidFill>
                  <a:latin typeface="Arial" charset="0"/>
                </a:defRPr>
              </a:lvl2pPr>
              <a:lvl3pPr marL="1143000" indent="-228600" defTabSz="895350">
                <a:defRPr sz="2400">
                  <a:solidFill>
                    <a:schemeClr val="tx1"/>
                  </a:solidFill>
                  <a:latin typeface="Arial" charset="0"/>
                </a:defRPr>
              </a:lvl3pPr>
              <a:lvl4pPr marL="1600200" indent="-228600" defTabSz="895350">
                <a:defRPr sz="2400">
                  <a:solidFill>
                    <a:schemeClr val="tx1"/>
                  </a:solidFill>
                  <a:latin typeface="Arial" charset="0"/>
                </a:defRPr>
              </a:lvl4pPr>
              <a:lvl5pPr marL="2057400" indent="-228600" defTabSz="895350">
                <a:defRPr sz="2400">
                  <a:solidFill>
                    <a:schemeClr val="tx1"/>
                  </a:solidFill>
                  <a:latin typeface="Arial" charset="0"/>
                </a:defRPr>
              </a:lvl5pPr>
              <a:lvl6pPr marL="2514600" indent="-228600" defTabSz="895350" fontAlgn="base">
                <a:spcBef>
                  <a:spcPct val="0"/>
                </a:spcBef>
                <a:spcAft>
                  <a:spcPct val="0"/>
                </a:spcAft>
                <a:defRPr sz="2400">
                  <a:solidFill>
                    <a:schemeClr val="tx1"/>
                  </a:solidFill>
                  <a:latin typeface="Arial" charset="0"/>
                </a:defRPr>
              </a:lvl6pPr>
              <a:lvl7pPr marL="2971800" indent="-228600" defTabSz="895350" fontAlgn="base">
                <a:spcBef>
                  <a:spcPct val="0"/>
                </a:spcBef>
                <a:spcAft>
                  <a:spcPct val="0"/>
                </a:spcAft>
                <a:defRPr sz="2400">
                  <a:solidFill>
                    <a:schemeClr val="tx1"/>
                  </a:solidFill>
                  <a:latin typeface="Arial" charset="0"/>
                </a:defRPr>
              </a:lvl7pPr>
              <a:lvl8pPr marL="3429000" indent="-228600" defTabSz="895350" fontAlgn="base">
                <a:spcBef>
                  <a:spcPct val="0"/>
                </a:spcBef>
                <a:spcAft>
                  <a:spcPct val="0"/>
                </a:spcAft>
                <a:defRPr sz="2400">
                  <a:solidFill>
                    <a:schemeClr val="tx1"/>
                  </a:solidFill>
                  <a:latin typeface="Arial" charset="0"/>
                </a:defRPr>
              </a:lvl8pPr>
              <a:lvl9pPr marL="3886200" indent="-228600" defTabSz="895350" fontAlgn="base">
                <a:spcBef>
                  <a:spcPct val="0"/>
                </a:spcBef>
                <a:spcAft>
                  <a:spcPct val="0"/>
                </a:spcAft>
                <a:defRPr sz="2400">
                  <a:solidFill>
                    <a:schemeClr val="tx1"/>
                  </a:solidFill>
                  <a:latin typeface="Arial" charset="0"/>
                </a:defRPr>
              </a:lvl9pPr>
            </a:lstStyle>
            <a:p>
              <a:r>
                <a:rPr lang="en-US" altLang="ko-KR" sz="1400" b="1">
                  <a:solidFill>
                    <a:schemeClr val="bg1"/>
                  </a:solidFill>
                  <a:latin typeface="+mn-lt"/>
                  <a:ea typeface="Gulim" pitchFamily="34" charset="-127"/>
                  <a:cs typeface="Arial" charset="0"/>
                </a:rPr>
                <a:t>Asia</a:t>
              </a:r>
            </a:p>
          </p:txBody>
        </p:sp>
        <p:sp>
          <p:nvSpPr>
            <p:cNvPr id="140" name="Line 131"/>
            <p:cNvSpPr>
              <a:spLocks noChangeShapeType="1"/>
            </p:cNvSpPr>
            <p:nvPr/>
          </p:nvSpPr>
          <p:spPr bwMode="gray">
            <a:xfrm>
              <a:off x="6006993" y="3482154"/>
              <a:ext cx="1029701" cy="0"/>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lstStyle/>
            <a:p>
              <a:endParaRPr lang="en-US" sz="1400">
                <a:solidFill>
                  <a:schemeClr val="bg1"/>
                </a:solidFill>
                <a:latin typeface="+mn-lt"/>
              </a:endParaRPr>
            </a:p>
          </p:txBody>
        </p:sp>
        <p:grpSp>
          <p:nvGrpSpPr>
            <p:cNvPr id="141" name="Group 140"/>
            <p:cNvGrpSpPr/>
            <p:nvPr/>
          </p:nvGrpSpPr>
          <p:grpSpPr>
            <a:xfrm>
              <a:off x="5626726" y="3083481"/>
              <a:ext cx="324553" cy="511076"/>
              <a:chOff x="990647" y="4044247"/>
              <a:chExt cx="379499" cy="597600"/>
            </a:xfrm>
          </p:grpSpPr>
          <p:sp>
            <p:nvSpPr>
              <p:cNvPr id="142" name="Oval 141"/>
              <p:cNvSpPr/>
              <p:nvPr/>
            </p:nvSpPr>
            <p:spPr>
              <a:xfrm rot="21542992">
                <a:off x="990647" y="4044247"/>
                <a:ext cx="379499" cy="379499"/>
              </a:xfrm>
              <a:prstGeom prst="ellipse">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chemeClr val="tx1"/>
                  </a:solidFill>
                </a:endParaRPr>
              </a:p>
            </p:txBody>
          </p:sp>
          <p:sp>
            <p:nvSpPr>
              <p:cNvPr id="143" name="Isosceles Triangle 142"/>
              <p:cNvSpPr/>
              <p:nvPr/>
            </p:nvSpPr>
            <p:spPr>
              <a:xfrm rot="21542992" flipV="1">
                <a:off x="1020027" y="4324172"/>
                <a:ext cx="332398" cy="317675"/>
              </a:xfrm>
              <a:prstGeom prst="triangle">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chemeClr val="tx1"/>
                  </a:solidFill>
                </a:endParaRPr>
              </a:p>
            </p:txBody>
          </p:sp>
          <p:sp>
            <p:nvSpPr>
              <p:cNvPr id="144" name="Oval 143"/>
              <p:cNvSpPr/>
              <p:nvPr/>
            </p:nvSpPr>
            <p:spPr>
              <a:xfrm rot="21542992">
                <a:off x="1052188" y="4105788"/>
                <a:ext cx="256418" cy="256417"/>
              </a:xfrm>
              <a:prstGeom prst="ellipse">
                <a:avLst/>
              </a:prstGeom>
              <a:solidFill>
                <a:schemeClr val="accent5">
                  <a:lumMod val="20000"/>
                  <a:lumOff val="80000"/>
                  <a:alpha val="75000"/>
                </a:schemeClr>
              </a:solidFill>
              <a:ln w="9525">
                <a:noFill/>
              </a:ln>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1" forceAA="0" compatLnSpc="1">
                <a:prstTxWarp prst="textNoShape">
                  <a:avLst/>
                </a:prstTxWarp>
                <a:noAutofit/>
              </a:bodyPr>
              <a:lstStyle/>
              <a:p>
                <a:endParaRPr lang="en-US" sz="1400" dirty="0" err="1">
                  <a:solidFill>
                    <a:schemeClr val="bg1"/>
                  </a:solidFill>
                </a:endParaRPr>
              </a:p>
            </p:txBody>
          </p:sp>
        </p:grpSp>
        <p:sp>
          <p:nvSpPr>
            <p:cNvPr id="162" name="AutoShape 98"/>
            <p:cNvSpPr>
              <a:spLocks noChangeArrowheads="1"/>
            </p:cNvSpPr>
            <p:nvPr/>
          </p:nvSpPr>
          <p:spPr bwMode="gray">
            <a:xfrm>
              <a:off x="919563" y="4768519"/>
              <a:ext cx="1316038" cy="227945"/>
            </a:xfrm>
            <a:prstGeom prst="roundRect">
              <a:avLst>
                <a:gd name="adj" fmla="val 10417"/>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round/>
                  <a:headEnd/>
                  <a:tailEnd/>
                </a14:hiddenLine>
              </a:ext>
            </a:extLst>
          </p:spPr>
          <p:txBody>
            <a:bodyPr lIns="0" tIns="0" rIns="0" bIns="0" anchor="ctr">
              <a:spAutoFit/>
            </a:bodyPr>
            <a:lstStyle/>
            <a:p>
              <a:endParaRPr lang="en-US" sz="1400">
                <a:latin typeface="+mn-lt"/>
                <a:cs typeface="Arial" charset="0"/>
              </a:endParaRPr>
            </a:p>
          </p:txBody>
        </p:sp>
        <p:sp>
          <p:nvSpPr>
            <p:cNvPr id="163" name="Rectangle 207"/>
            <p:cNvSpPr txBox="1"/>
            <p:nvPr/>
          </p:nvSpPr>
          <p:spPr>
            <a:xfrm>
              <a:off x="727475" y="4306189"/>
              <a:ext cx="1449388" cy="868559"/>
            </a:xfrm>
            <a:prstGeom prst="rect">
              <a:avLst/>
            </a:prstGeom>
            <a:solidFill>
              <a:schemeClr val="accent3">
                <a:alpha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defPPr>
                <a:defRPr lang="en-US"/>
              </a:defPPr>
              <a:lvl1pPr>
                <a:defRPr sz="5400">
                  <a:solidFill>
                    <a:schemeClr val="bg1"/>
                  </a:solidFill>
                  <a:latin typeface="+mn-lt"/>
                </a:defRPr>
              </a:lvl1pPr>
              <a:lvl2pPr>
                <a:defRPr>
                  <a:solidFill>
                    <a:schemeClr val="lt1"/>
                  </a:solidFill>
                  <a:latin typeface="+mn-lt"/>
                </a:defRPr>
              </a:lvl2pPr>
              <a:lvl3pPr>
                <a:defRPr>
                  <a:solidFill>
                    <a:schemeClr val="lt1"/>
                  </a:solidFill>
                  <a:latin typeface="+mn-lt"/>
                </a:defRPr>
              </a:lvl3pPr>
              <a:lvl4pPr>
                <a:defRPr>
                  <a:solidFill>
                    <a:schemeClr val="lt1"/>
                  </a:solidFill>
                  <a:latin typeface="+mn-lt"/>
                </a:defRPr>
              </a:lvl4pPr>
              <a:lvl5pPr>
                <a:defRPr>
                  <a:solidFill>
                    <a:schemeClr val="lt1"/>
                  </a:solidFill>
                  <a:latin typeface="+mn-lt"/>
                </a:defRPr>
              </a:lvl5pPr>
              <a:lvl6pPr>
                <a:defRPr>
                  <a:solidFill>
                    <a:schemeClr val="lt1"/>
                  </a:solidFill>
                  <a:latin typeface="+mn-lt"/>
                </a:defRPr>
              </a:lvl6pPr>
              <a:lvl7pPr>
                <a:defRPr>
                  <a:solidFill>
                    <a:schemeClr val="lt1"/>
                  </a:solidFill>
                  <a:latin typeface="+mn-lt"/>
                </a:defRPr>
              </a:lvl7pPr>
              <a:lvl8pPr>
                <a:defRPr>
                  <a:solidFill>
                    <a:schemeClr val="lt1"/>
                  </a:solidFill>
                  <a:latin typeface="+mn-lt"/>
                </a:defRPr>
              </a:lvl8pPr>
              <a:lvl9pPr>
                <a:defRPr>
                  <a:solidFill>
                    <a:schemeClr val="lt1"/>
                  </a:solidFill>
                  <a:latin typeface="+mn-lt"/>
                </a:defRPr>
              </a:lvl9pPr>
            </a:lstStyle>
            <a:p>
              <a:endParaRPr lang="en-US" sz="1400" dirty="0"/>
            </a:p>
          </p:txBody>
        </p:sp>
        <p:sp>
          <p:nvSpPr>
            <p:cNvPr id="164" name="Rectangle 99"/>
            <p:cNvSpPr>
              <a:spLocks noChangeArrowheads="1"/>
            </p:cNvSpPr>
            <p:nvPr/>
          </p:nvSpPr>
          <p:spPr bwMode="gray">
            <a:xfrm>
              <a:off x="913542" y="4653097"/>
              <a:ext cx="1206587" cy="430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p>
              <a:pPr defTabSz="895350">
                <a:buClr>
                  <a:schemeClr val="tx2"/>
                </a:buClr>
              </a:pPr>
              <a:r>
                <a:rPr lang="en-US" altLang="ko-KR" sz="1400" dirty="0">
                  <a:solidFill>
                    <a:schemeClr val="bg1"/>
                  </a:solidFill>
                  <a:latin typeface="+mn-lt"/>
                  <a:ea typeface="Gulim" pitchFamily="34" charset="-127"/>
                  <a:cs typeface="Arial" charset="0"/>
                </a:rPr>
                <a:t>80+ engagements</a:t>
              </a:r>
            </a:p>
          </p:txBody>
        </p:sp>
        <p:sp>
          <p:nvSpPr>
            <p:cNvPr id="165" name="Line 122"/>
            <p:cNvSpPr>
              <a:spLocks noChangeShapeType="1"/>
            </p:cNvSpPr>
            <p:nvPr/>
          </p:nvSpPr>
          <p:spPr bwMode="gray">
            <a:xfrm>
              <a:off x="913542" y="4590702"/>
              <a:ext cx="1206587" cy="0"/>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lstStyle/>
            <a:p>
              <a:endParaRPr lang="en-US" sz="1400">
                <a:solidFill>
                  <a:schemeClr val="bg1"/>
                </a:solidFill>
                <a:latin typeface="+mn-lt"/>
              </a:endParaRPr>
            </a:p>
          </p:txBody>
        </p:sp>
        <p:sp>
          <p:nvSpPr>
            <p:cNvPr id="166" name="Measure"/>
            <p:cNvSpPr txBox="1">
              <a:spLocks noChangeArrowheads="1"/>
            </p:cNvSpPr>
            <p:nvPr/>
          </p:nvSpPr>
          <p:spPr bwMode="gray">
            <a:xfrm>
              <a:off x="913542" y="4356230"/>
              <a:ext cx="1206587"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oAutofit/>
            </a:bodyPr>
            <a:lstStyle>
              <a:lvl1pPr defTabSz="895350">
                <a:defRPr sz="2400">
                  <a:solidFill>
                    <a:schemeClr val="tx1"/>
                  </a:solidFill>
                  <a:latin typeface="Arial" charset="0"/>
                </a:defRPr>
              </a:lvl1pPr>
              <a:lvl2pPr marL="742950" indent="-285750" defTabSz="895350">
                <a:defRPr sz="2400">
                  <a:solidFill>
                    <a:schemeClr val="tx1"/>
                  </a:solidFill>
                  <a:latin typeface="Arial" charset="0"/>
                </a:defRPr>
              </a:lvl2pPr>
              <a:lvl3pPr marL="1143000" indent="-228600" defTabSz="895350">
                <a:defRPr sz="2400">
                  <a:solidFill>
                    <a:schemeClr val="tx1"/>
                  </a:solidFill>
                  <a:latin typeface="Arial" charset="0"/>
                </a:defRPr>
              </a:lvl3pPr>
              <a:lvl4pPr marL="1600200" indent="-228600" defTabSz="895350">
                <a:defRPr sz="2400">
                  <a:solidFill>
                    <a:schemeClr val="tx1"/>
                  </a:solidFill>
                  <a:latin typeface="Arial" charset="0"/>
                </a:defRPr>
              </a:lvl4pPr>
              <a:lvl5pPr marL="2057400" indent="-228600" defTabSz="895350">
                <a:defRPr sz="2400">
                  <a:solidFill>
                    <a:schemeClr val="tx1"/>
                  </a:solidFill>
                  <a:latin typeface="Arial" charset="0"/>
                </a:defRPr>
              </a:lvl5pPr>
              <a:lvl6pPr marL="2514600" indent="-228600" defTabSz="895350" fontAlgn="base">
                <a:spcBef>
                  <a:spcPct val="0"/>
                </a:spcBef>
                <a:spcAft>
                  <a:spcPct val="0"/>
                </a:spcAft>
                <a:defRPr sz="2400">
                  <a:solidFill>
                    <a:schemeClr val="tx1"/>
                  </a:solidFill>
                  <a:latin typeface="Arial" charset="0"/>
                </a:defRPr>
              </a:lvl6pPr>
              <a:lvl7pPr marL="2971800" indent="-228600" defTabSz="895350" fontAlgn="base">
                <a:spcBef>
                  <a:spcPct val="0"/>
                </a:spcBef>
                <a:spcAft>
                  <a:spcPct val="0"/>
                </a:spcAft>
                <a:defRPr sz="2400">
                  <a:solidFill>
                    <a:schemeClr val="tx1"/>
                  </a:solidFill>
                  <a:latin typeface="Arial" charset="0"/>
                </a:defRPr>
              </a:lvl7pPr>
              <a:lvl8pPr marL="3429000" indent="-228600" defTabSz="895350" fontAlgn="base">
                <a:spcBef>
                  <a:spcPct val="0"/>
                </a:spcBef>
                <a:spcAft>
                  <a:spcPct val="0"/>
                </a:spcAft>
                <a:defRPr sz="2400">
                  <a:solidFill>
                    <a:schemeClr val="tx1"/>
                  </a:solidFill>
                  <a:latin typeface="Arial" charset="0"/>
                </a:defRPr>
              </a:lvl8pPr>
              <a:lvl9pPr marL="3886200" indent="-228600" defTabSz="895350" fontAlgn="base">
                <a:spcBef>
                  <a:spcPct val="0"/>
                </a:spcBef>
                <a:spcAft>
                  <a:spcPct val="0"/>
                </a:spcAft>
                <a:defRPr sz="2400">
                  <a:solidFill>
                    <a:schemeClr val="tx1"/>
                  </a:solidFill>
                  <a:latin typeface="Arial" charset="0"/>
                </a:defRPr>
              </a:lvl9pPr>
            </a:lstStyle>
            <a:p>
              <a:r>
                <a:rPr lang="en-US" altLang="ko-KR" sz="1400" b="1" dirty="0">
                  <a:solidFill>
                    <a:schemeClr val="bg1"/>
                  </a:solidFill>
                  <a:latin typeface="+mn-lt"/>
                  <a:ea typeface="Gulim" pitchFamily="34" charset="-127"/>
                  <a:cs typeface="Arial" charset="0"/>
                </a:rPr>
                <a:t>Latin America</a:t>
              </a:r>
            </a:p>
          </p:txBody>
        </p:sp>
        <p:grpSp>
          <p:nvGrpSpPr>
            <p:cNvPr id="167" name="Group 166"/>
            <p:cNvGrpSpPr/>
            <p:nvPr/>
          </p:nvGrpSpPr>
          <p:grpSpPr>
            <a:xfrm>
              <a:off x="558448" y="4211311"/>
              <a:ext cx="324553" cy="511076"/>
              <a:chOff x="990647" y="4044247"/>
              <a:chExt cx="379499" cy="597600"/>
            </a:xfrm>
          </p:grpSpPr>
          <p:sp>
            <p:nvSpPr>
              <p:cNvPr id="168" name="Oval 167"/>
              <p:cNvSpPr/>
              <p:nvPr/>
            </p:nvSpPr>
            <p:spPr>
              <a:xfrm rot="21542992">
                <a:off x="990647" y="4044247"/>
                <a:ext cx="379499" cy="379499"/>
              </a:xfrm>
              <a:prstGeom prst="ellipse">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chemeClr val="tx1"/>
                  </a:solidFill>
                </a:endParaRPr>
              </a:p>
            </p:txBody>
          </p:sp>
          <p:sp>
            <p:nvSpPr>
              <p:cNvPr id="169" name="Isosceles Triangle 168"/>
              <p:cNvSpPr/>
              <p:nvPr/>
            </p:nvSpPr>
            <p:spPr>
              <a:xfrm rot="21542992" flipV="1">
                <a:off x="1020027" y="4324172"/>
                <a:ext cx="332398" cy="317675"/>
              </a:xfrm>
              <a:prstGeom prst="triangle">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chemeClr val="tx1"/>
                  </a:solidFill>
                </a:endParaRPr>
              </a:p>
            </p:txBody>
          </p:sp>
          <p:sp>
            <p:nvSpPr>
              <p:cNvPr id="170" name="Oval 169"/>
              <p:cNvSpPr/>
              <p:nvPr/>
            </p:nvSpPr>
            <p:spPr>
              <a:xfrm rot="21542992">
                <a:off x="1052188" y="4105788"/>
                <a:ext cx="256418" cy="256417"/>
              </a:xfrm>
              <a:prstGeom prst="ellipse">
                <a:avLst/>
              </a:prstGeom>
              <a:solidFill>
                <a:schemeClr val="accent5">
                  <a:lumMod val="20000"/>
                  <a:lumOff val="80000"/>
                  <a:alpha val="75000"/>
                </a:schemeClr>
              </a:solidFill>
              <a:ln w="9525">
                <a:noFill/>
              </a:ln>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1" forceAA="0" compatLnSpc="1">
                <a:prstTxWarp prst="textNoShape">
                  <a:avLst/>
                </a:prstTxWarp>
                <a:noAutofit/>
              </a:bodyPr>
              <a:lstStyle/>
              <a:p>
                <a:endParaRPr lang="en-US" sz="1400" dirty="0" err="1">
                  <a:solidFill>
                    <a:schemeClr val="bg1"/>
                  </a:solidFill>
                </a:endParaRPr>
              </a:p>
            </p:txBody>
          </p:sp>
        </p:grpSp>
      </p:grpSp>
      <p:sp>
        <p:nvSpPr>
          <p:cNvPr id="146" name="3. Unit of measure"/>
          <p:cNvSpPr txBox="1">
            <a:spLocks noChangeArrowheads="1"/>
          </p:cNvSpPr>
          <p:nvPr/>
        </p:nvSpPr>
        <p:spPr bwMode="gray">
          <a:xfrm>
            <a:off x="119063" y="866917"/>
            <a:ext cx="8618537"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defPPr>
              <a:defRPr lang="en-US"/>
            </a:defPPr>
            <a:lvl1pPr marL="465138" defTabSz="895350">
              <a:defRPr baseline="0">
                <a:solidFill>
                  <a:schemeClr val="accent6"/>
                </a:solidFill>
                <a:latin typeface="+mn-lt"/>
              </a:defRPr>
            </a:lvl1pPr>
            <a:lvl2pPr marL="447675" defTabSz="895350">
              <a:defRPr sz="2400"/>
            </a:lvl2pPr>
            <a:lvl3pPr marL="895350" defTabSz="895350">
              <a:defRPr sz="2400"/>
            </a:lvl3pPr>
            <a:lvl4pPr marL="1344613" defTabSz="895350">
              <a:defRPr sz="2400"/>
            </a:lvl4pPr>
            <a:lvl5pPr marL="1792288" defTabSz="895350">
              <a:defRPr sz="2400"/>
            </a:lvl5pPr>
            <a:lvl6pPr marL="2249488" defTabSz="895350" fontAlgn="base">
              <a:spcBef>
                <a:spcPct val="0"/>
              </a:spcBef>
              <a:spcAft>
                <a:spcPct val="0"/>
              </a:spcAft>
              <a:defRPr sz="2400"/>
            </a:lvl6pPr>
            <a:lvl7pPr marL="2706688" defTabSz="895350" fontAlgn="base">
              <a:spcBef>
                <a:spcPct val="0"/>
              </a:spcBef>
              <a:spcAft>
                <a:spcPct val="0"/>
              </a:spcAft>
              <a:defRPr sz="2400"/>
            </a:lvl7pPr>
            <a:lvl8pPr marL="3163888" defTabSz="895350" fontAlgn="base">
              <a:spcBef>
                <a:spcPct val="0"/>
              </a:spcBef>
              <a:spcAft>
                <a:spcPct val="0"/>
              </a:spcAft>
              <a:defRPr sz="2400"/>
            </a:lvl8pPr>
            <a:lvl9pPr marL="3621088" defTabSz="895350" fontAlgn="base">
              <a:spcBef>
                <a:spcPct val="0"/>
              </a:spcBef>
              <a:spcAft>
                <a:spcPct val="0"/>
              </a:spcAft>
              <a:defRPr sz="2400"/>
            </a:lvl9pPr>
          </a:lstStyle>
          <a:p>
            <a:r>
              <a:rPr lang="en-US" dirty="0"/>
              <a:t>Merger management engagements1 supported in last 5 years </a:t>
            </a:r>
          </a:p>
        </p:txBody>
      </p:sp>
      <p:sp>
        <p:nvSpPr>
          <p:cNvPr id="147" name="5. Source"/>
          <p:cNvSpPr>
            <a:spLocks noChangeArrowheads="1"/>
          </p:cNvSpPr>
          <p:nvPr/>
        </p:nvSpPr>
        <p:spPr bwMode="auto">
          <a:xfrm>
            <a:off x="119063" y="6507558"/>
            <a:ext cx="7200000" cy="123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marL="609600" indent="-609600" defTabSz="895350">
              <a:tabLst>
                <a:tab pos="612775" algn="l"/>
              </a:tabLst>
            </a:pPr>
            <a:r>
              <a:rPr lang="en-US" sz="800" dirty="0">
                <a:solidFill>
                  <a:schemeClr val="accent6"/>
                </a:solidFill>
                <a:latin typeface="Arial" panose="020B0604020202020204" pitchFamily="34" charset="0"/>
              </a:rPr>
              <a:t>SOURCE: McKinsey Merger Management Practice</a:t>
            </a:r>
          </a:p>
        </p:txBody>
      </p:sp>
      <p:sp>
        <p:nvSpPr>
          <p:cNvPr id="148" name="4. Footnote"/>
          <p:cNvSpPr txBox="1">
            <a:spLocks noChangeArrowheads="1"/>
          </p:cNvSpPr>
          <p:nvPr/>
        </p:nvSpPr>
        <p:spPr bwMode="auto">
          <a:xfrm>
            <a:off x="119063" y="6305945"/>
            <a:ext cx="8618537" cy="123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defPPr>
              <a:defRPr lang="en-US"/>
            </a:defPPr>
            <a:lvl1pPr marL="104775" indent="-104775" defTabSz="895350">
              <a:defRPr sz="800">
                <a:solidFill>
                  <a:srgbClr val="808080"/>
                </a:solidFill>
                <a:latin typeface="Arial"/>
              </a:defRPr>
            </a:lvl1pPr>
            <a:lvl2pPr marL="1031875" defTabSz="895350">
              <a:defRPr sz="2400"/>
            </a:lvl2pPr>
            <a:lvl3pPr marL="1217613" defTabSz="895350">
              <a:defRPr sz="2400"/>
            </a:lvl3pPr>
            <a:lvl4pPr marL="1404938" defTabSz="895350">
              <a:defRPr sz="2400"/>
            </a:lvl4pPr>
            <a:lvl5pPr marL="1792288" defTabSz="895350">
              <a:defRPr sz="2400"/>
            </a:lvl5pPr>
            <a:lvl6pPr marL="2249488" defTabSz="895350" fontAlgn="base">
              <a:spcBef>
                <a:spcPct val="0"/>
              </a:spcBef>
              <a:spcAft>
                <a:spcPct val="0"/>
              </a:spcAft>
              <a:defRPr sz="2400"/>
            </a:lvl6pPr>
            <a:lvl7pPr marL="2706688" defTabSz="895350" fontAlgn="base">
              <a:spcBef>
                <a:spcPct val="0"/>
              </a:spcBef>
              <a:spcAft>
                <a:spcPct val="0"/>
              </a:spcAft>
              <a:defRPr sz="2400"/>
            </a:lvl7pPr>
            <a:lvl8pPr marL="3163888" defTabSz="895350" fontAlgn="base">
              <a:spcBef>
                <a:spcPct val="0"/>
              </a:spcBef>
              <a:spcAft>
                <a:spcPct val="0"/>
              </a:spcAft>
              <a:defRPr sz="2400"/>
            </a:lvl8pPr>
            <a:lvl9pPr marL="3621088" defTabSz="895350" fontAlgn="base">
              <a:spcBef>
                <a:spcPct val="0"/>
              </a:spcBef>
              <a:spcAft>
                <a:spcPct val="0"/>
              </a:spcAft>
              <a:defRPr sz="2400"/>
            </a:lvl9pPr>
          </a:lstStyle>
          <a:p>
            <a:r>
              <a:rPr lang="en-US" dirty="0">
                <a:solidFill>
                  <a:schemeClr val="accent6"/>
                </a:solidFill>
                <a:latin typeface="Arial" panose="020B0604020202020204" pitchFamily="34" charset="0"/>
              </a:rPr>
              <a:t>1 Primary and secondary studies with functional classification merger, excludes transactions or divestiture (~200)</a:t>
            </a:r>
          </a:p>
        </p:txBody>
      </p:sp>
      <p:sp>
        <p:nvSpPr>
          <p:cNvPr id="157" name="Title Tracker Circle">
            <a:extLst>
              <a:ext uri="{FF2B5EF4-FFF2-40B4-BE49-F238E27FC236}">
                <a16:creationId xmlns:a16="http://schemas.microsoft.com/office/drawing/2014/main" id="{079A1265-82F6-4D56-92CC-2AA923CFBF08}"/>
              </a:ext>
            </a:extLst>
          </p:cNvPr>
          <p:cNvSpPr/>
          <p:nvPr/>
        </p:nvSpPr>
        <p:spPr>
          <a:xfrm>
            <a:off x="119063" y="166736"/>
            <a:ext cx="418798" cy="418798"/>
          </a:xfrm>
          <a:prstGeom prst="ellipse">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p>
            <a:pPr algn="ctr"/>
            <a:r>
              <a:rPr lang="en-US" sz="2000" dirty="0">
                <a:solidFill>
                  <a:schemeClr val="tx2"/>
                </a:solidFill>
                <a:latin typeface="+mj-lt"/>
              </a:rPr>
              <a:t>1</a:t>
            </a:r>
          </a:p>
        </p:txBody>
      </p:sp>
    </p:spTree>
    <p:custDataLst>
      <p:tags r:id="rId2"/>
    </p:custDataLst>
    <p:extLst>
      <p:ext uri="{BB962C8B-B14F-4D97-AF65-F5344CB8AC3E}">
        <p14:creationId xmlns:p14="http://schemas.microsoft.com/office/powerpoint/2010/main" val="260369110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322883" name="AutoShape 3" hidden="1"/>
          <p:cNvGraphicFramePr>
            <a:graphicFrameLocks/>
          </p:cNvGraphicFramePr>
          <p:nvPr>
            <p:custDataLst>
              <p:tags r:id="rId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75533" name="think-cell Slide" r:id="rId50" imgW="0" imgH="0" progId="TCLayout.ActiveDocument.1">
                  <p:embed/>
                </p:oleObj>
              </mc:Choice>
              <mc:Fallback>
                <p:oleObj name="think-cell Slide" r:id="rId50" imgW="0" imgH="0" progId="TCLayout.ActiveDocument.1">
                  <p:embed/>
                  <p:pic>
                    <p:nvPicPr>
                      <p:cNvPr id="3322883" name="AutoShape 3"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322884" name="Rectangle 3" hidden="1"/>
          <p:cNvSpPr>
            <a:spLocks noChangeArrowheads="1"/>
          </p:cNvSpPr>
          <p:nvPr>
            <p:custDataLst>
              <p:tags r:id="rId3"/>
            </p:custDataLst>
          </p:nvPr>
        </p:nvSpPr>
        <p:spPr bwMode="gray">
          <a:xfrm>
            <a:off x="0" y="0"/>
            <a:ext cx="158750" cy="158750"/>
          </a:xfrm>
          <a:prstGeom prst="rect">
            <a:avLst/>
          </a:prstGeom>
          <a:solidFill>
            <a:schemeClr val="accent1"/>
          </a:solidFill>
          <a:ln w="9525" algn="ctr">
            <a:solidFill>
              <a:schemeClr val="tx1"/>
            </a:solidFill>
            <a:miter lim="800000"/>
            <a:headEnd/>
            <a:tailEnd/>
          </a:ln>
        </p:spPr>
        <p:txBody>
          <a:bodyPr vert="horz" wrap="none" lIns="0" tIns="0" rIns="0" bIns="0" numCol="1" spcCol="0" anchor="ctr" anchorCtr="0">
            <a:noAutofit/>
          </a:bodyPr>
          <a:lstStyle/>
          <a:p>
            <a:pPr algn="ctr"/>
            <a:endParaRPr lang="en-US" sz="1200" dirty="0">
              <a:solidFill>
                <a:srgbClr val="000000"/>
              </a:solidFill>
              <a:latin typeface="Arial" panose="020B0604020202020204" pitchFamily="34" charset="0"/>
              <a:cs typeface="Arial" panose="020B0604020202020204" pitchFamily="34" charset="0"/>
              <a:sym typeface="Arial" panose="020B0604020202020204" pitchFamily="34" charset="0"/>
            </a:endParaRPr>
          </a:p>
        </p:txBody>
      </p:sp>
      <p:sp>
        <p:nvSpPr>
          <p:cNvPr id="302" name="Rectangle 301"/>
          <p:cNvSpPr>
            <a:spLocks/>
          </p:cNvSpPr>
          <p:nvPr/>
        </p:nvSpPr>
        <p:spPr>
          <a:xfrm>
            <a:off x="5463540" y="1168400"/>
            <a:ext cx="3346634" cy="2613024"/>
          </a:xfrm>
          <a:prstGeom prst="rect">
            <a:avLst/>
          </a:prstGeom>
          <a:solidFill>
            <a:schemeClr val="bg2"/>
          </a:solidFill>
          <a:ln w="12700">
            <a:solidFill>
              <a:schemeClr val="accent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89611" tIns="44806" rIns="89611" bIns="44806" rtlCol="0" anchor="ctr">
            <a:noAutofit/>
          </a:bodyPr>
          <a:lstStyle/>
          <a:p>
            <a:pPr algn="ctr"/>
            <a:endParaRPr lang="en-US" sz="1200" dirty="0">
              <a:solidFill>
                <a:srgbClr val="0065BD"/>
              </a:solidFill>
            </a:endParaRPr>
          </a:p>
        </p:txBody>
      </p:sp>
      <p:sp>
        <p:nvSpPr>
          <p:cNvPr id="301" name="Rectangle 300"/>
          <p:cNvSpPr>
            <a:spLocks/>
          </p:cNvSpPr>
          <p:nvPr/>
        </p:nvSpPr>
        <p:spPr>
          <a:xfrm>
            <a:off x="238125" y="1168400"/>
            <a:ext cx="5141595" cy="5300662"/>
          </a:xfrm>
          <a:prstGeom prst="rect">
            <a:avLst/>
          </a:prstGeom>
          <a:solidFill>
            <a:schemeClr val="bg2"/>
          </a:solidFill>
          <a:ln w="12700">
            <a:solidFill>
              <a:schemeClr val="accent3">
                <a:lumMod val="40000"/>
                <a:lumOff val="6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89611" tIns="44806" rIns="89611" bIns="44806" rtlCol="0" anchor="ctr">
            <a:noAutofit/>
          </a:bodyPr>
          <a:lstStyle/>
          <a:p>
            <a:pPr algn="ctr"/>
            <a:endParaRPr lang="en-US" sz="1200" dirty="0">
              <a:solidFill>
                <a:srgbClr val="0065BD"/>
              </a:solidFill>
            </a:endParaRPr>
          </a:p>
        </p:txBody>
      </p:sp>
      <p:sp>
        <p:nvSpPr>
          <p:cNvPr id="3322947" name="Rectangle 90"/>
          <p:cNvSpPr>
            <a:spLocks noGrp="1" noChangeArrowheads="1"/>
          </p:cNvSpPr>
          <p:nvPr>
            <p:ph type="title"/>
            <p:custDataLst>
              <p:tags r:id="rId4"/>
            </p:custDataLst>
          </p:nvPr>
        </p:nvSpPr>
        <p:spPr bwMode="gray">
          <a:xfrm>
            <a:off x="119063" y="230188"/>
            <a:ext cx="8618537" cy="615553"/>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marL="465138"/>
            <a:r>
              <a:rPr lang="en-US" dirty="0"/>
              <a:t>McKinsey supported more than 2,500 integrations in the past 5 years, and delivered superior results</a:t>
            </a:r>
          </a:p>
        </p:txBody>
      </p:sp>
      <p:sp>
        <p:nvSpPr>
          <p:cNvPr id="230" name="Rectangle 1"/>
          <p:cNvSpPr>
            <a:spLocks/>
          </p:cNvSpPr>
          <p:nvPr/>
        </p:nvSpPr>
        <p:spPr bwMode="gray">
          <a:xfrm>
            <a:off x="238125" y="1168400"/>
            <a:ext cx="5141595" cy="488636"/>
          </a:xfrm>
          <a:prstGeom prst="rect">
            <a:avLst/>
          </a:prstGeom>
          <a:solidFill>
            <a:schemeClr val="accent3">
              <a:lumMod val="40000"/>
              <a:lumOff val="60000"/>
            </a:schemeClr>
          </a:solidFill>
          <a:ln w="12700">
            <a:solidFill>
              <a:schemeClr val="accent3">
                <a:lumMod val="40000"/>
                <a:lumOff val="6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lIns="45720" tIns="27432" rIns="27432" bIns="27432" anchor="ctr">
            <a:noAutofit/>
          </a:bodyPr>
          <a:lstStyle/>
          <a:p>
            <a:endParaRPr lang="en-US" sz="1200" b="1" dirty="0">
              <a:solidFill>
                <a:srgbClr val="FFFFFF"/>
              </a:solidFill>
            </a:endParaRPr>
          </a:p>
        </p:txBody>
      </p:sp>
      <p:sp>
        <p:nvSpPr>
          <p:cNvPr id="231" name="Rectangle 67"/>
          <p:cNvSpPr txBox="1">
            <a:spLocks noChangeArrowheads="1"/>
          </p:cNvSpPr>
          <p:nvPr/>
        </p:nvSpPr>
        <p:spPr bwMode="gray">
          <a:xfrm>
            <a:off x="315912" y="1239838"/>
            <a:ext cx="4859737" cy="332399"/>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lvl1pPr marL="342900" indent="-342900" algn="l" defTabSz="895350" rtl="0" eaLnBrk="0" fontAlgn="base" hangingPunct="0">
              <a:spcBef>
                <a:spcPct val="0"/>
              </a:spcBef>
              <a:spcAft>
                <a:spcPct val="0"/>
              </a:spcAft>
              <a:buClr>
                <a:schemeClr val="tx2"/>
              </a:buClr>
              <a:defRPr lang="en-US" sz="1600" baseline="0" smtClean="0">
                <a:solidFill>
                  <a:schemeClr val="tx1"/>
                </a:solidFill>
                <a:latin typeface="+mn-lt"/>
                <a:ea typeface="+mn-ea"/>
                <a:cs typeface="+mn-cs"/>
              </a:defRPr>
            </a:lvl1pPr>
            <a:lvl2pPr marL="193675" indent="-192088" algn="l" defTabSz="895350" rtl="0" eaLnBrk="0" fontAlgn="base" hangingPunct="0">
              <a:spcBef>
                <a:spcPct val="0"/>
              </a:spcBef>
              <a:spcAft>
                <a:spcPct val="0"/>
              </a:spcAft>
              <a:buClr>
                <a:schemeClr val="tx2"/>
              </a:buClr>
              <a:buSzPct val="125000"/>
              <a:buFont typeface="Arial" charset="0"/>
              <a:buChar char="▪"/>
              <a:defRPr lang="en-US" sz="1600" baseline="0" smtClean="0">
                <a:solidFill>
                  <a:schemeClr val="tx1"/>
                </a:solidFill>
                <a:latin typeface="+mn-lt"/>
              </a:defRPr>
            </a:lvl2pPr>
            <a:lvl3pPr marL="457200" indent="-261938" algn="l" defTabSz="895350" rtl="0" eaLnBrk="0" fontAlgn="base" hangingPunct="0">
              <a:spcBef>
                <a:spcPct val="0"/>
              </a:spcBef>
              <a:spcAft>
                <a:spcPct val="0"/>
              </a:spcAft>
              <a:buClr>
                <a:schemeClr val="tx2"/>
              </a:buClr>
              <a:buSzPct val="120000"/>
              <a:buFont typeface="Arial" charset="0"/>
              <a:buChar char="–"/>
              <a:defRPr lang="en-US" sz="1600" baseline="0" smtClean="0">
                <a:solidFill>
                  <a:schemeClr val="tx1"/>
                </a:solidFill>
                <a:latin typeface="+mn-lt"/>
              </a:defRPr>
            </a:lvl3pPr>
            <a:lvl4pPr marL="614363" indent="-155575" algn="l" defTabSz="895350" rtl="0" eaLnBrk="0" fontAlgn="base" hangingPunct="0">
              <a:spcBef>
                <a:spcPct val="0"/>
              </a:spcBef>
              <a:spcAft>
                <a:spcPct val="0"/>
              </a:spcAft>
              <a:buClr>
                <a:schemeClr val="tx2"/>
              </a:buClr>
              <a:buSzPct val="120000"/>
              <a:buFont typeface="Arial" charset="0"/>
              <a:buChar char="▫"/>
              <a:defRPr lang="en-US" sz="1600" baseline="0" smtClean="0">
                <a:solidFill>
                  <a:schemeClr val="tx1"/>
                </a:solidFill>
                <a:latin typeface="+mn-lt"/>
              </a:defRPr>
            </a:lvl4pPr>
            <a:lvl5pPr marL="746125" indent="-130175" algn="l" defTabSz="895350" rtl="0" eaLnBrk="0" fontAlgn="base" hangingPunct="0">
              <a:spcBef>
                <a:spcPct val="0"/>
              </a:spcBef>
              <a:spcAft>
                <a:spcPct val="0"/>
              </a:spcAft>
              <a:buClr>
                <a:schemeClr val="tx2"/>
              </a:buClr>
              <a:buSzPct val="89000"/>
              <a:buFont typeface="Arial" charset="0"/>
              <a:buChar char="-"/>
              <a:defRPr lang="en-US" sz="1600" baseline="0" smtClean="0">
                <a:solidFill>
                  <a:schemeClr val="tx1"/>
                </a:solidFill>
                <a:latin typeface="+mn-lt"/>
              </a:defRPr>
            </a:lvl5pPr>
            <a:lvl6pPr marL="12033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6pPr>
            <a:lvl7pPr marL="16605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7pPr>
            <a:lvl8pPr marL="21177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8pPr>
            <a:lvl9pPr marL="25749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indent="0" eaLnBrk="1" hangingPunct="1">
              <a:lnSpc>
                <a:spcPct val="90000"/>
              </a:lnSpc>
              <a:buClr>
                <a:srgbClr val="002960"/>
              </a:buClr>
            </a:pPr>
            <a:r>
              <a:rPr sz="1200" b="1" dirty="0">
                <a:solidFill>
                  <a:srgbClr val="FFFFFF"/>
                </a:solidFill>
              </a:rPr>
              <a:t>McKinsey has led and supported over 2,500 integration</a:t>
            </a:r>
            <a:r>
              <a:rPr lang="en-GB" sz="1200" b="1" dirty="0">
                <a:solidFill>
                  <a:srgbClr val="FFFFFF"/>
                </a:solidFill>
              </a:rPr>
              <a:t>s</a:t>
            </a:r>
            <a:r>
              <a:rPr sz="1200" b="1" dirty="0">
                <a:solidFill>
                  <a:srgbClr val="FFFFFF"/>
                </a:solidFill>
              </a:rPr>
              <a:t> over the past 5 years</a:t>
            </a:r>
            <a:r>
              <a:rPr lang="en-GB" sz="1200" b="1" dirty="0">
                <a:solidFill>
                  <a:srgbClr val="FFFFFF"/>
                </a:solidFill>
              </a:rPr>
              <a:t> across industries</a:t>
            </a:r>
            <a:endParaRPr sz="1200" b="1" dirty="0">
              <a:solidFill>
                <a:srgbClr val="FFFFFF"/>
              </a:solidFill>
            </a:endParaRPr>
          </a:p>
        </p:txBody>
      </p:sp>
      <p:sp>
        <p:nvSpPr>
          <p:cNvPr id="232" name="Rectangle 1"/>
          <p:cNvSpPr>
            <a:spLocks/>
          </p:cNvSpPr>
          <p:nvPr/>
        </p:nvSpPr>
        <p:spPr bwMode="gray">
          <a:xfrm>
            <a:off x="5463540" y="1168400"/>
            <a:ext cx="3346634" cy="488636"/>
          </a:xfrm>
          <a:prstGeom prst="rect">
            <a:avLst/>
          </a:prstGeom>
          <a:solidFill>
            <a:schemeClr val="accent1"/>
          </a:solidFill>
          <a:ln w="12700">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lIns="45720" tIns="27432" rIns="27432" bIns="27432" anchor="ctr">
            <a:noAutofit/>
          </a:bodyPr>
          <a:lstStyle/>
          <a:p>
            <a:pPr algn="ctr"/>
            <a:endParaRPr lang="en-US" sz="1200" b="1" dirty="0">
              <a:solidFill>
                <a:srgbClr val="002960"/>
              </a:solidFill>
            </a:endParaRPr>
          </a:p>
        </p:txBody>
      </p:sp>
      <p:sp>
        <p:nvSpPr>
          <p:cNvPr id="233" name="Rectangle 68"/>
          <p:cNvSpPr txBox="1">
            <a:spLocks noChangeArrowheads="1"/>
          </p:cNvSpPr>
          <p:nvPr/>
        </p:nvSpPr>
        <p:spPr bwMode="gray">
          <a:xfrm>
            <a:off x="5507272" y="1249851"/>
            <a:ext cx="3227615" cy="332399"/>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lvl1pPr marL="342900" indent="-342900" algn="l" defTabSz="895350" rtl="0" eaLnBrk="0" fontAlgn="base" hangingPunct="0">
              <a:spcBef>
                <a:spcPct val="0"/>
              </a:spcBef>
              <a:spcAft>
                <a:spcPct val="0"/>
              </a:spcAft>
              <a:buClr>
                <a:schemeClr val="tx2"/>
              </a:buClr>
              <a:defRPr lang="en-US" sz="1600" baseline="0" smtClean="0">
                <a:solidFill>
                  <a:schemeClr val="tx1"/>
                </a:solidFill>
                <a:latin typeface="+mn-lt"/>
                <a:ea typeface="+mn-ea"/>
                <a:cs typeface="+mn-cs"/>
              </a:defRPr>
            </a:lvl1pPr>
            <a:lvl2pPr marL="193675" indent="-192088" algn="l" defTabSz="895350" rtl="0" eaLnBrk="0" fontAlgn="base" hangingPunct="0">
              <a:spcBef>
                <a:spcPct val="0"/>
              </a:spcBef>
              <a:spcAft>
                <a:spcPct val="0"/>
              </a:spcAft>
              <a:buClr>
                <a:schemeClr val="tx2"/>
              </a:buClr>
              <a:buSzPct val="125000"/>
              <a:buFont typeface="Arial" charset="0"/>
              <a:buChar char="▪"/>
              <a:defRPr lang="en-US" sz="1600" baseline="0" smtClean="0">
                <a:solidFill>
                  <a:schemeClr val="tx1"/>
                </a:solidFill>
                <a:latin typeface="+mn-lt"/>
              </a:defRPr>
            </a:lvl2pPr>
            <a:lvl3pPr marL="457200" indent="-261938" algn="l" defTabSz="895350" rtl="0" eaLnBrk="0" fontAlgn="base" hangingPunct="0">
              <a:spcBef>
                <a:spcPct val="0"/>
              </a:spcBef>
              <a:spcAft>
                <a:spcPct val="0"/>
              </a:spcAft>
              <a:buClr>
                <a:schemeClr val="tx2"/>
              </a:buClr>
              <a:buSzPct val="120000"/>
              <a:buFont typeface="Arial" charset="0"/>
              <a:buChar char="–"/>
              <a:defRPr lang="en-US" sz="1600" baseline="0" smtClean="0">
                <a:solidFill>
                  <a:schemeClr val="tx1"/>
                </a:solidFill>
                <a:latin typeface="+mn-lt"/>
              </a:defRPr>
            </a:lvl3pPr>
            <a:lvl4pPr marL="614363" indent="-155575" algn="l" defTabSz="895350" rtl="0" eaLnBrk="0" fontAlgn="base" hangingPunct="0">
              <a:spcBef>
                <a:spcPct val="0"/>
              </a:spcBef>
              <a:spcAft>
                <a:spcPct val="0"/>
              </a:spcAft>
              <a:buClr>
                <a:schemeClr val="tx2"/>
              </a:buClr>
              <a:buSzPct val="120000"/>
              <a:buFont typeface="Arial" charset="0"/>
              <a:buChar char="▫"/>
              <a:defRPr lang="en-US" sz="1600" baseline="0" smtClean="0">
                <a:solidFill>
                  <a:schemeClr val="tx1"/>
                </a:solidFill>
                <a:latin typeface="+mn-lt"/>
              </a:defRPr>
            </a:lvl4pPr>
            <a:lvl5pPr marL="746125" indent="-130175" algn="l" defTabSz="895350" rtl="0" eaLnBrk="0" fontAlgn="base" hangingPunct="0">
              <a:spcBef>
                <a:spcPct val="0"/>
              </a:spcBef>
              <a:spcAft>
                <a:spcPct val="0"/>
              </a:spcAft>
              <a:buClr>
                <a:schemeClr val="tx2"/>
              </a:buClr>
              <a:buSzPct val="89000"/>
              <a:buFont typeface="Arial" charset="0"/>
              <a:buChar char="-"/>
              <a:defRPr lang="en-US" sz="1600" baseline="0" smtClean="0">
                <a:solidFill>
                  <a:schemeClr val="tx1"/>
                </a:solidFill>
                <a:latin typeface="+mn-lt"/>
              </a:defRPr>
            </a:lvl5pPr>
            <a:lvl6pPr marL="12033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6pPr>
            <a:lvl7pPr marL="16605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7pPr>
            <a:lvl8pPr marL="21177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8pPr>
            <a:lvl9pPr marL="25749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indent="0" eaLnBrk="1" hangingPunct="1">
              <a:lnSpc>
                <a:spcPct val="90000"/>
              </a:lnSpc>
              <a:buClr>
                <a:srgbClr val="002960"/>
              </a:buClr>
            </a:pPr>
            <a:r>
              <a:rPr lang="en-GB" sz="1200" b="1" dirty="0">
                <a:solidFill>
                  <a:srgbClr val="0065BD"/>
                </a:solidFill>
              </a:rPr>
              <a:t>More than twice as many as other consultancies combined</a:t>
            </a:r>
            <a:endParaRPr sz="1200" b="1" dirty="0">
              <a:solidFill>
                <a:srgbClr val="0065BD"/>
              </a:solidFill>
            </a:endParaRPr>
          </a:p>
        </p:txBody>
      </p:sp>
      <p:sp>
        <p:nvSpPr>
          <p:cNvPr id="90" name="Rectangle 6"/>
          <p:cNvSpPr>
            <a:spLocks noChangeArrowheads="1"/>
          </p:cNvSpPr>
          <p:nvPr/>
        </p:nvSpPr>
        <p:spPr bwMode="gray">
          <a:xfrm>
            <a:off x="5463540" y="3856038"/>
            <a:ext cx="3346634" cy="2613024"/>
          </a:xfrm>
          <a:prstGeom prst="rect">
            <a:avLst/>
          </a:prstGeom>
          <a:solidFill>
            <a:schemeClr val="bg2"/>
          </a:solidFill>
          <a:ln w="12700">
            <a:solidFill>
              <a:schemeClr val="accent1"/>
            </a:solidFill>
          </a:ln>
          <a:effectLst>
            <a:outerShdw blurRad="50800" dist="38100" dir="2700000" algn="tl" rotWithShape="0">
              <a:prstClr val="black">
                <a:alpha val="40000"/>
              </a:prstClr>
            </a:outerShdw>
          </a:effectLst>
          <a:extLst/>
        </p:spPr>
        <p:style>
          <a:lnRef idx="2">
            <a:schemeClr val="accent1">
              <a:shade val="50000"/>
            </a:schemeClr>
          </a:lnRef>
          <a:fillRef idx="1">
            <a:schemeClr val="accent1"/>
          </a:fillRef>
          <a:effectRef idx="0">
            <a:schemeClr val="accent1"/>
          </a:effectRef>
          <a:fontRef idx="minor">
            <a:schemeClr val="lt1"/>
          </a:fontRef>
        </p:style>
        <p:txBody>
          <a:bodyPr lIns="89611" tIns="44806" rIns="89611" bIns="44806" rtlCol="0" anchor="ctr">
            <a:noAutofit/>
          </a:bodyPr>
          <a:lstStyle/>
          <a:p>
            <a:pPr algn="ctr"/>
            <a:endParaRPr lang="en-US" sz="1200" dirty="0">
              <a:solidFill>
                <a:srgbClr val="0065BD"/>
              </a:solidFill>
              <a:sym typeface="Arial"/>
            </a:endParaRPr>
          </a:p>
        </p:txBody>
      </p:sp>
      <p:sp>
        <p:nvSpPr>
          <p:cNvPr id="91" name="Rectangle 90"/>
          <p:cNvSpPr>
            <a:spLocks/>
          </p:cNvSpPr>
          <p:nvPr/>
        </p:nvSpPr>
        <p:spPr>
          <a:xfrm>
            <a:off x="5463540" y="3856038"/>
            <a:ext cx="3346634" cy="488636"/>
          </a:xfrm>
          <a:prstGeom prst="rect">
            <a:avLst/>
          </a:prstGeom>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defTabSz="895350">
              <a:lnSpc>
                <a:spcPct val="90000"/>
              </a:lnSpc>
              <a:buClr>
                <a:srgbClr val="002960"/>
              </a:buClr>
            </a:pPr>
            <a:r>
              <a:rPr lang="en-US" sz="1200" b="1" dirty="0">
                <a:solidFill>
                  <a:srgbClr val="0065BD"/>
                </a:solidFill>
                <a:sym typeface="Arial"/>
              </a:rPr>
              <a:t>Median excess TRS (above market) 2 years after deal </a:t>
            </a:r>
            <a:r>
              <a:rPr lang="en-US" sz="1200" dirty="0">
                <a:solidFill>
                  <a:schemeClr val="accent6"/>
                </a:solidFill>
                <a:sym typeface="Arial"/>
              </a:rPr>
              <a:t>(%)</a:t>
            </a:r>
          </a:p>
        </p:txBody>
      </p:sp>
      <p:graphicFrame>
        <p:nvGraphicFramePr>
          <p:cNvPr id="92" name="Object 91"/>
          <p:cNvGraphicFramePr>
            <a:graphicFrameLocks/>
          </p:cNvGraphicFramePr>
          <p:nvPr>
            <p:custDataLst>
              <p:tags r:id="rId5"/>
            </p:custDataLst>
            <p:extLst/>
          </p:nvPr>
        </p:nvGraphicFramePr>
        <p:xfrm>
          <a:off x="5562601" y="4305300"/>
          <a:ext cx="3162271" cy="1685925"/>
        </p:xfrm>
        <a:graphic>
          <a:graphicData uri="http://schemas.openxmlformats.org/presentationml/2006/ole">
            <mc:AlternateContent xmlns:mc="http://schemas.openxmlformats.org/markup-compatibility/2006">
              <mc:Choice xmlns:v="urn:schemas-microsoft-com:vml" Requires="v">
                <p:oleObj spid="_x0000_s275534" name="Chart" r:id="rId51" imgW="3162447" imgH="1686122" progId="MSGraph.Chart.8">
                  <p:embed followColorScheme="full"/>
                </p:oleObj>
              </mc:Choice>
              <mc:Fallback>
                <p:oleObj name="Chart" r:id="rId51" imgW="3162447" imgH="1686122" progId="MSGraph.Chart.8">
                  <p:embed followColorScheme="full"/>
                  <p:pic>
                    <p:nvPicPr>
                      <p:cNvPr id="92" name="Object 91"/>
                      <p:cNvPicPr/>
                      <p:nvPr/>
                    </p:nvPicPr>
                    <p:blipFill>
                      <a:blip r:embed="rId52"/>
                      <a:stretch>
                        <a:fillRect/>
                      </a:stretch>
                    </p:blipFill>
                    <p:spPr>
                      <a:xfrm>
                        <a:off x="5562601" y="4305300"/>
                        <a:ext cx="3162271" cy="1685925"/>
                      </a:xfrm>
                      <a:prstGeom prst="rect">
                        <a:avLst/>
                      </a:prstGeom>
                    </p:spPr>
                  </p:pic>
                </p:oleObj>
              </mc:Fallback>
            </mc:AlternateContent>
          </a:graphicData>
        </a:graphic>
      </p:graphicFrame>
      <p:sp>
        <p:nvSpPr>
          <p:cNvPr id="93" name="Rectangle 92"/>
          <p:cNvSpPr>
            <a:spLocks noGrp="1" noChangeArrowheads="1"/>
          </p:cNvSpPr>
          <p:nvPr>
            <p:custDataLst>
              <p:tags r:id="rId6"/>
            </p:custDataLst>
          </p:nvPr>
        </p:nvSpPr>
        <p:spPr bwMode="auto">
          <a:xfrm>
            <a:off x="5848350" y="5945188"/>
            <a:ext cx="687388" cy="36512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Arial Unicode MS" pitchFamily="34" charset="-128"/>
                <a:cs typeface="Arial Unicode MS" pitchFamily="34" charset="-128"/>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ea typeface="Arial Unicode MS" pitchFamily="34" charset="-128"/>
                <a:cs typeface="Arial Unicode MS" pitchFamily="34" charset="-128"/>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ea typeface="Arial Unicode MS" pitchFamily="34" charset="-128"/>
                <a:cs typeface="Arial Unicode MS" pitchFamily="34" charset="-128"/>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buClr>
                <a:srgbClr val="002960"/>
              </a:buClr>
            </a:pPr>
            <a:r>
              <a:rPr lang="en-US" sz="1200" dirty="0">
                <a:solidFill>
                  <a:srgbClr val="000000"/>
                </a:solidFill>
                <a:ea typeface="+mn-ea"/>
                <a:cs typeface="+mn-cs"/>
                <a:sym typeface="+mn-lt"/>
              </a:rPr>
              <a:t>McKinsey </a:t>
            </a:r>
            <a:br>
              <a:rPr lang="en-US" sz="1200" dirty="0">
                <a:solidFill>
                  <a:srgbClr val="000000"/>
                </a:solidFill>
                <a:ea typeface="+mn-ea"/>
                <a:cs typeface="+mn-cs"/>
                <a:sym typeface="+mn-lt"/>
              </a:rPr>
            </a:br>
            <a:r>
              <a:rPr lang="en-US" sz="1200" dirty="0">
                <a:solidFill>
                  <a:srgbClr val="000000"/>
                </a:solidFill>
                <a:ea typeface="+mn-ea"/>
                <a:cs typeface="+mn-cs"/>
                <a:sym typeface="+mn-lt"/>
              </a:rPr>
              <a:t>supported</a:t>
            </a:r>
          </a:p>
        </p:txBody>
      </p:sp>
      <p:sp>
        <p:nvSpPr>
          <p:cNvPr id="94" name="Rectangle 93"/>
          <p:cNvSpPr>
            <a:spLocks noGrp="1" noChangeArrowheads="1"/>
          </p:cNvSpPr>
          <p:nvPr>
            <p:custDataLst>
              <p:tags r:id="rId7"/>
            </p:custDataLst>
          </p:nvPr>
        </p:nvSpPr>
        <p:spPr bwMode="auto">
          <a:xfrm>
            <a:off x="7267575" y="5945188"/>
            <a:ext cx="908050" cy="36512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Arial Unicode MS" pitchFamily="34" charset="-128"/>
                <a:cs typeface="Arial Unicode MS" pitchFamily="34" charset="-128"/>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ea typeface="Arial Unicode MS" pitchFamily="34" charset="-128"/>
                <a:cs typeface="Arial Unicode MS" pitchFamily="34" charset="-128"/>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ea typeface="Arial Unicode MS" pitchFamily="34" charset="-128"/>
                <a:cs typeface="Arial Unicode MS" pitchFamily="34" charset="-128"/>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buClr>
                <a:srgbClr val="002960"/>
              </a:buClr>
            </a:pPr>
            <a:fld id="{8020A82A-96CA-413E-B2CC-860AF58E935D}" type="datetime'N''o ''''M''''c''Kin''''sey'''''''''' ''''''Support'">
              <a:rPr lang="en-US" sz="1200" smtClean="0">
                <a:solidFill>
                  <a:srgbClr val="000000"/>
                </a:solidFill>
                <a:ea typeface="+mn-ea"/>
                <a:cs typeface="+mn-cs"/>
                <a:sym typeface="+mn-lt"/>
              </a:rPr>
              <a:pPr>
                <a:buClr>
                  <a:srgbClr val="002960"/>
                </a:buClr>
              </a:pPr>
              <a:t>No McKinsey Support</a:t>
            </a:fld>
            <a:endParaRPr lang="en-US" sz="1200" dirty="0">
              <a:solidFill>
                <a:srgbClr val="000000"/>
              </a:solidFill>
              <a:ea typeface="+mn-ea"/>
              <a:cs typeface="+mn-cs"/>
              <a:sym typeface="+mn-lt"/>
            </a:endParaRPr>
          </a:p>
        </p:txBody>
      </p:sp>
      <p:graphicFrame>
        <p:nvGraphicFramePr>
          <p:cNvPr id="27" name="Object 21">
            <a:extLst>
              <a:ext uri="{FF2B5EF4-FFF2-40B4-BE49-F238E27FC236}">
                <a16:creationId xmlns:a16="http://schemas.microsoft.com/office/drawing/2014/main" id="{C920348A-2062-4982-9CF3-DD1432BE2997}"/>
              </a:ext>
            </a:extLst>
          </p:cNvPr>
          <p:cNvGraphicFramePr>
            <a:graphicFrameLocks/>
          </p:cNvGraphicFramePr>
          <p:nvPr>
            <p:custDataLst>
              <p:tags r:id="rId8"/>
            </p:custDataLst>
            <p:extLst/>
          </p:nvPr>
        </p:nvGraphicFramePr>
        <p:xfrm>
          <a:off x="1295400" y="2400300"/>
          <a:ext cx="3400579" cy="3429000"/>
        </p:xfrm>
        <a:graphic>
          <a:graphicData uri="http://schemas.openxmlformats.org/presentationml/2006/ole">
            <mc:AlternateContent xmlns:mc="http://schemas.openxmlformats.org/markup-compatibility/2006">
              <mc:Choice xmlns:v="urn:schemas-microsoft-com:vml" Requires="v">
                <p:oleObj spid="_x0000_s275535" name="Chart" r:id="rId53" imgW="3400388" imgH="3429000" progId="MSGraph.Chart.8">
                  <p:embed followColorScheme="full"/>
                </p:oleObj>
              </mc:Choice>
              <mc:Fallback>
                <p:oleObj name="Chart" r:id="rId53" imgW="3400388" imgH="3429000" progId="MSGraph.Chart.8">
                  <p:embed followColorScheme="full"/>
                  <p:pic>
                    <p:nvPicPr>
                      <p:cNvPr id="27" name="Object 21">
                        <a:extLst>
                          <a:ext uri="{FF2B5EF4-FFF2-40B4-BE49-F238E27FC236}">
                            <a16:creationId xmlns:a16="http://schemas.microsoft.com/office/drawing/2014/main" id="{C920348A-2062-4982-9CF3-DD1432BE2997}"/>
                          </a:ext>
                        </a:extLst>
                      </p:cNvPr>
                      <p:cNvPicPr>
                        <a:picLocks noChangeArrowheads="1"/>
                      </p:cNvPicPr>
                      <p:nvPr/>
                    </p:nvPicPr>
                    <p:blipFill>
                      <a:blip r:embed="rId54"/>
                      <a:srcRect/>
                      <a:stretch>
                        <a:fillRect/>
                      </a:stretch>
                    </p:blipFill>
                    <p:spPr bwMode="gray">
                      <a:xfrm>
                        <a:off x="1295400" y="2400300"/>
                        <a:ext cx="3400579" cy="342900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cxnSp>
        <p:nvCxnSpPr>
          <p:cNvPr id="23" name="Straight Connector 22">
            <a:extLst>
              <a:ext uri="{FF2B5EF4-FFF2-40B4-BE49-F238E27FC236}">
                <a16:creationId xmlns:a16="http://schemas.microsoft.com/office/drawing/2014/main" id="{3DC76293-8D62-4E71-B783-79F315C9D9A2}"/>
              </a:ext>
            </a:extLst>
          </p:cNvPr>
          <p:cNvCxnSpPr/>
          <p:nvPr>
            <p:custDataLst>
              <p:tags r:id="rId9"/>
            </p:custDataLst>
          </p:nvPr>
        </p:nvCxnSpPr>
        <p:spPr bwMode="gray">
          <a:xfrm>
            <a:off x="2108200" y="2679700"/>
            <a:ext cx="47625" cy="77788"/>
          </a:xfrm>
          <a:prstGeom prst="line">
            <a:avLst/>
          </a:prstGeom>
          <a:ln w="3175">
            <a:solidFill>
              <a:schemeClr val="accent6"/>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B850302A-1E25-4238-AA50-4B97FC8FEE5F}"/>
              </a:ext>
            </a:extLst>
          </p:cNvPr>
          <p:cNvCxnSpPr/>
          <p:nvPr>
            <p:custDataLst>
              <p:tags r:id="rId10"/>
            </p:custDataLst>
          </p:nvPr>
        </p:nvCxnSpPr>
        <p:spPr bwMode="gray">
          <a:xfrm>
            <a:off x="2432050" y="2497138"/>
            <a:ext cx="38100" cy="112713"/>
          </a:xfrm>
          <a:prstGeom prst="line">
            <a:avLst/>
          </a:prstGeom>
          <a:ln w="3175">
            <a:solidFill>
              <a:schemeClr val="accent6"/>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A0CE9B1F-5E67-44D1-AB9E-47217E72ABB0}"/>
              </a:ext>
            </a:extLst>
          </p:cNvPr>
          <p:cNvCxnSpPr/>
          <p:nvPr>
            <p:custDataLst>
              <p:tags r:id="rId11"/>
            </p:custDataLst>
          </p:nvPr>
        </p:nvCxnSpPr>
        <p:spPr bwMode="gray">
          <a:xfrm>
            <a:off x="1958975" y="2679700"/>
            <a:ext cx="149225" cy="0"/>
          </a:xfrm>
          <a:prstGeom prst="line">
            <a:avLst/>
          </a:prstGeom>
          <a:ln w="3175">
            <a:solidFill>
              <a:schemeClr val="accent6"/>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086B06DC-7306-4803-85F9-9770717E9C84}"/>
              </a:ext>
            </a:extLst>
          </p:cNvPr>
          <p:cNvCxnSpPr/>
          <p:nvPr>
            <p:custDataLst>
              <p:tags r:id="rId12"/>
            </p:custDataLst>
          </p:nvPr>
        </p:nvCxnSpPr>
        <p:spPr bwMode="gray">
          <a:xfrm flipH="1">
            <a:off x="4064000" y="2630488"/>
            <a:ext cx="4763" cy="0"/>
          </a:xfrm>
          <a:prstGeom prst="line">
            <a:avLst/>
          </a:prstGeom>
          <a:ln w="3175">
            <a:solidFill>
              <a:schemeClr val="accent6"/>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5DE85971-A8A0-42D5-B746-36C5AB686827}"/>
              </a:ext>
            </a:extLst>
          </p:cNvPr>
          <p:cNvCxnSpPr/>
          <p:nvPr>
            <p:custDataLst>
              <p:tags r:id="rId13"/>
            </p:custDataLst>
          </p:nvPr>
        </p:nvCxnSpPr>
        <p:spPr bwMode="gray">
          <a:xfrm>
            <a:off x="2701925" y="2314575"/>
            <a:ext cx="36513" cy="228600"/>
          </a:xfrm>
          <a:prstGeom prst="line">
            <a:avLst/>
          </a:prstGeom>
          <a:ln w="3175">
            <a:solidFill>
              <a:schemeClr val="accent6"/>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C0C0AE9E-0BC8-473F-B44C-4CD9DE3FEA3A}"/>
              </a:ext>
            </a:extLst>
          </p:cNvPr>
          <p:cNvCxnSpPr/>
          <p:nvPr>
            <p:custDataLst>
              <p:tags r:id="rId14"/>
            </p:custDataLst>
          </p:nvPr>
        </p:nvCxnSpPr>
        <p:spPr bwMode="gray">
          <a:xfrm>
            <a:off x="2936875" y="2355850"/>
            <a:ext cx="0" cy="168275"/>
          </a:xfrm>
          <a:prstGeom prst="line">
            <a:avLst/>
          </a:prstGeom>
          <a:ln w="3175">
            <a:solidFill>
              <a:schemeClr val="accent6"/>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6B4DD639-4B0F-420F-B1B6-A3565AB7E468}"/>
              </a:ext>
            </a:extLst>
          </p:cNvPr>
          <p:cNvCxnSpPr/>
          <p:nvPr>
            <p:custDataLst>
              <p:tags r:id="rId15"/>
            </p:custDataLst>
          </p:nvPr>
        </p:nvCxnSpPr>
        <p:spPr bwMode="gray">
          <a:xfrm flipH="1">
            <a:off x="3921125" y="2630488"/>
            <a:ext cx="142875" cy="196850"/>
          </a:xfrm>
          <a:prstGeom prst="line">
            <a:avLst/>
          </a:prstGeom>
          <a:ln w="3175">
            <a:solidFill>
              <a:schemeClr val="accent6"/>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3" name="Text Placeholder 3">
            <a:extLst>
              <a:ext uri="{FF2B5EF4-FFF2-40B4-BE49-F238E27FC236}">
                <a16:creationId xmlns:a16="http://schemas.microsoft.com/office/drawing/2014/main" id="{0718DA79-2331-439F-A6D6-D197896E9911}"/>
              </a:ext>
            </a:extLst>
          </p:cNvPr>
          <p:cNvSpPr>
            <a:spLocks noGrp="1"/>
          </p:cNvSpPr>
          <p:nvPr>
            <p:custDataLst>
              <p:tags r:id="rId16"/>
            </p:custDataLst>
          </p:nvPr>
        </p:nvSpPr>
        <p:spPr bwMode="gray">
          <a:xfrm>
            <a:off x="2041525" y="5216525"/>
            <a:ext cx="206375" cy="18256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9050" tIns="0" rIns="19050" bIns="0" numCol="1" spcCol="0" anchor="ctr" anchorCtr="0" compatLnSpc="1">
            <a:prstTxWarp prst="textNoShape">
              <a:avLst/>
            </a:prstTxWarp>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Arial Unicode MS" pitchFamily="34" charset="-128"/>
                <a:cs typeface="Arial Unicode MS" pitchFamily="34" charset="-128"/>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ea typeface="Arial Unicode MS" pitchFamily="34" charset="-128"/>
                <a:cs typeface="Arial Unicode MS" pitchFamily="34" charset="-128"/>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ea typeface="Arial Unicode MS" pitchFamily="34" charset="-128"/>
                <a:cs typeface="Arial Unicode MS" pitchFamily="34" charset="-128"/>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ctr">
              <a:buClr>
                <a:srgbClr val="002960"/>
              </a:buClr>
            </a:pPr>
            <a:fld id="{E4FB48DF-16F4-4BF5-9537-A576FC3B8FB9}" type="datetime'''''''''''''''''''''''''''''''''''1''''''''''''2'">
              <a:rPr lang="en-US" altLang="en-US" sz="1200">
                <a:solidFill>
                  <a:srgbClr val="000000"/>
                </a:solidFill>
                <a:ea typeface="+mn-ea"/>
                <a:cs typeface="+mn-cs"/>
                <a:sym typeface="+mn-lt"/>
              </a:rPr>
              <a:pPr algn="ctr">
                <a:buClr>
                  <a:srgbClr val="002960"/>
                </a:buClr>
              </a:pPr>
              <a:t>12</a:t>
            </a:fld>
            <a:endParaRPr lang="en-US" sz="1200" dirty="0">
              <a:solidFill>
                <a:srgbClr val="000000"/>
              </a:solidFill>
              <a:ea typeface="+mn-ea"/>
              <a:cs typeface="+mn-cs"/>
              <a:sym typeface="+mn-lt"/>
            </a:endParaRPr>
          </a:p>
        </p:txBody>
      </p:sp>
      <p:sp>
        <p:nvSpPr>
          <p:cNvPr id="31" name="Text Placeholder 8">
            <a:extLst>
              <a:ext uri="{FF2B5EF4-FFF2-40B4-BE49-F238E27FC236}">
                <a16:creationId xmlns:a16="http://schemas.microsoft.com/office/drawing/2014/main" id="{A840587C-A9D0-4C9E-B7B7-0AD4A6C29FA7}"/>
              </a:ext>
            </a:extLst>
          </p:cNvPr>
          <p:cNvSpPr>
            <a:spLocks noGrp="1"/>
          </p:cNvSpPr>
          <p:nvPr>
            <p:custDataLst>
              <p:tags r:id="rId17"/>
            </p:custDataLst>
          </p:nvPr>
        </p:nvSpPr>
        <p:spPr bwMode="gray">
          <a:xfrm>
            <a:off x="4310063" y="4394200"/>
            <a:ext cx="206375" cy="1825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9050" tIns="0" rIns="19050" bIns="0" numCol="1" anchor="ctr" anchorCtr="0" compatLnSpc="1">
            <a:prstTxWarp prst="textNoShape">
              <a:avLst/>
            </a:prstTxWarp>
            <a:noAutofit/>
          </a:bodyPr>
          <a:lstStyle>
            <a:lvl1pPr algn="l" defTabSz="895350" rtl="0" fontAlgn="base">
              <a:spcBef>
                <a:spcPct val="0"/>
              </a:spcBef>
              <a:spcAft>
                <a:spcPct val="0"/>
              </a:spcAft>
              <a:buClr>
                <a:schemeClr val="tx2"/>
              </a:buClr>
              <a:defRPr sz="1600">
                <a:solidFill>
                  <a:schemeClr val="tx1"/>
                </a:solidFill>
                <a:latin typeface="+mn-lt"/>
                <a:ea typeface="+mn-ea"/>
                <a:cs typeface="+mn-cs"/>
              </a:defRPr>
            </a:lvl1pPr>
            <a:lvl2pPr marL="193675" indent="-192088" algn="l" defTabSz="895350" rtl="0" fontAlgn="base">
              <a:spcBef>
                <a:spcPct val="0"/>
              </a:spcBef>
              <a:spcAft>
                <a:spcPct val="0"/>
              </a:spcAft>
              <a:buClr>
                <a:schemeClr val="tx2"/>
              </a:buClr>
              <a:buSzPct val="125000"/>
              <a:buFont typeface="Arial" pitchFamily="34" charset="0"/>
              <a:buChar char="▪"/>
              <a:defRPr sz="1600">
                <a:solidFill>
                  <a:schemeClr val="tx1"/>
                </a:solidFill>
                <a:latin typeface="+mn-lt"/>
                <a:cs typeface="+mn-cs"/>
              </a:defRPr>
            </a:lvl2pPr>
            <a:lvl3pPr marL="457200" indent="-261938" algn="l" defTabSz="895350" rtl="0" fontAlgn="base">
              <a:spcBef>
                <a:spcPct val="0"/>
              </a:spcBef>
              <a:spcAft>
                <a:spcPct val="0"/>
              </a:spcAft>
              <a:buClr>
                <a:schemeClr val="tx2"/>
              </a:buClr>
              <a:buSzPct val="120000"/>
              <a:buFont typeface="Arial" pitchFamily="34" charset="0"/>
              <a:buChar char="–"/>
              <a:defRPr sz="1600">
                <a:solidFill>
                  <a:schemeClr val="tx1"/>
                </a:solidFill>
                <a:latin typeface="+mn-lt"/>
                <a:cs typeface="+mn-cs"/>
              </a:defRPr>
            </a:lvl3pPr>
            <a:lvl4pPr marL="614363" indent="-155575" algn="l" defTabSz="895350" rtl="0" fontAlgn="base">
              <a:spcBef>
                <a:spcPct val="0"/>
              </a:spcBef>
              <a:spcAft>
                <a:spcPct val="0"/>
              </a:spcAft>
              <a:buClr>
                <a:schemeClr val="tx2"/>
              </a:buClr>
              <a:buSzPct val="120000"/>
              <a:buFont typeface="Arial" pitchFamily="34" charset="0"/>
              <a:buChar char="▫"/>
              <a:defRPr sz="1600">
                <a:solidFill>
                  <a:schemeClr val="tx1"/>
                </a:solidFill>
                <a:latin typeface="+mn-lt"/>
                <a:cs typeface="+mn-cs"/>
              </a:defRPr>
            </a:lvl4pPr>
            <a:lvl5pPr marL="746125" indent="-130175" algn="l" defTabSz="895350" rtl="0" fontAlgn="base">
              <a:spcBef>
                <a:spcPct val="0"/>
              </a:spcBef>
              <a:spcAft>
                <a:spcPct val="0"/>
              </a:spcAft>
              <a:buClr>
                <a:schemeClr val="tx2"/>
              </a:buClr>
              <a:buSzPct val="89000"/>
              <a:buFont typeface="Arial" pitchFamily="34" charset="0"/>
              <a:buChar char="-"/>
              <a:defRPr sz="1600">
                <a:solidFill>
                  <a:schemeClr val="tx1"/>
                </a:solidFill>
                <a:latin typeface="+mn-lt"/>
                <a:cs typeface="+mn-cs"/>
              </a:defRPr>
            </a:lvl5pPr>
            <a:lvl6pPr marL="1203325" indent="-130175" algn="l" defTabSz="895350" rtl="0" fontAlgn="base">
              <a:spcBef>
                <a:spcPct val="0"/>
              </a:spcBef>
              <a:spcAft>
                <a:spcPct val="0"/>
              </a:spcAft>
              <a:buClr>
                <a:schemeClr val="tx2"/>
              </a:buClr>
              <a:buSzPct val="89000"/>
              <a:buFont typeface="Arial" pitchFamily="34" charset="0"/>
              <a:buChar char="-"/>
              <a:defRPr sz="1600">
                <a:solidFill>
                  <a:schemeClr val="tx1"/>
                </a:solidFill>
                <a:latin typeface="+mn-lt"/>
                <a:cs typeface="+mn-cs"/>
              </a:defRPr>
            </a:lvl6pPr>
            <a:lvl7pPr marL="1660525" indent="-130175" algn="l" defTabSz="895350" rtl="0" fontAlgn="base">
              <a:spcBef>
                <a:spcPct val="0"/>
              </a:spcBef>
              <a:spcAft>
                <a:spcPct val="0"/>
              </a:spcAft>
              <a:buClr>
                <a:schemeClr val="tx2"/>
              </a:buClr>
              <a:buSzPct val="89000"/>
              <a:buFont typeface="Arial" pitchFamily="34" charset="0"/>
              <a:buChar char="-"/>
              <a:defRPr sz="1600">
                <a:solidFill>
                  <a:schemeClr val="tx1"/>
                </a:solidFill>
                <a:latin typeface="+mn-lt"/>
                <a:cs typeface="+mn-cs"/>
              </a:defRPr>
            </a:lvl7pPr>
            <a:lvl8pPr marL="2117725" indent="-130175" algn="l" defTabSz="895350" rtl="0" fontAlgn="base">
              <a:spcBef>
                <a:spcPct val="0"/>
              </a:spcBef>
              <a:spcAft>
                <a:spcPct val="0"/>
              </a:spcAft>
              <a:buClr>
                <a:schemeClr val="tx2"/>
              </a:buClr>
              <a:buSzPct val="89000"/>
              <a:buFont typeface="Arial" pitchFamily="34" charset="0"/>
              <a:buChar char="-"/>
              <a:defRPr sz="1600">
                <a:solidFill>
                  <a:schemeClr val="tx1"/>
                </a:solidFill>
                <a:latin typeface="+mn-lt"/>
                <a:cs typeface="+mn-cs"/>
              </a:defRPr>
            </a:lvl8pPr>
            <a:lvl9pPr marL="2574925" indent="-130175" algn="l" defTabSz="895350" rtl="0" fontAlgn="base">
              <a:spcBef>
                <a:spcPct val="0"/>
              </a:spcBef>
              <a:spcAft>
                <a:spcPct val="0"/>
              </a:spcAft>
              <a:buClr>
                <a:schemeClr val="tx2"/>
              </a:buClr>
              <a:buSzPct val="89000"/>
              <a:buFont typeface="Arial" pitchFamily="34" charset="0"/>
              <a:buChar char="-"/>
              <a:defRPr sz="1600">
                <a:solidFill>
                  <a:schemeClr val="tx1"/>
                </a:solidFill>
                <a:latin typeface="+mn-lt"/>
                <a:cs typeface="+mn-cs"/>
              </a:defRPr>
            </a:lvl9pPr>
          </a:lstStyle>
          <a:p>
            <a:pPr algn="ctr">
              <a:buClr>
                <a:srgbClr val="002960"/>
              </a:buClr>
            </a:pPr>
            <a:fld id="{2AA26ACF-A469-4701-95BC-2EDC672424B9}" type="datetime'''1''''''''''''''8'''''''''">
              <a:rPr lang="en-US" altLang="en-US" sz="1200" b="1">
                <a:solidFill>
                  <a:schemeClr val="bg1"/>
                </a:solidFill>
                <a:sym typeface="+mn-lt"/>
              </a:rPr>
              <a:pPr algn="ctr">
                <a:buClr>
                  <a:srgbClr val="002960"/>
                </a:buClr>
              </a:pPr>
              <a:t>18</a:t>
            </a:fld>
            <a:endParaRPr lang="en-US" sz="1200" b="1" dirty="0">
              <a:solidFill>
                <a:schemeClr val="bg1"/>
              </a:solidFill>
              <a:sym typeface="+mn-lt"/>
            </a:endParaRPr>
          </a:p>
        </p:txBody>
      </p:sp>
      <p:sp>
        <p:nvSpPr>
          <p:cNvPr id="42" name="Text Placeholder 4">
            <a:extLst>
              <a:ext uri="{FF2B5EF4-FFF2-40B4-BE49-F238E27FC236}">
                <a16:creationId xmlns:a16="http://schemas.microsoft.com/office/drawing/2014/main" id="{16AF6824-4D18-4676-A824-0167602F51C0}"/>
              </a:ext>
            </a:extLst>
          </p:cNvPr>
          <p:cNvSpPr>
            <a:spLocks noGrp="1"/>
          </p:cNvSpPr>
          <p:nvPr>
            <p:custDataLst>
              <p:tags r:id="rId18"/>
            </p:custDataLst>
          </p:nvPr>
        </p:nvSpPr>
        <p:spPr bwMode="auto">
          <a:xfrm>
            <a:off x="1363663" y="5470525"/>
            <a:ext cx="717550" cy="36512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Arial Unicode MS" pitchFamily="34" charset="-128"/>
                <a:cs typeface="Arial Unicode MS" pitchFamily="34" charset="-128"/>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ea typeface="Arial Unicode MS" pitchFamily="34" charset="-128"/>
                <a:cs typeface="Arial Unicode MS" pitchFamily="34" charset="-128"/>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ea typeface="Arial Unicode MS" pitchFamily="34" charset="-128"/>
                <a:cs typeface="Arial Unicode MS" pitchFamily="34" charset="-128"/>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buClr>
                <a:srgbClr val="002960"/>
              </a:buClr>
            </a:pPr>
            <a:r>
              <a:rPr lang="en-US" altLang="en-US" sz="1200" dirty="0">
                <a:solidFill>
                  <a:srgbClr val="000000"/>
                </a:solidFill>
                <a:ea typeface="+mn-ea"/>
                <a:cs typeface="+mn-cs"/>
                <a:sym typeface="+mn-lt"/>
              </a:rPr>
              <a:t>Advanced </a:t>
            </a:r>
            <a:br>
              <a:rPr lang="en-US" altLang="en-US" sz="1200" dirty="0">
                <a:solidFill>
                  <a:srgbClr val="000000"/>
                </a:solidFill>
                <a:ea typeface="+mn-ea"/>
                <a:cs typeface="+mn-cs"/>
                <a:sym typeface="+mn-lt"/>
              </a:rPr>
            </a:br>
            <a:r>
              <a:rPr lang="en-US" altLang="en-US" sz="1200" dirty="0">
                <a:solidFill>
                  <a:srgbClr val="000000"/>
                </a:solidFill>
                <a:ea typeface="+mn-ea"/>
                <a:cs typeface="+mn-cs"/>
                <a:sym typeface="+mn-lt"/>
              </a:rPr>
              <a:t>Industries</a:t>
            </a:r>
            <a:endParaRPr lang="en-US" sz="1200" dirty="0">
              <a:solidFill>
                <a:srgbClr val="000000"/>
              </a:solidFill>
              <a:ea typeface="+mn-ea"/>
              <a:cs typeface="+mn-cs"/>
              <a:sym typeface="+mn-lt"/>
            </a:endParaRPr>
          </a:p>
        </p:txBody>
      </p:sp>
      <p:sp>
        <p:nvSpPr>
          <p:cNvPr id="45" name="Text Placeholder 11">
            <a:extLst>
              <a:ext uri="{FF2B5EF4-FFF2-40B4-BE49-F238E27FC236}">
                <a16:creationId xmlns:a16="http://schemas.microsoft.com/office/drawing/2014/main" id="{9BBFEAB9-5CFF-4A6E-BDE7-2555C1238008}"/>
              </a:ext>
            </a:extLst>
          </p:cNvPr>
          <p:cNvSpPr>
            <a:spLocks noGrp="1"/>
          </p:cNvSpPr>
          <p:nvPr>
            <p:custDataLst>
              <p:tags r:id="rId19"/>
            </p:custDataLst>
          </p:nvPr>
        </p:nvSpPr>
        <p:spPr bwMode="gray">
          <a:xfrm>
            <a:off x="1482725" y="3589338"/>
            <a:ext cx="122238" cy="1825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9050" tIns="0" rIns="19050" bIns="0" numCol="1" anchor="ctr" anchorCtr="0" compatLnSpc="1">
            <a:prstTxWarp prst="textNoShape">
              <a:avLst/>
            </a:prstTxWarp>
            <a:noAutofit/>
          </a:bodyPr>
          <a:lstStyle>
            <a:lvl1pPr algn="l" defTabSz="895350" rtl="0" fontAlgn="base">
              <a:spcBef>
                <a:spcPct val="0"/>
              </a:spcBef>
              <a:spcAft>
                <a:spcPct val="0"/>
              </a:spcAft>
              <a:buClr>
                <a:schemeClr val="tx2"/>
              </a:buClr>
              <a:defRPr sz="1600">
                <a:solidFill>
                  <a:schemeClr val="tx1"/>
                </a:solidFill>
                <a:latin typeface="+mn-lt"/>
                <a:ea typeface="+mn-ea"/>
                <a:cs typeface="+mn-cs"/>
              </a:defRPr>
            </a:lvl1pPr>
            <a:lvl2pPr marL="193675" indent="-192088" algn="l" defTabSz="895350" rtl="0" fontAlgn="base">
              <a:spcBef>
                <a:spcPct val="0"/>
              </a:spcBef>
              <a:spcAft>
                <a:spcPct val="0"/>
              </a:spcAft>
              <a:buClr>
                <a:schemeClr val="tx2"/>
              </a:buClr>
              <a:buSzPct val="125000"/>
              <a:buFont typeface="Arial" pitchFamily="34" charset="0"/>
              <a:buChar char="▪"/>
              <a:defRPr sz="1600">
                <a:solidFill>
                  <a:schemeClr val="tx1"/>
                </a:solidFill>
                <a:latin typeface="+mn-lt"/>
                <a:cs typeface="+mn-cs"/>
              </a:defRPr>
            </a:lvl2pPr>
            <a:lvl3pPr marL="457200" indent="-261938" algn="l" defTabSz="895350" rtl="0" fontAlgn="base">
              <a:spcBef>
                <a:spcPct val="0"/>
              </a:spcBef>
              <a:spcAft>
                <a:spcPct val="0"/>
              </a:spcAft>
              <a:buClr>
                <a:schemeClr val="tx2"/>
              </a:buClr>
              <a:buSzPct val="120000"/>
              <a:buFont typeface="Arial" pitchFamily="34" charset="0"/>
              <a:buChar char="–"/>
              <a:defRPr sz="1600">
                <a:solidFill>
                  <a:schemeClr val="tx1"/>
                </a:solidFill>
                <a:latin typeface="+mn-lt"/>
                <a:cs typeface="+mn-cs"/>
              </a:defRPr>
            </a:lvl3pPr>
            <a:lvl4pPr marL="614363" indent="-155575" algn="l" defTabSz="895350" rtl="0" fontAlgn="base">
              <a:spcBef>
                <a:spcPct val="0"/>
              </a:spcBef>
              <a:spcAft>
                <a:spcPct val="0"/>
              </a:spcAft>
              <a:buClr>
                <a:schemeClr val="tx2"/>
              </a:buClr>
              <a:buSzPct val="120000"/>
              <a:buFont typeface="Arial" pitchFamily="34" charset="0"/>
              <a:buChar char="▫"/>
              <a:defRPr sz="1600">
                <a:solidFill>
                  <a:schemeClr val="tx1"/>
                </a:solidFill>
                <a:latin typeface="+mn-lt"/>
                <a:cs typeface="+mn-cs"/>
              </a:defRPr>
            </a:lvl4pPr>
            <a:lvl5pPr marL="746125" indent="-130175" algn="l" defTabSz="895350" rtl="0" fontAlgn="base">
              <a:spcBef>
                <a:spcPct val="0"/>
              </a:spcBef>
              <a:spcAft>
                <a:spcPct val="0"/>
              </a:spcAft>
              <a:buClr>
                <a:schemeClr val="tx2"/>
              </a:buClr>
              <a:buSzPct val="89000"/>
              <a:buFont typeface="Arial" pitchFamily="34" charset="0"/>
              <a:buChar char="-"/>
              <a:defRPr sz="1600">
                <a:solidFill>
                  <a:schemeClr val="tx1"/>
                </a:solidFill>
                <a:latin typeface="+mn-lt"/>
                <a:cs typeface="+mn-cs"/>
              </a:defRPr>
            </a:lvl5pPr>
            <a:lvl6pPr marL="1203325" indent="-130175" algn="l" defTabSz="895350" rtl="0" fontAlgn="base">
              <a:spcBef>
                <a:spcPct val="0"/>
              </a:spcBef>
              <a:spcAft>
                <a:spcPct val="0"/>
              </a:spcAft>
              <a:buClr>
                <a:schemeClr val="tx2"/>
              </a:buClr>
              <a:buSzPct val="89000"/>
              <a:buFont typeface="Arial" pitchFamily="34" charset="0"/>
              <a:buChar char="-"/>
              <a:defRPr sz="1600">
                <a:solidFill>
                  <a:schemeClr val="tx1"/>
                </a:solidFill>
                <a:latin typeface="+mn-lt"/>
                <a:cs typeface="+mn-cs"/>
              </a:defRPr>
            </a:lvl6pPr>
            <a:lvl7pPr marL="1660525" indent="-130175" algn="l" defTabSz="895350" rtl="0" fontAlgn="base">
              <a:spcBef>
                <a:spcPct val="0"/>
              </a:spcBef>
              <a:spcAft>
                <a:spcPct val="0"/>
              </a:spcAft>
              <a:buClr>
                <a:schemeClr val="tx2"/>
              </a:buClr>
              <a:buSzPct val="89000"/>
              <a:buFont typeface="Arial" pitchFamily="34" charset="0"/>
              <a:buChar char="-"/>
              <a:defRPr sz="1600">
                <a:solidFill>
                  <a:schemeClr val="tx1"/>
                </a:solidFill>
                <a:latin typeface="+mn-lt"/>
                <a:cs typeface="+mn-cs"/>
              </a:defRPr>
            </a:lvl7pPr>
            <a:lvl8pPr marL="2117725" indent="-130175" algn="l" defTabSz="895350" rtl="0" fontAlgn="base">
              <a:spcBef>
                <a:spcPct val="0"/>
              </a:spcBef>
              <a:spcAft>
                <a:spcPct val="0"/>
              </a:spcAft>
              <a:buClr>
                <a:schemeClr val="tx2"/>
              </a:buClr>
              <a:buSzPct val="89000"/>
              <a:buFont typeface="Arial" pitchFamily="34" charset="0"/>
              <a:buChar char="-"/>
              <a:defRPr sz="1600">
                <a:solidFill>
                  <a:schemeClr val="tx1"/>
                </a:solidFill>
                <a:latin typeface="+mn-lt"/>
                <a:cs typeface="+mn-cs"/>
              </a:defRPr>
            </a:lvl8pPr>
            <a:lvl9pPr marL="2574925" indent="-130175" algn="l" defTabSz="895350" rtl="0" fontAlgn="base">
              <a:spcBef>
                <a:spcPct val="0"/>
              </a:spcBef>
              <a:spcAft>
                <a:spcPct val="0"/>
              </a:spcAft>
              <a:buClr>
                <a:schemeClr val="tx2"/>
              </a:buClr>
              <a:buSzPct val="89000"/>
              <a:buFont typeface="Arial" pitchFamily="34" charset="0"/>
              <a:buChar char="-"/>
              <a:defRPr sz="1600">
                <a:solidFill>
                  <a:schemeClr val="tx1"/>
                </a:solidFill>
                <a:latin typeface="+mn-lt"/>
                <a:cs typeface="+mn-cs"/>
              </a:defRPr>
            </a:lvl9pPr>
          </a:lstStyle>
          <a:p>
            <a:pPr algn="ctr">
              <a:buClr>
                <a:srgbClr val="002960"/>
              </a:buClr>
            </a:pPr>
            <a:fld id="{142EF353-ACB1-4ED9-9887-7C563AF3282D}" type="datetime'''''''''8'''''''''''''''''''''''''''''''''''''''''''''''''">
              <a:rPr lang="en-US" altLang="en-US" sz="1200" b="1">
                <a:solidFill>
                  <a:schemeClr val="bg1"/>
                </a:solidFill>
                <a:sym typeface="+mn-lt"/>
              </a:rPr>
              <a:pPr algn="ctr">
                <a:buClr>
                  <a:srgbClr val="002960"/>
                </a:buClr>
              </a:pPr>
              <a:t>8</a:t>
            </a:fld>
            <a:endParaRPr lang="en-US" sz="1200" b="1" dirty="0">
              <a:solidFill>
                <a:schemeClr val="bg1"/>
              </a:solidFill>
              <a:sym typeface="+mn-lt"/>
            </a:endParaRPr>
          </a:p>
        </p:txBody>
      </p:sp>
      <p:sp>
        <p:nvSpPr>
          <p:cNvPr id="39" name="Text Placeholder 12">
            <a:extLst>
              <a:ext uri="{FF2B5EF4-FFF2-40B4-BE49-F238E27FC236}">
                <a16:creationId xmlns:a16="http://schemas.microsoft.com/office/drawing/2014/main" id="{EF124884-ED6A-4B65-9F85-7AB6C726DFBC}"/>
              </a:ext>
            </a:extLst>
          </p:cNvPr>
          <p:cNvSpPr>
            <a:spLocks noGrp="1"/>
          </p:cNvSpPr>
          <p:nvPr>
            <p:custDataLst>
              <p:tags r:id="rId20"/>
            </p:custDataLst>
          </p:nvPr>
        </p:nvSpPr>
        <p:spPr bwMode="gray">
          <a:xfrm>
            <a:off x="1812925" y="3048000"/>
            <a:ext cx="122238" cy="182563"/>
          </a:xfrm>
          <a:prstGeom prst="rect">
            <a:avLst/>
          </a:prstGeom>
          <a:noFill/>
          <a:ln>
            <a:noFill/>
          </a:ln>
          <a:effectLst/>
          <a:extLst>
            <a:ext uri="{909E8E84-426E-40DD-AFC4-6F175D3DCCD1}">
              <a14:hiddenFill xmlns:a14="http://schemas.microsoft.com/office/drawing/2010/main">
                <a:solidFill>
                  <a:srgbClr val="A3A3A3"/>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9050" tIns="0" rIns="19050" bIns="0" numCol="1" anchor="ctr" anchorCtr="0" compatLnSpc="1">
            <a:prstTxWarp prst="textNoShape">
              <a:avLst/>
            </a:prstTxWarp>
            <a:noAutofit/>
          </a:bodyPr>
          <a:lstStyle>
            <a:lvl1pPr algn="l" defTabSz="895350" rtl="0" fontAlgn="base">
              <a:spcBef>
                <a:spcPct val="0"/>
              </a:spcBef>
              <a:spcAft>
                <a:spcPct val="0"/>
              </a:spcAft>
              <a:buClr>
                <a:schemeClr val="tx2"/>
              </a:buClr>
              <a:defRPr sz="1600">
                <a:solidFill>
                  <a:schemeClr val="tx1"/>
                </a:solidFill>
                <a:latin typeface="+mn-lt"/>
                <a:ea typeface="+mn-ea"/>
                <a:cs typeface="+mn-cs"/>
              </a:defRPr>
            </a:lvl1pPr>
            <a:lvl2pPr marL="193675" indent="-192088" algn="l" defTabSz="895350" rtl="0" fontAlgn="base">
              <a:spcBef>
                <a:spcPct val="0"/>
              </a:spcBef>
              <a:spcAft>
                <a:spcPct val="0"/>
              </a:spcAft>
              <a:buClr>
                <a:schemeClr val="tx2"/>
              </a:buClr>
              <a:buSzPct val="125000"/>
              <a:buFont typeface="Arial" pitchFamily="34" charset="0"/>
              <a:buChar char="▪"/>
              <a:defRPr sz="1600">
                <a:solidFill>
                  <a:schemeClr val="tx1"/>
                </a:solidFill>
                <a:latin typeface="+mn-lt"/>
                <a:cs typeface="+mn-cs"/>
              </a:defRPr>
            </a:lvl2pPr>
            <a:lvl3pPr marL="457200" indent="-261938" algn="l" defTabSz="895350" rtl="0" fontAlgn="base">
              <a:spcBef>
                <a:spcPct val="0"/>
              </a:spcBef>
              <a:spcAft>
                <a:spcPct val="0"/>
              </a:spcAft>
              <a:buClr>
                <a:schemeClr val="tx2"/>
              </a:buClr>
              <a:buSzPct val="120000"/>
              <a:buFont typeface="Arial" pitchFamily="34" charset="0"/>
              <a:buChar char="–"/>
              <a:defRPr sz="1600">
                <a:solidFill>
                  <a:schemeClr val="tx1"/>
                </a:solidFill>
                <a:latin typeface="+mn-lt"/>
                <a:cs typeface="+mn-cs"/>
              </a:defRPr>
            </a:lvl3pPr>
            <a:lvl4pPr marL="614363" indent="-155575" algn="l" defTabSz="895350" rtl="0" fontAlgn="base">
              <a:spcBef>
                <a:spcPct val="0"/>
              </a:spcBef>
              <a:spcAft>
                <a:spcPct val="0"/>
              </a:spcAft>
              <a:buClr>
                <a:schemeClr val="tx2"/>
              </a:buClr>
              <a:buSzPct val="120000"/>
              <a:buFont typeface="Arial" pitchFamily="34" charset="0"/>
              <a:buChar char="▫"/>
              <a:defRPr sz="1600">
                <a:solidFill>
                  <a:schemeClr val="tx1"/>
                </a:solidFill>
                <a:latin typeface="+mn-lt"/>
                <a:cs typeface="+mn-cs"/>
              </a:defRPr>
            </a:lvl4pPr>
            <a:lvl5pPr marL="746125" indent="-130175" algn="l" defTabSz="895350" rtl="0" fontAlgn="base">
              <a:spcBef>
                <a:spcPct val="0"/>
              </a:spcBef>
              <a:spcAft>
                <a:spcPct val="0"/>
              </a:spcAft>
              <a:buClr>
                <a:schemeClr val="tx2"/>
              </a:buClr>
              <a:buSzPct val="89000"/>
              <a:buFont typeface="Arial" pitchFamily="34" charset="0"/>
              <a:buChar char="-"/>
              <a:defRPr sz="1600">
                <a:solidFill>
                  <a:schemeClr val="tx1"/>
                </a:solidFill>
                <a:latin typeface="+mn-lt"/>
                <a:cs typeface="+mn-cs"/>
              </a:defRPr>
            </a:lvl5pPr>
            <a:lvl6pPr marL="1203325" indent="-130175" algn="l" defTabSz="895350" rtl="0" fontAlgn="base">
              <a:spcBef>
                <a:spcPct val="0"/>
              </a:spcBef>
              <a:spcAft>
                <a:spcPct val="0"/>
              </a:spcAft>
              <a:buClr>
                <a:schemeClr val="tx2"/>
              </a:buClr>
              <a:buSzPct val="89000"/>
              <a:buFont typeface="Arial" pitchFamily="34" charset="0"/>
              <a:buChar char="-"/>
              <a:defRPr sz="1600">
                <a:solidFill>
                  <a:schemeClr val="tx1"/>
                </a:solidFill>
                <a:latin typeface="+mn-lt"/>
                <a:cs typeface="+mn-cs"/>
              </a:defRPr>
            </a:lvl6pPr>
            <a:lvl7pPr marL="1660525" indent="-130175" algn="l" defTabSz="895350" rtl="0" fontAlgn="base">
              <a:spcBef>
                <a:spcPct val="0"/>
              </a:spcBef>
              <a:spcAft>
                <a:spcPct val="0"/>
              </a:spcAft>
              <a:buClr>
                <a:schemeClr val="tx2"/>
              </a:buClr>
              <a:buSzPct val="89000"/>
              <a:buFont typeface="Arial" pitchFamily="34" charset="0"/>
              <a:buChar char="-"/>
              <a:defRPr sz="1600">
                <a:solidFill>
                  <a:schemeClr val="tx1"/>
                </a:solidFill>
                <a:latin typeface="+mn-lt"/>
                <a:cs typeface="+mn-cs"/>
              </a:defRPr>
            </a:lvl7pPr>
            <a:lvl8pPr marL="2117725" indent="-130175" algn="l" defTabSz="895350" rtl="0" fontAlgn="base">
              <a:spcBef>
                <a:spcPct val="0"/>
              </a:spcBef>
              <a:spcAft>
                <a:spcPct val="0"/>
              </a:spcAft>
              <a:buClr>
                <a:schemeClr val="tx2"/>
              </a:buClr>
              <a:buSzPct val="89000"/>
              <a:buFont typeface="Arial" pitchFamily="34" charset="0"/>
              <a:buChar char="-"/>
              <a:defRPr sz="1600">
                <a:solidFill>
                  <a:schemeClr val="tx1"/>
                </a:solidFill>
                <a:latin typeface="+mn-lt"/>
                <a:cs typeface="+mn-cs"/>
              </a:defRPr>
            </a:lvl8pPr>
            <a:lvl9pPr marL="2574925" indent="-130175" algn="l" defTabSz="895350" rtl="0" fontAlgn="base">
              <a:spcBef>
                <a:spcPct val="0"/>
              </a:spcBef>
              <a:spcAft>
                <a:spcPct val="0"/>
              </a:spcAft>
              <a:buClr>
                <a:schemeClr val="tx2"/>
              </a:buClr>
              <a:buSzPct val="89000"/>
              <a:buFont typeface="Arial" pitchFamily="34" charset="0"/>
              <a:buChar char="-"/>
              <a:defRPr sz="1600">
                <a:solidFill>
                  <a:schemeClr val="tx1"/>
                </a:solidFill>
                <a:latin typeface="+mn-lt"/>
                <a:cs typeface="+mn-cs"/>
              </a:defRPr>
            </a:lvl9pPr>
          </a:lstStyle>
          <a:p>
            <a:pPr algn="ctr">
              <a:buClr>
                <a:srgbClr val="002960"/>
              </a:buClr>
            </a:pPr>
            <a:fld id="{B2691091-1DCB-458E-8FEB-DF8F62E6C368}" type="datetime'''''5'''''''''''''''''''''''''''''''''''''''''''''''''">
              <a:rPr lang="en-US" altLang="en-US" sz="1200">
                <a:solidFill>
                  <a:srgbClr val="000000"/>
                </a:solidFill>
                <a:sym typeface="+mn-lt"/>
              </a:rPr>
              <a:pPr algn="ctr">
                <a:buClr>
                  <a:srgbClr val="002960"/>
                </a:buClr>
              </a:pPr>
              <a:t>5</a:t>
            </a:fld>
            <a:endParaRPr lang="en-US" sz="1200" dirty="0">
              <a:solidFill>
                <a:srgbClr val="000000"/>
              </a:solidFill>
              <a:sym typeface="+mn-lt"/>
            </a:endParaRPr>
          </a:p>
        </p:txBody>
      </p:sp>
      <p:sp>
        <p:nvSpPr>
          <p:cNvPr id="28" name="Text Placeholder 9">
            <a:extLst>
              <a:ext uri="{FF2B5EF4-FFF2-40B4-BE49-F238E27FC236}">
                <a16:creationId xmlns:a16="http://schemas.microsoft.com/office/drawing/2014/main" id="{6B2306E4-A113-4E10-A42A-FCC0266CD73B}"/>
              </a:ext>
            </a:extLst>
          </p:cNvPr>
          <p:cNvSpPr>
            <a:spLocks noGrp="1"/>
          </p:cNvSpPr>
          <p:nvPr>
            <p:custDataLst>
              <p:tags r:id="rId21"/>
            </p:custDataLst>
          </p:nvPr>
        </p:nvSpPr>
        <p:spPr bwMode="gray">
          <a:xfrm>
            <a:off x="3254375" y="5449888"/>
            <a:ext cx="206375" cy="1825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9050" tIns="0" rIns="19050" bIns="0" numCol="1" anchor="ctr" anchorCtr="0" compatLnSpc="1">
            <a:prstTxWarp prst="textNoShape">
              <a:avLst/>
            </a:prstTxWarp>
            <a:noAutofit/>
          </a:bodyPr>
          <a:lstStyle>
            <a:lvl1pPr algn="l" defTabSz="895350" rtl="0" fontAlgn="base">
              <a:spcBef>
                <a:spcPct val="0"/>
              </a:spcBef>
              <a:spcAft>
                <a:spcPct val="0"/>
              </a:spcAft>
              <a:buClr>
                <a:schemeClr val="tx2"/>
              </a:buClr>
              <a:defRPr sz="1600">
                <a:solidFill>
                  <a:schemeClr val="tx1"/>
                </a:solidFill>
                <a:latin typeface="+mn-lt"/>
                <a:ea typeface="+mn-ea"/>
                <a:cs typeface="+mn-cs"/>
              </a:defRPr>
            </a:lvl1pPr>
            <a:lvl2pPr marL="193675" indent="-192088" algn="l" defTabSz="895350" rtl="0" fontAlgn="base">
              <a:spcBef>
                <a:spcPct val="0"/>
              </a:spcBef>
              <a:spcAft>
                <a:spcPct val="0"/>
              </a:spcAft>
              <a:buClr>
                <a:schemeClr val="tx2"/>
              </a:buClr>
              <a:buSzPct val="125000"/>
              <a:buFont typeface="Arial" pitchFamily="34" charset="0"/>
              <a:buChar char="▪"/>
              <a:defRPr sz="1600">
                <a:solidFill>
                  <a:schemeClr val="tx1"/>
                </a:solidFill>
                <a:latin typeface="+mn-lt"/>
                <a:cs typeface="+mn-cs"/>
              </a:defRPr>
            </a:lvl2pPr>
            <a:lvl3pPr marL="457200" indent="-261938" algn="l" defTabSz="895350" rtl="0" fontAlgn="base">
              <a:spcBef>
                <a:spcPct val="0"/>
              </a:spcBef>
              <a:spcAft>
                <a:spcPct val="0"/>
              </a:spcAft>
              <a:buClr>
                <a:schemeClr val="tx2"/>
              </a:buClr>
              <a:buSzPct val="120000"/>
              <a:buFont typeface="Arial" pitchFamily="34" charset="0"/>
              <a:buChar char="–"/>
              <a:defRPr sz="1600">
                <a:solidFill>
                  <a:schemeClr val="tx1"/>
                </a:solidFill>
                <a:latin typeface="+mn-lt"/>
                <a:cs typeface="+mn-cs"/>
              </a:defRPr>
            </a:lvl3pPr>
            <a:lvl4pPr marL="614363" indent="-155575" algn="l" defTabSz="895350" rtl="0" fontAlgn="base">
              <a:spcBef>
                <a:spcPct val="0"/>
              </a:spcBef>
              <a:spcAft>
                <a:spcPct val="0"/>
              </a:spcAft>
              <a:buClr>
                <a:schemeClr val="tx2"/>
              </a:buClr>
              <a:buSzPct val="120000"/>
              <a:buFont typeface="Arial" pitchFamily="34" charset="0"/>
              <a:buChar char="▫"/>
              <a:defRPr sz="1600">
                <a:solidFill>
                  <a:schemeClr val="tx1"/>
                </a:solidFill>
                <a:latin typeface="+mn-lt"/>
                <a:cs typeface="+mn-cs"/>
              </a:defRPr>
            </a:lvl4pPr>
            <a:lvl5pPr marL="746125" indent="-130175" algn="l" defTabSz="895350" rtl="0" fontAlgn="base">
              <a:spcBef>
                <a:spcPct val="0"/>
              </a:spcBef>
              <a:spcAft>
                <a:spcPct val="0"/>
              </a:spcAft>
              <a:buClr>
                <a:schemeClr val="tx2"/>
              </a:buClr>
              <a:buSzPct val="89000"/>
              <a:buFont typeface="Arial" pitchFamily="34" charset="0"/>
              <a:buChar char="-"/>
              <a:defRPr sz="1600">
                <a:solidFill>
                  <a:schemeClr val="tx1"/>
                </a:solidFill>
                <a:latin typeface="+mn-lt"/>
                <a:cs typeface="+mn-cs"/>
              </a:defRPr>
            </a:lvl5pPr>
            <a:lvl6pPr marL="1203325" indent="-130175" algn="l" defTabSz="895350" rtl="0" fontAlgn="base">
              <a:spcBef>
                <a:spcPct val="0"/>
              </a:spcBef>
              <a:spcAft>
                <a:spcPct val="0"/>
              </a:spcAft>
              <a:buClr>
                <a:schemeClr val="tx2"/>
              </a:buClr>
              <a:buSzPct val="89000"/>
              <a:buFont typeface="Arial" pitchFamily="34" charset="0"/>
              <a:buChar char="-"/>
              <a:defRPr sz="1600">
                <a:solidFill>
                  <a:schemeClr val="tx1"/>
                </a:solidFill>
                <a:latin typeface="+mn-lt"/>
                <a:cs typeface="+mn-cs"/>
              </a:defRPr>
            </a:lvl6pPr>
            <a:lvl7pPr marL="1660525" indent="-130175" algn="l" defTabSz="895350" rtl="0" fontAlgn="base">
              <a:spcBef>
                <a:spcPct val="0"/>
              </a:spcBef>
              <a:spcAft>
                <a:spcPct val="0"/>
              </a:spcAft>
              <a:buClr>
                <a:schemeClr val="tx2"/>
              </a:buClr>
              <a:buSzPct val="89000"/>
              <a:buFont typeface="Arial" pitchFamily="34" charset="0"/>
              <a:buChar char="-"/>
              <a:defRPr sz="1600">
                <a:solidFill>
                  <a:schemeClr val="tx1"/>
                </a:solidFill>
                <a:latin typeface="+mn-lt"/>
                <a:cs typeface="+mn-cs"/>
              </a:defRPr>
            </a:lvl7pPr>
            <a:lvl8pPr marL="2117725" indent="-130175" algn="l" defTabSz="895350" rtl="0" fontAlgn="base">
              <a:spcBef>
                <a:spcPct val="0"/>
              </a:spcBef>
              <a:spcAft>
                <a:spcPct val="0"/>
              </a:spcAft>
              <a:buClr>
                <a:schemeClr val="tx2"/>
              </a:buClr>
              <a:buSzPct val="89000"/>
              <a:buFont typeface="Arial" pitchFamily="34" charset="0"/>
              <a:buChar char="-"/>
              <a:defRPr sz="1600">
                <a:solidFill>
                  <a:schemeClr val="tx1"/>
                </a:solidFill>
                <a:latin typeface="+mn-lt"/>
                <a:cs typeface="+mn-cs"/>
              </a:defRPr>
            </a:lvl8pPr>
            <a:lvl9pPr marL="2574925" indent="-130175" algn="l" defTabSz="895350" rtl="0" fontAlgn="base">
              <a:spcBef>
                <a:spcPct val="0"/>
              </a:spcBef>
              <a:spcAft>
                <a:spcPct val="0"/>
              </a:spcAft>
              <a:buClr>
                <a:schemeClr val="tx2"/>
              </a:buClr>
              <a:buSzPct val="89000"/>
              <a:buFont typeface="Arial" pitchFamily="34" charset="0"/>
              <a:buChar char="-"/>
              <a:defRPr sz="1600">
                <a:solidFill>
                  <a:schemeClr val="tx1"/>
                </a:solidFill>
                <a:latin typeface="+mn-lt"/>
                <a:cs typeface="+mn-cs"/>
              </a:defRPr>
            </a:lvl9pPr>
          </a:lstStyle>
          <a:p>
            <a:pPr algn="ctr">
              <a:buClr>
                <a:srgbClr val="002960"/>
              </a:buClr>
            </a:pPr>
            <a:fld id="{E6E121ED-56AF-4EAB-A674-CB929540BB92}" type="datetime'''''''''''1''''6'''''''''''''''">
              <a:rPr lang="en-US" altLang="en-US" sz="1200" b="1">
                <a:solidFill>
                  <a:schemeClr val="bg1"/>
                </a:solidFill>
                <a:sym typeface="+mn-lt"/>
              </a:rPr>
              <a:pPr algn="ctr">
                <a:buClr>
                  <a:srgbClr val="002960"/>
                </a:buClr>
              </a:pPr>
              <a:t>16</a:t>
            </a:fld>
            <a:endParaRPr lang="en-US" sz="1200" b="1" dirty="0">
              <a:solidFill>
                <a:schemeClr val="bg1"/>
              </a:solidFill>
              <a:sym typeface="+mn-lt"/>
            </a:endParaRPr>
          </a:p>
        </p:txBody>
      </p:sp>
      <p:sp>
        <p:nvSpPr>
          <p:cNvPr id="40" name="Text Placeholder 23">
            <a:extLst>
              <a:ext uri="{FF2B5EF4-FFF2-40B4-BE49-F238E27FC236}">
                <a16:creationId xmlns:a16="http://schemas.microsoft.com/office/drawing/2014/main" id="{391CF0F7-569F-4712-96D3-57A5A9CDEAED}"/>
              </a:ext>
            </a:extLst>
          </p:cNvPr>
          <p:cNvSpPr>
            <a:spLocks noGrp="1"/>
          </p:cNvSpPr>
          <p:nvPr>
            <p:custDataLst>
              <p:tags r:id="rId22"/>
            </p:custDataLst>
          </p:nvPr>
        </p:nvSpPr>
        <p:spPr bwMode="auto">
          <a:xfrm>
            <a:off x="638175" y="3397250"/>
            <a:ext cx="742950" cy="36512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Arial Unicode MS" pitchFamily="34" charset="-128"/>
                <a:cs typeface="Arial Unicode MS" pitchFamily="34" charset="-128"/>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ea typeface="Arial Unicode MS" pitchFamily="34" charset="-128"/>
                <a:cs typeface="Arial Unicode MS" pitchFamily="34" charset="-128"/>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ea typeface="Arial Unicode MS" pitchFamily="34" charset="-128"/>
                <a:cs typeface="Arial Unicode MS" pitchFamily="34" charset="-128"/>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buClr>
                <a:srgbClr val="002960"/>
              </a:buClr>
            </a:pPr>
            <a:r>
              <a:rPr lang="en-US" altLang="en-US" sz="1200" dirty="0">
                <a:solidFill>
                  <a:srgbClr val="000000"/>
                </a:solidFill>
                <a:ea typeface="+mn-ea"/>
                <a:cs typeface="+mn-cs"/>
                <a:sym typeface="+mn-lt"/>
              </a:rPr>
              <a:t>Consumer/</a:t>
            </a:r>
            <a:br>
              <a:rPr lang="en-US" altLang="en-US" sz="1200" dirty="0">
                <a:solidFill>
                  <a:srgbClr val="000000"/>
                </a:solidFill>
                <a:ea typeface="+mn-ea"/>
                <a:cs typeface="+mn-cs"/>
                <a:sym typeface="+mn-lt"/>
              </a:rPr>
            </a:br>
            <a:r>
              <a:rPr lang="en-US" altLang="en-US" sz="1200" dirty="0">
                <a:solidFill>
                  <a:srgbClr val="000000"/>
                </a:solidFill>
                <a:ea typeface="+mn-ea"/>
                <a:cs typeface="+mn-cs"/>
                <a:sym typeface="+mn-lt"/>
              </a:rPr>
              <a:t>Retail</a:t>
            </a:r>
            <a:r>
              <a:rPr lang="en-US" sz="1200" dirty="0">
                <a:solidFill>
                  <a:srgbClr val="000000"/>
                </a:solidFill>
                <a:ea typeface="+mn-ea"/>
                <a:cs typeface="+mn-cs"/>
                <a:sym typeface="+mn-lt"/>
              </a:rPr>
              <a:t> </a:t>
            </a:r>
            <a:r>
              <a:rPr lang="en-US" sz="1200" baseline="30000" dirty="0">
                <a:solidFill>
                  <a:srgbClr val="000000"/>
                </a:solidFill>
                <a:ea typeface="+mn-ea"/>
                <a:cs typeface="+mn-cs"/>
                <a:sym typeface="+mn-lt"/>
              </a:rPr>
              <a:t>2</a:t>
            </a:r>
            <a:endParaRPr lang="en-US" sz="1200" dirty="0">
              <a:solidFill>
                <a:srgbClr val="000000"/>
              </a:solidFill>
              <a:ea typeface="+mn-ea"/>
              <a:cs typeface="+mn-cs"/>
              <a:sym typeface="+mn-lt"/>
            </a:endParaRPr>
          </a:p>
        </p:txBody>
      </p:sp>
      <p:sp>
        <p:nvSpPr>
          <p:cNvPr id="46" name="Text Placeholder 22">
            <a:extLst>
              <a:ext uri="{FF2B5EF4-FFF2-40B4-BE49-F238E27FC236}">
                <a16:creationId xmlns:a16="http://schemas.microsoft.com/office/drawing/2014/main" id="{F6171805-6614-4417-84B6-3CB45824E817}"/>
              </a:ext>
            </a:extLst>
          </p:cNvPr>
          <p:cNvSpPr>
            <a:spLocks noGrp="1"/>
          </p:cNvSpPr>
          <p:nvPr>
            <p:custDataLst>
              <p:tags r:id="rId23"/>
            </p:custDataLst>
          </p:nvPr>
        </p:nvSpPr>
        <p:spPr bwMode="auto">
          <a:xfrm>
            <a:off x="490538" y="4432300"/>
            <a:ext cx="885825" cy="36512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Arial Unicode MS" pitchFamily="34" charset="-128"/>
                <a:cs typeface="Arial Unicode MS" pitchFamily="34" charset="-128"/>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ea typeface="Arial Unicode MS" pitchFamily="34" charset="-128"/>
                <a:cs typeface="Arial Unicode MS" pitchFamily="34" charset="-128"/>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ea typeface="Arial Unicode MS" pitchFamily="34" charset="-128"/>
                <a:cs typeface="Arial Unicode MS" pitchFamily="34" charset="-128"/>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buClr>
                <a:srgbClr val="002960"/>
              </a:buClr>
            </a:pPr>
            <a:r>
              <a:rPr lang="en-US" altLang="en-US" sz="1200" dirty="0">
                <a:solidFill>
                  <a:srgbClr val="000000"/>
                </a:solidFill>
                <a:ea typeface="+mn-ea"/>
                <a:cs typeface="+mn-cs"/>
                <a:sym typeface="+mn-lt"/>
              </a:rPr>
              <a:t>Banking and </a:t>
            </a:r>
            <a:br>
              <a:rPr lang="en-US" altLang="en-US" sz="1200" dirty="0">
                <a:solidFill>
                  <a:srgbClr val="000000"/>
                </a:solidFill>
                <a:ea typeface="+mn-ea"/>
                <a:cs typeface="+mn-cs"/>
                <a:sym typeface="+mn-lt"/>
              </a:rPr>
            </a:br>
            <a:r>
              <a:rPr lang="en-US" altLang="en-US" sz="1200" dirty="0">
                <a:solidFill>
                  <a:srgbClr val="000000"/>
                </a:solidFill>
                <a:ea typeface="+mn-ea"/>
                <a:cs typeface="+mn-cs"/>
                <a:sym typeface="+mn-lt"/>
              </a:rPr>
              <a:t>Securities</a:t>
            </a:r>
            <a:endParaRPr lang="en-US" sz="1200" dirty="0">
              <a:solidFill>
                <a:srgbClr val="000000"/>
              </a:solidFill>
              <a:ea typeface="+mn-ea"/>
              <a:cs typeface="+mn-cs"/>
              <a:sym typeface="+mn-lt"/>
            </a:endParaRPr>
          </a:p>
        </p:txBody>
      </p:sp>
      <p:sp>
        <p:nvSpPr>
          <p:cNvPr id="41" name="Text Placeholder 10">
            <a:extLst>
              <a:ext uri="{FF2B5EF4-FFF2-40B4-BE49-F238E27FC236}">
                <a16:creationId xmlns:a16="http://schemas.microsoft.com/office/drawing/2014/main" id="{3F2FC01D-E097-4FA8-BCFE-D6EAC4ABF47C}"/>
              </a:ext>
            </a:extLst>
          </p:cNvPr>
          <p:cNvSpPr>
            <a:spLocks noGrp="1"/>
          </p:cNvSpPr>
          <p:nvPr>
            <p:custDataLst>
              <p:tags r:id="rId24"/>
            </p:custDataLst>
          </p:nvPr>
        </p:nvSpPr>
        <p:spPr bwMode="gray">
          <a:xfrm>
            <a:off x="1465263" y="4424363"/>
            <a:ext cx="206375" cy="1825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9050" tIns="0" rIns="19050" bIns="0" numCol="1" anchor="ctr" anchorCtr="0" compatLnSpc="1">
            <a:prstTxWarp prst="textNoShape">
              <a:avLst/>
            </a:prstTxWarp>
            <a:noAutofit/>
          </a:bodyPr>
          <a:lstStyle>
            <a:lvl1pPr algn="l" defTabSz="895350" rtl="0" fontAlgn="base">
              <a:spcBef>
                <a:spcPct val="0"/>
              </a:spcBef>
              <a:spcAft>
                <a:spcPct val="0"/>
              </a:spcAft>
              <a:buClr>
                <a:schemeClr val="tx2"/>
              </a:buClr>
              <a:defRPr sz="1600">
                <a:solidFill>
                  <a:schemeClr val="tx1"/>
                </a:solidFill>
                <a:latin typeface="+mn-lt"/>
                <a:ea typeface="+mn-ea"/>
                <a:cs typeface="+mn-cs"/>
              </a:defRPr>
            </a:lvl1pPr>
            <a:lvl2pPr marL="193675" indent="-192088" algn="l" defTabSz="895350" rtl="0" fontAlgn="base">
              <a:spcBef>
                <a:spcPct val="0"/>
              </a:spcBef>
              <a:spcAft>
                <a:spcPct val="0"/>
              </a:spcAft>
              <a:buClr>
                <a:schemeClr val="tx2"/>
              </a:buClr>
              <a:buSzPct val="125000"/>
              <a:buFont typeface="Arial" pitchFamily="34" charset="0"/>
              <a:buChar char="▪"/>
              <a:defRPr sz="1600">
                <a:solidFill>
                  <a:schemeClr val="tx1"/>
                </a:solidFill>
                <a:latin typeface="+mn-lt"/>
                <a:cs typeface="+mn-cs"/>
              </a:defRPr>
            </a:lvl2pPr>
            <a:lvl3pPr marL="457200" indent="-261938" algn="l" defTabSz="895350" rtl="0" fontAlgn="base">
              <a:spcBef>
                <a:spcPct val="0"/>
              </a:spcBef>
              <a:spcAft>
                <a:spcPct val="0"/>
              </a:spcAft>
              <a:buClr>
                <a:schemeClr val="tx2"/>
              </a:buClr>
              <a:buSzPct val="120000"/>
              <a:buFont typeface="Arial" pitchFamily="34" charset="0"/>
              <a:buChar char="–"/>
              <a:defRPr sz="1600">
                <a:solidFill>
                  <a:schemeClr val="tx1"/>
                </a:solidFill>
                <a:latin typeface="+mn-lt"/>
                <a:cs typeface="+mn-cs"/>
              </a:defRPr>
            </a:lvl3pPr>
            <a:lvl4pPr marL="614363" indent="-155575" algn="l" defTabSz="895350" rtl="0" fontAlgn="base">
              <a:spcBef>
                <a:spcPct val="0"/>
              </a:spcBef>
              <a:spcAft>
                <a:spcPct val="0"/>
              </a:spcAft>
              <a:buClr>
                <a:schemeClr val="tx2"/>
              </a:buClr>
              <a:buSzPct val="120000"/>
              <a:buFont typeface="Arial" pitchFamily="34" charset="0"/>
              <a:buChar char="▫"/>
              <a:defRPr sz="1600">
                <a:solidFill>
                  <a:schemeClr val="tx1"/>
                </a:solidFill>
                <a:latin typeface="+mn-lt"/>
                <a:cs typeface="+mn-cs"/>
              </a:defRPr>
            </a:lvl4pPr>
            <a:lvl5pPr marL="746125" indent="-130175" algn="l" defTabSz="895350" rtl="0" fontAlgn="base">
              <a:spcBef>
                <a:spcPct val="0"/>
              </a:spcBef>
              <a:spcAft>
                <a:spcPct val="0"/>
              </a:spcAft>
              <a:buClr>
                <a:schemeClr val="tx2"/>
              </a:buClr>
              <a:buSzPct val="89000"/>
              <a:buFont typeface="Arial" pitchFamily="34" charset="0"/>
              <a:buChar char="-"/>
              <a:defRPr sz="1600">
                <a:solidFill>
                  <a:schemeClr val="tx1"/>
                </a:solidFill>
                <a:latin typeface="+mn-lt"/>
                <a:cs typeface="+mn-cs"/>
              </a:defRPr>
            </a:lvl5pPr>
            <a:lvl6pPr marL="1203325" indent="-130175" algn="l" defTabSz="895350" rtl="0" fontAlgn="base">
              <a:spcBef>
                <a:spcPct val="0"/>
              </a:spcBef>
              <a:spcAft>
                <a:spcPct val="0"/>
              </a:spcAft>
              <a:buClr>
                <a:schemeClr val="tx2"/>
              </a:buClr>
              <a:buSzPct val="89000"/>
              <a:buFont typeface="Arial" pitchFamily="34" charset="0"/>
              <a:buChar char="-"/>
              <a:defRPr sz="1600">
                <a:solidFill>
                  <a:schemeClr val="tx1"/>
                </a:solidFill>
                <a:latin typeface="+mn-lt"/>
                <a:cs typeface="+mn-cs"/>
              </a:defRPr>
            </a:lvl6pPr>
            <a:lvl7pPr marL="1660525" indent="-130175" algn="l" defTabSz="895350" rtl="0" fontAlgn="base">
              <a:spcBef>
                <a:spcPct val="0"/>
              </a:spcBef>
              <a:spcAft>
                <a:spcPct val="0"/>
              </a:spcAft>
              <a:buClr>
                <a:schemeClr val="tx2"/>
              </a:buClr>
              <a:buSzPct val="89000"/>
              <a:buFont typeface="Arial" pitchFamily="34" charset="0"/>
              <a:buChar char="-"/>
              <a:defRPr sz="1600">
                <a:solidFill>
                  <a:schemeClr val="tx1"/>
                </a:solidFill>
                <a:latin typeface="+mn-lt"/>
                <a:cs typeface="+mn-cs"/>
              </a:defRPr>
            </a:lvl7pPr>
            <a:lvl8pPr marL="2117725" indent="-130175" algn="l" defTabSz="895350" rtl="0" fontAlgn="base">
              <a:spcBef>
                <a:spcPct val="0"/>
              </a:spcBef>
              <a:spcAft>
                <a:spcPct val="0"/>
              </a:spcAft>
              <a:buClr>
                <a:schemeClr val="tx2"/>
              </a:buClr>
              <a:buSzPct val="89000"/>
              <a:buFont typeface="Arial" pitchFamily="34" charset="0"/>
              <a:buChar char="-"/>
              <a:defRPr sz="1600">
                <a:solidFill>
                  <a:schemeClr val="tx1"/>
                </a:solidFill>
                <a:latin typeface="+mn-lt"/>
                <a:cs typeface="+mn-cs"/>
              </a:defRPr>
            </a:lvl8pPr>
            <a:lvl9pPr marL="2574925" indent="-130175" algn="l" defTabSz="895350" rtl="0" fontAlgn="base">
              <a:spcBef>
                <a:spcPct val="0"/>
              </a:spcBef>
              <a:spcAft>
                <a:spcPct val="0"/>
              </a:spcAft>
              <a:buClr>
                <a:schemeClr val="tx2"/>
              </a:buClr>
              <a:buSzPct val="89000"/>
              <a:buFont typeface="Arial" pitchFamily="34" charset="0"/>
              <a:buChar char="-"/>
              <a:defRPr sz="1600">
                <a:solidFill>
                  <a:schemeClr val="tx1"/>
                </a:solidFill>
                <a:latin typeface="+mn-lt"/>
                <a:cs typeface="+mn-cs"/>
              </a:defRPr>
            </a:lvl9pPr>
          </a:lstStyle>
          <a:p>
            <a:pPr algn="ctr">
              <a:buClr>
                <a:srgbClr val="002960"/>
              </a:buClr>
            </a:pPr>
            <a:fld id="{5A217259-8FE4-449F-8C84-BA317558D2CB}" type="datetime'''''''''''1''''''''''''''''''''0'''''''''">
              <a:rPr lang="en-US" altLang="en-US" sz="1200">
                <a:solidFill>
                  <a:srgbClr val="000000"/>
                </a:solidFill>
                <a:sym typeface="+mn-lt"/>
              </a:rPr>
              <a:pPr algn="ctr">
                <a:buClr>
                  <a:srgbClr val="002960"/>
                </a:buClr>
              </a:pPr>
              <a:t>10</a:t>
            </a:fld>
            <a:endParaRPr lang="en-US" sz="1200" dirty="0">
              <a:solidFill>
                <a:srgbClr val="000000"/>
              </a:solidFill>
              <a:sym typeface="+mn-lt"/>
            </a:endParaRPr>
          </a:p>
        </p:txBody>
      </p:sp>
      <p:sp>
        <p:nvSpPr>
          <p:cNvPr id="30" name="Text Placeholder 21">
            <a:extLst>
              <a:ext uri="{FF2B5EF4-FFF2-40B4-BE49-F238E27FC236}">
                <a16:creationId xmlns:a16="http://schemas.microsoft.com/office/drawing/2014/main" id="{6A98F48A-254F-4D50-BF37-A57E8BC1B514}"/>
              </a:ext>
            </a:extLst>
          </p:cNvPr>
          <p:cNvSpPr>
            <a:spLocks noGrp="1"/>
          </p:cNvSpPr>
          <p:nvPr>
            <p:custDataLst>
              <p:tags r:id="rId25"/>
            </p:custDataLst>
          </p:nvPr>
        </p:nvSpPr>
        <p:spPr bwMode="auto">
          <a:xfrm>
            <a:off x="3270250" y="5719763"/>
            <a:ext cx="1163638" cy="36512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Arial Unicode MS" pitchFamily="34" charset="-128"/>
                <a:cs typeface="Arial Unicode MS" pitchFamily="34" charset="-128"/>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ea typeface="Arial Unicode MS" pitchFamily="34" charset="-128"/>
                <a:cs typeface="Arial Unicode MS" pitchFamily="34" charset="-128"/>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ea typeface="Arial Unicode MS" pitchFamily="34" charset="-128"/>
                <a:cs typeface="Arial Unicode MS" pitchFamily="34" charset="-128"/>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buClr>
                <a:srgbClr val="002960"/>
              </a:buClr>
            </a:pPr>
            <a:r>
              <a:rPr lang="en-US" altLang="en-US" sz="1200" dirty="0">
                <a:solidFill>
                  <a:srgbClr val="000000"/>
                </a:solidFill>
                <a:ea typeface="+mn-ea"/>
                <a:cs typeface="+mn-cs"/>
                <a:sym typeface="+mn-lt"/>
              </a:rPr>
              <a:t>High Tech, </a:t>
            </a:r>
            <a:br>
              <a:rPr lang="en-US" altLang="en-US" sz="1200" dirty="0">
                <a:solidFill>
                  <a:srgbClr val="000000"/>
                </a:solidFill>
                <a:ea typeface="+mn-ea"/>
                <a:cs typeface="+mn-cs"/>
                <a:sym typeface="+mn-lt"/>
              </a:rPr>
            </a:br>
            <a:r>
              <a:rPr lang="en-US" altLang="en-US" sz="1200" dirty="0">
                <a:solidFill>
                  <a:srgbClr val="000000"/>
                </a:solidFill>
                <a:ea typeface="+mn-ea"/>
                <a:cs typeface="+mn-cs"/>
                <a:sym typeface="+mn-lt"/>
              </a:rPr>
              <a:t>Media &amp; Telecom</a:t>
            </a:r>
            <a:endParaRPr lang="en-US" sz="1200" dirty="0">
              <a:solidFill>
                <a:srgbClr val="000000"/>
              </a:solidFill>
              <a:ea typeface="+mn-ea"/>
              <a:cs typeface="+mn-cs"/>
              <a:sym typeface="+mn-lt"/>
            </a:endParaRPr>
          </a:p>
        </p:txBody>
      </p:sp>
      <p:sp>
        <p:nvSpPr>
          <p:cNvPr id="29" name="Text Placeholder 20">
            <a:extLst>
              <a:ext uri="{FF2B5EF4-FFF2-40B4-BE49-F238E27FC236}">
                <a16:creationId xmlns:a16="http://schemas.microsoft.com/office/drawing/2014/main" id="{667258C2-B73C-4E30-9236-72570ED189B2}"/>
              </a:ext>
            </a:extLst>
          </p:cNvPr>
          <p:cNvSpPr>
            <a:spLocks noGrp="1"/>
          </p:cNvSpPr>
          <p:nvPr>
            <p:custDataLst>
              <p:tags r:id="rId26"/>
            </p:custDataLst>
          </p:nvPr>
        </p:nvSpPr>
        <p:spPr bwMode="auto">
          <a:xfrm>
            <a:off x="4614863" y="4329113"/>
            <a:ext cx="673100" cy="54768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Arial Unicode MS" pitchFamily="34" charset="-128"/>
                <a:cs typeface="Arial Unicode MS" pitchFamily="34" charset="-128"/>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ea typeface="Arial Unicode MS" pitchFamily="34" charset="-128"/>
                <a:cs typeface="Arial Unicode MS" pitchFamily="34" charset="-128"/>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ea typeface="Arial Unicode MS" pitchFamily="34" charset="-128"/>
                <a:cs typeface="Arial Unicode MS" pitchFamily="34" charset="-128"/>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buClr>
                <a:srgbClr val="002960"/>
              </a:buClr>
            </a:pPr>
            <a:r>
              <a:rPr lang="en-US" altLang="en-US" sz="1200" dirty="0">
                <a:solidFill>
                  <a:srgbClr val="000000"/>
                </a:solidFill>
                <a:ea typeface="+mn-ea"/>
                <a:cs typeface="+mn-cs"/>
                <a:sym typeface="+mn-lt"/>
              </a:rPr>
              <a:t>Global </a:t>
            </a:r>
            <a:br>
              <a:rPr lang="en-US" altLang="en-US" sz="1200" dirty="0">
                <a:solidFill>
                  <a:srgbClr val="000000"/>
                </a:solidFill>
                <a:ea typeface="+mn-ea"/>
                <a:cs typeface="+mn-cs"/>
                <a:sym typeface="+mn-lt"/>
              </a:rPr>
            </a:br>
            <a:r>
              <a:rPr lang="en-US" altLang="en-US" sz="1200" dirty="0">
                <a:solidFill>
                  <a:srgbClr val="000000"/>
                </a:solidFill>
                <a:ea typeface="+mn-ea"/>
                <a:cs typeface="+mn-cs"/>
                <a:sym typeface="+mn-lt"/>
              </a:rPr>
              <a:t>Energy &amp; </a:t>
            </a:r>
            <a:br>
              <a:rPr lang="en-US" altLang="en-US" sz="1200" dirty="0">
                <a:solidFill>
                  <a:srgbClr val="000000"/>
                </a:solidFill>
                <a:ea typeface="+mn-ea"/>
                <a:cs typeface="+mn-cs"/>
                <a:sym typeface="+mn-lt"/>
              </a:rPr>
            </a:br>
            <a:r>
              <a:rPr lang="en-US" altLang="en-US" sz="1200" dirty="0">
                <a:solidFill>
                  <a:srgbClr val="000000"/>
                </a:solidFill>
                <a:ea typeface="+mn-ea"/>
                <a:cs typeface="+mn-cs"/>
                <a:sym typeface="+mn-lt"/>
              </a:rPr>
              <a:t>Materials</a:t>
            </a:r>
            <a:r>
              <a:rPr lang="en-US" sz="1200" baseline="30000" dirty="0">
                <a:solidFill>
                  <a:srgbClr val="000000"/>
                </a:solidFill>
                <a:ea typeface="+mn-ea"/>
                <a:cs typeface="+mn-cs"/>
                <a:sym typeface="+mn-lt"/>
              </a:rPr>
              <a:t>1</a:t>
            </a:r>
            <a:endParaRPr lang="en-US" sz="1200" dirty="0">
              <a:solidFill>
                <a:srgbClr val="000000"/>
              </a:solidFill>
              <a:ea typeface="+mn-ea"/>
              <a:cs typeface="+mn-cs"/>
              <a:sym typeface="+mn-lt"/>
            </a:endParaRPr>
          </a:p>
        </p:txBody>
      </p:sp>
      <p:sp>
        <p:nvSpPr>
          <p:cNvPr id="44" name="Text Placeholder 13">
            <a:extLst>
              <a:ext uri="{FF2B5EF4-FFF2-40B4-BE49-F238E27FC236}">
                <a16:creationId xmlns:a16="http://schemas.microsoft.com/office/drawing/2014/main" id="{E7AAA705-4E2F-439E-90A0-F1B48D38D9A6}"/>
              </a:ext>
            </a:extLst>
          </p:cNvPr>
          <p:cNvSpPr>
            <a:spLocks noGrp="1"/>
          </p:cNvSpPr>
          <p:nvPr>
            <p:custDataLst>
              <p:tags r:id="rId27"/>
            </p:custDataLst>
          </p:nvPr>
        </p:nvSpPr>
        <p:spPr bwMode="gray">
          <a:xfrm>
            <a:off x="2157413" y="2767013"/>
            <a:ext cx="122238" cy="182563"/>
          </a:xfrm>
          <a:prstGeom prst="rect">
            <a:avLst/>
          </a:prstGeom>
          <a:noFill/>
          <a:ln>
            <a:noFill/>
          </a:ln>
          <a:effectLst/>
          <a:extLst>
            <a:ext uri="{909E8E84-426E-40DD-AFC4-6F175D3DCCD1}">
              <a14:hiddenFill xmlns:a14="http://schemas.microsoft.com/office/drawing/2010/main">
                <a:solidFill>
                  <a:srgbClr val="CFCFCF"/>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9050" tIns="0" rIns="19050" bIns="0" numCol="1" anchor="ctr" anchorCtr="0" compatLnSpc="1">
            <a:prstTxWarp prst="textNoShape">
              <a:avLst/>
            </a:prstTxWarp>
            <a:noAutofit/>
          </a:bodyPr>
          <a:lstStyle>
            <a:lvl1pPr algn="l" defTabSz="895350" rtl="0" fontAlgn="base">
              <a:spcBef>
                <a:spcPct val="0"/>
              </a:spcBef>
              <a:spcAft>
                <a:spcPct val="0"/>
              </a:spcAft>
              <a:buClr>
                <a:schemeClr val="tx2"/>
              </a:buClr>
              <a:defRPr sz="1600">
                <a:solidFill>
                  <a:schemeClr val="tx1"/>
                </a:solidFill>
                <a:latin typeface="+mn-lt"/>
                <a:ea typeface="+mn-ea"/>
                <a:cs typeface="+mn-cs"/>
              </a:defRPr>
            </a:lvl1pPr>
            <a:lvl2pPr marL="193675" indent="-192088" algn="l" defTabSz="895350" rtl="0" fontAlgn="base">
              <a:spcBef>
                <a:spcPct val="0"/>
              </a:spcBef>
              <a:spcAft>
                <a:spcPct val="0"/>
              </a:spcAft>
              <a:buClr>
                <a:schemeClr val="tx2"/>
              </a:buClr>
              <a:buSzPct val="125000"/>
              <a:buFont typeface="Arial" pitchFamily="34" charset="0"/>
              <a:buChar char="▪"/>
              <a:defRPr sz="1600">
                <a:solidFill>
                  <a:schemeClr val="tx1"/>
                </a:solidFill>
                <a:latin typeface="+mn-lt"/>
                <a:cs typeface="+mn-cs"/>
              </a:defRPr>
            </a:lvl2pPr>
            <a:lvl3pPr marL="457200" indent="-261938" algn="l" defTabSz="895350" rtl="0" fontAlgn="base">
              <a:spcBef>
                <a:spcPct val="0"/>
              </a:spcBef>
              <a:spcAft>
                <a:spcPct val="0"/>
              </a:spcAft>
              <a:buClr>
                <a:schemeClr val="tx2"/>
              </a:buClr>
              <a:buSzPct val="120000"/>
              <a:buFont typeface="Arial" pitchFamily="34" charset="0"/>
              <a:buChar char="–"/>
              <a:defRPr sz="1600">
                <a:solidFill>
                  <a:schemeClr val="tx1"/>
                </a:solidFill>
                <a:latin typeface="+mn-lt"/>
                <a:cs typeface="+mn-cs"/>
              </a:defRPr>
            </a:lvl3pPr>
            <a:lvl4pPr marL="614363" indent="-155575" algn="l" defTabSz="895350" rtl="0" fontAlgn="base">
              <a:spcBef>
                <a:spcPct val="0"/>
              </a:spcBef>
              <a:spcAft>
                <a:spcPct val="0"/>
              </a:spcAft>
              <a:buClr>
                <a:schemeClr val="tx2"/>
              </a:buClr>
              <a:buSzPct val="120000"/>
              <a:buFont typeface="Arial" pitchFamily="34" charset="0"/>
              <a:buChar char="▫"/>
              <a:defRPr sz="1600">
                <a:solidFill>
                  <a:schemeClr val="tx1"/>
                </a:solidFill>
                <a:latin typeface="+mn-lt"/>
                <a:cs typeface="+mn-cs"/>
              </a:defRPr>
            </a:lvl4pPr>
            <a:lvl5pPr marL="746125" indent="-130175" algn="l" defTabSz="895350" rtl="0" fontAlgn="base">
              <a:spcBef>
                <a:spcPct val="0"/>
              </a:spcBef>
              <a:spcAft>
                <a:spcPct val="0"/>
              </a:spcAft>
              <a:buClr>
                <a:schemeClr val="tx2"/>
              </a:buClr>
              <a:buSzPct val="89000"/>
              <a:buFont typeface="Arial" pitchFamily="34" charset="0"/>
              <a:buChar char="-"/>
              <a:defRPr sz="1600">
                <a:solidFill>
                  <a:schemeClr val="tx1"/>
                </a:solidFill>
                <a:latin typeface="+mn-lt"/>
                <a:cs typeface="+mn-cs"/>
              </a:defRPr>
            </a:lvl5pPr>
            <a:lvl6pPr marL="1203325" indent="-130175" algn="l" defTabSz="895350" rtl="0" fontAlgn="base">
              <a:spcBef>
                <a:spcPct val="0"/>
              </a:spcBef>
              <a:spcAft>
                <a:spcPct val="0"/>
              </a:spcAft>
              <a:buClr>
                <a:schemeClr val="tx2"/>
              </a:buClr>
              <a:buSzPct val="89000"/>
              <a:buFont typeface="Arial" pitchFamily="34" charset="0"/>
              <a:buChar char="-"/>
              <a:defRPr sz="1600">
                <a:solidFill>
                  <a:schemeClr val="tx1"/>
                </a:solidFill>
                <a:latin typeface="+mn-lt"/>
                <a:cs typeface="+mn-cs"/>
              </a:defRPr>
            </a:lvl6pPr>
            <a:lvl7pPr marL="1660525" indent="-130175" algn="l" defTabSz="895350" rtl="0" fontAlgn="base">
              <a:spcBef>
                <a:spcPct val="0"/>
              </a:spcBef>
              <a:spcAft>
                <a:spcPct val="0"/>
              </a:spcAft>
              <a:buClr>
                <a:schemeClr val="tx2"/>
              </a:buClr>
              <a:buSzPct val="89000"/>
              <a:buFont typeface="Arial" pitchFamily="34" charset="0"/>
              <a:buChar char="-"/>
              <a:defRPr sz="1600">
                <a:solidFill>
                  <a:schemeClr val="tx1"/>
                </a:solidFill>
                <a:latin typeface="+mn-lt"/>
                <a:cs typeface="+mn-cs"/>
              </a:defRPr>
            </a:lvl7pPr>
            <a:lvl8pPr marL="2117725" indent="-130175" algn="l" defTabSz="895350" rtl="0" fontAlgn="base">
              <a:spcBef>
                <a:spcPct val="0"/>
              </a:spcBef>
              <a:spcAft>
                <a:spcPct val="0"/>
              </a:spcAft>
              <a:buClr>
                <a:schemeClr val="tx2"/>
              </a:buClr>
              <a:buSzPct val="89000"/>
              <a:buFont typeface="Arial" pitchFamily="34" charset="0"/>
              <a:buChar char="-"/>
              <a:defRPr sz="1600">
                <a:solidFill>
                  <a:schemeClr val="tx1"/>
                </a:solidFill>
                <a:latin typeface="+mn-lt"/>
                <a:cs typeface="+mn-cs"/>
              </a:defRPr>
            </a:lvl8pPr>
            <a:lvl9pPr marL="2574925" indent="-130175" algn="l" defTabSz="895350" rtl="0" fontAlgn="base">
              <a:spcBef>
                <a:spcPct val="0"/>
              </a:spcBef>
              <a:spcAft>
                <a:spcPct val="0"/>
              </a:spcAft>
              <a:buClr>
                <a:schemeClr val="tx2"/>
              </a:buClr>
              <a:buSzPct val="89000"/>
              <a:buFont typeface="Arial" pitchFamily="34" charset="0"/>
              <a:buChar char="-"/>
              <a:defRPr sz="1600">
                <a:solidFill>
                  <a:schemeClr val="tx1"/>
                </a:solidFill>
                <a:latin typeface="+mn-lt"/>
                <a:cs typeface="+mn-cs"/>
              </a:defRPr>
            </a:lvl9pPr>
          </a:lstStyle>
          <a:p>
            <a:pPr algn="ctr">
              <a:buClr>
                <a:srgbClr val="002960"/>
              </a:buClr>
            </a:pPr>
            <a:fld id="{12C39542-8CA4-4E20-BE81-5CA74B2E7ED0}" type="datetime'''''''''''''''''''''''''''''''4'''''''''''''''''">
              <a:rPr lang="en-US" altLang="en-US" sz="1200">
                <a:solidFill>
                  <a:srgbClr val="000000"/>
                </a:solidFill>
                <a:sym typeface="+mn-lt"/>
              </a:rPr>
              <a:pPr algn="ctr">
                <a:buClr>
                  <a:srgbClr val="002960"/>
                </a:buClr>
              </a:pPr>
              <a:t>4</a:t>
            </a:fld>
            <a:endParaRPr lang="en-US" sz="1200" dirty="0">
              <a:solidFill>
                <a:srgbClr val="000000"/>
              </a:solidFill>
              <a:sym typeface="+mn-lt"/>
            </a:endParaRPr>
          </a:p>
        </p:txBody>
      </p:sp>
      <p:sp>
        <p:nvSpPr>
          <p:cNvPr id="47" name="Text Placeholder 24">
            <a:extLst>
              <a:ext uri="{FF2B5EF4-FFF2-40B4-BE49-F238E27FC236}">
                <a16:creationId xmlns:a16="http://schemas.microsoft.com/office/drawing/2014/main" id="{7ADC7CE5-6EA7-4FD6-AB31-A419503ACF0D}"/>
              </a:ext>
            </a:extLst>
          </p:cNvPr>
          <p:cNvSpPr>
            <a:spLocks noGrp="1"/>
          </p:cNvSpPr>
          <p:nvPr>
            <p:custDataLst>
              <p:tags r:id="rId28"/>
            </p:custDataLst>
          </p:nvPr>
        </p:nvSpPr>
        <p:spPr bwMode="auto">
          <a:xfrm>
            <a:off x="328613" y="2862263"/>
            <a:ext cx="1289050" cy="36512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Arial Unicode MS" pitchFamily="34" charset="-128"/>
                <a:cs typeface="Arial Unicode MS" pitchFamily="34" charset="-128"/>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ea typeface="Arial Unicode MS" pitchFamily="34" charset="-128"/>
                <a:cs typeface="Arial Unicode MS" pitchFamily="34" charset="-128"/>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ea typeface="Arial Unicode MS" pitchFamily="34" charset="-128"/>
                <a:cs typeface="Arial Unicode MS" pitchFamily="34" charset="-128"/>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buClr>
                <a:srgbClr val="002960"/>
              </a:buClr>
            </a:pPr>
            <a:r>
              <a:rPr lang="en-US" altLang="en-US" sz="1200" dirty="0">
                <a:solidFill>
                  <a:srgbClr val="000000"/>
                </a:solidFill>
                <a:ea typeface="+mn-ea"/>
                <a:cs typeface="+mn-cs"/>
                <a:sym typeface="+mn-lt"/>
              </a:rPr>
              <a:t>Travel Transport &amp; </a:t>
            </a:r>
            <a:br>
              <a:rPr lang="en-US" altLang="en-US" sz="1200" dirty="0">
                <a:solidFill>
                  <a:srgbClr val="000000"/>
                </a:solidFill>
                <a:ea typeface="+mn-ea"/>
                <a:cs typeface="+mn-cs"/>
                <a:sym typeface="+mn-lt"/>
              </a:rPr>
            </a:br>
            <a:r>
              <a:rPr lang="en-US" altLang="en-US" sz="1200" dirty="0">
                <a:solidFill>
                  <a:srgbClr val="000000"/>
                </a:solidFill>
                <a:ea typeface="+mn-ea"/>
                <a:cs typeface="+mn-cs"/>
                <a:sym typeface="+mn-lt"/>
              </a:rPr>
              <a:t>Logistics</a:t>
            </a:r>
            <a:endParaRPr lang="en-US" sz="1200" dirty="0">
              <a:solidFill>
                <a:srgbClr val="000000"/>
              </a:solidFill>
              <a:ea typeface="+mn-ea"/>
              <a:cs typeface="+mn-cs"/>
              <a:sym typeface="+mn-lt"/>
            </a:endParaRPr>
          </a:p>
        </p:txBody>
      </p:sp>
      <p:sp>
        <p:nvSpPr>
          <p:cNvPr id="35" name="Text Placeholder 17">
            <a:extLst>
              <a:ext uri="{FF2B5EF4-FFF2-40B4-BE49-F238E27FC236}">
                <a16:creationId xmlns:a16="http://schemas.microsoft.com/office/drawing/2014/main" id="{2FF354CE-45FF-4630-80B7-EBF720295C73}"/>
              </a:ext>
            </a:extLst>
          </p:cNvPr>
          <p:cNvSpPr>
            <a:spLocks noGrp="1"/>
          </p:cNvSpPr>
          <p:nvPr>
            <p:custDataLst>
              <p:tags r:id="rId29"/>
            </p:custDataLst>
          </p:nvPr>
        </p:nvSpPr>
        <p:spPr bwMode="gray">
          <a:xfrm>
            <a:off x="2695575" y="2566988"/>
            <a:ext cx="122238" cy="18256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9050" tIns="0" rIns="19050" bIns="0" numCol="1" anchor="ctr" anchorCtr="0" compatLnSpc="1">
            <a:prstTxWarp prst="textNoShape">
              <a:avLst/>
            </a:prstTxWarp>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Arial Unicode MS" pitchFamily="34" charset="-128"/>
                <a:cs typeface="Arial Unicode MS" pitchFamily="34" charset="-128"/>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ea typeface="Arial Unicode MS" pitchFamily="34" charset="-128"/>
                <a:cs typeface="Arial Unicode MS" pitchFamily="34" charset="-128"/>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ea typeface="Arial Unicode MS" pitchFamily="34" charset="-128"/>
                <a:cs typeface="Arial Unicode MS" pitchFamily="34" charset="-128"/>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ctr">
              <a:buClr>
                <a:srgbClr val="002960"/>
              </a:buClr>
            </a:pPr>
            <a:fld id="{109A12ED-DFD2-42F9-80FE-A574174E45CC}" type="datetime'''''''''''''''''''''''''''''''''''''''''3'''''''''''">
              <a:rPr lang="en-US" altLang="en-US" sz="1200">
                <a:solidFill>
                  <a:srgbClr val="000000"/>
                </a:solidFill>
                <a:ea typeface="+mn-ea"/>
                <a:cs typeface="+mn-cs"/>
                <a:sym typeface="+mn-lt"/>
              </a:rPr>
              <a:pPr algn="ctr">
                <a:buClr>
                  <a:srgbClr val="002960"/>
                </a:buClr>
              </a:pPr>
              <a:t>3</a:t>
            </a:fld>
            <a:endParaRPr lang="en-US" sz="1200" dirty="0">
              <a:solidFill>
                <a:srgbClr val="000000"/>
              </a:solidFill>
              <a:ea typeface="+mn-ea"/>
              <a:cs typeface="+mn-cs"/>
              <a:sym typeface="+mn-lt"/>
            </a:endParaRPr>
          </a:p>
        </p:txBody>
      </p:sp>
      <p:sp>
        <p:nvSpPr>
          <p:cNvPr id="34" name="Text Placeholder 29">
            <a:extLst>
              <a:ext uri="{FF2B5EF4-FFF2-40B4-BE49-F238E27FC236}">
                <a16:creationId xmlns:a16="http://schemas.microsoft.com/office/drawing/2014/main" id="{BAB4051C-68BE-4D2D-8A2C-E53415B48A42}"/>
              </a:ext>
            </a:extLst>
          </p:cNvPr>
          <p:cNvSpPr>
            <a:spLocks noGrp="1"/>
          </p:cNvSpPr>
          <p:nvPr>
            <p:custDataLst>
              <p:tags r:id="rId30"/>
            </p:custDataLst>
          </p:nvPr>
        </p:nvSpPr>
        <p:spPr bwMode="auto">
          <a:xfrm>
            <a:off x="2935288" y="2173288"/>
            <a:ext cx="481013" cy="18256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Arial Unicode MS" pitchFamily="34" charset="-128"/>
                <a:cs typeface="Arial Unicode MS" pitchFamily="34" charset="-128"/>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ea typeface="Arial Unicode MS" pitchFamily="34" charset="-128"/>
                <a:cs typeface="Arial Unicode MS" pitchFamily="34" charset="-128"/>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ea typeface="Arial Unicode MS" pitchFamily="34" charset="-128"/>
                <a:cs typeface="Arial Unicode MS" pitchFamily="34" charset="-128"/>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buClr>
                <a:srgbClr val="002960"/>
              </a:buClr>
            </a:pPr>
            <a:fld id="{EE8C0723-40AF-4C47-9777-46B4D25D49F2}" type="datetime'''O''''''t''''''''he''''''''r'''''''''''''''''''''">
              <a:rPr lang="en-US" altLang="en-US" sz="1200">
                <a:solidFill>
                  <a:srgbClr val="000000"/>
                </a:solidFill>
                <a:ea typeface="+mn-ea"/>
                <a:cs typeface="+mn-cs"/>
                <a:sym typeface="+mn-lt"/>
              </a:rPr>
              <a:pPr>
                <a:buClr>
                  <a:srgbClr val="002960"/>
                </a:buClr>
              </a:pPr>
              <a:t>Other</a:t>
            </a:fld>
            <a:r>
              <a:rPr lang="en-US" sz="1200">
                <a:solidFill>
                  <a:srgbClr val="000000"/>
                </a:solidFill>
                <a:ea typeface="+mn-ea"/>
                <a:cs typeface="+mn-cs"/>
                <a:sym typeface="+mn-lt"/>
              </a:rPr>
              <a:t> </a:t>
            </a:r>
            <a:r>
              <a:rPr lang="en-US" sz="1200" baseline="30000" dirty="0">
                <a:solidFill>
                  <a:srgbClr val="000000"/>
                </a:solidFill>
                <a:ea typeface="+mn-ea"/>
                <a:cs typeface="+mn-cs"/>
                <a:sym typeface="+mn-lt"/>
              </a:rPr>
              <a:t>3</a:t>
            </a:r>
            <a:endParaRPr lang="en-US" sz="1200" dirty="0">
              <a:solidFill>
                <a:srgbClr val="000000"/>
              </a:solidFill>
              <a:ea typeface="+mn-ea"/>
              <a:cs typeface="+mn-cs"/>
              <a:sym typeface="+mn-lt"/>
            </a:endParaRPr>
          </a:p>
        </p:txBody>
      </p:sp>
      <p:sp>
        <p:nvSpPr>
          <p:cNvPr id="38" name="Text Placeholder 27">
            <a:extLst>
              <a:ext uri="{FF2B5EF4-FFF2-40B4-BE49-F238E27FC236}">
                <a16:creationId xmlns:a16="http://schemas.microsoft.com/office/drawing/2014/main" id="{FE043EB8-91D3-41BE-8549-E1186D8092A7}"/>
              </a:ext>
            </a:extLst>
          </p:cNvPr>
          <p:cNvSpPr>
            <a:spLocks noGrp="1"/>
          </p:cNvSpPr>
          <p:nvPr>
            <p:custDataLst>
              <p:tags r:id="rId31"/>
            </p:custDataLst>
          </p:nvPr>
        </p:nvSpPr>
        <p:spPr bwMode="auto">
          <a:xfrm>
            <a:off x="1643063" y="1949450"/>
            <a:ext cx="1241425" cy="36512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Arial Unicode MS" pitchFamily="34" charset="-128"/>
                <a:cs typeface="Arial Unicode MS" pitchFamily="34" charset="-128"/>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ea typeface="Arial Unicode MS" pitchFamily="34" charset="-128"/>
                <a:cs typeface="Arial Unicode MS" pitchFamily="34" charset="-128"/>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ea typeface="Arial Unicode MS" pitchFamily="34" charset="-128"/>
                <a:cs typeface="Arial Unicode MS" pitchFamily="34" charset="-128"/>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buClr>
                <a:srgbClr val="002960"/>
              </a:buClr>
            </a:pPr>
            <a:r>
              <a:rPr lang="en-US" altLang="en-US" sz="1200" dirty="0">
                <a:solidFill>
                  <a:srgbClr val="000000"/>
                </a:solidFill>
                <a:ea typeface="+mn-ea"/>
                <a:cs typeface="+mn-cs"/>
                <a:sym typeface="+mn-lt"/>
              </a:rPr>
              <a:t>Private Equity/</a:t>
            </a:r>
            <a:br>
              <a:rPr lang="en-US" altLang="en-US" sz="1200" dirty="0">
                <a:solidFill>
                  <a:srgbClr val="000000"/>
                </a:solidFill>
                <a:ea typeface="+mn-ea"/>
                <a:cs typeface="+mn-cs"/>
                <a:sym typeface="+mn-lt"/>
              </a:rPr>
            </a:br>
            <a:r>
              <a:rPr lang="en-US" altLang="en-US" sz="1200" dirty="0">
                <a:solidFill>
                  <a:srgbClr val="000000"/>
                </a:solidFill>
                <a:ea typeface="+mn-ea"/>
                <a:cs typeface="+mn-cs"/>
                <a:sym typeface="+mn-lt"/>
              </a:rPr>
              <a:t>Principal Investors</a:t>
            </a:r>
            <a:endParaRPr lang="en-US" sz="1200" dirty="0">
              <a:solidFill>
                <a:srgbClr val="000000"/>
              </a:solidFill>
              <a:ea typeface="+mn-ea"/>
              <a:cs typeface="+mn-cs"/>
              <a:sym typeface="+mn-lt"/>
            </a:endParaRPr>
          </a:p>
        </p:txBody>
      </p:sp>
      <p:sp>
        <p:nvSpPr>
          <p:cNvPr id="36" name="Text Placeholder 26">
            <a:extLst>
              <a:ext uri="{FF2B5EF4-FFF2-40B4-BE49-F238E27FC236}">
                <a16:creationId xmlns:a16="http://schemas.microsoft.com/office/drawing/2014/main" id="{8109F5CB-DCB2-4965-8303-7290726B9775}"/>
              </a:ext>
            </a:extLst>
          </p:cNvPr>
          <p:cNvSpPr>
            <a:spLocks noGrp="1"/>
          </p:cNvSpPr>
          <p:nvPr>
            <p:custDataLst>
              <p:tags r:id="rId32"/>
            </p:custDataLst>
          </p:nvPr>
        </p:nvSpPr>
        <p:spPr bwMode="auto">
          <a:xfrm>
            <a:off x="1847850" y="2314575"/>
            <a:ext cx="666750" cy="18256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Arial Unicode MS" pitchFamily="34" charset="-128"/>
                <a:cs typeface="Arial Unicode MS" pitchFamily="34" charset="-128"/>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ea typeface="Arial Unicode MS" pitchFamily="34" charset="-128"/>
                <a:cs typeface="Arial Unicode MS" pitchFamily="34" charset="-128"/>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ea typeface="Arial Unicode MS" pitchFamily="34" charset="-128"/>
                <a:cs typeface="Arial Unicode MS" pitchFamily="34" charset="-128"/>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buClr>
                <a:srgbClr val="002960"/>
              </a:buClr>
            </a:pPr>
            <a:fld id="{6AD304B4-E475-4109-BF95-BC339CF80221}" type="datetime'I''''''''ns''''u''''''''r''''''an''c''''''''''''''''''''e'''''">
              <a:rPr lang="en-US" altLang="en-US" sz="1200">
                <a:solidFill>
                  <a:srgbClr val="000000"/>
                </a:solidFill>
                <a:ea typeface="+mn-ea"/>
                <a:cs typeface="+mn-cs"/>
                <a:sym typeface="+mn-lt"/>
              </a:rPr>
              <a:pPr>
                <a:buClr>
                  <a:srgbClr val="002960"/>
                </a:buClr>
              </a:pPr>
              <a:t>Insurance</a:t>
            </a:fld>
            <a:endParaRPr lang="en-US" sz="1200" dirty="0">
              <a:solidFill>
                <a:srgbClr val="000000"/>
              </a:solidFill>
              <a:ea typeface="+mn-ea"/>
              <a:cs typeface="+mn-cs"/>
              <a:sym typeface="+mn-lt"/>
            </a:endParaRPr>
          </a:p>
        </p:txBody>
      </p:sp>
      <p:sp>
        <p:nvSpPr>
          <p:cNvPr id="48" name="Text Placeholder 14">
            <a:extLst>
              <a:ext uri="{FF2B5EF4-FFF2-40B4-BE49-F238E27FC236}">
                <a16:creationId xmlns:a16="http://schemas.microsoft.com/office/drawing/2014/main" id="{A71288B7-8BBF-4FF0-BA53-75CADCB9A406}"/>
              </a:ext>
            </a:extLst>
          </p:cNvPr>
          <p:cNvSpPr>
            <a:spLocks noGrp="1"/>
          </p:cNvSpPr>
          <p:nvPr>
            <p:custDataLst>
              <p:tags r:id="rId33"/>
            </p:custDataLst>
          </p:nvPr>
        </p:nvSpPr>
        <p:spPr bwMode="gray">
          <a:xfrm>
            <a:off x="2447925" y="2632075"/>
            <a:ext cx="122238" cy="1825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9050" tIns="0" rIns="19050" bIns="0" numCol="1" anchor="ctr" anchorCtr="0" compatLnSpc="1">
            <a:prstTxWarp prst="textNoShape">
              <a:avLst/>
            </a:prstTxWarp>
            <a:noAutofit/>
          </a:bodyPr>
          <a:lstStyle>
            <a:lvl1pPr algn="l" defTabSz="895350" rtl="0" fontAlgn="base">
              <a:spcBef>
                <a:spcPct val="0"/>
              </a:spcBef>
              <a:spcAft>
                <a:spcPct val="0"/>
              </a:spcAft>
              <a:buClr>
                <a:schemeClr val="tx2"/>
              </a:buClr>
              <a:defRPr sz="1600">
                <a:solidFill>
                  <a:schemeClr val="tx1"/>
                </a:solidFill>
                <a:latin typeface="+mn-lt"/>
                <a:ea typeface="+mn-ea"/>
                <a:cs typeface="+mn-cs"/>
              </a:defRPr>
            </a:lvl1pPr>
            <a:lvl2pPr marL="193675" indent="-192088" algn="l" defTabSz="895350" rtl="0" fontAlgn="base">
              <a:spcBef>
                <a:spcPct val="0"/>
              </a:spcBef>
              <a:spcAft>
                <a:spcPct val="0"/>
              </a:spcAft>
              <a:buClr>
                <a:schemeClr val="tx2"/>
              </a:buClr>
              <a:buSzPct val="125000"/>
              <a:buFont typeface="Arial" pitchFamily="34" charset="0"/>
              <a:buChar char="▪"/>
              <a:defRPr sz="1600">
                <a:solidFill>
                  <a:schemeClr val="tx1"/>
                </a:solidFill>
                <a:latin typeface="+mn-lt"/>
                <a:cs typeface="+mn-cs"/>
              </a:defRPr>
            </a:lvl2pPr>
            <a:lvl3pPr marL="457200" indent="-261938" algn="l" defTabSz="895350" rtl="0" fontAlgn="base">
              <a:spcBef>
                <a:spcPct val="0"/>
              </a:spcBef>
              <a:spcAft>
                <a:spcPct val="0"/>
              </a:spcAft>
              <a:buClr>
                <a:schemeClr val="tx2"/>
              </a:buClr>
              <a:buSzPct val="120000"/>
              <a:buFont typeface="Arial" pitchFamily="34" charset="0"/>
              <a:buChar char="–"/>
              <a:defRPr sz="1600">
                <a:solidFill>
                  <a:schemeClr val="tx1"/>
                </a:solidFill>
                <a:latin typeface="+mn-lt"/>
                <a:cs typeface="+mn-cs"/>
              </a:defRPr>
            </a:lvl3pPr>
            <a:lvl4pPr marL="614363" indent="-155575" algn="l" defTabSz="895350" rtl="0" fontAlgn="base">
              <a:spcBef>
                <a:spcPct val="0"/>
              </a:spcBef>
              <a:spcAft>
                <a:spcPct val="0"/>
              </a:spcAft>
              <a:buClr>
                <a:schemeClr val="tx2"/>
              </a:buClr>
              <a:buSzPct val="120000"/>
              <a:buFont typeface="Arial" pitchFamily="34" charset="0"/>
              <a:buChar char="▫"/>
              <a:defRPr sz="1600">
                <a:solidFill>
                  <a:schemeClr val="tx1"/>
                </a:solidFill>
                <a:latin typeface="+mn-lt"/>
                <a:cs typeface="+mn-cs"/>
              </a:defRPr>
            </a:lvl4pPr>
            <a:lvl5pPr marL="746125" indent="-130175" algn="l" defTabSz="895350" rtl="0" fontAlgn="base">
              <a:spcBef>
                <a:spcPct val="0"/>
              </a:spcBef>
              <a:spcAft>
                <a:spcPct val="0"/>
              </a:spcAft>
              <a:buClr>
                <a:schemeClr val="tx2"/>
              </a:buClr>
              <a:buSzPct val="89000"/>
              <a:buFont typeface="Arial" pitchFamily="34" charset="0"/>
              <a:buChar char="-"/>
              <a:defRPr sz="1600">
                <a:solidFill>
                  <a:schemeClr val="tx1"/>
                </a:solidFill>
                <a:latin typeface="+mn-lt"/>
                <a:cs typeface="+mn-cs"/>
              </a:defRPr>
            </a:lvl5pPr>
            <a:lvl6pPr marL="1203325" indent="-130175" algn="l" defTabSz="895350" rtl="0" fontAlgn="base">
              <a:spcBef>
                <a:spcPct val="0"/>
              </a:spcBef>
              <a:spcAft>
                <a:spcPct val="0"/>
              </a:spcAft>
              <a:buClr>
                <a:schemeClr val="tx2"/>
              </a:buClr>
              <a:buSzPct val="89000"/>
              <a:buFont typeface="Arial" pitchFamily="34" charset="0"/>
              <a:buChar char="-"/>
              <a:defRPr sz="1600">
                <a:solidFill>
                  <a:schemeClr val="tx1"/>
                </a:solidFill>
                <a:latin typeface="+mn-lt"/>
                <a:cs typeface="+mn-cs"/>
              </a:defRPr>
            </a:lvl6pPr>
            <a:lvl7pPr marL="1660525" indent="-130175" algn="l" defTabSz="895350" rtl="0" fontAlgn="base">
              <a:spcBef>
                <a:spcPct val="0"/>
              </a:spcBef>
              <a:spcAft>
                <a:spcPct val="0"/>
              </a:spcAft>
              <a:buClr>
                <a:schemeClr val="tx2"/>
              </a:buClr>
              <a:buSzPct val="89000"/>
              <a:buFont typeface="Arial" pitchFamily="34" charset="0"/>
              <a:buChar char="-"/>
              <a:defRPr sz="1600">
                <a:solidFill>
                  <a:schemeClr val="tx1"/>
                </a:solidFill>
                <a:latin typeface="+mn-lt"/>
                <a:cs typeface="+mn-cs"/>
              </a:defRPr>
            </a:lvl7pPr>
            <a:lvl8pPr marL="2117725" indent="-130175" algn="l" defTabSz="895350" rtl="0" fontAlgn="base">
              <a:spcBef>
                <a:spcPct val="0"/>
              </a:spcBef>
              <a:spcAft>
                <a:spcPct val="0"/>
              </a:spcAft>
              <a:buClr>
                <a:schemeClr val="tx2"/>
              </a:buClr>
              <a:buSzPct val="89000"/>
              <a:buFont typeface="Arial" pitchFamily="34" charset="0"/>
              <a:buChar char="-"/>
              <a:defRPr sz="1600">
                <a:solidFill>
                  <a:schemeClr val="tx1"/>
                </a:solidFill>
                <a:latin typeface="+mn-lt"/>
                <a:cs typeface="+mn-cs"/>
              </a:defRPr>
            </a:lvl8pPr>
            <a:lvl9pPr marL="2574925" indent="-130175" algn="l" defTabSz="895350" rtl="0" fontAlgn="base">
              <a:spcBef>
                <a:spcPct val="0"/>
              </a:spcBef>
              <a:spcAft>
                <a:spcPct val="0"/>
              </a:spcAft>
              <a:buClr>
                <a:schemeClr val="tx2"/>
              </a:buClr>
              <a:buSzPct val="89000"/>
              <a:buFont typeface="Arial" pitchFamily="34" charset="0"/>
              <a:buChar char="-"/>
              <a:defRPr sz="1600">
                <a:solidFill>
                  <a:schemeClr val="tx1"/>
                </a:solidFill>
                <a:latin typeface="+mn-lt"/>
                <a:cs typeface="+mn-cs"/>
              </a:defRPr>
            </a:lvl9pPr>
          </a:lstStyle>
          <a:p>
            <a:pPr algn="ctr">
              <a:buClr>
                <a:srgbClr val="002960"/>
              </a:buClr>
            </a:pPr>
            <a:fld id="{8AE28EC5-E4EC-4FDB-89FC-A33ABEA59EA9}" type="datetime'''''''''''''''''''2'''''''''''''''''''''''''''''''''">
              <a:rPr lang="en-US" altLang="en-US" sz="1200">
                <a:solidFill>
                  <a:srgbClr val="000000"/>
                </a:solidFill>
                <a:sym typeface="+mn-lt"/>
              </a:rPr>
              <a:pPr algn="ctr">
                <a:buClr>
                  <a:srgbClr val="002960"/>
                </a:buClr>
              </a:pPr>
              <a:t>2</a:t>
            </a:fld>
            <a:endParaRPr lang="en-US" sz="1200" dirty="0">
              <a:solidFill>
                <a:srgbClr val="000000"/>
              </a:solidFill>
              <a:sym typeface="+mn-lt"/>
            </a:endParaRPr>
          </a:p>
        </p:txBody>
      </p:sp>
      <p:sp>
        <p:nvSpPr>
          <p:cNvPr id="49" name="Text Placeholder 25">
            <a:extLst>
              <a:ext uri="{FF2B5EF4-FFF2-40B4-BE49-F238E27FC236}">
                <a16:creationId xmlns:a16="http://schemas.microsoft.com/office/drawing/2014/main" id="{596E5568-076D-40D5-8A53-A70276552D64}"/>
              </a:ext>
            </a:extLst>
          </p:cNvPr>
          <p:cNvSpPr>
            <a:spLocks noGrp="1"/>
          </p:cNvSpPr>
          <p:nvPr>
            <p:custDataLst>
              <p:tags r:id="rId34"/>
            </p:custDataLst>
          </p:nvPr>
        </p:nvSpPr>
        <p:spPr bwMode="auto">
          <a:xfrm>
            <a:off x="555625" y="2497138"/>
            <a:ext cx="1403350" cy="36512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Arial Unicode MS" pitchFamily="34" charset="-128"/>
                <a:cs typeface="Arial Unicode MS" pitchFamily="34" charset="-128"/>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ea typeface="Arial Unicode MS" pitchFamily="34" charset="-128"/>
                <a:cs typeface="Arial Unicode MS" pitchFamily="34" charset="-128"/>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ea typeface="Arial Unicode MS" pitchFamily="34" charset="-128"/>
                <a:cs typeface="Arial Unicode MS" pitchFamily="34" charset="-128"/>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buClr>
                <a:srgbClr val="002960"/>
              </a:buClr>
            </a:pPr>
            <a:r>
              <a:rPr lang="en-US" altLang="en-US" sz="1200" dirty="0">
                <a:solidFill>
                  <a:srgbClr val="000000"/>
                </a:solidFill>
                <a:ea typeface="+mn-ea"/>
                <a:cs typeface="+mn-cs"/>
                <a:sym typeface="+mn-lt"/>
              </a:rPr>
              <a:t>Healthcare Systems </a:t>
            </a:r>
            <a:br>
              <a:rPr lang="en-US" altLang="en-US" sz="1200" dirty="0">
                <a:solidFill>
                  <a:srgbClr val="000000"/>
                </a:solidFill>
                <a:ea typeface="+mn-ea"/>
                <a:cs typeface="+mn-cs"/>
                <a:sym typeface="+mn-lt"/>
              </a:rPr>
            </a:br>
            <a:r>
              <a:rPr lang="en-US" altLang="en-US" sz="1200" dirty="0">
                <a:solidFill>
                  <a:srgbClr val="000000"/>
                </a:solidFill>
                <a:ea typeface="+mn-ea"/>
                <a:cs typeface="+mn-cs"/>
                <a:sym typeface="+mn-lt"/>
              </a:rPr>
              <a:t>and Services</a:t>
            </a:r>
            <a:endParaRPr lang="en-US" sz="1200" dirty="0">
              <a:solidFill>
                <a:srgbClr val="000000"/>
              </a:solidFill>
              <a:ea typeface="+mn-ea"/>
              <a:cs typeface="+mn-cs"/>
              <a:sym typeface="+mn-lt"/>
            </a:endParaRPr>
          </a:p>
        </p:txBody>
      </p:sp>
      <p:sp>
        <p:nvSpPr>
          <p:cNvPr id="37" name="Text Placeholder 18">
            <a:extLst>
              <a:ext uri="{FF2B5EF4-FFF2-40B4-BE49-F238E27FC236}">
                <a16:creationId xmlns:a16="http://schemas.microsoft.com/office/drawing/2014/main" id="{1B01A4E0-832E-48F1-A5A7-9AB2BA66CCEB}"/>
              </a:ext>
            </a:extLst>
          </p:cNvPr>
          <p:cNvSpPr>
            <a:spLocks noGrp="1"/>
          </p:cNvSpPr>
          <p:nvPr>
            <p:custDataLst>
              <p:tags r:id="rId35"/>
            </p:custDataLst>
          </p:nvPr>
        </p:nvSpPr>
        <p:spPr bwMode="gray">
          <a:xfrm>
            <a:off x="2881313" y="2546350"/>
            <a:ext cx="122238" cy="182563"/>
          </a:xfrm>
          <a:prstGeom prst="rect">
            <a:avLst/>
          </a:prstGeom>
          <a:solidFill>
            <a:srgbClr val="82EA84"/>
          </a:solid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9050" tIns="0" rIns="19050" bIns="0" numCol="1" anchor="ctr" anchorCtr="0" compatLnSpc="1">
            <a:prstTxWarp prst="textNoShape">
              <a:avLst/>
            </a:prstTxWarp>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Arial Unicode MS" pitchFamily="34" charset="-128"/>
                <a:cs typeface="Arial Unicode MS" pitchFamily="34" charset="-128"/>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ea typeface="Arial Unicode MS" pitchFamily="34" charset="-128"/>
                <a:cs typeface="Arial Unicode MS" pitchFamily="34" charset="-128"/>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ea typeface="Arial Unicode MS" pitchFamily="34" charset="-128"/>
                <a:cs typeface="Arial Unicode MS" pitchFamily="34" charset="-128"/>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ctr">
              <a:buClr>
                <a:srgbClr val="002960"/>
              </a:buClr>
            </a:pPr>
            <a:fld id="{89A8C20C-166A-4593-A4DE-B73A05AAECE4}" type="datetime'''''''''''''''''''''''''''''''''''''''''1'''''">
              <a:rPr lang="en-US" altLang="en-US" sz="1200">
                <a:solidFill>
                  <a:srgbClr val="000000"/>
                </a:solidFill>
                <a:ea typeface="+mn-ea"/>
                <a:cs typeface="+mn-cs"/>
                <a:sym typeface="+mn-lt"/>
              </a:rPr>
              <a:pPr algn="ctr">
                <a:buClr>
                  <a:srgbClr val="002960"/>
                </a:buClr>
              </a:pPr>
              <a:t>1</a:t>
            </a:fld>
            <a:endParaRPr lang="en-US" sz="1200" dirty="0">
              <a:solidFill>
                <a:srgbClr val="000000"/>
              </a:solidFill>
              <a:ea typeface="+mn-ea"/>
              <a:cs typeface="+mn-cs"/>
              <a:sym typeface="+mn-lt"/>
            </a:endParaRPr>
          </a:p>
        </p:txBody>
      </p:sp>
      <p:sp>
        <p:nvSpPr>
          <p:cNvPr id="33" name="Text Placeholder 7">
            <a:extLst>
              <a:ext uri="{FF2B5EF4-FFF2-40B4-BE49-F238E27FC236}">
                <a16:creationId xmlns:a16="http://schemas.microsoft.com/office/drawing/2014/main" id="{53A15B11-F684-447C-811C-F50521304463}"/>
              </a:ext>
            </a:extLst>
          </p:cNvPr>
          <p:cNvSpPr>
            <a:spLocks noGrp="1"/>
          </p:cNvSpPr>
          <p:nvPr>
            <p:custDataLst>
              <p:tags r:id="rId36"/>
            </p:custDataLst>
          </p:nvPr>
        </p:nvSpPr>
        <p:spPr bwMode="gray">
          <a:xfrm>
            <a:off x="3735388" y="2851150"/>
            <a:ext cx="206375" cy="1825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9050" tIns="0" rIns="19050" bIns="0" numCol="1" anchor="ctr" anchorCtr="0" compatLnSpc="1">
            <a:prstTxWarp prst="textNoShape">
              <a:avLst/>
            </a:prstTxWarp>
            <a:noAutofit/>
          </a:bodyPr>
          <a:lstStyle>
            <a:lvl1pPr algn="l" defTabSz="895350" rtl="0" fontAlgn="base">
              <a:spcBef>
                <a:spcPct val="0"/>
              </a:spcBef>
              <a:spcAft>
                <a:spcPct val="0"/>
              </a:spcAft>
              <a:buClr>
                <a:schemeClr val="tx2"/>
              </a:buClr>
              <a:defRPr sz="1600">
                <a:solidFill>
                  <a:schemeClr val="tx1"/>
                </a:solidFill>
                <a:latin typeface="+mn-lt"/>
                <a:ea typeface="+mn-ea"/>
                <a:cs typeface="+mn-cs"/>
              </a:defRPr>
            </a:lvl1pPr>
            <a:lvl2pPr marL="193675" indent="-192088" algn="l" defTabSz="895350" rtl="0" fontAlgn="base">
              <a:spcBef>
                <a:spcPct val="0"/>
              </a:spcBef>
              <a:spcAft>
                <a:spcPct val="0"/>
              </a:spcAft>
              <a:buClr>
                <a:schemeClr val="tx2"/>
              </a:buClr>
              <a:buSzPct val="125000"/>
              <a:buFont typeface="Arial" pitchFamily="34" charset="0"/>
              <a:buChar char="▪"/>
              <a:defRPr sz="1600">
                <a:solidFill>
                  <a:schemeClr val="tx1"/>
                </a:solidFill>
                <a:latin typeface="+mn-lt"/>
                <a:cs typeface="+mn-cs"/>
              </a:defRPr>
            </a:lvl2pPr>
            <a:lvl3pPr marL="457200" indent="-261938" algn="l" defTabSz="895350" rtl="0" fontAlgn="base">
              <a:spcBef>
                <a:spcPct val="0"/>
              </a:spcBef>
              <a:spcAft>
                <a:spcPct val="0"/>
              </a:spcAft>
              <a:buClr>
                <a:schemeClr val="tx2"/>
              </a:buClr>
              <a:buSzPct val="120000"/>
              <a:buFont typeface="Arial" pitchFamily="34" charset="0"/>
              <a:buChar char="–"/>
              <a:defRPr sz="1600">
                <a:solidFill>
                  <a:schemeClr val="tx1"/>
                </a:solidFill>
                <a:latin typeface="+mn-lt"/>
                <a:cs typeface="+mn-cs"/>
              </a:defRPr>
            </a:lvl3pPr>
            <a:lvl4pPr marL="614363" indent="-155575" algn="l" defTabSz="895350" rtl="0" fontAlgn="base">
              <a:spcBef>
                <a:spcPct val="0"/>
              </a:spcBef>
              <a:spcAft>
                <a:spcPct val="0"/>
              </a:spcAft>
              <a:buClr>
                <a:schemeClr val="tx2"/>
              </a:buClr>
              <a:buSzPct val="120000"/>
              <a:buFont typeface="Arial" pitchFamily="34" charset="0"/>
              <a:buChar char="▫"/>
              <a:defRPr sz="1600">
                <a:solidFill>
                  <a:schemeClr val="tx1"/>
                </a:solidFill>
                <a:latin typeface="+mn-lt"/>
                <a:cs typeface="+mn-cs"/>
              </a:defRPr>
            </a:lvl4pPr>
            <a:lvl5pPr marL="746125" indent="-130175" algn="l" defTabSz="895350" rtl="0" fontAlgn="base">
              <a:spcBef>
                <a:spcPct val="0"/>
              </a:spcBef>
              <a:spcAft>
                <a:spcPct val="0"/>
              </a:spcAft>
              <a:buClr>
                <a:schemeClr val="tx2"/>
              </a:buClr>
              <a:buSzPct val="89000"/>
              <a:buFont typeface="Arial" pitchFamily="34" charset="0"/>
              <a:buChar char="-"/>
              <a:defRPr sz="1600">
                <a:solidFill>
                  <a:schemeClr val="tx1"/>
                </a:solidFill>
                <a:latin typeface="+mn-lt"/>
                <a:cs typeface="+mn-cs"/>
              </a:defRPr>
            </a:lvl5pPr>
            <a:lvl6pPr marL="1203325" indent="-130175" algn="l" defTabSz="895350" rtl="0" fontAlgn="base">
              <a:spcBef>
                <a:spcPct val="0"/>
              </a:spcBef>
              <a:spcAft>
                <a:spcPct val="0"/>
              </a:spcAft>
              <a:buClr>
                <a:schemeClr val="tx2"/>
              </a:buClr>
              <a:buSzPct val="89000"/>
              <a:buFont typeface="Arial" pitchFamily="34" charset="0"/>
              <a:buChar char="-"/>
              <a:defRPr sz="1600">
                <a:solidFill>
                  <a:schemeClr val="tx1"/>
                </a:solidFill>
                <a:latin typeface="+mn-lt"/>
                <a:cs typeface="+mn-cs"/>
              </a:defRPr>
            </a:lvl6pPr>
            <a:lvl7pPr marL="1660525" indent="-130175" algn="l" defTabSz="895350" rtl="0" fontAlgn="base">
              <a:spcBef>
                <a:spcPct val="0"/>
              </a:spcBef>
              <a:spcAft>
                <a:spcPct val="0"/>
              </a:spcAft>
              <a:buClr>
                <a:schemeClr val="tx2"/>
              </a:buClr>
              <a:buSzPct val="89000"/>
              <a:buFont typeface="Arial" pitchFamily="34" charset="0"/>
              <a:buChar char="-"/>
              <a:defRPr sz="1600">
                <a:solidFill>
                  <a:schemeClr val="tx1"/>
                </a:solidFill>
                <a:latin typeface="+mn-lt"/>
                <a:cs typeface="+mn-cs"/>
              </a:defRPr>
            </a:lvl7pPr>
            <a:lvl8pPr marL="2117725" indent="-130175" algn="l" defTabSz="895350" rtl="0" fontAlgn="base">
              <a:spcBef>
                <a:spcPct val="0"/>
              </a:spcBef>
              <a:spcAft>
                <a:spcPct val="0"/>
              </a:spcAft>
              <a:buClr>
                <a:schemeClr val="tx2"/>
              </a:buClr>
              <a:buSzPct val="89000"/>
              <a:buFont typeface="Arial" pitchFamily="34" charset="0"/>
              <a:buChar char="-"/>
              <a:defRPr sz="1600">
                <a:solidFill>
                  <a:schemeClr val="tx1"/>
                </a:solidFill>
                <a:latin typeface="+mn-lt"/>
                <a:cs typeface="+mn-cs"/>
              </a:defRPr>
            </a:lvl8pPr>
            <a:lvl9pPr marL="2574925" indent="-130175" algn="l" defTabSz="895350" rtl="0" fontAlgn="base">
              <a:spcBef>
                <a:spcPct val="0"/>
              </a:spcBef>
              <a:spcAft>
                <a:spcPct val="0"/>
              </a:spcAft>
              <a:buClr>
                <a:schemeClr val="tx2"/>
              </a:buClr>
              <a:buSzPct val="89000"/>
              <a:buFont typeface="Arial" pitchFamily="34" charset="0"/>
              <a:buChar char="-"/>
              <a:defRPr sz="1600">
                <a:solidFill>
                  <a:schemeClr val="tx1"/>
                </a:solidFill>
                <a:latin typeface="+mn-lt"/>
                <a:cs typeface="+mn-cs"/>
              </a:defRPr>
            </a:lvl9pPr>
          </a:lstStyle>
          <a:p>
            <a:pPr algn="ctr">
              <a:buClr>
                <a:srgbClr val="002960"/>
              </a:buClr>
            </a:pPr>
            <a:fld id="{5F3553EB-C014-41FA-BB8C-ED633A9B9F83}" type="datetime'''''''''''''''''''''''''''''2''''''0'">
              <a:rPr lang="en-US" altLang="en-US" sz="1200" b="1">
                <a:solidFill>
                  <a:srgbClr val="FFFFFF"/>
                </a:solidFill>
                <a:sym typeface="+mn-lt"/>
              </a:rPr>
              <a:pPr algn="ctr">
                <a:buClr>
                  <a:srgbClr val="002960"/>
                </a:buClr>
              </a:pPr>
              <a:t>20</a:t>
            </a:fld>
            <a:endParaRPr lang="en-US" sz="1200" b="1" dirty="0">
              <a:solidFill>
                <a:srgbClr val="FFFFFF"/>
              </a:solidFill>
              <a:sym typeface="+mn-lt"/>
            </a:endParaRPr>
          </a:p>
        </p:txBody>
      </p:sp>
      <p:sp>
        <p:nvSpPr>
          <p:cNvPr id="32" name="Text Placeholder 19">
            <a:extLst>
              <a:ext uri="{FF2B5EF4-FFF2-40B4-BE49-F238E27FC236}">
                <a16:creationId xmlns:a16="http://schemas.microsoft.com/office/drawing/2014/main" id="{6BB0DE51-7DD2-494B-B97C-364BA68F66FC}"/>
              </a:ext>
            </a:extLst>
          </p:cNvPr>
          <p:cNvSpPr>
            <a:spLocks noGrp="1"/>
          </p:cNvSpPr>
          <p:nvPr>
            <p:custDataLst>
              <p:tags r:id="rId37"/>
            </p:custDataLst>
          </p:nvPr>
        </p:nvSpPr>
        <p:spPr bwMode="auto">
          <a:xfrm>
            <a:off x="4068763" y="2355850"/>
            <a:ext cx="1165225" cy="54768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Arial Unicode MS" pitchFamily="34" charset="-128"/>
                <a:cs typeface="Arial Unicode MS" pitchFamily="34" charset="-128"/>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ea typeface="Arial Unicode MS" pitchFamily="34" charset="-128"/>
                <a:cs typeface="Arial Unicode MS" pitchFamily="34" charset="-128"/>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ea typeface="Arial Unicode MS" pitchFamily="34" charset="-128"/>
                <a:cs typeface="Arial Unicode MS" pitchFamily="34" charset="-128"/>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buClr>
                <a:srgbClr val="002960"/>
              </a:buClr>
            </a:pPr>
            <a:r>
              <a:rPr lang="en-US" sz="1200" dirty="0">
                <a:solidFill>
                  <a:srgbClr val="000000"/>
                </a:solidFill>
                <a:ea typeface="+mn-ea"/>
                <a:cs typeface="+mn-cs"/>
                <a:sym typeface="+mn-lt"/>
              </a:rPr>
              <a:t>Pharmaceuticals </a:t>
            </a:r>
            <a:br>
              <a:rPr lang="en-US" sz="1200" dirty="0">
                <a:solidFill>
                  <a:srgbClr val="000000"/>
                </a:solidFill>
                <a:ea typeface="+mn-ea"/>
                <a:cs typeface="+mn-cs"/>
                <a:sym typeface="+mn-lt"/>
              </a:rPr>
            </a:br>
            <a:r>
              <a:rPr lang="en-US" sz="1200" dirty="0">
                <a:solidFill>
                  <a:srgbClr val="000000"/>
                </a:solidFill>
                <a:ea typeface="+mn-ea"/>
                <a:cs typeface="+mn-cs"/>
                <a:sym typeface="+mn-lt"/>
              </a:rPr>
              <a:t>and Medical </a:t>
            </a:r>
            <a:br>
              <a:rPr lang="en-US" sz="1200" dirty="0">
                <a:solidFill>
                  <a:srgbClr val="000000"/>
                </a:solidFill>
                <a:ea typeface="+mn-ea"/>
                <a:cs typeface="+mn-cs"/>
                <a:sym typeface="+mn-lt"/>
              </a:rPr>
            </a:br>
            <a:r>
              <a:rPr lang="en-US" sz="1200" dirty="0">
                <a:solidFill>
                  <a:srgbClr val="000000"/>
                </a:solidFill>
                <a:ea typeface="+mn-ea"/>
                <a:cs typeface="+mn-cs"/>
                <a:sym typeface="+mn-lt"/>
              </a:rPr>
              <a:t>Products</a:t>
            </a:r>
          </a:p>
        </p:txBody>
      </p:sp>
      <p:sp>
        <p:nvSpPr>
          <p:cNvPr id="51" name="Title Tracker Circle">
            <a:extLst>
              <a:ext uri="{FF2B5EF4-FFF2-40B4-BE49-F238E27FC236}">
                <a16:creationId xmlns:a16="http://schemas.microsoft.com/office/drawing/2014/main" id="{FA580FA8-C311-456C-90CB-481898146130}"/>
              </a:ext>
            </a:extLst>
          </p:cNvPr>
          <p:cNvSpPr/>
          <p:nvPr/>
        </p:nvSpPr>
        <p:spPr>
          <a:xfrm>
            <a:off x="119063" y="166736"/>
            <a:ext cx="418798" cy="418798"/>
          </a:xfrm>
          <a:prstGeom prst="ellipse">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p>
            <a:pPr algn="ctr"/>
            <a:r>
              <a:rPr lang="en-US" sz="2000" dirty="0">
                <a:solidFill>
                  <a:schemeClr val="tx2"/>
                </a:solidFill>
                <a:latin typeface="+mj-lt"/>
              </a:rPr>
              <a:t>1</a:t>
            </a:r>
          </a:p>
        </p:txBody>
      </p:sp>
      <p:sp>
        <p:nvSpPr>
          <p:cNvPr id="56" name="5. Source">
            <a:extLst>
              <a:ext uri="{FF2B5EF4-FFF2-40B4-BE49-F238E27FC236}">
                <a16:creationId xmlns:a16="http://schemas.microsoft.com/office/drawing/2014/main" id="{0BA421AD-C2FC-47D9-829B-BA00057E5618}"/>
              </a:ext>
            </a:extLst>
          </p:cNvPr>
          <p:cNvSpPr>
            <a:spLocks noChangeArrowheads="1"/>
          </p:cNvSpPr>
          <p:nvPr>
            <p:custDataLst>
              <p:tags r:id="rId38"/>
            </p:custDataLst>
          </p:nvPr>
        </p:nvSpPr>
        <p:spPr bwMode="gray">
          <a:xfrm>
            <a:off x="119063" y="6507558"/>
            <a:ext cx="7200000" cy="123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marL="609600" indent="-609600" defTabSz="895350">
              <a:tabLst>
                <a:tab pos="612775" algn="l"/>
              </a:tabLst>
            </a:pPr>
            <a:r>
              <a:rPr lang="en-US" altLang="zh-CN" sz="800" dirty="0">
                <a:solidFill>
                  <a:schemeClr val="accent6"/>
                </a:solidFill>
                <a:latin typeface="Arial" panose="020B0604020202020204" pitchFamily="34" charset="0"/>
              </a:rPr>
              <a:t>SOURCE: McKinsey Merger Management Practice</a:t>
            </a:r>
          </a:p>
        </p:txBody>
      </p:sp>
      <p:sp>
        <p:nvSpPr>
          <p:cNvPr id="58" name="Rectangle 68">
            <a:extLst>
              <a:ext uri="{FF2B5EF4-FFF2-40B4-BE49-F238E27FC236}">
                <a16:creationId xmlns:a16="http://schemas.microsoft.com/office/drawing/2014/main" id="{4628661A-2A36-455B-9CCD-4E2F89EAD33F}"/>
              </a:ext>
            </a:extLst>
          </p:cNvPr>
          <p:cNvSpPr txBox="1">
            <a:spLocks noChangeArrowheads="1"/>
          </p:cNvSpPr>
          <p:nvPr/>
        </p:nvSpPr>
        <p:spPr bwMode="gray">
          <a:xfrm>
            <a:off x="5522416" y="1731650"/>
            <a:ext cx="3923961" cy="18466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342900" indent="-342900" algn="l" defTabSz="895350" rtl="0" eaLnBrk="0" fontAlgn="base" hangingPunct="0">
              <a:spcBef>
                <a:spcPct val="0"/>
              </a:spcBef>
              <a:spcAft>
                <a:spcPct val="0"/>
              </a:spcAft>
              <a:buClr>
                <a:schemeClr val="tx2"/>
              </a:buClr>
              <a:defRPr lang="en-US" sz="1600" baseline="0" smtClean="0">
                <a:solidFill>
                  <a:schemeClr val="tx1"/>
                </a:solidFill>
                <a:latin typeface="+mn-lt"/>
                <a:ea typeface="+mn-ea"/>
                <a:cs typeface="+mn-cs"/>
              </a:defRPr>
            </a:lvl1pPr>
            <a:lvl2pPr marL="193675" indent="-192088" algn="l" defTabSz="895350" rtl="0" eaLnBrk="0" fontAlgn="base" hangingPunct="0">
              <a:spcBef>
                <a:spcPct val="0"/>
              </a:spcBef>
              <a:spcAft>
                <a:spcPct val="0"/>
              </a:spcAft>
              <a:buClr>
                <a:schemeClr val="tx2"/>
              </a:buClr>
              <a:buSzPct val="125000"/>
              <a:buFont typeface="Arial" charset="0"/>
              <a:buChar char="▪"/>
              <a:defRPr lang="en-US" sz="1600" baseline="0" smtClean="0">
                <a:solidFill>
                  <a:schemeClr val="tx1"/>
                </a:solidFill>
                <a:latin typeface="+mn-lt"/>
              </a:defRPr>
            </a:lvl2pPr>
            <a:lvl3pPr marL="457200" indent="-261938" algn="l" defTabSz="895350" rtl="0" eaLnBrk="0" fontAlgn="base" hangingPunct="0">
              <a:spcBef>
                <a:spcPct val="0"/>
              </a:spcBef>
              <a:spcAft>
                <a:spcPct val="0"/>
              </a:spcAft>
              <a:buClr>
                <a:schemeClr val="tx2"/>
              </a:buClr>
              <a:buSzPct val="120000"/>
              <a:buFont typeface="Arial" charset="0"/>
              <a:buChar char="–"/>
              <a:defRPr lang="en-US" sz="1600" baseline="0" smtClean="0">
                <a:solidFill>
                  <a:schemeClr val="tx1"/>
                </a:solidFill>
                <a:latin typeface="+mn-lt"/>
              </a:defRPr>
            </a:lvl3pPr>
            <a:lvl4pPr marL="614363" indent="-155575" algn="l" defTabSz="895350" rtl="0" eaLnBrk="0" fontAlgn="base" hangingPunct="0">
              <a:spcBef>
                <a:spcPct val="0"/>
              </a:spcBef>
              <a:spcAft>
                <a:spcPct val="0"/>
              </a:spcAft>
              <a:buClr>
                <a:schemeClr val="tx2"/>
              </a:buClr>
              <a:buSzPct val="120000"/>
              <a:buFont typeface="Arial" charset="0"/>
              <a:buChar char="▫"/>
              <a:defRPr lang="en-US" sz="1600" baseline="0" smtClean="0">
                <a:solidFill>
                  <a:schemeClr val="tx1"/>
                </a:solidFill>
                <a:latin typeface="+mn-lt"/>
              </a:defRPr>
            </a:lvl4pPr>
            <a:lvl5pPr marL="746125" indent="-130175" algn="l" defTabSz="895350" rtl="0" eaLnBrk="0" fontAlgn="base" hangingPunct="0">
              <a:spcBef>
                <a:spcPct val="0"/>
              </a:spcBef>
              <a:spcAft>
                <a:spcPct val="0"/>
              </a:spcAft>
              <a:buClr>
                <a:schemeClr val="tx2"/>
              </a:buClr>
              <a:buSzPct val="89000"/>
              <a:buFont typeface="Arial" charset="0"/>
              <a:buChar char="-"/>
              <a:defRPr lang="en-US" sz="1600" baseline="0" smtClean="0">
                <a:solidFill>
                  <a:schemeClr val="tx1"/>
                </a:solidFill>
                <a:latin typeface="+mn-lt"/>
              </a:defRPr>
            </a:lvl5pPr>
            <a:lvl6pPr marL="12033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6pPr>
            <a:lvl7pPr marL="16605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7pPr>
            <a:lvl8pPr marL="21177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8pPr>
            <a:lvl9pPr marL="25749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indent="0" eaLnBrk="1" hangingPunct="1"/>
            <a:r>
              <a:rPr lang="en-US" sz="1200" b="0" dirty="0">
                <a:solidFill>
                  <a:schemeClr val="accent6"/>
                </a:solidFill>
              </a:rPr>
              <a:t>Top 50 mergers in last 5 years (by deal value)</a:t>
            </a:r>
          </a:p>
        </p:txBody>
      </p:sp>
      <p:graphicFrame>
        <p:nvGraphicFramePr>
          <p:cNvPr id="59" name="Object 58">
            <a:extLst>
              <a:ext uri="{FF2B5EF4-FFF2-40B4-BE49-F238E27FC236}">
                <a16:creationId xmlns:a16="http://schemas.microsoft.com/office/drawing/2014/main" id="{45A4B1F0-F978-49FE-A1F0-87D70A651EC1}"/>
              </a:ext>
            </a:extLst>
          </p:cNvPr>
          <p:cNvGraphicFramePr>
            <a:graphicFrameLocks/>
          </p:cNvGraphicFramePr>
          <p:nvPr>
            <p:custDataLst>
              <p:tags r:id="rId39"/>
            </p:custDataLst>
            <p:extLst/>
          </p:nvPr>
        </p:nvGraphicFramePr>
        <p:xfrm>
          <a:off x="6477000" y="2095500"/>
          <a:ext cx="1471720" cy="1471711"/>
        </p:xfrm>
        <a:graphic>
          <a:graphicData uri="http://schemas.openxmlformats.org/presentationml/2006/ole">
            <mc:AlternateContent xmlns:mc="http://schemas.openxmlformats.org/markup-compatibility/2006">
              <mc:Choice xmlns:v="urn:schemas-microsoft-com:vml" Requires="v">
                <p:oleObj spid="_x0000_s275536" name="Chart" r:id="rId55" imgW="1471692" imgH="1471711" progId="MSGraph.Chart.8">
                  <p:embed followColorScheme="full"/>
                </p:oleObj>
              </mc:Choice>
              <mc:Fallback>
                <p:oleObj name="Chart" r:id="rId55" imgW="1471692" imgH="1471711" progId="MSGraph.Chart.8">
                  <p:embed followColorScheme="full"/>
                  <p:pic>
                    <p:nvPicPr>
                      <p:cNvPr id="59" name="Object 58">
                        <a:extLst>
                          <a:ext uri="{FF2B5EF4-FFF2-40B4-BE49-F238E27FC236}">
                            <a16:creationId xmlns:a16="http://schemas.microsoft.com/office/drawing/2014/main" id="{45A4B1F0-F978-49FE-A1F0-87D70A651EC1}"/>
                          </a:ext>
                        </a:extLst>
                      </p:cNvPr>
                      <p:cNvPicPr/>
                      <p:nvPr/>
                    </p:nvPicPr>
                    <p:blipFill>
                      <a:blip r:embed="rId56"/>
                      <a:stretch>
                        <a:fillRect/>
                      </a:stretch>
                    </p:blipFill>
                    <p:spPr>
                      <a:xfrm>
                        <a:off x="6477000" y="2095500"/>
                        <a:ext cx="1471720" cy="1471711"/>
                      </a:xfrm>
                      <a:prstGeom prst="rect">
                        <a:avLst/>
                      </a:prstGeom>
                    </p:spPr>
                  </p:pic>
                </p:oleObj>
              </mc:Fallback>
            </mc:AlternateContent>
          </a:graphicData>
        </a:graphic>
      </p:graphicFrame>
      <p:sp>
        <p:nvSpPr>
          <p:cNvPr id="60" name="Rectangle 59">
            <a:extLst>
              <a:ext uri="{FF2B5EF4-FFF2-40B4-BE49-F238E27FC236}">
                <a16:creationId xmlns:a16="http://schemas.microsoft.com/office/drawing/2014/main" id="{45085006-CBCF-4EEA-9A21-536678E2D824}"/>
              </a:ext>
            </a:extLst>
          </p:cNvPr>
          <p:cNvSpPr>
            <a:spLocks noGrp="1" noChangeArrowheads="1"/>
          </p:cNvSpPr>
          <p:nvPr>
            <p:custDataLst>
              <p:tags r:id="rId40"/>
            </p:custDataLst>
          </p:nvPr>
        </p:nvSpPr>
        <p:spPr bwMode="auto">
          <a:xfrm>
            <a:off x="6488113" y="2000250"/>
            <a:ext cx="717550" cy="182563"/>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anchor="ctr" anchorCtr="0" compatLnSpc="1">
            <a:prstTxWarp prst="textNoShape">
              <a:avLst/>
            </a:prstTxWarp>
            <a:noAutofit/>
          </a:bodyPr>
          <a:lstStyle>
            <a:lvl1pPr marL="342900" indent="-342900" algn="l" defTabSz="895350" rtl="0" eaLnBrk="0" fontAlgn="base" hangingPunct="0">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033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6pPr>
            <a:lvl7pPr marL="16605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7pPr>
            <a:lvl8pPr marL="21177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8pPr>
            <a:lvl9pPr marL="25749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indent="0"/>
            <a:fld id="{006FE821-B7D4-4EA2-B3DC-DF67D873B538}" type="datetime'''''''''''''N''o''''''''''t ''''''''''''''kn''''''''o''''wn'''">
              <a:rPr lang="en-US" altLang="en-US" sz="1200">
                <a:cs typeface="Arial" panose="020B0604020202020204" pitchFamily="34" charset="0"/>
              </a:rPr>
              <a:pPr/>
              <a:t>Not known</a:t>
            </a:fld>
            <a:endParaRPr lang="en-US" sz="1200" b="0" dirty="0">
              <a:latin typeface="Arial"/>
              <a:cs typeface="Arial" panose="020B0604020202020204" pitchFamily="34" charset="0"/>
              <a:sym typeface="Arial"/>
            </a:endParaRPr>
          </a:p>
        </p:txBody>
      </p:sp>
      <p:sp>
        <p:nvSpPr>
          <p:cNvPr id="61" name="Rectangle 60">
            <a:extLst>
              <a:ext uri="{FF2B5EF4-FFF2-40B4-BE49-F238E27FC236}">
                <a16:creationId xmlns:a16="http://schemas.microsoft.com/office/drawing/2014/main" id="{2657BB99-0E67-4ED7-865D-1FA577A6F910}"/>
              </a:ext>
            </a:extLst>
          </p:cNvPr>
          <p:cNvSpPr>
            <a:spLocks noGrp="1" noChangeArrowheads="1"/>
          </p:cNvSpPr>
          <p:nvPr>
            <p:custDataLst>
              <p:tags r:id="rId41"/>
            </p:custDataLst>
          </p:nvPr>
        </p:nvSpPr>
        <p:spPr bwMode="auto">
          <a:xfrm>
            <a:off x="7680325" y="2011363"/>
            <a:ext cx="746125" cy="365125"/>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anchor="ctr" anchorCtr="0" compatLnSpc="1">
            <a:prstTxWarp prst="textNoShape">
              <a:avLst/>
            </a:prstTxWarp>
            <a:noAutofit/>
          </a:bodyPr>
          <a:lstStyle>
            <a:lvl1pPr marL="342900" indent="-342900" algn="l" defTabSz="895350" rtl="0" eaLnBrk="0" fontAlgn="base" hangingPunct="0">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033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6pPr>
            <a:lvl7pPr marL="16605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7pPr>
            <a:lvl8pPr marL="21177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8pPr>
            <a:lvl9pPr marL="25749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indent="0"/>
            <a:r>
              <a:rPr lang="en-US" sz="1200" b="1" dirty="0">
                <a:solidFill>
                  <a:schemeClr val="accent3"/>
                </a:solidFill>
                <a:latin typeface="Arial"/>
                <a:cs typeface="Arial"/>
                <a:sym typeface="Arial"/>
              </a:rPr>
              <a:t>McKinsey</a:t>
            </a:r>
          </a:p>
          <a:p>
            <a:pPr marL="0" indent="0"/>
            <a:r>
              <a:rPr lang="en-US" sz="1200" b="1" dirty="0">
                <a:solidFill>
                  <a:schemeClr val="accent3"/>
                </a:solidFill>
                <a:latin typeface="Arial"/>
                <a:cs typeface="Arial"/>
                <a:sym typeface="Arial"/>
              </a:rPr>
              <a:t>supported</a:t>
            </a:r>
          </a:p>
        </p:txBody>
      </p:sp>
      <p:sp>
        <p:nvSpPr>
          <p:cNvPr id="62" name="Rectangle 61">
            <a:extLst>
              <a:ext uri="{FF2B5EF4-FFF2-40B4-BE49-F238E27FC236}">
                <a16:creationId xmlns:a16="http://schemas.microsoft.com/office/drawing/2014/main" id="{01B659EB-982C-4ED8-99F5-D4A0EE5AE5DB}"/>
              </a:ext>
            </a:extLst>
          </p:cNvPr>
          <p:cNvSpPr>
            <a:spLocks noGrp="1" noChangeArrowheads="1"/>
          </p:cNvSpPr>
          <p:nvPr>
            <p:custDataLst>
              <p:tags r:id="rId42"/>
            </p:custDataLst>
          </p:nvPr>
        </p:nvSpPr>
        <p:spPr bwMode="gray">
          <a:xfrm>
            <a:off x="6951663" y="3208338"/>
            <a:ext cx="206375" cy="182563"/>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19050" tIns="0" rIns="19050" bIns="0" numCol="1" anchor="ctr" anchorCtr="0" compatLnSpc="1">
            <a:prstTxWarp prst="textNoShape">
              <a:avLst/>
            </a:prstTxWarp>
            <a:noAutofit/>
          </a:bodyPr>
          <a:lstStyle>
            <a:lvl1pPr marL="342900" indent="-342900" algn="l" defTabSz="895350" rtl="0" eaLnBrk="0" fontAlgn="base" hangingPunct="0">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033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6pPr>
            <a:lvl7pPr marL="16605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7pPr>
            <a:lvl8pPr marL="21177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8pPr>
            <a:lvl9pPr marL="25749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indent="0" algn="ctr"/>
            <a:fld id="{FA3D3B8C-F144-4791-955E-EED87F8D993F}" type="datetime'''''2''''''''''''''''''''''''''''''''4'''''''''''''''''''''''">
              <a:rPr lang="en-US" altLang="en-US" sz="1200">
                <a:cs typeface="Arial" panose="020B0604020202020204" pitchFamily="34" charset="0"/>
              </a:rPr>
              <a:pPr/>
              <a:t>24</a:t>
            </a:fld>
            <a:endParaRPr lang="en-US" sz="1200" b="0" dirty="0">
              <a:latin typeface="Arial"/>
              <a:cs typeface="Arial" panose="020B0604020202020204" pitchFamily="34" charset="0"/>
              <a:sym typeface="Arial"/>
            </a:endParaRPr>
          </a:p>
        </p:txBody>
      </p:sp>
      <p:sp>
        <p:nvSpPr>
          <p:cNvPr id="63" name="Text Placeholder 5">
            <a:extLst>
              <a:ext uri="{FF2B5EF4-FFF2-40B4-BE49-F238E27FC236}">
                <a16:creationId xmlns:a16="http://schemas.microsoft.com/office/drawing/2014/main" id="{570165E3-3700-46FC-958C-DA0C28FFB307}"/>
              </a:ext>
            </a:extLst>
          </p:cNvPr>
          <p:cNvSpPr>
            <a:spLocks noGrp="1"/>
          </p:cNvSpPr>
          <p:nvPr>
            <p:custDataLst>
              <p:tags r:id="rId43"/>
            </p:custDataLst>
          </p:nvPr>
        </p:nvSpPr>
        <p:spPr bwMode="gray">
          <a:xfrm>
            <a:off x="6938963" y="2305050"/>
            <a:ext cx="206375" cy="18256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9050" tIns="0" rIns="19050" bIns="0" numCol="1" anchor="ctr" anchorCtr="0" compatLnSpc="1">
            <a:prstTxWarp prst="textNoShape">
              <a:avLst/>
            </a:prstTxWarp>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ctr"/>
            <a:fld id="{C354C2AD-2F13-4D96-BE0A-03C5DAC2F9F2}" type="datetime'''1''''''''''''''''''''''''''''2'''''''''''''''">
              <a:rPr lang="en-US" altLang="en-US" sz="1200">
                <a:cs typeface="Arial" panose="020B0604020202020204" pitchFamily="34" charset="0"/>
              </a:rPr>
              <a:pPr/>
              <a:t>12</a:t>
            </a:fld>
            <a:endParaRPr lang="en-US" sz="1200" b="0" dirty="0">
              <a:latin typeface="Arial"/>
              <a:cs typeface="Arial" panose="020B0604020202020204" pitchFamily="34" charset="0"/>
              <a:sym typeface="Arial"/>
            </a:endParaRPr>
          </a:p>
        </p:txBody>
      </p:sp>
      <p:sp>
        <p:nvSpPr>
          <p:cNvPr id="64" name="Rectangle 63">
            <a:extLst>
              <a:ext uri="{FF2B5EF4-FFF2-40B4-BE49-F238E27FC236}">
                <a16:creationId xmlns:a16="http://schemas.microsoft.com/office/drawing/2014/main" id="{D0AD6660-5276-499E-AFDA-7F87B973C24E}"/>
              </a:ext>
            </a:extLst>
          </p:cNvPr>
          <p:cNvSpPr>
            <a:spLocks noGrp="1" noChangeArrowheads="1"/>
          </p:cNvSpPr>
          <p:nvPr>
            <p:custDataLst>
              <p:tags r:id="rId44"/>
            </p:custDataLst>
          </p:nvPr>
        </p:nvSpPr>
        <p:spPr bwMode="auto">
          <a:xfrm>
            <a:off x="5713413" y="2182813"/>
            <a:ext cx="919163" cy="365125"/>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anchor="ctr" anchorCtr="0" compatLnSpc="1">
            <a:prstTxWarp prst="textNoShape">
              <a:avLst/>
            </a:prstTxWarp>
            <a:noAutofit/>
          </a:bodyPr>
          <a:lstStyle>
            <a:lvl1pPr marL="342900" indent="-342900" algn="l" defTabSz="895350" rtl="0" eaLnBrk="0" fontAlgn="base" hangingPunct="0">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033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6pPr>
            <a:lvl7pPr marL="16605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7pPr>
            <a:lvl8pPr marL="21177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8pPr>
            <a:lvl9pPr marL="25749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indent="0"/>
            <a:r>
              <a:rPr lang="en-US" sz="1200" b="0" dirty="0">
                <a:latin typeface="Arial"/>
                <a:cs typeface="Arial"/>
                <a:sym typeface="Arial"/>
              </a:rPr>
              <a:t>All other</a:t>
            </a:r>
          </a:p>
          <a:p>
            <a:pPr marL="0" indent="0"/>
            <a:r>
              <a:rPr lang="en-US" sz="1200" b="0" dirty="0">
                <a:latin typeface="Arial"/>
                <a:cs typeface="Arial"/>
                <a:sym typeface="Arial"/>
              </a:rPr>
              <a:t>consultancies</a:t>
            </a:r>
          </a:p>
        </p:txBody>
      </p:sp>
      <p:sp>
        <p:nvSpPr>
          <p:cNvPr id="65" name="Text Placeholder 4">
            <a:extLst>
              <a:ext uri="{FF2B5EF4-FFF2-40B4-BE49-F238E27FC236}">
                <a16:creationId xmlns:a16="http://schemas.microsoft.com/office/drawing/2014/main" id="{70F5A53F-BE30-4151-8017-4E2EF0EB64A2}"/>
              </a:ext>
            </a:extLst>
          </p:cNvPr>
          <p:cNvSpPr>
            <a:spLocks noGrp="1"/>
          </p:cNvSpPr>
          <p:nvPr>
            <p:custDataLst>
              <p:tags r:id="rId45"/>
            </p:custDataLst>
          </p:nvPr>
        </p:nvSpPr>
        <p:spPr bwMode="gray">
          <a:xfrm>
            <a:off x="6630988" y="2663825"/>
            <a:ext cx="206375" cy="18256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9050" tIns="0" rIns="19050" bIns="0" numCol="1" anchor="ctr" anchorCtr="0" compatLnSpc="1">
            <a:prstTxWarp prst="textNoShape">
              <a:avLst/>
            </a:prstTxWarp>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ctr"/>
            <a:fld id="{AC65D4A4-B009-4CB6-A2CC-ED6CCB2CCB93}" type="datetime'''''''''''''''''''''''''''''''1''9'''''''''''''''''''''">
              <a:rPr lang="en-US" altLang="en-US" sz="1200">
                <a:cs typeface="Arial" panose="020B0604020202020204" pitchFamily="34" charset="0"/>
              </a:rPr>
              <a:pPr/>
              <a:t>19</a:t>
            </a:fld>
            <a:endParaRPr lang="en-US" sz="1200" b="0">
              <a:latin typeface="Arial"/>
              <a:cs typeface="Arial" panose="020B0604020202020204" pitchFamily="34" charset="0"/>
              <a:sym typeface="Arial"/>
            </a:endParaRPr>
          </a:p>
        </p:txBody>
      </p:sp>
      <p:sp>
        <p:nvSpPr>
          <p:cNvPr id="66" name="Rectangle 65">
            <a:extLst>
              <a:ext uri="{FF2B5EF4-FFF2-40B4-BE49-F238E27FC236}">
                <a16:creationId xmlns:a16="http://schemas.microsoft.com/office/drawing/2014/main" id="{D7BF575C-12E0-4502-ACB2-7ED808D22548}"/>
              </a:ext>
            </a:extLst>
          </p:cNvPr>
          <p:cNvSpPr>
            <a:spLocks noGrp="1" noChangeArrowheads="1"/>
          </p:cNvSpPr>
          <p:nvPr>
            <p:custDataLst>
              <p:tags r:id="rId46"/>
            </p:custDataLst>
          </p:nvPr>
        </p:nvSpPr>
        <p:spPr bwMode="auto">
          <a:xfrm>
            <a:off x="7019925" y="3492500"/>
            <a:ext cx="506413" cy="182563"/>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anchor="ctr" anchorCtr="0" compatLnSpc="1">
            <a:prstTxWarp prst="textNoShape">
              <a:avLst/>
            </a:prstTxWarp>
            <a:noAutofit/>
          </a:bodyPr>
          <a:lstStyle>
            <a:lvl1pPr marL="342900" indent="-342900" algn="l" defTabSz="895350" rtl="0" eaLnBrk="0" fontAlgn="base" hangingPunct="0">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033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6pPr>
            <a:lvl7pPr marL="16605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7pPr>
            <a:lvl8pPr marL="21177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8pPr>
            <a:lvl9pPr marL="25749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indent="0"/>
            <a:fld id="{7053B97C-D5C3-4E1C-A395-116C2A1AD664}" type="datetime'I''''n''''t''''''''''''''e''r''''''n''''''a''''''l'''''''''">
              <a:rPr lang="en-US" altLang="en-US" sz="1200">
                <a:cs typeface="Arial" panose="020B0604020202020204" pitchFamily="34" charset="0"/>
              </a:rPr>
              <a:pPr/>
              <a:t>Internal</a:t>
            </a:fld>
            <a:endParaRPr lang="en-US" sz="1200" b="0" dirty="0">
              <a:latin typeface="Arial"/>
              <a:cs typeface="Arial" panose="020B0604020202020204" pitchFamily="34" charset="0"/>
              <a:sym typeface="Arial"/>
            </a:endParaRPr>
          </a:p>
        </p:txBody>
      </p:sp>
      <p:sp>
        <p:nvSpPr>
          <p:cNvPr id="67" name="Text Placeholder 3">
            <a:extLst>
              <a:ext uri="{FF2B5EF4-FFF2-40B4-BE49-F238E27FC236}">
                <a16:creationId xmlns:a16="http://schemas.microsoft.com/office/drawing/2014/main" id="{F0691182-6BC2-4841-AB7A-1D7B375F5795}"/>
              </a:ext>
            </a:extLst>
          </p:cNvPr>
          <p:cNvSpPr>
            <a:spLocks noGrp="1"/>
          </p:cNvSpPr>
          <p:nvPr>
            <p:custDataLst>
              <p:tags r:id="rId47"/>
            </p:custDataLst>
          </p:nvPr>
        </p:nvSpPr>
        <p:spPr bwMode="gray">
          <a:xfrm>
            <a:off x="7605713" y="2649538"/>
            <a:ext cx="206375" cy="18256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9050" tIns="0" rIns="19050" bIns="0" numCol="1" anchor="ctr" anchorCtr="0" compatLnSpc="1">
            <a:prstTxWarp prst="textNoShape">
              <a:avLst/>
            </a:prstTxWarp>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ctr"/>
            <a:fld id="{B993B74E-47AE-4A05-BE9F-894881AB78B4}" type="datetime'''''''''''''''''''''''''4''''''''''''2'''''''">
              <a:rPr lang="en-US" altLang="en-US" sz="1200" b="1">
                <a:solidFill>
                  <a:schemeClr val="bg1"/>
                </a:solidFill>
                <a:ea typeface="ＭＳ Ｐゴシック" panose="020B0600070205080204" pitchFamily="34" charset="-128"/>
                <a:cs typeface="Arial" panose="020B0604020202020204" pitchFamily="34" charset="0"/>
              </a:rPr>
              <a:pPr/>
              <a:t>42</a:t>
            </a:fld>
            <a:endParaRPr lang="en-US" sz="1200" b="1">
              <a:solidFill>
                <a:schemeClr val="bg1"/>
              </a:solidFill>
              <a:latin typeface="Arial"/>
              <a:ea typeface="ＭＳ Ｐゴシック" panose="020B0600070205080204" pitchFamily="34" charset="-128"/>
              <a:cs typeface="Arial" panose="020B0604020202020204" pitchFamily="34" charset="0"/>
              <a:sym typeface="Arial"/>
            </a:endParaRPr>
          </a:p>
        </p:txBody>
      </p:sp>
    </p:spTree>
    <p:extLst>
      <p:ext uri="{BB962C8B-B14F-4D97-AF65-F5344CB8AC3E}">
        <p14:creationId xmlns:p14="http://schemas.microsoft.com/office/powerpoint/2010/main" val="283114254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5" name="Object 224"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76500" name="think-cell Slide" r:id="rId11" imgW="493" imgH="493" progId="TCLayout.ActiveDocument.1">
                  <p:embed/>
                </p:oleObj>
              </mc:Choice>
              <mc:Fallback>
                <p:oleObj name="think-cell Slide" r:id="rId11" imgW="493" imgH="493" progId="TCLayout.ActiveDocument.1">
                  <p:embed/>
                  <p:pic>
                    <p:nvPicPr>
                      <p:cNvPr id="225" name="Object 224" hidden="1"/>
                      <p:cNvPicPr/>
                      <p:nvPr/>
                    </p:nvPicPr>
                    <p:blipFill>
                      <a:blip r:embed="rId12"/>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marL="465138"/>
            <a:r>
              <a:rPr lang="en-US" dirty="0"/>
              <a:t>Example integrations in the material sector</a:t>
            </a:r>
            <a:endParaRPr lang="en-GB" dirty="0"/>
          </a:p>
        </p:txBody>
      </p:sp>
      <p:sp>
        <p:nvSpPr>
          <p:cNvPr id="56" name="Rectangle 55"/>
          <p:cNvSpPr>
            <a:spLocks/>
          </p:cNvSpPr>
          <p:nvPr/>
        </p:nvSpPr>
        <p:spPr>
          <a:xfrm>
            <a:off x="171451" y="699792"/>
            <a:ext cx="8618537" cy="5746104"/>
          </a:xfrm>
          <a:prstGeom prst="rect">
            <a:avLst/>
          </a:prstGeom>
          <a:solidFill>
            <a:schemeClr val="bg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err="1">
              <a:solidFill>
                <a:schemeClr val="tx1"/>
              </a:solidFill>
            </a:endParaRPr>
          </a:p>
        </p:txBody>
      </p:sp>
      <p:cxnSp>
        <p:nvCxnSpPr>
          <p:cNvPr id="80" name="Straight Connector 79"/>
          <p:cNvCxnSpPr>
            <a:cxnSpLocks/>
          </p:cNvCxnSpPr>
          <p:nvPr/>
        </p:nvCxnSpPr>
        <p:spPr>
          <a:xfrm flipH="1" flipV="1">
            <a:off x="248405" y="1790510"/>
            <a:ext cx="8464630" cy="0"/>
          </a:xfrm>
          <a:prstGeom prst="line">
            <a:avLst/>
          </a:prstGeom>
          <a:ln w="12700">
            <a:solidFill>
              <a:schemeClr val="accent6"/>
            </a:solidFill>
            <a:prstDash val="sysDot"/>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a:cxnSpLocks/>
          </p:cNvCxnSpPr>
          <p:nvPr/>
        </p:nvCxnSpPr>
        <p:spPr>
          <a:xfrm flipH="1" flipV="1">
            <a:off x="248405" y="2625531"/>
            <a:ext cx="8464630" cy="0"/>
          </a:xfrm>
          <a:prstGeom prst="line">
            <a:avLst/>
          </a:prstGeom>
          <a:ln w="12700">
            <a:solidFill>
              <a:schemeClr val="accent6"/>
            </a:solidFill>
            <a:prstDash val="sysDot"/>
          </a:ln>
        </p:spPr>
        <p:style>
          <a:lnRef idx="1">
            <a:schemeClr val="accent1"/>
          </a:lnRef>
          <a:fillRef idx="0">
            <a:schemeClr val="accent1"/>
          </a:fillRef>
          <a:effectRef idx="0">
            <a:schemeClr val="accent1"/>
          </a:effectRef>
          <a:fontRef idx="minor">
            <a:schemeClr val="tx1"/>
          </a:fontRef>
        </p:style>
      </p:cxnSp>
      <p:cxnSp>
        <p:nvCxnSpPr>
          <p:cNvPr id="165" name="Straight Connector 164"/>
          <p:cNvCxnSpPr>
            <a:cxnSpLocks/>
          </p:cNvCxnSpPr>
          <p:nvPr/>
        </p:nvCxnSpPr>
        <p:spPr>
          <a:xfrm flipH="1" flipV="1">
            <a:off x="248405" y="3499024"/>
            <a:ext cx="8464630" cy="0"/>
          </a:xfrm>
          <a:prstGeom prst="line">
            <a:avLst/>
          </a:prstGeom>
          <a:ln w="12700">
            <a:solidFill>
              <a:schemeClr val="accent6"/>
            </a:solidFill>
            <a:prstDash val="sysDot"/>
          </a:ln>
        </p:spPr>
        <p:style>
          <a:lnRef idx="1">
            <a:schemeClr val="accent1"/>
          </a:lnRef>
          <a:fillRef idx="0">
            <a:schemeClr val="accent1"/>
          </a:fillRef>
          <a:effectRef idx="0">
            <a:schemeClr val="accent1"/>
          </a:effectRef>
          <a:fontRef idx="minor">
            <a:schemeClr val="tx1"/>
          </a:fontRef>
        </p:style>
      </p:cxnSp>
      <p:cxnSp>
        <p:nvCxnSpPr>
          <p:cNvPr id="65" name="Straight Connector 64"/>
          <p:cNvCxnSpPr>
            <a:cxnSpLocks/>
          </p:cNvCxnSpPr>
          <p:nvPr/>
        </p:nvCxnSpPr>
        <p:spPr>
          <a:xfrm flipH="1" flipV="1">
            <a:off x="248405" y="4372517"/>
            <a:ext cx="8464630" cy="0"/>
          </a:xfrm>
          <a:prstGeom prst="line">
            <a:avLst/>
          </a:prstGeom>
          <a:ln w="12700">
            <a:solidFill>
              <a:schemeClr val="accent6"/>
            </a:solidFill>
            <a:prstDash val="sysDot"/>
          </a:ln>
        </p:spPr>
        <p:style>
          <a:lnRef idx="1">
            <a:schemeClr val="accent1"/>
          </a:lnRef>
          <a:fillRef idx="0">
            <a:schemeClr val="accent1"/>
          </a:fillRef>
          <a:effectRef idx="0">
            <a:schemeClr val="accent1"/>
          </a:effectRef>
          <a:fontRef idx="minor">
            <a:schemeClr val="tx1"/>
          </a:fontRef>
        </p:style>
      </p:cxnSp>
      <p:cxnSp>
        <p:nvCxnSpPr>
          <p:cNvPr id="59" name="Straight Connector 58"/>
          <p:cNvCxnSpPr>
            <a:cxnSpLocks/>
          </p:cNvCxnSpPr>
          <p:nvPr/>
        </p:nvCxnSpPr>
        <p:spPr>
          <a:xfrm flipH="1" flipV="1">
            <a:off x="248405" y="5453759"/>
            <a:ext cx="8464630" cy="0"/>
          </a:xfrm>
          <a:prstGeom prst="line">
            <a:avLst/>
          </a:prstGeom>
          <a:ln w="12700">
            <a:solidFill>
              <a:schemeClr val="accent6"/>
            </a:solidFill>
            <a:prstDash val="sysDot"/>
          </a:ln>
        </p:spPr>
        <p:style>
          <a:lnRef idx="1">
            <a:schemeClr val="accent1"/>
          </a:lnRef>
          <a:fillRef idx="0">
            <a:schemeClr val="accent1"/>
          </a:fillRef>
          <a:effectRef idx="0">
            <a:schemeClr val="accent1"/>
          </a:effectRef>
          <a:fontRef idx="minor">
            <a:schemeClr val="tx1"/>
          </a:fontRef>
        </p:style>
      </p:cxnSp>
      <p:sp>
        <p:nvSpPr>
          <p:cNvPr id="48" name="Rectangle 9"/>
          <p:cNvSpPr>
            <a:spLocks noChangeArrowheads="1"/>
          </p:cNvSpPr>
          <p:nvPr/>
        </p:nvSpPr>
        <p:spPr bwMode="auto">
          <a:xfrm>
            <a:off x="248405" y="779408"/>
            <a:ext cx="3079944" cy="1877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18288" numCol="1" anchor="b" anchorCtr="0" compatLnSpc="1">
            <a:prstTxWarp prst="textNoShape">
              <a:avLst/>
            </a:prstTxWarp>
            <a:spAutoFit/>
          </a:bodyPr>
          <a:lstStyle>
            <a:lvl1pPr eaLnBrk="0" hangingPunct="0">
              <a:defRPr>
                <a:solidFill>
                  <a:schemeClr val="tx1"/>
                </a:solidFill>
                <a:latin typeface="Arial" panose="020B0604020202020204" pitchFamily="34" charset="0"/>
              </a:defRPr>
            </a:lvl1pPr>
            <a:lvl2pPr eaLnBrk="0" hangingPunct="0">
              <a:defRPr>
                <a:solidFill>
                  <a:schemeClr val="tx1"/>
                </a:solidFill>
                <a:latin typeface="Arial" panose="020B0604020202020204" pitchFamily="34" charset="0"/>
              </a:defRPr>
            </a:lvl2pPr>
            <a:lvl3pPr eaLnBrk="0" hangingPunct="0">
              <a:defRPr>
                <a:solidFill>
                  <a:schemeClr val="tx1"/>
                </a:solidFill>
                <a:latin typeface="Arial" panose="020B0604020202020204" pitchFamily="34" charset="0"/>
              </a:defRPr>
            </a:lvl3pPr>
            <a:lvl4pPr eaLnBrk="0" hangingPunct="0">
              <a:defRPr>
                <a:solidFill>
                  <a:schemeClr val="tx1"/>
                </a:solidFill>
                <a:latin typeface="Arial" panose="020B0604020202020204" pitchFamily="34" charset="0"/>
              </a:defRPr>
            </a:lvl4pPr>
            <a:lvl5pPr eaLnBrk="0" hangingPunct="0">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100" b="1" i="0" u="none" strike="noStrike" cap="none" normalizeH="0" baseline="0" dirty="0">
                <a:ln>
                  <a:noFill/>
                </a:ln>
                <a:solidFill>
                  <a:schemeClr val="accent3"/>
                </a:solidFill>
                <a:effectLst/>
                <a:latin typeface="+mn-lt"/>
                <a:cs typeface="Times New Roman" panose="02020603050405020304" pitchFamily="18" charset="0"/>
              </a:rPr>
              <a:t>Description</a:t>
            </a:r>
          </a:p>
        </p:txBody>
      </p:sp>
      <p:cxnSp>
        <p:nvCxnSpPr>
          <p:cNvPr id="51" name="Straight Connector 50"/>
          <p:cNvCxnSpPr>
            <a:cxnSpLocks/>
          </p:cNvCxnSpPr>
          <p:nvPr/>
        </p:nvCxnSpPr>
        <p:spPr>
          <a:xfrm>
            <a:off x="248405" y="967152"/>
            <a:ext cx="3079944" cy="0"/>
          </a:xfrm>
          <a:prstGeom prst="line">
            <a:avLst/>
          </a:prstGeom>
          <a:noFill/>
          <a:ln w="952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54" name="Straight Connector 53"/>
          <p:cNvCxnSpPr>
            <a:cxnSpLocks/>
          </p:cNvCxnSpPr>
          <p:nvPr/>
        </p:nvCxnSpPr>
        <p:spPr>
          <a:xfrm>
            <a:off x="7116578" y="967152"/>
            <a:ext cx="1596457" cy="0"/>
          </a:xfrm>
          <a:prstGeom prst="line">
            <a:avLst/>
          </a:prstGeom>
          <a:noFill/>
          <a:ln w="952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55" name="Rectangle 9"/>
          <p:cNvSpPr>
            <a:spLocks noChangeArrowheads="1"/>
          </p:cNvSpPr>
          <p:nvPr/>
        </p:nvSpPr>
        <p:spPr bwMode="auto">
          <a:xfrm>
            <a:off x="7116578" y="779408"/>
            <a:ext cx="1596457" cy="1877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18288" numCol="1" anchor="b" anchorCtr="0" compatLnSpc="1">
            <a:prstTxWarp prst="textNoShape">
              <a:avLst/>
            </a:prstTxWarp>
            <a:spAutoFit/>
          </a:bodyPr>
          <a:lstStyle>
            <a:lvl1pPr eaLnBrk="0" hangingPunct="0">
              <a:defRPr>
                <a:solidFill>
                  <a:schemeClr val="tx1"/>
                </a:solidFill>
                <a:latin typeface="Arial" panose="020B0604020202020204" pitchFamily="34" charset="0"/>
              </a:defRPr>
            </a:lvl1pPr>
            <a:lvl2pPr eaLnBrk="0" hangingPunct="0">
              <a:defRPr>
                <a:solidFill>
                  <a:schemeClr val="tx1"/>
                </a:solidFill>
                <a:latin typeface="Arial" panose="020B0604020202020204" pitchFamily="34" charset="0"/>
              </a:defRPr>
            </a:lvl2pPr>
            <a:lvl3pPr eaLnBrk="0" hangingPunct="0">
              <a:defRPr>
                <a:solidFill>
                  <a:schemeClr val="tx1"/>
                </a:solidFill>
                <a:latin typeface="Arial" panose="020B0604020202020204" pitchFamily="34" charset="0"/>
              </a:defRPr>
            </a:lvl3pPr>
            <a:lvl4pPr eaLnBrk="0" hangingPunct="0">
              <a:defRPr>
                <a:solidFill>
                  <a:schemeClr val="tx1"/>
                </a:solidFill>
                <a:latin typeface="Arial" panose="020B0604020202020204" pitchFamily="34" charset="0"/>
              </a:defRPr>
            </a:lvl4pPr>
            <a:lvl5pPr eaLnBrk="0" hangingPunct="0">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lang="en-US" altLang="en-US" sz="1100" b="1" dirty="0">
                <a:solidFill>
                  <a:schemeClr val="accent3"/>
                </a:solidFill>
                <a:latin typeface="+mn-lt"/>
                <a:cs typeface="Times New Roman" panose="02020603050405020304" pitchFamily="18" charset="0"/>
              </a:rPr>
              <a:t>Key areas of support</a:t>
            </a:r>
            <a:endParaRPr kumimoji="0" lang="en-US" altLang="en-US" sz="1100" b="1" i="0" u="none" strike="noStrike" cap="none" normalizeH="0" baseline="0" dirty="0">
              <a:ln>
                <a:noFill/>
              </a:ln>
              <a:solidFill>
                <a:schemeClr val="accent3"/>
              </a:solidFill>
              <a:effectLst/>
              <a:latin typeface="+mn-lt"/>
              <a:cs typeface="Times New Roman" panose="02020603050405020304" pitchFamily="18" charset="0"/>
            </a:endParaRPr>
          </a:p>
        </p:txBody>
      </p:sp>
      <p:cxnSp>
        <p:nvCxnSpPr>
          <p:cNvPr id="52" name="Straight Connector 51"/>
          <p:cNvCxnSpPr>
            <a:cxnSpLocks/>
          </p:cNvCxnSpPr>
          <p:nvPr/>
        </p:nvCxnSpPr>
        <p:spPr>
          <a:xfrm>
            <a:off x="3478743" y="967152"/>
            <a:ext cx="3487440" cy="0"/>
          </a:xfrm>
          <a:prstGeom prst="line">
            <a:avLst/>
          </a:prstGeom>
          <a:noFill/>
          <a:ln w="952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53" name="Rectangle 9"/>
          <p:cNvSpPr>
            <a:spLocks noChangeArrowheads="1"/>
          </p:cNvSpPr>
          <p:nvPr/>
        </p:nvSpPr>
        <p:spPr bwMode="auto">
          <a:xfrm>
            <a:off x="3478743" y="779408"/>
            <a:ext cx="3487440" cy="1877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18288" numCol="1" anchor="b" anchorCtr="0" compatLnSpc="1">
            <a:prstTxWarp prst="textNoShape">
              <a:avLst/>
            </a:prstTxWarp>
            <a:spAutoFit/>
          </a:bodyPr>
          <a:lstStyle>
            <a:lvl1pPr eaLnBrk="0" hangingPunct="0">
              <a:defRPr>
                <a:solidFill>
                  <a:schemeClr val="tx1"/>
                </a:solidFill>
                <a:latin typeface="Arial" panose="020B0604020202020204" pitchFamily="34" charset="0"/>
              </a:defRPr>
            </a:lvl1pPr>
            <a:lvl2pPr eaLnBrk="0" hangingPunct="0">
              <a:defRPr>
                <a:solidFill>
                  <a:schemeClr val="tx1"/>
                </a:solidFill>
                <a:latin typeface="Arial" panose="020B0604020202020204" pitchFamily="34" charset="0"/>
              </a:defRPr>
            </a:lvl2pPr>
            <a:lvl3pPr eaLnBrk="0" hangingPunct="0">
              <a:defRPr>
                <a:solidFill>
                  <a:schemeClr val="tx1"/>
                </a:solidFill>
                <a:latin typeface="Arial" panose="020B0604020202020204" pitchFamily="34" charset="0"/>
              </a:defRPr>
            </a:lvl3pPr>
            <a:lvl4pPr eaLnBrk="0" hangingPunct="0">
              <a:defRPr>
                <a:solidFill>
                  <a:schemeClr val="tx1"/>
                </a:solidFill>
                <a:latin typeface="Arial" panose="020B0604020202020204" pitchFamily="34" charset="0"/>
              </a:defRPr>
            </a:lvl4pPr>
            <a:lvl5pPr eaLnBrk="0" hangingPunct="0">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100" b="1" i="0" u="none" strike="noStrike" cap="none" normalizeH="0" baseline="0" dirty="0">
                <a:ln>
                  <a:noFill/>
                </a:ln>
                <a:solidFill>
                  <a:schemeClr val="accent3"/>
                </a:solidFill>
                <a:effectLst/>
                <a:latin typeface="+mn-lt"/>
                <a:cs typeface="Times New Roman" panose="02020603050405020304" pitchFamily="18" charset="0"/>
              </a:rPr>
              <a:t>Context / Challenges</a:t>
            </a:r>
          </a:p>
        </p:txBody>
      </p:sp>
      <p:sp>
        <p:nvSpPr>
          <p:cNvPr id="22" name="TextBox 21"/>
          <p:cNvSpPr txBox="1">
            <a:spLocks/>
          </p:cNvSpPr>
          <p:nvPr/>
        </p:nvSpPr>
        <p:spPr>
          <a:xfrm>
            <a:off x="319539" y="1034445"/>
            <a:ext cx="3008809" cy="507831"/>
          </a:xfrm>
          <a:prstGeom prst="rect">
            <a:avLst/>
          </a:prstGeom>
        </p:spPr>
        <p:txBody>
          <a:bodyPr vert="horz" wrap="square" lIns="0" tIns="0" rIns="0" bIns="0" rtlCol="0" anchor="t" anchorCtr="0">
            <a:spAutoFit/>
          </a:bodyPr>
          <a:lstStyle>
            <a:lvl1pPr marL="0" lvl="0" indent="0" defTabSz="895350" eaLnBrk="1" latinLnBrk="0" hangingPunct="1">
              <a:buClr>
                <a:schemeClr val="tx2"/>
              </a:buClr>
              <a:buSzPct val="100000"/>
              <a:defRPr lang="x-none" sz="1400" baseline="0">
                <a:latin typeface="+mn-lt"/>
              </a:defRPr>
            </a:lvl1pPr>
            <a:lvl2pPr marL="193675" lvl="1" indent="-192088" defTabSz="895350" eaLnBrk="1" latinLnBrk="0" hangingPunct="1">
              <a:buClr>
                <a:schemeClr val="tx2"/>
              </a:buClr>
              <a:buSzPct val="125000"/>
              <a:buFont typeface="Arial" charset="0"/>
              <a:buChar char="▪"/>
              <a:defRPr lang="x-none" sz="1400" baseline="0">
                <a:latin typeface="+mn-lt"/>
              </a:defRPr>
            </a:lvl2pPr>
            <a:lvl3pPr marL="457200" lvl="2" indent="-261938" defTabSz="895350" eaLnBrk="1" latinLnBrk="0" hangingPunct="1">
              <a:buClr>
                <a:schemeClr val="tx2"/>
              </a:buClr>
              <a:buSzPct val="120000"/>
              <a:buFont typeface="Arial" charset="0"/>
              <a:buChar char="–"/>
              <a:defRPr lang="x-none" sz="1400" baseline="0">
                <a:latin typeface="+mn-lt"/>
              </a:defRPr>
            </a:lvl3pPr>
            <a:lvl4pPr marL="614363" lvl="3" indent="-155575" defTabSz="895350" eaLnBrk="1" latinLnBrk="0" hangingPunct="1">
              <a:buClr>
                <a:schemeClr val="tx2"/>
              </a:buClr>
              <a:buSzPct val="120000"/>
              <a:buFont typeface="Arial" charset="0"/>
              <a:buChar char="▫"/>
              <a:defRPr lang="x-none" sz="1400" baseline="0">
                <a:latin typeface="+mn-lt"/>
              </a:defRPr>
            </a:lvl4pPr>
            <a:lvl5pPr marL="749808" lvl="4" indent="-130175" defTabSz="895350" eaLnBrk="1" latinLnBrk="0" hangingPunct="1">
              <a:buClr>
                <a:schemeClr val="tx2"/>
              </a:buClr>
              <a:buSzPct val="89000"/>
              <a:buFont typeface="Arial" charset="0"/>
              <a:buChar char="-"/>
              <a:defRPr lang="x-none" sz="1400" baseline="0">
                <a:latin typeface="+mn-lt"/>
              </a:defRPr>
            </a:lvl5pPr>
            <a:lvl6pPr marL="749808" indent="-130175" defTabSz="895350" fontAlgn="base">
              <a:spcBef>
                <a:spcPct val="0"/>
              </a:spcBef>
              <a:spcAft>
                <a:spcPct val="0"/>
              </a:spcAft>
              <a:buClr>
                <a:schemeClr val="tx2"/>
              </a:buClr>
              <a:buSzPct val="89000"/>
              <a:buFont typeface="Arial" charset="0"/>
              <a:buChar char="-"/>
              <a:defRPr lang="x-none" baseline="0">
                <a:latin typeface="+mn-lt"/>
              </a:defRPr>
            </a:lvl6pPr>
            <a:lvl7pPr marL="749808" indent="-130175" defTabSz="895350" fontAlgn="base">
              <a:spcBef>
                <a:spcPct val="0"/>
              </a:spcBef>
              <a:spcAft>
                <a:spcPct val="0"/>
              </a:spcAft>
              <a:buClr>
                <a:schemeClr val="tx2"/>
              </a:buClr>
              <a:buSzPct val="89000"/>
              <a:buFont typeface="Arial" charset="0"/>
              <a:buChar char="-"/>
              <a:defRPr lang="x-none" baseline="0">
                <a:latin typeface="+mn-lt"/>
              </a:defRPr>
            </a:lvl7pPr>
            <a:lvl8pPr marL="749808" indent="-130175" defTabSz="895350" fontAlgn="base">
              <a:spcBef>
                <a:spcPct val="0"/>
              </a:spcBef>
              <a:spcAft>
                <a:spcPct val="0"/>
              </a:spcAft>
              <a:buClr>
                <a:schemeClr val="tx2"/>
              </a:buClr>
              <a:buSzPct val="89000"/>
              <a:buFont typeface="Arial" charset="0"/>
              <a:buChar char="-"/>
              <a:defRPr lang="x-none" baseline="0">
                <a:latin typeface="+mn-lt"/>
              </a:defRPr>
            </a:lvl8pPr>
            <a:lvl9pPr marL="749808" indent="-130175" defTabSz="895350" fontAlgn="base">
              <a:spcBef>
                <a:spcPct val="0"/>
              </a:spcBef>
              <a:spcAft>
                <a:spcPct val="0"/>
              </a:spcAft>
              <a:buClr>
                <a:schemeClr val="tx2"/>
              </a:buClr>
              <a:buSzPct val="89000"/>
              <a:buFont typeface="Arial" charset="0"/>
              <a:buChar char="-"/>
              <a:defRPr lang="x-none" baseline="0">
                <a:latin typeface="+mn-lt"/>
              </a:defRPr>
            </a:lvl9pPr>
          </a:lstStyle>
          <a:p>
            <a:pPr lvl="1">
              <a:spcBef>
                <a:spcPts val="300"/>
              </a:spcBef>
            </a:pPr>
            <a:r>
              <a:rPr lang="en-US" sz="1100" dirty="0"/>
              <a:t>Merger of two well-known global steel producer companies to become the world´s largest steel producer</a:t>
            </a:r>
          </a:p>
        </p:txBody>
      </p:sp>
      <p:sp>
        <p:nvSpPr>
          <p:cNvPr id="24" name="TextBox 23"/>
          <p:cNvSpPr txBox="1">
            <a:spLocks/>
          </p:cNvSpPr>
          <p:nvPr/>
        </p:nvSpPr>
        <p:spPr>
          <a:xfrm>
            <a:off x="7116578" y="1034445"/>
            <a:ext cx="1596457" cy="584775"/>
          </a:xfrm>
          <a:prstGeom prst="rect">
            <a:avLst/>
          </a:prstGeom>
        </p:spPr>
        <p:txBody>
          <a:bodyPr vert="horz" wrap="square" lIns="0" tIns="0" rIns="0" bIns="0" rtlCol="0" anchor="t" anchorCtr="0">
            <a:spAutoFit/>
          </a:bodyPr>
          <a:lstStyle>
            <a:lvl1pPr marL="0" lvl="0" indent="0" defTabSz="895350" eaLnBrk="1" latinLnBrk="0" hangingPunct="1">
              <a:buClr>
                <a:schemeClr val="tx2"/>
              </a:buClr>
              <a:buSzPct val="100000"/>
              <a:defRPr lang="x-none" sz="1400" baseline="0">
                <a:latin typeface="+mn-lt"/>
              </a:defRPr>
            </a:lvl1pPr>
            <a:lvl2pPr marL="193675" lvl="1" indent="-192088" defTabSz="895350" eaLnBrk="1" latinLnBrk="0" hangingPunct="1">
              <a:buClr>
                <a:schemeClr val="tx2"/>
              </a:buClr>
              <a:buSzPct val="125000"/>
              <a:buFont typeface="Arial" charset="0"/>
              <a:buChar char="▪"/>
              <a:defRPr lang="x-none" sz="1400" baseline="0">
                <a:latin typeface="+mn-lt"/>
              </a:defRPr>
            </a:lvl2pPr>
            <a:lvl3pPr marL="457200" lvl="2" indent="-261938" defTabSz="895350" eaLnBrk="1" latinLnBrk="0" hangingPunct="1">
              <a:buClr>
                <a:schemeClr val="tx2"/>
              </a:buClr>
              <a:buSzPct val="120000"/>
              <a:buFont typeface="Arial" charset="0"/>
              <a:buChar char="–"/>
              <a:defRPr lang="x-none" sz="1400" baseline="0">
                <a:latin typeface="+mn-lt"/>
              </a:defRPr>
            </a:lvl3pPr>
            <a:lvl4pPr marL="614363" lvl="3" indent="-155575" defTabSz="895350" eaLnBrk="1" latinLnBrk="0" hangingPunct="1">
              <a:buClr>
                <a:schemeClr val="tx2"/>
              </a:buClr>
              <a:buSzPct val="120000"/>
              <a:buFont typeface="Arial" charset="0"/>
              <a:buChar char="▫"/>
              <a:defRPr lang="x-none" sz="1400" baseline="0">
                <a:latin typeface="+mn-lt"/>
              </a:defRPr>
            </a:lvl4pPr>
            <a:lvl5pPr marL="749808" lvl="4" indent="-130175" defTabSz="895350" eaLnBrk="1" latinLnBrk="0" hangingPunct="1">
              <a:buClr>
                <a:schemeClr val="tx2"/>
              </a:buClr>
              <a:buSzPct val="89000"/>
              <a:buFont typeface="Arial" charset="0"/>
              <a:buChar char="-"/>
              <a:defRPr lang="x-none" sz="1400" baseline="0">
                <a:latin typeface="+mn-lt"/>
              </a:defRPr>
            </a:lvl5pPr>
            <a:lvl6pPr marL="749808" indent="-130175" defTabSz="895350" fontAlgn="base">
              <a:spcBef>
                <a:spcPct val="0"/>
              </a:spcBef>
              <a:spcAft>
                <a:spcPct val="0"/>
              </a:spcAft>
              <a:buClr>
                <a:schemeClr val="tx2"/>
              </a:buClr>
              <a:buSzPct val="89000"/>
              <a:buFont typeface="Arial" charset="0"/>
              <a:buChar char="-"/>
              <a:defRPr lang="x-none" baseline="0">
                <a:latin typeface="+mn-lt"/>
              </a:defRPr>
            </a:lvl6pPr>
            <a:lvl7pPr marL="749808" indent="-130175" defTabSz="895350" fontAlgn="base">
              <a:spcBef>
                <a:spcPct val="0"/>
              </a:spcBef>
              <a:spcAft>
                <a:spcPct val="0"/>
              </a:spcAft>
              <a:buClr>
                <a:schemeClr val="tx2"/>
              </a:buClr>
              <a:buSzPct val="89000"/>
              <a:buFont typeface="Arial" charset="0"/>
              <a:buChar char="-"/>
              <a:defRPr lang="x-none" baseline="0">
                <a:latin typeface="+mn-lt"/>
              </a:defRPr>
            </a:lvl7pPr>
            <a:lvl8pPr marL="749808" indent="-130175" defTabSz="895350" fontAlgn="base">
              <a:spcBef>
                <a:spcPct val="0"/>
              </a:spcBef>
              <a:spcAft>
                <a:spcPct val="0"/>
              </a:spcAft>
              <a:buClr>
                <a:schemeClr val="tx2"/>
              </a:buClr>
              <a:buSzPct val="89000"/>
              <a:buFont typeface="Arial" charset="0"/>
              <a:buChar char="-"/>
              <a:defRPr lang="x-none" baseline="0">
                <a:latin typeface="+mn-lt"/>
              </a:defRPr>
            </a:lvl8pPr>
            <a:lvl9pPr marL="749808" indent="-130175" defTabSz="895350" fontAlgn="base">
              <a:spcBef>
                <a:spcPct val="0"/>
              </a:spcBef>
              <a:spcAft>
                <a:spcPct val="0"/>
              </a:spcAft>
              <a:buClr>
                <a:schemeClr val="tx2"/>
              </a:buClr>
              <a:buSzPct val="89000"/>
              <a:buFont typeface="Arial" charset="0"/>
              <a:buChar char="-"/>
              <a:defRPr lang="x-none" baseline="0">
                <a:latin typeface="+mn-lt"/>
              </a:defRPr>
            </a:lvl9pPr>
          </a:lstStyle>
          <a:p>
            <a:pPr lvl="1">
              <a:spcBef>
                <a:spcPts val="300"/>
              </a:spcBef>
            </a:pPr>
            <a:r>
              <a:rPr lang="en-US" sz="1100" dirty="0"/>
              <a:t>IMO</a:t>
            </a:r>
          </a:p>
          <a:p>
            <a:pPr lvl="1">
              <a:spcBef>
                <a:spcPts val="300"/>
              </a:spcBef>
            </a:pPr>
            <a:r>
              <a:rPr lang="en-US" sz="1100" dirty="0"/>
              <a:t>Value Capture</a:t>
            </a:r>
          </a:p>
          <a:p>
            <a:pPr lvl="1">
              <a:spcBef>
                <a:spcPts val="300"/>
              </a:spcBef>
            </a:pPr>
            <a:r>
              <a:rPr lang="en-US" sz="1100" dirty="0"/>
              <a:t>Communication</a:t>
            </a:r>
          </a:p>
        </p:txBody>
      </p:sp>
      <p:sp>
        <p:nvSpPr>
          <p:cNvPr id="30" name="TextBox 29"/>
          <p:cNvSpPr txBox="1">
            <a:spLocks/>
          </p:cNvSpPr>
          <p:nvPr/>
        </p:nvSpPr>
        <p:spPr>
          <a:xfrm>
            <a:off x="3478743" y="1034445"/>
            <a:ext cx="3487440" cy="715581"/>
          </a:xfrm>
          <a:prstGeom prst="rect">
            <a:avLst/>
          </a:prstGeom>
        </p:spPr>
        <p:txBody>
          <a:bodyPr vert="horz" wrap="square" lIns="0" tIns="0" rIns="0" bIns="0" rtlCol="0" anchor="t" anchorCtr="0">
            <a:spAutoFit/>
          </a:bodyPr>
          <a:lstStyle>
            <a:lvl1pPr marL="0" lvl="0" indent="0" defTabSz="895350" eaLnBrk="1" latinLnBrk="0" hangingPunct="1">
              <a:buClr>
                <a:schemeClr val="tx2"/>
              </a:buClr>
              <a:buSzPct val="100000"/>
              <a:defRPr lang="x-none" sz="1400" baseline="0">
                <a:latin typeface="+mn-lt"/>
              </a:defRPr>
            </a:lvl1pPr>
            <a:lvl2pPr marL="193675" lvl="1" indent="-192088" defTabSz="895350" eaLnBrk="1" latinLnBrk="0" hangingPunct="1">
              <a:buClr>
                <a:schemeClr val="tx2"/>
              </a:buClr>
              <a:buSzPct val="125000"/>
              <a:buFont typeface="Arial" charset="0"/>
              <a:buChar char="▪"/>
              <a:defRPr lang="x-none" sz="1400" baseline="0">
                <a:latin typeface="+mn-lt"/>
              </a:defRPr>
            </a:lvl2pPr>
            <a:lvl3pPr marL="457200" lvl="2" indent="-261938" defTabSz="895350" eaLnBrk="1" latinLnBrk="0" hangingPunct="1">
              <a:buClr>
                <a:schemeClr val="tx2"/>
              </a:buClr>
              <a:buSzPct val="120000"/>
              <a:buFont typeface="Arial" charset="0"/>
              <a:buChar char="–"/>
              <a:defRPr lang="x-none" sz="1400" baseline="0">
                <a:latin typeface="+mn-lt"/>
              </a:defRPr>
            </a:lvl3pPr>
            <a:lvl4pPr marL="614363" lvl="3" indent="-155575" defTabSz="895350" eaLnBrk="1" latinLnBrk="0" hangingPunct="1">
              <a:buClr>
                <a:schemeClr val="tx2"/>
              </a:buClr>
              <a:buSzPct val="120000"/>
              <a:buFont typeface="Arial" charset="0"/>
              <a:buChar char="▫"/>
              <a:defRPr lang="x-none" sz="1400" baseline="0">
                <a:latin typeface="+mn-lt"/>
              </a:defRPr>
            </a:lvl4pPr>
            <a:lvl5pPr marL="749808" lvl="4" indent="-130175" defTabSz="895350" eaLnBrk="1" latinLnBrk="0" hangingPunct="1">
              <a:buClr>
                <a:schemeClr val="tx2"/>
              </a:buClr>
              <a:buSzPct val="89000"/>
              <a:buFont typeface="Arial" charset="0"/>
              <a:buChar char="-"/>
              <a:defRPr lang="x-none" sz="1400" baseline="0">
                <a:latin typeface="+mn-lt"/>
              </a:defRPr>
            </a:lvl5pPr>
            <a:lvl6pPr marL="749808" indent="-130175" defTabSz="895350" fontAlgn="base">
              <a:spcBef>
                <a:spcPct val="0"/>
              </a:spcBef>
              <a:spcAft>
                <a:spcPct val="0"/>
              </a:spcAft>
              <a:buClr>
                <a:schemeClr val="tx2"/>
              </a:buClr>
              <a:buSzPct val="89000"/>
              <a:buFont typeface="Arial" charset="0"/>
              <a:buChar char="-"/>
              <a:defRPr lang="x-none" baseline="0">
                <a:latin typeface="+mn-lt"/>
              </a:defRPr>
            </a:lvl6pPr>
            <a:lvl7pPr marL="749808" indent="-130175" defTabSz="895350" fontAlgn="base">
              <a:spcBef>
                <a:spcPct val="0"/>
              </a:spcBef>
              <a:spcAft>
                <a:spcPct val="0"/>
              </a:spcAft>
              <a:buClr>
                <a:schemeClr val="tx2"/>
              </a:buClr>
              <a:buSzPct val="89000"/>
              <a:buFont typeface="Arial" charset="0"/>
              <a:buChar char="-"/>
              <a:defRPr lang="x-none" baseline="0">
                <a:latin typeface="+mn-lt"/>
              </a:defRPr>
            </a:lvl7pPr>
            <a:lvl8pPr marL="749808" indent="-130175" defTabSz="895350" fontAlgn="base">
              <a:spcBef>
                <a:spcPct val="0"/>
              </a:spcBef>
              <a:spcAft>
                <a:spcPct val="0"/>
              </a:spcAft>
              <a:buClr>
                <a:schemeClr val="tx2"/>
              </a:buClr>
              <a:buSzPct val="89000"/>
              <a:buFont typeface="Arial" charset="0"/>
              <a:buChar char="-"/>
              <a:defRPr lang="x-none" baseline="0">
                <a:latin typeface="+mn-lt"/>
              </a:defRPr>
            </a:lvl8pPr>
            <a:lvl9pPr marL="749808" indent="-130175" defTabSz="895350" fontAlgn="base">
              <a:spcBef>
                <a:spcPct val="0"/>
              </a:spcBef>
              <a:spcAft>
                <a:spcPct val="0"/>
              </a:spcAft>
              <a:buClr>
                <a:schemeClr val="tx2"/>
              </a:buClr>
              <a:buSzPct val="89000"/>
              <a:buFont typeface="Arial" charset="0"/>
              <a:buChar char="-"/>
              <a:defRPr lang="x-none" baseline="0">
                <a:latin typeface="+mn-lt"/>
              </a:defRPr>
            </a:lvl9pPr>
          </a:lstStyle>
          <a:p>
            <a:pPr lvl="1">
              <a:spcBef>
                <a:spcPts val="300"/>
              </a:spcBef>
            </a:pPr>
            <a:r>
              <a:rPr lang="en-US" sz="1100" dirty="0"/>
              <a:t>Transcontinental deal impacting large number of employees in many countries</a:t>
            </a:r>
          </a:p>
          <a:p>
            <a:pPr lvl="1">
              <a:spcBef>
                <a:spcPts val="300"/>
              </a:spcBef>
            </a:pPr>
            <a:r>
              <a:rPr lang="en-US" sz="1100" dirty="0"/>
              <a:t>Highly dependent on China’s steel consumption (quantity and price dependence)</a:t>
            </a:r>
          </a:p>
        </p:txBody>
      </p:sp>
      <p:sp>
        <p:nvSpPr>
          <p:cNvPr id="8" name="Marvintrackercircle">
            <a:extLst>
              <a:ext uri="{FF2B5EF4-FFF2-40B4-BE49-F238E27FC236}">
                <a16:creationId xmlns:a16="http://schemas.microsoft.com/office/drawing/2014/main" id="{FE4ABCDD-9AAD-4616-884E-A983B1D50D1C}"/>
              </a:ext>
            </a:extLst>
          </p:cNvPr>
          <p:cNvSpPr/>
          <p:nvPr>
            <p:custDataLst>
              <p:tags r:id="rId3"/>
            </p:custDataLst>
          </p:nvPr>
        </p:nvSpPr>
        <p:spPr>
          <a:xfrm>
            <a:off x="248404" y="1034445"/>
            <a:ext cx="201168" cy="201168"/>
          </a:xfrm>
          <a:prstGeom prst="ellipse">
            <a:avLst/>
          </a:prstGeom>
          <a:solidFill>
            <a:schemeClr val="accent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p>
            <a:pPr algn="ctr"/>
            <a:r>
              <a:rPr lang="en-GB" sz="1100" b="1" dirty="0">
                <a:solidFill>
                  <a:schemeClr val="accent3"/>
                </a:solidFill>
              </a:rPr>
              <a:t>A</a:t>
            </a:r>
          </a:p>
        </p:txBody>
      </p:sp>
      <p:sp>
        <p:nvSpPr>
          <p:cNvPr id="35" name="TextBox 34"/>
          <p:cNvSpPr txBox="1">
            <a:spLocks/>
          </p:cNvSpPr>
          <p:nvPr/>
        </p:nvSpPr>
        <p:spPr>
          <a:xfrm>
            <a:off x="319539" y="1830994"/>
            <a:ext cx="3008809" cy="507831"/>
          </a:xfrm>
          <a:prstGeom prst="rect">
            <a:avLst/>
          </a:prstGeom>
        </p:spPr>
        <p:txBody>
          <a:bodyPr vert="horz" wrap="square" lIns="0" tIns="0" rIns="0" bIns="0" rtlCol="0" anchor="t" anchorCtr="0">
            <a:spAutoFit/>
          </a:bodyPr>
          <a:lstStyle>
            <a:lvl1pPr marL="0" lvl="0" indent="0" defTabSz="895350" eaLnBrk="1" latinLnBrk="0" hangingPunct="1">
              <a:buClr>
                <a:schemeClr val="tx2"/>
              </a:buClr>
              <a:buSzPct val="100000"/>
              <a:defRPr lang="x-none" sz="1400" baseline="0">
                <a:latin typeface="+mn-lt"/>
              </a:defRPr>
            </a:lvl1pPr>
            <a:lvl2pPr marL="193675" lvl="1" indent="-192088" defTabSz="895350" eaLnBrk="1" latinLnBrk="0" hangingPunct="1">
              <a:buClr>
                <a:schemeClr val="tx2"/>
              </a:buClr>
              <a:buSzPct val="125000"/>
              <a:buFont typeface="Arial" charset="0"/>
              <a:buChar char="▪"/>
              <a:defRPr lang="x-none" sz="1400" baseline="0">
                <a:latin typeface="+mn-lt"/>
              </a:defRPr>
            </a:lvl2pPr>
            <a:lvl3pPr marL="457200" lvl="2" indent="-261938" defTabSz="895350" eaLnBrk="1" latinLnBrk="0" hangingPunct="1">
              <a:buClr>
                <a:schemeClr val="tx2"/>
              </a:buClr>
              <a:buSzPct val="120000"/>
              <a:buFont typeface="Arial" charset="0"/>
              <a:buChar char="–"/>
              <a:defRPr lang="x-none" sz="1400" baseline="0">
                <a:latin typeface="+mn-lt"/>
              </a:defRPr>
            </a:lvl3pPr>
            <a:lvl4pPr marL="614363" lvl="3" indent="-155575" defTabSz="895350" eaLnBrk="1" latinLnBrk="0" hangingPunct="1">
              <a:buClr>
                <a:schemeClr val="tx2"/>
              </a:buClr>
              <a:buSzPct val="120000"/>
              <a:buFont typeface="Arial" charset="0"/>
              <a:buChar char="▫"/>
              <a:defRPr lang="x-none" sz="1400" baseline="0">
                <a:latin typeface="+mn-lt"/>
              </a:defRPr>
            </a:lvl4pPr>
            <a:lvl5pPr marL="749808" lvl="4" indent="-130175" defTabSz="895350" eaLnBrk="1" latinLnBrk="0" hangingPunct="1">
              <a:buClr>
                <a:schemeClr val="tx2"/>
              </a:buClr>
              <a:buSzPct val="89000"/>
              <a:buFont typeface="Arial" charset="0"/>
              <a:buChar char="-"/>
              <a:defRPr lang="x-none" sz="1400" baseline="0">
                <a:latin typeface="+mn-lt"/>
              </a:defRPr>
            </a:lvl5pPr>
            <a:lvl6pPr marL="749808" indent="-130175" defTabSz="895350" fontAlgn="base">
              <a:spcBef>
                <a:spcPct val="0"/>
              </a:spcBef>
              <a:spcAft>
                <a:spcPct val="0"/>
              </a:spcAft>
              <a:buClr>
                <a:schemeClr val="tx2"/>
              </a:buClr>
              <a:buSzPct val="89000"/>
              <a:buFont typeface="Arial" charset="0"/>
              <a:buChar char="-"/>
              <a:defRPr lang="x-none" baseline="0">
                <a:latin typeface="+mn-lt"/>
              </a:defRPr>
            </a:lvl6pPr>
            <a:lvl7pPr marL="749808" indent="-130175" defTabSz="895350" fontAlgn="base">
              <a:spcBef>
                <a:spcPct val="0"/>
              </a:spcBef>
              <a:spcAft>
                <a:spcPct val="0"/>
              </a:spcAft>
              <a:buClr>
                <a:schemeClr val="tx2"/>
              </a:buClr>
              <a:buSzPct val="89000"/>
              <a:buFont typeface="Arial" charset="0"/>
              <a:buChar char="-"/>
              <a:defRPr lang="x-none" baseline="0">
                <a:latin typeface="+mn-lt"/>
              </a:defRPr>
            </a:lvl7pPr>
            <a:lvl8pPr marL="749808" indent="-130175" defTabSz="895350" fontAlgn="base">
              <a:spcBef>
                <a:spcPct val="0"/>
              </a:spcBef>
              <a:spcAft>
                <a:spcPct val="0"/>
              </a:spcAft>
              <a:buClr>
                <a:schemeClr val="tx2"/>
              </a:buClr>
              <a:buSzPct val="89000"/>
              <a:buFont typeface="Arial" charset="0"/>
              <a:buChar char="-"/>
              <a:defRPr lang="x-none" baseline="0">
                <a:latin typeface="+mn-lt"/>
              </a:defRPr>
            </a:lvl8pPr>
            <a:lvl9pPr marL="749808" indent="-130175" defTabSz="895350" fontAlgn="base">
              <a:spcBef>
                <a:spcPct val="0"/>
              </a:spcBef>
              <a:spcAft>
                <a:spcPct val="0"/>
              </a:spcAft>
              <a:buClr>
                <a:schemeClr val="tx2"/>
              </a:buClr>
              <a:buSzPct val="89000"/>
              <a:buFont typeface="Arial" charset="0"/>
              <a:buChar char="-"/>
              <a:defRPr lang="x-none" baseline="0">
                <a:latin typeface="+mn-lt"/>
              </a:defRPr>
            </a:lvl9pPr>
          </a:lstStyle>
          <a:p>
            <a:pPr lvl="1">
              <a:spcBef>
                <a:spcPts val="300"/>
              </a:spcBef>
            </a:pPr>
            <a:r>
              <a:rPr lang="en-US" sz="1100" dirty="0"/>
              <a:t>Merger of two well-known mining companies to become a leading metal producer company</a:t>
            </a:r>
          </a:p>
        </p:txBody>
      </p:sp>
      <p:sp>
        <p:nvSpPr>
          <p:cNvPr id="37" name="TextBox 36"/>
          <p:cNvSpPr txBox="1">
            <a:spLocks/>
          </p:cNvSpPr>
          <p:nvPr/>
        </p:nvSpPr>
        <p:spPr>
          <a:xfrm>
            <a:off x="7116578" y="1830994"/>
            <a:ext cx="1596457" cy="754053"/>
          </a:xfrm>
          <a:prstGeom prst="rect">
            <a:avLst/>
          </a:prstGeom>
        </p:spPr>
        <p:txBody>
          <a:bodyPr vert="horz" wrap="square" lIns="0" tIns="0" rIns="0" bIns="0" rtlCol="0" anchor="t" anchorCtr="0">
            <a:spAutoFit/>
          </a:bodyPr>
          <a:lstStyle>
            <a:lvl1pPr marL="0" lvl="0" indent="0" defTabSz="895350" eaLnBrk="1" latinLnBrk="0" hangingPunct="1">
              <a:buClr>
                <a:schemeClr val="tx2"/>
              </a:buClr>
              <a:buSzPct val="100000"/>
              <a:defRPr lang="x-none" sz="1400" baseline="0">
                <a:latin typeface="+mn-lt"/>
              </a:defRPr>
            </a:lvl1pPr>
            <a:lvl2pPr marL="193675" lvl="1" indent="-192088" defTabSz="895350" eaLnBrk="1" latinLnBrk="0" hangingPunct="1">
              <a:buClr>
                <a:schemeClr val="tx2"/>
              </a:buClr>
              <a:buSzPct val="125000"/>
              <a:buFont typeface="Arial" charset="0"/>
              <a:buChar char="▪"/>
              <a:defRPr lang="x-none" sz="1400" baseline="0">
                <a:latin typeface="+mn-lt"/>
              </a:defRPr>
            </a:lvl2pPr>
            <a:lvl3pPr marL="457200" lvl="2" indent="-261938" defTabSz="895350" eaLnBrk="1" latinLnBrk="0" hangingPunct="1">
              <a:buClr>
                <a:schemeClr val="tx2"/>
              </a:buClr>
              <a:buSzPct val="120000"/>
              <a:buFont typeface="Arial" charset="0"/>
              <a:buChar char="–"/>
              <a:defRPr lang="x-none" sz="1400" baseline="0">
                <a:latin typeface="+mn-lt"/>
              </a:defRPr>
            </a:lvl3pPr>
            <a:lvl4pPr marL="614363" lvl="3" indent="-155575" defTabSz="895350" eaLnBrk="1" latinLnBrk="0" hangingPunct="1">
              <a:buClr>
                <a:schemeClr val="tx2"/>
              </a:buClr>
              <a:buSzPct val="120000"/>
              <a:buFont typeface="Arial" charset="0"/>
              <a:buChar char="▫"/>
              <a:defRPr lang="x-none" sz="1400" baseline="0">
                <a:latin typeface="+mn-lt"/>
              </a:defRPr>
            </a:lvl4pPr>
            <a:lvl5pPr marL="749808" lvl="4" indent="-130175" defTabSz="895350" eaLnBrk="1" latinLnBrk="0" hangingPunct="1">
              <a:buClr>
                <a:schemeClr val="tx2"/>
              </a:buClr>
              <a:buSzPct val="89000"/>
              <a:buFont typeface="Arial" charset="0"/>
              <a:buChar char="-"/>
              <a:defRPr lang="x-none" sz="1400" baseline="0">
                <a:latin typeface="+mn-lt"/>
              </a:defRPr>
            </a:lvl5pPr>
            <a:lvl6pPr marL="749808" indent="-130175" defTabSz="895350" fontAlgn="base">
              <a:spcBef>
                <a:spcPct val="0"/>
              </a:spcBef>
              <a:spcAft>
                <a:spcPct val="0"/>
              </a:spcAft>
              <a:buClr>
                <a:schemeClr val="tx2"/>
              </a:buClr>
              <a:buSzPct val="89000"/>
              <a:buFont typeface="Arial" charset="0"/>
              <a:buChar char="-"/>
              <a:defRPr lang="x-none" baseline="0">
                <a:latin typeface="+mn-lt"/>
              </a:defRPr>
            </a:lvl6pPr>
            <a:lvl7pPr marL="749808" indent="-130175" defTabSz="895350" fontAlgn="base">
              <a:spcBef>
                <a:spcPct val="0"/>
              </a:spcBef>
              <a:spcAft>
                <a:spcPct val="0"/>
              </a:spcAft>
              <a:buClr>
                <a:schemeClr val="tx2"/>
              </a:buClr>
              <a:buSzPct val="89000"/>
              <a:buFont typeface="Arial" charset="0"/>
              <a:buChar char="-"/>
              <a:defRPr lang="x-none" baseline="0">
                <a:latin typeface="+mn-lt"/>
              </a:defRPr>
            </a:lvl7pPr>
            <a:lvl8pPr marL="749808" indent="-130175" defTabSz="895350" fontAlgn="base">
              <a:spcBef>
                <a:spcPct val="0"/>
              </a:spcBef>
              <a:spcAft>
                <a:spcPct val="0"/>
              </a:spcAft>
              <a:buClr>
                <a:schemeClr val="tx2"/>
              </a:buClr>
              <a:buSzPct val="89000"/>
              <a:buFont typeface="Arial" charset="0"/>
              <a:buChar char="-"/>
              <a:defRPr lang="x-none" baseline="0">
                <a:latin typeface="+mn-lt"/>
              </a:defRPr>
            </a:lvl8pPr>
            <a:lvl9pPr marL="749808" indent="-130175" defTabSz="895350" fontAlgn="base">
              <a:spcBef>
                <a:spcPct val="0"/>
              </a:spcBef>
              <a:spcAft>
                <a:spcPct val="0"/>
              </a:spcAft>
              <a:buClr>
                <a:schemeClr val="tx2"/>
              </a:buClr>
              <a:buSzPct val="89000"/>
              <a:buFont typeface="Arial" charset="0"/>
              <a:buChar char="-"/>
              <a:defRPr lang="x-none" baseline="0">
                <a:latin typeface="+mn-lt"/>
              </a:defRPr>
            </a:lvl9pPr>
          </a:lstStyle>
          <a:p>
            <a:pPr lvl="1">
              <a:spcBef>
                <a:spcPts val="300"/>
              </a:spcBef>
            </a:pPr>
            <a:r>
              <a:rPr lang="en-US" sz="1100" dirty="0"/>
              <a:t>IMO</a:t>
            </a:r>
          </a:p>
          <a:p>
            <a:pPr lvl="1">
              <a:spcBef>
                <a:spcPts val="300"/>
              </a:spcBef>
            </a:pPr>
            <a:r>
              <a:rPr lang="en-US" sz="1100" dirty="0"/>
              <a:t>Communication</a:t>
            </a:r>
          </a:p>
          <a:p>
            <a:pPr lvl="1">
              <a:spcBef>
                <a:spcPts val="300"/>
              </a:spcBef>
            </a:pPr>
            <a:r>
              <a:rPr lang="en-US" sz="1100" dirty="0"/>
              <a:t>Functional integration- </a:t>
            </a:r>
            <a:r>
              <a:rPr lang="en-US" sz="1100" dirty="0" err="1"/>
              <a:t>G&amp;A</a:t>
            </a:r>
            <a:endParaRPr lang="en-US" sz="1100" dirty="0"/>
          </a:p>
        </p:txBody>
      </p:sp>
      <p:sp>
        <p:nvSpPr>
          <p:cNvPr id="41" name="TextBox 40"/>
          <p:cNvSpPr txBox="1">
            <a:spLocks/>
          </p:cNvSpPr>
          <p:nvPr/>
        </p:nvSpPr>
        <p:spPr>
          <a:xfrm>
            <a:off x="3478743" y="1830994"/>
            <a:ext cx="3487440" cy="754053"/>
          </a:xfrm>
          <a:prstGeom prst="rect">
            <a:avLst/>
          </a:prstGeom>
        </p:spPr>
        <p:txBody>
          <a:bodyPr vert="horz" wrap="square" lIns="0" tIns="0" rIns="0" bIns="0" rtlCol="0" anchor="t" anchorCtr="0">
            <a:spAutoFit/>
          </a:bodyPr>
          <a:lstStyle>
            <a:lvl1pPr marL="0" lvl="0" indent="0" defTabSz="895350" eaLnBrk="1" latinLnBrk="0" hangingPunct="1">
              <a:buClr>
                <a:schemeClr val="tx2"/>
              </a:buClr>
              <a:buSzPct val="100000"/>
              <a:defRPr lang="x-none" sz="1400" baseline="0">
                <a:latin typeface="+mn-lt"/>
              </a:defRPr>
            </a:lvl1pPr>
            <a:lvl2pPr marL="193675" lvl="1" indent="-192088" defTabSz="895350" eaLnBrk="1" latinLnBrk="0" hangingPunct="1">
              <a:buClr>
                <a:schemeClr val="tx2"/>
              </a:buClr>
              <a:buSzPct val="125000"/>
              <a:buFont typeface="Arial" charset="0"/>
              <a:buChar char="▪"/>
              <a:defRPr lang="x-none" sz="1400" baseline="0">
                <a:latin typeface="+mn-lt"/>
              </a:defRPr>
            </a:lvl2pPr>
            <a:lvl3pPr marL="457200" lvl="2" indent="-261938" defTabSz="895350" eaLnBrk="1" latinLnBrk="0" hangingPunct="1">
              <a:buClr>
                <a:schemeClr val="tx2"/>
              </a:buClr>
              <a:buSzPct val="120000"/>
              <a:buFont typeface="Arial" charset="0"/>
              <a:buChar char="–"/>
              <a:defRPr lang="x-none" sz="1400" baseline="0">
                <a:latin typeface="+mn-lt"/>
              </a:defRPr>
            </a:lvl3pPr>
            <a:lvl4pPr marL="614363" lvl="3" indent="-155575" defTabSz="895350" eaLnBrk="1" latinLnBrk="0" hangingPunct="1">
              <a:buClr>
                <a:schemeClr val="tx2"/>
              </a:buClr>
              <a:buSzPct val="120000"/>
              <a:buFont typeface="Arial" charset="0"/>
              <a:buChar char="▫"/>
              <a:defRPr lang="x-none" sz="1400" baseline="0">
                <a:latin typeface="+mn-lt"/>
              </a:defRPr>
            </a:lvl4pPr>
            <a:lvl5pPr marL="749808" lvl="4" indent="-130175" defTabSz="895350" eaLnBrk="1" latinLnBrk="0" hangingPunct="1">
              <a:buClr>
                <a:schemeClr val="tx2"/>
              </a:buClr>
              <a:buSzPct val="89000"/>
              <a:buFont typeface="Arial" charset="0"/>
              <a:buChar char="-"/>
              <a:defRPr lang="x-none" sz="1400" baseline="0">
                <a:latin typeface="+mn-lt"/>
              </a:defRPr>
            </a:lvl5pPr>
            <a:lvl6pPr marL="749808" indent="-130175" defTabSz="895350" fontAlgn="base">
              <a:spcBef>
                <a:spcPct val="0"/>
              </a:spcBef>
              <a:spcAft>
                <a:spcPct val="0"/>
              </a:spcAft>
              <a:buClr>
                <a:schemeClr val="tx2"/>
              </a:buClr>
              <a:buSzPct val="89000"/>
              <a:buFont typeface="Arial" charset="0"/>
              <a:buChar char="-"/>
              <a:defRPr lang="x-none" baseline="0">
                <a:latin typeface="+mn-lt"/>
              </a:defRPr>
            </a:lvl6pPr>
            <a:lvl7pPr marL="749808" indent="-130175" defTabSz="895350" fontAlgn="base">
              <a:spcBef>
                <a:spcPct val="0"/>
              </a:spcBef>
              <a:spcAft>
                <a:spcPct val="0"/>
              </a:spcAft>
              <a:buClr>
                <a:schemeClr val="tx2"/>
              </a:buClr>
              <a:buSzPct val="89000"/>
              <a:buFont typeface="Arial" charset="0"/>
              <a:buChar char="-"/>
              <a:defRPr lang="x-none" baseline="0">
                <a:latin typeface="+mn-lt"/>
              </a:defRPr>
            </a:lvl7pPr>
            <a:lvl8pPr marL="749808" indent="-130175" defTabSz="895350" fontAlgn="base">
              <a:spcBef>
                <a:spcPct val="0"/>
              </a:spcBef>
              <a:spcAft>
                <a:spcPct val="0"/>
              </a:spcAft>
              <a:buClr>
                <a:schemeClr val="tx2"/>
              </a:buClr>
              <a:buSzPct val="89000"/>
              <a:buFont typeface="Arial" charset="0"/>
              <a:buChar char="-"/>
              <a:defRPr lang="x-none" baseline="0">
                <a:latin typeface="+mn-lt"/>
              </a:defRPr>
            </a:lvl8pPr>
            <a:lvl9pPr marL="749808" indent="-130175" defTabSz="895350" fontAlgn="base">
              <a:spcBef>
                <a:spcPct val="0"/>
              </a:spcBef>
              <a:spcAft>
                <a:spcPct val="0"/>
              </a:spcAft>
              <a:buClr>
                <a:schemeClr val="tx2"/>
              </a:buClr>
              <a:buSzPct val="89000"/>
              <a:buFont typeface="Arial" charset="0"/>
              <a:buChar char="-"/>
              <a:defRPr lang="x-none" baseline="0">
                <a:latin typeface="+mn-lt"/>
              </a:defRPr>
            </a:lvl9pPr>
          </a:lstStyle>
          <a:p>
            <a:pPr lvl="1">
              <a:spcBef>
                <a:spcPts val="300"/>
              </a:spcBef>
            </a:pPr>
            <a:r>
              <a:rPr lang="en-US" sz="1100" dirty="0"/>
              <a:t>Minimal integration experience</a:t>
            </a:r>
          </a:p>
          <a:p>
            <a:pPr lvl="1">
              <a:spcBef>
                <a:spcPts val="300"/>
              </a:spcBef>
            </a:pPr>
            <a:r>
              <a:rPr lang="en-US" sz="1100" dirty="0"/>
              <a:t>Many important stakeholders, including governments</a:t>
            </a:r>
          </a:p>
          <a:p>
            <a:pPr lvl="1">
              <a:spcBef>
                <a:spcPts val="300"/>
              </a:spcBef>
            </a:pPr>
            <a:r>
              <a:rPr lang="en-US" sz="1100" dirty="0"/>
              <a:t>Ambiguous nature of the deal: integration or transformation? Merger or acquisition? </a:t>
            </a:r>
          </a:p>
        </p:txBody>
      </p:sp>
      <p:sp>
        <p:nvSpPr>
          <p:cNvPr id="57" name="Marvintrackercircle">
            <a:extLst>
              <a:ext uri="{FF2B5EF4-FFF2-40B4-BE49-F238E27FC236}">
                <a16:creationId xmlns:a16="http://schemas.microsoft.com/office/drawing/2014/main" id="{89FA86AE-B8F9-42A4-8667-02FAB79E709D}"/>
              </a:ext>
            </a:extLst>
          </p:cNvPr>
          <p:cNvSpPr/>
          <p:nvPr>
            <p:custDataLst>
              <p:tags r:id="rId4"/>
            </p:custDataLst>
          </p:nvPr>
        </p:nvSpPr>
        <p:spPr>
          <a:xfrm>
            <a:off x="248404" y="1830994"/>
            <a:ext cx="201168" cy="201168"/>
          </a:xfrm>
          <a:prstGeom prst="ellipse">
            <a:avLst/>
          </a:prstGeom>
          <a:solidFill>
            <a:schemeClr val="accent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p>
            <a:pPr algn="ctr"/>
            <a:r>
              <a:rPr lang="en-US" sz="1100" b="1" dirty="0">
                <a:solidFill>
                  <a:schemeClr val="accent3"/>
                </a:solidFill>
              </a:rPr>
              <a:t>B</a:t>
            </a:r>
            <a:endParaRPr lang="en-GB" sz="1100" b="1" dirty="0">
              <a:solidFill>
                <a:schemeClr val="accent3"/>
              </a:solidFill>
            </a:endParaRPr>
          </a:p>
        </p:txBody>
      </p:sp>
      <p:sp>
        <p:nvSpPr>
          <p:cNvPr id="3" name="TextBox 2"/>
          <p:cNvSpPr txBox="1">
            <a:spLocks/>
          </p:cNvSpPr>
          <p:nvPr/>
        </p:nvSpPr>
        <p:spPr>
          <a:xfrm>
            <a:off x="319539" y="2666015"/>
            <a:ext cx="3008809" cy="507831"/>
          </a:xfrm>
          <a:prstGeom prst="rect">
            <a:avLst/>
          </a:prstGeom>
        </p:spPr>
        <p:txBody>
          <a:bodyPr vert="horz" wrap="square" lIns="0" tIns="0" rIns="0" bIns="0" rtlCol="0" anchor="t" anchorCtr="0">
            <a:spAutoFit/>
          </a:bodyPr>
          <a:lstStyle>
            <a:lvl1pPr marL="0" lvl="0" indent="0" defTabSz="895350" eaLnBrk="1" latinLnBrk="0" hangingPunct="1">
              <a:buClr>
                <a:schemeClr val="tx2"/>
              </a:buClr>
              <a:buSzPct val="100000"/>
              <a:defRPr lang="x-none" sz="1400" baseline="0">
                <a:latin typeface="+mn-lt"/>
              </a:defRPr>
            </a:lvl1pPr>
            <a:lvl2pPr marL="193675" lvl="1" indent="-192088" defTabSz="895350" eaLnBrk="1" latinLnBrk="0" hangingPunct="1">
              <a:buClr>
                <a:schemeClr val="tx2"/>
              </a:buClr>
              <a:buSzPct val="125000"/>
              <a:buFont typeface="Arial" charset="0"/>
              <a:buChar char="▪"/>
              <a:defRPr lang="x-none" sz="1400" baseline="0">
                <a:latin typeface="+mn-lt"/>
              </a:defRPr>
            </a:lvl2pPr>
            <a:lvl3pPr marL="457200" lvl="2" indent="-261938" defTabSz="895350" eaLnBrk="1" latinLnBrk="0" hangingPunct="1">
              <a:buClr>
                <a:schemeClr val="tx2"/>
              </a:buClr>
              <a:buSzPct val="120000"/>
              <a:buFont typeface="Arial" charset="0"/>
              <a:buChar char="–"/>
              <a:defRPr lang="x-none" sz="1400" baseline="0">
                <a:latin typeface="+mn-lt"/>
              </a:defRPr>
            </a:lvl3pPr>
            <a:lvl4pPr marL="614363" lvl="3" indent="-155575" defTabSz="895350" eaLnBrk="1" latinLnBrk="0" hangingPunct="1">
              <a:buClr>
                <a:schemeClr val="tx2"/>
              </a:buClr>
              <a:buSzPct val="120000"/>
              <a:buFont typeface="Arial" charset="0"/>
              <a:buChar char="▫"/>
              <a:defRPr lang="x-none" sz="1400" baseline="0">
                <a:latin typeface="+mn-lt"/>
              </a:defRPr>
            </a:lvl4pPr>
            <a:lvl5pPr marL="749808" lvl="4" indent="-130175" defTabSz="895350" eaLnBrk="1" latinLnBrk="0" hangingPunct="1">
              <a:buClr>
                <a:schemeClr val="tx2"/>
              </a:buClr>
              <a:buSzPct val="89000"/>
              <a:buFont typeface="Arial" charset="0"/>
              <a:buChar char="-"/>
              <a:defRPr lang="x-none" sz="1400" baseline="0">
                <a:latin typeface="+mn-lt"/>
              </a:defRPr>
            </a:lvl5pPr>
            <a:lvl6pPr marL="749808" indent="-130175" defTabSz="895350" fontAlgn="base">
              <a:spcBef>
                <a:spcPct val="0"/>
              </a:spcBef>
              <a:spcAft>
                <a:spcPct val="0"/>
              </a:spcAft>
              <a:buClr>
                <a:schemeClr val="tx2"/>
              </a:buClr>
              <a:buSzPct val="89000"/>
              <a:buFont typeface="Arial" charset="0"/>
              <a:buChar char="-"/>
              <a:defRPr lang="x-none" baseline="0">
                <a:latin typeface="+mn-lt"/>
              </a:defRPr>
            </a:lvl6pPr>
            <a:lvl7pPr marL="749808" indent="-130175" defTabSz="895350" fontAlgn="base">
              <a:spcBef>
                <a:spcPct val="0"/>
              </a:spcBef>
              <a:spcAft>
                <a:spcPct val="0"/>
              </a:spcAft>
              <a:buClr>
                <a:schemeClr val="tx2"/>
              </a:buClr>
              <a:buSzPct val="89000"/>
              <a:buFont typeface="Arial" charset="0"/>
              <a:buChar char="-"/>
              <a:defRPr lang="x-none" baseline="0">
                <a:latin typeface="+mn-lt"/>
              </a:defRPr>
            </a:lvl7pPr>
            <a:lvl8pPr marL="749808" indent="-130175" defTabSz="895350" fontAlgn="base">
              <a:spcBef>
                <a:spcPct val="0"/>
              </a:spcBef>
              <a:spcAft>
                <a:spcPct val="0"/>
              </a:spcAft>
              <a:buClr>
                <a:schemeClr val="tx2"/>
              </a:buClr>
              <a:buSzPct val="89000"/>
              <a:buFont typeface="Arial" charset="0"/>
              <a:buChar char="-"/>
              <a:defRPr lang="x-none" baseline="0">
                <a:latin typeface="+mn-lt"/>
              </a:defRPr>
            </a:lvl8pPr>
            <a:lvl9pPr marL="749808" indent="-130175" defTabSz="895350" fontAlgn="base">
              <a:spcBef>
                <a:spcPct val="0"/>
              </a:spcBef>
              <a:spcAft>
                <a:spcPct val="0"/>
              </a:spcAft>
              <a:buClr>
                <a:schemeClr val="tx2"/>
              </a:buClr>
              <a:buSzPct val="89000"/>
              <a:buFont typeface="Arial" charset="0"/>
              <a:buChar char="-"/>
              <a:defRPr lang="x-none" baseline="0">
                <a:latin typeface="+mn-lt"/>
              </a:defRPr>
            </a:lvl9pPr>
          </a:lstStyle>
          <a:p>
            <a:pPr lvl="1">
              <a:spcBef>
                <a:spcPts val="300"/>
              </a:spcBef>
            </a:pPr>
            <a:r>
              <a:rPr lang="en-US" sz="1100" dirty="0"/>
              <a:t>Merger of two well-known construction companies to become the global leader in building materials</a:t>
            </a:r>
          </a:p>
        </p:txBody>
      </p:sp>
      <p:sp>
        <p:nvSpPr>
          <p:cNvPr id="5" name="TextBox 4"/>
          <p:cNvSpPr txBox="1">
            <a:spLocks/>
          </p:cNvSpPr>
          <p:nvPr/>
        </p:nvSpPr>
        <p:spPr>
          <a:xfrm>
            <a:off x="7116578" y="2666015"/>
            <a:ext cx="1596457" cy="792525"/>
          </a:xfrm>
          <a:prstGeom prst="rect">
            <a:avLst/>
          </a:prstGeom>
        </p:spPr>
        <p:txBody>
          <a:bodyPr vert="horz" wrap="square" lIns="0" tIns="0" rIns="0" bIns="0" rtlCol="0" anchor="t" anchorCtr="0">
            <a:spAutoFit/>
          </a:bodyPr>
          <a:lstStyle>
            <a:lvl1pPr marL="0" lvl="0" indent="0" defTabSz="895350" eaLnBrk="1" latinLnBrk="0" hangingPunct="1">
              <a:buClr>
                <a:schemeClr val="tx2"/>
              </a:buClr>
              <a:buSzPct val="100000"/>
              <a:defRPr lang="x-none" sz="1400" baseline="0">
                <a:latin typeface="+mn-lt"/>
              </a:defRPr>
            </a:lvl1pPr>
            <a:lvl2pPr marL="193675" lvl="1" indent="-192088" defTabSz="895350" eaLnBrk="1" latinLnBrk="0" hangingPunct="1">
              <a:buClr>
                <a:schemeClr val="tx2"/>
              </a:buClr>
              <a:buSzPct val="125000"/>
              <a:buFont typeface="Arial" charset="0"/>
              <a:buChar char="▪"/>
              <a:defRPr lang="x-none" sz="1400" baseline="0">
                <a:latin typeface="+mn-lt"/>
              </a:defRPr>
            </a:lvl2pPr>
            <a:lvl3pPr marL="457200" lvl="2" indent="-261938" defTabSz="895350" eaLnBrk="1" latinLnBrk="0" hangingPunct="1">
              <a:buClr>
                <a:schemeClr val="tx2"/>
              </a:buClr>
              <a:buSzPct val="120000"/>
              <a:buFont typeface="Arial" charset="0"/>
              <a:buChar char="–"/>
              <a:defRPr lang="x-none" sz="1400" baseline="0">
                <a:latin typeface="+mn-lt"/>
              </a:defRPr>
            </a:lvl3pPr>
            <a:lvl4pPr marL="614363" lvl="3" indent="-155575" defTabSz="895350" eaLnBrk="1" latinLnBrk="0" hangingPunct="1">
              <a:buClr>
                <a:schemeClr val="tx2"/>
              </a:buClr>
              <a:buSzPct val="120000"/>
              <a:buFont typeface="Arial" charset="0"/>
              <a:buChar char="▫"/>
              <a:defRPr lang="x-none" sz="1400" baseline="0">
                <a:latin typeface="+mn-lt"/>
              </a:defRPr>
            </a:lvl4pPr>
            <a:lvl5pPr marL="749808" lvl="4" indent="-130175" defTabSz="895350" eaLnBrk="1" latinLnBrk="0" hangingPunct="1">
              <a:buClr>
                <a:schemeClr val="tx2"/>
              </a:buClr>
              <a:buSzPct val="89000"/>
              <a:buFont typeface="Arial" charset="0"/>
              <a:buChar char="-"/>
              <a:defRPr lang="x-none" sz="1400" baseline="0">
                <a:latin typeface="+mn-lt"/>
              </a:defRPr>
            </a:lvl5pPr>
            <a:lvl6pPr marL="749808" indent="-130175" defTabSz="895350" fontAlgn="base">
              <a:spcBef>
                <a:spcPct val="0"/>
              </a:spcBef>
              <a:spcAft>
                <a:spcPct val="0"/>
              </a:spcAft>
              <a:buClr>
                <a:schemeClr val="tx2"/>
              </a:buClr>
              <a:buSzPct val="89000"/>
              <a:buFont typeface="Arial" charset="0"/>
              <a:buChar char="-"/>
              <a:defRPr lang="x-none" baseline="0">
                <a:latin typeface="+mn-lt"/>
              </a:defRPr>
            </a:lvl6pPr>
            <a:lvl7pPr marL="749808" indent="-130175" defTabSz="895350" fontAlgn="base">
              <a:spcBef>
                <a:spcPct val="0"/>
              </a:spcBef>
              <a:spcAft>
                <a:spcPct val="0"/>
              </a:spcAft>
              <a:buClr>
                <a:schemeClr val="tx2"/>
              </a:buClr>
              <a:buSzPct val="89000"/>
              <a:buFont typeface="Arial" charset="0"/>
              <a:buChar char="-"/>
              <a:defRPr lang="x-none" baseline="0">
                <a:latin typeface="+mn-lt"/>
              </a:defRPr>
            </a:lvl7pPr>
            <a:lvl8pPr marL="749808" indent="-130175" defTabSz="895350" fontAlgn="base">
              <a:spcBef>
                <a:spcPct val="0"/>
              </a:spcBef>
              <a:spcAft>
                <a:spcPct val="0"/>
              </a:spcAft>
              <a:buClr>
                <a:schemeClr val="tx2"/>
              </a:buClr>
              <a:buSzPct val="89000"/>
              <a:buFont typeface="Arial" charset="0"/>
              <a:buChar char="-"/>
              <a:defRPr lang="x-none" baseline="0">
                <a:latin typeface="+mn-lt"/>
              </a:defRPr>
            </a:lvl8pPr>
            <a:lvl9pPr marL="749808" indent="-130175" defTabSz="895350" fontAlgn="base">
              <a:spcBef>
                <a:spcPct val="0"/>
              </a:spcBef>
              <a:spcAft>
                <a:spcPct val="0"/>
              </a:spcAft>
              <a:buClr>
                <a:schemeClr val="tx2"/>
              </a:buClr>
              <a:buSzPct val="89000"/>
              <a:buFont typeface="Arial" charset="0"/>
              <a:buChar char="-"/>
              <a:defRPr lang="x-none" baseline="0">
                <a:latin typeface="+mn-lt"/>
              </a:defRPr>
            </a:lvl9pPr>
          </a:lstStyle>
          <a:p>
            <a:pPr lvl="1">
              <a:spcBef>
                <a:spcPts val="300"/>
              </a:spcBef>
            </a:pPr>
            <a:r>
              <a:rPr lang="en-US" sz="1100" dirty="0"/>
              <a:t>IMO</a:t>
            </a:r>
          </a:p>
          <a:p>
            <a:pPr lvl="1">
              <a:spcBef>
                <a:spcPts val="300"/>
              </a:spcBef>
            </a:pPr>
            <a:r>
              <a:rPr lang="en-US" sz="1100" dirty="0" err="1"/>
              <a:t>Masterplanning</a:t>
            </a:r>
            <a:endParaRPr lang="en-US" sz="1100" dirty="0"/>
          </a:p>
          <a:p>
            <a:pPr lvl="1">
              <a:spcBef>
                <a:spcPts val="300"/>
              </a:spcBef>
            </a:pPr>
            <a:r>
              <a:rPr lang="en-US" sz="1100" dirty="0"/>
              <a:t>Value Capture</a:t>
            </a:r>
          </a:p>
          <a:p>
            <a:pPr lvl="1">
              <a:spcBef>
                <a:spcPts val="300"/>
              </a:spcBef>
            </a:pPr>
            <a:r>
              <a:rPr lang="en-US" sz="1100" dirty="0"/>
              <a:t>Culture</a:t>
            </a:r>
          </a:p>
        </p:txBody>
      </p:sp>
      <p:sp>
        <p:nvSpPr>
          <p:cNvPr id="33" name="TextBox 32"/>
          <p:cNvSpPr txBox="1">
            <a:spLocks/>
          </p:cNvSpPr>
          <p:nvPr/>
        </p:nvSpPr>
        <p:spPr>
          <a:xfrm>
            <a:off x="3478743" y="2666015"/>
            <a:ext cx="3487440" cy="792525"/>
          </a:xfrm>
          <a:prstGeom prst="rect">
            <a:avLst/>
          </a:prstGeom>
        </p:spPr>
        <p:txBody>
          <a:bodyPr vert="horz" wrap="square" lIns="0" tIns="0" rIns="0" bIns="0" rtlCol="0" anchor="t" anchorCtr="0">
            <a:spAutoFit/>
          </a:bodyPr>
          <a:lstStyle>
            <a:lvl1pPr marL="0" lvl="0" indent="0" defTabSz="895350" eaLnBrk="1" latinLnBrk="0" hangingPunct="1">
              <a:buClr>
                <a:schemeClr val="tx2"/>
              </a:buClr>
              <a:buSzPct val="100000"/>
              <a:defRPr lang="x-none" sz="1400" baseline="0">
                <a:latin typeface="+mn-lt"/>
              </a:defRPr>
            </a:lvl1pPr>
            <a:lvl2pPr marL="193675" lvl="1" indent="-192088" defTabSz="895350" eaLnBrk="1" latinLnBrk="0" hangingPunct="1">
              <a:buClr>
                <a:schemeClr val="tx2"/>
              </a:buClr>
              <a:buSzPct val="125000"/>
              <a:buFont typeface="Arial" charset="0"/>
              <a:buChar char="▪"/>
              <a:defRPr lang="x-none" sz="1400" baseline="0">
                <a:latin typeface="+mn-lt"/>
              </a:defRPr>
            </a:lvl2pPr>
            <a:lvl3pPr marL="457200" lvl="2" indent="-261938" defTabSz="895350" eaLnBrk="1" latinLnBrk="0" hangingPunct="1">
              <a:buClr>
                <a:schemeClr val="tx2"/>
              </a:buClr>
              <a:buSzPct val="120000"/>
              <a:buFont typeface="Arial" charset="0"/>
              <a:buChar char="–"/>
              <a:defRPr lang="x-none" sz="1400" baseline="0">
                <a:latin typeface="+mn-lt"/>
              </a:defRPr>
            </a:lvl3pPr>
            <a:lvl4pPr marL="614363" lvl="3" indent="-155575" defTabSz="895350" eaLnBrk="1" latinLnBrk="0" hangingPunct="1">
              <a:buClr>
                <a:schemeClr val="tx2"/>
              </a:buClr>
              <a:buSzPct val="120000"/>
              <a:buFont typeface="Arial" charset="0"/>
              <a:buChar char="▫"/>
              <a:defRPr lang="x-none" sz="1400" baseline="0">
                <a:latin typeface="+mn-lt"/>
              </a:defRPr>
            </a:lvl4pPr>
            <a:lvl5pPr marL="749808" lvl="4" indent="-130175" defTabSz="895350" eaLnBrk="1" latinLnBrk="0" hangingPunct="1">
              <a:buClr>
                <a:schemeClr val="tx2"/>
              </a:buClr>
              <a:buSzPct val="89000"/>
              <a:buFont typeface="Arial" charset="0"/>
              <a:buChar char="-"/>
              <a:defRPr lang="x-none" sz="1400" baseline="0">
                <a:latin typeface="+mn-lt"/>
              </a:defRPr>
            </a:lvl5pPr>
            <a:lvl6pPr marL="749808" indent="-130175" defTabSz="895350" fontAlgn="base">
              <a:spcBef>
                <a:spcPct val="0"/>
              </a:spcBef>
              <a:spcAft>
                <a:spcPct val="0"/>
              </a:spcAft>
              <a:buClr>
                <a:schemeClr val="tx2"/>
              </a:buClr>
              <a:buSzPct val="89000"/>
              <a:buFont typeface="Arial" charset="0"/>
              <a:buChar char="-"/>
              <a:defRPr lang="x-none" baseline="0">
                <a:latin typeface="+mn-lt"/>
              </a:defRPr>
            </a:lvl6pPr>
            <a:lvl7pPr marL="749808" indent="-130175" defTabSz="895350" fontAlgn="base">
              <a:spcBef>
                <a:spcPct val="0"/>
              </a:spcBef>
              <a:spcAft>
                <a:spcPct val="0"/>
              </a:spcAft>
              <a:buClr>
                <a:schemeClr val="tx2"/>
              </a:buClr>
              <a:buSzPct val="89000"/>
              <a:buFont typeface="Arial" charset="0"/>
              <a:buChar char="-"/>
              <a:defRPr lang="x-none" baseline="0">
                <a:latin typeface="+mn-lt"/>
              </a:defRPr>
            </a:lvl7pPr>
            <a:lvl8pPr marL="749808" indent="-130175" defTabSz="895350" fontAlgn="base">
              <a:spcBef>
                <a:spcPct val="0"/>
              </a:spcBef>
              <a:spcAft>
                <a:spcPct val="0"/>
              </a:spcAft>
              <a:buClr>
                <a:schemeClr val="tx2"/>
              </a:buClr>
              <a:buSzPct val="89000"/>
              <a:buFont typeface="Arial" charset="0"/>
              <a:buChar char="-"/>
              <a:defRPr lang="x-none" baseline="0">
                <a:latin typeface="+mn-lt"/>
              </a:defRPr>
            </a:lvl8pPr>
            <a:lvl9pPr marL="749808" indent="-130175" defTabSz="895350" fontAlgn="base">
              <a:spcBef>
                <a:spcPct val="0"/>
              </a:spcBef>
              <a:spcAft>
                <a:spcPct val="0"/>
              </a:spcAft>
              <a:buClr>
                <a:schemeClr val="tx2"/>
              </a:buClr>
              <a:buSzPct val="89000"/>
              <a:buFont typeface="Arial" charset="0"/>
              <a:buChar char="-"/>
              <a:defRPr lang="x-none" baseline="0">
                <a:latin typeface="+mn-lt"/>
              </a:defRPr>
            </a:lvl9pPr>
          </a:lstStyle>
          <a:p>
            <a:pPr lvl="1">
              <a:spcBef>
                <a:spcPts val="300"/>
              </a:spcBef>
            </a:pPr>
            <a:r>
              <a:rPr lang="en-US" sz="1100" dirty="0"/>
              <a:t>Different operating models</a:t>
            </a:r>
          </a:p>
          <a:p>
            <a:pPr lvl="1">
              <a:spcBef>
                <a:spcPts val="300"/>
              </a:spcBef>
            </a:pPr>
            <a:r>
              <a:rPr lang="en-US" sz="1100" dirty="0"/>
              <a:t>Different cultures</a:t>
            </a:r>
          </a:p>
          <a:p>
            <a:pPr lvl="1">
              <a:spcBef>
                <a:spcPts val="300"/>
              </a:spcBef>
            </a:pPr>
            <a:r>
              <a:rPr lang="en-US" sz="1100" dirty="0"/>
              <a:t>Transcontinental deal involving multiple countries</a:t>
            </a:r>
          </a:p>
          <a:p>
            <a:pPr lvl="1">
              <a:spcBef>
                <a:spcPts val="300"/>
              </a:spcBef>
            </a:pPr>
            <a:r>
              <a:rPr lang="en-US" sz="1100" dirty="0"/>
              <a:t>Industry in downturn</a:t>
            </a:r>
          </a:p>
        </p:txBody>
      </p:sp>
      <p:sp>
        <p:nvSpPr>
          <p:cNvPr id="58" name="Marvintrackercircle">
            <a:extLst>
              <a:ext uri="{FF2B5EF4-FFF2-40B4-BE49-F238E27FC236}">
                <a16:creationId xmlns:a16="http://schemas.microsoft.com/office/drawing/2014/main" id="{A7DA7946-62F3-4291-AD1C-4B5B06F2DBBC}"/>
              </a:ext>
            </a:extLst>
          </p:cNvPr>
          <p:cNvSpPr/>
          <p:nvPr>
            <p:custDataLst>
              <p:tags r:id="rId5"/>
            </p:custDataLst>
          </p:nvPr>
        </p:nvSpPr>
        <p:spPr>
          <a:xfrm>
            <a:off x="248404" y="2666015"/>
            <a:ext cx="201168" cy="201168"/>
          </a:xfrm>
          <a:prstGeom prst="ellipse">
            <a:avLst/>
          </a:prstGeom>
          <a:solidFill>
            <a:schemeClr val="accent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p>
            <a:pPr algn="ctr"/>
            <a:r>
              <a:rPr lang="en-US" sz="1100" b="1" dirty="0">
                <a:solidFill>
                  <a:schemeClr val="accent3"/>
                </a:solidFill>
              </a:rPr>
              <a:t>C</a:t>
            </a:r>
            <a:endParaRPr lang="en-GB" sz="1100" b="1" dirty="0">
              <a:solidFill>
                <a:schemeClr val="accent3"/>
              </a:solidFill>
            </a:endParaRPr>
          </a:p>
        </p:txBody>
      </p:sp>
      <p:sp>
        <p:nvSpPr>
          <p:cNvPr id="13" name="TextBox 12"/>
          <p:cNvSpPr txBox="1">
            <a:spLocks/>
          </p:cNvSpPr>
          <p:nvPr/>
        </p:nvSpPr>
        <p:spPr>
          <a:xfrm>
            <a:off x="319539" y="4413001"/>
            <a:ext cx="3008809" cy="507831"/>
          </a:xfrm>
          <a:prstGeom prst="rect">
            <a:avLst/>
          </a:prstGeom>
        </p:spPr>
        <p:txBody>
          <a:bodyPr vert="horz" wrap="square" lIns="0" tIns="0" rIns="0" bIns="0" rtlCol="0" anchor="t" anchorCtr="0">
            <a:spAutoFit/>
          </a:bodyPr>
          <a:lstStyle>
            <a:lvl1pPr marL="0" lvl="0" indent="0" defTabSz="895350" eaLnBrk="1" latinLnBrk="0" hangingPunct="1">
              <a:buClr>
                <a:schemeClr val="tx2"/>
              </a:buClr>
              <a:buSzPct val="100000"/>
              <a:defRPr lang="x-none" sz="1400" baseline="0">
                <a:latin typeface="+mn-lt"/>
              </a:defRPr>
            </a:lvl1pPr>
            <a:lvl2pPr marL="193675" lvl="1" indent="-192088" defTabSz="895350" eaLnBrk="1" latinLnBrk="0" hangingPunct="1">
              <a:buClr>
                <a:schemeClr val="tx2"/>
              </a:buClr>
              <a:buSzPct val="125000"/>
              <a:buFont typeface="Arial" charset="0"/>
              <a:buChar char="▪"/>
              <a:defRPr lang="x-none" sz="1400" baseline="0">
                <a:latin typeface="+mn-lt"/>
              </a:defRPr>
            </a:lvl2pPr>
            <a:lvl3pPr marL="457200" lvl="2" indent="-261938" defTabSz="895350" eaLnBrk="1" latinLnBrk="0" hangingPunct="1">
              <a:buClr>
                <a:schemeClr val="tx2"/>
              </a:buClr>
              <a:buSzPct val="120000"/>
              <a:buFont typeface="Arial" charset="0"/>
              <a:buChar char="–"/>
              <a:defRPr lang="x-none" sz="1400" baseline="0">
                <a:latin typeface="+mn-lt"/>
              </a:defRPr>
            </a:lvl3pPr>
            <a:lvl4pPr marL="614363" lvl="3" indent="-155575" defTabSz="895350" eaLnBrk="1" latinLnBrk="0" hangingPunct="1">
              <a:buClr>
                <a:schemeClr val="tx2"/>
              </a:buClr>
              <a:buSzPct val="120000"/>
              <a:buFont typeface="Arial" charset="0"/>
              <a:buChar char="▫"/>
              <a:defRPr lang="x-none" sz="1400" baseline="0">
                <a:latin typeface="+mn-lt"/>
              </a:defRPr>
            </a:lvl4pPr>
            <a:lvl5pPr marL="749808" lvl="4" indent="-130175" defTabSz="895350" eaLnBrk="1" latinLnBrk="0" hangingPunct="1">
              <a:buClr>
                <a:schemeClr val="tx2"/>
              </a:buClr>
              <a:buSzPct val="89000"/>
              <a:buFont typeface="Arial" charset="0"/>
              <a:buChar char="-"/>
              <a:defRPr lang="x-none" sz="1400" baseline="0">
                <a:latin typeface="+mn-lt"/>
              </a:defRPr>
            </a:lvl5pPr>
            <a:lvl6pPr marL="749808" indent="-130175" defTabSz="895350" fontAlgn="base">
              <a:spcBef>
                <a:spcPct val="0"/>
              </a:spcBef>
              <a:spcAft>
                <a:spcPct val="0"/>
              </a:spcAft>
              <a:buClr>
                <a:schemeClr val="tx2"/>
              </a:buClr>
              <a:buSzPct val="89000"/>
              <a:buFont typeface="Arial" charset="0"/>
              <a:buChar char="-"/>
              <a:defRPr lang="x-none" baseline="0">
                <a:latin typeface="+mn-lt"/>
              </a:defRPr>
            </a:lvl6pPr>
            <a:lvl7pPr marL="749808" indent="-130175" defTabSz="895350" fontAlgn="base">
              <a:spcBef>
                <a:spcPct val="0"/>
              </a:spcBef>
              <a:spcAft>
                <a:spcPct val="0"/>
              </a:spcAft>
              <a:buClr>
                <a:schemeClr val="tx2"/>
              </a:buClr>
              <a:buSzPct val="89000"/>
              <a:buFont typeface="Arial" charset="0"/>
              <a:buChar char="-"/>
              <a:defRPr lang="x-none" baseline="0">
                <a:latin typeface="+mn-lt"/>
              </a:defRPr>
            </a:lvl7pPr>
            <a:lvl8pPr marL="749808" indent="-130175" defTabSz="895350" fontAlgn="base">
              <a:spcBef>
                <a:spcPct val="0"/>
              </a:spcBef>
              <a:spcAft>
                <a:spcPct val="0"/>
              </a:spcAft>
              <a:buClr>
                <a:schemeClr val="tx2"/>
              </a:buClr>
              <a:buSzPct val="89000"/>
              <a:buFont typeface="Arial" charset="0"/>
              <a:buChar char="-"/>
              <a:defRPr lang="x-none" baseline="0">
                <a:latin typeface="+mn-lt"/>
              </a:defRPr>
            </a:lvl8pPr>
            <a:lvl9pPr marL="749808" indent="-130175" defTabSz="895350" fontAlgn="base">
              <a:spcBef>
                <a:spcPct val="0"/>
              </a:spcBef>
              <a:spcAft>
                <a:spcPct val="0"/>
              </a:spcAft>
              <a:buClr>
                <a:schemeClr val="tx2"/>
              </a:buClr>
              <a:buSzPct val="89000"/>
              <a:buFont typeface="Arial" charset="0"/>
              <a:buChar char="-"/>
              <a:defRPr lang="x-none" baseline="0">
                <a:latin typeface="+mn-lt"/>
              </a:defRPr>
            </a:lvl9pPr>
          </a:lstStyle>
          <a:p>
            <a:pPr lvl="1">
              <a:spcBef>
                <a:spcPts val="300"/>
              </a:spcBef>
            </a:pPr>
            <a:r>
              <a:rPr lang="en-US" sz="1100" dirty="0"/>
              <a:t>Merger of two well-known packaging companies to become a global leader in packaging sub making</a:t>
            </a:r>
          </a:p>
        </p:txBody>
      </p:sp>
      <p:sp>
        <p:nvSpPr>
          <p:cNvPr id="16" name="TextBox 15"/>
          <p:cNvSpPr txBox="1">
            <a:spLocks/>
          </p:cNvSpPr>
          <p:nvPr/>
        </p:nvSpPr>
        <p:spPr>
          <a:xfrm>
            <a:off x="7116578" y="4413001"/>
            <a:ext cx="1596457" cy="1000274"/>
          </a:xfrm>
          <a:prstGeom prst="rect">
            <a:avLst/>
          </a:prstGeom>
        </p:spPr>
        <p:txBody>
          <a:bodyPr vert="horz" wrap="square" lIns="0" tIns="0" rIns="0" bIns="0" rtlCol="0" anchor="t" anchorCtr="0">
            <a:spAutoFit/>
          </a:bodyPr>
          <a:lstStyle>
            <a:lvl1pPr marL="0" lvl="0" indent="0" defTabSz="895350" eaLnBrk="1" latinLnBrk="0" hangingPunct="1">
              <a:buClr>
                <a:schemeClr val="tx2"/>
              </a:buClr>
              <a:buSzPct val="100000"/>
              <a:defRPr lang="x-none" sz="1400" baseline="0">
                <a:latin typeface="+mn-lt"/>
              </a:defRPr>
            </a:lvl1pPr>
            <a:lvl2pPr marL="193675" lvl="1" indent="-192088" defTabSz="895350" eaLnBrk="1" latinLnBrk="0" hangingPunct="1">
              <a:buClr>
                <a:schemeClr val="tx2"/>
              </a:buClr>
              <a:buSzPct val="125000"/>
              <a:buFont typeface="Arial" charset="0"/>
              <a:buChar char="▪"/>
              <a:defRPr lang="x-none" sz="1400" baseline="0">
                <a:latin typeface="+mn-lt"/>
              </a:defRPr>
            </a:lvl2pPr>
            <a:lvl3pPr marL="457200" lvl="2" indent="-261938" defTabSz="895350" eaLnBrk="1" latinLnBrk="0" hangingPunct="1">
              <a:buClr>
                <a:schemeClr val="tx2"/>
              </a:buClr>
              <a:buSzPct val="120000"/>
              <a:buFont typeface="Arial" charset="0"/>
              <a:buChar char="–"/>
              <a:defRPr lang="x-none" sz="1400" baseline="0">
                <a:latin typeface="+mn-lt"/>
              </a:defRPr>
            </a:lvl3pPr>
            <a:lvl4pPr marL="614363" lvl="3" indent="-155575" defTabSz="895350" eaLnBrk="1" latinLnBrk="0" hangingPunct="1">
              <a:buClr>
                <a:schemeClr val="tx2"/>
              </a:buClr>
              <a:buSzPct val="120000"/>
              <a:buFont typeface="Arial" charset="0"/>
              <a:buChar char="▫"/>
              <a:defRPr lang="x-none" sz="1400" baseline="0">
                <a:latin typeface="+mn-lt"/>
              </a:defRPr>
            </a:lvl4pPr>
            <a:lvl5pPr marL="749808" lvl="4" indent="-130175" defTabSz="895350" eaLnBrk="1" latinLnBrk="0" hangingPunct="1">
              <a:buClr>
                <a:schemeClr val="tx2"/>
              </a:buClr>
              <a:buSzPct val="89000"/>
              <a:buFont typeface="Arial" charset="0"/>
              <a:buChar char="-"/>
              <a:defRPr lang="x-none" sz="1400" baseline="0">
                <a:latin typeface="+mn-lt"/>
              </a:defRPr>
            </a:lvl5pPr>
            <a:lvl6pPr marL="749808" indent="-130175" defTabSz="895350" fontAlgn="base">
              <a:spcBef>
                <a:spcPct val="0"/>
              </a:spcBef>
              <a:spcAft>
                <a:spcPct val="0"/>
              </a:spcAft>
              <a:buClr>
                <a:schemeClr val="tx2"/>
              </a:buClr>
              <a:buSzPct val="89000"/>
              <a:buFont typeface="Arial" charset="0"/>
              <a:buChar char="-"/>
              <a:defRPr lang="x-none" baseline="0">
                <a:latin typeface="+mn-lt"/>
              </a:defRPr>
            </a:lvl6pPr>
            <a:lvl7pPr marL="749808" indent="-130175" defTabSz="895350" fontAlgn="base">
              <a:spcBef>
                <a:spcPct val="0"/>
              </a:spcBef>
              <a:spcAft>
                <a:spcPct val="0"/>
              </a:spcAft>
              <a:buClr>
                <a:schemeClr val="tx2"/>
              </a:buClr>
              <a:buSzPct val="89000"/>
              <a:buFont typeface="Arial" charset="0"/>
              <a:buChar char="-"/>
              <a:defRPr lang="x-none" baseline="0">
                <a:latin typeface="+mn-lt"/>
              </a:defRPr>
            </a:lvl7pPr>
            <a:lvl8pPr marL="749808" indent="-130175" defTabSz="895350" fontAlgn="base">
              <a:spcBef>
                <a:spcPct val="0"/>
              </a:spcBef>
              <a:spcAft>
                <a:spcPct val="0"/>
              </a:spcAft>
              <a:buClr>
                <a:schemeClr val="tx2"/>
              </a:buClr>
              <a:buSzPct val="89000"/>
              <a:buFont typeface="Arial" charset="0"/>
              <a:buChar char="-"/>
              <a:defRPr lang="x-none" baseline="0">
                <a:latin typeface="+mn-lt"/>
              </a:defRPr>
            </a:lvl8pPr>
            <a:lvl9pPr marL="749808" indent="-130175" defTabSz="895350" fontAlgn="base">
              <a:spcBef>
                <a:spcPct val="0"/>
              </a:spcBef>
              <a:spcAft>
                <a:spcPct val="0"/>
              </a:spcAft>
              <a:buClr>
                <a:schemeClr val="tx2"/>
              </a:buClr>
              <a:buSzPct val="89000"/>
              <a:buFont typeface="Arial" charset="0"/>
              <a:buChar char="-"/>
              <a:defRPr lang="x-none" baseline="0">
                <a:latin typeface="+mn-lt"/>
              </a:defRPr>
            </a:lvl9pPr>
          </a:lstStyle>
          <a:p>
            <a:pPr lvl="1">
              <a:spcBef>
                <a:spcPts val="300"/>
              </a:spcBef>
            </a:pPr>
            <a:r>
              <a:rPr lang="en-US" sz="1100" dirty="0"/>
              <a:t>IMO</a:t>
            </a:r>
          </a:p>
          <a:p>
            <a:pPr lvl="1">
              <a:spcBef>
                <a:spcPts val="300"/>
              </a:spcBef>
            </a:pPr>
            <a:r>
              <a:rPr lang="en-US" sz="1100" dirty="0" err="1"/>
              <a:t>Masterplanning</a:t>
            </a:r>
            <a:endParaRPr lang="en-US" sz="1100" dirty="0"/>
          </a:p>
          <a:p>
            <a:pPr lvl="1">
              <a:spcBef>
                <a:spcPts val="300"/>
              </a:spcBef>
            </a:pPr>
            <a:r>
              <a:rPr lang="en-US" sz="1100" dirty="0"/>
              <a:t>Value Capture</a:t>
            </a:r>
          </a:p>
          <a:p>
            <a:pPr lvl="1">
              <a:spcBef>
                <a:spcPts val="300"/>
              </a:spcBef>
            </a:pPr>
            <a:r>
              <a:rPr lang="en-US" sz="1100" dirty="0"/>
              <a:t>Culture</a:t>
            </a:r>
          </a:p>
          <a:p>
            <a:pPr lvl="1">
              <a:spcBef>
                <a:spcPts val="300"/>
              </a:spcBef>
            </a:pPr>
            <a:r>
              <a:rPr lang="en-US" sz="1100" dirty="0"/>
              <a:t>Functional integration</a:t>
            </a:r>
          </a:p>
        </p:txBody>
      </p:sp>
      <p:sp>
        <p:nvSpPr>
          <p:cNvPr id="20" name="TextBox 19"/>
          <p:cNvSpPr txBox="1">
            <a:spLocks/>
          </p:cNvSpPr>
          <p:nvPr/>
        </p:nvSpPr>
        <p:spPr>
          <a:xfrm>
            <a:off x="3478743" y="4413001"/>
            <a:ext cx="3487440" cy="169277"/>
          </a:xfrm>
          <a:prstGeom prst="rect">
            <a:avLst/>
          </a:prstGeom>
        </p:spPr>
        <p:txBody>
          <a:bodyPr vert="horz" wrap="square" lIns="0" tIns="0" rIns="0" bIns="0" rtlCol="0" anchor="t" anchorCtr="0">
            <a:spAutoFit/>
          </a:bodyPr>
          <a:lstStyle>
            <a:lvl1pPr marL="0" lvl="0" indent="0" defTabSz="895350" eaLnBrk="1" latinLnBrk="0" hangingPunct="1">
              <a:buClr>
                <a:schemeClr val="tx2"/>
              </a:buClr>
              <a:buSzPct val="100000"/>
              <a:defRPr lang="x-none" sz="1400" baseline="0">
                <a:latin typeface="+mn-lt"/>
              </a:defRPr>
            </a:lvl1pPr>
            <a:lvl2pPr marL="193675" lvl="1" indent="-192088" defTabSz="895350" eaLnBrk="1" latinLnBrk="0" hangingPunct="1">
              <a:buClr>
                <a:schemeClr val="tx2"/>
              </a:buClr>
              <a:buSzPct val="125000"/>
              <a:buFont typeface="Arial" charset="0"/>
              <a:buChar char="▪"/>
              <a:defRPr lang="x-none" sz="1400" baseline="0">
                <a:latin typeface="+mn-lt"/>
              </a:defRPr>
            </a:lvl2pPr>
            <a:lvl3pPr marL="457200" lvl="2" indent="-261938" defTabSz="895350" eaLnBrk="1" latinLnBrk="0" hangingPunct="1">
              <a:buClr>
                <a:schemeClr val="tx2"/>
              </a:buClr>
              <a:buSzPct val="120000"/>
              <a:buFont typeface="Arial" charset="0"/>
              <a:buChar char="–"/>
              <a:defRPr lang="x-none" sz="1400" baseline="0">
                <a:latin typeface="+mn-lt"/>
              </a:defRPr>
            </a:lvl3pPr>
            <a:lvl4pPr marL="614363" lvl="3" indent="-155575" defTabSz="895350" eaLnBrk="1" latinLnBrk="0" hangingPunct="1">
              <a:buClr>
                <a:schemeClr val="tx2"/>
              </a:buClr>
              <a:buSzPct val="120000"/>
              <a:buFont typeface="Arial" charset="0"/>
              <a:buChar char="▫"/>
              <a:defRPr lang="x-none" sz="1400" baseline="0">
                <a:latin typeface="+mn-lt"/>
              </a:defRPr>
            </a:lvl4pPr>
            <a:lvl5pPr marL="749808" lvl="4" indent="-130175" defTabSz="895350" eaLnBrk="1" latinLnBrk="0" hangingPunct="1">
              <a:buClr>
                <a:schemeClr val="tx2"/>
              </a:buClr>
              <a:buSzPct val="89000"/>
              <a:buFont typeface="Arial" charset="0"/>
              <a:buChar char="-"/>
              <a:defRPr lang="x-none" sz="1400" baseline="0">
                <a:latin typeface="+mn-lt"/>
              </a:defRPr>
            </a:lvl5pPr>
            <a:lvl6pPr marL="749808" indent="-130175" defTabSz="895350" fontAlgn="base">
              <a:spcBef>
                <a:spcPct val="0"/>
              </a:spcBef>
              <a:spcAft>
                <a:spcPct val="0"/>
              </a:spcAft>
              <a:buClr>
                <a:schemeClr val="tx2"/>
              </a:buClr>
              <a:buSzPct val="89000"/>
              <a:buFont typeface="Arial" charset="0"/>
              <a:buChar char="-"/>
              <a:defRPr lang="x-none" baseline="0">
                <a:latin typeface="+mn-lt"/>
              </a:defRPr>
            </a:lvl6pPr>
            <a:lvl7pPr marL="749808" indent="-130175" defTabSz="895350" fontAlgn="base">
              <a:spcBef>
                <a:spcPct val="0"/>
              </a:spcBef>
              <a:spcAft>
                <a:spcPct val="0"/>
              </a:spcAft>
              <a:buClr>
                <a:schemeClr val="tx2"/>
              </a:buClr>
              <a:buSzPct val="89000"/>
              <a:buFont typeface="Arial" charset="0"/>
              <a:buChar char="-"/>
              <a:defRPr lang="x-none" baseline="0">
                <a:latin typeface="+mn-lt"/>
              </a:defRPr>
            </a:lvl7pPr>
            <a:lvl8pPr marL="749808" indent="-130175" defTabSz="895350" fontAlgn="base">
              <a:spcBef>
                <a:spcPct val="0"/>
              </a:spcBef>
              <a:spcAft>
                <a:spcPct val="0"/>
              </a:spcAft>
              <a:buClr>
                <a:schemeClr val="tx2"/>
              </a:buClr>
              <a:buSzPct val="89000"/>
              <a:buFont typeface="Arial" charset="0"/>
              <a:buChar char="-"/>
              <a:defRPr lang="x-none" baseline="0">
                <a:latin typeface="+mn-lt"/>
              </a:defRPr>
            </a:lvl8pPr>
            <a:lvl9pPr marL="749808" indent="-130175" defTabSz="895350" fontAlgn="base">
              <a:spcBef>
                <a:spcPct val="0"/>
              </a:spcBef>
              <a:spcAft>
                <a:spcPct val="0"/>
              </a:spcAft>
              <a:buClr>
                <a:schemeClr val="tx2"/>
              </a:buClr>
              <a:buSzPct val="89000"/>
              <a:buFont typeface="Arial" charset="0"/>
              <a:buChar char="-"/>
              <a:defRPr lang="x-none" baseline="0">
                <a:latin typeface="+mn-lt"/>
              </a:defRPr>
            </a:lvl9pPr>
          </a:lstStyle>
          <a:p>
            <a:pPr lvl="1">
              <a:spcBef>
                <a:spcPts val="300"/>
              </a:spcBef>
            </a:pPr>
            <a:r>
              <a:rPr lang="en-US" sz="1100" dirty="0"/>
              <a:t>Complex deal structure including spin-off</a:t>
            </a:r>
          </a:p>
        </p:txBody>
      </p:sp>
      <p:sp>
        <p:nvSpPr>
          <p:cNvPr id="60" name="Marvintrackercircle">
            <a:extLst>
              <a:ext uri="{FF2B5EF4-FFF2-40B4-BE49-F238E27FC236}">
                <a16:creationId xmlns:a16="http://schemas.microsoft.com/office/drawing/2014/main" id="{391C2D89-4C25-4567-8A68-A149504363FC}"/>
              </a:ext>
            </a:extLst>
          </p:cNvPr>
          <p:cNvSpPr/>
          <p:nvPr>
            <p:custDataLst>
              <p:tags r:id="rId6"/>
            </p:custDataLst>
          </p:nvPr>
        </p:nvSpPr>
        <p:spPr>
          <a:xfrm>
            <a:off x="248404" y="4413001"/>
            <a:ext cx="201168" cy="201168"/>
          </a:xfrm>
          <a:prstGeom prst="ellipse">
            <a:avLst/>
          </a:prstGeom>
          <a:solidFill>
            <a:schemeClr val="accent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p>
            <a:pPr algn="ctr"/>
            <a:r>
              <a:rPr lang="en-US" sz="1100" b="1" dirty="0">
                <a:solidFill>
                  <a:schemeClr val="accent3"/>
                </a:solidFill>
              </a:rPr>
              <a:t>E</a:t>
            </a:r>
            <a:endParaRPr lang="en-GB" sz="1100" b="1" dirty="0">
              <a:solidFill>
                <a:schemeClr val="accent3"/>
              </a:solidFill>
            </a:endParaRPr>
          </a:p>
        </p:txBody>
      </p:sp>
      <p:sp>
        <p:nvSpPr>
          <p:cNvPr id="70" name="TextBox 69"/>
          <p:cNvSpPr txBox="1">
            <a:spLocks/>
          </p:cNvSpPr>
          <p:nvPr/>
        </p:nvSpPr>
        <p:spPr>
          <a:xfrm>
            <a:off x="319539" y="3539508"/>
            <a:ext cx="3008809" cy="677108"/>
          </a:xfrm>
          <a:prstGeom prst="rect">
            <a:avLst/>
          </a:prstGeom>
        </p:spPr>
        <p:txBody>
          <a:bodyPr vert="horz" wrap="square" lIns="0" tIns="0" rIns="0" bIns="0" rtlCol="0" anchor="t" anchorCtr="0">
            <a:spAutoFit/>
          </a:bodyPr>
          <a:lstStyle>
            <a:lvl1pPr marL="0" lvl="0" indent="0" defTabSz="895350" eaLnBrk="1" latinLnBrk="0" hangingPunct="1">
              <a:buClr>
                <a:schemeClr val="tx2"/>
              </a:buClr>
              <a:buSzPct val="100000"/>
              <a:defRPr lang="x-none" sz="1400" baseline="0">
                <a:latin typeface="+mn-lt"/>
              </a:defRPr>
            </a:lvl1pPr>
            <a:lvl2pPr marL="193675" lvl="1" indent="-192088" defTabSz="895350" eaLnBrk="1" latinLnBrk="0" hangingPunct="1">
              <a:buClr>
                <a:schemeClr val="tx2"/>
              </a:buClr>
              <a:buSzPct val="125000"/>
              <a:buFont typeface="Arial" charset="0"/>
              <a:buChar char="▪"/>
              <a:defRPr lang="x-none" sz="1400" baseline="0">
                <a:latin typeface="+mn-lt"/>
              </a:defRPr>
            </a:lvl2pPr>
            <a:lvl3pPr marL="457200" lvl="2" indent="-261938" defTabSz="895350" eaLnBrk="1" latinLnBrk="0" hangingPunct="1">
              <a:buClr>
                <a:schemeClr val="tx2"/>
              </a:buClr>
              <a:buSzPct val="120000"/>
              <a:buFont typeface="Arial" charset="0"/>
              <a:buChar char="–"/>
              <a:defRPr lang="x-none" sz="1400" baseline="0">
                <a:latin typeface="+mn-lt"/>
              </a:defRPr>
            </a:lvl3pPr>
            <a:lvl4pPr marL="614363" lvl="3" indent="-155575" defTabSz="895350" eaLnBrk="1" latinLnBrk="0" hangingPunct="1">
              <a:buClr>
                <a:schemeClr val="tx2"/>
              </a:buClr>
              <a:buSzPct val="120000"/>
              <a:buFont typeface="Arial" charset="0"/>
              <a:buChar char="▫"/>
              <a:defRPr lang="x-none" sz="1400" baseline="0">
                <a:latin typeface="+mn-lt"/>
              </a:defRPr>
            </a:lvl4pPr>
            <a:lvl5pPr marL="749808" lvl="4" indent="-130175" defTabSz="895350" eaLnBrk="1" latinLnBrk="0" hangingPunct="1">
              <a:buClr>
                <a:schemeClr val="tx2"/>
              </a:buClr>
              <a:buSzPct val="89000"/>
              <a:buFont typeface="Arial" charset="0"/>
              <a:buChar char="-"/>
              <a:defRPr lang="x-none" sz="1400" baseline="0">
                <a:latin typeface="+mn-lt"/>
              </a:defRPr>
            </a:lvl5pPr>
            <a:lvl6pPr marL="749808" indent="-130175" defTabSz="895350" fontAlgn="base">
              <a:spcBef>
                <a:spcPct val="0"/>
              </a:spcBef>
              <a:spcAft>
                <a:spcPct val="0"/>
              </a:spcAft>
              <a:buClr>
                <a:schemeClr val="tx2"/>
              </a:buClr>
              <a:buSzPct val="89000"/>
              <a:buFont typeface="Arial" charset="0"/>
              <a:buChar char="-"/>
              <a:defRPr lang="x-none" baseline="0">
                <a:latin typeface="+mn-lt"/>
              </a:defRPr>
            </a:lvl6pPr>
            <a:lvl7pPr marL="749808" indent="-130175" defTabSz="895350" fontAlgn="base">
              <a:spcBef>
                <a:spcPct val="0"/>
              </a:spcBef>
              <a:spcAft>
                <a:spcPct val="0"/>
              </a:spcAft>
              <a:buClr>
                <a:schemeClr val="tx2"/>
              </a:buClr>
              <a:buSzPct val="89000"/>
              <a:buFont typeface="Arial" charset="0"/>
              <a:buChar char="-"/>
              <a:defRPr lang="x-none" baseline="0">
                <a:latin typeface="+mn-lt"/>
              </a:defRPr>
            </a:lvl7pPr>
            <a:lvl8pPr marL="749808" indent="-130175" defTabSz="895350" fontAlgn="base">
              <a:spcBef>
                <a:spcPct val="0"/>
              </a:spcBef>
              <a:spcAft>
                <a:spcPct val="0"/>
              </a:spcAft>
              <a:buClr>
                <a:schemeClr val="tx2"/>
              </a:buClr>
              <a:buSzPct val="89000"/>
              <a:buFont typeface="Arial" charset="0"/>
              <a:buChar char="-"/>
              <a:defRPr lang="x-none" baseline="0">
                <a:latin typeface="+mn-lt"/>
              </a:defRPr>
            </a:lvl8pPr>
            <a:lvl9pPr marL="749808" indent="-130175" defTabSz="895350" fontAlgn="base">
              <a:spcBef>
                <a:spcPct val="0"/>
              </a:spcBef>
              <a:spcAft>
                <a:spcPct val="0"/>
              </a:spcAft>
              <a:buClr>
                <a:schemeClr val="tx2"/>
              </a:buClr>
              <a:buSzPct val="89000"/>
              <a:buFont typeface="Arial" charset="0"/>
              <a:buChar char="-"/>
              <a:defRPr lang="x-none" baseline="0">
                <a:latin typeface="+mn-lt"/>
              </a:defRPr>
            </a:lvl9pPr>
          </a:lstStyle>
          <a:p>
            <a:pPr lvl="1">
              <a:spcBef>
                <a:spcPts val="300"/>
              </a:spcBef>
            </a:pPr>
            <a:r>
              <a:rPr lang="en-US" sz="1100" dirty="0"/>
              <a:t>Integration of a range of carved out entities which were divested as a result of a large merger in the industry; creating a globally leading building materials player</a:t>
            </a:r>
          </a:p>
        </p:txBody>
      </p:sp>
      <p:sp>
        <p:nvSpPr>
          <p:cNvPr id="74" name="TextBox 73"/>
          <p:cNvSpPr txBox="1">
            <a:spLocks/>
          </p:cNvSpPr>
          <p:nvPr/>
        </p:nvSpPr>
        <p:spPr>
          <a:xfrm>
            <a:off x="7116578" y="3539508"/>
            <a:ext cx="1596457" cy="792525"/>
          </a:xfrm>
          <a:prstGeom prst="rect">
            <a:avLst/>
          </a:prstGeom>
        </p:spPr>
        <p:txBody>
          <a:bodyPr vert="horz" wrap="square" lIns="0" tIns="0" rIns="0" bIns="0" rtlCol="0" anchor="t" anchorCtr="0">
            <a:spAutoFit/>
          </a:bodyPr>
          <a:lstStyle>
            <a:lvl1pPr marL="0" lvl="0" indent="0" defTabSz="895350" eaLnBrk="1" latinLnBrk="0" hangingPunct="1">
              <a:buClr>
                <a:schemeClr val="tx2"/>
              </a:buClr>
              <a:buSzPct val="100000"/>
              <a:defRPr lang="x-none" sz="1400" baseline="0">
                <a:latin typeface="+mn-lt"/>
              </a:defRPr>
            </a:lvl1pPr>
            <a:lvl2pPr marL="193675" lvl="1" indent="-192088" defTabSz="895350" eaLnBrk="1" latinLnBrk="0" hangingPunct="1">
              <a:buClr>
                <a:schemeClr val="tx2"/>
              </a:buClr>
              <a:buSzPct val="125000"/>
              <a:buFont typeface="Arial" charset="0"/>
              <a:buChar char="▪"/>
              <a:defRPr lang="x-none" sz="1400" baseline="0">
                <a:latin typeface="+mn-lt"/>
              </a:defRPr>
            </a:lvl2pPr>
            <a:lvl3pPr marL="457200" lvl="2" indent="-261938" defTabSz="895350" eaLnBrk="1" latinLnBrk="0" hangingPunct="1">
              <a:buClr>
                <a:schemeClr val="tx2"/>
              </a:buClr>
              <a:buSzPct val="120000"/>
              <a:buFont typeface="Arial" charset="0"/>
              <a:buChar char="–"/>
              <a:defRPr lang="x-none" sz="1400" baseline="0">
                <a:latin typeface="+mn-lt"/>
              </a:defRPr>
            </a:lvl3pPr>
            <a:lvl4pPr marL="614363" lvl="3" indent="-155575" defTabSz="895350" eaLnBrk="1" latinLnBrk="0" hangingPunct="1">
              <a:buClr>
                <a:schemeClr val="tx2"/>
              </a:buClr>
              <a:buSzPct val="120000"/>
              <a:buFont typeface="Arial" charset="0"/>
              <a:buChar char="▫"/>
              <a:defRPr lang="x-none" sz="1400" baseline="0">
                <a:latin typeface="+mn-lt"/>
              </a:defRPr>
            </a:lvl4pPr>
            <a:lvl5pPr marL="749808" lvl="4" indent="-130175" defTabSz="895350" eaLnBrk="1" latinLnBrk="0" hangingPunct="1">
              <a:buClr>
                <a:schemeClr val="tx2"/>
              </a:buClr>
              <a:buSzPct val="89000"/>
              <a:buFont typeface="Arial" charset="0"/>
              <a:buChar char="-"/>
              <a:defRPr lang="x-none" sz="1400" baseline="0">
                <a:latin typeface="+mn-lt"/>
              </a:defRPr>
            </a:lvl5pPr>
            <a:lvl6pPr marL="749808" indent="-130175" defTabSz="895350" fontAlgn="base">
              <a:spcBef>
                <a:spcPct val="0"/>
              </a:spcBef>
              <a:spcAft>
                <a:spcPct val="0"/>
              </a:spcAft>
              <a:buClr>
                <a:schemeClr val="tx2"/>
              </a:buClr>
              <a:buSzPct val="89000"/>
              <a:buFont typeface="Arial" charset="0"/>
              <a:buChar char="-"/>
              <a:defRPr lang="x-none" baseline="0">
                <a:latin typeface="+mn-lt"/>
              </a:defRPr>
            </a:lvl6pPr>
            <a:lvl7pPr marL="749808" indent="-130175" defTabSz="895350" fontAlgn="base">
              <a:spcBef>
                <a:spcPct val="0"/>
              </a:spcBef>
              <a:spcAft>
                <a:spcPct val="0"/>
              </a:spcAft>
              <a:buClr>
                <a:schemeClr val="tx2"/>
              </a:buClr>
              <a:buSzPct val="89000"/>
              <a:buFont typeface="Arial" charset="0"/>
              <a:buChar char="-"/>
              <a:defRPr lang="x-none" baseline="0">
                <a:latin typeface="+mn-lt"/>
              </a:defRPr>
            </a:lvl7pPr>
            <a:lvl8pPr marL="749808" indent="-130175" defTabSz="895350" fontAlgn="base">
              <a:spcBef>
                <a:spcPct val="0"/>
              </a:spcBef>
              <a:spcAft>
                <a:spcPct val="0"/>
              </a:spcAft>
              <a:buClr>
                <a:schemeClr val="tx2"/>
              </a:buClr>
              <a:buSzPct val="89000"/>
              <a:buFont typeface="Arial" charset="0"/>
              <a:buChar char="-"/>
              <a:defRPr lang="x-none" baseline="0">
                <a:latin typeface="+mn-lt"/>
              </a:defRPr>
            </a:lvl8pPr>
            <a:lvl9pPr marL="749808" indent="-130175" defTabSz="895350" fontAlgn="base">
              <a:spcBef>
                <a:spcPct val="0"/>
              </a:spcBef>
              <a:spcAft>
                <a:spcPct val="0"/>
              </a:spcAft>
              <a:buClr>
                <a:schemeClr val="tx2"/>
              </a:buClr>
              <a:buSzPct val="89000"/>
              <a:buFont typeface="Arial" charset="0"/>
              <a:buChar char="-"/>
              <a:defRPr lang="x-none" baseline="0">
                <a:latin typeface="+mn-lt"/>
              </a:defRPr>
            </a:lvl9pPr>
          </a:lstStyle>
          <a:p>
            <a:pPr lvl="1">
              <a:spcBef>
                <a:spcPts val="300"/>
              </a:spcBef>
            </a:pPr>
            <a:r>
              <a:rPr lang="en-US" sz="1100" dirty="0"/>
              <a:t>IMO</a:t>
            </a:r>
          </a:p>
          <a:p>
            <a:pPr lvl="1">
              <a:spcBef>
                <a:spcPts val="300"/>
              </a:spcBef>
            </a:pPr>
            <a:r>
              <a:rPr lang="en-US" sz="1100" dirty="0" err="1"/>
              <a:t>Masterplanning</a:t>
            </a:r>
            <a:endParaRPr lang="en-US" sz="1100" dirty="0"/>
          </a:p>
          <a:p>
            <a:pPr lvl="1">
              <a:spcBef>
                <a:spcPts val="300"/>
              </a:spcBef>
            </a:pPr>
            <a:r>
              <a:rPr lang="en-US" sz="1100" dirty="0"/>
              <a:t>Value Capture</a:t>
            </a:r>
          </a:p>
          <a:p>
            <a:pPr lvl="1">
              <a:spcBef>
                <a:spcPts val="300"/>
              </a:spcBef>
            </a:pPr>
            <a:r>
              <a:rPr lang="en-US" sz="1100" dirty="0"/>
              <a:t>Functional integration</a:t>
            </a:r>
          </a:p>
        </p:txBody>
      </p:sp>
      <p:sp>
        <p:nvSpPr>
          <p:cNvPr id="78" name="TextBox 77"/>
          <p:cNvSpPr txBox="1">
            <a:spLocks/>
          </p:cNvSpPr>
          <p:nvPr/>
        </p:nvSpPr>
        <p:spPr>
          <a:xfrm>
            <a:off x="3478743" y="3539508"/>
            <a:ext cx="3487440" cy="715581"/>
          </a:xfrm>
          <a:prstGeom prst="rect">
            <a:avLst/>
          </a:prstGeom>
        </p:spPr>
        <p:txBody>
          <a:bodyPr vert="horz" wrap="square" lIns="0" tIns="0" rIns="0" bIns="0" rtlCol="0" anchor="t" anchorCtr="0">
            <a:spAutoFit/>
          </a:bodyPr>
          <a:lstStyle>
            <a:lvl1pPr marL="0" lvl="0" indent="0" defTabSz="895350" eaLnBrk="1" latinLnBrk="0" hangingPunct="1">
              <a:buClr>
                <a:schemeClr val="tx2"/>
              </a:buClr>
              <a:buSzPct val="100000"/>
              <a:defRPr lang="x-none" sz="1400" baseline="0">
                <a:latin typeface="+mn-lt"/>
              </a:defRPr>
            </a:lvl1pPr>
            <a:lvl2pPr marL="193675" lvl="1" indent="-192088" defTabSz="895350" eaLnBrk="1" latinLnBrk="0" hangingPunct="1">
              <a:buClr>
                <a:schemeClr val="tx2"/>
              </a:buClr>
              <a:buSzPct val="125000"/>
              <a:buFont typeface="Arial" charset="0"/>
              <a:buChar char="▪"/>
              <a:defRPr lang="x-none" sz="1400" baseline="0">
                <a:latin typeface="+mn-lt"/>
              </a:defRPr>
            </a:lvl2pPr>
            <a:lvl3pPr marL="457200" lvl="2" indent="-261938" defTabSz="895350" eaLnBrk="1" latinLnBrk="0" hangingPunct="1">
              <a:buClr>
                <a:schemeClr val="tx2"/>
              </a:buClr>
              <a:buSzPct val="120000"/>
              <a:buFont typeface="Arial" charset="0"/>
              <a:buChar char="–"/>
              <a:defRPr lang="x-none" sz="1400" baseline="0">
                <a:latin typeface="+mn-lt"/>
              </a:defRPr>
            </a:lvl3pPr>
            <a:lvl4pPr marL="614363" lvl="3" indent="-155575" defTabSz="895350" eaLnBrk="1" latinLnBrk="0" hangingPunct="1">
              <a:buClr>
                <a:schemeClr val="tx2"/>
              </a:buClr>
              <a:buSzPct val="120000"/>
              <a:buFont typeface="Arial" charset="0"/>
              <a:buChar char="▫"/>
              <a:defRPr lang="x-none" sz="1400" baseline="0">
                <a:latin typeface="+mn-lt"/>
              </a:defRPr>
            </a:lvl4pPr>
            <a:lvl5pPr marL="749808" lvl="4" indent="-130175" defTabSz="895350" eaLnBrk="1" latinLnBrk="0" hangingPunct="1">
              <a:buClr>
                <a:schemeClr val="tx2"/>
              </a:buClr>
              <a:buSzPct val="89000"/>
              <a:buFont typeface="Arial" charset="0"/>
              <a:buChar char="-"/>
              <a:defRPr lang="x-none" sz="1400" baseline="0">
                <a:latin typeface="+mn-lt"/>
              </a:defRPr>
            </a:lvl5pPr>
            <a:lvl6pPr marL="749808" indent="-130175" defTabSz="895350" fontAlgn="base">
              <a:spcBef>
                <a:spcPct val="0"/>
              </a:spcBef>
              <a:spcAft>
                <a:spcPct val="0"/>
              </a:spcAft>
              <a:buClr>
                <a:schemeClr val="tx2"/>
              </a:buClr>
              <a:buSzPct val="89000"/>
              <a:buFont typeface="Arial" charset="0"/>
              <a:buChar char="-"/>
              <a:defRPr lang="x-none" baseline="0">
                <a:latin typeface="+mn-lt"/>
              </a:defRPr>
            </a:lvl6pPr>
            <a:lvl7pPr marL="749808" indent="-130175" defTabSz="895350" fontAlgn="base">
              <a:spcBef>
                <a:spcPct val="0"/>
              </a:spcBef>
              <a:spcAft>
                <a:spcPct val="0"/>
              </a:spcAft>
              <a:buClr>
                <a:schemeClr val="tx2"/>
              </a:buClr>
              <a:buSzPct val="89000"/>
              <a:buFont typeface="Arial" charset="0"/>
              <a:buChar char="-"/>
              <a:defRPr lang="x-none" baseline="0">
                <a:latin typeface="+mn-lt"/>
              </a:defRPr>
            </a:lvl7pPr>
            <a:lvl8pPr marL="749808" indent="-130175" defTabSz="895350" fontAlgn="base">
              <a:spcBef>
                <a:spcPct val="0"/>
              </a:spcBef>
              <a:spcAft>
                <a:spcPct val="0"/>
              </a:spcAft>
              <a:buClr>
                <a:schemeClr val="tx2"/>
              </a:buClr>
              <a:buSzPct val="89000"/>
              <a:buFont typeface="Arial" charset="0"/>
              <a:buChar char="-"/>
              <a:defRPr lang="x-none" baseline="0">
                <a:latin typeface="+mn-lt"/>
              </a:defRPr>
            </a:lvl8pPr>
            <a:lvl9pPr marL="749808" indent="-130175" defTabSz="895350" fontAlgn="base">
              <a:spcBef>
                <a:spcPct val="0"/>
              </a:spcBef>
              <a:spcAft>
                <a:spcPct val="0"/>
              </a:spcAft>
              <a:buClr>
                <a:schemeClr val="tx2"/>
              </a:buClr>
              <a:buSzPct val="89000"/>
              <a:buFont typeface="Arial" charset="0"/>
              <a:buChar char="-"/>
              <a:defRPr lang="x-none" baseline="0">
                <a:latin typeface="+mn-lt"/>
              </a:defRPr>
            </a:lvl9pPr>
          </a:lstStyle>
          <a:p>
            <a:pPr lvl="1">
              <a:spcBef>
                <a:spcPts val="300"/>
              </a:spcBef>
            </a:pPr>
            <a:r>
              <a:rPr lang="en-US" sz="1100" dirty="0"/>
              <a:t>Complex deal: largest acquisition in the client’s history with a large amount of legal entities involved, and a carve-out of assets</a:t>
            </a:r>
          </a:p>
          <a:p>
            <a:pPr lvl="1">
              <a:spcBef>
                <a:spcPts val="300"/>
              </a:spcBef>
            </a:pPr>
            <a:r>
              <a:rPr lang="en-US" sz="1100" dirty="0"/>
              <a:t>Seller’s lack of willingness to allow a clean-team</a:t>
            </a:r>
          </a:p>
        </p:txBody>
      </p:sp>
      <p:sp>
        <p:nvSpPr>
          <p:cNvPr id="61" name="Marvintrackercircle">
            <a:extLst>
              <a:ext uri="{FF2B5EF4-FFF2-40B4-BE49-F238E27FC236}">
                <a16:creationId xmlns:a16="http://schemas.microsoft.com/office/drawing/2014/main" id="{FB8DA383-89E4-4BDE-9AFF-5477D0660410}"/>
              </a:ext>
            </a:extLst>
          </p:cNvPr>
          <p:cNvSpPr/>
          <p:nvPr>
            <p:custDataLst>
              <p:tags r:id="rId7"/>
            </p:custDataLst>
          </p:nvPr>
        </p:nvSpPr>
        <p:spPr>
          <a:xfrm>
            <a:off x="248404" y="3539508"/>
            <a:ext cx="201168" cy="201168"/>
          </a:xfrm>
          <a:prstGeom prst="ellipse">
            <a:avLst/>
          </a:prstGeom>
          <a:solidFill>
            <a:schemeClr val="accent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p>
            <a:pPr algn="ctr"/>
            <a:r>
              <a:rPr lang="en-US" sz="1100" b="1" dirty="0">
                <a:solidFill>
                  <a:schemeClr val="accent3"/>
                </a:solidFill>
              </a:rPr>
              <a:t>D</a:t>
            </a:r>
            <a:endParaRPr lang="en-GB" sz="1100" b="1" dirty="0">
              <a:solidFill>
                <a:schemeClr val="accent3"/>
              </a:solidFill>
            </a:endParaRPr>
          </a:p>
        </p:txBody>
      </p:sp>
      <p:sp>
        <p:nvSpPr>
          <p:cNvPr id="83" name="TextBox 82"/>
          <p:cNvSpPr txBox="1">
            <a:spLocks/>
          </p:cNvSpPr>
          <p:nvPr/>
        </p:nvSpPr>
        <p:spPr>
          <a:xfrm>
            <a:off x="319539" y="5494246"/>
            <a:ext cx="3008809" cy="677108"/>
          </a:xfrm>
          <a:prstGeom prst="rect">
            <a:avLst/>
          </a:prstGeom>
        </p:spPr>
        <p:txBody>
          <a:bodyPr vert="horz" wrap="square" lIns="0" tIns="0" rIns="0" bIns="0" rtlCol="0" anchor="t" anchorCtr="0">
            <a:spAutoFit/>
          </a:bodyPr>
          <a:lstStyle>
            <a:lvl1pPr marL="0" lvl="0" indent="0" defTabSz="895350" eaLnBrk="1" latinLnBrk="0" hangingPunct="1">
              <a:buClr>
                <a:schemeClr val="tx2"/>
              </a:buClr>
              <a:buSzPct val="100000"/>
              <a:defRPr lang="x-none" sz="1400" baseline="0">
                <a:latin typeface="+mn-lt"/>
              </a:defRPr>
            </a:lvl1pPr>
            <a:lvl2pPr marL="193675" lvl="1" indent="-192088" defTabSz="895350" eaLnBrk="1" latinLnBrk="0" hangingPunct="1">
              <a:buClr>
                <a:schemeClr val="tx2"/>
              </a:buClr>
              <a:buSzPct val="125000"/>
              <a:buFont typeface="Arial" charset="0"/>
              <a:buChar char="▪"/>
              <a:defRPr lang="x-none" sz="1400" baseline="0">
                <a:latin typeface="+mn-lt"/>
              </a:defRPr>
            </a:lvl2pPr>
            <a:lvl3pPr marL="457200" lvl="2" indent="-261938" defTabSz="895350" eaLnBrk="1" latinLnBrk="0" hangingPunct="1">
              <a:buClr>
                <a:schemeClr val="tx2"/>
              </a:buClr>
              <a:buSzPct val="120000"/>
              <a:buFont typeface="Arial" charset="0"/>
              <a:buChar char="–"/>
              <a:defRPr lang="x-none" sz="1400" baseline="0">
                <a:latin typeface="+mn-lt"/>
              </a:defRPr>
            </a:lvl3pPr>
            <a:lvl4pPr marL="614363" lvl="3" indent="-155575" defTabSz="895350" eaLnBrk="1" latinLnBrk="0" hangingPunct="1">
              <a:buClr>
                <a:schemeClr val="tx2"/>
              </a:buClr>
              <a:buSzPct val="120000"/>
              <a:buFont typeface="Arial" charset="0"/>
              <a:buChar char="▫"/>
              <a:defRPr lang="x-none" sz="1400" baseline="0">
                <a:latin typeface="+mn-lt"/>
              </a:defRPr>
            </a:lvl4pPr>
            <a:lvl5pPr marL="749808" lvl="4" indent="-130175" defTabSz="895350" eaLnBrk="1" latinLnBrk="0" hangingPunct="1">
              <a:buClr>
                <a:schemeClr val="tx2"/>
              </a:buClr>
              <a:buSzPct val="89000"/>
              <a:buFont typeface="Arial" charset="0"/>
              <a:buChar char="-"/>
              <a:defRPr lang="x-none" sz="1400" baseline="0">
                <a:latin typeface="+mn-lt"/>
              </a:defRPr>
            </a:lvl5pPr>
            <a:lvl6pPr marL="749808" indent="-130175" defTabSz="895350" fontAlgn="base">
              <a:spcBef>
                <a:spcPct val="0"/>
              </a:spcBef>
              <a:spcAft>
                <a:spcPct val="0"/>
              </a:spcAft>
              <a:buClr>
                <a:schemeClr val="tx2"/>
              </a:buClr>
              <a:buSzPct val="89000"/>
              <a:buFont typeface="Arial" charset="0"/>
              <a:buChar char="-"/>
              <a:defRPr lang="x-none" baseline="0">
                <a:latin typeface="+mn-lt"/>
              </a:defRPr>
            </a:lvl6pPr>
            <a:lvl7pPr marL="749808" indent="-130175" defTabSz="895350" fontAlgn="base">
              <a:spcBef>
                <a:spcPct val="0"/>
              </a:spcBef>
              <a:spcAft>
                <a:spcPct val="0"/>
              </a:spcAft>
              <a:buClr>
                <a:schemeClr val="tx2"/>
              </a:buClr>
              <a:buSzPct val="89000"/>
              <a:buFont typeface="Arial" charset="0"/>
              <a:buChar char="-"/>
              <a:defRPr lang="x-none" baseline="0">
                <a:latin typeface="+mn-lt"/>
              </a:defRPr>
            </a:lvl7pPr>
            <a:lvl8pPr marL="749808" indent="-130175" defTabSz="895350" fontAlgn="base">
              <a:spcBef>
                <a:spcPct val="0"/>
              </a:spcBef>
              <a:spcAft>
                <a:spcPct val="0"/>
              </a:spcAft>
              <a:buClr>
                <a:schemeClr val="tx2"/>
              </a:buClr>
              <a:buSzPct val="89000"/>
              <a:buFont typeface="Arial" charset="0"/>
              <a:buChar char="-"/>
              <a:defRPr lang="x-none" baseline="0">
                <a:latin typeface="+mn-lt"/>
              </a:defRPr>
            </a:lvl8pPr>
            <a:lvl9pPr marL="749808" indent="-130175" defTabSz="895350" fontAlgn="base">
              <a:spcBef>
                <a:spcPct val="0"/>
              </a:spcBef>
              <a:spcAft>
                <a:spcPct val="0"/>
              </a:spcAft>
              <a:buClr>
                <a:schemeClr val="tx2"/>
              </a:buClr>
              <a:buSzPct val="89000"/>
              <a:buFont typeface="Arial" charset="0"/>
              <a:buChar char="-"/>
              <a:defRPr lang="x-none" baseline="0">
                <a:latin typeface="+mn-lt"/>
              </a:defRPr>
            </a:lvl9pPr>
          </a:lstStyle>
          <a:p>
            <a:pPr lvl="1">
              <a:spcBef>
                <a:spcPts val="300"/>
              </a:spcBef>
            </a:pPr>
            <a:r>
              <a:rPr lang="en-GB" sz="1100" dirty="0"/>
              <a:t>Merger of two well-known paper &amp; pulp distribution companies to create a new company to enable better service to customers </a:t>
            </a:r>
            <a:endParaRPr lang="en-US" sz="1100" dirty="0"/>
          </a:p>
        </p:txBody>
      </p:sp>
      <p:sp>
        <p:nvSpPr>
          <p:cNvPr id="90" name="TextBox 89"/>
          <p:cNvSpPr txBox="1">
            <a:spLocks/>
          </p:cNvSpPr>
          <p:nvPr/>
        </p:nvSpPr>
        <p:spPr>
          <a:xfrm>
            <a:off x="3478743" y="5494246"/>
            <a:ext cx="3487440" cy="872034"/>
          </a:xfrm>
          <a:prstGeom prst="rect">
            <a:avLst/>
          </a:prstGeom>
        </p:spPr>
        <p:txBody>
          <a:bodyPr vert="horz" wrap="square" lIns="0" tIns="0" rIns="0" bIns="0" rtlCol="0" anchor="t" anchorCtr="0">
            <a:spAutoFit/>
          </a:bodyPr>
          <a:lstStyle>
            <a:lvl1pPr marL="0" lvl="0" indent="0" defTabSz="895350" eaLnBrk="1" latinLnBrk="0" hangingPunct="1">
              <a:buClr>
                <a:schemeClr val="tx2"/>
              </a:buClr>
              <a:buSzPct val="100000"/>
              <a:defRPr lang="x-none" sz="1400" baseline="0">
                <a:latin typeface="+mn-lt"/>
              </a:defRPr>
            </a:lvl1pPr>
            <a:lvl2pPr marL="193675" lvl="1" indent="-192088" defTabSz="895350" eaLnBrk="1" latinLnBrk="0" hangingPunct="1">
              <a:buClr>
                <a:schemeClr val="tx2"/>
              </a:buClr>
              <a:buSzPct val="125000"/>
              <a:buFont typeface="Arial" charset="0"/>
              <a:buChar char="▪"/>
              <a:defRPr lang="x-none" sz="1400" baseline="0">
                <a:latin typeface="+mn-lt"/>
              </a:defRPr>
            </a:lvl2pPr>
            <a:lvl3pPr marL="457200" lvl="2" indent="-261938" defTabSz="895350" eaLnBrk="1" latinLnBrk="0" hangingPunct="1">
              <a:buClr>
                <a:schemeClr val="tx2"/>
              </a:buClr>
              <a:buSzPct val="120000"/>
              <a:buFont typeface="Arial" charset="0"/>
              <a:buChar char="–"/>
              <a:defRPr lang="x-none" sz="1400" baseline="0">
                <a:latin typeface="+mn-lt"/>
              </a:defRPr>
            </a:lvl3pPr>
            <a:lvl4pPr marL="614363" lvl="3" indent="-155575" defTabSz="895350" eaLnBrk="1" latinLnBrk="0" hangingPunct="1">
              <a:buClr>
                <a:schemeClr val="tx2"/>
              </a:buClr>
              <a:buSzPct val="120000"/>
              <a:buFont typeface="Arial" charset="0"/>
              <a:buChar char="▫"/>
              <a:defRPr lang="x-none" sz="1400" baseline="0">
                <a:latin typeface="+mn-lt"/>
              </a:defRPr>
            </a:lvl4pPr>
            <a:lvl5pPr marL="749808" lvl="4" indent="-130175" defTabSz="895350" eaLnBrk="1" latinLnBrk="0" hangingPunct="1">
              <a:buClr>
                <a:schemeClr val="tx2"/>
              </a:buClr>
              <a:buSzPct val="89000"/>
              <a:buFont typeface="Arial" charset="0"/>
              <a:buChar char="-"/>
              <a:defRPr lang="x-none" sz="1400" baseline="0">
                <a:latin typeface="+mn-lt"/>
              </a:defRPr>
            </a:lvl5pPr>
            <a:lvl6pPr marL="749808" indent="-130175" defTabSz="895350" fontAlgn="base">
              <a:spcBef>
                <a:spcPct val="0"/>
              </a:spcBef>
              <a:spcAft>
                <a:spcPct val="0"/>
              </a:spcAft>
              <a:buClr>
                <a:schemeClr val="tx2"/>
              </a:buClr>
              <a:buSzPct val="89000"/>
              <a:buFont typeface="Arial" charset="0"/>
              <a:buChar char="-"/>
              <a:defRPr lang="x-none" baseline="0">
                <a:latin typeface="+mn-lt"/>
              </a:defRPr>
            </a:lvl6pPr>
            <a:lvl7pPr marL="749808" indent="-130175" defTabSz="895350" fontAlgn="base">
              <a:spcBef>
                <a:spcPct val="0"/>
              </a:spcBef>
              <a:spcAft>
                <a:spcPct val="0"/>
              </a:spcAft>
              <a:buClr>
                <a:schemeClr val="tx2"/>
              </a:buClr>
              <a:buSzPct val="89000"/>
              <a:buFont typeface="Arial" charset="0"/>
              <a:buChar char="-"/>
              <a:defRPr lang="x-none" baseline="0">
                <a:latin typeface="+mn-lt"/>
              </a:defRPr>
            </a:lvl7pPr>
            <a:lvl8pPr marL="749808" indent="-130175" defTabSz="895350" fontAlgn="base">
              <a:spcBef>
                <a:spcPct val="0"/>
              </a:spcBef>
              <a:spcAft>
                <a:spcPct val="0"/>
              </a:spcAft>
              <a:buClr>
                <a:schemeClr val="tx2"/>
              </a:buClr>
              <a:buSzPct val="89000"/>
              <a:buFont typeface="Arial" charset="0"/>
              <a:buChar char="-"/>
              <a:defRPr lang="x-none" baseline="0">
                <a:latin typeface="+mn-lt"/>
              </a:defRPr>
            </a:lvl8pPr>
            <a:lvl9pPr marL="749808" indent="-130175" defTabSz="895350" fontAlgn="base">
              <a:spcBef>
                <a:spcPct val="0"/>
              </a:spcBef>
              <a:spcAft>
                <a:spcPct val="0"/>
              </a:spcAft>
              <a:buClr>
                <a:schemeClr val="tx2"/>
              </a:buClr>
              <a:buSzPct val="89000"/>
              <a:buFont typeface="Arial" charset="0"/>
              <a:buChar char="-"/>
              <a:defRPr lang="x-none" baseline="0">
                <a:latin typeface="+mn-lt"/>
              </a:defRPr>
            </a:lvl9pPr>
          </a:lstStyle>
          <a:p>
            <a:pPr lvl="1">
              <a:spcBef>
                <a:spcPts val="100"/>
              </a:spcBef>
            </a:pPr>
            <a:r>
              <a:rPr lang="en-GB" sz="1100" dirty="0"/>
              <a:t>Lack of clear decision-maker in a Merger of Equals until the new CEO was announced</a:t>
            </a:r>
          </a:p>
          <a:p>
            <a:pPr lvl="1">
              <a:spcBef>
                <a:spcPts val="100"/>
              </a:spcBef>
            </a:pPr>
            <a:r>
              <a:rPr lang="en-GB" sz="1100" dirty="0"/>
              <a:t>Defining  success and synergies path in a low margin business</a:t>
            </a:r>
          </a:p>
          <a:p>
            <a:pPr lvl="1">
              <a:spcBef>
                <a:spcPts val="100"/>
              </a:spcBef>
            </a:pPr>
            <a:r>
              <a:rPr lang="en-GB" sz="1100" dirty="0"/>
              <a:t>Complex deal structure</a:t>
            </a:r>
            <a:endParaRPr lang="en-US" sz="1100" dirty="0"/>
          </a:p>
        </p:txBody>
      </p:sp>
      <p:sp>
        <p:nvSpPr>
          <p:cNvPr id="62" name="Marvintrackercircle">
            <a:extLst>
              <a:ext uri="{FF2B5EF4-FFF2-40B4-BE49-F238E27FC236}">
                <a16:creationId xmlns:a16="http://schemas.microsoft.com/office/drawing/2014/main" id="{20F6BFE2-FB03-4630-8563-F086E76A9FAF}"/>
              </a:ext>
            </a:extLst>
          </p:cNvPr>
          <p:cNvSpPr/>
          <p:nvPr>
            <p:custDataLst>
              <p:tags r:id="rId8"/>
            </p:custDataLst>
          </p:nvPr>
        </p:nvSpPr>
        <p:spPr>
          <a:xfrm>
            <a:off x="248404" y="5494246"/>
            <a:ext cx="201168" cy="201168"/>
          </a:xfrm>
          <a:prstGeom prst="ellipse">
            <a:avLst/>
          </a:prstGeom>
          <a:solidFill>
            <a:schemeClr val="accent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p>
            <a:pPr algn="ctr"/>
            <a:r>
              <a:rPr lang="en-US" sz="1100" b="1" dirty="0">
                <a:solidFill>
                  <a:schemeClr val="accent3"/>
                </a:solidFill>
              </a:rPr>
              <a:t>F</a:t>
            </a:r>
            <a:endParaRPr lang="en-GB" sz="1100" b="1" dirty="0">
              <a:solidFill>
                <a:schemeClr val="accent3"/>
              </a:solidFill>
            </a:endParaRPr>
          </a:p>
        </p:txBody>
      </p:sp>
      <p:sp>
        <p:nvSpPr>
          <p:cNvPr id="42" name="Title Tracker Circle">
            <a:extLst>
              <a:ext uri="{FF2B5EF4-FFF2-40B4-BE49-F238E27FC236}">
                <a16:creationId xmlns:a16="http://schemas.microsoft.com/office/drawing/2014/main" id="{B4741877-D9DD-422E-8F0F-DC7D89DB9E83}"/>
              </a:ext>
            </a:extLst>
          </p:cNvPr>
          <p:cNvSpPr/>
          <p:nvPr/>
        </p:nvSpPr>
        <p:spPr>
          <a:xfrm>
            <a:off x="119063" y="166736"/>
            <a:ext cx="418798" cy="418798"/>
          </a:xfrm>
          <a:prstGeom prst="ellipse">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p>
            <a:pPr algn="ctr"/>
            <a:r>
              <a:rPr lang="en-US" sz="2000" dirty="0">
                <a:solidFill>
                  <a:schemeClr val="tx2"/>
                </a:solidFill>
                <a:latin typeface="+mj-lt"/>
              </a:rPr>
              <a:t>2</a:t>
            </a:r>
          </a:p>
        </p:txBody>
      </p:sp>
      <p:sp>
        <p:nvSpPr>
          <p:cNvPr id="43" name="5. Source">
            <a:extLst>
              <a:ext uri="{FF2B5EF4-FFF2-40B4-BE49-F238E27FC236}">
                <a16:creationId xmlns:a16="http://schemas.microsoft.com/office/drawing/2014/main" id="{B3C97D4D-DBBD-4D69-879F-F516DBDA30D6}"/>
              </a:ext>
            </a:extLst>
          </p:cNvPr>
          <p:cNvSpPr>
            <a:spLocks noChangeArrowheads="1"/>
          </p:cNvSpPr>
          <p:nvPr>
            <p:custDataLst>
              <p:tags r:id="rId9"/>
            </p:custDataLst>
          </p:nvPr>
        </p:nvSpPr>
        <p:spPr bwMode="gray">
          <a:xfrm>
            <a:off x="119063" y="6507558"/>
            <a:ext cx="7200000" cy="123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marL="609600" indent="-609600" defTabSz="895350">
              <a:tabLst>
                <a:tab pos="612775" algn="l"/>
              </a:tabLst>
            </a:pPr>
            <a:r>
              <a:rPr lang="en-US" altLang="zh-CN" sz="800" dirty="0">
                <a:solidFill>
                  <a:schemeClr val="accent6"/>
                </a:solidFill>
                <a:latin typeface="Arial" panose="020B0604020202020204" pitchFamily="34" charset="0"/>
              </a:rPr>
              <a:t>SOURCE: McKinsey Merger Management Practice</a:t>
            </a:r>
          </a:p>
        </p:txBody>
      </p:sp>
      <p:grpSp>
        <p:nvGrpSpPr>
          <p:cNvPr id="6" name="sticker">
            <a:extLst>
              <a:ext uri="{FF2B5EF4-FFF2-40B4-BE49-F238E27FC236}">
                <a16:creationId xmlns:a16="http://schemas.microsoft.com/office/drawing/2014/main" id="{F2243303-C665-412B-8892-3DCED817A68E}"/>
              </a:ext>
            </a:extLst>
          </p:cNvPr>
          <p:cNvGrpSpPr/>
          <p:nvPr/>
        </p:nvGrpSpPr>
        <p:grpSpPr>
          <a:xfrm>
            <a:off x="7812218" y="285750"/>
            <a:ext cx="925382" cy="150811"/>
            <a:chOff x="7812218" y="285750"/>
            <a:chExt cx="925382" cy="150811"/>
          </a:xfrm>
        </p:grpSpPr>
        <p:sp>
          <p:nvSpPr>
            <p:cNvPr id="45" name="StickerRectangle">
              <a:extLst>
                <a:ext uri="{FF2B5EF4-FFF2-40B4-BE49-F238E27FC236}">
                  <a16:creationId xmlns:a16="http://schemas.microsoft.com/office/drawing/2014/main" id="{18ED0906-A7F8-4A4D-A414-CE62148DFD1A}"/>
                </a:ext>
              </a:extLst>
            </p:cNvPr>
            <p:cNvSpPr>
              <a:spLocks noChangeArrowheads="1"/>
            </p:cNvSpPr>
            <p:nvPr/>
          </p:nvSpPr>
          <p:spPr bwMode="gray">
            <a:xfrm>
              <a:off x="7812218" y="285750"/>
              <a:ext cx="925382" cy="150811"/>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a:buClr>
                  <a:srgbClr val="002960"/>
                </a:buClr>
              </a:pPr>
              <a:r>
                <a:rPr lang="en-US" sz="800" baseline="0">
                  <a:solidFill>
                    <a:schemeClr val="accent6"/>
                  </a:solidFill>
                  <a:latin typeface="+mn-lt"/>
                  <a:ea typeface="+mn-ea"/>
                </a:rPr>
                <a:t>NOT EXHAUSTIVE</a:t>
              </a:r>
              <a:endParaRPr lang="en-US" sz="800" baseline="0" dirty="0">
                <a:solidFill>
                  <a:schemeClr val="accent6"/>
                </a:solidFill>
                <a:latin typeface="+mn-lt"/>
                <a:ea typeface="+mn-ea"/>
              </a:endParaRPr>
            </a:p>
          </p:txBody>
        </p:sp>
        <p:cxnSp>
          <p:nvCxnSpPr>
            <p:cNvPr id="46" name="AutoShape 31">
              <a:extLst>
                <a:ext uri="{FF2B5EF4-FFF2-40B4-BE49-F238E27FC236}">
                  <a16:creationId xmlns:a16="http://schemas.microsoft.com/office/drawing/2014/main" id="{304745BE-511C-4640-A46D-BDEBE631A796}"/>
                </a:ext>
              </a:extLst>
            </p:cNvPr>
            <p:cNvCxnSpPr>
              <a:cxnSpLocks noChangeShapeType="1"/>
              <a:stCxn id="45" idx="2"/>
              <a:endCxn id="45" idx="4"/>
            </p:cNvCxnSpPr>
            <p:nvPr/>
          </p:nvCxnSpPr>
          <p:spPr bwMode="gray">
            <a:xfrm>
              <a:off x="7812218" y="285750"/>
              <a:ext cx="0" cy="150811"/>
            </a:xfrm>
            <a:prstGeom prst="straightConnector1">
              <a:avLst/>
            </a:prstGeom>
            <a:noFill/>
            <a:ln w="9525">
              <a:solidFill>
                <a:schemeClr val="accent6"/>
              </a:solidFill>
              <a:round/>
              <a:headEnd/>
              <a:tailEnd/>
            </a:ln>
            <a:extLst>
              <a:ext uri="{909E8E84-426E-40DD-AFC4-6F175D3DCCD1}">
                <a14:hiddenFill xmlns:a14="http://schemas.microsoft.com/office/drawing/2010/main">
                  <a:noFill/>
                </a14:hiddenFill>
              </a:ext>
            </a:extLst>
          </p:spPr>
        </p:cxnSp>
        <p:cxnSp>
          <p:nvCxnSpPr>
            <p:cNvPr id="47" name="AutoShape 32">
              <a:extLst>
                <a:ext uri="{FF2B5EF4-FFF2-40B4-BE49-F238E27FC236}">
                  <a16:creationId xmlns:a16="http://schemas.microsoft.com/office/drawing/2014/main" id="{A1E27AEB-A331-43FC-B1E6-86DBF38B25B5}"/>
                </a:ext>
              </a:extLst>
            </p:cNvPr>
            <p:cNvCxnSpPr>
              <a:cxnSpLocks noChangeShapeType="1"/>
              <a:stCxn id="45" idx="4"/>
              <a:endCxn id="45" idx="6"/>
            </p:cNvCxnSpPr>
            <p:nvPr/>
          </p:nvCxnSpPr>
          <p:spPr bwMode="gray">
            <a:xfrm>
              <a:off x="7812218" y="436561"/>
              <a:ext cx="925382" cy="0"/>
            </a:xfrm>
            <a:prstGeom prst="straightConnector1">
              <a:avLst/>
            </a:prstGeom>
            <a:noFill/>
            <a:ln w="25400">
              <a:solidFill>
                <a:schemeClr val="accent6"/>
              </a:solidFill>
              <a:round/>
              <a:headEnd/>
              <a:tailEnd/>
            </a:ln>
            <a:extLst>
              <a:ext uri="{909E8E84-426E-40DD-AFC4-6F175D3DCCD1}">
                <a14:hiddenFill xmlns:a14="http://schemas.microsoft.com/office/drawing/2010/main">
                  <a:noFill/>
                </a14:hiddenFill>
              </a:ext>
            </a:extLst>
          </p:spPr>
        </p:cxnSp>
      </p:grpSp>
    </p:spTree>
    <p:extLst>
      <p:ext uri="{BB962C8B-B14F-4D97-AF65-F5344CB8AC3E}">
        <p14:creationId xmlns:p14="http://schemas.microsoft.com/office/powerpoint/2010/main" val="419100359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146" name="AutoShape 3" hidden="1"/>
          <p:cNvGraphicFramePr>
            <a:graphicFrameLocks/>
          </p:cNvGraphicFramePr>
          <p:nvPr>
            <p:custDataLst>
              <p:tags r:id="rId3"/>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77524" name="think-cell Slide" r:id="rId8" imgW="0" imgH="0" progId="TCLayout.ActiveDocument.1">
                  <p:embed/>
                </p:oleObj>
              </mc:Choice>
              <mc:Fallback>
                <p:oleObj name="think-cell Slide" r:id="rId8" imgW="0" imgH="0" progId="TCLayout.ActiveDocument.1">
                  <p:embed/>
                  <p:pic>
                    <p:nvPicPr>
                      <p:cNvPr id="6146" name="AutoShape 3"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6162" name="Rectangle 14"/>
          <p:cNvSpPr>
            <a:spLocks noGrp="1" noChangeArrowheads="1"/>
          </p:cNvSpPr>
          <p:nvPr>
            <p:ph type="title"/>
            <p:custDataLst>
              <p:tags r:id="rId4"/>
            </p:custDataLst>
          </p:nvPr>
        </p:nvSpPr>
        <p:spPr>
          <a:xfrm>
            <a:off x="119063" y="230188"/>
            <a:ext cx="8618537" cy="307777"/>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marL="465138"/>
            <a:r>
              <a:rPr lang="en-US" dirty="0"/>
              <a:t>Case study: Merger of two global steel producers</a:t>
            </a:r>
          </a:p>
        </p:txBody>
      </p:sp>
      <p:sp>
        <p:nvSpPr>
          <p:cNvPr id="25" name="Rectangle 4"/>
          <p:cNvSpPr>
            <a:spLocks noChangeArrowheads="1"/>
          </p:cNvSpPr>
          <p:nvPr/>
        </p:nvSpPr>
        <p:spPr bwMode="gray">
          <a:xfrm>
            <a:off x="339415" y="1144274"/>
            <a:ext cx="2715704" cy="5279246"/>
          </a:xfrm>
          <a:prstGeom prst="rect">
            <a:avLst/>
          </a:prstGeom>
          <a:solidFill>
            <a:schemeClr val="bg1">
              <a:lumMod val="95000"/>
            </a:schemeClr>
          </a:solidFill>
          <a:ln w="9525">
            <a:noFill/>
          </a:ln>
          <a:effectLst/>
          <a:ex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200" b="1" dirty="0">
              <a:solidFill>
                <a:srgbClr val="000000"/>
              </a:solidFill>
            </a:endParaRPr>
          </a:p>
        </p:txBody>
      </p:sp>
      <p:sp>
        <p:nvSpPr>
          <p:cNvPr id="26" name="Rectangle 4"/>
          <p:cNvSpPr>
            <a:spLocks noChangeArrowheads="1"/>
          </p:cNvSpPr>
          <p:nvPr/>
        </p:nvSpPr>
        <p:spPr bwMode="gray">
          <a:xfrm>
            <a:off x="3122868" y="1144274"/>
            <a:ext cx="2715704" cy="5279246"/>
          </a:xfrm>
          <a:prstGeom prst="rect">
            <a:avLst/>
          </a:prstGeom>
          <a:solidFill>
            <a:schemeClr val="bg1">
              <a:lumMod val="95000"/>
            </a:schemeClr>
          </a:solidFill>
          <a:ln w="9525">
            <a:noFill/>
          </a:ln>
          <a:effectLst/>
          <a:ex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200" b="1" dirty="0">
              <a:solidFill>
                <a:srgbClr val="000000"/>
              </a:solidFill>
            </a:endParaRPr>
          </a:p>
        </p:txBody>
      </p:sp>
      <p:sp>
        <p:nvSpPr>
          <p:cNvPr id="27" name="Rectangle 4"/>
          <p:cNvSpPr>
            <a:spLocks noChangeArrowheads="1"/>
          </p:cNvSpPr>
          <p:nvPr/>
        </p:nvSpPr>
        <p:spPr bwMode="gray">
          <a:xfrm>
            <a:off x="5906320" y="1144274"/>
            <a:ext cx="2715704" cy="5279246"/>
          </a:xfrm>
          <a:prstGeom prst="rect">
            <a:avLst/>
          </a:prstGeom>
          <a:solidFill>
            <a:schemeClr val="bg1">
              <a:lumMod val="95000"/>
            </a:schemeClr>
          </a:solidFill>
          <a:ln w="9525">
            <a:noFill/>
          </a:ln>
          <a:effectLst/>
          <a:ex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200" b="1" dirty="0">
              <a:solidFill>
                <a:srgbClr val="000000"/>
              </a:solidFill>
            </a:endParaRPr>
          </a:p>
        </p:txBody>
      </p:sp>
      <p:sp>
        <p:nvSpPr>
          <p:cNvPr id="47" name="TextBox 46"/>
          <p:cNvSpPr txBox="1">
            <a:spLocks/>
          </p:cNvSpPr>
          <p:nvPr/>
        </p:nvSpPr>
        <p:spPr>
          <a:xfrm>
            <a:off x="339415" y="669572"/>
            <a:ext cx="2715704" cy="473474"/>
          </a:xfrm>
          <a:prstGeom prst="rect">
            <a:avLst/>
          </a:prstGeom>
          <a:solidFill>
            <a:schemeClr val="accent3"/>
          </a:solidFill>
          <a:ln w="9525">
            <a:noFill/>
            <a:miter lim="800000"/>
            <a:headEnd/>
            <a:tailEnd/>
          </a:ln>
          <a:effectLst/>
          <a:extLst/>
        </p:spPr>
        <p:txBody>
          <a:bodyPr vert="horz" wrap="square" lIns="457200" tIns="72009" rIns="72009" bIns="72009" numCol="1" anchor="ctr" anchorCtr="0" compatLnSpc="1">
            <a:prstTxWarp prst="textNoShape">
              <a:avLst/>
            </a:prstTxWarp>
            <a:noAutofit/>
          </a:bodyPr>
          <a:lstStyle>
            <a:lvl1pPr defTabSz="895350" eaLnBrk="1" hangingPunct="1">
              <a:tabLst>
                <a:tab pos="269875" algn="l"/>
              </a:tabLst>
              <a:defRPr sz="1900" b="1" baseline="0">
                <a:solidFill>
                  <a:schemeClr val="tx2"/>
                </a:solidFill>
                <a:latin typeface="+mj-lt"/>
                <a:ea typeface="+mj-ea"/>
                <a:cs typeface="+mj-cs"/>
              </a:defRPr>
            </a:lvl1pPr>
            <a:lvl2pPr defTabSz="895350" eaLnBrk="1" hangingPunct="1">
              <a:defRPr sz="1900" b="1">
                <a:solidFill>
                  <a:schemeClr val="tx2"/>
                </a:solidFill>
              </a:defRPr>
            </a:lvl2pPr>
            <a:lvl3pPr defTabSz="895350" eaLnBrk="1" hangingPunct="1">
              <a:defRPr sz="1900" b="1">
                <a:solidFill>
                  <a:schemeClr val="tx2"/>
                </a:solidFill>
              </a:defRPr>
            </a:lvl3pPr>
            <a:lvl4pPr defTabSz="895350" eaLnBrk="1" hangingPunct="1">
              <a:defRPr sz="1900" b="1">
                <a:solidFill>
                  <a:schemeClr val="tx2"/>
                </a:solidFill>
              </a:defRPr>
            </a:lvl4pPr>
            <a:lvl5pPr defTabSz="895350" eaLnBrk="1" hangingPunct="1">
              <a:defRPr sz="1900" b="1">
                <a:solidFill>
                  <a:schemeClr val="tx2"/>
                </a:solidFill>
              </a:defRPr>
            </a:lvl5pPr>
            <a:lvl6pPr marL="457200" defTabSz="895350" fontAlgn="base">
              <a:spcBef>
                <a:spcPct val="0"/>
              </a:spcBef>
              <a:spcAft>
                <a:spcPct val="0"/>
              </a:spcAft>
              <a:defRPr sz="1900" b="1">
                <a:solidFill>
                  <a:schemeClr val="tx2"/>
                </a:solidFill>
              </a:defRPr>
            </a:lvl6pPr>
            <a:lvl7pPr marL="914400" defTabSz="895350" fontAlgn="base">
              <a:spcBef>
                <a:spcPct val="0"/>
              </a:spcBef>
              <a:spcAft>
                <a:spcPct val="0"/>
              </a:spcAft>
              <a:defRPr sz="1900" b="1">
                <a:solidFill>
                  <a:schemeClr val="tx2"/>
                </a:solidFill>
              </a:defRPr>
            </a:lvl7pPr>
            <a:lvl8pPr marL="1371600" defTabSz="895350" fontAlgn="base">
              <a:spcBef>
                <a:spcPct val="0"/>
              </a:spcBef>
              <a:spcAft>
                <a:spcPct val="0"/>
              </a:spcAft>
              <a:defRPr sz="1900" b="1">
                <a:solidFill>
                  <a:schemeClr val="tx2"/>
                </a:solidFill>
              </a:defRPr>
            </a:lvl8pPr>
            <a:lvl9pPr marL="1828800" defTabSz="895350" fontAlgn="base">
              <a:spcBef>
                <a:spcPct val="0"/>
              </a:spcBef>
              <a:spcAft>
                <a:spcPct val="0"/>
              </a:spcAft>
              <a:defRPr sz="1900" b="1">
                <a:solidFill>
                  <a:schemeClr val="tx2"/>
                </a:solidFill>
              </a:defRPr>
            </a:lvl9pPr>
          </a:lstStyle>
          <a:p>
            <a:pPr>
              <a:tabLst/>
            </a:pPr>
            <a:r>
              <a:rPr lang="en-US" sz="1200" dirty="0">
                <a:solidFill>
                  <a:schemeClr val="bg1"/>
                </a:solidFill>
                <a:latin typeface="+mn-lt"/>
              </a:rPr>
              <a:t>Situation</a:t>
            </a:r>
          </a:p>
        </p:txBody>
      </p:sp>
      <p:sp>
        <p:nvSpPr>
          <p:cNvPr id="51" name="TextBox 50"/>
          <p:cNvSpPr txBox="1">
            <a:spLocks/>
          </p:cNvSpPr>
          <p:nvPr/>
        </p:nvSpPr>
        <p:spPr>
          <a:xfrm>
            <a:off x="5906320" y="669572"/>
            <a:ext cx="2715704" cy="473474"/>
          </a:xfrm>
          <a:prstGeom prst="rect">
            <a:avLst/>
          </a:prstGeom>
          <a:solidFill>
            <a:schemeClr val="accent3"/>
          </a:solidFill>
          <a:ln w="9525">
            <a:noFill/>
            <a:miter lim="800000"/>
            <a:headEnd/>
            <a:tailEnd/>
          </a:ln>
          <a:effectLst/>
          <a:extLst/>
        </p:spPr>
        <p:txBody>
          <a:bodyPr vert="horz" wrap="square" lIns="457200" tIns="72009" rIns="72009" bIns="72009" numCol="1" anchor="ctr" anchorCtr="0" compatLnSpc="1">
            <a:prstTxWarp prst="textNoShape">
              <a:avLst/>
            </a:prstTxWarp>
            <a:noAutofit/>
          </a:bodyPr>
          <a:lstStyle>
            <a:defPPr>
              <a:defRPr lang="en-US"/>
            </a:defPPr>
            <a:lvl1pPr marL="342900" defTabSz="895350" eaLnBrk="1" hangingPunct="1">
              <a:tabLst>
                <a:tab pos="317500" algn="l"/>
                <a:tab pos="342900" algn="l"/>
              </a:tabLst>
              <a:defRPr sz="1150" b="1" baseline="0">
                <a:solidFill>
                  <a:srgbClr val="0066CC"/>
                </a:solidFill>
                <a:latin typeface="+mj-lt"/>
                <a:ea typeface="+mj-ea"/>
                <a:cs typeface="+mj-cs"/>
              </a:defRPr>
            </a:lvl1pPr>
            <a:lvl2pPr defTabSz="895350" eaLnBrk="1" hangingPunct="1">
              <a:defRPr sz="1900" b="1">
                <a:solidFill>
                  <a:schemeClr val="tx2"/>
                </a:solidFill>
              </a:defRPr>
            </a:lvl2pPr>
            <a:lvl3pPr defTabSz="895350" eaLnBrk="1" hangingPunct="1">
              <a:defRPr sz="1900" b="1">
                <a:solidFill>
                  <a:schemeClr val="tx2"/>
                </a:solidFill>
              </a:defRPr>
            </a:lvl3pPr>
            <a:lvl4pPr defTabSz="895350" eaLnBrk="1" hangingPunct="1">
              <a:defRPr sz="1900" b="1">
                <a:solidFill>
                  <a:schemeClr val="tx2"/>
                </a:solidFill>
              </a:defRPr>
            </a:lvl4pPr>
            <a:lvl5pPr defTabSz="895350" eaLnBrk="1" hangingPunct="1">
              <a:defRPr sz="1900" b="1">
                <a:solidFill>
                  <a:schemeClr val="tx2"/>
                </a:solidFill>
              </a:defRPr>
            </a:lvl5pPr>
            <a:lvl6pPr marL="457200" defTabSz="895350" fontAlgn="base">
              <a:spcBef>
                <a:spcPct val="0"/>
              </a:spcBef>
              <a:spcAft>
                <a:spcPct val="0"/>
              </a:spcAft>
              <a:defRPr sz="1900" b="1">
                <a:solidFill>
                  <a:schemeClr val="tx2"/>
                </a:solidFill>
              </a:defRPr>
            </a:lvl6pPr>
            <a:lvl7pPr marL="914400" defTabSz="895350" fontAlgn="base">
              <a:spcBef>
                <a:spcPct val="0"/>
              </a:spcBef>
              <a:spcAft>
                <a:spcPct val="0"/>
              </a:spcAft>
              <a:defRPr sz="1900" b="1">
                <a:solidFill>
                  <a:schemeClr val="tx2"/>
                </a:solidFill>
              </a:defRPr>
            </a:lvl7pPr>
            <a:lvl8pPr marL="1371600" defTabSz="895350" fontAlgn="base">
              <a:spcBef>
                <a:spcPct val="0"/>
              </a:spcBef>
              <a:spcAft>
                <a:spcPct val="0"/>
              </a:spcAft>
              <a:defRPr sz="1900" b="1">
                <a:solidFill>
                  <a:schemeClr val="tx2"/>
                </a:solidFill>
              </a:defRPr>
            </a:lvl8pPr>
            <a:lvl9pPr marL="1828800" defTabSz="895350" fontAlgn="base">
              <a:spcBef>
                <a:spcPct val="0"/>
              </a:spcBef>
              <a:spcAft>
                <a:spcPct val="0"/>
              </a:spcAft>
              <a:defRPr sz="1900" b="1">
                <a:solidFill>
                  <a:schemeClr val="tx2"/>
                </a:solidFill>
              </a:defRPr>
            </a:lvl9pPr>
          </a:lstStyle>
          <a:p>
            <a:pPr marL="0">
              <a:tabLst/>
            </a:pPr>
            <a:r>
              <a:rPr lang="en-US" sz="1200" dirty="0">
                <a:solidFill>
                  <a:schemeClr val="bg1"/>
                </a:solidFill>
                <a:latin typeface="+mn-lt"/>
              </a:rPr>
              <a:t>Impact</a:t>
            </a:r>
          </a:p>
        </p:txBody>
      </p:sp>
      <p:sp>
        <p:nvSpPr>
          <p:cNvPr id="52" name="TextBox 51"/>
          <p:cNvSpPr txBox="1">
            <a:spLocks/>
          </p:cNvSpPr>
          <p:nvPr/>
        </p:nvSpPr>
        <p:spPr>
          <a:xfrm>
            <a:off x="3122868" y="669572"/>
            <a:ext cx="2715704" cy="473474"/>
          </a:xfrm>
          <a:prstGeom prst="rect">
            <a:avLst/>
          </a:prstGeom>
          <a:solidFill>
            <a:schemeClr val="accent3"/>
          </a:solidFill>
          <a:ln w="9525">
            <a:noFill/>
            <a:miter lim="800000"/>
            <a:headEnd/>
            <a:tailEnd/>
          </a:ln>
          <a:effectLst/>
          <a:extLst/>
        </p:spPr>
        <p:txBody>
          <a:bodyPr vert="horz" wrap="square" lIns="457200" tIns="72009" rIns="72009" bIns="72009" numCol="1" anchor="ctr" anchorCtr="0" compatLnSpc="1">
            <a:prstTxWarp prst="textNoShape">
              <a:avLst/>
            </a:prstTxWarp>
            <a:noAutofit/>
          </a:bodyPr>
          <a:lstStyle>
            <a:defPPr>
              <a:defRPr lang="en-US"/>
            </a:defPPr>
            <a:lvl1pPr marL="342900" defTabSz="895350" eaLnBrk="1" hangingPunct="1">
              <a:tabLst>
                <a:tab pos="317500" algn="l"/>
                <a:tab pos="342900" algn="l"/>
              </a:tabLst>
              <a:defRPr sz="1150" b="1" baseline="0">
                <a:solidFill>
                  <a:srgbClr val="0066CC"/>
                </a:solidFill>
                <a:latin typeface="+mj-lt"/>
                <a:ea typeface="+mj-ea"/>
                <a:cs typeface="+mj-cs"/>
              </a:defRPr>
            </a:lvl1pPr>
            <a:lvl2pPr defTabSz="895350" eaLnBrk="1" hangingPunct="1">
              <a:defRPr sz="1900" b="1">
                <a:solidFill>
                  <a:schemeClr val="tx2"/>
                </a:solidFill>
              </a:defRPr>
            </a:lvl2pPr>
            <a:lvl3pPr defTabSz="895350" eaLnBrk="1" hangingPunct="1">
              <a:defRPr sz="1900" b="1">
                <a:solidFill>
                  <a:schemeClr val="tx2"/>
                </a:solidFill>
              </a:defRPr>
            </a:lvl3pPr>
            <a:lvl4pPr defTabSz="895350" eaLnBrk="1" hangingPunct="1">
              <a:defRPr sz="1900" b="1">
                <a:solidFill>
                  <a:schemeClr val="tx2"/>
                </a:solidFill>
              </a:defRPr>
            </a:lvl4pPr>
            <a:lvl5pPr defTabSz="895350" eaLnBrk="1" hangingPunct="1">
              <a:defRPr sz="1900" b="1">
                <a:solidFill>
                  <a:schemeClr val="tx2"/>
                </a:solidFill>
              </a:defRPr>
            </a:lvl5pPr>
            <a:lvl6pPr marL="457200" defTabSz="895350" fontAlgn="base">
              <a:spcBef>
                <a:spcPct val="0"/>
              </a:spcBef>
              <a:spcAft>
                <a:spcPct val="0"/>
              </a:spcAft>
              <a:defRPr sz="1900" b="1">
                <a:solidFill>
                  <a:schemeClr val="tx2"/>
                </a:solidFill>
              </a:defRPr>
            </a:lvl6pPr>
            <a:lvl7pPr marL="914400" defTabSz="895350" fontAlgn="base">
              <a:spcBef>
                <a:spcPct val="0"/>
              </a:spcBef>
              <a:spcAft>
                <a:spcPct val="0"/>
              </a:spcAft>
              <a:defRPr sz="1900" b="1">
                <a:solidFill>
                  <a:schemeClr val="tx2"/>
                </a:solidFill>
              </a:defRPr>
            </a:lvl7pPr>
            <a:lvl8pPr marL="1371600" defTabSz="895350" fontAlgn="base">
              <a:spcBef>
                <a:spcPct val="0"/>
              </a:spcBef>
              <a:spcAft>
                <a:spcPct val="0"/>
              </a:spcAft>
              <a:defRPr sz="1900" b="1">
                <a:solidFill>
                  <a:schemeClr val="tx2"/>
                </a:solidFill>
              </a:defRPr>
            </a:lvl8pPr>
            <a:lvl9pPr marL="1828800" defTabSz="895350" fontAlgn="base">
              <a:spcBef>
                <a:spcPct val="0"/>
              </a:spcBef>
              <a:spcAft>
                <a:spcPct val="0"/>
              </a:spcAft>
              <a:defRPr sz="1900" b="1">
                <a:solidFill>
                  <a:schemeClr val="tx2"/>
                </a:solidFill>
              </a:defRPr>
            </a:lvl9pPr>
          </a:lstStyle>
          <a:p>
            <a:pPr marL="0">
              <a:tabLst>
                <a:tab pos="1143000" algn="l"/>
              </a:tabLst>
            </a:pPr>
            <a:r>
              <a:rPr lang="en-US" sz="1200" dirty="0">
                <a:solidFill>
                  <a:schemeClr val="bg1"/>
                </a:solidFill>
                <a:latin typeface="+mn-lt"/>
              </a:rPr>
              <a:t>McKinsey Approach</a:t>
            </a:r>
          </a:p>
        </p:txBody>
      </p:sp>
      <p:sp>
        <p:nvSpPr>
          <p:cNvPr id="53" name="Freeform 52"/>
          <p:cNvSpPr/>
          <p:nvPr/>
        </p:nvSpPr>
        <p:spPr>
          <a:xfrm>
            <a:off x="5979694" y="730399"/>
            <a:ext cx="350181" cy="351821"/>
          </a:xfrm>
          <a:custGeom>
            <a:avLst/>
            <a:gdLst>
              <a:gd name="connsiteX0" fmla="*/ 1229400 w 2872287"/>
              <a:gd name="connsiteY0" fmla="*/ 1044324 h 2885724"/>
              <a:gd name="connsiteX1" fmla="*/ 1352739 w 2872287"/>
              <a:gd name="connsiteY1" fmla="*/ 1056758 h 2885724"/>
              <a:gd name="connsiteX2" fmla="*/ 1405032 w 2872287"/>
              <a:gd name="connsiteY2" fmla="*/ 1072990 h 2885724"/>
              <a:gd name="connsiteX3" fmla="*/ 1371388 w 2872287"/>
              <a:gd name="connsiteY3" fmla="*/ 1125341 h 2885724"/>
              <a:gd name="connsiteX4" fmla="*/ 1299983 w 2872287"/>
              <a:gd name="connsiteY4" fmla="*/ 1292254 h 2885724"/>
              <a:gd name="connsiteX5" fmla="*/ 1291507 w 2872287"/>
              <a:gd name="connsiteY5" fmla="*/ 1348568 h 2885724"/>
              <a:gd name="connsiteX6" fmla="*/ 1229400 w 2872287"/>
              <a:gd name="connsiteY6" fmla="*/ 1342307 h 2885724"/>
              <a:gd name="connsiteX7" fmla="*/ 915383 w 2872287"/>
              <a:gd name="connsiteY7" fmla="*/ 1656324 h 2885724"/>
              <a:gd name="connsiteX8" fmla="*/ 1229400 w 2872287"/>
              <a:gd name="connsiteY8" fmla="*/ 1970341 h 2885724"/>
              <a:gd name="connsiteX9" fmla="*/ 1543417 w 2872287"/>
              <a:gd name="connsiteY9" fmla="*/ 1656324 h 2885724"/>
              <a:gd name="connsiteX10" fmla="*/ 1537038 w 2872287"/>
              <a:gd name="connsiteY10" fmla="*/ 1593039 h 2885724"/>
              <a:gd name="connsiteX11" fmla="*/ 1532628 w 2872287"/>
              <a:gd name="connsiteY11" fmla="*/ 1578835 h 2885724"/>
              <a:gd name="connsiteX12" fmla="*/ 1573883 w 2872287"/>
              <a:gd name="connsiteY12" fmla="*/ 1572626 h 2885724"/>
              <a:gd name="connsiteX13" fmla="*/ 1740796 w 2872287"/>
              <a:gd name="connsiteY13" fmla="*/ 1501221 h 2885724"/>
              <a:gd name="connsiteX14" fmla="*/ 1806082 w 2872287"/>
              <a:gd name="connsiteY14" fmla="*/ 1459264 h 2885724"/>
              <a:gd name="connsiteX15" fmla="*/ 1828967 w 2872287"/>
              <a:gd name="connsiteY15" fmla="*/ 1532985 h 2885724"/>
              <a:gd name="connsiteX16" fmla="*/ 1841400 w 2872287"/>
              <a:gd name="connsiteY16" fmla="*/ 1656324 h 2885724"/>
              <a:gd name="connsiteX17" fmla="*/ 1229400 w 2872287"/>
              <a:gd name="connsiteY17" fmla="*/ 2268324 h 2885724"/>
              <a:gd name="connsiteX18" fmla="*/ 617400 w 2872287"/>
              <a:gd name="connsiteY18" fmla="*/ 1656324 h 2885724"/>
              <a:gd name="connsiteX19" fmla="*/ 1229400 w 2872287"/>
              <a:gd name="connsiteY19" fmla="*/ 1044324 h 2885724"/>
              <a:gd name="connsiteX20" fmla="*/ 1229400 w 2872287"/>
              <a:gd name="connsiteY20" fmla="*/ 426924 h 2885724"/>
              <a:gd name="connsiteX21" fmla="*/ 1916770 w 2872287"/>
              <a:gd name="connsiteY21" fmla="*/ 636886 h 2885724"/>
              <a:gd name="connsiteX22" fmla="*/ 1929798 w 2872287"/>
              <a:gd name="connsiteY22" fmla="*/ 646629 h 2885724"/>
              <a:gd name="connsiteX23" fmla="*/ 1885417 w 2872287"/>
              <a:gd name="connsiteY23" fmla="*/ 679181 h 2885724"/>
              <a:gd name="connsiteX24" fmla="*/ 1766443 w 2872287"/>
              <a:gd name="connsiteY24" fmla="*/ 778925 h 2885724"/>
              <a:gd name="connsiteX25" fmla="*/ 1697698 w 2872287"/>
              <a:gd name="connsiteY25" fmla="*/ 843854 h 2885724"/>
              <a:gd name="connsiteX26" fmla="*/ 1676733 w 2872287"/>
              <a:gd name="connsiteY26" fmla="*/ 831118 h 2885724"/>
              <a:gd name="connsiteX27" fmla="*/ 1229400 w 2872287"/>
              <a:gd name="connsiteY27" fmla="*/ 717849 h 2885724"/>
              <a:gd name="connsiteX28" fmla="*/ 290925 w 2872287"/>
              <a:gd name="connsiteY28" fmla="*/ 1656324 h 2885724"/>
              <a:gd name="connsiteX29" fmla="*/ 1229400 w 2872287"/>
              <a:gd name="connsiteY29" fmla="*/ 2594799 h 2885724"/>
              <a:gd name="connsiteX30" fmla="*/ 2167875 w 2872287"/>
              <a:gd name="connsiteY30" fmla="*/ 1656324 h 2885724"/>
              <a:gd name="connsiteX31" fmla="*/ 2054606 w 2872287"/>
              <a:gd name="connsiteY31" fmla="*/ 1208991 h 2885724"/>
              <a:gd name="connsiteX32" fmla="*/ 2028904 w 2872287"/>
              <a:gd name="connsiteY32" fmla="*/ 1166684 h 2885724"/>
              <a:gd name="connsiteX33" fmla="*/ 2089764 w 2872287"/>
              <a:gd name="connsiteY33" fmla="*/ 1102246 h 2885724"/>
              <a:gd name="connsiteX34" fmla="*/ 2189508 w 2872287"/>
              <a:gd name="connsiteY34" fmla="*/ 983272 h 2885724"/>
              <a:gd name="connsiteX35" fmla="*/ 2224188 w 2872287"/>
              <a:gd name="connsiteY35" fmla="*/ 935991 h 2885724"/>
              <a:gd name="connsiteX36" fmla="*/ 2248838 w 2872287"/>
              <a:gd name="connsiteY36" fmla="*/ 968955 h 2885724"/>
              <a:gd name="connsiteX37" fmla="*/ 2458800 w 2872287"/>
              <a:gd name="connsiteY37" fmla="*/ 1656324 h 2885724"/>
              <a:gd name="connsiteX38" fmla="*/ 1229400 w 2872287"/>
              <a:gd name="connsiteY38" fmla="*/ 2885724 h 2885724"/>
              <a:gd name="connsiteX39" fmla="*/ 0 w 2872287"/>
              <a:gd name="connsiteY39" fmla="*/ 1656324 h 2885724"/>
              <a:gd name="connsiteX40" fmla="*/ 1229400 w 2872287"/>
              <a:gd name="connsiteY40" fmla="*/ 426924 h 2885724"/>
              <a:gd name="connsiteX41" fmla="*/ 2402682 w 2872287"/>
              <a:gd name="connsiteY41" fmla="*/ 680 h 2885724"/>
              <a:gd name="connsiteX42" fmla="*/ 2450307 w 2872287"/>
              <a:gd name="connsiteY42" fmla="*/ 36399 h 2885724"/>
              <a:gd name="connsiteX43" fmla="*/ 2493170 w 2872287"/>
              <a:gd name="connsiteY43" fmla="*/ 184037 h 2885724"/>
              <a:gd name="connsiteX44" fmla="*/ 2526508 w 2872287"/>
              <a:gd name="connsiteY44" fmla="*/ 322149 h 2885724"/>
              <a:gd name="connsiteX45" fmla="*/ 2574132 w 2872287"/>
              <a:gd name="connsiteY45" fmla="*/ 345962 h 2885724"/>
              <a:gd name="connsiteX46" fmla="*/ 2776539 w 2872287"/>
              <a:gd name="connsiteY46" fmla="*/ 405494 h 2885724"/>
              <a:gd name="connsiteX47" fmla="*/ 2864645 w 2872287"/>
              <a:gd name="connsiteY47" fmla="*/ 450737 h 2885724"/>
              <a:gd name="connsiteX48" fmla="*/ 2859882 w 2872287"/>
              <a:gd name="connsiteY48" fmla="*/ 515030 h 2885724"/>
              <a:gd name="connsiteX49" fmla="*/ 2795589 w 2872287"/>
              <a:gd name="connsiteY49" fmla="*/ 591230 h 2885724"/>
              <a:gd name="connsiteX50" fmla="*/ 2667002 w 2872287"/>
              <a:gd name="connsiteY50" fmla="*/ 715055 h 2885724"/>
              <a:gd name="connsiteX51" fmla="*/ 2552701 w 2872287"/>
              <a:gd name="connsiteY51" fmla="*/ 769824 h 2885724"/>
              <a:gd name="connsiteX52" fmla="*/ 2431257 w 2872287"/>
              <a:gd name="connsiteY52" fmla="*/ 784112 h 2885724"/>
              <a:gd name="connsiteX53" fmla="*/ 2271714 w 2872287"/>
              <a:gd name="connsiteY53" fmla="*/ 762680 h 2885724"/>
              <a:gd name="connsiteX54" fmla="*/ 2225051 w 2872287"/>
              <a:gd name="connsiteY54" fmla="*/ 746476 h 2885724"/>
              <a:gd name="connsiteX55" fmla="*/ 2216943 w 2872287"/>
              <a:gd name="connsiteY55" fmla="*/ 757918 h 2885724"/>
              <a:gd name="connsiteX56" fmla="*/ 2064543 w 2872287"/>
              <a:gd name="connsiteY56" fmla="*/ 962705 h 2885724"/>
              <a:gd name="connsiteX57" fmla="*/ 1862137 w 2872287"/>
              <a:gd name="connsiteY57" fmla="*/ 1212737 h 2885724"/>
              <a:gd name="connsiteX58" fmla="*/ 1750218 w 2872287"/>
              <a:gd name="connsiteY58" fmla="*/ 1334180 h 2885724"/>
              <a:gd name="connsiteX59" fmla="*/ 1664493 w 2872287"/>
              <a:gd name="connsiteY59" fmla="*/ 1407999 h 2885724"/>
              <a:gd name="connsiteX60" fmla="*/ 1607343 w 2872287"/>
              <a:gd name="connsiteY60" fmla="*/ 1438955 h 2885724"/>
              <a:gd name="connsiteX61" fmla="*/ 1550193 w 2872287"/>
              <a:gd name="connsiteY61" fmla="*/ 1438955 h 2885724"/>
              <a:gd name="connsiteX62" fmla="*/ 1526380 w 2872287"/>
              <a:gd name="connsiteY62" fmla="*/ 1438955 h 2885724"/>
              <a:gd name="connsiteX63" fmla="*/ 1521677 w 2872287"/>
              <a:gd name="connsiteY63" fmla="*/ 1440971 h 2885724"/>
              <a:gd name="connsiteX64" fmla="*/ 1499508 w 2872287"/>
              <a:gd name="connsiteY64" fmla="*/ 1464922 h 2885724"/>
              <a:gd name="connsiteX65" fmla="*/ 1198503 w 2872287"/>
              <a:gd name="connsiteY65" fmla="*/ 1669195 h 2885724"/>
              <a:gd name="connsiteX66" fmla="*/ 1402776 w 2872287"/>
              <a:gd name="connsiteY66" fmla="*/ 1368190 h 2885724"/>
              <a:gd name="connsiteX67" fmla="*/ 1429420 w 2872287"/>
              <a:gd name="connsiteY67" fmla="*/ 1343529 h 2885724"/>
              <a:gd name="connsiteX68" fmla="*/ 1427856 w 2872287"/>
              <a:gd name="connsiteY68" fmla="*/ 1324358 h 2885724"/>
              <a:gd name="connsiteX69" fmla="*/ 1423987 w 2872287"/>
              <a:gd name="connsiteY69" fmla="*/ 1288937 h 2885724"/>
              <a:gd name="connsiteX70" fmla="*/ 1435893 w 2872287"/>
              <a:gd name="connsiteY70" fmla="*/ 1231787 h 2885724"/>
              <a:gd name="connsiteX71" fmla="*/ 1502568 w 2872287"/>
              <a:gd name="connsiteY71" fmla="*/ 1148443 h 2885724"/>
              <a:gd name="connsiteX72" fmla="*/ 1693068 w 2872287"/>
              <a:gd name="connsiteY72" fmla="*/ 972230 h 2885724"/>
              <a:gd name="connsiteX73" fmla="*/ 1959768 w 2872287"/>
              <a:gd name="connsiteY73" fmla="*/ 760299 h 2885724"/>
              <a:gd name="connsiteX74" fmla="*/ 2058441 w 2872287"/>
              <a:gd name="connsiteY74" fmla="*/ 689309 h 2885724"/>
              <a:gd name="connsiteX75" fmla="*/ 2114702 w 2872287"/>
              <a:gd name="connsiteY75" fmla="*/ 654020 h 2885724"/>
              <a:gd name="connsiteX76" fmla="*/ 2106812 w 2872287"/>
              <a:gd name="connsiteY76" fmla="*/ 603584 h 2885724"/>
              <a:gd name="connsiteX77" fmla="*/ 2095501 w 2872287"/>
              <a:gd name="connsiteY77" fmla="*/ 495982 h 2885724"/>
              <a:gd name="connsiteX78" fmla="*/ 2095501 w 2872287"/>
              <a:gd name="connsiteY78" fmla="*/ 326912 h 2885724"/>
              <a:gd name="connsiteX79" fmla="*/ 2147889 w 2872287"/>
              <a:gd name="connsiteY79" fmla="*/ 231662 h 2885724"/>
              <a:gd name="connsiteX80" fmla="*/ 2300289 w 2872287"/>
              <a:gd name="connsiteY80" fmla="*/ 69737 h 2885724"/>
              <a:gd name="connsiteX81" fmla="*/ 2352676 w 2872287"/>
              <a:gd name="connsiteY81" fmla="*/ 17349 h 2885724"/>
              <a:gd name="connsiteX82" fmla="*/ 2402682 w 2872287"/>
              <a:gd name="connsiteY82" fmla="*/ 680 h 2885724"/>
              <a:gd name="connsiteX0" fmla="*/ 1229400 w 2872287"/>
              <a:gd name="connsiteY0" fmla="*/ 1044324 h 2885724"/>
              <a:gd name="connsiteX1" fmla="*/ 1352739 w 2872287"/>
              <a:gd name="connsiteY1" fmla="*/ 1056758 h 2885724"/>
              <a:gd name="connsiteX2" fmla="*/ 1405032 w 2872287"/>
              <a:gd name="connsiteY2" fmla="*/ 1072990 h 2885724"/>
              <a:gd name="connsiteX3" fmla="*/ 1371388 w 2872287"/>
              <a:gd name="connsiteY3" fmla="*/ 1125341 h 2885724"/>
              <a:gd name="connsiteX4" fmla="*/ 1299983 w 2872287"/>
              <a:gd name="connsiteY4" fmla="*/ 1292254 h 2885724"/>
              <a:gd name="connsiteX5" fmla="*/ 1291507 w 2872287"/>
              <a:gd name="connsiteY5" fmla="*/ 1348568 h 2885724"/>
              <a:gd name="connsiteX6" fmla="*/ 1229400 w 2872287"/>
              <a:gd name="connsiteY6" fmla="*/ 1342307 h 2885724"/>
              <a:gd name="connsiteX7" fmla="*/ 915383 w 2872287"/>
              <a:gd name="connsiteY7" fmla="*/ 1656324 h 2885724"/>
              <a:gd name="connsiteX8" fmla="*/ 1229400 w 2872287"/>
              <a:gd name="connsiteY8" fmla="*/ 1970341 h 2885724"/>
              <a:gd name="connsiteX9" fmla="*/ 1543417 w 2872287"/>
              <a:gd name="connsiteY9" fmla="*/ 1656324 h 2885724"/>
              <a:gd name="connsiteX10" fmla="*/ 1537038 w 2872287"/>
              <a:gd name="connsiteY10" fmla="*/ 1593039 h 2885724"/>
              <a:gd name="connsiteX11" fmla="*/ 1532628 w 2872287"/>
              <a:gd name="connsiteY11" fmla="*/ 1578835 h 2885724"/>
              <a:gd name="connsiteX12" fmla="*/ 1573883 w 2872287"/>
              <a:gd name="connsiteY12" fmla="*/ 1572626 h 2885724"/>
              <a:gd name="connsiteX13" fmla="*/ 1740796 w 2872287"/>
              <a:gd name="connsiteY13" fmla="*/ 1501221 h 2885724"/>
              <a:gd name="connsiteX14" fmla="*/ 1806082 w 2872287"/>
              <a:gd name="connsiteY14" fmla="*/ 1459264 h 2885724"/>
              <a:gd name="connsiteX15" fmla="*/ 1828967 w 2872287"/>
              <a:gd name="connsiteY15" fmla="*/ 1532985 h 2885724"/>
              <a:gd name="connsiteX16" fmla="*/ 1841400 w 2872287"/>
              <a:gd name="connsiteY16" fmla="*/ 1656324 h 2885724"/>
              <a:gd name="connsiteX17" fmla="*/ 1229400 w 2872287"/>
              <a:gd name="connsiteY17" fmla="*/ 2268324 h 2885724"/>
              <a:gd name="connsiteX18" fmla="*/ 617400 w 2872287"/>
              <a:gd name="connsiteY18" fmla="*/ 1656324 h 2885724"/>
              <a:gd name="connsiteX19" fmla="*/ 1229400 w 2872287"/>
              <a:gd name="connsiteY19" fmla="*/ 1044324 h 2885724"/>
              <a:gd name="connsiteX20" fmla="*/ 1229400 w 2872287"/>
              <a:gd name="connsiteY20" fmla="*/ 426924 h 2885724"/>
              <a:gd name="connsiteX21" fmla="*/ 1916770 w 2872287"/>
              <a:gd name="connsiteY21" fmla="*/ 636886 h 2885724"/>
              <a:gd name="connsiteX22" fmla="*/ 1929798 w 2872287"/>
              <a:gd name="connsiteY22" fmla="*/ 646629 h 2885724"/>
              <a:gd name="connsiteX23" fmla="*/ 1885417 w 2872287"/>
              <a:gd name="connsiteY23" fmla="*/ 679181 h 2885724"/>
              <a:gd name="connsiteX24" fmla="*/ 1766443 w 2872287"/>
              <a:gd name="connsiteY24" fmla="*/ 778925 h 2885724"/>
              <a:gd name="connsiteX25" fmla="*/ 1697698 w 2872287"/>
              <a:gd name="connsiteY25" fmla="*/ 843854 h 2885724"/>
              <a:gd name="connsiteX26" fmla="*/ 1676733 w 2872287"/>
              <a:gd name="connsiteY26" fmla="*/ 831118 h 2885724"/>
              <a:gd name="connsiteX27" fmla="*/ 1229400 w 2872287"/>
              <a:gd name="connsiteY27" fmla="*/ 717849 h 2885724"/>
              <a:gd name="connsiteX28" fmla="*/ 290925 w 2872287"/>
              <a:gd name="connsiteY28" fmla="*/ 1656324 h 2885724"/>
              <a:gd name="connsiteX29" fmla="*/ 1229400 w 2872287"/>
              <a:gd name="connsiteY29" fmla="*/ 2594799 h 2885724"/>
              <a:gd name="connsiteX30" fmla="*/ 2167875 w 2872287"/>
              <a:gd name="connsiteY30" fmla="*/ 1656324 h 2885724"/>
              <a:gd name="connsiteX31" fmla="*/ 2054606 w 2872287"/>
              <a:gd name="connsiteY31" fmla="*/ 1208991 h 2885724"/>
              <a:gd name="connsiteX32" fmla="*/ 2028904 w 2872287"/>
              <a:gd name="connsiteY32" fmla="*/ 1166684 h 2885724"/>
              <a:gd name="connsiteX33" fmla="*/ 2089764 w 2872287"/>
              <a:gd name="connsiteY33" fmla="*/ 1102246 h 2885724"/>
              <a:gd name="connsiteX34" fmla="*/ 2189508 w 2872287"/>
              <a:gd name="connsiteY34" fmla="*/ 983272 h 2885724"/>
              <a:gd name="connsiteX35" fmla="*/ 2224188 w 2872287"/>
              <a:gd name="connsiteY35" fmla="*/ 935991 h 2885724"/>
              <a:gd name="connsiteX36" fmla="*/ 2248838 w 2872287"/>
              <a:gd name="connsiteY36" fmla="*/ 968955 h 2885724"/>
              <a:gd name="connsiteX37" fmla="*/ 2458800 w 2872287"/>
              <a:gd name="connsiteY37" fmla="*/ 1656324 h 2885724"/>
              <a:gd name="connsiteX38" fmla="*/ 1229400 w 2872287"/>
              <a:gd name="connsiteY38" fmla="*/ 2885724 h 2885724"/>
              <a:gd name="connsiteX39" fmla="*/ 0 w 2872287"/>
              <a:gd name="connsiteY39" fmla="*/ 1656324 h 2885724"/>
              <a:gd name="connsiteX40" fmla="*/ 1229400 w 2872287"/>
              <a:gd name="connsiteY40" fmla="*/ 426924 h 2885724"/>
              <a:gd name="connsiteX41" fmla="*/ 2402682 w 2872287"/>
              <a:gd name="connsiteY41" fmla="*/ 680 h 2885724"/>
              <a:gd name="connsiteX42" fmla="*/ 2450307 w 2872287"/>
              <a:gd name="connsiteY42" fmla="*/ 36399 h 2885724"/>
              <a:gd name="connsiteX43" fmla="*/ 2493170 w 2872287"/>
              <a:gd name="connsiteY43" fmla="*/ 184037 h 2885724"/>
              <a:gd name="connsiteX44" fmla="*/ 2526508 w 2872287"/>
              <a:gd name="connsiteY44" fmla="*/ 322149 h 2885724"/>
              <a:gd name="connsiteX45" fmla="*/ 2776539 w 2872287"/>
              <a:gd name="connsiteY45" fmla="*/ 405494 h 2885724"/>
              <a:gd name="connsiteX46" fmla="*/ 2864645 w 2872287"/>
              <a:gd name="connsiteY46" fmla="*/ 450737 h 2885724"/>
              <a:gd name="connsiteX47" fmla="*/ 2859882 w 2872287"/>
              <a:gd name="connsiteY47" fmla="*/ 515030 h 2885724"/>
              <a:gd name="connsiteX48" fmla="*/ 2795589 w 2872287"/>
              <a:gd name="connsiteY48" fmla="*/ 591230 h 2885724"/>
              <a:gd name="connsiteX49" fmla="*/ 2667002 w 2872287"/>
              <a:gd name="connsiteY49" fmla="*/ 715055 h 2885724"/>
              <a:gd name="connsiteX50" fmla="*/ 2552701 w 2872287"/>
              <a:gd name="connsiteY50" fmla="*/ 769824 h 2885724"/>
              <a:gd name="connsiteX51" fmla="*/ 2431257 w 2872287"/>
              <a:gd name="connsiteY51" fmla="*/ 784112 h 2885724"/>
              <a:gd name="connsiteX52" fmla="*/ 2271714 w 2872287"/>
              <a:gd name="connsiteY52" fmla="*/ 762680 h 2885724"/>
              <a:gd name="connsiteX53" fmla="*/ 2225051 w 2872287"/>
              <a:gd name="connsiteY53" fmla="*/ 746476 h 2885724"/>
              <a:gd name="connsiteX54" fmla="*/ 2216943 w 2872287"/>
              <a:gd name="connsiteY54" fmla="*/ 757918 h 2885724"/>
              <a:gd name="connsiteX55" fmla="*/ 2064543 w 2872287"/>
              <a:gd name="connsiteY55" fmla="*/ 962705 h 2885724"/>
              <a:gd name="connsiteX56" fmla="*/ 1862137 w 2872287"/>
              <a:gd name="connsiteY56" fmla="*/ 1212737 h 2885724"/>
              <a:gd name="connsiteX57" fmla="*/ 1750218 w 2872287"/>
              <a:gd name="connsiteY57" fmla="*/ 1334180 h 2885724"/>
              <a:gd name="connsiteX58" fmla="*/ 1664493 w 2872287"/>
              <a:gd name="connsiteY58" fmla="*/ 1407999 h 2885724"/>
              <a:gd name="connsiteX59" fmla="*/ 1607343 w 2872287"/>
              <a:gd name="connsiteY59" fmla="*/ 1438955 h 2885724"/>
              <a:gd name="connsiteX60" fmla="*/ 1550193 w 2872287"/>
              <a:gd name="connsiteY60" fmla="*/ 1438955 h 2885724"/>
              <a:gd name="connsiteX61" fmla="*/ 1526380 w 2872287"/>
              <a:gd name="connsiteY61" fmla="*/ 1438955 h 2885724"/>
              <a:gd name="connsiteX62" fmla="*/ 1521677 w 2872287"/>
              <a:gd name="connsiteY62" fmla="*/ 1440971 h 2885724"/>
              <a:gd name="connsiteX63" fmla="*/ 1499508 w 2872287"/>
              <a:gd name="connsiteY63" fmla="*/ 1464922 h 2885724"/>
              <a:gd name="connsiteX64" fmla="*/ 1198503 w 2872287"/>
              <a:gd name="connsiteY64" fmla="*/ 1669195 h 2885724"/>
              <a:gd name="connsiteX65" fmla="*/ 1402776 w 2872287"/>
              <a:gd name="connsiteY65" fmla="*/ 1368190 h 2885724"/>
              <a:gd name="connsiteX66" fmla="*/ 1429420 w 2872287"/>
              <a:gd name="connsiteY66" fmla="*/ 1343529 h 2885724"/>
              <a:gd name="connsiteX67" fmla="*/ 1427856 w 2872287"/>
              <a:gd name="connsiteY67" fmla="*/ 1324358 h 2885724"/>
              <a:gd name="connsiteX68" fmla="*/ 1423987 w 2872287"/>
              <a:gd name="connsiteY68" fmla="*/ 1288937 h 2885724"/>
              <a:gd name="connsiteX69" fmla="*/ 1435893 w 2872287"/>
              <a:gd name="connsiteY69" fmla="*/ 1231787 h 2885724"/>
              <a:gd name="connsiteX70" fmla="*/ 1502568 w 2872287"/>
              <a:gd name="connsiteY70" fmla="*/ 1148443 h 2885724"/>
              <a:gd name="connsiteX71" fmla="*/ 1693068 w 2872287"/>
              <a:gd name="connsiteY71" fmla="*/ 972230 h 2885724"/>
              <a:gd name="connsiteX72" fmla="*/ 1959768 w 2872287"/>
              <a:gd name="connsiteY72" fmla="*/ 760299 h 2885724"/>
              <a:gd name="connsiteX73" fmla="*/ 2058441 w 2872287"/>
              <a:gd name="connsiteY73" fmla="*/ 689309 h 2885724"/>
              <a:gd name="connsiteX74" fmla="*/ 2114702 w 2872287"/>
              <a:gd name="connsiteY74" fmla="*/ 654020 h 2885724"/>
              <a:gd name="connsiteX75" fmla="*/ 2106812 w 2872287"/>
              <a:gd name="connsiteY75" fmla="*/ 603584 h 2885724"/>
              <a:gd name="connsiteX76" fmla="*/ 2095501 w 2872287"/>
              <a:gd name="connsiteY76" fmla="*/ 495982 h 2885724"/>
              <a:gd name="connsiteX77" fmla="*/ 2095501 w 2872287"/>
              <a:gd name="connsiteY77" fmla="*/ 326912 h 2885724"/>
              <a:gd name="connsiteX78" fmla="*/ 2147889 w 2872287"/>
              <a:gd name="connsiteY78" fmla="*/ 231662 h 2885724"/>
              <a:gd name="connsiteX79" fmla="*/ 2300289 w 2872287"/>
              <a:gd name="connsiteY79" fmla="*/ 69737 h 2885724"/>
              <a:gd name="connsiteX80" fmla="*/ 2352676 w 2872287"/>
              <a:gd name="connsiteY80" fmla="*/ 17349 h 2885724"/>
              <a:gd name="connsiteX81" fmla="*/ 2402682 w 2872287"/>
              <a:gd name="connsiteY81" fmla="*/ 680 h 2885724"/>
              <a:gd name="connsiteX0" fmla="*/ 1229400 w 2872287"/>
              <a:gd name="connsiteY0" fmla="*/ 1044324 h 2885724"/>
              <a:gd name="connsiteX1" fmla="*/ 1352739 w 2872287"/>
              <a:gd name="connsiteY1" fmla="*/ 1056758 h 2885724"/>
              <a:gd name="connsiteX2" fmla="*/ 1405032 w 2872287"/>
              <a:gd name="connsiteY2" fmla="*/ 1072990 h 2885724"/>
              <a:gd name="connsiteX3" fmla="*/ 1371388 w 2872287"/>
              <a:gd name="connsiteY3" fmla="*/ 1125341 h 2885724"/>
              <a:gd name="connsiteX4" fmla="*/ 1299983 w 2872287"/>
              <a:gd name="connsiteY4" fmla="*/ 1292254 h 2885724"/>
              <a:gd name="connsiteX5" fmla="*/ 1291507 w 2872287"/>
              <a:gd name="connsiteY5" fmla="*/ 1348568 h 2885724"/>
              <a:gd name="connsiteX6" fmla="*/ 1229400 w 2872287"/>
              <a:gd name="connsiteY6" fmla="*/ 1342307 h 2885724"/>
              <a:gd name="connsiteX7" fmla="*/ 915383 w 2872287"/>
              <a:gd name="connsiteY7" fmla="*/ 1656324 h 2885724"/>
              <a:gd name="connsiteX8" fmla="*/ 1229400 w 2872287"/>
              <a:gd name="connsiteY8" fmla="*/ 1970341 h 2885724"/>
              <a:gd name="connsiteX9" fmla="*/ 1543417 w 2872287"/>
              <a:gd name="connsiteY9" fmla="*/ 1656324 h 2885724"/>
              <a:gd name="connsiteX10" fmla="*/ 1537038 w 2872287"/>
              <a:gd name="connsiteY10" fmla="*/ 1593039 h 2885724"/>
              <a:gd name="connsiteX11" fmla="*/ 1532628 w 2872287"/>
              <a:gd name="connsiteY11" fmla="*/ 1578835 h 2885724"/>
              <a:gd name="connsiteX12" fmla="*/ 1573883 w 2872287"/>
              <a:gd name="connsiteY12" fmla="*/ 1572626 h 2885724"/>
              <a:gd name="connsiteX13" fmla="*/ 1740796 w 2872287"/>
              <a:gd name="connsiteY13" fmla="*/ 1501221 h 2885724"/>
              <a:gd name="connsiteX14" fmla="*/ 1806082 w 2872287"/>
              <a:gd name="connsiteY14" fmla="*/ 1459264 h 2885724"/>
              <a:gd name="connsiteX15" fmla="*/ 1828967 w 2872287"/>
              <a:gd name="connsiteY15" fmla="*/ 1532985 h 2885724"/>
              <a:gd name="connsiteX16" fmla="*/ 1841400 w 2872287"/>
              <a:gd name="connsiteY16" fmla="*/ 1656324 h 2885724"/>
              <a:gd name="connsiteX17" fmla="*/ 1229400 w 2872287"/>
              <a:gd name="connsiteY17" fmla="*/ 2268324 h 2885724"/>
              <a:gd name="connsiteX18" fmla="*/ 617400 w 2872287"/>
              <a:gd name="connsiteY18" fmla="*/ 1656324 h 2885724"/>
              <a:gd name="connsiteX19" fmla="*/ 1229400 w 2872287"/>
              <a:gd name="connsiteY19" fmla="*/ 1044324 h 2885724"/>
              <a:gd name="connsiteX20" fmla="*/ 1229400 w 2872287"/>
              <a:gd name="connsiteY20" fmla="*/ 426924 h 2885724"/>
              <a:gd name="connsiteX21" fmla="*/ 1916770 w 2872287"/>
              <a:gd name="connsiteY21" fmla="*/ 636886 h 2885724"/>
              <a:gd name="connsiteX22" fmla="*/ 1929798 w 2872287"/>
              <a:gd name="connsiteY22" fmla="*/ 646629 h 2885724"/>
              <a:gd name="connsiteX23" fmla="*/ 1885417 w 2872287"/>
              <a:gd name="connsiteY23" fmla="*/ 679181 h 2885724"/>
              <a:gd name="connsiteX24" fmla="*/ 1766443 w 2872287"/>
              <a:gd name="connsiteY24" fmla="*/ 778925 h 2885724"/>
              <a:gd name="connsiteX25" fmla="*/ 1697698 w 2872287"/>
              <a:gd name="connsiteY25" fmla="*/ 843854 h 2885724"/>
              <a:gd name="connsiteX26" fmla="*/ 1676733 w 2872287"/>
              <a:gd name="connsiteY26" fmla="*/ 831118 h 2885724"/>
              <a:gd name="connsiteX27" fmla="*/ 1229400 w 2872287"/>
              <a:gd name="connsiteY27" fmla="*/ 717849 h 2885724"/>
              <a:gd name="connsiteX28" fmla="*/ 290925 w 2872287"/>
              <a:gd name="connsiteY28" fmla="*/ 1656324 h 2885724"/>
              <a:gd name="connsiteX29" fmla="*/ 1229400 w 2872287"/>
              <a:gd name="connsiteY29" fmla="*/ 2594799 h 2885724"/>
              <a:gd name="connsiteX30" fmla="*/ 2167875 w 2872287"/>
              <a:gd name="connsiteY30" fmla="*/ 1656324 h 2885724"/>
              <a:gd name="connsiteX31" fmla="*/ 2054606 w 2872287"/>
              <a:gd name="connsiteY31" fmla="*/ 1208991 h 2885724"/>
              <a:gd name="connsiteX32" fmla="*/ 2028904 w 2872287"/>
              <a:gd name="connsiteY32" fmla="*/ 1166684 h 2885724"/>
              <a:gd name="connsiteX33" fmla="*/ 2089764 w 2872287"/>
              <a:gd name="connsiteY33" fmla="*/ 1102246 h 2885724"/>
              <a:gd name="connsiteX34" fmla="*/ 2189508 w 2872287"/>
              <a:gd name="connsiteY34" fmla="*/ 983272 h 2885724"/>
              <a:gd name="connsiteX35" fmla="*/ 2224188 w 2872287"/>
              <a:gd name="connsiteY35" fmla="*/ 935991 h 2885724"/>
              <a:gd name="connsiteX36" fmla="*/ 2248838 w 2872287"/>
              <a:gd name="connsiteY36" fmla="*/ 968955 h 2885724"/>
              <a:gd name="connsiteX37" fmla="*/ 2458800 w 2872287"/>
              <a:gd name="connsiteY37" fmla="*/ 1656324 h 2885724"/>
              <a:gd name="connsiteX38" fmla="*/ 1229400 w 2872287"/>
              <a:gd name="connsiteY38" fmla="*/ 2885724 h 2885724"/>
              <a:gd name="connsiteX39" fmla="*/ 0 w 2872287"/>
              <a:gd name="connsiteY39" fmla="*/ 1656324 h 2885724"/>
              <a:gd name="connsiteX40" fmla="*/ 1229400 w 2872287"/>
              <a:gd name="connsiteY40" fmla="*/ 426924 h 2885724"/>
              <a:gd name="connsiteX41" fmla="*/ 2402682 w 2872287"/>
              <a:gd name="connsiteY41" fmla="*/ 680 h 2885724"/>
              <a:gd name="connsiteX42" fmla="*/ 2450307 w 2872287"/>
              <a:gd name="connsiteY42" fmla="*/ 36399 h 2885724"/>
              <a:gd name="connsiteX43" fmla="*/ 2493170 w 2872287"/>
              <a:gd name="connsiteY43" fmla="*/ 184037 h 2885724"/>
              <a:gd name="connsiteX44" fmla="*/ 2524126 w 2872287"/>
              <a:gd name="connsiteY44" fmla="*/ 336437 h 2885724"/>
              <a:gd name="connsiteX45" fmla="*/ 2776539 w 2872287"/>
              <a:gd name="connsiteY45" fmla="*/ 405494 h 2885724"/>
              <a:gd name="connsiteX46" fmla="*/ 2864645 w 2872287"/>
              <a:gd name="connsiteY46" fmla="*/ 450737 h 2885724"/>
              <a:gd name="connsiteX47" fmla="*/ 2859882 w 2872287"/>
              <a:gd name="connsiteY47" fmla="*/ 515030 h 2885724"/>
              <a:gd name="connsiteX48" fmla="*/ 2795589 w 2872287"/>
              <a:gd name="connsiteY48" fmla="*/ 591230 h 2885724"/>
              <a:gd name="connsiteX49" fmla="*/ 2667002 w 2872287"/>
              <a:gd name="connsiteY49" fmla="*/ 715055 h 2885724"/>
              <a:gd name="connsiteX50" fmla="*/ 2552701 w 2872287"/>
              <a:gd name="connsiteY50" fmla="*/ 769824 h 2885724"/>
              <a:gd name="connsiteX51" fmla="*/ 2431257 w 2872287"/>
              <a:gd name="connsiteY51" fmla="*/ 784112 h 2885724"/>
              <a:gd name="connsiteX52" fmla="*/ 2271714 w 2872287"/>
              <a:gd name="connsiteY52" fmla="*/ 762680 h 2885724"/>
              <a:gd name="connsiteX53" fmla="*/ 2225051 w 2872287"/>
              <a:gd name="connsiteY53" fmla="*/ 746476 h 2885724"/>
              <a:gd name="connsiteX54" fmla="*/ 2216943 w 2872287"/>
              <a:gd name="connsiteY54" fmla="*/ 757918 h 2885724"/>
              <a:gd name="connsiteX55" fmla="*/ 2064543 w 2872287"/>
              <a:gd name="connsiteY55" fmla="*/ 962705 h 2885724"/>
              <a:gd name="connsiteX56" fmla="*/ 1862137 w 2872287"/>
              <a:gd name="connsiteY56" fmla="*/ 1212737 h 2885724"/>
              <a:gd name="connsiteX57" fmla="*/ 1750218 w 2872287"/>
              <a:gd name="connsiteY57" fmla="*/ 1334180 h 2885724"/>
              <a:gd name="connsiteX58" fmla="*/ 1664493 w 2872287"/>
              <a:gd name="connsiteY58" fmla="*/ 1407999 h 2885724"/>
              <a:gd name="connsiteX59" fmla="*/ 1607343 w 2872287"/>
              <a:gd name="connsiteY59" fmla="*/ 1438955 h 2885724"/>
              <a:gd name="connsiteX60" fmla="*/ 1550193 w 2872287"/>
              <a:gd name="connsiteY60" fmla="*/ 1438955 h 2885724"/>
              <a:gd name="connsiteX61" fmla="*/ 1526380 w 2872287"/>
              <a:gd name="connsiteY61" fmla="*/ 1438955 h 2885724"/>
              <a:gd name="connsiteX62" fmla="*/ 1521677 w 2872287"/>
              <a:gd name="connsiteY62" fmla="*/ 1440971 h 2885724"/>
              <a:gd name="connsiteX63" fmla="*/ 1499508 w 2872287"/>
              <a:gd name="connsiteY63" fmla="*/ 1464922 h 2885724"/>
              <a:gd name="connsiteX64" fmla="*/ 1198503 w 2872287"/>
              <a:gd name="connsiteY64" fmla="*/ 1669195 h 2885724"/>
              <a:gd name="connsiteX65" fmla="*/ 1402776 w 2872287"/>
              <a:gd name="connsiteY65" fmla="*/ 1368190 h 2885724"/>
              <a:gd name="connsiteX66" fmla="*/ 1429420 w 2872287"/>
              <a:gd name="connsiteY66" fmla="*/ 1343529 h 2885724"/>
              <a:gd name="connsiteX67" fmla="*/ 1427856 w 2872287"/>
              <a:gd name="connsiteY67" fmla="*/ 1324358 h 2885724"/>
              <a:gd name="connsiteX68" fmla="*/ 1423987 w 2872287"/>
              <a:gd name="connsiteY68" fmla="*/ 1288937 h 2885724"/>
              <a:gd name="connsiteX69" fmla="*/ 1435893 w 2872287"/>
              <a:gd name="connsiteY69" fmla="*/ 1231787 h 2885724"/>
              <a:gd name="connsiteX70" fmla="*/ 1502568 w 2872287"/>
              <a:gd name="connsiteY70" fmla="*/ 1148443 h 2885724"/>
              <a:gd name="connsiteX71" fmla="*/ 1693068 w 2872287"/>
              <a:gd name="connsiteY71" fmla="*/ 972230 h 2885724"/>
              <a:gd name="connsiteX72" fmla="*/ 1959768 w 2872287"/>
              <a:gd name="connsiteY72" fmla="*/ 760299 h 2885724"/>
              <a:gd name="connsiteX73" fmla="*/ 2058441 w 2872287"/>
              <a:gd name="connsiteY73" fmla="*/ 689309 h 2885724"/>
              <a:gd name="connsiteX74" fmla="*/ 2114702 w 2872287"/>
              <a:gd name="connsiteY74" fmla="*/ 654020 h 2885724"/>
              <a:gd name="connsiteX75" fmla="*/ 2106812 w 2872287"/>
              <a:gd name="connsiteY75" fmla="*/ 603584 h 2885724"/>
              <a:gd name="connsiteX76" fmla="*/ 2095501 w 2872287"/>
              <a:gd name="connsiteY76" fmla="*/ 495982 h 2885724"/>
              <a:gd name="connsiteX77" fmla="*/ 2095501 w 2872287"/>
              <a:gd name="connsiteY77" fmla="*/ 326912 h 2885724"/>
              <a:gd name="connsiteX78" fmla="*/ 2147889 w 2872287"/>
              <a:gd name="connsiteY78" fmla="*/ 231662 h 2885724"/>
              <a:gd name="connsiteX79" fmla="*/ 2300289 w 2872287"/>
              <a:gd name="connsiteY79" fmla="*/ 69737 h 2885724"/>
              <a:gd name="connsiteX80" fmla="*/ 2352676 w 2872287"/>
              <a:gd name="connsiteY80" fmla="*/ 17349 h 2885724"/>
              <a:gd name="connsiteX81" fmla="*/ 2402682 w 2872287"/>
              <a:gd name="connsiteY81" fmla="*/ 680 h 2885724"/>
              <a:gd name="connsiteX0" fmla="*/ 1229400 w 2872287"/>
              <a:gd name="connsiteY0" fmla="*/ 1044324 h 2885724"/>
              <a:gd name="connsiteX1" fmla="*/ 1352739 w 2872287"/>
              <a:gd name="connsiteY1" fmla="*/ 1056758 h 2885724"/>
              <a:gd name="connsiteX2" fmla="*/ 1405032 w 2872287"/>
              <a:gd name="connsiteY2" fmla="*/ 1072990 h 2885724"/>
              <a:gd name="connsiteX3" fmla="*/ 1371388 w 2872287"/>
              <a:gd name="connsiteY3" fmla="*/ 1125341 h 2885724"/>
              <a:gd name="connsiteX4" fmla="*/ 1299983 w 2872287"/>
              <a:gd name="connsiteY4" fmla="*/ 1292254 h 2885724"/>
              <a:gd name="connsiteX5" fmla="*/ 1291507 w 2872287"/>
              <a:gd name="connsiteY5" fmla="*/ 1348568 h 2885724"/>
              <a:gd name="connsiteX6" fmla="*/ 1229400 w 2872287"/>
              <a:gd name="connsiteY6" fmla="*/ 1342307 h 2885724"/>
              <a:gd name="connsiteX7" fmla="*/ 915383 w 2872287"/>
              <a:gd name="connsiteY7" fmla="*/ 1656324 h 2885724"/>
              <a:gd name="connsiteX8" fmla="*/ 1229400 w 2872287"/>
              <a:gd name="connsiteY8" fmla="*/ 1970341 h 2885724"/>
              <a:gd name="connsiteX9" fmla="*/ 1543417 w 2872287"/>
              <a:gd name="connsiteY9" fmla="*/ 1656324 h 2885724"/>
              <a:gd name="connsiteX10" fmla="*/ 1537038 w 2872287"/>
              <a:gd name="connsiteY10" fmla="*/ 1593039 h 2885724"/>
              <a:gd name="connsiteX11" fmla="*/ 1532628 w 2872287"/>
              <a:gd name="connsiteY11" fmla="*/ 1578835 h 2885724"/>
              <a:gd name="connsiteX12" fmla="*/ 1573883 w 2872287"/>
              <a:gd name="connsiteY12" fmla="*/ 1572626 h 2885724"/>
              <a:gd name="connsiteX13" fmla="*/ 1740796 w 2872287"/>
              <a:gd name="connsiteY13" fmla="*/ 1501221 h 2885724"/>
              <a:gd name="connsiteX14" fmla="*/ 1806082 w 2872287"/>
              <a:gd name="connsiteY14" fmla="*/ 1459264 h 2885724"/>
              <a:gd name="connsiteX15" fmla="*/ 1828967 w 2872287"/>
              <a:gd name="connsiteY15" fmla="*/ 1532985 h 2885724"/>
              <a:gd name="connsiteX16" fmla="*/ 1841400 w 2872287"/>
              <a:gd name="connsiteY16" fmla="*/ 1656324 h 2885724"/>
              <a:gd name="connsiteX17" fmla="*/ 1229400 w 2872287"/>
              <a:gd name="connsiteY17" fmla="*/ 2268324 h 2885724"/>
              <a:gd name="connsiteX18" fmla="*/ 617400 w 2872287"/>
              <a:gd name="connsiteY18" fmla="*/ 1656324 h 2885724"/>
              <a:gd name="connsiteX19" fmla="*/ 1229400 w 2872287"/>
              <a:gd name="connsiteY19" fmla="*/ 1044324 h 2885724"/>
              <a:gd name="connsiteX20" fmla="*/ 1229400 w 2872287"/>
              <a:gd name="connsiteY20" fmla="*/ 426924 h 2885724"/>
              <a:gd name="connsiteX21" fmla="*/ 1916770 w 2872287"/>
              <a:gd name="connsiteY21" fmla="*/ 636886 h 2885724"/>
              <a:gd name="connsiteX22" fmla="*/ 1929798 w 2872287"/>
              <a:gd name="connsiteY22" fmla="*/ 646629 h 2885724"/>
              <a:gd name="connsiteX23" fmla="*/ 1885417 w 2872287"/>
              <a:gd name="connsiteY23" fmla="*/ 679181 h 2885724"/>
              <a:gd name="connsiteX24" fmla="*/ 1766443 w 2872287"/>
              <a:gd name="connsiteY24" fmla="*/ 778925 h 2885724"/>
              <a:gd name="connsiteX25" fmla="*/ 1697698 w 2872287"/>
              <a:gd name="connsiteY25" fmla="*/ 843854 h 2885724"/>
              <a:gd name="connsiteX26" fmla="*/ 1676733 w 2872287"/>
              <a:gd name="connsiteY26" fmla="*/ 831118 h 2885724"/>
              <a:gd name="connsiteX27" fmla="*/ 1229400 w 2872287"/>
              <a:gd name="connsiteY27" fmla="*/ 717849 h 2885724"/>
              <a:gd name="connsiteX28" fmla="*/ 290925 w 2872287"/>
              <a:gd name="connsiteY28" fmla="*/ 1656324 h 2885724"/>
              <a:gd name="connsiteX29" fmla="*/ 1229400 w 2872287"/>
              <a:gd name="connsiteY29" fmla="*/ 2594799 h 2885724"/>
              <a:gd name="connsiteX30" fmla="*/ 2167875 w 2872287"/>
              <a:gd name="connsiteY30" fmla="*/ 1656324 h 2885724"/>
              <a:gd name="connsiteX31" fmla="*/ 2054606 w 2872287"/>
              <a:gd name="connsiteY31" fmla="*/ 1208991 h 2885724"/>
              <a:gd name="connsiteX32" fmla="*/ 2028904 w 2872287"/>
              <a:gd name="connsiteY32" fmla="*/ 1166684 h 2885724"/>
              <a:gd name="connsiteX33" fmla="*/ 2089764 w 2872287"/>
              <a:gd name="connsiteY33" fmla="*/ 1102246 h 2885724"/>
              <a:gd name="connsiteX34" fmla="*/ 2189508 w 2872287"/>
              <a:gd name="connsiteY34" fmla="*/ 983272 h 2885724"/>
              <a:gd name="connsiteX35" fmla="*/ 2224188 w 2872287"/>
              <a:gd name="connsiteY35" fmla="*/ 935991 h 2885724"/>
              <a:gd name="connsiteX36" fmla="*/ 2248838 w 2872287"/>
              <a:gd name="connsiteY36" fmla="*/ 968955 h 2885724"/>
              <a:gd name="connsiteX37" fmla="*/ 2458800 w 2872287"/>
              <a:gd name="connsiteY37" fmla="*/ 1656324 h 2885724"/>
              <a:gd name="connsiteX38" fmla="*/ 1229400 w 2872287"/>
              <a:gd name="connsiteY38" fmla="*/ 2885724 h 2885724"/>
              <a:gd name="connsiteX39" fmla="*/ 0 w 2872287"/>
              <a:gd name="connsiteY39" fmla="*/ 1656324 h 2885724"/>
              <a:gd name="connsiteX40" fmla="*/ 1229400 w 2872287"/>
              <a:gd name="connsiteY40" fmla="*/ 426924 h 2885724"/>
              <a:gd name="connsiteX41" fmla="*/ 2402682 w 2872287"/>
              <a:gd name="connsiteY41" fmla="*/ 680 h 2885724"/>
              <a:gd name="connsiteX42" fmla="*/ 2450307 w 2872287"/>
              <a:gd name="connsiteY42" fmla="*/ 36399 h 2885724"/>
              <a:gd name="connsiteX43" fmla="*/ 2493170 w 2872287"/>
              <a:gd name="connsiteY43" fmla="*/ 184037 h 2885724"/>
              <a:gd name="connsiteX44" fmla="*/ 2528888 w 2872287"/>
              <a:gd name="connsiteY44" fmla="*/ 341199 h 2885724"/>
              <a:gd name="connsiteX45" fmla="*/ 2776539 w 2872287"/>
              <a:gd name="connsiteY45" fmla="*/ 405494 h 2885724"/>
              <a:gd name="connsiteX46" fmla="*/ 2864645 w 2872287"/>
              <a:gd name="connsiteY46" fmla="*/ 450737 h 2885724"/>
              <a:gd name="connsiteX47" fmla="*/ 2859882 w 2872287"/>
              <a:gd name="connsiteY47" fmla="*/ 515030 h 2885724"/>
              <a:gd name="connsiteX48" fmla="*/ 2795589 w 2872287"/>
              <a:gd name="connsiteY48" fmla="*/ 591230 h 2885724"/>
              <a:gd name="connsiteX49" fmla="*/ 2667002 w 2872287"/>
              <a:gd name="connsiteY49" fmla="*/ 715055 h 2885724"/>
              <a:gd name="connsiteX50" fmla="*/ 2552701 w 2872287"/>
              <a:gd name="connsiteY50" fmla="*/ 769824 h 2885724"/>
              <a:gd name="connsiteX51" fmla="*/ 2431257 w 2872287"/>
              <a:gd name="connsiteY51" fmla="*/ 784112 h 2885724"/>
              <a:gd name="connsiteX52" fmla="*/ 2271714 w 2872287"/>
              <a:gd name="connsiteY52" fmla="*/ 762680 h 2885724"/>
              <a:gd name="connsiteX53" fmla="*/ 2225051 w 2872287"/>
              <a:gd name="connsiteY53" fmla="*/ 746476 h 2885724"/>
              <a:gd name="connsiteX54" fmla="*/ 2216943 w 2872287"/>
              <a:gd name="connsiteY54" fmla="*/ 757918 h 2885724"/>
              <a:gd name="connsiteX55" fmla="*/ 2064543 w 2872287"/>
              <a:gd name="connsiteY55" fmla="*/ 962705 h 2885724"/>
              <a:gd name="connsiteX56" fmla="*/ 1862137 w 2872287"/>
              <a:gd name="connsiteY56" fmla="*/ 1212737 h 2885724"/>
              <a:gd name="connsiteX57" fmla="*/ 1750218 w 2872287"/>
              <a:gd name="connsiteY57" fmla="*/ 1334180 h 2885724"/>
              <a:gd name="connsiteX58" fmla="*/ 1664493 w 2872287"/>
              <a:gd name="connsiteY58" fmla="*/ 1407999 h 2885724"/>
              <a:gd name="connsiteX59" fmla="*/ 1607343 w 2872287"/>
              <a:gd name="connsiteY59" fmla="*/ 1438955 h 2885724"/>
              <a:gd name="connsiteX60" fmla="*/ 1550193 w 2872287"/>
              <a:gd name="connsiteY60" fmla="*/ 1438955 h 2885724"/>
              <a:gd name="connsiteX61" fmla="*/ 1526380 w 2872287"/>
              <a:gd name="connsiteY61" fmla="*/ 1438955 h 2885724"/>
              <a:gd name="connsiteX62" fmla="*/ 1521677 w 2872287"/>
              <a:gd name="connsiteY62" fmla="*/ 1440971 h 2885724"/>
              <a:gd name="connsiteX63" fmla="*/ 1499508 w 2872287"/>
              <a:gd name="connsiteY63" fmla="*/ 1464922 h 2885724"/>
              <a:gd name="connsiteX64" fmla="*/ 1198503 w 2872287"/>
              <a:gd name="connsiteY64" fmla="*/ 1669195 h 2885724"/>
              <a:gd name="connsiteX65" fmla="*/ 1402776 w 2872287"/>
              <a:gd name="connsiteY65" fmla="*/ 1368190 h 2885724"/>
              <a:gd name="connsiteX66" fmla="*/ 1429420 w 2872287"/>
              <a:gd name="connsiteY66" fmla="*/ 1343529 h 2885724"/>
              <a:gd name="connsiteX67" fmla="*/ 1427856 w 2872287"/>
              <a:gd name="connsiteY67" fmla="*/ 1324358 h 2885724"/>
              <a:gd name="connsiteX68" fmla="*/ 1423987 w 2872287"/>
              <a:gd name="connsiteY68" fmla="*/ 1288937 h 2885724"/>
              <a:gd name="connsiteX69" fmla="*/ 1435893 w 2872287"/>
              <a:gd name="connsiteY69" fmla="*/ 1231787 h 2885724"/>
              <a:gd name="connsiteX70" fmla="*/ 1502568 w 2872287"/>
              <a:gd name="connsiteY70" fmla="*/ 1148443 h 2885724"/>
              <a:gd name="connsiteX71" fmla="*/ 1693068 w 2872287"/>
              <a:gd name="connsiteY71" fmla="*/ 972230 h 2885724"/>
              <a:gd name="connsiteX72" fmla="*/ 1959768 w 2872287"/>
              <a:gd name="connsiteY72" fmla="*/ 760299 h 2885724"/>
              <a:gd name="connsiteX73" fmla="*/ 2058441 w 2872287"/>
              <a:gd name="connsiteY73" fmla="*/ 689309 h 2885724"/>
              <a:gd name="connsiteX74" fmla="*/ 2114702 w 2872287"/>
              <a:gd name="connsiteY74" fmla="*/ 654020 h 2885724"/>
              <a:gd name="connsiteX75" fmla="*/ 2106812 w 2872287"/>
              <a:gd name="connsiteY75" fmla="*/ 603584 h 2885724"/>
              <a:gd name="connsiteX76" fmla="*/ 2095501 w 2872287"/>
              <a:gd name="connsiteY76" fmla="*/ 495982 h 2885724"/>
              <a:gd name="connsiteX77" fmla="*/ 2095501 w 2872287"/>
              <a:gd name="connsiteY77" fmla="*/ 326912 h 2885724"/>
              <a:gd name="connsiteX78" fmla="*/ 2147889 w 2872287"/>
              <a:gd name="connsiteY78" fmla="*/ 231662 h 2885724"/>
              <a:gd name="connsiteX79" fmla="*/ 2300289 w 2872287"/>
              <a:gd name="connsiteY79" fmla="*/ 69737 h 2885724"/>
              <a:gd name="connsiteX80" fmla="*/ 2352676 w 2872287"/>
              <a:gd name="connsiteY80" fmla="*/ 17349 h 2885724"/>
              <a:gd name="connsiteX81" fmla="*/ 2402682 w 2872287"/>
              <a:gd name="connsiteY81" fmla="*/ 680 h 2885724"/>
              <a:gd name="connsiteX0" fmla="*/ 1229400 w 2872287"/>
              <a:gd name="connsiteY0" fmla="*/ 1044324 h 2885724"/>
              <a:gd name="connsiteX1" fmla="*/ 1352739 w 2872287"/>
              <a:gd name="connsiteY1" fmla="*/ 1056758 h 2885724"/>
              <a:gd name="connsiteX2" fmla="*/ 1405032 w 2872287"/>
              <a:gd name="connsiteY2" fmla="*/ 1072990 h 2885724"/>
              <a:gd name="connsiteX3" fmla="*/ 1371388 w 2872287"/>
              <a:gd name="connsiteY3" fmla="*/ 1125341 h 2885724"/>
              <a:gd name="connsiteX4" fmla="*/ 1299983 w 2872287"/>
              <a:gd name="connsiteY4" fmla="*/ 1292254 h 2885724"/>
              <a:gd name="connsiteX5" fmla="*/ 1291507 w 2872287"/>
              <a:gd name="connsiteY5" fmla="*/ 1348568 h 2885724"/>
              <a:gd name="connsiteX6" fmla="*/ 1229400 w 2872287"/>
              <a:gd name="connsiteY6" fmla="*/ 1342307 h 2885724"/>
              <a:gd name="connsiteX7" fmla="*/ 915383 w 2872287"/>
              <a:gd name="connsiteY7" fmla="*/ 1656324 h 2885724"/>
              <a:gd name="connsiteX8" fmla="*/ 1229400 w 2872287"/>
              <a:gd name="connsiteY8" fmla="*/ 1970341 h 2885724"/>
              <a:gd name="connsiteX9" fmla="*/ 1543417 w 2872287"/>
              <a:gd name="connsiteY9" fmla="*/ 1656324 h 2885724"/>
              <a:gd name="connsiteX10" fmla="*/ 1537038 w 2872287"/>
              <a:gd name="connsiteY10" fmla="*/ 1593039 h 2885724"/>
              <a:gd name="connsiteX11" fmla="*/ 1532628 w 2872287"/>
              <a:gd name="connsiteY11" fmla="*/ 1578835 h 2885724"/>
              <a:gd name="connsiteX12" fmla="*/ 1573883 w 2872287"/>
              <a:gd name="connsiteY12" fmla="*/ 1572626 h 2885724"/>
              <a:gd name="connsiteX13" fmla="*/ 1740796 w 2872287"/>
              <a:gd name="connsiteY13" fmla="*/ 1501221 h 2885724"/>
              <a:gd name="connsiteX14" fmla="*/ 1806082 w 2872287"/>
              <a:gd name="connsiteY14" fmla="*/ 1459264 h 2885724"/>
              <a:gd name="connsiteX15" fmla="*/ 1828967 w 2872287"/>
              <a:gd name="connsiteY15" fmla="*/ 1532985 h 2885724"/>
              <a:gd name="connsiteX16" fmla="*/ 1841400 w 2872287"/>
              <a:gd name="connsiteY16" fmla="*/ 1656324 h 2885724"/>
              <a:gd name="connsiteX17" fmla="*/ 1229400 w 2872287"/>
              <a:gd name="connsiteY17" fmla="*/ 2268324 h 2885724"/>
              <a:gd name="connsiteX18" fmla="*/ 617400 w 2872287"/>
              <a:gd name="connsiteY18" fmla="*/ 1656324 h 2885724"/>
              <a:gd name="connsiteX19" fmla="*/ 1229400 w 2872287"/>
              <a:gd name="connsiteY19" fmla="*/ 1044324 h 2885724"/>
              <a:gd name="connsiteX20" fmla="*/ 1229400 w 2872287"/>
              <a:gd name="connsiteY20" fmla="*/ 426924 h 2885724"/>
              <a:gd name="connsiteX21" fmla="*/ 1916770 w 2872287"/>
              <a:gd name="connsiteY21" fmla="*/ 636886 h 2885724"/>
              <a:gd name="connsiteX22" fmla="*/ 1929798 w 2872287"/>
              <a:gd name="connsiteY22" fmla="*/ 646629 h 2885724"/>
              <a:gd name="connsiteX23" fmla="*/ 1885417 w 2872287"/>
              <a:gd name="connsiteY23" fmla="*/ 679181 h 2885724"/>
              <a:gd name="connsiteX24" fmla="*/ 1766443 w 2872287"/>
              <a:gd name="connsiteY24" fmla="*/ 778925 h 2885724"/>
              <a:gd name="connsiteX25" fmla="*/ 1697698 w 2872287"/>
              <a:gd name="connsiteY25" fmla="*/ 843854 h 2885724"/>
              <a:gd name="connsiteX26" fmla="*/ 1676733 w 2872287"/>
              <a:gd name="connsiteY26" fmla="*/ 831118 h 2885724"/>
              <a:gd name="connsiteX27" fmla="*/ 1229400 w 2872287"/>
              <a:gd name="connsiteY27" fmla="*/ 717849 h 2885724"/>
              <a:gd name="connsiteX28" fmla="*/ 290925 w 2872287"/>
              <a:gd name="connsiteY28" fmla="*/ 1656324 h 2885724"/>
              <a:gd name="connsiteX29" fmla="*/ 1229400 w 2872287"/>
              <a:gd name="connsiteY29" fmla="*/ 2594799 h 2885724"/>
              <a:gd name="connsiteX30" fmla="*/ 2167875 w 2872287"/>
              <a:gd name="connsiteY30" fmla="*/ 1656324 h 2885724"/>
              <a:gd name="connsiteX31" fmla="*/ 2054606 w 2872287"/>
              <a:gd name="connsiteY31" fmla="*/ 1208991 h 2885724"/>
              <a:gd name="connsiteX32" fmla="*/ 2028904 w 2872287"/>
              <a:gd name="connsiteY32" fmla="*/ 1166684 h 2885724"/>
              <a:gd name="connsiteX33" fmla="*/ 2089764 w 2872287"/>
              <a:gd name="connsiteY33" fmla="*/ 1102246 h 2885724"/>
              <a:gd name="connsiteX34" fmla="*/ 2189508 w 2872287"/>
              <a:gd name="connsiteY34" fmla="*/ 983272 h 2885724"/>
              <a:gd name="connsiteX35" fmla="*/ 2224188 w 2872287"/>
              <a:gd name="connsiteY35" fmla="*/ 935991 h 2885724"/>
              <a:gd name="connsiteX36" fmla="*/ 2248838 w 2872287"/>
              <a:gd name="connsiteY36" fmla="*/ 968955 h 2885724"/>
              <a:gd name="connsiteX37" fmla="*/ 2458800 w 2872287"/>
              <a:gd name="connsiteY37" fmla="*/ 1656324 h 2885724"/>
              <a:gd name="connsiteX38" fmla="*/ 1229400 w 2872287"/>
              <a:gd name="connsiteY38" fmla="*/ 2885724 h 2885724"/>
              <a:gd name="connsiteX39" fmla="*/ 0 w 2872287"/>
              <a:gd name="connsiteY39" fmla="*/ 1656324 h 2885724"/>
              <a:gd name="connsiteX40" fmla="*/ 1229400 w 2872287"/>
              <a:gd name="connsiteY40" fmla="*/ 426924 h 2885724"/>
              <a:gd name="connsiteX41" fmla="*/ 2402682 w 2872287"/>
              <a:gd name="connsiteY41" fmla="*/ 680 h 2885724"/>
              <a:gd name="connsiteX42" fmla="*/ 2450307 w 2872287"/>
              <a:gd name="connsiteY42" fmla="*/ 36399 h 2885724"/>
              <a:gd name="connsiteX43" fmla="*/ 2493170 w 2872287"/>
              <a:gd name="connsiteY43" fmla="*/ 184037 h 2885724"/>
              <a:gd name="connsiteX44" fmla="*/ 2528888 w 2872287"/>
              <a:gd name="connsiteY44" fmla="*/ 341199 h 2885724"/>
              <a:gd name="connsiteX45" fmla="*/ 2776539 w 2872287"/>
              <a:gd name="connsiteY45" fmla="*/ 405494 h 2885724"/>
              <a:gd name="connsiteX46" fmla="*/ 2864645 w 2872287"/>
              <a:gd name="connsiteY46" fmla="*/ 450737 h 2885724"/>
              <a:gd name="connsiteX47" fmla="*/ 2859882 w 2872287"/>
              <a:gd name="connsiteY47" fmla="*/ 515030 h 2885724"/>
              <a:gd name="connsiteX48" fmla="*/ 2795589 w 2872287"/>
              <a:gd name="connsiteY48" fmla="*/ 591230 h 2885724"/>
              <a:gd name="connsiteX49" fmla="*/ 2667002 w 2872287"/>
              <a:gd name="connsiteY49" fmla="*/ 715055 h 2885724"/>
              <a:gd name="connsiteX50" fmla="*/ 2552701 w 2872287"/>
              <a:gd name="connsiteY50" fmla="*/ 769824 h 2885724"/>
              <a:gd name="connsiteX51" fmla="*/ 2431257 w 2872287"/>
              <a:gd name="connsiteY51" fmla="*/ 784112 h 2885724"/>
              <a:gd name="connsiteX52" fmla="*/ 2271714 w 2872287"/>
              <a:gd name="connsiteY52" fmla="*/ 762680 h 2885724"/>
              <a:gd name="connsiteX53" fmla="*/ 2225051 w 2872287"/>
              <a:gd name="connsiteY53" fmla="*/ 746476 h 2885724"/>
              <a:gd name="connsiteX54" fmla="*/ 2216943 w 2872287"/>
              <a:gd name="connsiteY54" fmla="*/ 757918 h 2885724"/>
              <a:gd name="connsiteX55" fmla="*/ 2064543 w 2872287"/>
              <a:gd name="connsiteY55" fmla="*/ 962705 h 2885724"/>
              <a:gd name="connsiteX56" fmla="*/ 1862137 w 2872287"/>
              <a:gd name="connsiteY56" fmla="*/ 1212737 h 2885724"/>
              <a:gd name="connsiteX57" fmla="*/ 1750218 w 2872287"/>
              <a:gd name="connsiteY57" fmla="*/ 1334180 h 2885724"/>
              <a:gd name="connsiteX58" fmla="*/ 1664493 w 2872287"/>
              <a:gd name="connsiteY58" fmla="*/ 1407999 h 2885724"/>
              <a:gd name="connsiteX59" fmla="*/ 1607343 w 2872287"/>
              <a:gd name="connsiteY59" fmla="*/ 1438955 h 2885724"/>
              <a:gd name="connsiteX60" fmla="*/ 1550193 w 2872287"/>
              <a:gd name="connsiteY60" fmla="*/ 1438955 h 2885724"/>
              <a:gd name="connsiteX61" fmla="*/ 1526380 w 2872287"/>
              <a:gd name="connsiteY61" fmla="*/ 1438955 h 2885724"/>
              <a:gd name="connsiteX62" fmla="*/ 1521677 w 2872287"/>
              <a:gd name="connsiteY62" fmla="*/ 1440971 h 2885724"/>
              <a:gd name="connsiteX63" fmla="*/ 1499508 w 2872287"/>
              <a:gd name="connsiteY63" fmla="*/ 1464922 h 2885724"/>
              <a:gd name="connsiteX64" fmla="*/ 1198503 w 2872287"/>
              <a:gd name="connsiteY64" fmla="*/ 1669195 h 2885724"/>
              <a:gd name="connsiteX65" fmla="*/ 1402776 w 2872287"/>
              <a:gd name="connsiteY65" fmla="*/ 1368190 h 2885724"/>
              <a:gd name="connsiteX66" fmla="*/ 1429420 w 2872287"/>
              <a:gd name="connsiteY66" fmla="*/ 1343529 h 2885724"/>
              <a:gd name="connsiteX67" fmla="*/ 1427856 w 2872287"/>
              <a:gd name="connsiteY67" fmla="*/ 1324358 h 2885724"/>
              <a:gd name="connsiteX68" fmla="*/ 1423987 w 2872287"/>
              <a:gd name="connsiteY68" fmla="*/ 1288937 h 2885724"/>
              <a:gd name="connsiteX69" fmla="*/ 1435893 w 2872287"/>
              <a:gd name="connsiteY69" fmla="*/ 1231787 h 2885724"/>
              <a:gd name="connsiteX70" fmla="*/ 1502568 w 2872287"/>
              <a:gd name="connsiteY70" fmla="*/ 1148443 h 2885724"/>
              <a:gd name="connsiteX71" fmla="*/ 1693068 w 2872287"/>
              <a:gd name="connsiteY71" fmla="*/ 972230 h 2885724"/>
              <a:gd name="connsiteX72" fmla="*/ 1959768 w 2872287"/>
              <a:gd name="connsiteY72" fmla="*/ 760299 h 2885724"/>
              <a:gd name="connsiteX73" fmla="*/ 2058441 w 2872287"/>
              <a:gd name="connsiteY73" fmla="*/ 689309 h 2885724"/>
              <a:gd name="connsiteX74" fmla="*/ 2114702 w 2872287"/>
              <a:gd name="connsiteY74" fmla="*/ 654020 h 2885724"/>
              <a:gd name="connsiteX75" fmla="*/ 2106812 w 2872287"/>
              <a:gd name="connsiteY75" fmla="*/ 603584 h 2885724"/>
              <a:gd name="connsiteX76" fmla="*/ 2095501 w 2872287"/>
              <a:gd name="connsiteY76" fmla="*/ 495982 h 2885724"/>
              <a:gd name="connsiteX77" fmla="*/ 2095501 w 2872287"/>
              <a:gd name="connsiteY77" fmla="*/ 326912 h 2885724"/>
              <a:gd name="connsiteX78" fmla="*/ 2147889 w 2872287"/>
              <a:gd name="connsiteY78" fmla="*/ 231662 h 2885724"/>
              <a:gd name="connsiteX79" fmla="*/ 2300289 w 2872287"/>
              <a:gd name="connsiteY79" fmla="*/ 69737 h 2885724"/>
              <a:gd name="connsiteX80" fmla="*/ 2352676 w 2872287"/>
              <a:gd name="connsiteY80" fmla="*/ 17349 h 2885724"/>
              <a:gd name="connsiteX81" fmla="*/ 2402682 w 2872287"/>
              <a:gd name="connsiteY81" fmla="*/ 680 h 2885724"/>
              <a:gd name="connsiteX0" fmla="*/ 1229400 w 2872287"/>
              <a:gd name="connsiteY0" fmla="*/ 1044324 h 2885724"/>
              <a:gd name="connsiteX1" fmla="*/ 1352739 w 2872287"/>
              <a:gd name="connsiteY1" fmla="*/ 1056758 h 2885724"/>
              <a:gd name="connsiteX2" fmla="*/ 1405032 w 2872287"/>
              <a:gd name="connsiteY2" fmla="*/ 1072990 h 2885724"/>
              <a:gd name="connsiteX3" fmla="*/ 1371388 w 2872287"/>
              <a:gd name="connsiteY3" fmla="*/ 1125341 h 2885724"/>
              <a:gd name="connsiteX4" fmla="*/ 1299983 w 2872287"/>
              <a:gd name="connsiteY4" fmla="*/ 1292254 h 2885724"/>
              <a:gd name="connsiteX5" fmla="*/ 1291507 w 2872287"/>
              <a:gd name="connsiteY5" fmla="*/ 1348568 h 2885724"/>
              <a:gd name="connsiteX6" fmla="*/ 1229400 w 2872287"/>
              <a:gd name="connsiteY6" fmla="*/ 1342307 h 2885724"/>
              <a:gd name="connsiteX7" fmla="*/ 915383 w 2872287"/>
              <a:gd name="connsiteY7" fmla="*/ 1656324 h 2885724"/>
              <a:gd name="connsiteX8" fmla="*/ 1229400 w 2872287"/>
              <a:gd name="connsiteY8" fmla="*/ 1970341 h 2885724"/>
              <a:gd name="connsiteX9" fmla="*/ 1543417 w 2872287"/>
              <a:gd name="connsiteY9" fmla="*/ 1656324 h 2885724"/>
              <a:gd name="connsiteX10" fmla="*/ 1537038 w 2872287"/>
              <a:gd name="connsiteY10" fmla="*/ 1593039 h 2885724"/>
              <a:gd name="connsiteX11" fmla="*/ 1532628 w 2872287"/>
              <a:gd name="connsiteY11" fmla="*/ 1578835 h 2885724"/>
              <a:gd name="connsiteX12" fmla="*/ 1573883 w 2872287"/>
              <a:gd name="connsiteY12" fmla="*/ 1572626 h 2885724"/>
              <a:gd name="connsiteX13" fmla="*/ 1740796 w 2872287"/>
              <a:gd name="connsiteY13" fmla="*/ 1501221 h 2885724"/>
              <a:gd name="connsiteX14" fmla="*/ 1806082 w 2872287"/>
              <a:gd name="connsiteY14" fmla="*/ 1459264 h 2885724"/>
              <a:gd name="connsiteX15" fmla="*/ 1828967 w 2872287"/>
              <a:gd name="connsiteY15" fmla="*/ 1532985 h 2885724"/>
              <a:gd name="connsiteX16" fmla="*/ 1841400 w 2872287"/>
              <a:gd name="connsiteY16" fmla="*/ 1656324 h 2885724"/>
              <a:gd name="connsiteX17" fmla="*/ 1229400 w 2872287"/>
              <a:gd name="connsiteY17" fmla="*/ 2268324 h 2885724"/>
              <a:gd name="connsiteX18" fmla="*/ 617400 w 2872287"/>
              <a:gd name="connsiteY18" fmla="*/ 1656324 h 2885724"/>
              <a:gd name="connsiteX19" fmla="*/ 1229400 w 2872287"/>
              <a:gd name="connsiteY19" fmla="*/ 1044324 h 2885724"/>
              <a:gd name="connsiteX20" fmla="*/ 1229400 w 2872287"/>
              <a:gd name="connsiteY20" fmla="*/ 426924 h 2885724"/>
              <a:gd name="connsiteX21" fmla="*/ 1916770 w 2872287"/>
              <a:gd name="connsiteY21" fmla="*/ 636886 h 2885724"/>
              <a:gd name="connsiteX22" fmla="*/ 1929798 w 2872287"/>
              <a:gd name="connsiteY22" fmla="*/ 646629 h 2885724"/>
              <a:gd name="connsiteX23" fmla="*/ 1885417 w 2872287"/>
              <a:gd name="connsiteY23" fmla="*/ 679181 h 2885724"/>
              <a:gd name="connsiteX24" fmla="*/ 1766443 w 2872287"/>
              <a:gd name="connsiteY24" fmla="*/ 778925 h 2885724"/>
              <a:gd name="connsiteX25" fmla="*/ 1697698 w 2872287"/>
              <a:gd name="connsiteY25" fmla="*/ 843854 h 2885724"/>
              <a:gd name="connsiteX26" fmla="*/ 1676733 w 2872287"/>
              <a:gd name="connsiteY26" fmla="*/ 831118 h 2885724"/>
              <a:gd name="connsiteX27" fmla="*/ 1229400 w 2872287"/>
              <a:gd name="connsiteY27" fmla="*/ 717849 h 2885724"/>
              <a:gd name="connsiteX28" fmla="*/ 290925 w 2872287"/>
              <a:gd name="connsiteY28" fmla="*/ 1656324 h 2885724"/>
              <a:gd name="connsiteX29" fmla="*/ 1229400 w 2872287"/>
              <a:gd name="connsiteY29" fmla="*/ 2594799 h 2885724"/>
              <a:gd name="connsiteX30" fmla="*/ 2167875 w 2872287"/>
              <a:gd name="connsiteY30" fmla="*/ 1656324 h 2885724"/>
              <a:gd name="connsiteX31" fmla="*/ 2054606 w 2872287"/>
              <a:gd name="connsiteY31" fmla="*/ 1208991 h 2885724"/>
              <a:gd name="connsiteX32" fmla="*/ 2028904 w 2872287"/>
              <a:gd name="connsiteY32" fmla="*/ 1166684 h 2885724"/>
              <a:gd name="connsiteX33" fmla="*/ 2089764 w 2872287"/>
              <a:gd name="connsiteY33" fmla="*/ 1102246 h 2885724"/>
              <a:gd name="connsiteX34" fmla="*/ 2189508 w 2872287"/>
              <a:gd name="connsiteY34" fmla="*/ 983272 h 2885724"/>
              <a:gd name="connsiteX35" fmla="*/ 2224188 w 2872287"/>
              <a:gd name="connsiteY35" fmla="*/ 935991 h 2885724"/>
              <a:gd name="connsiteX36" fmla="*/ 2248838 w 2872287"/>
              <a:gd name="connsiteY36" fmla="*/ 968955 h 2885724"/>
              <a:gd name="connsiteX37" fmla="*/ 2458800 w 2872287"/>
              <a:gd name="connsiteY37" fmla="*/ 1656324 h 2885724"/>
              <a:gd name="connsiteX38" fmla="*/ 1229400 w 2872287"/>
              <a:gd name="connsiteY38" fmla="*/ 2885724 h 2885724"/>
              <a:gd name="connsiteX39" fmla="*/ 0 w 2872287"/>
              <a:gd name="connsiteY39" fmla="*/ 1656324 h 2885724"/>
              <a:gd name="connsiteX40" fmla="*/ 1229400 w 2872287"/>
              <a:gd name="connsiteY40" fmla="*/ 426924 h 2885724"/>
              <a:gd name="connsiteX41" fmla="*/ 2402682 w 2872287"/>
              <a:gd name="connsiteY41" fmla="*/ 680 h 2885724"/>
              <a:gd name="connsiteX42" fmla="*/ 2450307 w 2872287"/>
              <a:gd name="connsiteY42" fmla="*/ 36399 h 2885724"/>
              <a:gd name="connsiteX43" fmla="*/ 2493170 w 2872287"/>
              <a:gd name="connsiteY43" fmla="*/ 184037 h 2885724"/>
              <a:gd name="connsiteX44" fmla="*/ 2528888 w 2872287"/>
              <a:gd name="connsiteY44" fmla="*/ 341199 h 2885724"/>
              <a:gd name="connsiteX45" fmla="*/ 2776539 w 2872287"/>
              <a:gd name="connsiteY45" fmla="*/ 405494 h 2885724"/>
              <a:gd name="connsiteX46" fmla="*/ 2864645 w 2872287"/>
              <a:gd name="connsiteY46" fmla="*/ 450737 h 2885724"/>
              <a:gd name="connsiteX47" fmla="*/ 2859882 w 2872287"/>
              <a:gd name="connsiteY47" fmla="*/ 515030 h 2885724"/>
              <a:gd name="connsiteX48" fmla="*/ 2795589 w 2872287"/>
              <a:gd name="connsiteY48" fmla="*/ 591230 h 2885724"/>
              <a:gd name="connsiteX49" fmla="*/ 2667002 w 2872287"/>
              <a:gd name="connsiteY49" fmla="*/ 715055 h 2885724"/>
              <a:gd name="connsiteX50" fmla="*/ 2552701 w 2872287"/>
              <a:gd name="connsiteY50" fmla="*/ 769824 h 2885724"/>
              <a:gd name="connsiteX51" fmla="*/ 2431257 w 2872287"/>
              <a:gd name="connsiteY51" fmla="*/ 784112 h 2885724"/>
              <a:gd name="connsiteX52" fmla="*/ 2271714 w 2872287"/>
              <a:gd name="connsiteY52" fmla="*/ 762680 h 2885724"/>
              <a:gd name="connsiteX53" fmla="*/ 2225051 w 2872287"/>
              <a:gd name="connsiteY53" fmla="*/ 746476 h 2885724"/>
              <a:gd name="connsiteX54" fmla="*/ 2216943 w 2872287"/>
              <a:gd name="connsiteY54" fmla="*/ 757918 h 2885724"/>
              <a:gd name="connsiteX55" fmla="*/ 2064543 w 2872287"/>
              <a:gd name="connsiteY55" fmla="*/ 962705 h 2885724"/>
              <a:gd name="connsiteX56" fmla="*/ 1862137 w 2872287"/>
              <a:gd name="connsiteY56" fmla="*/ 1212737 h 2885724"/>
              <a:gd name="connsiteX57" fmla="*/ 1750218 w 2872287"/>
              <a:gd name="connsiteY57" fmla="*/ 1334180 h 2885724"/>
              <a:gd name="connsiteX58" fmla="*/ 1664493 w 2872287"/>
              <a:gd name="connsiteY58" fmla="*/ 1407999 h 2885724"/>
              <a:gd name="connsiteX59" fmla="*/ 1607343 w 2872287"/>
              <a:gd name="connsiteY59" fmla="*/ 1438955 h 2885724"/>
              <a:gd name="connsiteX60" fmla="*/ 1550193 w 2872287"/>
              <a:gd name="connsiteY60" fmla="*/ 1438955 h 2885724"/>
              <a:gd name="connsiteX61" fmla="*/ 1526380 w 2872287"/>
              <a:gd name="connsiteY61" fmla="*/ 1438955 h 2885724"/>
              <a:gd name="connsiteX62" fmla="*/ 1521677 w 2872287"/>
              <a:gd name="connsiteY62" fmla="*/ 1440971 h 2885724"/>
              <a:gd name="connsiteX63" fmla="*/ 1499508 w 2872287"/>
              <a:gd name="connsiteY63" fmla="*/ 1464922 h 2885724"/>
              <a:gd name="connsiteX64" fmla="*/ 1198503 w 2872287"/>
              <a:gd name="connsiteY64" fmla="*/ 1669195 h 2885724"/>
              <a:gd name="connsiteX65" fmla="*/ 1402776 w 2872287"/>
              <a:gd name="connsiteY65" fmla="*/ 1368190 h 2885724"/>
              <a:gd name="connsiteX66" fmla="*/ 1429420 w 2872287"/>
              <a:gd name="connsiteY66" fmla="*/ 1343529 h 2885724"/>
              <a:gd name="connsiteX67" fmla="*/ 1427856 w 2872287"/>
              <a:gd name="connsiteY67" fmla="*/ 1324358 h 2885724"/>
              <a:gd name="connsiteX68" fmla="*/ 1423987 w 2872287"/>
              <a:gd name="connsiteY68" fmla="*/ 1288937 h 2885724"/>
              <a:gd name="connsiteX69" fmla="*/ 1435893 w 2872287"/>
              <a:gd name="connsiteY69" fmla="*/ 1231787 h 2885724"/>
              <a:gd name="connsiteX70" fmla="*/ 1502568 w 2872287"/>
              <a:gd name="connsiteY70" fmla="*/ 1148443 h 2885724"/>
              <a:gd name="connsiteX71" fmla="*/ 1693068 w 2872287"/>
              <a:gd name="connsiteY71" fmla="*/ 972230 h 2885724"/>
              <a:gd name="connsiteX72" fmla="*/ 1959768 w 2872287"/>
              <a:gd name="connsiteY72" fmla="*/ 760299 h 2885724"/>
              <a:gd name="connsiteX73" fmla="*/ 2058441 w 2872287"/>
              <a:gd name="connsiteY73" fmla="*/ 689309 h 2885724"/>
              <a:gd name="connsiteX74" fmla="*/ 2114702 w 2872287"/>
              <a:gd name="connsiteY74" fmla="*/ 654020 h 2885724"/>
              <a:gd name="connsiteX75" fmla="*/ 2106812 w 2872287"/>
              <a:gd name="connsiteY75" fmla="*/ 603584 h 2885724"/>
              <a:gd name="connsiteX76" fmla="*/ 2095501 w 2872287"/>
              <a:gd name="connsiteY76" fmla="*/ 495982 h 2885724"/>
              <a:gd name="connsiteX77" fmla="*/ 2095501 w 2872287"/>
              <a:gd name="connsiteY77" fmla="*/ 358662 h 2885724"/>
              <a:gd name="connsiteX78" fmla="*/ 2147889 w 2872287"/>
              <a:gd name="connsiteY78" fmla="*/ 231662 h 2885724"/>
              <a:gd name="connsiteX79" fmla="*/ 2300289 w 2872287"/>
              <a:gd name="connsiteY79" fmla="*/ 69737 h 2885724"/>
              <a:gd name="connsiteX80" fmla="*/ 2352676 w 2872287"/>
              <a:gd name="connsiteY80" fmla="*/ 17349 h 2885724"/>
              <a:gd name="connsiteX81" fmla="*/ 2402682 w 2872287"/>
              <a:gd name="connsiteY81" fmla="*/ 680 h 2885724"/>
              <a:gd name="connsiteX0" fmla="*/ 1229400 w 2872287"/>
              <a:gd name="connsiteY0" fmla="*/ 1044324 h 2885724"/>
              <a:gd name="connsiteX1" fmla="*/ 1352739 w 2872287"/>
              <a:gd name="connsiteY1" fmla="*/ 1056758 h 2885724"/>
              <a:gd name="connsiteX2" fmla="*/ 1405032 w 2872287"/>
              <a:gd name="connsiteY2" fmla="*/ 1072990 h 2885724"/>
              <a:gd name="connsiteX3" fmla="*/ 1371388 w 2872287"/>
              <a:gd name="connsiteY3" fmla="*/ 1125341 h 2885724"/>
              <a:gd name="connsiteX4" fmla="*/ 1299983 w 2872287"/>
              <a:gd name="connsiteY4" fmla="*/ 1292254 h 2885724"/>
              <a:gd name="connsiteX5" fmla="*/ 1291507 w 2872287"/>
              <a:gd name="connsiteY5" fmla="*/ 1348568 h 2885724"/>
              <a:gd name="connsiteX6" fmla="*/ 1229400 w 2872287"/>
              <a:gd name="connsiteY6" fmla="*/ 1342307 h 2885724"/>
              <a:gd name="connsiteX7" fmla="*/ 915383 w 2872287"/>
              <a:gd name="connsiteY7" fmla="*/ 1656324 h 2885724"/>
              <a:gd name="connsiteX8" fmla="*/ 1229400 w 2872287"/>
              <a:gd name="connsiteY8" fmla="*/ 1970341 h 2885724"/>
              <a:gd name="connsiteX9" fmla="*/ 1543417 w 2872287"/>
              <a:gd name="connsiteY9" fmla="*/ 1656324 h 2885724"/>
              <a:gd name="connsiteX10" fmla="*/ 1537038 w 2872287"/>
              <a:gd name="connsiteY10" fmla="*/ 1593039 h 2885724"/>
              <a:gd name="connsiteX11" fmla="*/ 1532628 w 2872287"/>
              <a:gd name="connsiteY11" fmla="*/ 1578835 h 2885724"/>
              <a:gd name="connsiteX12" fmla="*/ 1573883 w 2872287"/>
              <a:gd name="connsiteY12" fmla="*/ 1572626 h 2885724"/>
              <a:gd name="connsiteX13" fmla="*/ 1740796 w 2872287"/>
              <a:gd name="connsiteY13" fmla="*/ 1501221 h 2885724"/>
              <a:gd name="connsiteX14" fmla="*/ 1806082 w 2872287"/>
              <a:gd name="connsiteY14" fmla="*/ 1459264 h 2885724"/>
              <a:gd name="connsiteX15" fmla="*/ 1828967 w 2872287"/>
              <a:gd name="connsiteY15" fmla="*/ 1532985 h 2885724"/>
              <a:gd name="connsiteX16" fmla="*/ 1841400 w 2872287"/>
              <a:gd name="connsiteY16" fmla="*/ 1656324 h 2885724"/>
              <a:gd name="connsiteX17" fmla="*/ 1229400 w 2872287"/>
              <a:gd name="connsiteY17" fmla="*/ 2268324 h 2885724"/>
              <a:gd name="connsiteX18" fmla="*/ 617400 w 2872287"/>
              <a:gd name="connsiteY18" fmla="*/ 1656324 h 2885724"/>
              <a:gd name="connsiteX19" fmla="*/ 1229400 w 2872287"/>
              <a:gd name="connsiteY19" fmla="*/ 1044324 h 2885724"/>
              <a:gd name="connsiteX20" fmla="*/ 1229400 w 2872287"/>
              <a:gd name="connsiteY20" fmla="*/ 426924 h 2885724"/>
              <a:gd name="connsiteX21" fmla="*/ 1916770 w 2872287"/>
              <a:gd name="connsiteY21" fmla="*/ 636886 h 2885724"/>
              <a:gd name="connsiteX22" fmla="*/ 1929798 w 2872287"/>
              <a:gd name="connsiteY22" fmla="*/ 646629 h 2885724"/>
              <a:gd name="connsiteX23" fmla="*/ 1885417 w 2872287"/>
              <a:gd name="connsiteY23" fmla="*/ 679181 h 2885724"/>
              <a:gd name="connsiteX24" fmla="*/ 1766443 w 2872287"/>
              <a:gd name="connsiteY24" fmla="*/ 778925 h 2885724"/>
              <a:gd name="connsiteX25" fmla="*/ 1697698 w 2872287"/>
              <a:gd name="connsiteY25" fmla="*/ 843854 h 2885724"/>
              <a:gd name="connsiteX26" fmla="*/ 1676733 w 2872287"/>
              <a:gd name="connsiteY26" fmla="*/ 831118 h 2885724"/>
              <a:gd name="connsiteX27" fmla="*/ 1229400 w 2872287"/>
              <a:gd name="connsiteY27" fmla="*/ 717849 h 2885724"/>
              <a:gd name="connsiteX28" fmla="*/ 290925 w 2872287"/>
              <a:gd name="connsiteY28" fmla="*/ 1656324 h 2885724"/>
              <a:gd name="connsiteX29" fmla="*/ 1229400 w 2872287"/>
              <a:gd name="connsiteY29" fmla="*/ 2594799 h 2885724"/>
              <a:gd name="connsiteX30" fmla="*/ 2167875 w 2872287"/>
              <a:gd name="connsiteY30" fmla="*/ 1656324 h 2885724"/>
              <a:gd name="connsiteX31" fmla="*/ 2054606 w 2872287"/>
              <a:gd name="connsiteY31" fmla="*/ 1208991 h 2885724"/>
              <a:gd name="connsiteX32" fmla="*/ 2028904 w 2872287"/>
              <a:gd name="connsiteY32" fmla="*/ 1166684 h 2885724"/>
              <a:gd name="connsiteX33" fmla="*/ 2089764 w 2872287"/>
              <a:gd name="connsiteY33" fmla="*/ 1102246 h 2885724"/>
              <a:gd name="connsiteX34" fmla="*/ 2189508 w 2872287"/>
              <a:gd name="connsiteY34" fmla="*/ 983272 h 2885724"/>
              <a:gd name="connsiteX35" fmla="*/ 2224188 w 2872287"/>
              <a:gd name="connsiteY35" fmla="*/ 935991 h 2885724"/>
              <a:gd name="connsiteX36" fmla="*/ 2248838 w 2872287"/>
              <a:gd name="connsiteY36" fmla="*/ 968955 h 2885724"/>
              <a:gd name="connsiteX37" fmla="*/ 2458800 w 2872287"/>
              <a:gd name="connsiteY37" fmla="*/ 1656324 h 2885724"/>
              <a:gd name="connsiteX38" fmla="*/ 1229400 w 2872287"/>
              <a:gd name="connsiteY38" fmla="*/ 2885724 h 2885724"/>
              <a:gd name="connsiteX39" fmla="*/ 0 w 2872287"/>
              <a:gd name="connsiteY39" fmla="*/ 1656324 h 2885724"/>
              <a:gd name="connsiteX40" fmla="*/ 1229400 w 2872287"/>
              <a:gd name="connsiteY40" fmla="*/ 426924 h 2885724"/>
              <a:gd name="connsiteX41" fmla="*/ 2402682 w 2872287"/>
              <a:gd name="connsiteY41" fmla="*/ 680 h 2885724"/>
              <a:gd name="connsiteX42" fmla="*/ 2450307 w 2872287"/>
              <a:gd name="connsiteY42" fmla="*/ 36399 h 2885724"/>
              <a:gd name="connsiteX43" fmla="*/ 2493170 w 2872287"/>
              <a:gd name="connsiteY43" fmla="*/ 184037 h 2885724"/>
              <a:gd name="connsiteX44" fmla="*/ 2528888 w 2872287"/>
              <a:gd name="connsiteY44" fmla="*/ 341199 h 2885724"/>
              <a:gd name="connsiteX45" fmla="*/ 2776539 w 2872287"/>
              <a:gd name="connsiteY45" fmla="*/ 405494 h 2885724"/>
              <a:gd name="connsiteX46" fmla="*/ 2864645 w 2872287"/>
              <a:gd name="connsiteY46" fmla="*/ 450737 h 2885724"/>
              <a:gd name="connsiteX47" fmla="*/ 2859882 w 2872287"/>
              <a:gd name="connsiteY47" fmla="*/ 515030 h 2885724"/>
              <a:gd name="connsiteX48" fmla="*/ 2795589 w 2872287"/>
              <a:gd name="connsiteY48" fmla="*/ 591230 h 2885724"/>
              <a:gd name="connsiteX49" fmla="*/ 2667002 w 2872287"/>
              <a:gd name="connsiteY49" fmla="*/ 715055 h 2885724"/>
              <a:gd name="connsiteX50" fmla="*/ 2552701 w 2872287"/>
              <a:gd name="connsiteY50" fmla="*/ 769824 h 2885724"/>
              <a:gd name="connsiteX51" fmla="*/ 2431257 w 2872287"/>
              <a:gd name="connsiteY51" fmla="*/ 784112 h 2885724"/>
              <a:gd name="connsiteX52" fmla="*/ 2271714 w 2872287"/>
              <a:gd name="connsiteY52" fmla="*/ 762680 h 2885724"/>
              <a:gd name="connsiteX53" fmla="*/ 2225051 w 2872287"/>
              <a:gd name="connsiteY53" fmla="*/ 746476 h 2885724"/>
              <a:gd name="connsiteX54" fmla="*/ 2216943 w 2872287"/>
              <a:gd name="connsiteY54" fmla="*/ 757918 h 2885724"/>
              <a:gd name="connsiteX55" fmla="*/ 2064543 w 2872287"/>
              <a:gd name="connsiteY55" fmla="*/ 962705 h 2885724"/>
              <a:gd name="connsiteX56" fmla="*/ 1862137 w 2872287"/>
              <a:gd name="connsiteY56" fmla="*/ 1212737 h 2885724"/>
              <a:gd name="connsiteX57" fmla="*/ 1750218 w 2872287"/>
              <a:gd name="connsiteY57" fmla="*/ 1334180 h 2885724"/>
              <a:gd name="connsiteX58" fmla="*/ 1664493 w 2872287"/>
              <a:gd name="connsiteY58" fmla="*/ 1407999 h 2885724"/>
              <a:gd name="connsiteX59" fmla="*/ 1607343 w 2872287"/>
              <a:gd name="connsiteY59" fmla="*/ 1438955 h 2885724"/>
              <a:gd name="connsiteX60" fmla="*/ 1550193 w 2872287"/>
              <a:gd name="connsiteY60" fmla="*/ 1438955 h 2885724"/>
              <a:gd name="connsiteX61" fmla="*/ 1526380 w 2872287"/>
              <a:gd name="connsiteY61" fmla="*/ 1438955 h 2885724"/>
              <a:gd name="connsiteX62" fmla="*/ 1521677 w 2872287"/>
              <a:gd name="connsiteY62" fmla="*/ 1440971 h 2885724"/>
              <a:gd name="connsiteX63" fmla="*/ 1499508 w 2872287"/>
              <a:gd name="connsiteY63" fmla="*/ 1464922 h 2885724"/>
              <a:gd name="connsiteX64" fmla="*/ 1198503 w 2872287"/>
              <a:gd name="connsiteY64" fmla="*/ 1669195 h 2885724"/>
              <a:gd name="connsiteX65" fmla="*/ 1402776 w 2872287"/>
              <a:gd name="connsiteY65" fmla="*/ 1368190 h 2885724"/>
              <a:gd name="connsiteX66" fmla="*/ 1429420 w 2872287"/>
              <a:gd name="connsiteY66" fmla="*/ 1343529 h 2885724"/>
              <a:gd name="connsiteX67" fmla="*/ 1427856 w 2872287"/>
              <a:gd name="connsiteY67" fmla="*/ 1324358 h 2885724"/>
              <a:gd name="connsiteX68" fmla="*/ 1423987 w 2872287"/>
              <a:gd name="connsiteY68" fmla="*/ 1288937 h 2885724"/>
              <a:gd name="connsiteX69" fmla="*/ 1435893 w 2872287"/>
              <a:gd name="connsiteY69" fmla="*/ 1231787 h 2885724"/>
              <a:gd name="connsiteX70" fmla="*/ 1502568 w 2872287"/>
              <a:gd name="connsiteY70" fmla="*/ 1148443 h 2885724"/>
              <a:gd name="connsiteX71" fmla="*/ 1693068 w 2872287"/>
              <a:gd name="connsiteY71" fmla="*/ 972230 h 2885724"/>
              <a:gd name="connsiteX72" fmla="*/ 1959768 w 2872287"/>
              <a:gd name="connsiteY72" fmla="*/ 760299 h 2885724"/>
              <a:gd name="connsiteX73" fmla="*/ 2058441 w 2872287"/>
              <a:gd name="connsiteY73" fmla="*/ 689309 h 2885724"/>
              <a:gd name="connsiteX74" fmla="*/ 2114702 w 2872287"/>
              <a:gd name="connsiteY74" fmla="*/ 654020 h 2885724"/>
              <a:gd name="connsiteX75" fmla="*/ 2106812 w 2872287"/>
              <a:gd name="connsiteY75" fmla="*/ 603584 h 2885724"/>
              <a:gd name="connsiteX76" fmla="*/ 2095501 w 2872287"/>
              <a:gd name="connsiteY76" fmla="*/ 495982 h 2885724"/>
              <a:gd name="connsiteX77" fmla="*/ 2095501 w 2872287"/>
              <a:gd name="connsiteY77" fmla="*/ 358662 h 2885724"/>
              <a:gd name="connsiteX78" fmla="*/ 2147889 w 2872287"/>
              <a:gd name="connsiteY78" fmla="*/ 231662 h 2885724"/>
              <a:gd name="connsiteX79" fmla="*/ 2300289 w 2872287"/>
              <a:gd name="connsiteY79" fmla="*/ 69737 h 2885724"/>
              <a:gd name="connsiteX80" fmla="*/ 2352676 w 2872287"/>
              <a:gd name="connsiteY80" fmla="*/ 17349 h 2885724"/>
              <a:gd name="connsiteX81" fmla="*/ 2402682 w 2872287"/>
              <a:gd name="connsiteY81" fmla="*/ 680 h 2885724"/>
              <a:gd name="connsiteX0" fmla="*/ 1229400 w 2872287"/>
              <a:gd name="connsiteY0" fmla="*/ 1044324 h 2885724"/>
              <a:gd name="connsiteX1" fmla="*/ 1352739 w 2872287"/>
              <a:gd name="connsiteY1" fmla="*/ 1056758 h 2885724"/>
              <a:gd name="connsiteX2" fmla="*/ 1405032 w 2872287"/>
              <a:gd name="connsiteY2" fmla="*/ 1072990 h 2885724"/>
              <a:gd name="connsiteX3" fmla="*/ 1371388 w 2872287"/>
              <a:gd name="connsiteY3" fmla="*/ 1125341 h 2885724"/>
              <a:gd name="connsiteX4" fmla="*/ 1299983 w 2872287"/>
              <a:gd name="connsiteY4" fmla="*/ 1292254 h 2885724"/>
              <a:gd name="connsiteX5" fmla="*/ 1291507 w 2872287"/>
              <a:gd name="connsiteY5" fmla="*/ 1348568 h 2885724"/>
              <a:gd name="connsiteX6" fmla="*/ 1229400 w 2872287"/>
              <a:gd name="connsiteY6" fmla="*/ 1342307 h 2885724"/>
              <a:gd name="connsiteX7" fmla="*/ 915383 w 2872287"/>
              <a:gd name="connsiteY7" fmla="*/ 1656324 h 2885724"/>
              <a:gd name="connsiteX8" fmla="*/ 1229400 w 2872287"/>
              <a:gd name="connsiteY8" fmla="*/ 1970341 h 2885724"/>
              <a:gd name="connsiteX9" fmla="*/ 1543417 w 2872287"/>
              <a:gd name="connsiteY9" fmla="*/ 1656324 h 2885724"/>
              <a:gd name="connsiteX10" fmla="*/ 1537038 w 2872287"/>
              <a:gd name="connsiteY10" fmla="*/ 1593039 h 2885724"/>
              <a:gd name="connsiteX11" fmla="*/ 1532628 w 2872287"/>
              <a:gd name="connsiteY11" fmla="*/ 1578835 h 2885724"/>
              <a:gd name="connsiteX12" fmla="*/ 1573883 w 2872287"/>
              <a:gd name="connsiteY12" fmla="*/ 1572626 h 2885724"/>
              <a:gd name="connsiteX13" fmla="*/ 1740796 w 2872287"/>
              <a:gd name="connsiteY13" fmla="*/ 1501221 h 2885724"/>
              <a:gd name="connsiteX14" fmla="*/ 1806082 w 2872287"/>
              <a:gd name="connsiteY14" fmla="*/ 1459264 h 2885724"/>
              <a:gd name="connsiteX15" fmla="*/ 1828967 w 2872287"/>
              <a:gd name="connsiteY15" fmla="*/ 1532985 h 2885724"/>
              <a:gd name="connsiteX16" fmla="*/ 1841400 w 2872287"/>
              <a:gd name="connsiteY16" fmla="*/ 1656324 h 2885724"/>
              <a:gd name="connsiteX17" fmla="*/ 1229400 w 2872287"/>
              <a:gd name="connsiteY17" fmla="*/ 2268324 h 2885724"/>
              <a:gd name="connsiteX18" fmla="*/ 617400 w 2872287"/>
              <a:gd name="connsiteY18" fmla="*/ 1656324 h 2885724"/>
              <a:gd name="connsiteX19" fmla="*/ 1229400 w 2872287"/>
              <a:gd name="connsiteY19" fmla="*/ 1044324 h 2885724"/>
              <a:gd name="connsiteX20" fmla="*/ 1229400 w 2872287"/>
              <a:gd name="connsiteY20" fmla="*/ 426924 h 2885724"/>
              <a:gd name="connsiteX21" fmla="*/ 1916770 w 2872287"/>
              <a:gd name="connsiteY21" fmla="*/ 636886 h 2885724"/>
              <a:gd name="connsiteX22" fmla="*/ 1929798 w 2872287"/>
              <a:gd name="connsiteY22" fmla="*/ 646629 h 2885724"/>
              <a:gd name="connsiteX23" fmla="*/ 1885417 w 2872287"/>
              <a:gd name="connsiteY23" fmla="*/ 679181 h 2885724"/>
              <a:gd name="connsiteX24" fmla="*/ 1766443 w 2872287"/>
              <a:gd name="connsiteY24" fmla="*/ 778925 h 2885724"/>
              <a:gd name="connsiteX25" fmla="*/ 1697698 w 2872287"/>
              <a:gd name="connsiteY25" fmla="*/ 843854 h 2885724"/>
              <a:gd name="connsiteX26" fmla="*/ 1676733 w 2872287"/>
              <a:gd name="connsiteY26" fmla="*/ 831118 h 2885724"/>
              <a:gd name="connsiteX27" fmla="*/ 1229400 w 2872287"/>
              <a:gd name="connsiteY27" fmla="*/ 717849 h 2885724"/>
              <a:gd name="connsiteX28" fmla="*/ 290925 w 2872287"/>
              <a:gd name="connsiteY28" fmla="*/ 1656324 h 2885724"/>
              <a:gd name="connsiteX29" fmla="*/ 1229400 w 2872287"/>
              <a:gd name="connsiteY29" fmla="*/ 2594799 h 2885724"/>
              <a:gd name="connsiteX30" fmla="*/ 2167875 w 2872287"/>
              <a:gd name="connsiteY30" fmla="*/ 1656324 h 2885724"/>
              <a:gd name="connsiteX31" fmla="*/ 2054606 w 2872287"/>
              <a:gd name="connsiteY31" fmla="*/ 1208991 h 2885724"/>
              <a:gd name="connsiteX32" fmla="*/ 2028904 w 2872287"/>
              <a:gd name="connsiteY32" fmla="*/ 1166684 h 2885724"/>
              <a:gd name="connsiteX33" fmla="*/ 2089764 w 2872287"/>
              <a:gd name="connsiteY33" fmla="*/ 1102246 h 2885724"/>
              <a:gd name="connsiteX34" fmla="*/ 2189508 w 2872287"/>
              <a:gd name="connsiteY34" fmla="*/ 983272 h 2885724"/>
              <a:gd name="connsiteX35" fmla="*/ 2224188 w 2872287"/>
              <a:gd name="connsiteY35" fmla="*/ 935991 h 2885724"/>
              <a:gd name="connsiteX36" fmla="*/ 2248838 w 2872287"/>
              <a:gd name="connsiteY36" fmla="*/ 968955 h 2885724"/>
              <a:gd name="connsiteX37" fmla="*/ 2458800 w 2872287"/>
              <a:gd name="connsiteY37" fmla="*/ 1656324 h 2885724"/>
              <a:gd name="connsiteX38" fmla="*/ 1229400 w 2872287"/>
              <a:gd name="connsiteY38" fmla="*/ 2885724 h 2885724"/>
              <a:gd name="connsiteX39" fmla="*/ 0 w 2872287"/>
              <a:gd name="connsiteY39" fmla="*/ 1656324 h 2885724"/>
              <a:gd name="connsiteX40" fmla="*/ 1229400 w 2872287"/>
              <a:gd name="connsiteY40" fmla="*/ 426924 h 2885724"/>
              <a:gd name="connsiteX41" fmla="*/ 2402682 w 2872287"/>
              <a:gd name="connsiteY41" fmla="*/ 680 h 2885724"/>
              <a:gd name="connsiteX42" fmla="*/ 2450307 w 2872287"/>
              <a:gd name="connsiteY42" fmla="*/ 36399 h 2885724"/>
              <a:gd name="connsiteX43" fmla="*/ 2493170 w 2872287"/>
              <a:gd name="connsiteY43" fmla="*/ 184037 h 2885724"/>
              <a:gd name="connsiteX44" fmla="*/ 2528888 w 2872287"/>
              <a:gd name="connsiteY44" fmla="*/ 341199 h 2885724"/>
              <a:gd name="connsiteX45" fmla="*/ 2776539 w 2872287"/>
              <a:gd name="connsiteY45" fmla="*/ 405494 h 2885724"/>
              <a:gd name="connsiteX46" fmla="*/ 2864645 w 2872287"/>
              <a:gd name="connsiteY46" fmla="*/ 450737 h 2885724"/>
              <a:gd name="connsiteX47" fmla="*/ 2859882 w 2872287"/>
              <a:gd name="connsiteY47" fmla="*/ 515030 h 2885724"/>
              <a:gd name="connsiteX48" fmla="*/ 2786064 w 2872287"/>
              <a:gd name="connsiteY48" fmla="*/ 603137 h 2885724"/>
              <a:gd name="connsiteX49" fmla="*/ 2667002 w 2872287"/>
              <a:gd name="connsiteY49" fmla="*/ 715055 h 2885724"/>
              <a:gd name="connsiteX50" fmla="*/ 2552701 w 2872287"/>
              <a:gd name="connsiteY50" fmla="*/ 769824 h 2885724"/>
              <a:gd name="connsiteX51" fmla="*/ 2431257 w 2872287"/>
              <a:gd name="connsiteY51" fmla="*/ 784112 h 2885724"/>
              <a:gd name="connsiteX52" fmla="*/ 2271714 w 2872287"/>
              <a:gd name="connsiteY52" fmla="*/ 762680 h 2885724"/>
              <a:gd name="connsiteX53" fmla="*/ 2225051 w 2872287"/>
              <a:gd name="connsiteY53" fmla="*/ 746476 h 2885724"/>
              <a:gd name="connsiteX54" fmla="*/ 2216943 w 2872287"/>
              <a:gd name="connsiteY54" fmla="*/ 757918 h 2885724"/>
              <a:gd name="connsiteX55" fmla="*/ 2064543 w 2872287"/>
              <a:gd name="connsiteY55" fmla="*/ 962705 h 2885724"/>
              <a:gd name="connsiteX56" fmla="*/ 1862137 w 2872287"/>
              <a:gd name="connsiteY56" fmla="*/ 1212737 h 2885724"/>
              <a:gd name="connsiteX57" fmla="*/ 1750218 w 2872287"/>
              <a:gd name="connsiteY57" fmla="*/ 1334180 h 2885724"/>
              <a:gd name="connsiteX58" fmla="*/ 1664493 w 2872287"/>
              <a:gd name="connsiteY58" fmla="*/ 1407999 h 2885724"/>
              <a:gd name="connsiteX59" fmla="*/ 1607343 w 2872287"/>
              <a:gd name="connsiteY59" fmla="*/ 1438955 h 2885724"/>
              <a:gd name="connsiteX60" fmla="*/ 1550193 w 2872287"/>
              <a:gd name="connsiteY60" fmla="*/ 1438955 h 2885724"/>
              <a:gd name="connsiteX61" fmla="*/ 1526380 w 2872287"/>
              <a:gd name="connsiteY61" fmla="*/ 1438955 h 2885724"/>
              <a:gd name="connsiteX62" fmla="*/ 1521677 w 2872287"/>
              <a:gd name="connsiteY62" fmla="*/ 1440971 h 2885724"/>
              <a:gd name="connsiteX63" fmla="*/ 1499508 w 2872287"/>
              <a:gd name="connsiteY63" fmla="*/ 1464922 h 2885724"/>
              <a:gd name="connsiteX64" fmla="*/ 1198503 w 2872287"/>
              <a:gd name="connsiteY64" fmla="*/ 1669195 h 2885724"/>
              <a:gd name="connsiteX65" fmla="*/ 1402776 w 2872287"/>
              <a:gd name="connsiteY65" fmla="*/ 1368190 h 2885724"/>
              <a:gd name="connsiteX66" fmla="*/ 1429420 w 2872287"/>
              <a:gd name="connsiteY66" fmla="*/ 1343529 h 2885724"/>
              <a:gd name="connsiteX67" fmla="*/ 1427856 w 2872287"/>
              <a:gd name="connsiteY67" fmla="*/ 1324358 h 2885724"/>
              <a:gd name="connsiteX68" fmla="*/ 1423987 w 2872287"/>
              <a:gd name="connsiteY68" fmla="*/ 1288937 h 2885724"/>
              <a:gd name="connsiteX69" fmla="*/ 1435893 w 2872287"/>
              <a:gd name="connsiteY69" fmla="*/ 1231787 h 2885724"/>
              <a:gd name="connsiteX70" fmla="*/ 1502568 w 2872287"/>
              <a:gd name="connsiteY70" fmla="*/ 1148443 h 2885724"/>
              <a:gd name="connsiteX71" fmla="*/ 1693068 w 2872287"/>
              <a:gd name="connsiteY71" fmla="*/ 972230 h 2885724"/>
              <a:gd name="connsiteX72" fmla="*/ 1959768 w 2872287"/>
              <a:gd name="connsiteY72" fmla="*/ 760299 h 2885724"/>
              <a:gd name="connsiteX73" fmla="*/ 2058441 w 2872287"/>
              <a:gd name="connsiteY73" fmla="*/ 689309 h 2885724"/>
              <a:gd name="connsiteX74" fmla="*/ 2114702 w 2872287"/>
              <a:gd name="connsiteY74" fmla="*/ 654020 h 2885724"/>
              <a:gd name="connsiteX75" fmla="*/ 2106812 w 2872287"/>
              <a:gd name="connsiteY75" fmla="*/ 603584 h 2885724"/>
              <a:gd name="connsiteX76" fmla="*/ 2095501 w 2872287"/>
              <a:gd name="connsiteY76" fmla="*/ 495982 h 2885724"/>
              <a:gd name="connsiteX77" fmla="*/ 2095501 w 2872287"/>
              <a:gd name="connsiteY77" fmla="*/ 358662 h 2885724"/>
              <a:gd name="connsiteX78" fmla="*/ 2147889 w 2872287"/>
              <a:gd name="connsiteY78" fmla="*/ 231662 h 2885724"/>
              <a:gd name="connsiteX79" fmla="*/ 2300289 w 2872287"/>
              <a:gd name="connsiteY79" fmla="*/ 69737 h 2885724"/>
              <a:gd name="connsiteX80" fmla="*/ 2352676 w 2872287"/>
              <a:gd name="connsiteY80" fmla="*/ 17349 h 2885724"/>
              <a:gd name="connsiteX81" fmla="*/ 2402682 w 2872287"/>
              <a:gd name="connsiteY81" fmla="*/ 680 h 2885724"/>
              <a:gd name="connsiteX0" fmla="*/ 1229400 w 2872287"/>
              <a:gd name="connsiteY0" fmla="*/ 1044324 h 2885724"/>
              <a:gd name="connsiteX1" fmla="*/ 1352739 w 2872287"/>
              <a:gd name="connsiteY1" fmla="*/ 1056758 h 2885724"/>
              <a:gd name="connsiteX2" fmla="*/ 1405032 w 2872287"/>
              <a:gd name="connsiteY2" fmla="*/ 1072990 h 2885724"/>
              <a:gd name="connsiteX3" fmla="*/ 1371388 w 2872287"/>
              <a:gd name="connsiteY3" fmla="*/ 1125341 h 2885724"/>
              <a:gd name="connsiteX4" fmla="*/ 1299983 w 2872287"/>
              <a:gd name="connsiteY4" fmla="*/ 1292254 h 2885724"/>
              <a:gd name="connsiteX5" fmla="*/ 1291507 w 2872287"/>
              <a:gd name="connsiteY5" fmla="*/ 1348568 h 2885724"/>
              <a:gd name="connsiteX6" fmla="*/ 1229400 w 2872287"/>
              <a:gd name="connsiteY6" fmla="*/ 1342307 h 2885724"/>
              <a:gd name="connsiteX7" fmla="*/ 915383 w 2872287"/>
              <a:gd name="connsiteY7" fmla="*/ 1656324 h 2885724"/>
              <a:gd name="connsiteX8" fmla="*/ 1229400 w 2872287"/>
              <a:gd name="connsiteY8" fmla="*/ 1970341 h 2885724"/>
              <a:gd name="connsiteX9" fmla="*/ 1543417 w 2872287"/>
              <a:gd name="connsiteY9" fmla="*/ 1656324 h 2885724"/>
              <a:gd name="connsiteX10" fmla="*/ 1537038 w 2872287"/>
              <a:gd name="connsiteY10" fmla="*/ 1593039 h 2885724"/>
              <a:gd name="connsiteX11" fmla="*/ 1532628 w 2872287"/>
              <a:gd name="connsiteY11" fmla="*/ 1578835 h 2885724"/>
              <a:gd name="connsiteX12" fmla="*/ 1573883 w 2872287"/>
              <a:gd name="connsiteY12" fmla="*/ 1572626 h 2885724"/>
              <a:gd name="connsiteX13" fmla="*/ 1740796 w 2872287"/>
              <a:gd name="connsiteY13" fmla="*/ 1501221 h 2885724"/>
              <a:gd name="connsiteX14" fmla="*/ 1806082 w 2872287"/>
              <a:gd name="connsiteY14" fmla="*/ 1459264 h 2885724"/>
              <a:gd name="connsiteX15" fmla="*/ 1828967 w 2872287"/>
              <a:gd name="connsiteY15" fmla="*/ 1532985 h 2885724"/>
              <a:gd name="connsiteX16" fmla="*/ 1841400 w 2872287"/>
              <a:gd name="connsiteY16" fmla="*/ 1656324 h 2885724"/>
              <a:gd name="connsiteX17" fmla="*/ 1229400 w 2872287"/>
              <a:gd name="connsiteY17" fmla="*/ 2268324 h 2885724"/>
              <a:gd name="connsiteX18" fmla="*/ 617400 w 2872287"/>
              <a:gd name="connsiteY18" fmla="*/ 1656324 h 2885724"/>
              <a:gd name="connsiteX19" fmla="*/ 1229400 w 2872287"/>
              <a:gd name="connsiteY19" fmla="*/ 1044324 h 2885724"/>
              <a:gd name="connsiteX20" fmla="*/ 1229400 w 2872287"/>
              <a:gd name="connsiteY20" fmla="*/ 426924 h 2885724"/>
              <a:gd name="connsiteX21" fmla="*/ 1916770 w 2872287"/>
              <a:gd name="connsiteY21" fmla="*/ 636886 h 2885724"/>
              <a:gd name="connsiteX22" fmla="*/ 1929798 w 2872287"/>
              <a:gd name="connsiteY22" fmla="*/ 646629 h 2885724"/>
              <a:gd name="connsiteX23" fmla="*/ 1885417 w 2872287"/>
              <a:gd name="connsiteY23" fmla="*/ 679181 h 2885724"/>
              <a:gd name="connsiteX24" fmla="*/ 1766443 w 2872287"/>
              <a:gd name="connsiteY24" fmla="*/ 778925 h 2885724"/>
              <a:gd name="connsiteX25" fmla="*/ 1697698 w 2872287"/>
              <a:gd name="connsiteY25" fmla="*/ 843854 h 2885724"/>
              <a:gd name="connsiteX26" fmla="*/ 1676733 w 2872287"/>
              <a:gd name="connsiteY26" fmla="*/ 831118 h 2885724"/>
              <a:gd name="connsiteX27" fmla="*/ 1229400 w 2872287"/>
              <a:gd name="connsiteY27" fmla="*/ 717849 h 2885724"/>
              <a:gd name="connsiteX28" fmla="*/ 290925 w 2872287"/>
              <a:gd name="connsiteY28" fmla="*/ 1656324 h 2885724"/>
              <a:gd name="connsiteX29" fmla="*/ 1229400 w 2872287"/>
              <a:gd name="connsiteY29" fmla="*/ 2594799 h 2885724"/>
              <a:gd name="connsiteX30" fmla="*/ 2167875 w 2872287"/>
              <a:gd name="connsiteY30" fmla="*/ 1656324 h 2885724"/>
              <a:gd name="connsiteX31" fmla="*/ 2054606 w 2872287"/>
              <a:gd name="connsiteY31" fmla="*/ 1208991 h 2885724"/>
              <a:gd name="connsiteX32" fmla="*/ 2028904 w 2872287"/>
              <a:gd name="connsiteY32" fmla="*/ 1166684 h 2885724"/>
              <a:gd name="connsiteX33" fmla="*/ 2089764 w 2872287"/>
              <a:gd name="connsiteY33" fmla="*/ 1102246 h 2885724"/>
              <a:gd name="connsiteX34" fmla="*/ 2189508 w 2872287"/>
              <a:gd name="connsiteY34" fmla="*/ 983272 h 2885724"/>
              <a:gd name="connsiteX35" fmla="*/ 2224188 w 2872287"/>
              <a:gd name="connsiteY35" fmla="*/ 935991 h 2885724"/>
              <a:gd name="connsiteX36" fmla="*/ 2248838 w 2872287"/>
              <a:gd name="connsiteY36" fmla="*/ 968955 h 2885724"/>
              <a:gd name="connsiteX37" fmla="*/ 2458800 w 2872287"/>
              <a:gd name="connsiteY37" fmla="*/ 1656324 h 2885724"/>
              <a:gd name="connsiteX38" fmla="*/ 1229400 w 2872287"/>
              <a:gd name="connsiteY38" fmla="*/ 2885724 h 2885724"/>
              <a:gd name="connsiteX39" fmla="*/ 0 w 2872287"/>
              <a:gd name="connsiteY39" fmla="*/ 1656324 h 2885724"/>
              <a:gd name="connsiteX40" fmla="*/ 1229400 w 2872287"/>
              <a:gd name="connsiteY40" fmla="*/ 426924 h 2885724"/>
              <a:gd name="connsiteX41" fmla="*/ 2402682 w 2872287"/>
              <a:gd name="connsiteY41" fmla="*/ 680 h 2885724"/>
              <a:gd name="connsiteX42" fmla="*/ 2450307 w 2872287"/>
              <a:gd name="connsiteY42" fmla="*/ 36399 h 2885724"/>
              <a:gd name="connsiteX43" fmla="*/ 2493170 w 2872287"/>
              <a:gd name="connsiteY43" fmla="*/ 184037 h 2885724"/>
              <a:gd name="connsiteX44" fmla="*/ 2528888 w 2872287"/>
              <a:gd name="connsiteY44" fmla="*/ 341199 h 2885724"/>
              <a:gd name="connsiteX45" fmla="*/ 2776539 w 2872287"/>
              <a:gd name="connsiteY45" fmla="*/ 405494 h 2885724"/>
              <a:gd name="connsiteX46" fmla="*/ 2864645 w 2872287"/>
              <a:gd name="connsiteY46" fmla="*/ 450737 h 2885724"/>
              <a:gd name="connsiteX47" fmla="*/ 2859882 w 2872287"/>
              <a:gd name="connsiteY47" fmla="*/ 515030 h 2885724"/>
              <a:gd name="connsiteX48" fmla="*/ 2786064 w 2872287"/>
              <a:gd name="connsiteY48" fmla="*/ 603137 h 2885724"/>
              <a:gd name="connsiteX49" fmla="*/ 2667002 w 2872287"/>
              <a:gd name="connsiteY49" fmla="*/ 715055 h 2885724"/>
              <a:gd name="connsiteX50" fmla="*/ 2552701 w 2872287"/>
              <a:gd name="connsiteY50" fmla="*/ 769824 h 2885724"/>
              <a:gd name="connsiteX51" fmla="*/ 2431257 w 2872287"/>
              <a:gd name="connsiteY51" fmla="*/ 784112 h 2885724"/>
              <a:gd name="connsiteX52" fmla="*/ 2271714 w 2872287"/>
              <a:gd name="connsiteY52" fmla="*/ 762680 h 2885724"/>
              <a:gd name="connsiteX53" fmla="*/ 2225051 w 2872287"/>
              <a:gd name="connsiteY53" fmla="*/ 746476 h 2885724"/>
              <a:gd name="connsiteX54" fmla="*/ 2216943 w 2872287"/>
              <a:gd name="connsiteY54" fmla="*/ 757918 h 2885724"/>
              <a:gd name="connsiteX55" fmla="*/ 2064543 w 2872287"/>
              <a:gd name="connsiteY55" fmla="*/ 962705 h 2885724"/>
              <a:gd name="connsiteX56" fmla="*/ 1862137 w 2872287"/>
              <a:gd name="connsiteY56" fmla="*/ 1212737 h 2885724"/>
              <a:gd name="connsiteX57" fmla="*/ 1750218 w 2872287"/>
              <a:gd name="connsiteY57" fmla="*/ 1334180 h 2885724"/>
              <a:gd name="connsiteX58" fmla="*/ 1664493 w 2872287"/>
              <a:gd name="connsiteY58" fmla="*/ 1407999 h 2885724"/>
              <a:gd name="connsiteX59" fmla="*/ 1607343 w 2872287"/>
              <a:gd name="connsiteY59" fmla="*/ 1438955 h 2885724"/>
              <a:gd name="connsiteX60" fmla="*/ 1550193 w 2872287"/>
              <a:gd name="connsiteY60" fmla="*/ 1438955 h 2885724"/>
              <a:gd name="connsiteX61" fmla="*/ 1526380 w 2872287"/>
              <a:gd name="connsiteY61" fmla="*/ 1438955 h 2885724"/>
              <a:gd name="connsiteX62" fmla="*/ 1521677 w 2872287"/>
              <a:gd name="connsiteY62" fmla="*/ 1440971 h 2885724"/>
              <a:gd name="connsiteX63" fmla="*/ 1499508 w 2872287"/>
              <a:gd name="connsiteY63" fmla="*/ 1464922 h 2885724"/>
              <a:gd name="connsiteX64" fmla="*/ 1198503 w 2872287"/>
              <a:gd name="connsiteY64" fmla="*/ 1669195 h 2885724"/>
              <a:gd name="connsiteX65" fmla="*/ 1402776 w 2872287"/>
              <a:gd name="connsiteY65" fmla="*/ 1368190 h 2885724"/>
              <a:gd name="connsiteX66" fmla="*/ 1429420 w 2872287"/>
              <a:gd name="connsiteY66" fmla="*/ 1343529 h 2885724"/>
              <a:gd name="connsiteX67" fmla="*/ 1427856 w 2872287"/>
              <a:gd name="connsiteY67" fmla="*/ 1324358 h 2885724"/>
              <a:gd name="connsiteX68" fmla="*/ 1423987 w 2872287"/>
              <a:gd name="connsiteY68" fmla="*/ 1288937 h 2885724"/>
              <a:gd name="connsiteX69" fmla="*/ 1435893 w 2872287"/>
              <a:gd name="connsiteY69" fmla="*/ 1231787 h 2885724"/>
              <a:gd name="connsiteX70" fmla="*/ 1502568 w 2872287"/>
              <a:gd name="connsiteY70" fmla="*/ 1148443 h 2885724"/>
              <a:gd name="connsiteX71" fmla="*/ 1693068 w 2872287"/>
              <a:gd name="connsiteY71" fmla="*/ 972230 h 2885724"/>
              <a:gd name="connsiteX72" fmla="*/ 1959768 w 2872287"/>
              <a:gd name="connsiteY72" fmla="*/ 760299 h 2885724"/>
              <a:gd name="connsiteX73" fmla="*/ 2058441 w 2872287"/>
              <a:gd name="connsiteY73" fmla="*/ 689309 h 2885724"/>
              <a:gd name="connsiteX74" fmla="*/ 2114702 w 2872287"/>
              <a:gd name="connsiteY74" fmla="*/ 654020 h 2885724"/>
              <a:gd name="connsiteX75" fmla="*/ 2106812 w 2872287"/>
              <a:gd name="connsiteY75" fmla="*/ 603584 h 2885724"/>
              <a:gd name="connsiteX76" fmla="*/ 2095501 w 2872287"/>
              <a:gd name="connsiteY76" fmla="*/ 495982 h 2885724"/>
              <a:gd name="connsiteX77" fmla="*/ 2095501 w 2872287"/>
              <a:gd name="connsiteY77" fmla="*/ 358662 h 2885724"/>
              <a:gd name="connsiteX78" fmla="*/ 2147889 w 2872287"/>
              <a:gd name="connsiteY78" fmla="*/ 231662 h 2885724"/>
              <a:gd name="connsiteX79" fmla="*/ 2300289 w 2872287"/>
              <a:gd name="connsiteY79" fmla="*/ 69737 h 2885724"/>
              <a:gd name="connsiteX80" fmla="*/ 2352676 w 2872287"/>
              <a:gd name="connsiteY80" fmla="*/ 17349 h 2885724"/>
              <a:gd name="connsiteX81" fmla="*/ 2402682 w 2872287"/>
              <a:gd name="connsiteY81" fmla="*/ 680 h 28857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Lst>
            <a:rect l="l" t="t" r="r" b="b"/>
            <a:pathLst>
              <a:path w="2872287" h="2885724">
                <a:moveTo>
                  <a:pt x="1229400" y="1044324"/>
                </a:moveTo>
                <a:cubicBezTo>
                  <a:pt x="1271650" y="1044324"/>
                  <a:pt x="1312900" y="1048605"/>
                  <a:pt x="1352739" y="1056758"/>
                </a:cubicBezTo>
                <a:lnTo>
                  <a:pt x="1405032" y="1072990"/>
                </a:lnTo>
                <a:lnTo>
                  <a:pt x="1371388" y="1125341"/>
                </a:lnTo>
                <a:cubicBezTo>
                  <a:pt x="1337157" y="1184989"/>
                  <a:pt x="1312883" y="1241731"/>
                  <a:pt x="1299983" y="1292254"/>
                </a:cubicBezTo>
                <a:lnTo>
                  <a:pt x="1291507" y="1348568"/>
                </a:lnTo>
                <a:lnTo>
                  <a:pt x="1229400" y="1342307"/>
                </a:lnTo>
                <a:cubicBezTo>
                  <a:pt x="1055973" y="1342307"/>
                  <a:pt x="915383" y="1482897"/>
                  <a:pt x="915383" y="1656324"/>
                </a:cubicBezTo>
                <a:cubicBezTo>
                  <a:pt x="915383" y="1829751"/>
                  <a:pt x="1055973" y="1970341"/>
                  <a:pt x="1229400" y="1970341"/>
                </a:cubicBezTo>
                <a:cubicBezTo>
                  <a:pt x="1402827" y="1970341"/>
                  <a:pt x="1543417" y="1829751"/>
                  <a:pt x="1543417" y="1656324"/>
                </a:cubicBezTo>
                <a:cubicBezTo>
                  <a:pt x="1543417" y="1634646"/>
                  <a:pt x="1541221" y="1613480"/>
                  <a:pt x="1537038" y="1593039"/>
                </a:cubicBezTo>
                <a:lnTo>
                  <a:pt x="1532628" y="1578835"/>
                </a:lnTo>
                <a:lnTo>
                  <a:pt x="1573883" y="1572626"/>
                </a:lnTo>
                <a:cubicBezTo>
                  <a:pt x="1624406" y="1559726"/>
                  <a:pt x="1681148" y="1535452"/>
                  <a:pt x="1740796" y="1501221"/>
                </a:cubicBezTo>
                <a:lnTo>
                  <a:pt x="1806082" y="1459264"/>
                </a:lnTo>
                <a:lnTo>
                  <a:pt x="1828967" y="1532985"/>
                </a:lnTo>
                <a:cubicBezTo>
                  <a:pt x="1837119" y="1572825"/>
                  <a:pt x="1841400" y="1614074"/>
                  <a:pt x="1841400" y="1656324"/>
                </a:cubicBezTo>
                <a:cubicBezTo>
                  <a:pt x="1841400" y="1994322"/>
                  <a:pt x="1567398" y="2268324"/>
                  <a:pt x="1229400" y="2268324"/>
                </a:cubicBezTo>
                <a:cubicBezTo>
                  <a:pt x="891402" y="2268324"/>
                  <a:pt x="617400" y="1994322"/>
                  <a:pt x="617400" y="1656324"/>
                </a:cubicBezTo>
                <a:cubicBezTo>
                  <a:pt x="617400" y="1318326"/>
                  <a:pt x="891402" y="1044324"/>
                  <a:pt x="1229400" y="1044324"/>
                </a:cubicBezTo>
                <a:close/>
                <a:moveTo>
                  <a:pt x="1229400" y="426924"/>
                </a:moveTo>
                <a:cubicBezTo>
                  <a:pt x="1484017" y="426924"/>
                  <a:pt x="1720556" y="504327"/>
                  <a:pt x="1916770" y="636886"/>
                </a:cubicBezTo>
                <a:lnTo>
                  <a:pt x="1929798" y="646629"/>
                </a:lnTo>
                <a:lnTo>
                  <a:pt x="1885417" y="679181"/>
                </a:lnTo>
                <a:cubicBezTo>
                  <a:pt x="1846392" y="709857"/>
                  <a:pt x="1806567" y="743198"/>
                  <a:pt x="1766443" y="778925"/>
                </a:cubicBezTo>
                <a:lnTo>
                  <a:pt x="1697698" y="843854"/>
                </a:lnTo>
                <a:lnTo>
                  <a:pt x="1676733" y="831118"/>
                </a:lnTo>
                <a:cubicBezTo>
                  <a:pt x="1543757" y="758881"/>
                  <a:pt x="1391370" y="717849"/>
                  <a:pt x="1229400" y="717849"/>
                </a:cubicBezTo>
                <a:cubicBezTo>
                  <a:pt x="711095" y="717849"/>
                  <a:pt x="290925" y="1138019"/>
                  <a:pt x="290925" y="1656324"/>
                </a:cubicBezTo>
                <a:cubicBezTo>
                  <a:pt x="290925" y="2174629"/>
                  <a:pt x="711095" y="2594799"/>
                  <a:pt x="1229400" y="2594799"/>
                </a:cubicBezTo>
                <a:cubicBezTo>
                  <a:pt x="1747705" y="2594799"/>
                  <a:pt x="2167875" y="2174629"/>
                  <a:pt x="2167875" y="1656324"/>
                </a:cubicBezTo>
                <a:cubicBezTo>
                  <a:pt x="2167875" y="1494354"/>
                  <a:pt x="2126843" y="1341967"/>
                  <a:pt x="2054606" y="1208991"/>
                </a:cubicBezTo>
                <a:lnTo>
                  <a:pt x="2028904" y="1166684"/>
                </a:lnTo>
                <a:lnTo>
                  <a:pt x="2089764" y="1102246"/>
                </a:lnTo>
                <a:cubicBezTo>
                  <a:pt x="2125491" y="1062122"/>
                  <a:pt x="2158832" y="1022297"/>
                  <a:pt x="2189508" y="983272"/>
                </a:cubicBezTo>
                <a:lnTo>
                  <a:pt x="2224188" y="935991"/>
                </a:lnTo>
                <a:lnTo>
                  <a:pt x="2248838" y="968955"/>
                </a:lnTo>
                <a:cubicBezTo>
                  <a:pt x="2381397" y="1165168"/>
                  <a:pt x="2458800" y="1401707"/>
                  <a:pt x="2458800" y="1656324"/>
                </a:cubicBezTo>
                <a:cubicBezTo>
                  <a:pt x="2458800" y="2335303"/>
                  <a:pt x="1908379" y="2885724"/>
                  <a:pt x="1229400" y="2885724"/>
                </a:cubicBezTo>
                <a:cubicBezTo>
                  <a:pt x="550421" y="2885724"/>
                  <a:pt x="0" y="2335303"/>
                  <a:pt x="0" y="1656324"/>
                </a:cubicBezTo>
                <a:cubicBezTo>
                  <a:pt x="0" y="977345"/>
                  <a:pt x="550421" y="426924"/>
                  <a:pt x="1229400" y="426924"/>
                </a:cubicBezTo>
                <a:close/>
                <a:moveTo>
                  <a:pt x="2402682" y="680"/>
                </a:moveTo>
                <a:cubicBezTo>
                  <a:pt x="2418954" y="3855"/>
                  <a:pt x="2435226" y="5840"/>
                  <a:pt x="2450307" y="36399"/>
                </a:cubicBezTo>
                <a:cubicBezTo>
                  <a:pt x="2465388" y="66958"/>
                  <a:pt x="2480073" y="133237"/>
                  <a:pt x="2493170" y="184037"/>
                </a:cubicBezTo>
                <a:lnTo>
                  <a:pt x="2528888" y="341199"/>
                </a:lnTo>
                <a:lnTo>
                  <a:pt x="2776539" y="405494"/>
                </a:lnTo>
                <a:cubicBezTo>
                  <a:pt x="2832101" y="422957"/>
                  <a:pt x="2850755" y="432481"/>
                  <a:pt x="2864645" y="450737"/>
                </a:cubicBezTo>
                <a:cubicBezTo>
                  <a:pt x="2878535" y="468993"/>
                  <a:pt x="2871391" y="491614"/>
                  <a:pt x="2859882" y="515030"/>
                </a:cubicBezTo>
                <a:cubicBezTo>
                  <a:pt x="2838451" y="540430"/>
                  <a:pt x="2818211" y="569800"/>
                  <a:pt x="2786064" y="603137"/>
                </a:cubicBezTo>
                <a:cubicBezTo>
                  <a:pt x="2753917" y="636474"/>
                  <a:pt x="2709864" y="680924"/>
                  <a:pt x="2667002" y="715055"/>
                </a:cubicBezTo>
                <a:cubicBezTo>
                  <a:pt x="2626521" y="744821"/>
                  <a:pt x="2591992" y="758314"/>
                  <a:pt x="2552701" y="769824"/>
                </a:cubicBezTo>
                <a:cubicBezTo>
                  <a:pt x="2513410" y="781334"/>
                  <a:pt x="2478088" y="785303"/>
                  <a:pt x="2431257" y="784112"/>
                </a:cubicBezTo>
                <a:cubicBezTo>
                  <a:pt x="2384426" y="782921"/>
                  <a:pt x="2314973" y="772999"/>
                  <a:pt x="2271714" y="762680"/>
                </a:cubicBezTo>
                <a:lnTo>
                  <a:pt x="2225051" y="746476"/>
                </a:lnTo>
                <a:lnTo>
                  <a:pt x="2216943" y="757918"/>
                </a:lnTo>
                <a:cubicBezTo>
                  <a:pt x="2167334" y="830546"/>
                  <a:pt x="2123677" y="886902"/>
                  <a:pt x="2064543" y="962705"/>
                </a:cubicBezTo>
                <a:cubicBezTo>
                  <a:pt x="2005409" y="1038508"/>
                  <a:pt x="1914524" y="1150825"/>
                  <a:pt x="1862137" y="1212737"/>
                </a:cubicBezTo>
                <a:cubicBezTo>
                  <a:pt x="1809750" y="1274649"/>
                  <a:pt x="1783159" y="1301636"/>
                  <a:pt x="1750218" y="1334180"/>
                </a:cubicBezTo>
                <a:cubicBezTo>
                  <a:pt x="1717277" y="1366724"/>
                  <a:pt x="1688305" y="1390537"/>
                  <a:pt x="1664493" y="1407999"/>
                </a:cubicBezTo>
                <a:cubicBezTo>
                  <a:pt x="1640681" y="1425461"/>
                  <a:pt x="1626393" y="1433796"/>
                  <a:pt x="1607343" y="1438955"/>
                </a:cubicBezTo>
                <a:cubicBezTo>
                  <a:pt x="1588293" y="1444114"/>
                  <a:pt x="1550193" y="1438955"/>
                  <a:pt x="1550193" y="1438955"/>
                </a:cubicBezTo>
                <a:cubicBezTo>
                  <a:pt x="1536699" y="1438955"/>
                  <a:pt x="1535905" y="1436574"/>
                  <a:pt x="1526380" y="1438955"/>
                </a:cubicBezTo>
                <a:lnTo>
                  <a:pt x="1521677" y="1440971"/>
                </a:lnTo>
                <a:lnTo>
                  <a:pt x="1499508" y="1464922"/>
                </a:lnTo>
                <a:cubicBezTo>
                  <a:pt x="1359980" y="1604451"/>
                  <a:pt x="1225215" y="1695906"/>
                  <a:pt x="1198503" y="1669195"/>
                </a:cubicBezTo>
                <a:cubicBezTo>
                  <a:pt x="1171792" y="1642483"/>
                  <a:pt x="1263247" y="1507718"/>
                  <a:pt x="1402776" y="1368190"/>
                </a:cubicBezTo>
                <a:lnTo>
                  <a:pt x="1429420" y="1343529"/>
                </a:lnTo>
                <a:lnTo>
                  <a:pt x="1427856" y="1324358"/>
                </a:lnTo>
                <a:cubicBezTo>
                  <a:pt x="1425971" y="1311757"/>
                  <a:pt x="1423193" y="1300050"/>
                  <a:pt x="1423987" y="1288937"/>
                </a:cubicBezTo>
                <a:cubicBezTo>
                  <a:pt x="1425575" y="1266712"/>
                  <a:pt x="1422796" y="1255203"/>
                  <a:pt x="1435893" y="1231787"/>
                </a:cubicBezTo>
                <a:cubicBezTo>
                  <a:pt x="1448990" y="1208371"/>
                  <a:pt x="1459706" y="1191702"/>
                  <a:pt x="1502568" y="1148443"/>
                </a:cubicBezTo>
                <a:cubicBezTo>
                  <a:pt x="1545430" y="1105184"/>
                  <a:pt x="1616868" y="1036921"/>
                  <a:pt x="1693068" y="972230"/>
                </a:cubicBezTo>
                <a:cubicBezTo>
                  <a:pt x="1769268" y="907539"/>
                  <a:pt x="1883568" y="817052"/>
                  <a:pt x="1959768" y="760299"/>
                </a:cubicBezTo>
                <a:cubicBezTo>
                  <a:pt x="1997868" y="731923"/>
                  <a:pt x="2028725" y="709499"/>
                  <a:pt x="2058441" y="689309"/>
                </a:cubicBezTo>
                <a:lnTo>
                  <a:pt x="2114702" y="654020"/>
                </a:lnTo>
                <a:lnTo>
                  <a:pt x="2106812" y="603584"/>
                </a:lnTo>
                <a:cubicBezTo>
                  <a:pt x="2101851" y="566526"/>
                  <a:pt x="2097386" y="536802"/>
                  <a:pt x="2095501" y="495982"/>
                </a:cubicBezTo>
                <a:cubicBezTo>
                  <a:pt x="2093616" y="455162"/>
                  <a:pt x="2086770" y="402715"/>
                  <a:pt x="2095501" y="358662"/>
                </a:cubicBezTo>
                <a:cubicBezTo>
                  <a:pt x="2104232" y="314609"/>
                  <a:pt x="2113758" y="274524"/>
                  <a:pt x="2147889" y="231662"/>
                </a:cubicBezTo>
                <a:lnTo>
                  <a:pt x="2300289" y="69737"/>
                </a:lnTo>
                <a:lnTo>
                  <a:pt x="2352676" y="17349"/>
                </a:lnTo>
                <a:cubicBezTo>
                  <a:pt x="2369741" y="5840"/>
                  <a:pt x="2386410" y="-2495"/>
                  <a:pt x="2402682" y="680"/>
                </a:cubicBezTo>
                <a:close/>
              </a:path>
            </a:pathLst>
          </a:cu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1" dirty="0">
              <a:solidFill>
                <a:srgbClr val="000000"/>
              </a:solidFill>
            </a:endParaRPr>
          </a:p>
        </p:txBody>
      </p:sp>
      <p:sp>
        <p:nvSpPr>
          <p:cNvPr id="55" name="Freeform 54"/>
          <p:cNvSpPr/>
          <p:nvPr/>
        </p:nvSpPr>
        <p:spPr>
          <a:xfrm>
            <a:off x="3196242" y="728090"/>
            <a:ext cx="307408" cy="356439"/>
          </a:xfrm>
          <a:custGeom>
            <a:avLst/>
            <a:gdLst>
              <a:gd name="connsiteX0" fmla="*/ 2125980 w 3985260"/>
              <a:gd name="connsiteY0" fmla="*/ 5113020 h 5113020"/>
              <a:gd name="connsiteX1" fmla="*/ 0 w 3985260"/>
              <a:gd name="connsiteY1" fmla="*/ 4640580 h 5113020"/>
              <a:gd name="connsiteX2" fmla="*/ 259080 w 3985260"/>
              <a:gd name="connsiteY2" fmla="*/ 3817620 h 5113020"/>
              <a:gd name="connsiteX3" fmla="*/ 1417320 w 3985260"/>
              <a:gd name="connsiteY3" fmla="*/ 0 h 5113020"/>
              <a:gd name="connsiteX4" fmla="*/ 3520440 w 3985260"/>
              <a:gd name="connsiteY4" fmla="*/ 1630680 h 5113020"/>
              <a:gd name="connsiteX5" fmla="*/ 3985260 w 3985260"/>
              <a:gd name="connsiteY5" fmla="*/ 2903220 h 5113020"/>
              <a:gd name="connsiteX6" fmla="*/ 3680460 w 3985260"/>
              <a:gd name="connsiteY6" fmla="*/ 3345180 h 5113020"/>
              <a:gd name="connsiteX7" fmla="*/ 3589020 w 3985260"/>
              <a:gd name="connsiteY7" fmla="*/ 3459480 h 5113020"/>
              <a:gd name="connsiteX8" fmla="*/ 3649980 w 3985260"/>
              <a:gd name="connsiteY8" fmla="*/ 3627120 h 5113020"/>
              <a:gd name="connsiteX9" fmla="*/ 3474720 w 3985260"/>
              <a:gd name="connsiteY9" fmla="*/ 3771900 h 5113020"/>
              <a:gd name="connsiteX10" fmla="*/ 3489960 w 3985260"/>
              <a:gd name="connsiteY10" fmla="*/ 4297680 h 5113020"/>
              <a:gd name="connsiteX11" fmla="*/ 2491740 w 3985260"/>
              <a:gd name="connsiteY11" fmla="*/ 4480560 h 5113020"/>
              <a:gd name="connsiteX12" fmla="*/ 2125980 w 3985260"/>
              <a:gd name="connsiteY12" fmla="*/ 5113020 h 5113020"/>
              <a:gd name="connsiteX0" fmla="*/ 2125980 w 3985260"/>
              <a:gd name="connsiteY0" fmla="*/ 5113020 h 5113020"/>
              <a:gd name="connsiteX1" fmla="*/ 0 w 3985260"/>
              <a:gd name="connsiteY1" fmla="*/ 4640580 h 5113020"/>
              <a:gd name="connsiteX2" fmla="*/ 259080 w 3985260"/>
              <a:gd name="connsiteY2" fmla="*/ 3817620 h 5113020"/>
              <a:gd name="connsiteX3" fmla="*/ 1417320 w 3985260"/>
              <a:gd name="connsiteY3" fmla="*/ 0 h 5113020"/>
              <a:gd name="connsiteX4" fmla="*/ 3520440 w 3985260"/>
              <a:gd name="connsiteY4" fmla="*/ 1630680 h 5113020"/>
              <a:gd name="connsiteX5" fmla="*/ 3985260 w 3985260"/>
              <a:gd name="connsiteY5" fmla="*/ 2903220 h 5113020"/>
              <a:gd name="connsiteX6" fmla="*/ 3680460 w 3985260"/>
              <a:gd name="connsiteY6" fmla="*/ 3345180 h 5113020"/>
              <a:gd name="connsiteX7" fmla="*/ 3589020 w 3985260"/>
              <a:gd name="connsiteY7" fmla="*/ 3459480 h 5113020"/>
              <a:gd name="connsiteX8" fmla="*/ 3649980 w 3985260"/>
              <a:gd name="connsiteY8" fmla="*/ 3627120 h 5113020"/>
              <a:gd name="connsiteX9" fmla="*/ 3474720 w 3985260"/>
              <a:gd name="connsiteY9" fmla="*/ 3771900 h 5113020"/>
              <a:gd name="connsiteX10" fmla="*/ 3489960 w 3985260"/>
              <a:gd name="connsiteY10" fmla="*/ 4297680 h 5113020"/>
              <a:gd name="connsiteX11" fmla="*/ 2491740 w 3985260"/>
              <a:gd name="connsiteY11" fmla="*/ 4480560 h 5113020"/>
              <a:gd name="connsiteX12" fmla="*/ 2125980 w 3985260"/>
              <a:gd name="connsiteY12" fmla="*/ 5113020 h 5113020"/>
              <a:gd name="connsiteX0" fmla="*/ 2578242 w 4437522"/>
              <a:gd name="connsiteY0" fmla="*/ 5113020 h 5113020"/>
              <a:gd name="connsiteX1" fmla="*/ 452262 w 4437522"/>
              <a:gd name="connsiteY1" fmla="*/ 4640580 h 5113020"/>
              <a:gd name="connsiteX2" fmla="*/ 711342 w 4437522"/>
              <a:gd name="connsiteY2" fmla="*/ 3817620 h 5113020"/>
              <a:gd name="connsiteX3" fmla="*/ 1869582 w 4437522"/>
              <a:gd name="connsiteY3" fmla="*/ 0 h 5113020"/>
              <a:gd name="connsiteX4" fmla="*/ 3972702 w 4437522"/>
              <a:gd name="connsiteY4" fmla="*/ 1630680 h 5113020"/>
              <a:gd name="connsiteX5" fmla="*/ 4437522 w 4437522"/>
              <a:gd name="connsiteY5" fmla="*/ 2903220 h 5113020"/>
              <a:gd name="connsiteX6" fmla="*/ 4132722 w 4437522"/>
              <a:gd name="connsiteY6" fmla="*/ 3345180 h 5113020"/>
              <a:gd name="connsiteX7" fmla="*/ 4041282 w 4437522"/>
              <a:gd name="connsiteY7" fmla="*/ 3459480 h 5113020"/>
              <a:gd name="connsiteX8" fmla="*/ 4102242 w 4437522"/>
              <a:gd name="connsiteY8" fmla="*/ 3627120 h 5113020"/>
              <a:gd name="connsiteX9" fmla="*/ 3926982 w 4437522"/>
              <a:gd name="connsiteY9" fmla="*/ 3771900 h 5113020"/>
              <a:gd name="connsiteX10" fmla="*/ 3942222 w 4437522"/>
              <a:gd name="connsiteY10" fmla="*/ 4297680 h 5113020"/>
              <a:gd name="connsiteX11" fmla="*/ 2944002 w 4437522"/>
              <a:gd name="connsiteY11" fmla="*/ 4480560 h 5113020"/>
              <a:gd name="connsiteX12" fmla="*/ 2578242 w 4437522"/>
              <a:gd name="connsiteY12" fmla="*/ 5113020 h 5113020"/>
              <a:gd name="connsiteX0" fmla="*/ 2953119 w 4812399"/>
              <a:gd name="connsiteY0" fmla="*/ 5113020 h 5113020"/>
              <a:gd name="connsiteX1" fmla="*/ 827139 w 4812399"/>
              <a:gd name="connsiteY1" fmla="*/ 4640580 h 5113020"/>
              <a:gd name="connsiteX2" fmla="*/ 529959 w 4812399"/>
              <a:gd name="connsiteY2" fmla="*/ 2712720 h 5113020"/>
              <a:gd name="connsiteX3" fmla="*/ 2244459 w 4812399"/>
              <a:gd name="connsiteY3" fmla="*/ 0 h 5113020"/>
              <a:gd name="connsiteX4" fmla="*/ 4347579 w 4812399"/>
              <a:gd name="connsiteY4" fmla="*/ 1630680 h 5113020"/>
              <a:gd name="connsiteX5" fmla="*/ 4812399 w 4812399"/>
              <a:gd name="connsiteY5" fmla="*/ 2903220 h 5113020"/>
              <a:gd name="connsiteX6" fmla="*/ 4507599 w 4812399"/>
              <a:gd name="connsiteY6" fmla="*/ 3345180 h 5113020"/>
              <a:gd name="connsiteX7" fmla="*/ 4416159 w 4812399"/>
              <a:gd name="connsiteY7" fmla="*/ 3459480 h 5113020"/>
              <a:gd name="connsiteX8" fmla="*/ 4477119 w 4812399"/>
              <a:gd name="connsiteY8" fmla="*/ 3627120 h 5113020"/>
              <a:gd name="connsiteX9" fmla="*/ 4301859 w 4812399"/>
              <a:gd name="connsiteY9" fmla="*/ 3771900 h 5113020"/>
              <a:gd name="connsiteX10" fmla="*/ 4317099 w 4812399"/>
              <a:gd name="connsiteY10" fmla="*/ 4297680 h 5113020"/>
              <a:gd name="connsiteX11" fmla="*/ 3318879 w 4812399"/>
              <a:gd name="connsiteY11" fmla="*/ 4480560 h 5113020"/>
              <a:gd name="connsiteX12" fmla="*/ 2953119 w 4812399"/>
              <a:gd name="connsiteY12" fmla="*/ 5113020 h 5113020"/>
              <a:gd name="connsiteX0" fmla="*/ 2601128 w 4460408"/>
              <a:gd name="connsiteY0" fmla="*/ 5113020 h 5113020"/>
              <a:gd name="connsiteX1" fmla="*/ 475148 w 4460408"/>
              <a:gd name="connsiteY1" fmla="*/ 4640580 h 5113020"/>
              <a:gd name="connsiteX2" fmla="*/ 177968 w 4460408"/>
              <a:gd name="connsiteY2" fmla="*/ 2712720 h 5113020"/>
              <a:gd name="connsiteX3" fmla="*/ 1892468 w 4460408"/>
              <a:gd name="connsiteY3" fmla="*/ 0 h 5113020"/>
              <a:gd name="connsiteX4" fmla="*/ 3995588 w 4460408"/>
              <a:gd name="connsiteY4" fmla="*/ 1630680 h 5113020"/>
              <a:gd name="connsiteX5" fmla="*/ 4460408 w 4460408"/>
              <a:gd name="connsiteY5" fmla="*/ 2903220 h 5113020"/>
              <a:gd name="connsiteX6" fmla="*/ 4155608 w 4460408"/>
              <a:gd name="connsiteY6" fmla="*/ 3345180 h 5113020"/>
              <a:gd name="connsiteX7" fmla="*/ 4064168 w 4460408"/>
              <a:gd name="connsiteY7" fmla="*/ 3459480 h 5113020"/>
              <a:gd name="connsiteX8" fmla="*/ 4125128 w 4460408"/>
              <a:gd name="connsiteY8" fmla="*/ 3627120 h 5113020"/>
              <a:gd name="connsiteX9" fmla="*/ 3949868 w 4460408"/>
              <a:gd name="connsiteY9" fmla="*/ 3771900 h 5113020"/>
              <a:gd name="connsiteX10" fmla="*/ 3965108 w 4460408"/>
              <a:gd name="connsiteY10" fmla="*/ 4297680 h 5113020"/>
              <a:gd name="connsiteX11" fmla="*/ 2966888 w 4460408"/>
              <a:gd name="connsiteY11" fmla="*/ 4480560 h 5113020"/>
              <a:gd name="connsiteX12" fmla="*/ 2601128 w 4460408"/>
              <a:gd name="connsiteY12" fmla="*/ 5113020 h 5113020"/>
              <a:gd name="connsiteX0" fmla="*/ 2545808 w 4405088"/>
              <a:gd name="connsiteY0" fmla="*/ 5113020 h 5113020"/>
              <a:gd name="connsiteX1" fmla="*/ 419828 w 4405088"/>
              <a:gd name="connsiteY1" fmla="*/ 4640580 h 5113020"/>
              <a:gd name="connsiteX2" fmla="*/ 122648 w 4405088"/>
              <a:gd name="connsiteY2" fmla="*/ 2712720 h 5113020"/>
              <a:gd name="connsiteX3" fmla="*/ 1837148 w 4405088"/>
              <a:gd name="connsiteY3" fmla="*/ 0 h 5113020"/>
              <a:gd name="connsiteX4" fmla="*/ 3940268 w 4405088"/>
              <a:gd name="connsiteY4" fmla="*/ 1630680 h 5113020"/>
              <a:gd name="connsiteX5" fmla="*/ 4405088 w 4405088"/>
              <a:gd name="connsiteY5" fmla="*/ 2903220 h 5113020"/>
              <a:gd name="connsiteX6" fmla="*/ 4100288 w 4405088"/>
              <a:gd name="connsiteY6" fmla="*/ 3345180 h 5113020"/>
              <a:gd name="connsiteX7" fmla="*/ 4008848 w 4405088"/>
              <a:gd name="connsiteY7" fmla="*/ 3459480 h 5113020"/>
              <a:gd name="connsiteX8" fmla="*/ 4069808 w 4405088"/>
              <a:gd name="connsiteY8" fmla="*/ 3627120 h 5113020"/>
              <a:gd name="connsiteX9" fmla="*/ 3894548 w 4405088"/>
              <a:gd name="connsiteY9" fmla="*/ 3771900 h 5113020"/>
              <a:gd name="connsiteX10" fmla="*/ 3909788 w 4405088"/>
              <a:gd name="connsiteY10" fmla="*/ 4297680 h 5113020"/>
              <a:gd name="connsiteX11" fmla="*/ 2911568 w 4405088"/>
              <a:gd name="connsiteY11" fmla="*/ 4480560 h 5113020"/>
              <a:gd name="connsiteX12" fmla="*/ 2545808 w 4405088"/>
              <a:gd name="connsiteY12" fmla="*/ 5113020 h 5113020"/>
              <a:gd name="connsiteX0" fmla="*/ 2589294 w 4448574"/>
              <a:gd name="connsiteY0" fmla="*/ 5113020 h 5113020"/>
              <a:gd name="connsiteX1" fmla="*/ 463314 w 4448574"/>
              <a:gd name="connsiteY1" fmla="*/ 4640580 h 5113020"/>
              <a:gd name="connsiteX2" fmla="*/ 166134 w 4448574"/>
              <a:gd name="connsiteY2" fmla="*/ 2712720 h 5113020"/>
              <a:gd name="connsiteX3" fmla="*/ 1880634 w 4448574"/>
              <a:gd name="connsiteY3" fmla="*/ 0 h 5113020"/>
              <a:gd name="connsiteX4" fmla="*/ 3983754 w 4448574"/>
              <a:gd name="connsiteY4" fmla="*/ 1630680 h 5113020"/>
              <a:gd name="connsiteX5" fmla="*/ 4448574 w 4448574"/>
              <a:gd name="connsiteY5" fmla="*/ 2903220 h 5113020"/>
              <a:gd name="connsiteX6" fmla="*/ 4143774 w 4448574"/>
              <a:gd name="connsiteY6" fmla="*/ 3345180 h 5113020"/>
              <a:gd name="connsiteX7" fmla="*/ 4052334 w 4448574"/>
              <a:gd name="connsiteY7" fmla="*/ 3459480 h 5113020"/>
              <a:gd name="connsiteX8" fmla="*/ 4113294 w 4448574"/>
              <a:gd name="connsiteY8" fmla="*/ 3627120 h 5113020"/>
              <a:gd name="connsiteX9" fmla="*/ 3938034 w 4448574"/>
              <a:gd name="connsiteY9" fmla="*/ 3771900 h 5113020"/>
              <a:gd name="connsiteX10" fmla="*/ 3953274 w 4448574"/>
              <a:gd name="connsiteY10" fmla="*/ 4297680 h 5113020"/>
              <a:gd name="connsiteX11" fmla="*/ 2955054 w 4448574"/>
              <a:gd name="connsiteY11" fmla="*/ 4480560 h 5113020"/>
              <a:gd name="connsiteX12" fmla="*/ 2589294 w 4448574"/>
              <a:gd name="connsiteY12" fmla="*/ 5113020 h 5113020"/>
              <a:gd name="connsiteX0" fmla="*/ 2589294 w 4448574"/>
              <a:gd name="connsiteY0" fmla="*/ 5113020 h 5113020"/>
              <a:gd name="connsiteX1" fmla="*/ 463314 w 4448574"/>
              <a:gd name="connsiteY1" fmla="*/ 4640580 h 5113020"/>
              <a:gd name="connsiteX2" fmla="*/ 166134 w 4448574"/>
              <a:gd name="connsiteY2" fmla="*/ 2712720 h 5113020"/>
              <a:gd name="connsiteX3" fmla="*/ 1880634 w 4448574"/>
              <a:gd name="connsiteY3" fmla="*/ 0 h 5113020"/>
              <a:gd name="connsiteX4" fmla="*/ 3983754 w 4448574"/>
              <a:gd name="connsiteY4" fmla="*/ 1630680 h 5113020"/>
              <a:gd name="connsiteX5" fmla="*/ 4448574 w 4448574"/>
              <a:gd name="connsiteY5" fmla="*/ 2903220 h 5113020"/>
              <a:gd name="connsiteX6" fmla="*/ 4143774 w 4448574"/>
              <a:gd name="connsiteY6" fmla="*/ 3345180 h 5113020"/>
              <a:gd name="connsiteX7" fmla="*/ 4052334 w 4448574"/>
              <a:gd name="connsiteY7" fmla="*/ 3459480 h 5113020"/>
              <a:gd name="connsiteX8" fmla="*/ 4113294 w 4448574"/>
              <a:gd name="connsiteY8" fmla="*/ 3627120 h 5113020"/>
              <a:gd name="connsiteX9" fmla="*/ 3938034 w 4448574"/>
              <a:gd name="connsiteY9" fmla="*/ 3771900 h 5113020"/>
              <a:gd name="connsiteX10" fmla="*/ 3953274 w 4448574"/>
              <a:gd name="connsiteY10" fmla="*/ 4297680 h 5113020"/>
              <a:gd name="connsiteX11" fmla="*/ 2955054 w 4448574"/>
              <a:gd name="connsiteY11" fmla="*/ 4480560 h 5113020"/>
              <a:gd name="connsiteX12" fmla="*/ 2589294 w 4448574"/>
              <a:gd name="connsiteY12" fmla="*/ 5113020 h 5113020"/>
              <a:gd name="connsiteX0" fmla="*/ 2589294 w 4448574"/>
              <a:gd name="connsiteY0" fmla="*/ 5125515 h 5125515"/>
              <a:gd name="connsiteX1" fmla="*/ 463314 w 4448574"/>
              <a:gd name="connsiteY1" fmla="*/ 4653075 h 5125515"/>
              <a:gd name="connsiteX2" fmla="*/ 166134 w 4448574"/>
              <a:gd name="connsiteY2" fmla="*/ 2725215 h 5125515"/>
              <a:gd name="connsiteX3" fmla="*/ 1880634 w 4448574"/>
              <a:gd name="connsiteY3" fmla="*/ 12495 h 5125515"/>
              <a:gd name="connsiteX4" fmla="*/ 3983754 w 4448574"/>
              <a:gd name="connsiteY4" fmla="*/ 1643175 h 5125515"/>
              <a:gd name="connsiteX5" fmla="*/ 4448574 w 4448574"/>
              <a:gd name="connsiteY5" fmla="*/ 2915715 h 5125515"/>
              <a:gd name="connsiteX6" fmla="*/ 4143774 w 4448574"/>
              <a:gd name="connsiteY6" fmla="*/ 3357675 h 5125515"/>
              <a:gd name="connsiteX7" fmla="*/ 4052334 w 4448574"/>
              <a:gd name="connsiteY7" fmla="*/ 3471975 h 5125515"/>
              <a:gd name="connsiteX8" fmla="*/ 4113294 w 4448574"/>
              <a:gd name="connsiteY8" fmla="*/ 3639615 h 5125515"/>
              <a:gd name="connsiteX9" fmla="*/ 3938034 w 4448574"/>
              <a:gd name="connsiteY9" fmla="*/ 3784395 h 5125515"/>
              <a:gd name="connsiteX10" fmla="*/ 3953274 w 4448574"/>
              <a:gd name="connsiteY10" fmla="*/ 4310175 h 5125515"/>
              <a:gd name="connsiteX11" fmla="*/ 2955054 w 4448574"/>
              <a:gd name="connsiteY11" fmla="*/ 4493055 h 5125515"/>
              <a:gd name="connsiteX12" fmla="*/ 2589294 w 4448574"/>
              <a:gd name="connsiteY12" fmla="*/ 5125515 h 5125515"/>
              <a:gd name="connsiteX0" fmla="*/ 2589294 w 4448574"/>
              <a:gd name="connsiteY0" fmla="*/ 5119432 h 5119432"/>
              <a:gd name="connsiteX1" fmla="*/ 463314 w 4448574"/>
              <a:gd name="connsiteY1" fmla="*/ 4646992 h 5119432"/>
              <a:gd name="connsiteX2" fmla="*/ 166134 w 4448574"/>
              <a:gd name="connsiteY2" fmla="*/ 2719132 h 5119432"/>
              <a:gd name="connsiteX3" fmla="*/ 1880634 w 4448574"/>
              <a:gd name="connsiteY3" fmla="*/ 6412 h 5119432"/>
              <a:gd name="connsiteX4" fmla="*/ 3983754 w 4448574"/>
              <a:gd name="connsiteY4" fmla="*/ 1637092 h 5119432"/>
              <a:gd name="connsiteX5" fmla="*/ 4448574 w 4448574"/>
              <a:gd name="connsiteY5" fmla="*/ 2909632 h 5119432"/>
              <a:gd name="connsiteX6" fmla="*/ 4143774 w 4448574"/>
              <a:gd name="connsiteY6" fmla="*/ 3351592 h 5119432"/>
              <a:gd name="connsiteX7" fmla="*/ 4052334 w 4448574"/>
              <a:gd name="connsiteY7" fmla="*/ 3465892 h 5119432"/>
              <a:gd name="connsiteX8" fmla="*/ 4113294 w 4448574"/>
              <a:gd name="connsiteY8" fmla="*/ 3633532 h 5119432"/>
              <a:gd name="connsiteX9" fmla="*/ 3938034 w 4448574"/>
              <a:gd name="connsiteY9" fmla="*/ 3778312 h 5119432"/>
              <a:gd name="connsiteX10" fmla="*/ 3953274 w 4448574"/>
              <a:gd name="connsiteY10" fmla="*/ 4304092 h 5119432"/>
              <a:gd name="connsiteX11" fmla="*/ 2955054 w 4448574"/>
              <a:gd name="connsiteY11" fmla="*/ 4486972 h 5119432"/>
              <a:gd name="connsiteX12" fmla="*/ 2589294 w 4448574"/>
              <a:gd name="connsiteY12" fmla="*/ 5119432 h 5119432"/>
              <a:gd name="connsiteX0" fmla="*/ 2589294 w 4448574"/>
              <a:gd name="connsiteY0" fmla="*/ 5118976 h 5118976"/>
              <a:gd name="connsiteX1" fmla="*/ 463314 w 4448574"/>
              <a:gd name="connsiteY1" fmla="*/ 4646536 h 5118976"/>
              <a:gd name="connsiteX2" fmla="*/ 166134 w 4448574"/>
              <a:gd name="connsiteY2" fmla="*/ 2718676 h 5118976"/>
              <a:gd name="connsiteX3" fmla="*/ 1880634 w 4448574"/>
              <a:gd name="connsiteY3" fmla="*/ 5956 h 5118976"/>
              <a:gd name="connsiteX4" fmla="*/ 3983754 w 4448574"/>
              <a:gd name="connsiteY4" fmla="*/ 1636636 h 5118976"/>
              <a:gd name="connsiteX5" fmla="*/ 4448574 w 4448574"/>
              <a:gd name="connsiteY5" fmla="*/ 2909176 h 5118976"/>
              <a:gd name="connsiteX6" fmla="*/ 4143774 w 4448574"/>
              <a:gd name="connsiteY6" fmla="*/ 3351136 h 5118976"/>
              <a:gd name="connsiteX7" fmla="*/ 4052334 w 4448574"/>
              <a:gd name="connsiteY7" fmla="*/ 3465436 h 5118976"/>
              <a:gd name="connsiteX8" fmla="*/ 4113294 w 4448574"/>
              <a:gd name="connsiteY8" fmla="*/ 3633076 h 5118976"/>
              <a:gd name="connsiteX9" fmla="*/ 3938034 w 4448574"/>
              <a:gd name="connsiteY9" fmla="*/ 3777856 h 5118976"/>
              <a:gd name="connsiteX10" fmla="*/ 3953274 w 4448574"/>
              <a:gd name="connsiteY10" fmla="*/ 4303636 h 5118976"/>
              <a:gd name="connsiteX11" fmla="*/ 2955054 w 4448574"/>
              <a:gd name="connsiteY11" fmla="*/ 4486516 h 5118976"/>
              <a:gd name="connsiteX12" fmla="*/ 2589294 w 4448574"/>
              <a:gd name="connsiteY12" fmla="*/ 5118976 h 5118976"/>
              <a:gd name="connsiteX0" fmla="*/ 2589294 w 4448574"/>
              <a:gd name="connsiteY0" fmla="*/ 5118976 h 5118976"/>
              <a:gd name="connsiteX1" fmla="*/ 463314 w 4448574"/>
              <a:gd name="connsiteY1" fmla="*/ 4646536 h 5118976"/>
              <a:gd name="connsiteX2" fmla="*/ 166134 w 4448574"/>
              <a:gd name="connsiteY2" fmla="*/ 2718676 h 5118976"/>
              <a:gd name="connsiteX3" fmla="*/ 1880634 w 4448574"/>
              <a:gd name="connsiteY3" fmla="*/ 5956 h 5118976"/>
              <a:gd name="connsiteX4" fmla="*/ 3983754 w 4448574"/>
              <a:gd name="connsiteY4" fmla="*/ 1636636 h 5118976"/>
              <a:gd name="connsiteX5" fmla="*/ 4448574 w 4448574"/>
              <a:gd name="connsiteY5" fmla="*/ 2909176 h 5118976"/>
              <a:gd name="connsiteX6" fmla="*/ 4143774 w 4448574"/>
              <a:gd name="connsiteY6" fmla="*/ 3351136 h 5118976"/>
              <a:gd name="connsiteX7" fmla="*/ 4052334 w 4448574"/>
              <a:gd name="connsiteY7" fmla="*/ 3465436 h 5118976"/>
              <a:gd name="connsiteX8" fmla="*/ 4113294 w 4448574"/>
              <a:gd name="connsiteY8" fmla="*/ 3633076 h 5118976"/>
              <a:gd name="connsiteX9" fmla="*/ 3938034 w 4448574"/>
              <a:gd name="connsiteY9" fmla="*/ 3777856 h 5118976"/>
              <a:gd name="connsiteX10" fmla="*/ 3953274 w 4448574"/>
              <a:gd name="connsiteY10" fmla="*/ 4303636 h 5118976"/>
              <a:gd name="connsiteX11" fmla="*/ 2955054 w 4448574"/>
              <a:gd name="connsiteY11" fmla="*/ 4486516 h 5118976"/>
              <a:gd name="connsiteX12" fmla="*/ 2589294 w 4448574"/>
              <a:gd name="connsiteY12" fmla="*/ 5118976 h 5118976"/>
              <a:gd name="connsiteX0" fmla="*/ 2589294 w 4449538"/>
              <a:gd name="connsiteY0" fmla="*/ 5118976 h 5118976"/>
              <a:gd name="connsiteX1" fmla="*/ 463314 w 4449538"/>
              <a:gd name="connsiteY1" fmla="*/ 4646536 h 5118976"/>
              <a:gd name="connsiteX2" fmla="*/ 166134 w 4449538"/>
              <a:gd name="connsiteY2" fmla="*/ 2718676 h 5118976"/>
              <a:gd name="connsiteX3" fmla="*/ 1880634 w 4449538"/>
              <a:gd name="connsiteY3" fmla="*/ 5956 h 5118976"/>
              <a:gd name="connsiteX4" fmla="*/ 3983754 w 4449538"/>
              <a:gd name="connsiteY4" fmla="*/ 1636636 h 5118976"/>
              <a:gd name="connsiteX5" fmla="*/ 4448574 w 4449538"/>
              <a:gd name="connsiteY5" fmla="*/ 2909176 h 5118976"/>
              <a:gd name="connsiteX6" fmla="*/ 4143774 w 4449538"/>
              <a:gd name="connsiteY6" fmla="*/ 3351136 h 5118976"/>
              <a:gd name="connsiteX7" fmla="*/ 4052334 w 4449538"/>
              <a:gd name="connsiteY7" fmla="*/ 3465436 h 5118976"/>
              <a:gd name="connsiteX8" fmla="*/ 4113294 w 4449538"/>
              <a:gd name="connsiteY8" fmla="*/ 3633076 h 5118976"/>
              <a:gd name="connsiteX9" fmla="*/ 3938034 w 4449538"/>
              <a:gd name="connsiteY9" fmla="*/ 3777856 h 5118976"/>
              <a:gd name="connsiteX10" fmla="*/ 3953274 w 4449538"/>
              <a:gd name="connsiteY10" fmla="*/ 4303636 h 5118976"/>
              <a:gd name="connsiteX11" fmla="*/ 2955054 w 4449538"/>
              <a:gd name="connsiteY11" fmla="*/ 4486516 h 5118976"/>
              <a:gd name="connsiteX12" fmla="*/ 2589294 w 4449538"/>
              <a:gd name="connsiteY12" fmla="*/ 5118976 h 5118976"/>
              <a:gd name="connsiteX0" fmla="*/ 2589294 w 4449481"/>
              <a:gd name="connsiteY0" fmla="*/ 5118976 h 5118976"/>
              <a:gd name="connsiteX1" fmla="*/ 463314 w 4449481"/>
              <a:gd name="connsiteY1" fmla="*/ 4646536 h 5118976"/>
              <a:gd name="connsiteX2" fmla="*/ 166134 w 4449481"/>
              <a:gd name="connsiteY2" fmla="*/ 2718676 h 5118976"/>
              <a:gd name="connsiteX3" fmla="*/ 1880634 w 4449481"/>
              <a:gd name="connsiteY3" fmla="*/ 5956 h 5118976"/>
              <a:gd name="connsiteX4" fmla="*/ 3983754 w 4449481"/>
              <a:gd name="connsiteY4" fmla="*/ 1636636 h 5118976"/>
              <a:gd name="connsiteX5" fmla="*/ 4448574 w 4449481"/>
              <a:gd name="connsiteY5" fmla="*/ 2909176 h 5118976"/>
              <a:gd name="connsiteX6" fmla="*/ 4143774 w 4449481"/>
              <a:gd name="connsiteY6" fmla="*/ 3351136 h 5118976"/>
              <a:gd name="connsiteX7" fmla="*/ 4052334 w 4449481"/>
              <a:gd name="connsiteY7" fmla="*/ 3465436 h 5118976"/>
              <a:gd name="connsiteX8" fmla="*/ 4113294 w 4449481"/>
              <a:gd name="connsiteY8" fmla="*/ 3633076 h 5118976"/>
              <a:gd name="connsiteX9" fmla="*/ 3938034 w 4449481"/>
              <a:gd name="connsiteY9" fmla="*/ 3777856 h 5118976"/>
              <a:gd name="connsiteX10" fmla="*/ 3953274 w 4449481"/>
              <a:gd name="connsiteY10" fmla="*/ 4303636 h 5118976"/>
              <a:gd name="connsiteX11" fmla="*/ 2955054 w 4449481"/>
              <a:gd name="connsiteY11" fmla="*/ 4486516 h 5118976"/>
              <a:gd name="connsiteX12" fmla="*/ 2589294 w 4449481"/>
              <a:gd name="connsiteY12" fmla="*/ 5118976 h 5118976"/>
              <a:gd name="connsiteX0" fmla="*/ 2589294 w 4455338"/>
              <a:gd name="connsiteY0" fmla="*/ 5118976 h 5118976"/>
              <a:gd name="connsiteX1" fmla="*/ 463314 w 4455338"/>
              <a:gd name="connsiteY1" fmla="*/ 4646536 h 5118976"/>
              <a:gd name="connsiteX2" fmla="*/ 166134 w 4455338"/>
              <a:gd name="connsiteY2" fmla="*/ 2718676 h 5118976"/>
              <a:gd name="connsiteX3" fmla="*/ 1880634 w 4455338"/>
              <a:gd name="connsiteY3" fmla="*/ 5956 h 5118976"/>
              <a:gd name="connsiteX4" fmla="*/ 3983754 w 4455338"/>
              <a:gd name="connsiteY4" fmla="*/ 1636636 h 5118976"/>
              <a:gd name="connsiteX5" fmla="*/ 4448574 w 4455338"/>
              <a:gd name="connsiteY5" fmla="*/ 2909176 h 5118976"/>
              <a:gd name="connsiteX6" fmla="*/ 4143774 w 4455338"/>
              <a:gd name="connsiteY6" fmla="*/ 3351136 h 5118976"/>
              <a:gd name="connsiteX7" fmla="*/ 4052334 w 4455338"/>
              <a:gd name="connsiteY7" fmla="*/ 3465436 h 5118976"/>
              <a:gd name="connsiteX8" fmla="*/ 4113294 w 4455338"/>
              <a:gd name="connsiteY8" fmla="*/ 3633076 h 5118976"/>
              <a:gd name="connsiteX9" fmla="*/ 3938034 w 4455338"/>
              <a:gd name="connsiteY9" fmla="*/ 3777856 h 5118976"/>
              <a:gd name="connsiteX10" fmla="*/ 3953274 w 4455338"/>
              <a:gd name="connsiteY10" fmla="*/ 4303636 h 5118976"/>
              <a:gd name="connsiteX11" fmla="*/ 2955054 w 4455338"/>
              <a:gd name="connsiteY11" fmla="*/ 4486516 h 5118976"/>
              <a:gd name="connsiteX12" fmla="*/ 2589294 w 4455338"/>
              <a:gd name="connsiteY12" fmla="*/ 5118976 h 5118976"/>
              <a:gd name="connsiteX0" fmla="*/ 2589294 w 4451409"/>
              <a:gd name="connsiteY0" fmla="*/ 5118976 h 5118976"/>
              <a:gd name="connsiteX1" fmla="*/ 463314 w 4451409"/>
              <a:gd name="connsiteY1" fmla="*/ 4646536 h 5118976"/>
              <a:gd name="connsiteX2" fmla="*/ 166134 w 4451409"/>
              <a:gd name="connsiteY2" fmla="*/ 2718676 h 5118976"/>
              <a:gd name="connsiteX3" fmla="*/ 1880634 w 4451409"/>
              <a:gd name="connsiteY3" fmla="*/ 5956 h 5118976"/>
              <a:gd name="connsiteX4" fmla="*/ 3983754 w 4451409"/>
              <a:gd name="connsiteY4" fmla="*/ 1636636 h 5118976"/>
              <a:gd name="connsiteX5" fmla="*/ 4448574 w 4451409"/>
              <a:gd name="connsiteY5" fmla="*/ 2909176 h 5118976"/>
              <a:gd name="connsiteX6" fmla="*/ 4143774 w 4451409"/>
              <a:gd name="connsiteY6" fmla="*/ 3351136 h 5118976"/>
              <a:gd name="connsiteX7" fmla="*/ 4052334 w 4451409"/>
              <a:gd name="connsiteY7" fmla="*/ 3465436 h 5118976"/>
              <a:gd name="connsiteX8" fmla="*/ 4113294 w 4451409"/>
              <a:gd name="connsiteY8" fmla="*/ 3633076 h 5118976"/>
              <a:gd name="connsiteX9" fmla="*/ 3938034 w 4451409"/>
              <a:gd name="connsiteY9" fmla="*/ 3777856 h 5118976"/>
              <a:gd name="connsiteX10" fmla="*/ 3953274 w 4451409"/>
              <a:gd name="connsiteY10" fmla="*/ 4303636 h 5118976"/>
              <a:gd name="connsiteX11" fmla="*/ 2955054 w 4451409"/>
              <a:gd name="connsiteY11" fmla="*/ 4486516 h 5118976"/>
              <a:gd name="connsiteX12" fmla="*/ 2589294 w 4451409"/>
              <a:gd name="connsiteY12" fmla="*/ 5118976 h 5118976"/>
              <a:gd name="connsiteX0" fmla="*/ 2589294 w 4449063"/>
              <a:gd name="connsiteY0" fmla="*/ 5118976 h 5118976"/>
              <a:gd name="connsiteX1" fmla="*/ 463314 w 4449063"/>
              <a:gd name="connsiteY1" fmla="*/ 4646536 h 5118976"/>
              <a:gd name="connsiteX2" fmla="*/ 166134 w 4449063"/>
              <a:gd name="connsiteY2" fmla="*/ 2718676 h 5118976"/>
              <a:gd name="connsiteX3" fmla="*/ 1880634 w 4449063"/>
              <a:gd name="connsiteY3" fmla="*/ 5956 h 5118976"/>
              <a:gd name="connsiteX4" fmla="*/ 3983754 w 4449063"/>
              <a:gd name="connsiteY4" fmla="*/ 1636636 h 5118976"/>
              <a:gd name="connsiteX5" fmla="*/ 4448574 w 4449063"/>
              <a:gd name="connsiteY5" fmla="*/ 2909176 h 5118976"/>
              <a:gd name="connsiteX6" fmla="*/ 4143774 w 4449063"/>
              <a:gd name="connsiteY6" fmla="*/ 3351136 h 5118976"/>
              <a:gd name="connsiteX7" fmla="*/ 4052334 w 4449063"/>
              <a:gd name="connsiteY7" fmla="*/ 3465436 h 5118976"/>
              <a:gd name="connsiteX8" fmla="*/ 4113294 w 4449063"/>
              <a:gd name="connsiteY8" fmla="*/ 3633076 h 5118976"/>
              <a:gd name="connsiteX9" fmla="*/ 3938034 w 4449063"/>
              <a:gd name="connsiteY9" fmla="*/ 3777856 h 5118976"/>
              <a:gd name="connsiteX10" fmla="*/ 3953274 w 4449063"/>
              <a:gd name="connsiteY10" fmla="*/ 4303636 h 5118976"/>
              <a:gd name="connsiteX11" fmla="*/ 2955054 w 4449063"/>
              <a:gd name="connsiteY11" fmla="*/ 4486516 h 5118976"/>
              <a:gd name="connsiteX12" fmla="*/ 2589294 w 4449063"/>
              <a:gd name="connsiteY12" fmla="*/ 5118976 h 5118976"/>
              <a:gd name="connsiteX0" fmla="*/ 2589294 w 4449063"/>
              <a:gd name="connsiteY0" fmla="*/ 5118976 h 5118976"/>
              <a:gd name="connsiteX1" fmla="*/ 463314 w 4449063"/>
              <a:gd name="connsiteY1" fmla="*/ 4646536 h 5118976"/>
              <a:gd name="connsiteX2" fmla="*/ 166134 w 4449063"/>
              <a:gd name="connsiteY2" fmla="*/ 2718676 h 5118976"/>
              <a:gd name="connsiteX3" fmla="*/ 1880634 w 4449063"/>
              <a:gd name="connsiteY3" fmla="*/ 5956 h 5118976"/>
              <a:gd name="connsiteX4" fmla="*/ 3983754 w 4449063"/>
              <a:gd name="connsiteY4" fmla="*/ 1636636 h 5118976"/>
              <a:gd name="connsiteX5" fmla="*/ 4448574 w 4449063"/>
              <a:gd name="connsiteY5" fmla="*/ 2909176 h 5118976"/>
              <a:gd name="connsiteX6" fmla="*/ 4143774 w 4449063"/>
              <a:gd name="connsiteY6" fmla="*/ 3351136 h 5118976"/>
              <a:gd name="connsiteX7" fmla="*/ 4052334 w 4449063"/>
              <a:gd name="connsiteY7" fmla="*/ 3465436 h 5118976"/>
              <a:gd name="connsiteX8" fmla="*/ 4113294 w 4449063"/>
              <a:gd name="connsiteY8" fmla="*/ 3633076 h 5118976"/>
              <a:gd name="connsiteX9" fmla="*/ 3938034 w 4449063"/>
              <a:gd name="connsiteY9" fmla="*/ 3777856 h 5118976"/>
              <a:gd name="connsiteX10" fmla="*/ 3953274 w 4449063"/>
              <a:gd name="connsiteY10" fmla="*/ 4303636 h 5118976"/>
              <a:gd name="connsiteX11" fmla="*/ 2955054 w 4449063"/>
              <a:gd name="connsiteY11" fmla="*/ 4486516 h 5118976"/>
              <a:gd name="connsiteX12" fmla="*/ 2589294 w 4449063"/>
              <a:gd name="connsiteY12" fmla="*/ 5118976 h 5118976"/>
              <a:gd name="connsiteX0" fmla="*/ 2589294 w 4449063"/>
              <a:gd name="connsiteY0" fmla="*/ 5118976 h 5118976"/>
              <a:gd name="connsiteX1" fmla="*/ 463314 w 4449063"/>
              <a:gd name="connsiteY1" fmla="*/ 4646536 h 5118976"/>
              <a:gd name="connsiteX2" fmla="*/ 166134 w 4449063"/>
              <a:gd name="connsiteY2" fmla="*/ 2718676 h 5118976"/>
              <a:gd name="connsiteX3" fmla="*/ 1880634 w 4449063"/>
              <a:gd name="connsiteY3" fmla="*/ 5956 h 5118976"/>
              <a:gd name="connsiteX4" fmla="*/ 3983754 w 4449063"/>
              <a:gd name="connsiteY4" fmla="*/ 1636636 h 5118976"/>
              <a:gd name="connsiteX5" fmla="*/ 4448574 w 4449063"/>
              <a:gd name="connsiteY5" fmla="*/ 2909176 h 5118976"/>
              <a:gd name="connsiteX6" fmla="*/ 4143774 w 4449063"/>
              <a:gd name="connsiteY6" fmla="*/ 3351136 h 5118976"/>
              <a:gd name="connsiteX7" fmla="*/ 4052334 w 4449063"/>
              <a:gd name="connsiteY7" fmla="*/ 3465436 h 5118976"/>
              <a:gd name="connsiteX8" fmla="*/ 4113294 w 4449063"/>
              <a:gd name="connsiteY8" fmla="*/ 3633076 h 5118976"/>
              <a:gd name="connsiteX9" fmla="*/ 3938034 w 4449063"/>
              <a:gd name="connsiteY9" fmla="*/ 3777856 h 5118976"/>
              <a:gd name="connsiteX10" fmla="*/ 3953274 w 4449063"/>
              <a:gd name="connsiteY10" fmla="*/ 4303636 h 5118976"/>
              <a:gd name="connsiteX11" fmla="*/ 2955054 w 4449063"/>
              <a:gd name="connsiteY11" fmla="*/ 4486516 h 5118976"/>
              <a:gd name="connsiteX12" fmla="*/ 2589294 w 4449063"/>
              <a:gd name="connsiteY12" fmla="*/ 5118976 h 5118976"/>
              <a:gd name="connsiteX0" fmla="*/ 2589294 w 4449063"/>
              <a:gd name="connsiteY0" fmla="*/ 5118976 h 5118976"/>
              <a:gd name="connsiteX1" fmla="*/ 463314 w 4449063"/>
              <a:gd name="connsiteY1" fmla="*/ 4646536 h 5118976"/>
              <a:gd name="connsiteX2" fmla="*/ 166134 w 4449063"/>
              <a:gd name="connsiteY2" fmla="*/ 2718676 h 5118976"/>
              <a:gd name="connsiteX3" fmla="*/ 1880634 w 4449063"/>
              <a:gd name="connsiteY3" fmla="*/ 5956 h 5118976"/>
              <a:gd name="connsiteX4" fmla="*/ 3983754 w 4449063"/>
              <a:gd name="connsiteY4" fmla="*/ 1636636 h 5118976"/>
              <a:gd name="connsiteX5" fmla="*/ 4448574 w 4449063"/>
              <a:gd name="connsiteY5" fmla="*/ 2909176 h 5118976"/>
              <a:gd name="connsiteX6" fmla="*/ 4143774 w 4449063"/>
              <a:gd name="connsiteY6" fmla="*/ 3351136 h 5118976"/>
              <a:gd name="connsiteX7" fmla="*/ 4052334 w 4449063"/>
              <a:gd name="connsiteY7" fmla="*/ 3465436 h 5118976"/>
              <a:gd name="connsiteX8" fmla="*/ 4113294 w 4449063"/>
              <a:gd name="connsiteY8" fmla="*/ 3633076 h 5118976"/>
              <a:gd name="connsiteX9" fmla="*/ 3938034 w 4449063"/>
              <a:gd name="connsiteY9" fmla="*/ 3777856 h 5118976"/>
              <a:gd name="connsiteX10" fmla="*/ 3953274 w 4449063"/>
              <a:gd name="connsiteY10" fmla="*/ 4303636 h 5118976"/>
              <a:gd name="connsiteX11" fmla="*/ 2955054 w 4449063"/>
              <a:gd name="connsiteY11" fmla="*/ 4486516 h 5118976"/>
              <a:gd name="connsiteX12" fmla="*/ 2589294 w 4449063"/>
              <a:gd name="connsiteY12" fmla="*/ 5118976 h 5118976"/>
              <a:gd name="connsiteX0" fmla="*/ 2589294 w 4449063"/>
              <a:gd name="connsiteY0" fmla="*/ 5118976 h 5118976"/>
              <a:gd name="connsiteX1" fmla="*/ 463314 w 4449063"/>
              <a:gd name="connsiteY1" fmla="*/ 4646536 h 5118976"/>
              <a:gd name="connsiteX2" fmla="*/ 166134 w 4449063"/>
              <a:gd name="connsiteY2" fmla="*/ 2718676 h 5118976"/>
              <a:gd name="connsiteX3" fmla="*/ 1880634 w 4449063"/>
              <a:gd name="connsiteY3" fmla="*/ 5956 h 5118976"/>
              <a:gd name="connsiteX4" fmla="*/ 3983754 w 4449063"/>
              <a:gd name="connsiteY4" fmla="*/ 1636636 h 5118976"/>
              <a:gd name="connsiteX5" fmla="*/ 4448574 w 4449063"/>
              <a:gd name="connsiteY5" fmla="*/ 2909176 h 5118976"/>
              <a:gd name="connsiteX6" fmla="*/ 4143774 w 4449063"/>
              <a:gd name="connsiteY6" fmla="*/ 3351136 h 5118976"/>
              <a:gd name="connsiteX7" fmla="*/ 4052334 w 4449063"/>
              <a:gd name="connsiteY7" fmla="*/ 3465436 h 5118976"/>
              <a:gd name="connsiteX8" fmla="*/ 4113294 w 4449063"/>
              <a:gd name="connsiteY8" fmla="*/ 3633076 h 5118976"/>
              <a:gd name="connsiteX9" fmla="*/ 3938034 w 4449063"/>
              <a:gd name="connsiteY9" fmla="*/ 3777856 h 5118976"/>
              <a:gd name="connsiteX10" fmla="*/ 3953274 w 4449063"/>
              <a:gd name="connsiteY10" fmla="*/ 4303636 h 5118976"/>
              <a:gd name="connsiteX11" fmla="*/ 2955054 w 4449063"/>
              <a:gd name="connsiteY11" fmla="*/ 4486516 h 5118976"/>
              <a:gd name="connsiteX12" fmla="*/ 2589294 w 4449063"/>
              <a:gd name="connsiteY12" fmla="*/ 5118976 h 5118976"/>
              <a:gd name="connsiteX0" fmla="*/ 2589294 w 4449063"/>
              <a:gd name="connsiteY0" fmla="*/ 5118976 h 5118976"/>
              <a:gd name="connsiteX1" fmla="*/ 463314 w 4449063"/>
              <a:gd name="connsiteY1" fmla="*/ 4646536 h 5118976"/>
              <a:gd name="connsiteX2" fmla="*/ 166134 w 4449063"/>
              <a:gd name="connsiteY2" fmla="*/ 2718676 h 5118976"/>
              <a:gd name="connsiteX3" fmla="*/ 1880634 w 4449063"/>
              <a:gd name="connsiteY3" fmla="*/ 5956 h 5118976"/>
              <a:gd name="connsiteX4" fmla="*/ 3983754 w 4449063"/>
              <a:gd name="connsiteY4" fmla="*/ 1636636 h 5118976"/>
              <a:gd name="connsiteX5" fmla="*/ 4448574 w 4449063"/>
              <a:gd name="connsiteY5" fmla="*/ 2909176 h 5118976"/>
              <a:gd name="connsiteX6" fmla="*/ 4143774 w 4449063"/>
              <a:gd name="connsiteY6" fmla="*/ 3351136 h 5118976"/>
              <a:gd name="connsiteX7" fmla="*/ 4052334 w 4449063"/>
              <a:gd name="connsiteY7" fmla="*/ 3465436 h 5118976"/>
              <a:gd name="connsiteX8" fmla="*/ 4113294 w 4449063"/>
              <a:gd name="connsiteY8" fmla="*/ 3633076 h 5118976"/>
              <a:gd name="connsiteX9" fmla="*/ 3938034 w 4449063"/>
              <a:gd name="connsiteY9" fmla="*/ 3777856 h 5118976"/>
              <a:gd name="connsiteX10" fmla="*/ 3953274 w 4449063"/>
              <a:gd name="connsiteY10" fmla="*/ 4303636 h 5118976"/>
              <a:gd name="connsiteX11" fmla="*/ 2955054 w 4449063"/>
              <a:gd name="connsiteY11" fmla="*/ 4486516 h 5118976"/>
              <a:gd name="connsiteX12" fmla="*/ 2589294 w 4449063"/>
              <a:gd name="connsiteY12" fmla="*/ 5118976 h 5118976"/>
              <a:gd name="connsiteX0" fmla="*/ 2589294 w 4449063"/>
              <a:gd name="connsiteY0" fmla="*/ 5118976 h 5118976"/>
              <a:gd name="connsiteX1" fmla="*/ 463314 w 4449063"/>
              <a:gd name="connsiteY1" fmla="*/ 4646536 h 5118976"/>
              <a:gd name="connsiteX2" fmla="*/ 166134 w 4449063"/>
              <a:gd name="connsiteY2" fmla="*/ 2718676 h 5118976"/>
              <a:gd name="connsiteX3" fmla="*/ 1880634 w 4449063"/>
              <a:gd name="connsiteY3" fmla="*/ 5956 h 5118976"/>
              <a:gd name="connsiteX4" fmla="*/ 3983754 w 4449063"/>
              <a:gd name="connsiteY4" fmla="*/ 1636636 h 5118976"/>
              <a:gd name="connsiteX5" fmla="*/ 4448574 w 4449063"/>
              <a:gd name="connsiteY5" fmla="*/ 2909176 h 5118976"/>
              <a:gd name="connsiteX6" fmla="*/ 4143774 w 4449063"/>
              <a:gd name="connsiteY6" fmla="*/ 3351136 h 5118976"/>
              <a:gd name="connsiteX7" fmla="*/ 4052334 w 4449063"/>
              <a:gd name="connsiteY7" fmla="*/ 3465436 h 5118976"/>
              <a:gd name="connsiteX8" fmla="*/ 4113294 w 4449063"/>
              <a:gd name="connsiteY8" fmla="*/ 3633076 h 5118976"/>
              <a:gd name="connsiteX9" fmla="*/ 3938034 w 4449063"/>
              <a:gd name="connsiteY9" fmla="*/ 3777856 h 5118976"/>
              <a:gd name="connsiteX10" fmla="*/ 3953274 w 4449063"/>
              <a:gd name="connsiteY10" fmla="*/ 4303636 h 5118976"/>
              <a:gd name="connsiteX11" fmla="*/ 2955054 w 4449063"/>
              <a:gd name="connsiteY11" fmla="*/ 4486516 h 5118976"/>
              <a:gd name="connsiteX12" fmla="*/ 2589294 w 4449063"/>
              <a:gd name="connsiteY12" fmla="*/ 5118976 h 5118976"/>
              <a:gd name="connsiteX0" fmla="*/ 2589294 w 4449063"/>
              <a:gd name="connsiteY0" fmla="*/ 5118976 h 5118976"/>
              <a:gd name="connsiteX1" fmla="*/ 463314 w 4449063"/>
              <a:gd name="connsiteY1" fmla="*/ 4646536 h 5118976"/>
              <a:gd name="connsiteX2" fmla="*/ 166134 w 4449063"/>
              <a:gd name="connsiteY2" fmla="*/ 2718676 h 5118976"/>
              <a:gd name="connsiteX3" fmla="*/ 1880634 w 4449063"/>
              <a:gd name="connsiteY3" fmla="*/ 5956 h 5118976"/>
              <a:gd name="connsiteX4" fmla="*/ 3983754 w 4449063"/>
              <a:gd name="connsiteY4" fmla="*/ 1636636 h 5118976"/>
              <a:gd name="connsiteX5" fmla="*/ 4448574 w 4449063"/>
              <a:gd name="connsiteY5" fmla="*/ 2909176 h 5118976"/>
              <a:gd name="connsiteX6" fmla="*/ 4143774 w 4449063"/>
              <a:gd name="connsiteY6" fmla="*/ 3351136 h 5118976"/>
              <a:gd name="connsiteX7" fmla="*/ 4052334 w 4449063"/>
              <a:gd name="connsiteY7" fmla="*/ 3465436 h 5118976"/>
              <a:gd name="connsiteX8" fmla="*/ 4113294 w 4449063"/>
              <a:gd name="connsiteY8" fmla="*/ 3633076 h 5118976"/>
              <a:gd name="connsiteX9" fmla="*/ 3938034 w 4449063"/>
              <a:gd name="connsiteY9" fmla="*/ 3777856 h 5118976"/>
              <a:gd name="connsiteX10" fmla="*/ 3953274 w 4449063"/>
              <a:gd name="connsiteY10" fmla="*/ 4303636 h 5118976"/>
              <a:gd name="connsiteX11" fmla="*/ 2955054 w 4449063"/>
              <a:gd name="connsiteY11" fmla="*/ 4486516 h 5118976"/>
              <a:gd name="connsiteX12" fmla="*/ 2589294 w 4449063"/>
              <a:gd name="connsiteY12" fmla="*/ 5118976 h 5118976"/>
              <a:gd name="connsiteX0" fmla="*/ 2589294 w 4449063"/>
              <a:gd name="connsiteY0" fmla="*/ 5118976 h 5118976"/>
              <a:gd name="connsiteX1" fmla="*/ 463314 w 4449063"/>
              <a:gd name="connsiteY1" fmla="*/ 4646536 h 5118976"/>
              <a:gd name="connsiteX2" fmla="*/ 166134 w 4449063"/>
              <a:gd name="connsiteY2" fmla="*/ 2718676 h 5118976"/>
              <a:gd name="connsiteX3" fmla="*/ 1880634 w 4449063"/>
              <a:gd name="connsiteY3" fmla="*/ 5956 h 5118976"/>
              <a:gd name="connsiteX4" fmla="*/ 3983754 w 4449063"/>
              <a:gd name="connsiteY4" fmla="*/ 1636636 h 5118976"/>
              <a:gd name="connsiteX5" fmla="*/ 4448574 w 4449063"/>
              <a:gd name="connsiteY5" fmla="*/ 2909176 h 5118976"/>
              <a:gd name="connsiteX6" fmla="*/ 4143774 w 4449063"/>
              <a:gd name="connsiteY6" fmla="*/ 3351136 h 5118976"/>
              <a:gd name="connsiteX7" fmla="*/ 4052334 w 4449063"/>
              <a:gd name="connsiteY7" fmla="*/ 3465436 h 5118976"/>
              <a:gd name="connsiteX8" fmla="*/ 4113294 w 4449063"/>
              <a:gd name="connsiteY8" fmla="*/ 3633076 h 5118976"/>
              <a:gd name="connsiteX9" fmla="*/ 3938034 w 4449063"/>
              <a:gd name="connsiteY9" fmla="*/ 3777856 h 5118976"/>
              <a:gd name="connsiteX10" fmla="*/ 3953274 w 4449063"/>
              <a:gd name="connsiteY10" fmla="*/ 4303636 h 5118976"/>
              <a:gd name="connsiteX11" fmla="*/ 2955054 w 4449063"/>
              <a:gd name="connsiteY11" fmla="*/ 4486516 h 5118976"/>
              <a:gd name="connsiteX12" fmla="*/ 2589294 w 4449063"/>
              <a:gd name="connsiteY12" fmla="*/ 5118976 h 5118976"/>
              <a:gd name="connsiteX0" fmla="*/ 2589294 w 4449063"/>
              <a:gd name="connsiteY0" fmla="*/ 5118976 h 5118976"/>
              <a:gd name="connsiteX1" fmla="*/ 463314 w 4449063"/>
              <a:gd name="connsiteY1" fmla="*/ 4646536 h 5118976"/>
              <a:gd name="connsiteX2" fmla="*/ 166134 w 4449063"/>
              <a:gd name="connsiteY2" fmla="*/ 2718676 h 5118976"/>
              <a:gd name="connsiteX3" fmla="*/ 1880634 w 4449063"/>
              <a:gd name="connsiteY3" fmla="*/ 5956 h 5118976"/>
              <a:gd name="connsiteX4" fmla="*/ 3983754 w 4449063"/>
              <a:gd name="connsiteY4" fmla="*/ 1636636 h 5118976"/>
              <a:gd name="connsiteX5" fmla="*/ 4448574 w 4449063"/>
              <a:gd name="connsiteY5" fmla="*/ 2909176 h 5118976"/>
              <a:gd name="connsiteX6" fmla="*/ 4143774 w 4449063"/>
              <a:gd name="connsiteY6" fmla="*/ 3351136 h 5118976"/>
              <a:gd name="connsiteX7" fmla="*/ 4052334 w 4449063"/>
              <a:gd name="connsiteY7" fmla="*/ 3465436 h 5118976"/>
              <a:gd name="connsiteX8" fmla="*/ 4113294 w 4449063"/>
              <a:gd name="connsiteY8" fmla="*/ 3633076 h 5118976"/>
              <a:gd name="connsiteX9" fmla="*/ 3938034 w 4449063"/>
              <a:gd name="connsiteY9" fmla="*/ 3777856 h 5118976"/>
              <a:gd name="connsiteX10" fmla="*/ 3953274 w 4449063"/>
              <a:gd name="connsiteY10" fmla="*/ 4303636 h 5118976"/>
              <a:gd name="connsiteX11" fmla="*/ 2955054 w 4449063"/>
              <a:gd name="connsiteY11" fmla="*/ 4486516 h 5118976"/>
              <a:gd name="connsiteX12" fmla="*/ 2589294 w 4449063"/>
              <a:gd name="connsiteY12" fmla="*/ 5118976 h 5118976"/>
              <a:gd name="connsiteX0" fmla="*/ 2589294 w 4449063"/>
              <a:gd name="connsiteY0" fmla="*/ 5118976 h 5118976"/>
              <a:gd name="connsiteX1" fmla="*/ 463314 w 4449063"/>
              <a:gd name="connsiteY1" fmla="*/ 4646536 h 5118976"/>
              <a:gd name="connsiteX2" fmla="*/ 166134 w 4449063"/>
              <a:gd name="connsiteY2" fmla="*/ 2718676 h 5118976"/>
              <a:gd name="connsiteX3" fmla="*/ 1880634 w 4449063"/>
              <a:gd name="connsiteY3" fmla="*/ 5956 h 5118976"/>
              <a:gd name="connsiteX4" fmla="*/ 3983754 w 4449063"/>
              <a:gd name="connsiteY4" fmla="*/ 1636636 h 5118976"/>
              <a:gd name="connsiteX5" fmla="*/ 4448574 w 4449063"/>
              <a:gd name="connsiteY5" fmla="*/ 2909176 h 5118976"/>
              <a:gd name="connsiteX6" fmla="*/ 4143774 w 4449063"/>
              <a:gd name="connsiteY6" fmla="*/ 3351136 h 5118976"/>
              <a:gd name="connsiteX7" fmla="*/ 4052334 w 4449063"/>
              <a:gd name="connsiteY7" fmla="*/ 3465436 h 5118976"/>
              <a:gd name="connsiteX8" fmla="*/ 4113294 w 4449063"/>
              <a:gd name="connsiteY8" fmla="*/ 3633076 h 5118976"/>
              <a:gd name="connsiteX9" fmla="*/ 3938034 w 4449063"/>
              <a:gd name="connsiteY9" fmla="*/ 3777856 h 5118976"/>
              <a:gd name="connsiteX10" fmla="*/ 3953274 w 4449063"/>
              <a:gd name="connsiteY10" fmla="*/ 4303636 h 5118976"/>
              <a:gd name="connsiteX11" fmla="*/ 2955054 w 4449063"/>
              <a:gd name="connsiteY11" fmla="*/ 4486516 h 5118976"/>
              <a:gd name="connsiteX12" fmla="*/ 2589294 w 4449063"/>
              <a:gd name="connsiteY12" fmla="*/ 5118976 h 5118976"/>
              <a:gd name="connsiteX0" fmla="*/ 2589294 w 4449063"/>
              <a:gd name="connsiteY0" fmla="*/ 5118976 h 5118976"/>
              <a:gd name="connsiteX1" fmla="*/ 463314 w 4449063"/>
              <a:gd name="connsiteY1" fmla="*/ 4646536 h 5118976"/>
              <a:gd name="connsiteX2" fmla="*/ 166134 w 4449063"/>
              <a:gd name="connsiteY2" fmla="*/ 2718676 h 5118976"/>
              <a:gd name="connsiteX3" fmla="*/ 1880634 w 4449063"/>
              <a:gd name="connsiteY3" fmla="*/ 5956 h 5118976"/>
              <a:gd name="connsiteX4" fmla="*/ 3983754 w 4449063"/>
              <a:gd name="connsiteY4" fmla="*/ 1636636 h 5118976"/>
              <a:gd name="connsiteX5" fmla="*/ 4448574 w 4449063"/>
              <a:gd name="connsiteY5" fmla="*/ 2909176 h 5118976"/>
              <a:gd name="connsiteX6" fmla="*/ 4143774 w 4449063"/>
              <a:gd name="connsiteY6" fmla="*/ 3351136 h 5118976"/>
              <a:gd name="connsiteX7" fmla="*/ 4052334 w 4449063"/>
              <a:gd name="connsiteY7" fmla="*/ 3465436 h 5118976"/>
              <a:gd name="connsiteX8" fmla="*/ 4113294 w 4449063"/>
              <a:gd name="connsiteY8" fmla="*/ 3633076 h 5118976"/>
              <a:gd name="connsiteX9" fmla="*/ 3938034 w 4449063"/>
              <a:gd name="connsiteY9" fmla="*/ 3777856 h 5118976"/>
              <a:gd name="connsiteX10" fmla="*/ 3953274 w 4449063"/>
              <a:gd name="connsiteY10" fmla="*/ 4303636 h 5118976"/>
              <a:gd name="connsiteX11" fmla="*/ 2955054 w 4449063"/>
              <a:gd name="connsiteY11" fmla="*/ 4486516 h 5118976"/>
              <a:gd name="connsiteX12" fmla="*/ 2589294 w 4449063"/>
              <a:gd name="connsiteY12" fmla="*/ 5118976 h 5118976"/>
              <a:gd name="connsiteX0" fmla="*/ 2589294 w 4449063"/>
              <a:gd name="connsiteY0" fmla="*/ 5118976 h 5118976"/>
              <a:gd name="connsiteX1" fmla="*/ 463314 w 4449063"/>
              <a:gd name="connsiteY1" fmla="*/ 4646536 h 5118976"/>
              <a:gd name="connsiteX2" fmla="*/ 166134 w 4449063"/>
              <a:gd name="connsiteY2" fmla="*/ 2718676 h 5118976"/>
              <a:gd name="connsiteX3" fmla="*/ 1880634 w 4449063"/>
              <a:gd name="connsiteY3" fmla="*/ 5956 h 5118976"/>
              <a:gd name="connsiteX4" fmla="*/ 3983754 w 4449063"/>
              <a:gd name="connsiteY4" fmla="*/ 1636636 h 5118976"/>
              <a:gd name="connsiteX5" fmla="*/ 4448574 w 4449063"/>
              <a:gd name="connsiteY5" fmla="*/ 2909176 h 5118976"/>
              <a:gd name="connsiteX6" fmla="*/ 4143774 w 4449063"/>
              <a:gd name="connsiteY6" fmla="*/ 3351136 h 5118976"/>
              <a:gd name="connsiteX7" fmla="*/ 4052334 w 4449063"/>
              <a:gd name="connsiteY7" fmla="*/ 3465436 h 5118976"/>
              <a:gd name="connsiteX8" fmla="*/ 4113294 w 4449063"/>
              <a:gd name="connsiteY8" fmla="*/ 3633076 h 5118976"/>
              <a:gd name="connsiteX9" fmla="*/ 3938034 w 4449063"/>
              <a:gd name="connsiteY9" fmla="*/ 3777856 h 5118976"/>
              <a:gd name="connsiteX10" fmla="*/ 3953274 w 4449063"/>
              <a:gd name="connsiteY10" fmla="*/ 4303636 h 5118976"/>
              <a:gd name="connsiteX11" fmla="*/ 2955054 w 4449063"/>
              <a:gd name="connsiteY11" fmla="*/ 4486516 h 5118976"/>
              <a:gd name="connsiteX12" fmla="*/ 2589294 w 4449063"/>
              <a:gd name="connsiteY12" fmla="*/ 5118976 h 5118976"/>
              <a:gd name="connsiteX0" fmla="*/ 2589294 w 4449063"/>
              <a:gd name="connsiteY0" fmla="*/ 5118976 h 5118976"/>
              <a:gd name="connsiteX1" fmla="*/ 463314 w 4449063"/>
              <a:gd name="connsiteY1" fmla="*/ 4646536 h 5118976"/>
              <a:gd name="connsiteX2" fmla="*/ 166134 w 4449063"/>
              <a:gd name="connsiteY2" fmla="*/ 2718676 h 5118976"/>
              <a:gd name="connsiteX3" fmla="*/ 1880634 w 4449063"/>
              <a:gd name="connsiteY3" fmla="*/ 5956 h 5118976"/>
              <a:gd name="connsiteX4" fmla="*/ 3983754 w 4449063"/>
              <a:gd name="connsiteY4" fmla="*/ 1636636 h 5118976"/>
              <a:gd name="connsiteX5" fmla="*/ 4448574 w 4449063"/>
              <a:gd name="connsiteY5" fmla="*/ 2909176 h 5118976"/>
              <a:gd name="connsiteX6" fmla="*/ 4143774 w 4449063"/>
              <a:gd name="connsiteY6" fmla="*/ 3351136 h 5118976"/>
              <a:gd name="connsiteX7" fmla="*/ 4052334 w 4449063"/>
              <a:gd name="connsiteY7" fmla="*/ 3465436 h 5118976"/>
              <a:gd name="connsiteX8" fmla="*/ 4113294 w 4449063"/>
              <a:gd name="connsiteY8" fmla="*/ 3633076 h 5118976"/>
              <a:gd name="connsiteX9" fmla="*/ 3938034 w 4449063"/>
              <a:gd name="connsiteY9" fmla="*/ 3777856 h 5118976"/>
              <a:gd name="connsiteX10" fmla="*/ 3953274 w 4449063"/>
              <a:gd name="connsiteY10" fmla="*/ 4303636 h 5118976"/>
              <a:gd name="connsiteX11" fmla="*/ 2955054 w 4449063"/>
              <a:gd name="connsiteY11" fmla="*/ 4486516 h 5118976"/>
              <a:gd name="connsiteX12" fmla="*/ 2589294 w 4449063"/>
              <a:gd name="connsiteY12" fmla="*/ 5118976 h 5118976"/>
              <a:gd name="connsiteX0" fmla="*/ 2589294 w 4449063"/>
              <a:gd name="connsiteY0" fmla="*/ 5118976 h 5118976"/>
              <a:gd name="connsiteX1" fmla="*/ 463314 w 4449063"/>
              <a:gd name="connsiteY1" fmla="*/ 4646536 h 5118976"/>
              <a:gd name="connsiteX2" fmla="*/ 166134 w 4449063"/>
              <a:gd name="connsiteY2" fmla="*/ 2718676 h 5118976"/>
              <a:gd name="connsiteX3" fmla="*/ 1880634 w 4449063"/>
              <a:gd name="connsiteY3" fmla="*/ 5956 h 5118976"/>
              <a:gd name="connsiteX4" fmla="*/ 3983754 w 4449063"/>
              <a:gd name="connsiteY4" fmla="*/ 1636636 h 5118976"/>
              <a:gd name="connsiteX5" fmla="*/ 4448574 w 4449063"/>
              <a:gd name="connsiteY5" fmla="*/ 2909176 h 5118976"/>
              <a:gd name="connsiteX6" fmla="*/ 4143774 w 4449063"/>
              <a:gd name="connsiteY6" fmla="*/ 3351136 h 5118976"/>
              <a:gd name="connsiteX7" fmla="*/ 4052334 w 4449063"/>
              <a:gd name="connsiteY7" fmla="*/ 3465436 h 5118976"/>
              <a:gd name="connsiteX8" fmla="*/ 4113294 w 4449063"/>
              <a:gd name="connsiteY8" fmla="*/ 3633076 h 5118976"/>
              <a:gd name="connsiteX9" fmla="*/ 3938034 w 4449063"/>
              <a:gd name="connsiteY9" fmla="*/ 3777856 h 5118976"/>
              <a:gd name="connsiteX10" fmla="*/ 3953274 w 4449063"/>
              <a:gd name="connsiteY10" fmla="*/ 4303636 h 5118976"/>
              <a:gd name="connsiteX11" fmla="*/ 2955054 w 4449063"/>
              <a:gd name="connsiteY11" fmla="*/ 4486516 h 5118976"/>
              <a:gd name="connsiteX12" fmla="*/ 2589294 w 4449063"/>
              <a:gd name="connsiteY12" fmla="*/ 5118976 h 5118976"/>
              <a:gd name="connsiteX0" fmla="*/ 2589294 w 4449063"/>
              <a:gd name="connsiteY0" fmla="*/ 5118976 h 5118976"/>
              <a:gd name="connsiteX1" fmla="*/ 463314 w 4449063"/>
              <a:gd name="connsiteY1" fmla="*/ 4646536 h 5118976"/>
              <a:gd name="connsiteX2" fmla="*/ 166134 w 4449063"/>
              <a:gd name="connsiteY2" fmla="*/ 2718676 h 5118976"/>
              <a:gd name="connsiteX3" fmla="*/ 1880634 w 4449063"/>
              <a:gd name="connsiteY3" fmla="*/ 5956 h 5118976"/>
              <a:gd name="connsiteX4" fmla="*/ 3983754 w 4449063"/>
              <a:gd name="connsiteY4" fmla="*/ 1636636 h 5118976"/>
              <a:gd name="connsiteX5" fmla="*/ 4448574 w 4449063"/>
              <a:gd name="connsiteY5" fmla="*/ 2909176 h 5118976"/>
              <a:gd name="connsiteX6" fmla="*/ 4143774 w 4449063"/>
              <a:gd name="connsiteY6" fmla="*/ 3351136 h 5118976"/>
              <a:gd name="connsiteX7" fmla="*/ 4052334 w 4449063"/>
              <a:gd name="connsiteY7" fmla="*/ 3465436 h 5118976"/>
              <a:gd name="connsiteX8" fmla="*/ 4113294 w 4449063"/>
              <a:gd name="connsiteY8" fmla="*/ 3633076 h 5118976"/>
              <a:gd name="connsiteX9" fmla="*/ 3938034 w 4449063"/>
              <a:gd name="connsiteY9" fmla="*/ 3777856 h 5118976"/>
              <a:gd name="connsiteX10" fmla="*/ 3953274 w 4449063"/>
              <a:gd name="connsiteY10" fmla="*/ 4303636 h 5118976"/>
              <a:gd name="connsiteX11" fmla="*/ 2955054 w 4449063"/>
              <a:gd name="connsiteY11" fmla="*/ 4486516 h 5118976"/>
              <a:gd name="connsiteX12" fmla="*/ 2589294 w 4449063"/>
              <a:gd name="connsiteY12" fmla="*/ 5118976 h 5118976"/>
              <a:gd name="connsiteX0" fmla="*/ 2589294 w 4449063"/>
              <a:gd name="connsiteY0" fmla="*/ 5118976 h 5118976"/>
              <a:gd name="connsiteX1" fmla="*/ 463314 w 4449063"/>
              <a:gd name="connsiteY1" fmla="*/ 4646536 h 5118976"/>
              <a:gd name="connsiteX2" fmla="*/ 166134 w 4449063"/>
              <a:gd name="connsiteY2" fmla="*/ 2718676 h 5118976"/>
              <a:gd name="connsiteX3" fmla="*/ 1880634 w 4449063"/>
              <a:gd name="connsiteY3" fmla="*/ 5956 h 5118976"/>
              <a:gd name="connsiteX4" fmla="*/ 3983754 w 4449063"/>
              <a:gd name="connsiteY4" fmla="*/ 1636636 h 5118976"/>
              <a:gd name="connsiteX5" fmla="*/ 4448574 w 4449063"/>
              <a:gd name="connsiteY5" fmla="*/ 2909176 h 5118976"/>
              <a:gd name="connsiteX6" fmla="*/ 4143774 w 4449063"/>
              <a:gd name="connsiteY6" fmla="*/ 3351136 h 5118976"/>
              <a:gd name="connsiteX7" fmla="*/ 4052334 w 4449063"/>
              <a:gd name="connsiteY7" fmla="*/ 3465436 h 5118976"/>
              <a:gd name="connsiteX8" fmla="*/ 4113294 w 4449063"/>
              <a:gd name="connsiteY8" fmla="*/ 3633076 h 5118976"/>
              <a:gd name="connsiteX9" fmla="*/ 3938034 w 4449063"/>
              <a:gd name="connsiteY9" fmla="*/ 3777856 h 5118976"/>
              <a:gd name="connsiteX10" fmla="*/ 3953274 w 4449063"/>
              <a:gd name="connsiteY10" fmla="*/ 4303636 h 5118976"/>
              <a:gd name="connsiteX11" fmla="*/ 2955054 w 4449063"/>
              <a:gd name="connsiteY11" fmla="*/ 4486516 h 5118976"/>
              <a:gd name="connsiteX12" fmla="*/ 2589294 w 4449063"/>
              <a:gd name="connsiteY12" fmla="*/ 5118976 h 5118976"/>
              <a:gd name="connsiteX0" fmla="*/ 2589294 w 4449063"/>
              <a:gd name="connsiteY0" fmla="*/ 5118976 h 5118976"/>
              <a:gd name="connsiteX1" fmla="*/ 463314 w 4449063"/>
              <a:gd name="connsiteY1" fmla="*/ 4646536 h 5118976"/>
              <a:gd name="connsiteX2" fmla="*/ 166134 w 4449063"/>
              <a:gd name="connsiteY2" fmla="*/ 2718676 h 5118976"/>
              <a:gd name="connsiteX3" fmla="*/ 1880634 w 4449063"/>
              <a:gd name="connsiteY3" fmla="*/ 5956 h 5118976"/>
              <a:gd name="connsiteX4" fmla="*/ 3983754 w 4449063"/>
              <a:gd name="connsiteY4" fmla="*/ 1636636 h 5118976"/>
              <a:gd name="connsiteX5" fmla="*/ 4448574 w 4449063"/>
              <a:gd name="connsiteY5" fmla="*/ 2909176 h 5118976"/>
              <a:gd name="connsiteX6" fmla="*/ 4143774 w 4449063"/>
              <a:gd name="connsiteY6" fmla="*/ 3351136 h 5118976"/>
              <a:gd name="connsiteX7" fmla="*/ 4052334 w 4449063"/>
              <a:gd name="connsiteY7" fmla="*/ 3465436 h 5118976"/>
              <a:gd name="connsiteX8" fmla="*/ 4113294 w 4449063"/>
              <a:gd name="connsiteY8" fmla="*/ 3633076 h 5118976"/>
              <a:gd name="connsiteX9" fmla="*/ 3938034 w 4449063"/>
              <a:gd name="connsiteY9" fmla="*/ 3777856 h 5118976"/>
              <a:gd name="connsiteX10" fmla="*/ 3953274 w 4449063"/>
              <a:gd name="connsiteY10" fmla="*/ 4303636 h 5118976"/>
              <a:gd name="connsiteX11" fmla="*/ 2955054 w 4449063"/>
              <a:gd name="connsiteY11" fmla="*/ 4486516 h 5118976"/>
              <a:gd name="connsiteX12" fmla="*/ 2589294 w 4449063"/>
              <a:gd name="connsiteY12" fmla="*/ 5118976 h 5118976"/>
              <a:gd name="connsiteX0" fmla="*/ 2579246 w 4439015"/>
              <a:gd name="connsiteY0" fmla="*/ 5118976 h 5118976"/>
              <a:gd name="connsiteX1" fmla="*/ 453266 w 4439015"/>
              <a:gd name="connsiteY1" fmla="*/ 4646536 h 5118976"/>
              <a:gd name="connsiteX2" fmla="*/ 156086 w 4439015"/>
              <a:gd name="connsiteY2" fmla="*/ 2718676 h 5118976"/>
              <a:gd name="connsiteX3" fmla="*/ 1870586 w 4439015"/>
              <a:gd name="connsiteY3" fmla="*/ 5956 h 5118976"/>
              <a:gd name="connsiteX4" fmla="*/ 3973706 w 4439015"/>
              <a:gd name="connsiteY4" fmla="*/ 1636636 h 5118976"/>
              <a:gd name="connsiteX5" fmla="*/ 4438526 w 4439015"/>
              <a:gd name="connsiteY5" fmla="*/ 2909176 h 5118976"/>
              <a:gd name="connsiteX6" fmla="*/ 4133726 w 4439015"/>
              <a:gd name="connsiteY6" fmla="*/ 3351136 h 5118976"/>
              <a:gd name="connsiteX7" fmla="*/ 4042286 w 4439015"/>
              <a:gd name="connsiteY7" fmla="*/ 3465436 h 5118976"/>
              <a:gd name="connsiteX8" fmla="*/ 4103246 w 4439015"/>
              <a:gd name="connsiteY8" fmla="*/ 3633076 h 5118976"/>
              <a:gd name="connsiteX9" fmla="*/ 3927986 w 4439015"/>
              <a:gd name="connsiteY9" fmla="*/ 3777856 h 5118976"/>
              <a:gd name="connsiteX10" fmla="*/ 3943226 w 4439015"/>
              <a:gd name="connsiteY10" fmla="*/ 4303636 h 5118976"/>
              <a:gd name="connsiteX11" fmla="*/ 2945006 w 4439015"/>
              <a:gd name="connsiteY11" fmla="*/ 4486516 h 5118976"/>
              <a:gd name="connsiteX12" fmla="*/ 2579246 w 4439015"/>
              <a:gd name="connsiteY12" fmla="*/ 5118976 h 5118976"/>
              <a:gd name="connsiteX0" fmla="*/ 2579246 w 4439015"/>
              <a:gd name="connsiteY0" fmla="*/ 5118976 h 5118976"/>
              <a:gd name="connsiteX1" fmla="*/ 453266 w 4439015"/>
              <a:gd name="connsiteY1" fmla="*/ 4646536 h 5118976"/>
              <a:gd name="connsiteX2" fmla="*/ 156086 w 4439015"/>
              <a:gd name="connsiteY2" fmla="*/ 2718676 h 5118976"/>
              <a:gd name="connsiteX3" fmla="*/ 1870586 w 4439015"/>
              <a:gd name="connsiteY3" fmla="*/ 5956 h 5118976"/>
              <a:gd name="connsiteX4" fmla="*/ 3973706 w 4439015"/>
              <a:gd name="connsiteY4" fmla="*/ 1636636 h 5118976"/>
              <a:gd name="connsiteX5" fmla="*/ 4438526 w 4439015"/>
              <a:gd name="connsiteY5" fmla="*/ 2909176 h 5118976"/>
              <a:gd name="connsiteX6" fmla="*/ 4133726 w 4439015"/>
              <a:gd name="connsiteY6" fmla="*/ 3351136 h 5118976"/>
              <a:gd name="connsiteX7" fmla="*/ 4042286 w 4439015"/>
              <a:gd name="connsiteY7" fmla="*/ 3465436 h 5118976"/>
              <a:gd name="connsiteX8" fmla="*/ 4103246 w 4439015"/>
              <a:gd name="connsiteY8" fmla="*/ 3633076 h 5118976"/>
              <a:gd name="connsiteX9" fmla="*/ 3927986 w 4439015"/>
              <a:gd name="connsiteY9" fmla="*/ 3777856 h 5118976"/>
              <a:gd name="connsiteX10" fmla="*/ 3943226 w 4439015"/>
              <a:gd name="connsiteY10" fmla="*/ 4303636 h 5118976"/>
              <a:gd name="connsiteX11" fmla="*/ 2945006 w 4439015"/>
              <a:gd name="connsiteY11" fmla="*/ 4486516 h 5118976"/>
              <a:gd name="connsiteX12" fmla="*/ 2579246 w 4439015"/>
              <a:gd name="connsiteY12" fmla="*/ 5118976 h 5118976"/>
              <a:gd name="connsiteX0" fmla="*/ 2579246 w 4439015"/>
              <a:gd name="connsiteY0" fmla="*/ 5118976 h 5118976"/>
              <a:gd name="connsiteX1" fmla="*/ 453266 w 4439015"/>
              <a:gd name="connsiteY1" fmla="*/ 4646536 h 5118976"/>
              <a:gd name="connsiteX2" fmla="*/ 156086 w 4439015"/>
              <a:gd name="connsiteY2" fmla="*/ 2718676 h 5118976"/>
              <a:gd name="connsiteX3" fmla="*/ 1870586 w 4439015"/>
              <a:gd name="connsiteY3" fmla="*/ 5956 h 5118976"/>
              <a:gd name="connsiteX4" fmla="*/ 3973706 w 4439015"/>
              <a:gd name="connsiteY4" fmla="*/ 1636636 h 5118976"/>
              <a:gd name="connsiteX5" fmla="*/ 4438526 w 4439015"/>
              <a:gd name="connsiteY5" fmla="*/ 2909176 h 5118976"/>
              <a:gd name="connsiteX6" fmla="*/ 4133726 w 4439015"/>
              <a:gd name="connsiteY6" fmla="*/ 3351136 h 5118976"/>
              <a:gd name="connsiteX7" fmla="*/ 4042286 w 4439015"/>
              <a:gd name="connsiteY7" fmla="*/ 3465436 h 5118976"/>
              <a:gd name="connsiteX8" fmla="*/ 4103246 w 4439015"/>
              <a:gd name="connsiteY8" fmla="*/ 3633076 h 5118976"/>
              <a:gd name="connsiteX9" fmla="*/ 3927986 w 4439015"/>
              <a:gd name="connsiteY9" fmla="*/ 3777856 h 5118976"/>
              <a:gd name="connsiteX10" fmla="*/ 3943226 w 4439015"/>
              <a:gd name="connsiteY10" fmla="*/ 4303636 h 5118976"/>
              <a:gd name="connsiteX11" fmla="*/ 2945006 w 4439015"/>
              <a:gd name="connsiteY11" fmla="*/ 4486516 h 5118976"/>
              <a:gd name="connsiteX12" fmla="*/ 2579246 w 4439015"/>
              <a:gd name="connsiteY12" fmla="*/ 5118976 h 51189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439015" h="5118976">
                <a:moveTo>
                  <a:pt x="2579246" y="5118976"/>
                </a:moveTo>
                <a:lnTo>
                  <a:pt x="453266" y="4646536"/>
                </a:lnTo>
                <a:cubicBezTo>
                  <a:pt x="1032386" y="3584816"/>
                  <a:pt x="521846" y="3673716"/>
                  <a:pt x="156086" y="2718676"/>
                </a:cubicBezTo>
                <a:cubicBezTo>
                  <a:pt x="-143634" y="2025256"/>
                  <a:pt x="-214754" y="120256"/>
                  <a:pt x="1870586" y="5956"/>
                </a:cubicBezTo>
                <a:cubicBezTo>
                  <a:pt x="3524126" y="-98184"/>
                  <a:pt x="3844166" y="1192136"/>
                  <a:pt x="3973706" y="1636636"/>
                </a:cubicBezTo>
                <a:cubicBezTo>
                  <a:pt x="3839086" y="2487536"/>
                  <a:pt x="4458846" y="2576436"/>
                  <a:pt x="4438526" y="2909176"/>
                </a:cubicBezTo>
                <a:cubicBezTo>
                  <a:pt x="4428366" y="3094596"/>
                  <a:pt x="3846706" y="2906636"/>
                  <a:pt x="4133726" y="3351136"/>
                </a:cubicBezTo>
                <a:lnTo>
                  <a:pt x="4042286" y="3465436"/>
                </a:lnTo>
                <a:lnTo>
                  <a:pt x="4103246" y="3633076"/>
                </a:lnTo>
                <a:lnTo>
                  <a:pt x="3927986" y="3777856"/>
                </a:lnTo>
                <a:cubicBezTo>
                  <a:pt x="3971166" y="3983596"/>
                  <a:pt x="4037206" y="4158856"/>
                  <a:pt x="3943226" y="4303636"/>
                </a:cubicBezTo>
                <a:cubicBezTo>
                  <a:pt x="3778126" y="4524616"/>
                  <a:pt x="3148206" y="4349356"/>
                  <a:pt x="2945006" y="4486516"/>
                </a:cubicBezTo>
                <a:cubicBezTo>
                  <a:pt x="2708786" y="4659236"/>
                  <a:pt x="2640206" y="4877676"/>
                  <a:pt x="2579246" y="5118976"/>
                </a:cubicBezTo>
                <a:close/>
              </a:path>
            </a:pathLst>
          </a:cu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1" dirty="0">
              <a:solidFill>
                <a:srgbClr val="000000"/>
              </a:solidFill>
            </a:endParaRPr>
          </a:p>
        </p:txBody>
      </p:sp>
      <p:sp>
        <p:nvSpPr>
          <p:cNvPr id="56" name="Freeform 1710"/>
          <p:cNvSpPr>
            <a:spLocks noEditPoints="1"/>
          </p:cNvSpPr>
          <p:nvPr/>
        </p:nvSpPr>
        <p:spPr bwMode="auto">
          <a:xfrm rot="9332290">
            <a:off x="3245308" y="746919"/>
            <a:ext cx="174446" cy="195639"/>
          </a:xfrm>
          <a:custGeom>
            <a:avLst/>
            <a:gdLst>
              <a:gd name="T0" fmla="*/ 9985 w 18909"/>
              <a:gd name="T1" fmla="*/ 19461 h 21155"/>
              <a:gd name="T2" fmla="*/ 7909 w 18909"/>
              <a:gd name="T3" fmla="*/ 19006 h 21155"/>
              <a:gd name="T4" fmla="*/ 7098 w 18909"/>
              <a:gd name="T5" fmla="*/ 16793 h 21155"/>
              <a:gd name="T6" fmla="*/ 6877 w 18909"/>
              <a:gd name="T7" fmla="*/ 15421 h 21155"/>
              <a:gd name="T8" fmla="*/ 7495 w 18909"/>
              <a:gd name="T9" fmla="*/ 12052 h 21155"/>
              <a:gd name="T10" fmla="*/ 9312 w 18909"/>
              <a:gd name="T11" fmla="*/ 10235 h 21155"/>
              <a:gd name="T12" fmla="*/ 11572 w 18909"/>
              <a:gd name="T13" fmla="*/ 10445 h 21155"/>
              <a:gd name="T14" fmla="*/ 13739 w 18909"/>
              <a:gd name="T15" fmla="*/ 9432 h 21155"/>
              <a:gd name="T16" fmla="*/ 15184 w 18909"/>
              <a:gd name="T17" fmla="*/ 11009 h 21155"/>
              <a:gd name="T18" fmla="*/ 16958 w 18909"/>
              <a:gd name="T19" fmla="*/ 11708 h 21155"/>
              <a:gd name="T20" fmla="*/ 18226 w 18909"/>
              <a:gd name="T21" fmla="*/ 13758 h 21155"/>
              <a:gd name="T22" fmla="*/ 17298 w 18909"/>
              <a:gd name="T23" fmla="*/ 16355 h 21155"/>
              <a:gd name="T24" fmla="*/ 17062 w 18909"/>
              <a:gd name="T25" fmla="*/ 18373 h 21155"/>
              <a:gd name="T26" fmla="*/ 15671 w 18909"/>
              <a:gd name="T27" fmla="*/ 20228 h 21155"/>
              <a:gd name="T28" fmla="*/ 13254 w 18909"/>
              <a:gd name="T29" fmla="*/ 20033 h 21155"/>
              <a:gd name="T30" fmla="*/ 11656 w 18909"/>
              <a:gd name="T31" fmla="*/ 21110 h 21155"/>
              <a:gd name="T32" fmla="*/ 14354 w 18909"/>
              <a:gd name="T33" fmla="*/ 13441 h 21155"/>
              <a:gd name="T34" fmla="*/ 10622 w 18909"/>
              <a:gd name="T35" fmla="*/ 17013 h 21155"/>
              <a:gd name="T36" fmla="*/ 4357 w 18909"/>
              <a:gd name="T37" fmla="*/ 11562 h 21155"/>
              <a:gd name="T38" fmla="*/ 2086 w 18909"/>
              <a:gd name="T39" fmla="*/ 11480 h 21155"/>
              <a:gd name="T40" fmla="*/ 445 w 18909"/>
              <a:gd name="T41" fmla="*/ 9670 h 21155"/>
              <a:gd name="T42" fmla="*/ 254 w 18909"/>
              <a:gd name="T43" fmla="*/ 7316 h 21155"/>
              <a:gd name="T44" fmla="*/ 131 w 18909"/>
              <a:gd name="T45" fmla="*/ 6285 h 21155"/>
              <a:gd name="T46" fmla="*/ 1143 w 18909"/>
              <a:gd name="T47" fmla="*/ 4444 h 21155"/>
              <a:gd name="T48" fmla="*/ 2657 w 18909"/>
              <a:gd name="T49" fmla="*/ 4141 h 21155"/>
              <a:gd name="T50" fmla="*/ 4319 w 18909"/>
              <a:gd name="T51" fmla="*/ 2824 h 21155"/>
              <a:gd name="T52" fmla="*/ 6397 w 18909"/>
              <a:gd name="T53" fmla="*/ 3378 h 21155"/>
              <a:gd name="T54" fmla="*/ 7395 w 18909"/>
              <a:gd name="T55" fmla="*/ 4642 h 21155"/>
              <a:gd name="T56" fmla="*/ 9156 w 18909"/>
              <a:gd name="T57" fmla="*/ 5794 h 21155"/>
              <a:gd name="T58" fmla="*/ 8636 w 18909"/>
              <a:gd name="T59" fmla="*/ 7241 h 21155"/>
              <a:gd name="T60" fmla="*/ 9339 w 18909"/>
              <a:gd name="T61" fmla="*/ 8827 h 21155"/>
              <a:gd name="T62" fmla="*/ 8311 w 18909"/>
              <a:gd name="T63" fmla="*/ 10714 h 21155"/>
              <a:gd name="T64" fmla="*/ 6448 w 18909"/>
              <a:gd name="T65" fmla="*/ 11087 h 21155"/>
              <a:gd name="T66" fmla="*/ 5178 w 18909"/>
              <a:gd name="T67" fmla="*/ 12336 h 21155"/>
              <a:gd name="T68" fmla="*/ 7073 w 18909"/>
              <a:gd name="T69" fmla="*/ 6395 h 21155"/>
              <a:gd name="T70" fmla="*/ 2145 w 18909"/>
              <a:gd name="T71" fmla="*/ 7989 h 21155"/>
              <a:gd name="T72" fmla="*/ 13338 w 18909"/>
              <a:gd name="T73" fmla="*/ 8744 h 21155"/>
              <a:gd name="T74" fmla="*/ 11563 w 18909"/>
              <a:gd name="T75" fmla="*/ 8928 h 21155"/>
              <a:gd name="T76" fmla="*/ 10239 w 18909"/>
              <a:gd name="T77" fmla="*/ 7450 h 21155"/>
              <a:gd name="T78" fmla="*/ 9835 w 18909"/>
              <a:gd name="T79" fmla="*/ 6404 h 21155"/>
              <a:gd name="T80" fmla="*/ 9385 w 18909"/>
              <a:gd name="T81" fmla="*/ 3819 h 21155"/>
              <a:gd name="T82" fmla="*/ 10450 w 18909"/>
              <a:gd name="T83" fmla="*/ 2040 h 21155"/>
              <a:gd name="T84" fmla="*/ 11867 w 18909"/>
              <a:gd name="T85" fmla="*/ 1411 h 21155"/>
              <a:gd name="T86" fmla="*/ 13777 w 18909"/>
              <a:gd name="T87" fmla="*/ 48 h 21155"/>
              <a:gd name="T88" fmla="*/ 15911 w 18909"/>
              <a:gd name="T89" fmla="*/ 357 h 21155"/>
              <a:gd name="T90" fmla="*/ 17915 w 18909"/>
              <a:gd name="T91" fmla="*/ 2220 h 21155"/>
              <a:gd name="T92" fmla="*/ 18085 w 18909"/>
              <a:gd name="T93" fmla="*/ 3635 h 21155"/>
              <a:gd name="T94" fmla="*/ 18909 w 18909"/>
              <a:gd name="T95" fmla="*/ 5056 h 21155"/>
              <a:gd name="T96" fmla="*/ 17641 w 18909"/>
              <a:gd name="T97" fmla="*/ 6602 h 21155"/>
              <a:gd name="T98" fmla="*/ 16944 w 18909"/>
              <a:gd name="T99" fmla="*/ 8423 h 21155"/>
              <a:gd name="T100" fmla="*/ 14508 w 18909"/>
              <a:gd name="T101" fmla="*/ 9640 h 21155"/>
              <a:gd name="T102" fmla="*/ 16649 w 18909"/>
              <a:gd name="T103" fmla="*/ 4814 h 21155"/>
              <a:gd name="T104" fmla="*/ 12289 w 18909"/>
              <a:gd name="T105" fmla="*/ 3005 h 21155"/>
              <a:gd name="T106" fmla="*/ 14831 w 18909"/>
              <a:gd name="T107" fmla="*/ 7283 h 21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09" h="21155">
                <a:moveTo>
                  <a:pt x="11656" y="21110"/>
                </a:moveTo>
                <a:cubicBezTo>
                  <a:pt x="11084" y="21022"/>
                  <a:pt x="10965" y="20974"/>
                  <a:pt x="10964" y="20832"/>
                </a:cubicBezTo>
                <a:cubicBezTo>
                  <a:pt x="10963" y="20691"/>
                  <a:pt x="10848" y="20233"/>
                  <a:pt x="10773" y="20074"/>
                </a:cubicBezTo>
                <a:cubicBezTo>
                  <a:pt x="10621" y="19748"/>
                  <a:pt x="10341" y="19531"/>
                  <a:pt x="9985" y="19461"/>
                </a:cubicBezTo>
                <a:cubicBezTo>
                  <a:pt x="9731" y="19411"/>
                  <a:pt x="9499" y="19459"/>
                  <a:pt x="9094" y="19647"/>
                </a:cubicBezTo>
                <a:cubicBezTo>
                  <a:pt x="8912" y="19731"/>
                  <a:pt x="8746" y="19800"/>
                  <a:pt x="8726" y="19800"/>
                </a:cubicBezTo>
                <a:cubicBezTo>
                  <a:pt x="8680" y="19800"/>
                  <a:pt x="8227" y="19379"/>
                  <a:pt x="8047" y="19168"/>
                </a:cubicBezTo>
                <a:lnTo>
                  <a:pt x="7909" y="19006"/>
                </a:lnTo>
                <a:lnTo>
                  <a:pt x="8065" y="18663"/>
                </a:lnTo>
                <a:cubicBezTo>
                  <a:pt x="8252" y="18253"/>
                  <a:pt x="8283" y="18148"/>
                  <a:pt x="8283" y="17921"/>
                </a:cubicBezTo>
                <a:cubicBezTo>
                  <a:pt x="8283" y="17469"/>
                  <a:pt x="7989" y="17068"/>
                  <a:pt x="7529" y="16894"/>
                </a:cubicBezTo>
                <a:cubicBezTo>
                  <a:pt x="7455" y="16866"/>
                  <a:pt x="7261" y="16821"/>
                  <a:pt x="7098" y="16793"/>
                </a:cubicBezTo>
                <a:cubicBezTo>
                  <a:pt x="6935" y="16766"/>
                  <a:pt x="6787" y="16730"/>
                  <a:pt x="6769" y="16713"/>
                </a:cubicBezTo>
                <a:cubicBezTo>
                  <a:pt x="6751" y="16696"/>
                  <a:pt x="6717" y="16593"/>
                  <a:pt x="6693" y="16484"/>
                </a:cubicBezTo>
                <a:cubicBezTo>
                  <a:pt x="6636" y="16229"/>
                  <a:pt x="6557" y="15626"/>
                  <a:pt x="6576" y="15595"/>
                </a:cubicBezTo>
                <a:cubicBezTo>
                  <a:pt x="6584" y="15581"/>
                  <a:pt x="6720" y="15503"/>
                  <a:pt x="6877" y="15421"/>
                </a:cubicBezTo>
                <a:cubicBezTo>
                  <a:pt x="7335" y="15181"/>
                  <a:pt x="7588" y="14913"/>
                  <a:pt x="7679" y="14573"/>
                </a:cubicBezTo>
                <a:cubicBezTo>
                  <a:pt x="7790" y="14154"/>
                  <a:pt x="7660" y="13797"/>
                  <a:pt x="7232" y="13349"/>
                </a:cubicBezTo>
                <a:cubicBezTo>
                  <a:pt x="7096" y="13207"/>
                  <a:pt x="6985" y="13075"/>
                  <a:pt x="6985" y="13056"/>
                </a:cubicBezTo>
                <a:cubicBezTo>
                  <a:pt x="6985" y="12957"/>
                  <a:pt x="7422" y="12097"/>
                  <a:pt x="7495" y="12052"/>
                </a:cubicBezTo>
                <a:cubicBezTo>
                  <a:pt x="7509" y="12043"/>
                  <a:pt x="7658" y="12057"/>
                  <a:pt x="7825" y="12083"/>
                </a:cubicBezTo>
                <a:cubicBezTo>
                  <a:pt x="8399" y="12174"/>
                  <a:pt x="8772" y="12088"/>
                  <a:pt x="9060" y="11800"/>
                </a:cubicBezTo>
                <a:cubicBezTo>
                  <a:pt x="9348" y="11512"/>
                  <a:pt x="9434" y="11139"/>
                  <a:pt x="9343" y="10565"/>
                </a:cubicBezTo>
                <a:cubicBezTo>
                  <a:pt x="9317" y="10398"/>
                  <a:pt x="9303" y="10249"/>
                  <a:pt x="9312" y="10235"/>
                </a:cubicBezTo>
                <a:cubicBezTo>
                  <a:pt x="9358" y="10161"/>
                  <a:pt x="10217" y="9725"/>
                  <a:pt x="10317" y="9725"/>
                </a:cubicBezTo>
                <a:cubicBezTo>
                  <a:pt x="10336" y="9725"/>
                  <a:pt x="10471" y="9840"/>
                  <a:pt x="10616" y="9981"/>
                </a:cubicBezTo>
                <a:cubicBezTo>
                  <a:pt x="10820" y="10178"/>
                  <a:pt x="10930" y="10260"/>
                  <a:pt x="11099" y="10340"/>
                </a:cubicBezTo>
                <a:cubicBezTo>
                  <a:pt x="11301" y="10437"/>
                  <a:pt x="11336" y="10445"/>
                  <a:pt x="11572" y="10445"/>
                </a:cubicBezTo>
                <a:cubicBezTo>
                  <a:pt x="11802" y="10445"/>
                  <a:pt x="11844" y="10436"/>
                  <a:pt x="12013" y="10353"/>
                </a:cubicBezTo>
                <a:cubicBezTo>
                  <a:pt x="12271" y="10226"/>
                  <a:pt x="12489" y="9986"/>
                  <a:pt x="12679" y="9621"/>
                </a:cubicBezTo>
                <a:cubicBezTo>
                  <a:pt x="12761" y="9464"/>
                  <a:pt x="12843" y="9330"/>
                  <a:pt x="12863" y="9322"/>
                </a:cubicBezTo>
                <a:cubicBezTo>
                  <a:pt x="12911" y="9304"/>
                  <a:pt x="13470" y="9374"/>
                  <a:pt x="13739" y="9432"/>
                </a:cubicBezTo>
                <a:cubicBezTo>
                  <a:pt x="13874" y="9461"/>
                  <a:pt x="13968" y="9497"/>
                  <a:pt x="13982" y="9525"/>
                </a:cubicBezTo>
                <a:cubicBezTo>
                  <a:pt x="13995" y="9550"/>
                  <a:pt x="14026" y="9694"/>
                  <a:pt x="14052" y="9846"/>
                </a:cubicBezTo>
                <a:cubicBezTo>
                  <a:pt x="14151" y="10436"/>
                  <a:pt x="14361" y="10760"/>
                  <a:pt x="14762" y="10945"/>
                </a:cubicBezTo>
                <a:cubicBezTo>
                  <a:pt x="14877" y="10998"/>
                  <a:pt x="14950" y="11009"/>
                  <a:pt x="15184" y="11009"/>
                </a:cubicBezTo>
                <a:cubicBezTo>
                  <a:pt x="15492" y="11009"/>
                  <a:pt x="15583" y="10983"/>
                  <a:pt x="16026" y="10763"/>
                </a:cubicBezTo>
                <a:cubicBezTo>
                  <a:pt x="16242" y="10655"/>
                  <a:pt x="16248" y="10654"/>
                  <a:pt x="16322" y="10702"/>
                </a:cubicBezTo>
                <a:cubicBezTo>
                  <a:pt x="16443" y="10780"/>
                  <a:pt x="17060" y="11416"/>
                  <a:pt x="17060" y="11462"/>
                </a:cubicBezTo>
                <a:cubicBezTo>
                  <a:pt x="17060" y="11485"/>
                  <a:pt x="17014" y="11596"/>
                  <a:pt x="16958" y="11708"/>
                </a:cubicBezTo>
                <a:cubicBezTo>
                  <a:pt x="16764" y="12092"/>
                  <a:pt x="16714" y="12258"/>
                  <a:pt x="16711" y="12519"/>
                </a:cubicBezTo>
                <a:cubicBezTo>
                  <a:pt x="16707" y="12806"/>
                  <a:pt x="16760" y="12979"/>
                  <a:pt x="16913" y="13182"/>
                </a:cubicBezTo>
                <a:cubicBezTo>
                  <a:pt x="17117" y="13452"/>
                  <a:pt x="17419" y="13600"/>
                  <a:pt x="17947" y="13689"/>
                </a:cubicBezTo>
                <a:cubicBezTo>
                  <a:pt x="18086" y="13712"/>
                  <a:pt x="18211" y="13743"/>
                  <a:pt x="18226" y="13758"/>
                </a:cubicBezTo>
                <a:cubicBezTo>
                  <a:pt x="18262" y="13794"/>
                  <a:pt x="18347" y="14224"/>
                  <a:pt x="18388" y="14578"/>
                </a:cubicBezTo>
                <a:cubicBezTo>
                  <a:pt x="18417" y="14826"/>
                  <a:pt x="18416" y="14877"/>
                  <a:pt x="18383" y="14897"/>
                </a:cubicBezTo>
                <a:cubicBezTo>
                  <a:pt x="18362" y="14910"/>
                  <a:pt x="18212" y="14993"/>
                  <a:pt x="18049" y="15081"/>
                </a:cubicBezTo>
                <a:cubicBezTo>
                  <a:pt x="17442" y="15412"/>
                  <a:pt x="17190" y="15839"/>
                  <a:pt x="17298" y="16355"/>
                </a:cubicBezTo>
                <a:cubicBezTo>
                  <a:pt x="17357" y="16636"/>
                  <a:pt x="17458" y="16805"/>
                  <a:pt x="17759" y="17123"/>
                </a:cubicBezTo>
                <a:cubicBezTo>
                  <a:pt x="17989" y="17367"/>
                  <a:pt x="18016" y="17407"/>
                  <a:pt x="17994" y="17465"/>
                </a:cubicBezTo>
                <a:cubicBezTo>
                  <a:pt x="17928" y="17639"/>
                  <a:pt x="17781" y="17939"/>
                  <a:pt x="17651" y="18166"/>
                </a:cubicBezTo>
                <a:cubicBezTo>
                  <a:pt x="17487" y="18454"/>
                  <a:pt x="17532" y="18438"/>
                  <a:pt x="17062" y="18373"/>
                </a:cubicBezTo>
                <a:cubicBezTo>
                  <a:pt x="16804" y="18337"/>
                  <a:pt x="16706" y="18335"/>
                  <a:pt x="16555" y="18360"/>
                </a:cubicBezTo>
                <a:cubicBezTo>
                  <a:pt x="16043" y="18448"/>
                  <a:pt x="15693" y="18799"/>
                  <a:pt x="15618" y="19300"/>
                </a:cubicBezTo>
                <a:cubicBezTo>
                  <a:pt x="15599" y="19431"/>
                  <a:pt x="15604" y="19566"/>
                  <a:pt x="15639" y="19832"/>
                </a:cubicBezTo>
                <a:cubicBezTo>
                  <a:pt x="15665" y="20028"/>
                  <a:pt x="15679" y="20206"/>
                  <a:pt x="15671" y="20228"/>
                </a:cubicBezTo>
                <a:cubicBezTo>
                  <a:pt x="15652" y="20277"/>
                  <a:pt x="15205" y="20527"/>
                  <a:pt x="14893" y="20662"/>
                </a:cubicBezTo>
                <a:lnTo>
                  <a:pt x="14659" y="20763"/>
                </a:lnTo>
                <a:lnTo>
                  <a:pt x="14381" y="20499"/>
                </a:lnTo>
                <a:cubicBezTo>
                  <a:pt x="13966" y="20105"/>
                  <a:pt x="13648" y="19973"/>
                  <a:pt x="13254" y="20033"/>
                </a:cubicBezTo>
                <a:cubicBezTo>
                  <a:pt x="12867" y="20092"/>
                  <a:pt x="12596" y="20323"/>
                  <a:pt x="12323" y="20827"/>
                </a:cubicBezTo>
                <a:lnTo>
                  <a:pt x="12146" y="21155"/>
                </a:lnTo>
                <a:lnTo>
                  <a:pt x="12028" y="21152"/>
                </a:lnTo>
                <a:cubicBezTo>
                  <a:pt x="11963" y="21151"/>
                  <a:pt x="11795" y="21132"/>
                  <a:pt x="11656" y="21110"/>
                </a:cubicBezTo>
                <a:close/>
                <a:moveTo>
                  <a:pt x="12982" y="17771"/>
                </a:moveTo>
                <a:cubicBezTo>
                  <a:pt x="14004" y="17559"/>
                  <a:pt x="14743" y="16853"/>
                  <a:pt x="15016" y="15828"/>
                </a:cubicBezTo>
                <a:cubicBezTo>
                  <a:pt x="15078" y="15592"/>
                  <a:pt x="15099" y="15131"/>
                  <a:pt x="15059" y="14870"/>
                </a:cubicBezTo>
                <a:cubicBezTo>
                  <a:pt x="14973" y="14315"/>
                  <a:pt x="14739" y="13841"/>
                  <a:pt x="14354" y="13441"/>
                </a:cubicBezTo>
                <a:cubicBezTo>
                  <a:pt x="13459" y="12510"/>
                  <a:pt x="12074" y="12375"/>
                  <a:pt x="11006" y="13114"/>
                </a:cubicBezTo>
                <a:cubicBezTo>
                  <a:pt x="10546" y="13432"/>
                  <a:pt x="10195" y="13912"/>
                  <a:pt x="10024" y="14456"/>
                </a:cubicBezTo>
                <a:cubicBezTo>
                  <a:pt x="9828" y="15077"/>
                  <a:pt x="9870" y="15733"/>
                  <a:pt x="10143" y="16316"/>
                </a:cubicBezTo>
                <a:cubicBezTo>
                  <a:pt x="10281" y="16610"/>
                  <a:pt x="10386" y="16763"/>
                  <a:pt x="10622" y="17013"/>
                </a:cubicBezTo>
                <a:cubicBezTo>
                  <a:pt x="11230" y="17658"/>
                  <a:pt x="12132" y="17948"/>
                  <a:pt x="12982" y="17771"/>
                </a:cubicBezTo>
                <a:close/>
                <a:moveTo>
                  <a:pt x="4906" y="12317"/>
                </a:moveTo>
                <a:cubicBezTo>
                  <a:pt x="4889" y="12296"/>
                  <a:pt x="4827" y="12184"/>
                  <a:pt x="4769" y="12068"/>
                </a:cubicBezTo>
                <a:cubicBezTo>
                  <a:pt x="4626" y="11783"/>
                  <a:pt x="4553" y="11693"/>
                  <a:pt x="4357" y="11562"/>
                </a:cubicBezTo>
                <a:cubicBezTo>
                  <a:pt x="3958" y="11295"/>
                  <a:pt x="3531" y="11365"/>
                  <a:pt x="3091" y="11768"/>
                </a:cubicBezTo>
                <a:cubicBezTo>
                  <a:pt x="2980" y="11871"/>
                  <a:pt x="2869" y="11955"/>
                  <a:pt x="2845" y="11955"/>
                </a:cubicBezTo>
                <a:cubicBezTo>
                  <a:pt x="2786" y="11955"/>
                  <a:pt x="2206" y="11651"/>
                  <a:pt x="2131" y="11582"/>
                </a:cubicBezTo>
                <a:cubicBezTo>
                  <a:pt x="2099" y="11552"/>
                  <a:pt x="2078" y="11506"/>
                  <a:pt x="2086" y="11480"/>
                </a:cubicBezTo>
                <a:cubicBezTo>
                  <a:pt x="2127" y="11337"/>
                  <a:pt x="2164" y="10941"/>
                  <a:pt x="2148" y="10802"/>
                </a:cubicBezTo>
                <a:cubicBezTo>
                  <a:pt x="2106" y="10438"/>
                  <a:pt x="1856" y="10139"/>
                  <a:pt x="1504" y="10032"/>
                </a:cubicBezTo>
                <a:cubicBezTo>
                  <a:pt x="1334" y="9980"/>
                  <a:pt x="1270" y="9975"/>
                  <a:pt x="1048" y="9993"/>
                </a:cubicBezTo>
                <a:cubicBezTo>
                  <a:pt x="574" y="10031"/>
                  <a:pt x="645" y="10070"/>
                  <a:pt x="445" y="9670"/>
                </a:cubicBezTo>
                <a:cubicBezTo>
                  <a:pt x="347" y="9476"/>
                  <a:pt x="268" y="9294"/>
                  <a:pt x="268" y="9265"/>
                </a:cubicBezTo>
                <a:cubicBezTo>
                  <a:pt x="268" y="9236"/>
                  <a:pt x="363" y="9118"/>
                  <a:pt x="479" y="9001"/>
                </a:cubicBezTo>
                <a:cubicBezTo>
                  <a:pt x="761" y="8720"/>
                  <a:pt x="867" y="8504"/>
                  <a:pt x="867" y="8214"/>
                </a:cubicBezTo>
                <a:cubicBezTo>
                  <a:pt x="867" y="7836"/>
                  <a:pt x="690" y="7576"/>
                  <a:pt x="254" y="7316"/>
                </a:cubicBezTo>
                <a:lnTo>
                  <a:pt x="0" y="7165"/>
                </a:lnTo>
                <a:lnTo>
                  <a:pt x="7" y="6985"/>
                </a:lnTo>
                <a:cubicBezTo>
                  <a:pt x="11" y="6885"/>
                  <a:pt x="40" y="6687"/>
                  <a:pt x="72" y="6544"/>
                </a:cubicBezTo>
                <a:lnTo>
                  <a:pt x="131" y="6285"/>
                </a:lnTo>
                <a:lnTo>
                  <a:pt x="263" y="6267"/>
                </a:lnTo>
                <a:cubicBezTo>
                  <a:pt x="732" y="6206"/>
                  <a:pt x="980" y="6106"/>
                  <a:pt x="1167" y="5902"/>
                </a:cubicBezTo>
                <a:cubicBezTo>
                  <a:pt x="1457" y="5588"/>
                  <a:pt x="1484" y="5236"/>
                  <a:pt x="1257" y="4726"/>
                </a:cubicBezTo>
                <a:cubicBezTo>
                  <a:pt x="1194" y="4585"/>
                  <a:pt x="1143" y="4457"/>
                  <a:pt x="1143" y="4444"/>
                </a:cubicBezTo>
                <a:cubicBezTo>
                  <a:pt x="1143" y="4403"/>
                  <a:pt x="1343" y="4194"/>
                  <a:pt x="1564" y="4005"/>
                </a:cubicBezTo>
                <a:lnTo>
                  <a:pt x="1773" y="3827"/>
                </a:lnTo>
                <a:lnTo>
                  <a:pt x="2001" y="3947"/>
                </a:lnTo>
                <a:cubicBezTo>
                  <a:pt x="2289" y="4100"/>
                  <a:pt x="2427" y="4141"/>
                  <a:pt x="2657" y="4141"/>
                </a:cubicBezTo>
                <a:cubicBezTo>
                  <a:pt x="2905" y="4141"/>
                  <a:pt x="3089" y="4074"/>
                  <a:pt x="3257" y="3922"/>
                </a:cubicBezTo>
                <a:cubicBezTo>
                  <a:pt x="3436" y="3762"/>
                  <a:pt x="3530" y="3569"/>
                  <a:pt x="3602" y="3217"/>
                </a:cubicBezTo>
                <a:cubicBezTo>
                  <a:pt x="3633" y="3064"/>
                  <a:pt x="3664" y="2933"/>
                  <a:pt x="3670" y="2927"/>
                </a:cubicBezTo>
                <a:cubicBezTo>
                  <a:pt x="3690" y="2907"/>
                  <a:pt x="4086" y="2844"/>
                  <a:pt x="4319" y="2824"/>
                </a:cubicBezTo>
                <a:lnTo>
                  <a:pt x="4544" y="2805"/>
                </a:lnTo>
                <a:lnTo>
                  <a:pt x="4671" y="3064"/>
                </a:lnTo>
                <a:cubicBezTo>
                  <a:pt x="4935" y="3605"/>
                  <a:pt x="5356" y="3849"/>
                  <a:pt x="5814" y="3727"/>
                </a:cubicBezTo>
                <a:cubicBezTo>
                  <a:pt x="6033" y="3669"/>
                  <a:pt x="6166" y="3590"/>
                  <a:pt x="6397" y="3378"/>
                </a:cubicBezTo>
                <a:cubicBezTo>
                  <a:pt x="6500" y="3283"/>
                  <a:pt x="6602" y="3206"/>
                  <a:pt x="6624" y="3206"/>
                </a:cubicBezTo>
                <a:cubicBezTo>
                  <a:pt x="6686" y="3206"/>
                  <a:pt x="7335" y="3550"/>
                  <a:pt x="7365" y="3600"/>
                </a:cubicBezTo>
                <a:cubicBezTo>
                  <a:pt x="7373" y="3611"/>
                  <a:pt x="7359" y="3740"/>
                  <a:pt x="7335" y="3886"/>
                </a:cubicBezTo>
                <a:cubicBezTo>
                  <a:pt x="7280" y="4218"/>
                  <a:pt x="7296" y="4421"/>
                  <a:pt x="7395" y="4642"/>
                </a:cubicBezTo>
                <a:cubicBezTo>
                  <a:pt x="7486" y="4844"/>
                  <a:pt x="7634" y="4989"/>
                  <a:pt x="7849" y="5088"/>
                </a:cubicBezTo>
                <a:cubicBezTo>
                  <a:pt x="8041" y="5175"/>
                  <a:pt x="8230" y="5194"/>
                  <a:pt x="8551" y="5158"/>
                </a:cubicBezTo>
                <a:cubicBezTo>
                  <a:pt x="8742" y="5136"/>
                  <a:pt x="8814" y="5137"/>
                  <a:pt x="8838" y="5162"/>
                </a:cubicBezTo>
                <a:cubicBezTo>
                  <a:pt x="8887" y="5211"/>
                  <a:pt x="9110" y="5656"/>
                  <a:pt x="9156" y="5794"/>
                </a:cubicBezTo>
                <a:lnTo>
                  <a:pt x="9195" y="5914"/>
                </a:lnTo>
                <a:lnTo>
                  <a:pt x="8984" y="6135"/>
                </a:lnTo>
                <a:cubicBezTo>
                  <a:pt x="8713" y="6418"/>
                  <a:pt x="8612" y="6617"/>
                  <a:pt x="8598" y="6894"/>
                </a:cubicBezTo>
                <a:cubicBezTo>
                  <a:pt x="8591" y="7033"/>
                  <a:pt x="8603" y="7141"/>
                  <a:pt x="8636" y="7241"/>
                </a:cubicBezTo>
                <a:cubicBezTo>
                  <a:pt x="8705" y="7449"/>
                  <a:pt x="8937" y="7688"/>
                  <a:pt x="9231" y="7855"/>
                </a:cubicBezTo>
                <a:lnTo>
                  <a:pt x="9468" y="7989"/>
                </a:lnTo>
                <a:lnTo>
                  <a:pt x="9468" y="8124"/>
                </a:lnTo>
                <a:cubicBezTo>
                  <a:pt x="9469" y="8236"/>
                  <a:pt x="9392" y="8654"/>
                  <a:pt x="9339" y="8827"/>
                </a:cubicBezTo>
                <a:cubicBezTo>
                  <a:pt x="9329" y="8861"/>
                  <a:pt x="9279" y="8880"/>
                  <a:pt x="9164" y="8893"/>
                </a:cubicBezTo>
                <a:cubicBezTo>
                  <a:pt x="8747" y="8941"/>
                  <a:pt x="8462" y="9062"/>
                  <a:pt x="8281" y="9268"/>
                </a:cubicBezTo>
                <a:cubicBezTo>
                  <a:pt x="8018" y="9568"/>
                  <a:pt x="7989" y="9939"/>
                  <a:pt x="8194" y="10399"/>
                </a:cubicBezTo>
                <a:cubicBezTo>
                  <a:pt x="8258" y="10544"/>
                  <a:pt x="8311" y="10686"/>
                  <a:pt x="8311" y="10714"/>
                </a:cubicBezTo>
                <a:cubicBezTo>
                  <a:pt x="8311" y="10779"/>
                  <a:pt x="7754" y="11305"/>
                  <a:pt x="7686" y="11305"/>
                </a:cubicBezTo>
                <a:cubicBezTo>
                  <a:pt x="7657" y="11305"/>
                  <a:pt x="7517" y="11245"/>
                  <a:pt x="7373" y="11171"/>
                </a:cubicBezTo>
                <a:cubicBezTo>
                  <a:pt x="7127" y="11045"/>
                  <a:pt x="7097" y="11037"/>
                  <a:pt x="6857" y="11028"/>
                </a:cubicBezTo>
                <a:cubicBezTo>
                  <a:pt x="6635" y="11019"/>
                  <a:pt x="6583" y="11027"/>
                  <a:pt x="6448" y="11087"/>
                </a:cubicBezTo>
                <a:cubicBezTo>
                  <a:pt x="6163" y="11215"/>
                  <a:pt x="5977" y="11460"/>
                  <a:pt x="5897" y="11813"/>
                </a:cubicBezTo>
                <a:cubicBezTo>
                  <a:pt x="5799" y="12246"/>
                  <a:pt x="5803" y="12235"/>
                  <a:pt x="5721" y="12252"/>
                </a:cubicBezTo>
                <a:cubicBezTo>
                  <a:pt x="5679" y="12261"/>
                  <a:pt x="5594" y="12279"/>
                  <a:pt x="5532" y="12293"/>
                </a:cubicBezTo>
                <a:cubicBezTo>
                  <a:pt x="5469" y="12306"/>
                  <a:pt x="5310" y="12326"/>
                  <a:pt x="5178" y="12336"/>
                </a:cubicBezTo>
                <a:cubicBezTo>
                  <a:pt x="4991" y="12351"/>
                  <a:pt x="4929" y="12347"/>
                  <a:pt x="4906" y="12317"/>
                </a:cubicBezTo>
                <a:close/>
                <a:moveTo>
                  <a:pt x="5296" y="10121"/>
                </a:moveTo>
                <a:cubicBezTo>
                  <a:pt x="5788" y="10013"/>
                  <a:pt x="6202" y="9781"/>
                  <a:pt x="6579" y="9404"/>
                </a:cubicBezTo>
                <a:cubicBezTo>
                  <a:pt x="7386" y="8597"/>
                  <a:pt x="7576" y="7438"/>
                  <a:pt x="7073" y="6395"/>
                </a:cubicBezTo>
                <a:cubicBezTo>
                  <a:pt x="6783" y="5792"/>
                  <a:pt x="6125" y="5239"/>
                  <a:pt x="5476" y="5053"/>
                </a:cubicBezTo>
                <a:cubicBezTo>
                  <a:pt x="5027" y="4924"/>
                  <a:pt x="4487" y="4919"/>
                  <a:pt x="4034" y="5041"/>
                </a:cubicBezTo>
                <a:cubicBezTo>
                  <a:pt x="3227" y="5257"/>
                  <a:pt x="2501" y="5945"/>
                  <a:pt x="2246" y="6735"/>
                </a:cubicBezTo>
                <a:cubicBezTo>
                  <a:pt x="2106" y="7167"/>
                  <a:pt x="2072" y="7600"/>
                  <a:pt x="2145" y="7989"/>
                </a:cubicBezTo>
                <a:cubicBezTo>
                  <a:pt x="2312" y="8869"/>
                  <a:pt x="2804" y="9526"/>
                  <a:pt x="3584" y="9911"/>
                </a:cubicBezTo>
                <a:cubicBezTo>
                  <a:pt x="4100" y="10166"/>
                  <a:pt x="4738" y="10245"/>
                  <a:pt x="5296" y="10121"/>
                </a:cubicBezTo>
                <a:close/>
                <a:moveTo>
                  <a:pt x="14278" y="9383"/>
                </a:moveTo>
                <a:cubicBezTo>
                  <a:pt x="14025" y="8915"/>
                  <a:pt x="13732" y="8715"/>
                  <a:pt x="13338" y="8744"/>
                </a:cubicBezTo>
                <a:cubicBezTo>
                  <a:pt x="13084" y="8762"/>
                  <a:pt x="12892" y="8865"/>
                  <a:pt x="12621" y="9128"/>
                </a:cubicBezTo>
                <a:lnTo>
                  <a:pt x="12401" y="9342"/>
                </a:lnTo>
                <a:lnTo>
                  <a:pt x="12254" y="9291"/>
                </a:lnTo>
                <a:cubicBezTo>
                  <a:pt x="12086" y="9232"/>
                  <a:pt x="11606" y="8980"/>
                  <a:pt x="11563" y="8928"/>
                </a:cubicBezTo>
                <a:cubicBezTo>
                  <a:pt x="11543" y="8903"/>
                  <a:pt x="11546" y="8802"/>
                  <a:pt x="11572" y="8599"/>
                </a:cubicBezTo>
                <a:cubicBezTo>
                  <a:pt x="11644" y="8043"/>
                  <a:pt x="11498" y="7696"/>
                  <a:pt x="11105" y="7492"/>
                </a:cubicBezTo>
                <a:cubicBezTo>
                  <a:pt x="10997" y="7436"/>
                  <a:pt x="10937" y="7426"/>
                  <a:pt x="10696" y="7426"/>
                </a:cubicBezTo>
                <a:cubicBezTo>
                  <a:pt x="10541" y="7426"/>
                  <a:pt x="10335" y="7437"/>
                  <a:pt x="10239" y="7450"/>
                </a:cubicBezTo>
                <a:lnTo>
                  <a:pt x="10065" y="7475"/>
                </a:lnTo>
                <a:lnTo>
                  <a:pt x="9976" y="7337"/>
                </a:lnTo>
                <a:cubicBezTo>
                  <a:pt x="9873" y="7176"/>
                  <a:pt x="9638" y="6697"/>
                  <a:pt x="9638" y="6648"/>
                </a:cubicBezTo>
                <a:cubicBezTo>
                  <a:pt x="9638" y="6630"/>
                  <a:pt x="9726" y="6520"/>
                  <a:pt x="9835" y="6404"/>
                </a:cubicBezTo>
                <a:cubicBezTo>
                  <a:pt x="10098" y="6122"/>
                  <a:pt x="10210" y="5895"/>
                  <a:pt x="10212" y="5639"/>
                </a:cubicBezTo>
                <a:cubicBezTo>
                  <a:pt x="10215" y="5266"/>
                  <a:pt x="10004" y="4978"/>
                  <a:pt x="9558" y="4748"/>
                </a:cubicBezTo>
                <a:cubicBezTo>
                  <a:pt x="9419" y="4676"/>
                  <a:pt x="9299" y="4601"/>
                  <a:pt x="9292" y="4582"/>
                </a:cubicBezTo>
                <a:cubicBezTo>
                  <a:pt x="9275" y="4536"/>
                  <a:pt x="9341" y="3994"/>
                  <a:pt x="9385" y="3819"/>
                </a:cubicBezTo>
                <a:cubicBezTo>
                  <a:pt x="9404" y="3744"/>
                  <a:pt x="9440" y="3673"/>
                  <a:pt x="9465" y="3659"/>
                </a:cubicBezTo>
                <a:cubicBezTo>
                  <a:pt x="9490" y="3646"/>
                  <a:pt x="9619" y="3614"/>
                  <a:pt x="9751" y="3587"/>
                </a:cubicBezTo>
                <a:cubicBezTo>
                  <a:pt x="10326" y="3473"/>
                  <a:pt x="10615" y="3204"/>
                  <a:pt x="10647" y="2754"/>
                </a:cubicBezTo>
                <a:cubicBezTo>
                  <a:pt x="10663" y="2534"/>
                  <a:pt x="10620" y="2379"/>
                  <a:pt x="10450" y="2040"/>
                </a:cubicBezTo>
                <a:cubicBezTo>
                  <a:pt x="10346" y="1834"/>
                  <a:pt x="10342" y="1815"/>
                  <a:pt x="10382" y="1754"/>
                </a:cubicBezTo>
                <a:cubicBezTo>
                  <a:pt x="10457" y="1639"/>
                  <a:pt x="10966" y="1145"/>
                  <a:pt x="11010" y="1145"/>
                </a:cubicBezTo>
                <a:cubicBezTo>
                  <a:pt x="11032" y="1145"/>
                  <a:pt x="11181" y="1205"/>
                  <a:pt x="11339" y="1279"/>
                </a:cubicBezTo>
                <a:cubicBezTo>
                  <a:pt x="11612" y="1405"/>
                  <a:pt x="11640" y="1412"/>
                  <a:pt x="11867" y="1411"/>
                </a:cubicBezTo>
                <a:cubicBezTo>
                  <a:pt x="12151" y="1410"/>
                  <a:pt x="12260" y="1370"/>
                  <a:pt x="12447" y="1198"/>
                </a:cubicBezTo>
                <a:cubicBezTo>
                  <a:pt x="12625" y="1034"/>
                  <a:pt x="12710" y="852"/>
                  <a:pt x="12774" y="500"/>
                </a:cubicBezTo>
                <a:cubicBezTo>
                  <a:pt x="12803" y="337"/>
                  <a:pt x="12843" y="193"/>
                  <a:pt x="12862" y="181"/>
                </a:cubicBezTo>
                <a:cubicBezTo>
                  <a:pt x="12981" y="107"/>
                  <a:pt x="13718" y="0"/>
                  <a:pt x="13777" y="48"/>
                </a:cubicBezTo>
                <a:cubicBezTo>
                  <a:pt x="13798" y="66"/>
                  <a:pt x="13868" y="177"/>
                  <a:pt x="13933" y="295"/>
                </a:cubicBezTo>
                <a:cubicBezTo>
                  <a:pt x="14171" y="726"/>
                  <a:pt x="14451" y="931"/>
                  <a:pt x="14801" y="931"/>
                </a:cubicBezTo>
                <a:cubicBezTo>
                  <a:pt x="15067" y="931"/>
                  <a:pt x="15287" y="822"/>
                  <a:pt x="15586" y="540"/>
                </a:cubicBezTo>
                <a:cubicBezTo>
                  <a:pt x="15819" y="321"/>
                  <a:pt x="15819" y="321"/>
                  <a:pt x="15911" y="357"/>
                </a:cubicBezTo>
                <a:cubicBezTo>
                  <a:pt x="16083" y="425"/>
                  <a:pt x="16538" y="659"/>
                  <a:pt x="16605" y="713"/>
                </a:cubicBezTo>
                <a:cubicBezTo>
                  <a:pt x="16671" y="767"/>
                  <a:pt x="16672" y="772"/>
                  <a:pt x="16640" y="1003"/>
                </a:cubicBezTo>
                <a:cubicBezTo>
                  <a:pt x="16571" y="1520"/>
                  <a:pt x="16627" y="1760"/>
                  <a:pt x="16875" y="2008"/>
                </a:cubicBezTo>
                <a:cubicBezTo>
                  <a:pt x="17112" y="2245"/>
                  <a:pt x="17439" y="2312"/>
                  <a:pt x="17915" y="2220"/>
                </a:cubicBezTo>
                <a:cubicBezTo>
                  <a:pt x="18089" y="2186"/>
                  <a:pt x="18112" y="2187"/>
                  <a:pt x="18161" y="2232"/>
                </a:cubicBezTo>
                <a:cubicBezTo>
                  <a:pt x="18232" y="2296"/>
                  <a:pt x="18556" y="2937"/>
                  <a:pt x="18556" y="3013"/>
                </a:cubicBezTo>
                <a:cubicBezTo>
                  <a:pt x="18556" y="3048"/>
                  <a:pt x="18475" y="3158"/>
                  <a:pt x="18359" y="3279"/>
                </a:cubicBezTo>
                <a:cubicBezTo>
                  <a:pt x="18251" y="3393"/>
                  <a:pt x="18128" y="3553"/>
                  <a:pt x="18085" y="3635"/>
                </a:cubicBezTo>
                <a:cubicBezTo>
                  <a:pt x="18016" y="3766"/>
                  <a:pt x="18006" y="3815"/>
                  <a:pt x="18006" y="4038"/>
                </a:cubicBezTo>
                <a:cubicBezTo>
                  <a:pt x="18006" y="4250"/>
                  <a:pt x="18017" y="4313"/>
                  <a:pt x="18072" y="4416"/>
                </a:cubicBezTo>
                <a:cubicBezTo>
                  <a:pt x="18170" y="4601"/>
                  <a:pt x="18348" y="4755"/>
                  <a:pt x="18644" y="4914"/>
                </a:cubicBezTo>
                <a:lnTo>
                  <a:pt x="18909" y="5056"/>
                </a:lnTo>
                <a:lnTo>
                  <a:pt x="18903" y="5239"/>
                </a:lnTo>
                <a:cubicBezTo>
                  <a:pt x="18894" y="5490"/>
                  <a:pt x="18809" y="5965"/>
                  <a:pt x="18767" y="6001"/>
                </a:cubicBezTo>
                <a:cubicBezTo>
                  <a:pt x="18747" y="6017"/>
                  <a:pt x="18619" y="6049"/>
                  <a:pt x="18482" y="6073"/>
                </a:cubicBezTo>
                <a:cubicBezTo>
                  <a:pt x="18047" y="6148"/>
                  <a:pt x="17778" y="6317"/>
                  <a:pt x="17641" y="6602"/>
                </a:cubicBezTo>
                <a:cubicBezTo>
                  <a:pt x="17498" y="6901"/>
                  <a:pt x="17523" y="7152"/>
                  <a:pt x="17737" y="7578"/>
                </a:cubicBezTo>
                <a:cubicBezTo>
                  <a:pt x="17799" y="7703"/>
                  <a:pt x="17851" y="7825"/>
                  <a:pt x="17851" y="7849"/>
                </a:cubicBezTo>
                <a:cubicBezTo>
                  <a:pt x="17851" y="7894"/>
                  <a:pt x="17312" y="8468"/>
                  <a:pt x="17226" y="8513"/>
                </a:cubicBezTo>
                <a:cubicBezTo>
                  <a:pt x="17194" y="8530"/>
                  <a:pt x="17109" y="8503"/>
                  <a:pt x="16944" y="8423"/>
                </a:cubicBezTo>
                <a:cubicBezTo>
                  <a:pt x="16491" y="8203"/>
                  <a:pt x="16158" y="8189"/>
                  <a:pt x="15867" y="8375"/>
                </a:cubicBezTo>
                <a:cubicBezTo>
                  <a:pt x="15618" y="8535"/>
                  <a:pt x="15485" y="8786"/>
                  <a:pt x="15422" y="9214"/>
                </a:cubicBezTo>
                <a:cubicBezTo>
                  <a:pt x="15395" y="9399"/>
                  <a:pt x="15376" y="9454"/>
                  <a:pt x="15327" y="9486"/>
                </a:cubicBezTo>
                <a:cubicBezTo>
                  <a:pt x="15263" y="9528"/>
                  <a:pt x="14667" y="9640"/>
                  <a:pt x="14508" y="9640"/>
                </a:cubicBezTo>
                <a:cubicBezTo>
                  <a:pt x="14422" y="9640"/>
                  <a:pt x="14409" y="9626"/>
                  <a:pt x="14278" y="9383"/>
                </a:cubicBezTo>
                <a:close/>
                <a:moveTo>
                  <a:pt x="14831" y="7283"/>
                </a:moveTo>
                <a:cubicBezTo>
                  <a:pt x="15713" y="7003"/>
                  <a:pt x="16329" y="6369"/>
                  <a:pt x="16586" y="5475"/>
                </a:cubicBezTo>
                <a:cubicBezTo>
                  <a:pt x="16641" y="5284"/>
                  <a:pt x="16650" y="5188"/>
                  <a:pt x="16649" y="4814"/>
                </a:cubicBezTo>
                <a:cubicBezTo>
                  <a:pt x="16648" y="4339"/>
                  <a:pt x="16623" y="4203"/>
                  <a:pt x="16468" y="3828"/>
                </a:cubicBezTo>
                <a:cubicBezTo>
                  <a:pt x="16301" y="3422"/>
                  <a:pt x="15961" y="2998"/>
                  <a:pt x="15582" y="2721"/>
                </a:cubicBezTo>
                <a:cubicBezTo>
                  <a:pt x="15416" y="2600"/>
                  <a:pt x="15073" y="2431"/>
                  <a:pt x="14859" y="2366"/>
                </a:cubicBezTo>
                <a:cubicBezTo>
                  <a:pt x="13949" y="2089"/>
                  <a:pt x="12954" y="2336"/>
                  <a:pt x="12289" y="3005"/>
                </a:cubicBezTo>
                <a:cubicBezTo>
                  <a:pt x="11187" y="4113"/>
                  <a:pt x="11306" y="5897"/>
                  <a:pt x="12547" y="6861"/>
                </a:cubicBezTo>
                <a:cubicBezTo>
                  <a:pt x="12840" y="7088"/>
                  <a:pt x="13196" y="7252"/>
                  <a:pt x="13589" y="7341"/>
                </a:cubicBezTo>
                <a:cubicBezTo>
                  <a:pt x="13720" y="7370"/>
                  <a:pt x="13889" y="7379"/>
                  <a:pt x="14182" y="7370"/>
                </a:cubicBezTo>
                <a:cubicBezTo>
                  <a:pt x="14528" y="7361"/>
                  <a:pt x="14628" y="7347"/>
                  <a:pt x="14831" y="7283"/>
                </a:cubicBezTo>
                <a:close/>
              </a:path>
            </a:pathLst>
          </a:custGeom>
          <a:solidFill>
            <a:schemeClr val="accent3"/>
          </a:solidFill>
          <a:ln w="0">
            <a:noFill/>
            <a:prstDash val="solid"/>
            <a:round/>
            <a:headEnd/>
            <a:tailEnd/>
          </a:ln>
          <a:effectLst/>
        </p:spPr>
        <p:txBody>
          <a:bodyPr vert="horz" wrap="square" lIns="91440" tIns="45720" rIns="91440" bIns="45720" numCol="1" anchor="ctr" anchorCtr="0" compatLnSpc="1">
            <a:prstTxWarp prst="textNoShape">
              <a:avLst/>
            </a:prstTxWarp>
          </a:bodyPr>
          <a:lstStyle/>
          <a:p>
            <a:endParaRPr lang="en-US" sz="1200" b="1" dirty="0">
              <a:solidFill>
                <a:srgbClr val="808080"/>
              </a:solidFill>
              <a:latin typeface="+mn-lt"/>
            </a:endParaRPr>
          </a:p>
        </p:txBody>
      </p:sp>
      <p:sp>
        <p:nvSpPr>
          <p:cNvPr id="58" name="Freeform 58"/>
          <p:cNvSpPr>
            <a:spLocks noEditPoints="1"/>
          </p:cNvSpPr>
          <p:nvPr/>
        </p:nvSpPr>
        <p:spPr bwMode="auto">
          <a:xfrm>
            <a:off x="463793" y="854146"/>
            <a:ext cx="133691" cy="104325"/>
          </a:xfrm>
          <a:custGeom>
            <a:avLst/>
            <a:gdLst>
              <a:gd name="T0" fmla="*/ 0 w 173"/>
              <a:gd name="T1" fmla="*/ 135 h 135"/>
              <a:gd name="T2" fmla="*/ 59 w 173"/>
              <a:gd name="T3" fmla="*/ 135 h 135"/>
              <a:gd name="T4" fmla="*/ 71 w 173"/>
              <a:gd name="T5" fmla="*/ 107 h 135"/>
              <a:gd name="T6" fmla="*/ 0 w 173"/>
              <a:gd name="T7" fmla="*/ 107 h 135"/>
              <a:gd name="T8" fmla="*/ 0 w 173"/>
              <a:gd name="T9" fmla="*/ 135 h 135"/>
              <a:gd name="T10" fmla="*/ 0 w 173"/>
              <a:gd name="T11" fmla="*/ 81 h 135"/>
              <a:gd name="T12" fmla="*/ 92 w 173"/>
              <a:gd name="T13" fmla="*/ 81 h 135"/>
              <a:gd name="T14" fmla="*/ 118 w 173"/>
              <a:gd name="T15" fmla="*/ 55 h 135"/>
              <a:gd name="T16" fmla="*/ 0 w 173"/>
              <a:gd name="T17" fmla="*/ 55 h 135"/>
              <a:gd name="T18" fmla="*/ 0 w 173"/>
              <a:gd name="T19" fmla="*/ 81 h 135"/>
              <a:gd name="T20" fmla="*/ 0 w 173"/>
              <a:gd name="T21" fmla="*/ 0 h 135"/>
              <a:gd name="T22" fmla="*/ 0 w 173"/>
              <a:gd name="T23" fmla="*/ 29 h 135"/>
              <a:gd name="T24" fmla="*/ 147 w 173"/>
              <a:gd name="T25" fmla="*/ 29 h 135"/>
              <a:gd name="T26" fmla="*/ 173 w 173"/>
              <a:gd name="T27" fmla="*/ 0 h 135"/>
              <a:gd name="T28" fmla="*/ 0 w 173"/>
              <a:gd name="T29" fmla="*/ 0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73" h="135">
                <a:moveTo>
                  <a:pt x="0" y="135"/>
                </a:moveTo>
                <a:lnTo>
                  <a:pt x="59" y="135"/>
                </a:lnTo>
                <a:lnTo>
                  <a:pt x="71" y="107"/>
                </a:lnTo>
                <a:lnTo>
                  <a:pt x="0" y="107"/>
                </a:lnTo>
                <a:lnTo>
                  <a:pt x="0" y="135"/>
                </a:lnTo>
                <a:close/>
                <a:moveTo>
                  <a:pt x="0" y="81"/>
                </a:moveTo>
                <a:lnTo>
                  <a:pt x="92" y="81"/>
                </a:lnTo>
                <a:lnTo>
                  <a:pt x="118" y="55"/>
                </a:lnTo>
                <a:lnTo>
                  <a:pt x="0" y="55"/>
                </a:lnTo>
                <a:lnTo>
                  <a:pt x="0" y="81"/>
                </a:lnTo>
                <a:close/>
                <a:moveTo>
                  <a:pt x="0" y="0"/>
                </a:moveTo>
                <a:lnTo>
                  <a:pt x="0" y="29"/>
                </a:lnTo>
                <a:lnTo>
                  <a:pt x="147" y="29"/>
                </a:lnTo>
                <a:lnTo>
                  <a:pt x="173" y="0"/>
                </a:lnTo>
                <a:lnTo>
                  <a:pt x="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auto">
              <a:spcBef>
                <a:spcPts val="0"/>
              </a:spcBef>
              <a:spcAft>
                <a:spcPts val="0"/>
              </a:spcAft>
              <a:defRPr/>
            </a:pPr>
            <a:endParaRPr lang="en-US" sz="1200" b="1" kern="0" dirty="0">
              <a:solidFill>
                <a:srgbClr val="002960"/>
              </a:solidFill>
              <a:latin typeface="+mn-lt"/>
            </a:endParaRPr>
          </a:p>
        </p:txBody>
      </p:sp>
      <p:sp>
        <p:nvSpPr>
          <p:cNvPr id="59" name="Freeform 59"/>
          <p:cNvSpPr>
            <a:spLocks noEditPoints="1"/>
          </p:cNvSpPr>
          <p:nvPr/>
        </p:nvSpPr>
        <p:spPr bwMode="auto">
          <a:xfrm>
            <a:off x="412789" y="741321"/>
            <a:ext cx="332295" cy="329976"/>
          </a:xfrm>
          <a:custGeom>
            <a:avLst/>
            <a:gdLst>
              <a:gd name="T0" fmla="*/ 135 w 182"/>
              <a:gd name="T1" fmla="*/ 169 h 181"/>
              <a:gd name="T2" fmla="*/ 11 w 182"/>
              <a:gd name="T3" fmla="*/ 169 h 181"/>
              <a:gd name="T4" fmla="*/ 11 w 182"/>
              <a:gd name="T5" fmla="*/ 56 h 181"/>
              <a:gd name="T6" fmla="*/ 17 w 182"/>
              <a:gd name="T7" fmla="*/ 48 h 181"/>
              <a:gd name="T8" fmla="*/ 28 w 182"/>
              <a:gd name="T9" fmla="*/ 48 h 181"/>
              <a:gd name="T10" fmla="*/ 43 w 182"/>
              <a:gd name="T11" fmla="*/ 43 h 181"/>
              <a:gd name="T12" fmla="*/ 48 w 182"/>
              <a:gd name="T13" fmla="*/ 28 h 181"/>
              <a:gd name="T14" fmla="*/ 48 w 182"/>
              <a:gd name="T15" fmla="*/ 17 h 181"/>
              <a:gd name="T16" fmla="*/ 55 w 182"/>
              <a:gd name="T17" fmla="*/ 11 h 181"/>
              <a:gd name="T18" fmla="*/ 135 w 182"/>
              <a:gd name="T19" fmla="*/ 11 h 181"/>
              <a:gd name="T20" fmla="*/ 135 w 182"/>
              <a:gd name="T21" fmla="*/ 28 h 181"/>
              <a:gd name="T22" fmla="*/ 146 w 182"/>
              <a:gd name="T23" fmla="*/ 17 h 181"/>
              <a:gd name="T24" fmla="*/ 146 w 182"/>
              <a:gd name="T25" fmla="*/ 11 h 181"/>
              <a:gd name="T26" fmla="*/ 143 w 182"/>
              <a:gd name="T27" fmla="*/ 3 h 181"/>
              <a:gd name="T28" fmla="*/ 135 w 182"/>
              <a:gd name="T29" fmla="*/ 0 h 181"/>
              <a:gd name="T30" fmla="*/ 56 w 182"/>
              <a:gd name="T31" fmla="*/ 0 h 181"/>
              <a:gd name="T32" fmla="*/ 37 w 182"/>
              <a:gd name="T33" fmla="*/ 8 h 181"/>
              <a:gd name="T34" fmla="*/ 8 w 182"/>
              <a:gd name="T35" fmla="*/ 37 h 181"/>
              <a:gd name="T36" fmla="*/ 0 w 182"/>
              <a:gd name="T37" fmla="*/ 57 h 181"/>
              <a:gd name="T38" fmla="*/ 0 w 182"/>
              <a:gd name="T39" fmla="*/ 169 h 181"/>
              <a:gd name="T40" fmla="*/ 3 w 182"/>
              <a:gd name="T41" fmla="*/ 177 h 181"/>
              <a:gd name="T42" fmla="*/ 11 w 182"/>
              <a:gd name="T43" fmla="*/ 181 h 181"/>
              <a:gd name="T44" fmla="*/ 135 w 182"/>
              <a:gd name="T45" fmla="*/ 181 h 181"/>
              <a:gd name="T46" fmla="*/ 143 w 182"/>
              <a:gd name="T47" fmla="*/ 177 h 181"/>
              <a:gd name="T48" fmla="*/ 146 w 182"/>
              <a:gd name="T49" fmla="*/ 169 h 181"/>
              <a:gd name="T50" fmla="*/ 146 w 182"/>
              <a:gd name="T51" fmla="*/ 96 h 181"/>
              <a:gd name="T52" fmla="*/ 135 w 182"/>
              <a:gd name="T53" fmla="*/ 108 h 181"/>
              <a:gd name="T54" fmla="*/ 135 w 182"/>
              <a:gd name="T55" fmla="*/ 169 h 181"/>
              <a:gd name="T56" fmla="*/ 172 w 182"/>
              <a:gd name="T57" fmla="*/ 31 h 181"/>
              <a:gd name="T58" fmla="*/ 156 w 182"/>
              <a:gd name="T59" fmla="*/ 23 h 181"/>
              <a:gd name="T60" fmla="*/ 68 w 182"/>
              <a:gd name="T61" fmla="*/ 111 h 181"/>
              <a:gd name="T62" fmla="*/ 68 w 182"/>
              <a:gd name="T63" fmla="*/ 111 h 181"/>
              <a:gd name="T64" fmla="*/ 84 w 182"/>
              <a:gd name="T65" fmla="*/ 119 h 181"/>
              <a:gd name="T66" fmla="*/ 92 w 182"/>
              <a:gd name="T67" fmla="*/ 135 h 181"/>
              <a:gd name="T68" fmla="*/ 92 w 182"/>
              <a:gd name="T69" fmla="*/ 135 h 181"/>
              <a:gd name="T70" fmla="*/ 180 w 182"/>
              <a:gd name="T71" fmla="*/ 47 h 181"/>
              <a:gd name="T72" fmla="*/ 172 w 182"/>
              <a:gd name="T73" fmla="*/ 31 h 181"/>
              <a:gd name="T74" fmla="*/ 58 w 182"/>
              <a:gd name="T75" fmla="*/ 145 h 181"/>
              <a:gd name="T76" fmla="*/ 58 w 182"/>
              <a:gd name="T77" fmla="*/ 145 h 181"/>
              <a:gd name="T78" fmla="*/ 58 w 182"/>
              <a:gd name="T79" fmla="*/ 145 h 181"/>
              <a:gd name="T80" fmla="*/ 64 w 182"/>
              <a:gd name="T81" fmla="*/ 146 h 181"/>
              <a:gd name="T82" fmla="*/ 76 w 182"/>
              <a:gd name="T83" fmla="*/ 141 h 181"/>
              <a:gd name="T84" fmla="*/ 70 w 182"/>
              <a:gd name="T85" fmla="*/ 133 h 181"/>
              <a:gd name="T86" fmla="*/ 62 w 182"/>
              <a:gd name="T87" fmla="*/ 127 h 181"/>
              <a:gd name="T88" fmla="*/ 57 w 182"/>
              <a:gd name="T89" fmla="*/ 139 h 181"/>
              <a:gd name="T90" fmla="*/ 58 w 182"/>
              <a:gd name="T91" fmla="*/ 145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82" h="181">
                <a:moveTo>
                  <a:pt x="135" y="169"/>
                </a:moveTo>
                <a:cubicBezTo>
                  <a:pt x="11" y="169"/>
                  <a:pt x="11" y="169"/>
                  <a:pt x="11" y="169"/>
                </a:cubicBezTo>
                <a:cubicBezTo>
                  <a:pt x="11" y="56"/>
                  <a:pt x="11" y="56"/>
                  <a:pt x="11" y="56"/>
                </a:cubicBezTo>
                <a:cubicBezTo>
                  <a:pt x="11" y="53"/>
                  <a:pt x="14" y="48"/>
                  <a:pt x="17" y="48"/>
                </a:cubicBezTo>
                <a:cubicBezTo>
                  <a:pt x="28" y="48"/>
                  <a:pt x="28" y="48"/>
                  <a:pt x="28" y="48"/>
                </a:cubicBezTo>
                <a:cubicBezTo>
                  <a:pt x="34" y="48"/>
                  <a:pt x="39" y="48"/>
                  <a:pt x="43" y="43"/>
                </a:cubicBezTo>
                <a:cubicBezTo>
                  <a:pt x="47" y="39"/>
                  <a:pt x="48" y="34"/>
                  <a:pt x="48" y="28"/>
                </a:cubicBezTo>
                <a:cubicBezTo>
                  <a:pt x="48" y="17"/>
                  <a:pt x="48" y="17"/>
                  <a:pt x="48" y="17"/>
                </a:cubicBezTo>
                <a:cubicBezTo>
                  <a:pt x="48" y="14"/>
                  <a:pt x="52" y="11"/>
                  <a:pt x="55" y="11"/>
                </a:cubicBezTo>
                <a:cubicBezTo>
                  <a:pt x="135" y="11"/>
                  <a:pt x="135" y="11"/>
                  <a:pt x="135" y="11"/>
                </a:cubicBezTo>
                <a:cubicBezTo>
                  <a:pt x="135" y="28"/>
                  <a:pt x="135" y="28"/>
                  <a:pt x="135" y="28"/>
                </a:cubicBezTo>
                <a:cubicBezTo>
                  <a:pt x="146" y="17"/>
                  <a:pt x="146" y="17"/>
                  <a:pt x="146" y="17"/>
                </a:cubicBezTo>
                <a:cubicBezTo>
                  <a:pt x="146" y="11"/>
                  <a:pt x="146" y="11"/>
                  <a:pt x="146" y="11"/>
                </a:cubicBezTo>
                <a:cubicBezTo>
                  <a:pt x="146" y="9"/>
                  <a:pt x="145" y="6"/>
                  <a:pt x="143" y="3"/>
                </a:cubicBezTo>
                <a:cubicBezTo>
                  <a:pt x="141" y="1"/>
                  <a:pt x="138" y="0"/>
                  <a:pt x="135" y="0"/>
                </a:cubicBezTo>
                <a:cubicBezTo>
                  <a:pt x="56" y="0"/>
                  <a:pt x="56" y="0"/>
                  <a:pt x="56" y="0"/>
                </a:cubicBezTo>
                <a:cubicBezTo>
                  <a:pt x="49" y="0"/>
                  <a:pt x="42" y="3"/>
                  <a:pt x="37" y="8"/>
                </a:cubicBezTo>
                <a:cubicBezTo>
                  <a:pt x="8" y="37"/>
                  <a:pt x="8" y="37"/>
                  <a:pt x="8" y="37"/>
                </a:cubicBezTo>
                <a:cubicBezTo>
                  <a:pt x="3" y="42"/>
                  <a:pt x="0" y="49"/>
                  <a:pt x="0" y="57"/>
                </a:cubicBezTo>
                <a:cubicBezTo>
                  <a:pt x="0" y="169"/>
                  <a:pt x="0" y="169"/>
                  <a:pt x="0" y="169"/>
                </a:cubicBezTo>
                <a:cubicBezTo>
                  <a:pt x="0" y="172"/>
                  <a:pt x="1" y="175"/>
                  <a:pt x="3" y="177"/>
                </a:cubicBezTo>
                <a:cubicBezTo>
                  <a:pt x="5" y="180"/>
                  <a:pt x="8" y="181"/>
                  <a:pt x="11" y="181"/>
                </a:cubicBezTo>
                <a:cubicBezTo>
                  <a:pt x="135" y="181"/>
                  <a:pt x="135" y="181"/>
                  <a:pt x="135" y="181"/>
                </a:cubicBezTo>
                <a:cubicBezTo>
                  <a:pt x="138" y="181"/>
                  <a:pt x="141" y="180"/>
                  <a:pt x="143" y="177"/>
                </a:cubicBezTo>
                <a:cubicBezTo>
                  <a:pt x="145" y="175"/>
                  <a:pt x="146" y="172"/>
                  <a:pt x="146" y="169"/>
                </a:cubicBezTo>
                <a:cubicBezTo>
                  <a:pt x="146" y="96"/>
                  <a:pt x="146" y="96"/>
                  <a:pt x="146" y="96"/>
                </a:cubicBezTo>
                <a:cubicBezTo>
                  <a:pt x="135" y="108"/>
                  <a:pt x="135" y="108"/>
                  <a:pt x="135" y="108"/>
                </a:cubicBezTo>
                <a:lnTo>
                  <a:pt x="135" y="169"/>
                </a:lnTo>
                <a:close/>
                <a:moveTo>
                  <a:pt x="172" y="31"/>
                </a:moveTo>
                <a:cubicBezTo>
                  <a:pt x="165" y="25"/>
                  <a:pt x="158" y="21"/>
                  <a:pt x="156" y="23"/>
                </a:cubicBezTo>
                <a:cubicBezTo>
                  <a:pt x="68" y="111"/>
                  <a:pt x="68" y="111"/>
                  <a:pt x="68" y="111"/>
                </a:cubicBezTo>
                <a:cubicBezTo>
                  <a:pt x="68" y="111"/>
                  <a:pt x="68" y="111"/>
                  <a:pt x="68" y="111"/>
                </a:cubicBezTo>
                <a:cubicBezTo>
                  <a:pt x="70" y="109"/>
                  <a:pt x="77" y="113"/>
                  <a:pt x="84" y="119"/>
                </a:cubicBezTo>
                <a:cubicBezTo>
                  <a:pt x="90" y="126"/>
                  <a:pt x="94" y="133"/>
                  <a:pt x="92" y="135"/>
                </a:cubicBezTo>
                <a:cubicBezTo>
                  <a:pt x="92" y="135"/>
                  <a:pt x="92" y="135"/>
                  <a:pt x="92" y="135"/>
                </a:cubicBezTo>
                <a:cubicBezTo>
                  <a:pt x="180" y="47"/>
                  <a:pt x="180" y="47"/>
                  <a:pt x="180" y="47"/>
                </a:cubicBezTo>
                <a:cubicBezTo>
                  <a:pt x="182" y="45"/>
                  <a:pt x="178" y="38"/>
                  <a:pt x="172" y="31"/>
                </a:cubicBezTo>
                <a:close/>
                <a:moveTo>
                  <a:pt x="58" y="145"/>
                </a:moveTo>
                <a:cubicBezTo>
                  <a:pt x="58" y="145"/>
                  <a:pt x="58" y="145"/>
                  <a:pt x="58" y="145"/>
                </a:cubicBezTo>
                <a:cubicBezTo>
                  <a:pt x="58" y="145"/>
                  <a:pt x="58" y="145"/>
                  <a:pt x="58" y="145"/>
                </a:cubicBezTo>
                <a:cubicBezTo>
                  <a:pt x="59" y="146"/>
                  <a:pt x="62" y="147"/>
                  <a:pt x="64" y="146"/>
                </a:cubicBezTo>
                <a:cubicBezTo>
                  <a:pt x="76" y="141"/>
                  <a:pt x="76" y="141"/>
                  <a:pt x="76" y="141"/>
                </a:cubicBezTo>
                <a:cubicBezTo>
                  <a:pt x="75" y="139"/>
                  <a:pt x="73" y="136"/>
                  <a:pt x="70" y="133"/>
                </a:cubicBezTo>
                <a:cubicBezTo>
                  <a:pt x="67" y="130"/>
                  <a:pt x="64" y="128"/>
                  <a:pt x="62" y="127"/>
                </a:cubicBezTo>
                <a:cubicBezTo>
                  <a:pt x="57" y="139"/>
                  <a:pt x="57" y="139"/>
                  <a:pt x="57" y="139"/>
                </a:cubicBezTo>
                <a:cubicBezTo>
                  <a:pt x="56" y="141"/>
                  <a:pt x="57" y="144"/>
                  <a:pt x="58" y="145"/>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auto">
              <a:spcBef>
                <a:spcPts val="0"/>
              </a:spcBef>
              <a:spcAft>
                <a:spcPts val="0"/>
              </a:spcAft>
              <a:defRPr/>
            </a:pPr>
            <a:endParaRPr lang="en-US" sz="1200" b="1" kern="0" dirty="0">
              <a:solidFill>
                <a:srgbClr val="002960"/>
              </a:solidFill>
              <a:latin typeface="+mn-lt"/>
            </a:endParaRPr>
          </a:p>
        </p:txBody>
      </p:sp>
      <p:sp>
        <p:nvSpPr>
          <p:cNvPr id="33" name="Rectangle 5"/>
          <p:cNvSpPr>
            <a:spLocks noChangeArrowheads="1"/>
          </p:cNvSpPr>
          <p:nvPr/>
        </p:nvSpPr>
        <p:spPr bwMode="gray">
          <a:xfrm>
            <a:off x="3180424" y="1192082"/>
            <a:ext cx="2600593" cy="4108817"/>
          </a:xfrm>
          <a:prstGeom prst="rect">
            <a:avLst/>
          </a:prstGeom>
          <a:noFill/>
          <a:ln w="19050">
            <a:noFill/>
            <a:miter lim="800000"/>
            <a:headEnd/>
            <a:tailEnd/>
          </a:ln>
        </p:spPr>
        <p:txBody>
          <a:bodyPr lIns="0" tIns="0" rIns="0" bIns="0">
            <a:spAutoFit/>
          </a:bodyPr>
          <a:lstStyle/>
          <a:p>
            <a:pPr marL="0" lvl="1" defTabSz="895350" eaLnBrk="0" hangingPunct="0">
              <a:spcBef>
                <a:spcPct val="25000"/>
              </a:spcBef>
              <a:buClr>
                <a:srgbClr val="002960"/>
              </a:buClr>
              <a:buSzPct val="125000"/>
              <a:defRPr/>
            </a:pPr>
            <a:r>
              <a:rPr lang="en-US" sz="1200" b="1" dirty="0">
                <a:solidFill>
                  <a:srgbClr val="0066CC"/>
                </a:solidFill>
                <a:latin typeface="+mn-lt"/>
                <a:ea typeface="Arial Unicode MS"/>
                <a:cs typeface="Arial Unicode MS"/>
              </a:rPr>
              <a:t>Phased approach to integration</a:t>
            </a:r>
          </a:p>
          <a:p>
            <a:pPr marL="1587" lvl="1" defTabSz="895350" eaLnBrk="0" hangingPunct="0">
              <a:spcBef>
                <a:spcPct val="25000"/>
              </a:spcBef>
              <a:buClr>
                <a:srgbClr val="002960"/>
              </a:buClr>
              <a:buSzPct val="125000"/>
              <a:defRPr/>
            </a:pPr>
            <a:r>
              <a:rPr lang="en-US" sz="1200" dirty="0">
                <a:solidFill>
                  <a:srgbClr val="000000"/>
                </a:solidFill>
                <a:latin typeface="+mn-lt"/>
              </a:rPr>
              <a:t>Integration planning and execution focused on the support of the </a:t>
            </a:r>
            <a:r>
              <a:rPr lang="en-US" sz="1200" b="1" dirty="0">
                <a:solidFill>
                  <a:srgbClr val="0563BB"/>
                </a:solidFill>
                <a:latin typeface="+mn-lt"/>
              </a:rPr>
              <a:t>Integration Management Office (IMO)</a:t>
            </a:r>
            <a:r>
              <a:rPr lang="en-US" sz="1200" dirty="0">
                <a:solidFill>
                  <a:srgbClr val="000000"/>
                </a:solidFill>
                <a:latin typeface="+mn-lt"/>
              </a:rPr>
              <a:t> and also supporting:</a:t>
            </a:r>
          </a:p>
          <a:p>
            <a:pPr marL="193675" lvl="1" indent="-192088" defTabSz="895350" eaLnBrk="0" hangingPunct="0">
              <a:spcBef>
                <a:spcPct val="25000"/>
              </a:spcBef>
              <a:buClr>
                <a:srgbClr val="002960"/>
              </a:buClr>
              <a:buSzPct val="125000"/>
              <a:buFont typeface="Arial" charset="0"/>
              <a:buChar char="▪"/>
              <a:defRPr/>
            </a:pPr>
            <a:r>
              <a:rPr lang="en-US" altLang="en-US" sz="1200" dirty="0">
                <a:latin typeface="+mn-lt"/>
              </a:rPr>
              <a:t>Development of the </a:t>
            </a:r>
            <a:r>
              <a:rPr lang="en-US" altLang="en-US" sz="1200" b="1" dirty="0">
                <a:solidFill>
                  <a:srgbClr val="0066CC"/>
                </a:solidFill>
                <a:latin typeface="+mn-lt"/>
              </a:rPr>
              <a:t>baseline</a:t>
            </a:r>
          </a:p>
          <a:p>
            <a:pPr marL="193675" lvl="1" indent="-192088" defTabSz="895350" eaLnBrk="0" hangingPunct="0">
              <a:spcBef>
                <a:spcPct val="25000"/>
              </a:spcBef>
              <a:buClr>
                <a:srgbClr val="002960"/>
              </a:buClr>
              <a:buSzPct val="125000"/>
              <a:buFont typeface="Arial" charset="0"/>
              <a:buChar char="▪"/>
              <a:defRPr/>
            </a:pPr>
            <a:r>
              <a:rPr lang="en-US" altLang="en-US" sz="1200" b="1" dirty="0">
                <a:solidFill>
                  <a:srgbClr val="0066CC"/>
                </a:solidFill>
                <a:latin typeface="+mn-lt"/>
              </a:rPr>
              <a:t>Taskforce coordination</a:t>
            </a:r>
          </a:p>
          <a:p>
            <a:pPr marL="193675" lvl="1" indent="-192088" defTabSz="895350" eaLnBrk="0" hangingPunct="0">
              <a:spcBef>
                <a:spcPct val="25000"/>
              </a:spcBef>
              <a:buClr>
                <a:srgbClr val="002960"/>
              </a:buClr>
              <a:buSzPct val="125000"/>
              <a:buFont typeface="Arial" charset="0"/>
              <a:buChar char="▪"/>
              <a:defRPr/>
            </a:pPr>
            <a:r>
              <a:rPr lang="en-US" altLang="en-US" sz="1200" dirty="0">
                <a:latin typeface="+mn-lt"/>
              </a:rPr>
              <a:t>Launch of </a:t>
            </a:r>
            <a:r>
              <a:rPr lang="en-US" altLang="en-US" sz="1200" b="1" dirty="0">
                <a:solidFill>
                  <a:srgbClr val="0066CC"/>
                </a:solidFill>
                <a:latin typeface="+mn-lt"/>
              </a:rPr>
              <a:t>twenty-two taskforces</a:t>
            </a:r>
          </a:p>
          <a:p>
            <a:pPr marL="193675" lvl="1" indent="-192088" defTabSz="895350" eaLnBrk="0" hangingPunct="0">
              <a:spcBef>
                <a:spcPct val="25000"/>
              </a:spcBef>
              <a:buClr>
                <a:srgbClr val="002960"/>
              </a:buClr>
              <a:buSzPct val="125000"/>
              <a:buFont typeface="Arial" charset="0"/>
              <a:buChar char="▪"/>
              <a:defRPr/>
            </a:pPr>
            <a:r>
              <a:rPr lang="en-US" altLang="en-US" sz="1200" dirty="0">
                <a:latin typeface="+mn-lt"/>
              </a:rPr>
              <a:t>Communication of </a:t>
            </a:r>
            <a:r>
              <a:rPr lang="en-US" altLang="en-US" sz="1200" b="1" dirty="0">
                <a:solidFill>
                  <a:srgbClr val="0066CC"/>
                </a:solidFill>
                <a:latin typeface="+mn-lt"/>
              </a:rPr>
              <a:t>top-down targets, bottom-up check of standalone gains and synergies, and </a:t>
            </a:r>
            <a:r>
              <a:rPr lang="en-US" altLang="en-US" sz="1200" dirty="0">
                <a:latin typeface="+mn-lt"/>
              </a:rPr>
              <a:t>incorporation in the budgets</a:t>
            </a:r>
          </a:p>
          <a:p>
            <a:pPr marL="193675" lvl="1" indent="-192088" defTabSz="895350" eaLnBrk="0" hangingPunct="0">
              <a:spcBef>
                <a:spcPct val="25000"/>
              </a:spcBef>
              <a:buClr>
                <a:srgbClr val="002960"/>
              </a:buClr>
              <a:buSzPct val="125000"/>
              <a:buFont typeface="Arial" charset="0"/>
              <a:buChar char="▪"/>
              <a:defRPr/>
            </a:pPr>
            <a:r>
              <a:rPr lang="en-US" altLang="en-US" sz="1200" dirty="0">
                <a:latin typeface="+mn-lt"/>
              </a:rPr>
              <a:t>Development and launch (training, administration) of </a:t>
            </a:r>
            <a:r>
              <a:rPr lang="en-US" altLang="en-US" sz="1200" b="1" dirty="0">
                <a:solidFill>
                  <a:srgbClr val="0066CC"/>
                </a:solidFill>
                <a:latin typeface="+mn-lt"/>
              </a:rPr>
              <a:t>tracking tools</a:t>
            </a:r>
          </a:p>
          <a:p>
            <a:pPr marL="193675" lvl="1" indent="-192088" defTabSz="895350" eaLnBrk="0" hangingPunct="0">
              <a:spcBef>
                <a:spcPct val="25000"/>
              </a:spcBef>
              <a:buClr>
                <a:srgbClr val="002960"/>
              </a:buClr>
              <a:buSzPct val="125000"/>
              <a:buFont typeface="Arial" charset="0"/>
              <a:buChar char="▪"/>
              <a:defRPr/>
            </a:pPr>
            <a:r>
              <a:rPr lang="en-US" altLang="en-US" sz="1200" dirty="0">
                <a:latin typeface="+mn-lt"/>
              </a:rPr>
              <a:t>Development of </a:t>
            </a:r>
            <a:r>
              <a:rPr lang="en-US" altLang="en-US" sz="1200" b="1" dirty="0">
                <a:solidFill>
                  <a:srgbClr val="0066CC"/>
                </a:solidFill>
                <a:latin typeface="+mn-lt"/>
              </a:rPr>
              <a:t>action plans</a:t>
            </a:r>
          </a:p>
          <a:p>
            <a:pPr marL="193675" lvl="1" indent="-192088" defTabSz="895350" eaLnBrk="0" hangingPunct="0">
              <a:spcBef>
                <a:spcPct val="25000"/>
              </a:spcBef>
              <a:buClr>
                <a:srgbClr val="002960"/>
              </a:buClr>
              <a:buSzPct val="125000"/>
              <a:buFont typeface="Arial" charset="0"/>
              <a:buChar char="▪"/>
              <a:defRPr/>
            </a:pPr>
            <a:r>
              <a:rPr lang="en-US" altLang="en-US" sz="1200" b="1" dirty="0">
                <a:solidFill>
                  <a:srgbClr val="0066CC"/>
                </a:solidFill>
                <a:latin typeface="+mn-lt"/>
              </a:rPr>
              <a:t>Tracking </a:t>
            </a:r>
            <a:r>
              <a:rPr lang="en-US" altLang="en-US" sz="1200" dirty="0">
                <a:latin typeface="+mn-lt"/>
              </a:rPr>
              <a:t>of the implementation of </a:t>
            </a:r>
            <a:r>
              <a:rPr lang="en-US" altLang="en-US" sz="1200" b="1" dirty="0">
                <a:solidFill>
                  <a:srgbClr val="0066CC"/>
                </a:solidFill>
                <a:latin typeface="+mn-lt"/>
              </a:rPr>
              <a:t>action plans</a:t>
            </a:r>
          </a:p>
          <a:p>
            <a:pPr marL="193675" lvl="1" indent="-192088" defTabSz="895350" eaLnBrk="0" hangingPunct="0">
              <a:spcBef>
                <a:spcPct val="25000"/>
              </a:spcBef>
              <a:buClr>
                <a:srgbClr val="002960"/>
              </a:buClr>
              <a:buSzPct val="125000"/>
              <a:buFont typeface="Arial" charset="0"/>
              <a:buChar char="▪"/>
              <a:defRPr/>
            </a:pPr>
            <a:r>
              <a:rPr lang="en-US" altLang="en-US" sz="1200" b="1" dirty="0">
                <a:solidFill>
                  <a:srgbClr val="0066CC"/>
                </a:solidFill>
                <a:latin typeface="+mn-lt"/>
              </a:rPr>
              <a:t>Communication</a:t>
            </a:r>
            <a:r>
              <a:rPr lang="en-US" altLang="en-US" sz="1200" dirty="0">
                <a:latin typeface="+mn-lt"/>
              </a:rPr>
              <a:t>, including development of overall </a:t>
            </a:r>
            <a:r>
              <a:rPr lang="en-US" altLang="en-US" sz="1200" b="1" dirty="0">
                <a:solidFill>
                  <a:srgbClr val="0066CC"/>
                </a:solidFill>
                <a:latin typeface="+mn-lt"/>
              </a:rPr>
              <a:t>communications masterplan</a:t>
            </a:r>
          </a:p>
        </p:txBody>
      </p:sp>
      <p:sp>
        <p:nvSpPr>
          <p:cNvPr id="37" name="Rectangle 6"/>
          <p:cNvSpPr>
            <a:spLocks noChangeArrowheads="1"/>
          </p:cNvSpPr>
          <p:nvPr/>
        </p:nvSpPr>
        <p:spPr bwMode="gray">
          <a:xfrm>
            <a:off x="383968" y="1192082"/>
            <a:ext cx="2626599" cy="4616648"/>
          </a:xfrm>
          <a:prstGeom prst="rect">
            <a:avLst/>
          </a:prstGeom>
          <a:noFill/>
          <a:ln w="19050">
            <a:noFill/>
            <a:miter lim="800000"/>
            <a:headEnd/>
            <a:tailEnd/>
          </a:ln>
        </p:spPr>
        <p:txBody>
          <a:bodyPr lIns="0" tIns="0" rIns="0" bIns="0">
            <a:spAutoFit/>
          </a:bodyPr>
          <a:lstStyle/>
          <a:p>
            <a:pPr marL="193675" lvl="1" indent="-192088" defTabSz="895350" eaLnBrk="0" hangingPunct="0">
              <a:spcBef>
                <a:spcPct val="25000"/>
              </a:spcBef>
              <a:buClr>
                <a:srgbClr val="002960"/>
              </a:buClr>
              <a:buSzPct val="125000"/>
              <a:defRPr/>
            </a:pPr>
            <a:r>
              <a:rPr lang="en-US" sz="1200" b="1" dirty="0">
                <a:solidFill>
                  <a:srgbClr val="0066CC"/>
                </a:solidFill>
                <a:latin typeface="+mn-lt"/>
              </a:rPr>
              <a:t>Context</a:t>
            </a:r>
            <a:endParaRPr lang="en-US" sz="1200" b="1" dirty="0">
              <a:solidFill>
                <a:srgbClr val="0066CC"/>
              </a:solidFill>
              <a:latin typeface="+mn-lt"/>
              <a:ea typeface="Arial Unicode MS" pitchFamily="34" charset="-128"/>
              <a:cs typeface="Arial Unicode MS" pitchFamily="34" charset="-128"/>
            </a:endParaRPr>
          </a:p>
          <a:p>
            <a:pPr marL="193675" lvl="1" indent="-192088" defTabSz="895350" eaLnBrk="0" hangingPunct="0">
              <a:spcBef>
                <a:spcPct val="25000"/>
              </a:spcBef>
              <a:buClr>
                <a:srgbClr val="002960"/>
              </a:buClr>
              <a:buSzPct val="125000"/>
              <a:buFont typeface="Arial" charset="0"/>
              <a:buChar char="▪"/>
              <a:defRPr/>
            </a:pPr>
            <a:r>
              <a:rPr lang="en-US" sz="1200" dirty="0">
                <a:solidFill>
                  <a:srgbClr val="000000"/>
                </a:solidFill>
                <a:latin typeface="+mn-lt"/>
              </a:rPr>
              <a:t>Merger of two well-known global steel producer companies to become the world´s largest steel producer</a:t>
            </a:r>
          </a:p>
          <a:p>
            <a:pPr marL="1587" lvl="1" defTabSz="895350" eaLnBrk="0" hangingPunct="0">
              <a:spcBef>
                <a:spcPct val="25000"/>
              </a:spcBef>
              <a:buClr>
                <a:srgbClr val="002960"/>
              </a:buClr>
              <a:buSzPct val="125000"/>
              <a:defRPr/>
            </a:pPr>
            <a:r>
              <a:rPr lang="en-US" sz="1200" b="1" dirty="0">
                <a:solidFill>
                  <a:srgbClr val="0066CC"/>
                </a:solidFill>
                <a:latin typeface="+mn-lt"/>
              </a:rPr>
              <a:t>Challenges</a:t>
            </a:r>
          </a:p>
          <a:p>
            <a:pPr marL="193675" lvl="1" indent="-192088" defTabSz="895350" eaLnBrk="0" hangingPunct="0">
              <a:spcBef>
                <a:spcPct val="25000"/>
              </a:spcBef>
              <a:buClr>
                <a:srgbClr val="002960"/>
              </a:buClr>
              <a:buSzPct val="125000"/>
              <a:buFont typeface="Arial" charset="0"/>
              <a:buChar char="▪"/>
              <a:defRPr/>
            </a:pPr>
            <a:r>
              <a:rPr lang="en-US" sz="1200" dirty="0">
                <a:latin typeface="+mn-lt"/>
              </a:rPr>
              <a:t>Managing more than </a:t>
            </a:r>
            <a:r>
              <a:rPr lang="en-US" sz="1200" b="1" dirty="0">
                <a:solidFill>
                  <a:srgbClr val="0066CC"/>
                </a:solidFill>
                <a:latin typeface="+mn-lt"/>
              </a:rPr>
              <a:t>300,000 employees</a:t>
            </a:r>
            <a:r>
              <a:rPr lang="en-US" sz="1200" dirty="0">
                <a:solidFill>
                  <a:srgbClr val="000000"/>
                </a:solidFill>
                <a:latin typeface="+mn-lt"/>
              </a:rPr>
              <a:t> in 60 countries </a:t>
            </a:r>
          </a:p>
          <a:p>
            <a:pPr marL="193675" lvl="1" indent="-192088" defTabSz="895350" eaLnBrk="0" hangingPunct="0">
              <a:spcBef>
                <a:spcPct val="25000"/>
              </a:spcBef>
              <a:buClr>
                <a:srgbClr val="002960"/>
              </a:buClr>
              <a:buSzPct val="125000"/>
              <a:buFont typeface="Arial" charset="0"/>
              <a:buChar char="▪"/>
              <a:defRPr/>
            </a:pPr>
            <a:r>
              <a:rPr lang="en-US" sz="1200" dirty="0">
                <a:solidFill>
                  <a:srgbClr val="000000"/>
                </a:solidFill>
                <a:latin typeface="+mn-lt"/>
              </a:rPr>
              <a:t>Dependent on </a:t>
            </a:r>
            <a:r>
              <a:rPr lang="en-US" sz="1200" b="1" dirty="0">
                <a:solidFill>
                  <a:srgbClr val="0563BB"/>
                </a:solidFill>
                <a:latin typeface="+mn-lt"/>
              </a:rPr>
              <a:t>China´s consumption of steel</a:t>
            </a:r>
            <a:r>
              <a:rPr lang="en-US" sz="1200" dirty="0">
                <a:solidFill>
                  <a:srgbClr val="000000"/>
                </a:solidFill>
                <a:latin typeface="+mn-lt"/>
              </a:rPr>
              <a:t>, which means not only quantity dependence but also price dependence</a:t>
            </a:r>
          </a:p>
          <a:p>
            <a:pPr marL="193675" lvl="1" indent="-192088" defTabSz="895350" eaLnBrk="0" hangingPunct="0">
              <a:spcBef>
                <a:spcPct val="25000"/>
              </a:spcBef>
              <a:buClr>
                <a:srgbClr val="002960"/>
              </a:buClr>
              <a:buSzPct val="125000"/>
              <a:buFont typeface="Arial" charset="0"/>
              <a:buChar char="▪"/>
              <a:defRPr/>
            </a:pPr>
            <a:r>
              <a:rPr lang="en-US" sz="1200" b="1" dirty="0">
                <a:solidFill>
                  <a:srgbClr val="0563BB"/>
                </a:solidFill>
                <a:latin typeface="+mn-lt"/>
              </a:rPr>
              <a:t>Integrating managing teams taking </a:t>
            </a:r>
            <a:r>
              <a:rPr lang="en-US" sz="1200" dirty="0">
                <a:solidFill>
                  <a:srgbClr val="000000"/>
                </a:solidFill>
                <a:latin typeface="+mn-lt"/>
              </a:rPr>
              <a:t>into account that in this merger only a small part of total synergies was coming from eliminating duplicated roles and functions. Thus, there was </a:t>
            </a:r>
            <a:r>
              <a:rPr lang="en-US" sz="1200" b="1" dirty="0">
                <a:solidFill>
                  <a:srgbClr val="0563BB"/>
                </a:solidFill>
                <a:latin typeface="+mn-lt"/>
              </a:rPr>
              <a:t>no economic incentive </a:t>
            </a:r>
            <a:r>
              <a:rPr lang="en-US" sz="1200" dirty="0">
                <a:latin typeface="+mn-lt"/>
              </a:rPr>
              <a:t>for this</a:t>
            </a:r>
          </a:p>
          <a:p>
            <a:pPr>
              <a:spcBef>
                <a:spcPct val="50000"/>
              </a:spcBef>
              <a:buClr>
                <a:srgbClr val="002960"/>
              </a:buClr>
            </a:pPr>
            <a:r>
              <a:rPr lang="en-US" sz="1200" b="1" dirty="0">
                <a:solidFill>
                  <a:srgbClr val="0066CC"/>
                </a:solidFill>
                <a:latin typeface="+mn-lt"/>
              </a:rPr>
              <a:t>Support client asked for</a:t>
            </a:r>
          </a:p>
          <a:p>
            <a:pPr marL="193675" lvl="1" indent="-192088" defTabSz="895350" eaLnBrk="0" hangingPunct="0">
              <a:spcBef>
                <a:spcPct val="25000"/>
              </a:spcBef>
              <a:buClr>
                <a:srgbClr val="002960"/>
              </a:buClr>
              <a:buSzPct val="125000"/>
              <a:buFont typeface="Arial" charset="0"/>
              <a:buChar char="▪"/>
              <a:defRPr/>
            </a:pPr>
            <a:r>
              <a:rPr lang="en-US" sz="1200" b="1" dirty="0">
                <a:solidFill>
                  <a:srgbClr val="0066CC"/>
                </a:solidFill>
                <a:latin typeface="+mn-lt"/>
              </a:rPr>
              <a:t>Continued support throughout the full integration process</a:t>
            </a:r>
          </a:p>
        </p:txBody>
      </p:sp>
      <p:sp>
        <p:nvSpPr>
          <p:cNvPr id="38" name="Rectangle 7"/>
          <p:cNvSpPr>
            <a:spLocks noChangeArrowheads="1"/>
          </p:cNvSpPr>
          <p:nvPr/>
        </p:nvSpPr>
        <p:spPr bwMode="gray">
          <a:xfrm>
            <a:off x="5991211" y="1192082"/>
            <a:ext cx="2545923" cy="3554819"/>
          </a:xfrm>
          <a:prstGeom prst="rect">
            <a:avLst/>
          </a:prstGeom>
          <a:noFill/>
          <a:ln w="19050">
            <a:noFill/>
            <a:miter lim="800000"/>
            <a:headEnd/>
            <a:tailEnd/>
          </a:ln>
        </p:spPr>
        <p:txBody>
          <a:bodyPr lIns="0" tIns="0" rIns="0" bIns="0">
            <a:spAutoFit/>
          </a:bodyPr>
          <a:lstStyle/>
          <a:p>
            <a:pPr marL="1587" lvl="1" defTabSz="895350" eaLnBrk="0" hangingPunct="0">
              <a:spcBef>
                <a:spcPct val="25000"/>
              </a:spcBef>
              <a:buClr>
                <a:srgbClr val="002960"/>
              </a:buClr>
              <a:buSzPct val="125000"/>
              <a:defRPr/>
            </a:pPr>
            <a:r>
              <a:rPr lang="en-US" sz="1200" b="1" dirty="0">
                <a:solidFill>
                  <a:srgbClr val="0066CC"/>
                </a:solidFill>
                <a:latin typeface="+mn-lt"/>
                <a:ea typeface="Arial Unicode MS"/>
                <a:cs typeface="Arial Unicode MS"/>
              </a:rPr>
              <a:t>Integration support</a:t>
            </a:r>
          </a:p>
          <a:p>
            <a:pPr marL="193675" lvl="1" indent="-192088" defTabSz="895350" eaLnBrk="0" hangingPunct="0">
              <a:spcBef>
                <a:spcPct val="25000"/>
              </a:spcBef>
              <a:buClr>
                <a:srgbClr val="002960"/>
              </a:buClr>
              <a:buSzPct val="125000"/>
              <a:buFont typeface="Arial" charset="0"/>
              <a:buChar char="▪"/>
              <a:defRPr/>
            </a:pPr>
            <a:r>
              <a:rPr lang="en-US" altLang="en-US" sz="1200" b="1" dirty="0">
                <a:solidFill>
                  <a:srgbClr val="0563BB"/>
                </a:solidFill>
                <a:latin typeface="+mn-lt"/>
              </a:rPr>
              <a:t>Standalone gains and synergies </a:t>
            </a:r>
            <a:r>
              <a:rPr lang="en-US" altLang="en-US" sz="1200" dirty="0">
                <a:latin typeface="+mn-lt"/>
              </a:rPr>
              <a:t>backed-up by implementation plans, developed by </a:t>
            </a:r>
            <a:r>
              <a:rPr lang="en-US" altLang="en-US" sz="1200" b="1" dirty="0">
                <a:solidFill>
                  <a:srgbClr val="0563BB"/>
                </a:solidFill>
                <a:latin typeface="+mn-lt"/>
              </a:rPr>
              <a:t>25 taskforces</a:t>
            </a:r>
          </a:p>
          <a:p>
            <a:pPr marL="193675" lvl="1" indent="-192088" defTabSz="895350" eaLnBrk="0" hangingPunct="0">
              <a:spcBef>
                <a:spcPct val="25000"/>
              </a:spcBef>
              <a:buClr>
                <a:srgbClr val="002960"/>
              </a:buClr>
              <a:buSzPct val="125000"/>
              <a:buFont typeface="Arial" charset="0"/>
              <a:buChar char="▪"/>
              <a:defRPr/>
            </a:pPr>
            <a:r>
              <a:rPr lang="en-US" altLang="en-US" sz="1200" b="1" dirty="0">
                <a:solidFill>
                  <a:srgbClr val="0563BB"/>
                </a:solidFill>
                <a:latin typeface="+mn-lt"/>
              </a:rPr>
              <a:t>Entire new organization </a:t>
            </a:r>
            <a:r>
              <a:rPr lang="en-US" altLang="en-US" sz="1200" dirty="0">
                <a:latin typeface="+mn-lt"/>
              </a:rPr>
              <a:t>announced within 3 months after deal closure</a:t>
            </a:r>
          </a:p>
          <a:p>
            <a:pPr marL="193675" lvl="1" indent="-192088" defTabSz="895350" eaLnBrk="0" hangingPunct="0">
              <a:spcBef>
                <a:spcPct val="25000"/>
              </a:spcBef>
              <a:buClr>
                <a:srgbClr val="002960"/>
              </a:buClr>
              <a:buSzPct val="125000"/>
              <a:buFont typeface="Arial" charset="0"/>
              <a:buChar char="▪"/>
              <a:defRPr/>
            </a:pPr>
            <a:r>
              <a:rPr lang="en-US" altLang="en-US" sz="1200" dirty="0">
                <a:latin typeface="+mn-lt"/>
              </a:rPr>
              <a:t>Cycle for </a:t>
            </a:r>
            <a:r>
              <a:rPr lang="en-US" altLang="en-US" sz="1200" b="1" dirty="0">
                <a:solidFill>
                  <a:srgbClr val="0563BB"/>
                </a:solidFill>
                <a:latin typeface="+mn-lt"/>
              </a:rPr>
              <a:t>tracking of implementation </a:t>
            </a:r>
            <a:r>
              <a:rPr lang="en-US" altLang="en-US" sz="1200" dirty="0">
                <a:latin typeface="+mn-lt"/>
              </a:rPr>
              <a:t>put in place and handed over after six month for follow-up to controlling</a:t>
            </a:r>
          </a:p>
          <a:p>
            <a:pPr marL="193675" lvl="1" indent="-192088" defTabSz="895350" eaLnBrk="0" hangingPunct="0">
              <a:spcBef>
                <a:spcPct val="25000"/>
              </a:spcBef>
              <a:buClr>
                <a:srgbClr val="002960"/>
              </a:buClr>
              <a:buSzPct val="125000"/>
              <a:buFont typeface="Arial" charset="0"/>
              <a:buChar char="▪"/>
              <a:defRPr/>
            </a:pPr>
            <a:r>
              <a:rPr lang="en-US" altLang="en-US" sz="1200" dirty="0">
                <a:latin typeface="+mn-lt"/>
              </a:rPr>
              <a:t>Developed a </a:t>
            </a:r>
            <a:r>
              <a:rPr lang="en-US" altLang="en-US" sz="1200" b="1" dirty="0">
                <a:solidFill>
                  <a:srgbClr val="0563BB"/>
                </a:solidFill>
                <a:latin typeface="+mn-lt"/>
              </a:rPr>
              <a:t>blueprint corporate center</a:t>
            </a:r>
            <a:r>
              <a:rPr lang="en-US" altLang="en-US" sz="1200" dirty="0">
                <a:latin typeface="+mn-lt"/>
              </a:rPr>
              <a:t> and </a:t>
            </a:r>
            <a:r>
              <a:rPr lang="en-US" altLang="en-US" sz="1200" b="1" dirty="0">
                <a:solidFill>
                  <a:srgbClr val="0563BB"/>
                </a:solidFill>
                <a:latin typeface="+mn-lt"/>
              </a:rPr>
              <a:t>shared services setup</a:t>
            </a:r>
            <a:r>
              <a:rPr lang="en-US" altLang="en-US" sz="1200" dirty="0">
                <a:latin typeface="+mn-lt"/>
              </a:rPr>
              <a:t>, for implementation over a five year time horizon</a:t>
            </a:r>
          </a:p>
          <a:p>
            <a:pPr marL="193675" lvl="1" indent="-192088" defTabSz="895350" eaLnBrk="0" hangingPunct="0">
              <a:spcBef>
                <a:spcPct val="25000"/>
              </a:spcBef>
              <a:buClr>
                <a:srgbClr val="002960"/>
              </a:buClr>
              <a:buSzPct val="125000"/>
              <a:buFont typeface="Arial" charset="0"/>
              <a:buChar char="▪"/>
              <a:defRPr/>
            </a:pPr>
            <a:r>
              <a:rPr lang="en-US" altLang="en-US" sz="1200" dirty="0">
                <a:latin typeface="+mn-lt"/>
              </a:rPr>
              <a:t>Developed a “</a:t>
            </a:r>
            <a:r>
              <a:rPr lang="en-US" altLang="en-US" sz="1200" b="1" dirty="0" err="1">
                <a:solidFill>
                  <a:srgbClr val="0563BB"/>
                </a:solidFill>
                <a:latin typeface="+mn-lt"/>
              </a:rPr>
              <a:t>heatmap</a:t>
            </a:r>
            <a:r>
              <a:rPr lang="en-US" altLang="en-US" sz="1200" b="1" dirty="0">
                <a:solidFill>
                  <a:srgbClr val="0563BB"/>
                </a:solidFill>
                <a:latin typeface="+mn-lt"/>
              </a:rPr>
              <a:t>”</a:t>
            </a:r>
            <a:r>
              <a:rPr lang="en-US" altLang="en-US" sz="1200" dirty="0">
                <a:latin typeface="+mn-lt"/>
              </a:rPr>
              <a:t> of critical transversal processes</a:t>
            </a:r>
          </a:p>
        </p:txBody>
      </p:sp>
      <p:sp>
        <p:nvSpPr>
          <p:cNvPr id="4" name="Chevron 3"/>
          <p:cNvSpPr/>
          <p:nvPr/>
        </p:nvSpPr>
        <p:spPr>
          <a:xfrm>
            <a:off x="2816722" y="765198"/>
            <a:ext cx="159376" cy="282222"/>
          </a:xfrm>
          <a:prstGeom prst="chevron">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40" name="Chevron 39"/>
          <p:cNvSpPr/>
          <p:nvPr/>
        </p:nvSpPr>
        <p:spPr>
          <a:xfrm>
            <a:off x="5600175" y="765198"/>
            <a:ext cx="159376" cy="282222"/>
          </a:xfrm>
          <a:prstGeom prst="chevron">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23" name="Title Tracker Circle">
            <a:extLst>
              <a:ext uri="{FF2B5EF4-FFF2-40B4-BE49-F238E27FC236}">
                <a16:creationId xmlns:a16="http://schemas.microsoft.com/office/drawing/2014/main" id="{37B98E55-FE13-4048-98E8-9E69FA0BA51F}"/>
              </a:ext>
            </a:extLst>
          </p:cNvPr>
          <p:cNvSpPr/>
          <p:nvPr/>
        </p:nvSpPr>
        <p:spPr>
          <a:xfrm>
            <a:off x="119063" y="166736"/>
            <a:ext cx="418798" cy="418798"/>
          </a:xfrm>
          <a:prstGeom prst="ellipse">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p>
            <a:pPr algn="ctr"/>
            <a:r>
              <a:rPr lang="en-US" sz="2000" dirty="0">
                <a:solidFill>
                  <a:schemeClr val="tx2"/>
                </a:solidFill>
                <a:latin typeface="+mj-lt"/>
              </a:rPr>
              <a:t>2A</a:t>
            </a:r>
          </a:p>
        </p:txBody>
      </p:sp>
      <p:sp>
        <p:nvSpPr>
          <p:cNvPr id="21" name="5. Source">
            <a:extLst>
              <a:ext uri="{FF2B5EF4-FFF2-40B4-BE49-F238E27FC236}">
                <a16:creationId xmlns:a16="http://schemas.microsoft.com/office/drawing/2014/main" id="{B1010979-6556-4FC8-AAF3-9044788FFB18}"/>
              </a:ext>
            </a:extLst>
          </p:cNvPr>
          <p:cNvSpPr>
            <a:spLocks noChangeArrowheads="1"/>
          </p:cNvSpPr>
          <p:nvPr>
            <p:custDataLst>
              <p:tags r:id="rId5"/>
            </p:custDataLst>
          </p:nvPr>
        </p:nvSpPr>
        <p:spPr bwMode="gray">
          <a:xfrm>
            <a:off x="119063" y="6507558"/>
            <a:ext cx="7200000" cy="123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marL="609600" indent="-609600" defTabSz="895350">
              <a:tabLst>
                <a:tab pos="612775" algn="l"/>
              </a:tabLst>
            </a:pPr>
            <a:r>
              <a:rPr lang="en-US" altLang="zh-CN" sz="800" dirty="0">
                <a:solidFill>
                  <a:schemeClr val="accent6"/>
                </a:solidFill>
                <a:latin typeface="Arial" panose="020B0604020202020204" pitchFamily="34" charset="0"/>
              </a:rPr>
              <a:t>SOURCE: McKinsey Merger Management Practice</a:t>
            </a:r>
          </a:p>
        </p:txBody>
      </p:sp>
    </p:spTree>
    <p:custDataLst>
      <p:tags r:id="rId2"/>
    </p:custDataLst>
    <p:extLst>
      <p:ext uri="{BB962C8B-B14F-4D97-AF65-F5344CB8AC3E}">
        <p14:creationId xmlns:p14="http://schemas.microsoft.com/office/powerpoint/2010/main" val="859843340"/>
      </p:ext>
    </p:extLst>
  </p:cSld>
  <p:clrMapOvr>
    <a:masterClrMapping/>
  </p:clrMapOvr>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146" name="AutoShape 3" hidden="1"/>
          <p:cNvGraphicFramePr>
            <a:graphicFrameLocks/>
          </p:cNvGraphicFramePr>
          <p:nvPr>
            <p:custDataLst>
              <p:tags r:id="rId3"/>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78548" name="think-cell Slide" r:id="rId8" imgW="0" imgH="0" progId="TCLayout.ActiveDocument.1">
                  <p:embed/>
                </p:oleObj>
              </mc:Choice>
              <mc:Fallback>
                <p:oleObj name="think-cell Slide" r:id="rId8" imgW="0" imgH="0" progId="TCLayout.ActiveDocument.1">
                  <p:embed/>
                  <p:pic>
                    <p:nvPicPr>
                      <p:cNvPr id="6146" name="AutoShape 3"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6162" name="Rectangle 14"/>
          <p:cNvSpPr>
            <a:spLocks noGrp="1" noChangeArrowheads="1"/>
          </p:cNvSpPr>
          <p:nvPr>
            <p:ph type="title"/>
            <p:custDataLst>
              <p:tags r:id="rId4"/>
            </p:custDataLst>
          </p:nvPr>
        </p:nvSpPr>
        <p:spPr>
          <a:xfrm>
            <a:off x="119063" y="230188"/>
            <a:ext cx="8618537" cy="307777"/>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marL="465138"/>
            <a:r>
              <a:rPr lang="en-US" dirty="0"/>
              <a:t>Case study: Merger of two global metal producer companies </a:t>
            </a:r>
          </a:p>
        </p:txBody>
      </p:sp>
      <p:sp>
        <p:nvSpPr>
          <p:cNvPr id="23" name="Title Tracker Circle">
            <a:extLst>
              <a:ext uri="{FF2B5EF4-FFF2-40B4-BE49-F238E27FC236}">
                <a16:creationId xmlns:a16="http://schemas.microsoft.com/office/drawing/2014/main" id="{FABAB624-B598-4F85-B0D6-03C559B416E6}"/>
              </a:ext>
            </a:extLst>
          </p:cNvPr>
          <p:cNvSpPr/>
          <p:nvPr/>
        </p:nvSpPr>
        <p:spPr>
          <a:xfrm>
            <a:off x="119063" y="166736"/>
            <a:ext cx="418798" cy="418798"/>
          </a:xfrm>
          <a:prstGeom prst="ellipse">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p>
            <a:pPr algn="ctr"/>
            <a:r>
              <a:rPr lang="en-US" sz="2000" dirty="0">
                <a:solidFill>
                  <a:schemeClr val="tx2"/>
                </a:solidFill>
                <a:latin typeface="+mj-lt"/>
              </a:rPr>
              <a:t>2B</a:t>
            </a:r>
          </a:p>
        </p:txBody>
      </p:sp>
      <p:sp>
        <p:nvSpPr>
          <p:cNvPr id="24" name="Rectangle 4">
            <a:extLst>
              <a:ext uri="{FF2B5EF4-FFF2-40B4-BE49-F238E27FC236}">
                <a16:creationId xmlns:a16="http://schemas.microsoft.com/office/drawing/2014/main" id="{BCAA1F0A-B57E-497D-B0AE-F85094A792DC}"/>
              </a:ext>
            </a:extLst>
          </p:cNvPr>
          <p:cNvSpPr>
            <a:spLocks noChangeArrowheads="1"/>
          </p:cNvSpPr>
          <p:nvPr/>
        </p:nvSpPr>
        <p:spPr bwMode="gray">
          <a:xfrm>
            <a:off x="339415" y="1144274"/>
            <a:ext cx="2715704" cy="5279246"/>
          </a:xfrm>
          <a:prstGeom prst="rect">
            <a:avLst/>
          </a:prstGeom>
          <a:solidFill>
            <a:schemeClr val="bg1">
              <a:lumMod val="95000"/>
            </a:schemeClr>
          </a:solidFill>
          <a:ln w="9525">
            <a:noFill/>
          </a:ln>
          <a:effectLst/>
          <a:ex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200" b="1" dirty="0">
              <a:solidFill>
                <a:srgbClr val="000000"/>
              </a:solidFill>
            </a:endParaRPr>
          </a:p>
        </p:txBody>
      </p:sp>
      <p:sp>
        <p:nvSpPr>
          <p:cNvPr id="28" name="Rectangle 4">
            <a:extLst>
              <a:ext uri="{FF2B5EF4-FFF2-40B4-BE49-F238E27FC236}">
                <a16:creationId xmlns:a16="http://schemas.microsoft.com/office/drawing/2014/main" id="{CB93A39D-7DBA-45A4-AC56-92EADB8E8A95}"/>
              </a:ext>
            </a:extLst>
          </p:cNvPr>
          <p:cNvSpPr>
            <a:spLocks noChangeArrowheads="1"/>
          </p:cNvSpPr>
          <p:nvPr/>
        </p:nvSpPr>
        <p:spPr bwMode="gray">
          <a:xfrm>
            <a:off x="3122868" y="1144274"/>
            <a:ext cx="2715704" cy="5279246"/>
          </a:xfrm>
          <a:prstGeom prst="rect">
            <a:avLst/>
          </a:prstGeom>
          <a:solidFill>
            <a:schemeClr val="bg1">
              <a:lumMod val="95000"/>
            </a:schemeClr>
          </a:solidFill>
          <a:ln w="9525">
            <a:noFill/>
          </a:ln>
          <a:effectLst/>
          <a:ex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200" b="1" dirty="0">
              <a:solidFill>
                <a:srgbClr val="000000"/>
              </a:solidFill>
            </a:endParaRPr>
          </a:p>
        </p:txBody>
      </p:sp>
      <p:sp>
        <p:nvSpPr>
          <p:cNvPr id="29" name="Rectangle 4">
            <a:extLst>
              <a:ext uri="{FF2B5EF4-FFF2-40B4-BE49-F238E27FC236}">
                <a16:creationId xmlns:a16="http://schemas.microsoft.com/office/drawing/2014/main" id="{BA0A7F78-62B9-45AF-80E8-AEE5FD53D961}"/>
              </a:ext>
            </a:extLst>
          </p:cNvPr>
          <p:cNvSpPr>
            <a:spLocks noChangeArrowheads="1"/>
          </p:cNvSpPr>
          <p:nvPr/>
        </p:nvSpPr>
        <p:spPr bwMode="gray">
          <a:xfrm>
            <a:off x="5906320" y="1144274"/>
            <a:ext cx="2715704" cy="5279246"/>
          </a:xfrm>
          <a:prstGeom prst="rect">
            <a:avLst/>
          </a:prstGeom>
          <a:solidFill>
            <a:schemeClr val="bg1">
              <a:lumMod val="95000"/>
            </a:schemeClr>
          </a:solidFill>
          <a:ln w="9525">
            <a:noFill/>
          </a:ln>
          <a:effectLst/>
          <a:ex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200" b="1" dirty="0">
              <a:solidFill>
                <a:srgbClr val="000000"/>
              </a:solidFill>
            </a:endParaRPr>
          </a:p>
        </p:txBody>
      </p:sp>
      <p:sp>
        <p:nvSpPr>
          <p:cNvPr id="31" name="TextBox 30">
            <a:extLst>
              <a:ext uri="{FF2B5EF4-FFF2-40B4-BE49-F238E27FC236}">
                <a16:creationId xmlns:a16="http://schemas.microsoft.com/office/drawing/2014/main" id="{7D8CD5ED-ED0E-4459-B9B1-EDBE527F8E07}"/>
              </a:ext>
            </a:extLst>
          </p:cNvPr>
          <p:cNvSpPr txBox="1">
            <a:spLocks/>
          </p:cNvSpPr>
          <p:nvPr/>
        </p:nvSpPr>
        <p:spPr>
          <a:xfrm>
            <a:off x="339415" y="669572"/>
            <a:ext cx="2715704" cy="473474"/>
          </a:xfrm>
          <a:prstGeom prst="rect">
            <a:avLst/>
          </a:prstGeom>
          <a:solidFill>
            <a:schemeClr val="accent3"/>
          </a:solidFill>
          <a:ln w="9525">
            <a:noFill/>
            <a:miter lim="800000"/>
            <a:headEnd/>
            <a:tailEnd/>
          </a:ln>
          <a:effectLst/>
          <a:extLst/>
        </p:spPr>
        <p:txBody>
          <a:bodyPr vert="horz" wrap="square" lIns="457200" tIns="72009" rIns="72009" bIns="72009" numCol="1" anchor="ctr" anchorCtr="0" compatLnSpc="1">
            <a:prstTxWarp prst="textNoShape">
              <a:avLst/>
            </a:prstTxWarp>
            <a:noAutofit/>
          </a:bodyPr>
          <a:lstStyle>
            <a:lvl1pPr defTabSz="895350" eaLnBrk="1" hangingPunct="1">
              <a:tabLst>
                <a:tab pos="269875" algn="l"/>
              </a:tabLst>
              <a:defRPr sz="1900" b="1" baseline="0">
                <a:solidFill>
                  <a:schemeClr val="tx2"/>
                </a:solidFill>
                <a:latin typeface="+mj-lt"/>
                <a:ea typeface="+mj-ea"/>
                <a:cs typeface="+mj-cs"/>
              </a:defRPr>
            </a:lvl1pPr>
            <a:lvl2pPr defTabSz="895350" eaLnBrk="1" hangingPunct="1">
              <a:defRPr sz="1900" b="1">
                <a:solidFill>
                  <a:schemeClr val="tx2"/>
                </a:solidFill>
              </a:defRPr>
            </a:lvl2pPr>
            <a:lvl3pPr defTabSz="895350" eaLnBrk="1" hangingPunct="1">
              <a:defRPr sz="1900" b="1">
                <a:solidFill>
                  <a:schemeClr val="tx2"/>
                </a:solidFill>
              </a:defRPr>
            </a:lvl3pPr>
            <a:lvl4pPr defTabSz="895350" eaLnBrk="1" hangingPunct="1">
              <a:defRPr sz="1900" b="1">
                <a:solidFill>
                  <a:schemeClr val="tx2"/>
                </a:solidFill>
              </a:defRPr>
            </a:lvl4pPr>
            <a:lvl5pPr defTabSz="895350" eaLnBrk="1" hangingPunct="1">
              <a:defRPr sz="1900" b="1">
                <a:solidFill>
                  <a:schemeClr val="tx2"/>
                </a:solidFill>
              </a:defRPr>
            </a:lvl5pPr>
            <a:lvl6pPr marL="457200" defTabSz="895350" fontAlgn="base">
              <a:spcBef>
                <a:spcPct val="0"/>
              </a:spcBef>
              <a:spcAft>
                <a:spcPct val="0"/>
              </a:spcAft>
              <a:defRPr sz="1900" b="1">
                <a:solidFill>
                  <a:schemeClr val="tx2"/>
                </a:solidFill>
              </a:defRPr>
            </a:lvl6pPr>
            <a:lvl7pPr marL="914400" defTabSz="895350" fontAlgn="base">
              <a:spcBef>
                <a:spcPct val="0"/>
              </a:spcBef>
              <a:spcAft>
                <a:spcPct val="0"/>
              </a:spcAft>
              <a:defRPr sz="1900" b="1">
                <a:solidFill>
                  <a:schemeClr val="tx2"/>
                </a:solidFill>
              </a:defRPr>
            </a:lvl7pPr>
            <a:lvl8pPr marL="1371600" defTabSz="895350" fontAlgn="base">
              <a:spcBef>
                <a:spcPct val="0"/>
              </a:spcBef>
              <a:spcAft>
                <a:spcPct val="0"/>
              </a:spcAft>
              <a:defRPr sz="1900" b="1">
                <a:solidFill>
                  <a:schemeClr val="tx2"/>
                </a:solidFill>
              </a:defRPr>
            </a:lvl8pPr>
            <a:lvl9pPr marL="1828800" defTabSz="895350" fontAlgn="base">
              <a:spcBef>
                <a:spcPct val="0"/>
              </a:spcBef>
              <a:spcAft>
                <a:spcPct val="0"/>
              </a:spcAft>
              <a:defRPr sz="1900" b="1">
                <a:solidFill>
                  <a:schemeClr val="tx2"/>
                </a:solidFill>
              </a:defRPr>
            </a:lvl9pPr>
          </a:lstStyle>
          <a:p>
            <a:pPr>
              <a:tabLst/>
            </a:pPr>
            <a:r>
              <a:rPr lang="en-US" sz="1200" dirty="0">
                <a:solidFill>
                  <a:schemeClr val="bg1"/>
                </a:solidFill>
                <a:latin typeface="+mn-lt"/>
              </a:rPr>
              <a:t>Situation</a:t>
            </a:r>
          </a:p>
        </p:txBody>
      </p:sp>
      <p:sp>
        <p:nvSpPr>
          <p:cNvPr id="32" name="TextBox 31">
            <a:extLst>
              <a:ext uri="{FF2B5EF4-FFF2-40B4-BE49-F238E27FC236}">
                <a16:creationId xmlns:a16="http://schemas.microsoft.com/office/drawing/2014/main" id="{B7EA6858-9714-409D-8F8A-ED695C6292A3}"/>
              </a:ext>
            </a:extLst>
          </p:cNvPr>
          <p:cNvSpPr txBox="1">
            <a:spLocks/>
          </p:cNvSpPr>
          <p:nvPr/>
        </p:nvSpPr>
        <p:spPr>
          <a:xfrm>
            <a:off x="5906320" y="669572"/>
            <a:ext cx="2715704" cy="473474"/>
          </a:xfrm>
          <a:prstGeom prst="rect">
            <a:avLst/>
          </a:prstGeom>
          <a:solidFill>
            <a:schemeClr val="accent3"/>
          </a:solidFill>
          <a:ln w="9525">
            <a:noFill/>
            <a:miter lim="800000"/>
            <a:headEnd/>
            <a:tailEnd/>
          </a:ln>
          <a:effectLst/>
          <a:extLst/>
        </p:spPr>
        <p:txBody>
          <a:bodyPr vert="horz" wrap="square" lIns="457200" tIns="72009" rIns="72009" bIns="72009" numCol="1" anchor="ctr" anchorCtr="0" compatLnSpc="1">
            <a:prstTxWarp prst="textNoShape">
              <a:avLst/>
            </a:prstTxWarp>
            <a:noAutofit/>
          </a:bodyPr>
          <a:lstStyle>
            <a:defPPr>
              <a:defRPr lang="en-US"/>
            </a:defPPr>
            <a:lvl1pPr marL="342900" defTabSz="895350" eaLnBrk="1" hangingPunct="1">
              <a:tabLst>
                <a:tab pos="317500" algn="l"/>
                <a:tab pos="342900" algn="l"/>
              </a:tabLst>
              <a:defRPr sz="1150" b="1" baseline="0">
                <a:solidFill>
                  <a:srgbClr val="0066CC"/>
                </a:solidFill>
                <a:latin typeface="+mj-lt"/>
                <a:ea typeface="+mj-ea"/>
                <a:cs typeface="+mj-cs"/>
              </a:defRPr>
            </a:lvl1pPr>
            <a:lvl2pPr defTabSz="895350" eaLnBrk="1" hangingPunct="1">
              <a:defRPr sz="1900" b="1">
                <a:solidFill>
                  <a:schemeClr val="tx2"/>
                </a:solidFill>
              </a:defRPr>
            </a:lvl2pPr>
            <a:lvl3pPr defTabSz="895350" eaLnBrk="1" hangingPunct="1">
              <a:defRPr sz="1900" b="1">
                <a:solidFill>
                  <a:schemeClr val="tx2"/>
                </a:solidFill>
              </a:defRPr>
            </a:lvl3pPr>
            <a:lvl4pPr defTabSz="895350" eaLnBrk="1" hangingPunct="1">
              <a:defRPr sz="1900" b="1">
                <a:solidFill>
                  <a:schemeClr val="tx2"/>
                </a:solidFill>
              </a:defRPr>
            </a:lvl4pPr>
            <a:lvl5pPr defTabSz="895350" eaLnBrk="1" hangingPunct="1">
              <a:defRPr sz="1900" b="1">
                <a:solidFill>
                  <a:schemeClr val="tx2"/>
                </a:solidFill>
              </a:defRPr>
            </a:lvl5pPr>
            <a:lvl6pPr marL="457200" defTabSz="895350" fontAlgn="base">
              <a:spcBef>
                <a:spcPct val="0"/>
              </a:spcBef>
              <a:spcAft>
                <a:spcPct val="0"/>
              </a:spcAft>
              <a:defRPr sz="1900" b="1">
                <a:solidFill>
                  <a:schemeClr val="tx2"/>
                </a:solidFill>
              </a:defRPr>
            </a:lvl6pPr>
            <a:lvl7pPr marL="914400" defTabSz="895350" fontAlgn="base">
              <a:spcBef>
                <a:spcPct val="0"/>
              </a:spcBef>
              <a:spcAft>
                <a:spcPct val="0"/>
              </a:spcAft>
              <a:defRPr sz="1900" b="1">
                <a:solidFill>
                  <a:schemeClr val="tx2"/>
                </a:solidFill>
              </a:defRPr>
            </a:lvl7pPr>
            <a:lvl8pPr marL="1371600" defTabSz="895350" fontAlgn="base">
              <a:spcBef>
                <a:spcPct val="0"/>
              </a:spcBef>
              <a:spcAft>
                <a:spcPct val="0"/>
              </a:spcAft>
              <a:defRPr sz="1900" b="1">
                <a:solidFill>
                  <a:schemeClr val="tx2"/>
                </a:solidFill>
              </a:defRPr>
            </a:lvl8pPr>
            <a:lvl9pPr marL="1828800" defTabSz="895350" fontAlgn="base">
              <a:spcBef>
                <a:spcPct val="0"/>
              </a:spcBef>
              <a:spcAft>
                <a:spcPct val="0"/>
              </a:spcAft>
              <a:defRPr sz="1900" b="1">
                <a:solidFill>
                  <a:schemeClr val="tx2"/>
                </a:solidFill>
              </a:defRPr>
            </a:lvl9pPr>
          </a:lstStyle>
          <a:p>
            <a:pPr marL="0">
              <a:tabLst/>
            </a:pPr>
            <a:r>
              <a:rPr lang="en-US" sz="1200" dirty="0">
                <a:solidFill>
                  <a:schemeClr val="bg1"/>
                </a:solidFill>
                <a:latin typeface="+mn-lt"/>
              </a:rPr>
              <a:t>Impact</a:t>
            </a:r>
          </a:p>
        </p:txBody>
      </p:sp>
      <p:sp>
        <p:nvSpPr>
          <p:cNvPr id="34" name="TextBox 33">
            <a:extLst>
              <a:ext uri="{FF2B5EF4-FFF2-40B4-BE49-F238E27FC236}">
                <a16:creationId xmlns:a16="http://schemas.microsoft.com/office/drawing/2014/main" id="{5EA129A9-CC3D-4D51-A021-4B79C7D2F0D8}"/>
              </a:ext>
            </a:extLst>
          </p:cNvPr>
          <p:cNvSpPr txBox="1">
            <a:spLocks/>
          </p:cNvSpPr>
          <p:nvPr/>
        </p:nvSpPr>
        <p:spPr>
          <a:xfrm>
            <a:off x="3122868" y="669572"/>
            <a:ext cx="2715704" cy="473474"/>
          </a:xfrm>
          <a:prstGeom prst="rect">
            <a:avLst/>
          </a:prstGeom>
          <a:solidFill>
            <a:schemeClr val="accent3"/>
          </a:solidFill>
          <a:ln w="9525">
            <a:noFill/>
            <a:miter lim="800000"/>
            <a:headEnd/>
            <a:tailEnd/>
          </a:ln>
          <a:effectLst/>
          <a:extLst/>
        </p:spPr>
        <p:txBody>
          <a:bodyPr vert="horz" wrap="square" lIns="457200" tIns="72009" rIns="72009" bIns="72009" numCol="1" anchor="ctr" anchorCtr="0" compatLnSpc="1">
            <a:prstTxWarp prst="textNoShape">
              <a:avLst/>
            </a:prstTxWarp>
            <a:noAutofit/>
          </a:bodyPr>
          <a:lstStyle>
            <a:defPPr>
              <a:defRPr lang="en-US"/>
            </a:defPPr>
            <a:lvl1pPr marL="342900" defTabSz="895350" eaLnBrk="1" hangingPunct="1">
              <a:tabLst>
                <a:tab pos="317500" algn="l"/>
                <a:tab pos="342900" algn="l"/>
              </a:tabLst>
              <a:defRPr sz="1150" b="1" baseline="0">
                <a:solidFill>
                  <a:srgbClr val="0066CC"/>
                </a:solidFill>
                <a:latin typeface="+mj-lt"/>
                <a:ea typeface="+mj-ea"/>
                <a:cs typeface="+mj-cs"/>
              </a:defRPr>
            </a:lvl1pPr>
            <a:lvl2pPr defTabSz="895350" eaLnBrk="1" hangingPunct="1">
              <a:defRPr sz="1900" b="1">
                <a:solidFill>
                  <a:schemeClr val="tx2"/>
                </a:solidFill>
              </a:defRPr>
            </a:lvl2pPr>
            <a:lvl3pPr defTabSz="895350" eaLnBrk="1" hangingPunct="1">
              <a:defRPr sz="1900" b="1">
                <a:solidFill>
                  <a:schemeClr val="tx2"/>
                </a:solidFill>
              </a:defRPr>
            </a:lvl3pPr>
            <a:lvl4pPr defTabSz="895350" eaLnBrk="1" hangingPunct="1">
              <a:defRPr sz="1900" b="1">
                <a:solidFill>
                  <a:schemeClr val="tx2"/>
                </a:solidFill>
              </a:defRPr>
            </a:lvl4pPr>
            <a:lvl5pPr defTabSz="895350" eaLnBrk="1" hangingPunct="1">
              <a:defRPr sz="1900" b="1">
                <a:solidFill>
                  <a:schemeClr val="tx2"/>
                </a:solidFill>
              </a:defRPr>
            </a:lvl5pPr>
            <a:lvl6pPr marL="457200" defTabSz="895350" fontAlgn="base">
              <a:spcBef>
                <a:spcPct val="0"/>
              </a:spcBef>
              <a:spcAft>
                <a:spcPct val="0"/>
              </a:spcAft>
              <a:defRPr sz="1900" b="1">
                <a:solidFill>
                  <a:schemeClr val="tx2"/>
                </a:solidFill>
              </a:defRPr>
            </a:lvl6pPr>
            <a:lvl7pPr marL="914400" defTabSz="895350" fontAlgn="base">
              <a:spcBef>
                <a:spcPct val="0"/>
              </a:spcBef>
              <a:spcAft>
                <a:spcPct val="0"/>
              </a:spcAft>
              <a:defRPr sz="1900" b="1">
                <a:solidFill>
                  <a:schemeClr val="tx2"/>
                </a:solidFill>
              </a:defRPr>
            </a:lvl7pPr>
            <a:lvl8pPr marL="1371600" defTabSz="895350" fontAlgn="base">
              <a:spcBef>
                <a:spcPct val="0"/>
              </a:spcBef>
              <a:spcAft>
                <a:spcPct val="0"/>
              </a:spcAft>
              <a:defRPr sz="1900" b="1">
                <a:solidFill>
                  <a:schemeClr val="tx2"/>
                </a:solidFill>
              </a:defRPr>
            </a:lvl8pPr>
            <a:lvl9pPr marL="1828800" defTabSz="895350" fontAlgn="base">
              <a:spcBef>
                <a:spcPct val="0"/>
              </a:spcBef>
              <a:spcAft>
                <a:spcPct val="0"/>
              </a:spcAft>
              <a:defRPr sz="1900" b="1">
                <a:solidFill>
                  <a:schemeClr val="tx2"/>
                </a:solidFill>
              </a:defRPr>
            </a:lvl9pPr>
          </a:lstStyle>
          <a:p>
            <a:pPr marL="0">
              <a:tabLst>
                <a:tab pos="1143000" algn="l"/>
              </a:tabLst>
            </a:pPr>
            <a:r>
              <a:rPr lang="en-US" sz="1200" dirty="0">
                <a:solidFill>
                  <a:schemeClr val="bg1"/>
                </a:solidFill>
                <a:latin typeface="+mn-lt"/>
              </a:rPr>
              <a:t>McKinsey Approach</a:t>
            </a:r>
          </a:p>
        </p:txBody>
      </p:sp>
      <p:sp>
        <p:nvSpPr>
          <p:cNvPr id="35" name="Freeform 52">
            <a:extLst>
              <a:ext uri="{FF2B5EF4-FFF2-40B4-BE49-F238E27FC236}">
                <a16:creationId xmlns:a16="http://schemas.microsoft.com/office/drawing/2014/main" id="{5AF4D5EF-2C2D-415D-812C-BA87FFA133D8}"/>
              </a:ext>
            </a:extLst>
          </p:cNvPr>
          <p:cNvSpPr/>
          <p:nvPr/>
        </p:nvSpPr>
        <p:spPr>
          <a:xfrm>
            <a:off x="5979694" y="730399"/>
            <a:ext cx="350181" cy="351821"/>
          </a:xfrm>
          <a:custGeom>
            <a:avLst/>
            <a:gdLst>
              <a:gd name="connsiteX0" fmla="*/ 1229400 w 2872287"/>
              <a:gd name="connsiteY0" fmla="*/ 1044324 h 2885724"/>
              <a:gd name="connsiteX1" fmla="*/ 1352739 w 2872287"/>
              <a:gd name="connsiteY1" fmla="*/ 1056758 h 2885724"/>
              <a:gd name="connsiteX2" fmla="*/ 1405032 w 2872287"/>
              <a:gd name="connsiteY2" fmla="*/ 1072990 h 2885724"/>
              <a:gd name="connsiteX3" fmla="*/ 1371388 w 2872287"/>
              <a:gd name="connsiteY3" fmla="*/ 1125341 h 2885724"/>
              <a:gd name="connsiteX4" fmla="*/ 1299983 w 2872287"/>
              <a:gd name="connsiteY4" fmla="*/ 1292254 h 2885724"/>
              <a:gd name="connsiteX5" fmla="*/ 1291507 w 2872287"/>
              <a:gd name="connsiteY5" fmla="*/ 1348568 h 2885724"/>
              <a:gd name="connsiteX6" fmla="*/ 1229400 w 2872287"/>
              <a:gd name="connsiteY6" fmla="*/ 1342307 h 2885724"/>
              <a:gd name="connsiteX7" fmla="*/ 915383 w 2872287"/>
              <a:gd name="connsiteY7" fmla="*/ 1656324 h 2885724"/>
              <a:gd name="connsiteX8" fmla="*/ 1229400 w 2872287"/>
              <a:gd name="connsiteY8" fmla="*/ 1970341 h 2885724"/>
              <a:gd name="connsiteX9" fmla="*/ 1543417 w 2872287"/>
              <a:gd name="connsiteY9" fmla="*/ 1656324 h 2885724"/>
              <a:gd name="connsiteX10" fmla="*/ 1537038 w 2872287"/>
              <a:gd name="connsiteY10" fmla="*/ 1593039 h 2885724"/>
              <a:gd name="connsiteX11" fmla="*/ 1532628 w 2872287"/>
              <a:gd name="connsiteY11" fmla="*/ 1578835 h 2885724"/>
              <a:gd name="connsiteX12" fmla="*/ 1573883 w 2872287"/>
              <a:gd name="connsiteY12" fmla="*/ 1572626 h 2885724"/>
              <a:gd name="connsiteX13" fmla="*/ 1740796 w 2872287"/>
              <a:gd name="connsiteY13" fmla="*/ 1501221 h 2885724"/>
              <a:gd name="connsiteX14" fmla="*/ 1806082 w 2872287"/>
              <a:gd name="connsiteY14" fmla="*/ 1459264 h 2885724"/>
              <a:gd name="connsiteX15" fmla="*/ 1828967 w 2872287"/>
              <a:gd name="connsiteY15" fmla="*/ 1532985 h 2885724"/>
              <a:gd name="connsiteX16" fmla="*/ 1841400 w 2872287"/>
              <a:gd name="connsiteY16" fmla="*/ 1656324 h 2885724"/>
              <a:gd name="connsiteX17" fmla="*/ 1229400 w 2872287"/>
              <a:gd name="connsiteY17" fmla="*/ 2268324 h 2885724"/>
              <a:gd name="connsiteX18" fmla="*/ 617400 w 2872287"/>
              <a:gd name="connsiteY18" fmla="*/ 1656324 h 2885724"/>
              <a:gd name="connsiteX19" fmla="*/ 1229400 w 2872287"/>
              <a:gd name="connsiteY19" fmla="*/ 1044324 h 2885724"/>
              <a:gd name="connsiteX20" fmla="*/ 1229400 w 2872287"/>
              <a:gd name="connsiteY20" fmla="*/ 426924 h 2885724"/>
              <a:gd name="connsiteX21" fmla="*/ 1916770 w 2872287"/>
              <a:gd name="connsiteY21" fmla="*/ 636886 h 2885724"/>
              <a:gd name="connsiteX22" fmla="*/ 1929798 w 2872287"/>
              <a:gd name="connsiteY22" fmla="*/ 646629 h 2885724"/>
              <a:gd name="connsiteX23" fmla="*/ 1885417 w 2872287"/>
              <a:gd name="connsiteY23" fmla="*/ 679181 h 2885724"/>
              <a:gd name="connsiteX24" fmla="*/ 1766443 w 2872287"/>
              <a:gd name="connsiteY24" fmla="*/ 778925 h 2885724"/>
              <a:gd name="connsiteX25" fmla="*/ 1697698 w 2872287"/>
              <a:gd name="connsiteY25" fmla="*/ 843854 h 2885724"/>
              <a:gd name="connsiteX26" fmla="*/ 1676733 w 2872287"/>
              <a:gd name="connsiteY26" fmla="*/ 831118 h 2885724"/>
              <a:gd name="connsiteX27" fmla="*/ 1229400 w 2872287"/>
              <a:gd name="connsiteY27" fmla="*/ 717849 h 2885724"/>
              <a:gd name="connsiteX28" fmla="*/ 290925 w 2872287"/>
              <a:gd name="connsiteY28" fmla="*/ 1656324 h 2885724"/>
              <a:gd name="connsiteX29" fmla="*/ 1229400 w 2872287"/>
              <a:gd name="connsiteY29" fmla="*/ 2594799 h 2885724"/>
              <a:gd name="connsiteX30" fmla="*/ 2167875 w 2872287"/>
              <a:gd name="connsiteY30" fmla="*/ 1656324 h 2885724"/>
              <a:gd name="connsiteX31" fmla="*/ 2054606 w 2872287"/>
              <a:gd name="connsiteY31" fmla="*/ 1208991 h 2885724"/>
              <a:gd name="connsiteX32" fmla="*/ 2028904 w 2872287"/>
              <a:gd name="connsiteY32" fmla="*/ 1166684 h 2885724"/>
              <a:gd name="connsiteX33" fmla="*/ 2089764 w 2872287"/>
              <a:gd name="connsiteY33" fmla="*/ 1102246 h 2885724"/>
              <a:gd name="connsiteX34" fmla="*/ 2189508 w 2872287"/>
              <a:gd name="connsiteY34" fmla="*/ 983272 h 2885724"/>
              <a:gd name="connsiteX35" fmla="*/ 2224188 w 2872287"/>
              <a:gd name="connsiteY35" fmla="*/ 935991 h 2885724"/>
              <a:gd name="connsiteX36" fmla="*/ 2248838 w 2872287"/>
              <a:gd name="connsiteY36" fmla="*/ 968955 h 2885724"/>
              <a:gd name="connsiteX37" fmla="*/ 2458800 w 2872287"/>
              <a:gd name="connsiteY37" fmla="*/ 1656324 h 2885724"/>
              <a:gd name="connsiteX38" fmla="*/ 1229400 w 2872287"/>
              <a:gd name="connsiteY38" fmla="*/ 2885724 h 2885724"/>
              <a:gd name="connsiteX39" fmla="*/ 0 w 2872287"/>
              <a:gd name="connsiteY39" fmla="*/ 1656324 h 2885724"/>
              <a:gd name="connsiteX40" fmla="*/ 1229400 w 2872287"/>
              <a:gd name="connsiteY40" fmla="*/ 426924 h 2885724"/>
              <a:gd name="connsiteX41" fmla="*/ 2402682 w 2872287"/>
              <a:gd name="connsiteY41" fmla="*/ 680 h 2885724"/>
              <a:gd name="connsiteX42" fmla="*/ 2450307 w 2872287"/>
              <a:gd name="connsiteY42" fmla="*/ 36399 h 2885724"/>
              <a:gd name="connsiteX43" fmla="*/ 2493170 w 2872287"/>
              <a:gd name="connsiteY43" fmla="*/ 184037 h 2885724"/>
              <a:gd name="connsiteX44" fmla="*/ 2526508 w 2872287"/>
              <a:gd name="connsiteY44" fmla="*/ 322149 h 2885724"/>
              <a:gd name="connsiteX45" fmla="*/ 2574132 w 2872287"/>
              <a:gd name="connsiteY45" fmla="*/ 345962 h 2885724"/>
              <a:gd name="connsiteX46" fmla="*/ 2776539 w 2872287"/>
              <a:gd name="connsiteY46" fmla="*/ 405494 h 2885724"/>
              <a:gd name="connsiteX47" fmla="*/ 2864645 w 2872287"/>
              <a:gd name="connsiteY47" fmla="*/ 450737 h 2885724"/>
              <a:gd name="connsiteX48" fmla="*/ 2859882 w 2872287"/>
              <a:gd name="connsiteY48" fmla="*/ 515030 h 2885724"/>
              <a:gd name="connsiteX49" fmla="*/ 2795589 w 2872287"/>
              <a:gd name="connsiteY49" fmla="*/ 591230 h 2885724"/>
              <a:gd name="connsiteX50" fmla="*/ 2667002 w 2872287"/>
              <a:gd name="connsiteY50" fmla="*/ 715055 h 2885724"/>
              <a:gd name="connsiteX51" fmla="*/ 2552701 w 2872287"/>
              <a:gd name="connsiteY51" fmla="*/ 769824 h 2885724"/>
              <a:gd name="connsiteX52" fmla="*/ 2431257 w 2872287"/>
              <a:gd name="connsiteY52" fmla="*/ 784112 h 2885724"/>
              <a:gd name="connsiteX53" fmla="*/ 2271714 w 2872287"/>
              <a:gd name="connsiteY53" fmla="*/ 762680 h 2885724"/>
              <a:gd name="connsiteX54" fmla="*/ 2225051 w 2872287"/>
              <a:gd name="connsiteY54" fmla="*/ 746476 h 2885724"/>
              <a:gd name="connsiteX55" fmla="*/ 2216943 w 2872287"/>
              <a:gd name="connsiteY55" fmla="*/ 757918 h 2885724"/>
              <a:gd name="connsiteX56" fmla="*/ 2064543 w 2872287"/>
              <a:gd name="connsiteY56" fmla="*/ 962705 h 2885724"/>
              <a:gd name="connsiteX57" fmla="*/ 1862137 w 2872287"/>
              <a:gd name="connsiteY57" fmla="*/ 1212737 h 2885724"/>
              <a:gd name="connsiteX58" fmla="*/ 1750218 w 2872287"/>
              <a:gd name="connsiteY58" fmla="*/ 1334180 h 2885724"/>
              <a:gd name="connsiteX59" fmla="*/ 1664493 w 2872287"/>
              <a:gd name="connsiteY59" fmla="*/ 1407999 h 2885724"/>
              <a:gd name="connsiteX60" fmla="*/ 1607343 w 2872287"/>
              <a:gd name="connsiteY60" fmla="*/ 1438955 h 2885724"/>
              <a:gd name="connsiteX61" fmla="*/ 1550193 w 2872287"/>
              <a:gd name="connsiteY61" fmla="*/ 1438955 h 2885724"/>
              <a:gd name="connsiteX62" fmla="*/ 1526380 w 2872287"/>
              <a:gd name="connsiteY62" fmla="*/ 1438955 h 2885724"/>
              <a:gd name="connsiteX63" fmla="*/ 1521677 w 2872287"/>
              <a:gd name="connsiteY63" fmla="*/ 1440971 h 2885724"/>
              <a:gd name="connsiteX64" fmla="*/ 1499508 w 2872287"/>
              <a:gd name="connsiteY64" fmla="*/ 1464922 h 2885724"/>
              <a:gd name="connsiteX65" fmla="*/ 1198503 w 2872287"/>
              <a:gd name="connsiteY65" fmla="*/ 1669195 h 2885724"/>
              <a:gd name="connsiteX66" fmla="*/ 1402776 w 2872287"/>
              <a:gd name="connsiteY66" fmla="*/ 1368190 h 2885724"/>
              <a:gd name="connsiteX67" fmla="*/ 1429420 w 2872287"/>
              <a:gd name="connsiteY67" fmla="*/ 1343529 h 2885724"/>
              <a:gd name="connsiteX68" fmla="*/ 1427856 w 2872287"/>
              <a:gd name="connsiteY68" fmla="*/ 1324358 h 2885724"/>
              <a:gd name="connsiteX69" fmla="*/ 1423987 w 2872287"/>
              <a:gd name="connsiteY69" fmla="*/ 1288937 h 2885724"/>
              <a:gd name="connsiteX70" fmla="*/ 1435893 w 2872287"/>
              <a:gd name="connsiteY70" fmla="*/ 1231787 h 2885724"/>
              <a:gd name="connsiteX71" fmla="*/ 1502568 w 2872287"/>
              <a:gd name="connsiteY71" fmla="*/ 1148443 h 2885724"/>
              <a:gd name="connsiteX72" fmla="*/ 1693068 w 2872287"/>
              <a:gd name="connsiteY72" fmla="*/ 972230 h 2885724"/>
              <a:gd name="connsiteX73" fmla="*/ 1959768 w 2872287"/>
              <a:gd name="connsiteY73" fmla="*/ 760299 h 2885724"/>
              <a:gd name="connsiteX74" fmla="*/ 2058441 w 2872287"/>
              <a:gd name="connsiteY74" fmla="*/ 689309 h 2885724"/>
              <a:gd name="connsiteX75" fmla="*/ 2114702 w 2872287"/>
              <a:gd name="connsiteY75" fmla="*/ 654020 h 2885724"/>
              <a:gd name="connsiteX76" fmla="*/ 2106812 w 2872287"/>
              <a:gd name="connsiteY76" fmla="*/ 603584 h 2885724"/>
              <a:gd name="connsiteX77" fmla="*/ 2095501 w 2872287"/>
              <a:gd name="connsiteY77" fmla="*/ 495982 h 2885724"/>
              <a:gd name="connsiteX78" fmla="*/ 2095501 w 2872287"/>
              <a:gd name="connsiteY78" fmla="*/ 326912 h 2885724"/>
              <a:gd name="connsiteX79" fmla="*/ 2147889 w 2872287"/>
              <a:gd name="connsiteY79" fmla="*/ 231662 h 2885724"/>
              <a:gd name="connsiteX80" fmla="*/ 2300289 w 2872287"/>
              <a:gd name="connsiteY80" fmla="*/ 69737 h 2885724"/>
              <a:gd name="connsiteX81" fmla="*/ 2352676 w 2872287"/>
              <a:gd name="connsiteY81" fmla="*/ 17349 h 2885724"/>
              <a:gd name="connsiteX82" fmla="*/ 2402682 w 2872287"/>
              <a:gd name="connsiteY82" fmla="*/ 680 h 2885724"/>
              <a:gd name="connsiteX0" fmla="*/ 1229400 w 2872287"/>
              <a:gd name="connsiteY0" fmla="*/ 1044324 h 2885724"/>
              <a:gd name="connsiteX1" fmla="*/ 1352739 w 2872287"/>
              <a:gd name="connsiteY1" fmla="*/ 1056758 h 2885724"/>
              <a:gd name="connsiteX2" fmla="*/ 1405032 w 2872287"/>
              <a:gd name="connsiteY2" fmla="*/ 1072990 h 2885724"/>
              <a:gd name="connsiteX3" fmla="*/ 1371388 w 2872287"/>
              <a:gd name="connsiteY3" fmla="*/ 1125341 h 2885724"/>
              <a:gd name="connsiteX4" fmla="*/ 1299983 w 2872287"/>
              <a:gd name="connsiteY4" fmla="*/ 1292254 h 2885724"/>
              <a:gd name="connsiteX5" fmla="*/ 1291507 w 2872287"/>
              <a:gd name="connsiteY5" fmla="*/ 1348568 h 2885724"/>
              <a:gd name="connsiteX6" fmla="*/ 1229400 w 2872287"/>
              <a:gd name="connsiteY6" fmla="*/ 1342307 h 2885724"/>
              <a:gd name="connsiteX7" fmla="*/ 915383 w 2872287"/>
              <a:gd name="connsiteY7" fmla="*/ 1656324 h 2885724"/>
              <a:gd name="connsiteX8" fmla="*/ 1229400 w 2872287"/>
              <a:gd name="connsiteY8" fmla="*/ 1970341 h 2885724"/>
              <a:gd name="connsiteX9" fmla="*/ 1543417 w 2872287"/>
              <a:gd name="connsiteY9" fmla="*/ 1656324 h 2885724"/>
              <a:gd name="connsiteX10" fmla="*/ 1537038 w 2872287"/>
              <a:gd name="connsiteY10" fmla="*/ 1593039 h 2885724"/>
              <a:gd name="connsiteX11" fmla="*/ 1532628 w 2872287"/>
              <a:gd name="connsiteY11" fmla="*/ 1578835 h 2885724"/>
              <a:gd name="connsiteX12" fmla="*/ 1573883 w 2872287"/>
              <a:gd name="connsiteY12" fmla="*/ 1572626 h 2885724"/>
              <a:gd name="connsiteX13" fmla="*/ 1740796 w 2872287"/>
              <a:gd name="connsiteY13" fmla="*/ 1501221 h 2885724"/>
              <a:gd name="connsiteX14" fmla="*/ 1806082 w 2872287"/>
              <a:gd name="connsiteY14" fmla="*/ 1459264 h 2885724"/>
              <a:gd name="connsiteX15" fmla="*/ 1828967 w 2872287"/>
              <a:gd name="connsiteY15" fmla="*/ 1532985 h 2885724"/>
              <a:gd name="connsiteX16" fmla="*/ 1841400 w 2872287"/>
              <a:gd name="connsiteY16" fmla="*/ 1656324 h 2885724"/>
              <a:gd name="connsiteX17" fmla="*/ 1229400 w 2872287"/>
              <a:gd name="connsiteY17" fmla="*/ 2268324 h 2885724"/>
              <a:gd name="connsiteX18" fmla="*/ 617400 w 2872287"/>
              <a:gd name="connsiteY18" fmla="*/ 1656324 h 2885724"/>
              <a:gd name="connsiteX19" fmla="*/ 1229400 w 2872287"/>
              <a:gd name="connsiteY19" fmla="*/ 1044324 h 2885724"/>
              <a:gd name="connsiteX20" fmla="*/ 1229400 w 2872287"/>
              <a:gd name="connsiteY20" fmla="*/ 426924 h 2885724"/>
              <a:gd name="connsiteX21" fmla="*/ 1916770 w 2872287"/>
              <a:gd name="connsiteY21" fmla="*/ 636886 h 2885724"/>
              <a:gd name="connsiteX22" fmla="*/ 1929798 w 2872287"/>
              <a:gd name="connsiteY22" fmla="*/ 646629 h 2885724"/>
              <a:gd name="connsiteX23" fmla="*/ 1885417 w 2872287"/>
              <a:gd name="connsiteY23" fmla="*/ 679181 h 2885724"/>
              <a:gd name="connsiteX24" fmla="*/ 1766443 w 2872287"/>
              <a:gd name="connsiteY24" fmla="*/ 778925 h 2885724"/>
              <a:gd name="connsiteX25" fmla="*/ 1697698 w 2872287"/>
              <a:gd name="connsiteY25" fmla="*/ 843854 h 2885724"/>
              <a:gd name="connsiteX26" fmla="*/ 1676733 w 2872287"/>
              <a:gd name="connsiteY26" fmla="*/ 831118 h 2885724"/>
              <a:gd name="connsiteX27" fmla="*/ 1229400 w 2872287"/>
              <a:gd name="connsiteY27" fmla="*/ 717849 h 2885724"/>
              <a:gd name="connsiteX28" fmla="*/ 290925 w 2872287"/>
              <a:gd name="connsiteY28" fmla="*/ 1656324 h 2885724"/>
              <a:gd name="connsiteX29" fmla="*/ 1229400 w 2872287"/>
              <a:gd name="connsiteY29" fmla="*/ 2594799 h 2885724"/>
              <a:gd name="connsiteX30" fmla="*/ 2167875 w 2872287"/>
              <a:gd name="connsiteY30" fmla="*/ 1656324 h 2885724"/>
              <a:gd name="connsiteX31" fmla="*/ 2054606 w 2872287"/>
              <a:gd name="connsiteY31" fmla="*/ 1208991 h 2885724"/>
              <a:gd name="connsiteX32" fmla="*/ 2028904 w 2872287"/>
              <a:gd name="connsiteY32" fmla="*/ 1166684 h 2885724"/>
              <a:gd name="connsiteX33" fmla="*/ 2089764 w 2872287"/>
              <a:gd name="connsiteY33" fmla="*/ 1102246 h 2885724"/>
              <a:gd name="connsiteX34" fmla="*/ 2189508 w 2872287"/>
              <a:gd name="connsiteY34" fmla="*/ 983272 h 2885724"/>
              <a:gd name="connsiteX35" fmla="*/ 2224188 w 2872287"/>
              <a:gd name="connsiteY35" fmla="*/ 935991 h 2885724"/>
              <a:gd name="connsiteX36" fmla="*/ 2248838 w 2872287"/>
              <a:gd name="connsiteY36" fmla="*/ 968955 h 2885724"/>
              <a:gd name="connsiteX37" fmla="*/ 2458800 w 2872287"/>
              <a:gd name="connsiteY37" fmla="*/ 1656324 h 2885724"/>
              <a:gd name="connsiteX38" fmla="*/ 1229400 w 2872287"/>
              <a:gd name="connsiteY38" fmla="*/ 2885724 h 2885724"/>
              <a:gd name="connsiteX39" fmla="*/ 0 w 2872287"/>
              <a:gd name="connsiteY39" fmla="*/ 1656324 h 2885724"/>
              <a:gd name="connsiteX40" fmla="*/ 1229400 w 2872287"/>
              <a:gd name="connsiteY40" fmla="*/ 426924 h 2885724"/>
              <a:gd name="connsiteX41" fmla="*/ 2402682 w 2872287"/>
              <a:gd name="connsiteY41" fmla="*/ 680 h 2885724"/>
              <a:gd name="connsiteX42" fmla="*/ 2450307 w 2872287"/>
              <a:gd name="connsiteY42" fmla="*/ 36399 h 2885724"/>
              <a:gd name="connsiteX43" fmla="*/ 2493170 w 2872287"/>
              <a:gd name="connsiteY43" fmla="*/ 184037 h 2885724"/>
              <a:gd name="connsiteX44" fmla="*/ 2526508 w 2872287"/>
              <a:gd name="connsiteY44" fmla="*/ 322149 h 2885724"/>
              <a:gd name="connsiteX45" fmla="*/ 2776539 w 2872287"/>
              <a:gd name="connsiteY45" fmla="*/ 405494 h 2885724"/>
              <a:gd name="connsiteX46" fmla="*/ 2864645 w 2872287"/>
              <a:gd name="connsiteY46" fmla="*/ 450737 h 2885724"/>
              <a:gd name="connsiteX47" fmla="*/ 2859882 w 2872287"/>
              <a:gd name="connsiteY47" fmla="*/ 515030 h 2885724"/>
              <a:gd name="connsiteX48" fmla="*/ 2795589 w 2872287"/>
              <a:gd name="connsiteY48" fmla="*/ 591230 h 2885724"/>
              <a:gd name="connsiteX49" fmla="*/ 2667002 w 2872287"/>
              <a:gd name="connsiteY49" fmla="*/ 715055 h 2885724"/>
              <a:gd name="connsiteX50" fmla="*/ 2552701 w 2872287"/>
              <a:gd name="connsiteY50" fmla="*/ 769824 h 2885724"/>
              <a:gd name="connsiteX51" fmla="*/ 2431257 w 2872287"/>
              <a:gd name="connsiteY51" fmla="*/ 784112 h 2885724"/>
              <a:gd name="connsiteX52" fmla="*/ 2271714 w 2872287"/>
              <a:gd name="connsiteY52" fmla="*/ 762680 h 2885724"/>
              <a:gd name="connsiteX53" fmla="*/ 2225051 w 2872287"/>
              <a:gd name="connsiteY53" fmla="*/ 746476 h 2885724"/>
              <a:gd name="connsiteX54" fmla="*/ 2216943 w 2872287"/>
              <a:gd name="connsiteY54" fmla="*/ 757918 h 2885724"/>
              <a:gd name="connsiteX55" fmla="*/ 2064543 w 2872287"/>
              <a:gd name="connsiteY55" fmla="*/ 962705 h 2885724"/>
              <a:gd name="connsiteX56" fmla="*/ 1862137 w 2872287"/>
              <a:gd name="connsiteY56" fmla="*/ 1212737 h 2885724"/>
              <a:gd name="connsiteX57" fmla="*/ 1750218 w 2872287"/>
              <a:gd name="connsiteY57" fmla="*/ 1334180 h 2885724"/>
              <a:gd name="connsiteX58" fmla="*/ 1664493 w 2872287"/>
              <a:gd name="connsiteY58" fmla="*/ 1407999 h 2885724"/>
              <a:gd name="connsiteX59" fmla="*/ 1607343 w 2872287"/>
              <a:gd name="connsiteY59" fmla="*/ 1438955 h 2885724"/>
              <a:gd name="connsiteX60" fmla="*/ 1550193 w 2872287"/>
              <a:gd name="connsiteY60" fmla="*/ 1438955 h 2885724"/>
              <a:gd name="connsiteX61" fmla="*/ 1526380 w 2872287"/>
              <a:gd name="connsiteY61" fmla="*/ 1438955 h 2885724"/>
              <a:gd name="connsiteX62" fmla="*/ 1521677 w 2872287"/>
              <a:gd name="connsiteY62" fmla="*/ 1440971 h 2885724"/>
              <a:gd name="connsiteX63" fmla="*/ 1499508 w 2872287"/>
              <a:gd name="connsiteY63" fmla="*/ 1464922 h 2885724"/>
              <a:gd name="connsiteX64" fmla="*/ 1198503 w 2872287"/>
              <a:gd name="connsiteY64" fmla="*/ 1669195 h 2885724"/>
              <a:gd name="connsiteX65" fmla="*/ 1402776 w 2872287"/>
              <a:gd name="connsiteY65" fmla="*/ 1368190 h 2885724"/>
              <a:gd name="connsiteX66" fmla="*/ 1429420 w 2872287"/>
              <a:gd name="connsiteY66" fmla="*/ 1343529 h 2885724"/>
              <a:gd name="connsiteX67" fmla="*/ 1427856 w 2872287"/>
              <a:gd name="connsiteY67" fmla="*/ 1324358 h 2885724"/>
              <a:gd name="connsiteX68" fmla="*/ 1423987 w 2872287"/>
              <a:gd name="connsiteY68" fmla="*/ 1288937 h 2885724"/>
              <a:gd name="connsiteX69" fmla="*/ 1435893 w 2872287"/>
              <a:gd name="connsiteY69" fmla="*/ 1231787 h 2885724"/>
              <a:gd name="connsiteX70" fmla="*/ 1502568 w 2872287"/>
              <a:gd name="connsiteY70" fmla="*/ 1148443 h 2885724"/>
              <a:gd name="connsiteX71" fmla="*/ 1693068 w 2872287"/>
              <a:gd name="connsiteY71" fmla="*/ 972230 h 2885724"/>
              <a:gd name="connsiteX72" fmla="*/ 1959768 w 2872287"/>
              <a:gd name="connsiteY72" fmla="*/ 760299 h 2885724"/>
              <a:gd name="connsiteX73" fmla="*/ 2058441 w 2872287"/>
              <a:gd name="connsiteY73" fmla="*/ 689309 h 2885724"/>
              <a:gd name="connsiteX74" fmla="*/ 2114702 w 2872287"/>
              <a:gd name="connsiteY74" fmla="*/ 654020 h 2885724"/>
              <a:gd name="connsiteX75" fmla="*/ 2106812 w 2872287"/>
              <a:gd name="connsiteY75" fmla="*/ 603584 h 2885724"/>
              <a:gd name="connsiteX76" fmla="*/ 2095501 w 2872287"/>
              <a:gd name="connsiteY76" fmla="*/ 495982 h 2885724"/>
              <a:gd name="connsiteX77" fmla="*/ 2095501 w 2872287"/>
              <a:gd name="connsiteY77" fmla="*/ 326912 h 2885724"/>
              <a:gd name="connsiteX78" fmla="*/ 2147889 w 2872287"/>
              <a:gd name="connsiteY78" fmla="*/ 231662 h 2885724"/>
              <a:gd name="connsiteX79" fmla="*/ 2300289 w 2872287"/>
              <a:gd name="connsiteY79" fmla="*/ 69737 h 2885724"/>
              <a:gd name="connsiteX80" fmla="*/ 2352676 w 2872287"/>
              <a:gd name="connsiteY80" fmla="*/ 17349 h 2885724"/>
              <a:gd name="connsiteX81" fmla="*/ 2402682 w 2872287"/>
              <a:gd name="connsiteY81" fmla="*/ 680 h 2885724"/>
              <a:gd name="connsiteX0" fmla="*/ 1229400 w 2872287"/>
              <a:gd name="connsiteY0" fmla="*/ 1044324 h 2885724"/>
              <a:gd name="connsiteX1" fmla="*/ 1352739 w 2872287"/>
              <a:gd name="connsiteY1" fmla="*/ 1056758 h 2885724"/>
              <a:gd name="connsiteX2" fmla="*/ 1405032 w 2872287"/>
              <a:gd name="connsiteY2" fmla="*/ 1072990 h 2885724"/>
              <a:gd name="connsiteX3" fmla="*/ 1371388 w 2872287"/>
              <a:gd name="connsiteY3" fmla="*/ 1125341 h 2885724"/>
              <a:gd name="connsiteX4" fmla="*/ 1299983 w 2872287"/>
              <a:gd name="connsiteY4" fmla="*/ 1292254 h 2885724"/>
              <a:gd name="connsiteX5" fmla="*/ 1291507 w 2872287"/>
              <a:gd name="connsiteY5" fmla="*/ 1348568 h 2885724"/>
              <a:gd name="connsiteX6" fmla="*/ 1229400 w 2872287"/>
              <a:gd name="connsiteY6" fmla="*/ 1342307 h 2885724"/>
              <a:gd name="connsiteX7" fmla="*/ 915383 w 2872287"/>
              <a:gd name="connsiteY7" fmla="*/ 1656324 h 2885724"/>
              <a:gd name="connsiteX8" fmla="*/ 1229400 w 2872287"/>
              <a:gd name="connsiteY8" fmla="*/ 1970341 h 2885724"/>
              <a:gd name="connsiteX9" fmla="*/ 1543417 w 2872287"/>
              <a:gd name="connsiteY9" fmla="*/ 1656324 h 2885724"/>
              <a:gd name="connsiteX10" fmla="*/ 1537038 w 2872287"/>
              <a:gd name="connsiteY10" fmla="*/ 1593039 h 2885724"/>
              <a:gd name="connsiteX11" fmla="*/ 1532628 w 2872287"/>
              <a:gd name="connsiteY11" fmla="*/ 1578835 h 2885724"/>
              <a:gd name="connsiteX12" fmla="*/ 1573883 w 2872287"/>
              <a:gd name="connsiteY12" fmla="*/ 1572626 h 2885724"/>
              <a:gd name="connsiteX13" fmla="*/ 1740796 w 2872287"/>
              <a:gd name="connsiteY13" fmla="*/ 1501221 h 2885724"/>
              <a:gd name="connsiteX14" fmla="*/ 1806082 w 2872287"/>
              <a:gd name="connsiteY14" fmla="*/ 1459264 h 2885724"/>
              <a:gd name="connsiteX15" fmla="*/ 1828967 w 2872287"/>
              <a:gd name="connsiteY15" fmla="*/ 1532985 h 2885724"/>
              <a:gd name="connsiteX16" fmla="*/ 1841400 w 2872287"/>
              <a:gd name="connsiteY16" fmla="*/ 1656324 h 2885724"/>
              <a:gd name="connsiteX17" fmla="*/ 1229400 w 2872287"/>
              <a:gd name="connsiteY17" fmla="*/ 2268324 h 2885724"/>
              <a:gd name="connsiteX18" fmla="*/ 617400 w 2872287"/>
              <a:gd name="connsiteY18" fmla="*/ 1656324 h 2885724"/>
              <a:gd name="connsiteX19" fmla="*/ 1229400 w 2872287"/>
              <a:gd name="connsiteY19" fmla="*/ 1044324 h 2885724"/>
              <a:gd name="connsiteX20" fmla="*/ 1229400 w 2872287"/>
              <a:gd name="connsiteY20" fmla="*/ 426924 h 2885724"/>
              <a:gd name="connsiteX21" fmla="*/ 1916770 w 2872287"/>
              <a:gd name="connsiteY21" fmla="*/ 636886 h 2885724"/>
              <a:gd name="connsiteX22" fmla="*/ 1929798 w 2872287"/>
              <a:gd name="connsiteY22" fmla="*/ 646629 h 2885724"/>
              <a:gd name="connsiteX23" fmla="*/ 1885417 w 2872287"/>
              <a:gd name="connsiteY23" fmla="*/ 679181 h 2885724"/>
              <a:gd name="connsiteX24" fmla="*/ 1766443 w 2872287"/>
              <a:gd name="connsiteY24" fmla="*/ 778925 h 2885724"/>
              <a:gd name="connsiteX25" fmla="*/ 1697698 w 2872287"/>
              <a:gd name="connsiteY25" fmla="*/ 843854 h 2885724"/>
              <a:gd name="connsiteX26" fmla="*/ 1676733 w 2872287"/>
              <a:gd name="connsiteY26" fmla="*/ 831118 h 2885724"/>
              <a:gd name="connsiteX27" fmla="*/ 1229400 w 2872287"/>
              <a:gd name="connsiteY27" fmla="*/ 717849 h 2885724"/>
              <a:gd name="connsiteX28" fmla="*/ 290925 w 2872287"/>
              <a:gd name="connsiteY28" fmla="*/ 1656324 h 2885724"/>
              <a:gd name="connsiteX29" fmla="*/ 1229400 w 2872287"/>
              <a:gd name="connsiteY29" fmla="*/ 2594799 h 2885724"/>
              <a:gd name="connsiteX30" fmla="*/ 2167875 w 2872287"/>
              <a:gd name="connsiteY30" fmla="*/ 1656324 h 2885724"/>
              <a:gd name="connsiteX31" fmla="*/ 2054606 w 2872287"/>
              <a:gd name="connsiteY31" fmla="*/ 1208991 h 2885724"/>
              <a:gd name="connsiteX32" fmla="*/ 2028904 w 2872287"/>
              <a:gd name="connsiteY32" fmla="*/ 1166684 h 2885724"/>
              <a:gd name="connsiteX33" fmla="*/ 2089764 w 2872287"/>
              <a:gd name="connsiteY33" fmla="*/ 1102246 h 2885724"/>
              <a:gd name="connsiteX34" fmla="*/ 2189508 w 2872287"/>
              <a:gd name="connsiteY34" fmla="*/ 983272 h 2885724"/>
              <a:gd name="connsiteX35" fmla="*/ 2224188 w 2872287"/>
              <a:gd name="connsiteY35" fmla="*/ 935991 h 2885724"/>
              <a:gd name="connsiteX36" fmla="*/ 2248838 w 2872287"/>
              <a:gd name="connsiteY36" fmla="*/ 968955 h 2885724"/>
              <a:gd name="connsiteX37" fmla="*/ 2458800 w 2872287"/>
              <a:gd name="connsiteY37" fmla="*/ 1656324 h 2885724"/>
              <a:gd name="connsiteX38" fmla="*/ 1229400 w 2872287"/>
              <a:gd name="connsiteY38" fmla="*/ 2885724 h 2885724"/>
              <a:gd name="connsiteX39" fmla="*/ 0 w 2872287"/>
              <a:gd name="connsiteY39" fmla="*/ 1656324 h 2885724"/>
              <a:gd name="connsiteX40" fmla="*/ 1229400 w 2872287"/>
              <a:gd name="connsiteY40" fmla="*/ 426924 h 2885724"/>
              <a:gd name="connsiteX41" fmla="*/ 2402682 w 2872287"/>
              <a:gd name="connsiteY41" fmla="*/ 680 h 2885724"/>
              <a:gd name="connsiteX42" fmla="*/ 2450307 w 2872287"/>
              <a:gd name="connsiteY42" fmla="*/ 36399 h 2885724"/>
              <a:gd name="connsiteX43" fmla="*/ 2493170 w 2872287"/>
              <a:gd name="connsiteY43" fmla="*/ 184037 h 2885724"/>
              <a:gd name="connsiteX44" fmla="*/ 2524126 w 2872287"/>
              <a:gd name="connsiteY44" fmla="*/ 336437 h 2885724"/>
              <a:gd name="connsiteX45" fmla="*/ 2776539 w 2872287"/>
              <a:gd name="connsiteY45" fmla="*/ 405494 h 2885724"/>
              <a:gd name="connsiteX46" fmla="*/ 2864645 w 2872287"/>
              <a:gd name="connsiteY46" fmla="*/ 450737 h 2885724"/>
              <a:gd name="connsiteX47" fmla="*/ 2859882 w 2872287"/>
              <a:gd name="connsiteY47" fmla="*/ 515030 h 2885724"/>
              <a:gd name="connsiteX48" fmla="*/ 2795589 w 2872287"/>
              <a:gd name="connsiteY48" fmla="*/ 591230 h 2885724"/>
              <a:gd name="connsiteX49" fmla="*/ 2667002 w 2872287"/>
              <a:gd name="connsiteY49" fmla="*/ 715055 h 2885724"/>
              <a:gd name="connsiteX50" fmla="*/ 2552701 w 2872287"/>
              <a:gd name="connsiteY50" fmla="*/ 769824 h 2885724"/>
              <a:gd name="connsiteX51" fmla="*/ 2431257 w 2872287"/>
              <a:gd name="connsiteY51" fmla="*/ 784112 h 2885724"/>
              <a:gd name="connsiteX52" fmla="*/ 2271714 w 2872287"/>
              <a:gd name="connsiteY52" fmla="*/ 762680 h 2885724"/>
              <a:gd name="connsiteX53" fmla="*/ 2225051 w 2872287"/>
              <a:gd name="connsiteY53" fmla="*/ 746476 h 2885724"/>
              <a:gd name="connsiteX54" fmla="*/ 2216943 w 2872287"/>
              <a:gd name="connsiteY54" fmla="*/ 757918 h 2885724"/>
              <a:gd name="connsiteX55" fmla="*/ 2064543 w 2872287"/>
              <a:gd name="connsiteY55" fmla="*/ 962705 h 2885724"/>
              <a:gd name="connsiteX56" fmla="*/ 1862137 w 2872287"/>
              <a:gd name="connsiteY56" fmla="*/ 1212737 h 2885724"/>
              <a:gd name="connsiteX57" fmla="*/ 1750218 w 2872287"/>
              <a:gd name="connsiteY57" fmla="*/ 1334180 h 2885724"/>
              <a:gd name="connsiteX58" fmla="*/ 1664493 w 2872287"/>
              <a:gd name="connsiteY58" fmla="*/ 1407999 h 2885724"/>
              <a:gd name="connsiteX59" fmla="*/ 1607343 w 2872287"/>
              <a:gd name="connsiteY59" fmla="*/ 1438955 h 2885724"/>
              <a:gd name="connsiteX60" fmla="*/ 1550193 w 2872287"/>
              <a:gd name="connsiteY60" fmla="*/ 1438955 h 2885724"/>
              <a:gd name="connsiteX61" fmla="*/ 1526380 w 2872287"/>
              <a:gd name="connsiteY61" fmla="*/ 1438955 h 2885724"/>
              <a:gd name="connsiteX62" fmla="*/ 1521677 w 2872287"/>
              <a:gd name="connsiteY62" fmla="*/ 1440971 h 2885724"/>
              <a:gd name="connsiteX63" fmla="*/ 1499508 w 2872287"/>
              <a:gd name="connsiteY63" fmla="*/ 1464922 h 2885724"/>
              <a:gd name="connsiteX64" fmla="*/ 1198503 w 2872287"/>
              <a:gd name="connsiteY64" fmla="*/ 1669195 h 2885724"/>
              <a:gd name="connsiteX65" fmla="*/ 1402776 w 2872287"/>
              <a:gd name="connsiteY65" fmla="*/ 1368190 h 2885724"/>
              <a:gd name="connsiteX66" fmla="*/ 1429420 w 2872287"/>
              <a:gd name="connsiteY66" fmla="*/ 1343529 h 2885724"/>
              <a:gd name="connsiteX67" fmla="*/ 1427856 w 2872287"/>
              <a:gd name="connsiteY67" fmla="*/ 1324358 h 2885724"/>
              <a:gd name="connsiteX68" fmla="*/ 1423987 w 2872287"/>
              <a:gd name="connsiteY68" fmla="*/ 1288937 h 2885724"/>
              <a:gd name="connsiteX69" fmla="*/ 1435893 w 2872287"/>
              <a:gd name="connsiteY69" fmla="*/ 1231787 h 2885724"/>
              <a:gd name="connsiteX70" fmla="*/ 1502568 w 2872287"/>
              <a:gd name="connsiteY70" fmla="*/ 1148443 h 2885724"/>
              <a:gd name="connsiteX71" fmla="*/ 1693068 w 2872287"/>
              <a:gd name="connsiteY71" fmla="*/ 972230 h 2885724"/>
              <a:gd name="connsiteX72" fmla="*/ 1959768 w 2872287"/>
              <a:gd name="connsiteY72" fmla="*/ 760299 h 2885724"/>
              <a:gd name="connsiteX73" fmla="*/ 2058441 w 2872287"/>
              <a:gd name="connsiteY73" fmla="*/ 689309 h 2885724"/>
              <a:gd name="connsiteX74" fmla="*/ 2114702 w 2872287"/>
              <a:gd name="connsiteY74" fmla="*/ 654020 h 2885724"/>
              <a:gd name="connsiteX75" fmla="*/ 2106812 w 2872287"/>
              <a:gd name="connsiteY75" fmla="*/ 603584 h 2885724"/>
              <a:gd name="connsiteX76" fmla="*/ 2095501 w 2872287"/>
              <a:gd name="connsiteY76" fmla="*/ 495982 h 2885724"/>
              <a:gd name="connsiteX77" fmla="*/ 2095501 w 2872287"/>
              <a:gd name="connsiteY77" fmla="*/ 326912 h 2885724"/>
              <a:gd name="connsiteX78" fmla="*/ 2147889 w 2872287"/>
              <a:gd name="connsiteY78" fmla="*/ 231662 h 2885724"/>
              <a:gd name="connsiteX79" fmla="*/ 2300289 w 2872287"/>
              <a:gd name="connsiteY79" fmla="*/ 69737 h 2885724"/>
              <a:gd name="connsiteX80" fmla="*/ 2352676 w 2872287"/>
              <a:gd name="connsiteY80" fmla="*/ 17349 h 2885724"/>
              <a:gd name="connsiteX81" fmla="*/ 2402682 w 2872287"/>
              <a:gd name="connsiteY81" fmla="*/ 680 h 2885724"/>
              <a:gd name="connsiteX0" fmla="*/ 1229400 w 2872287"/>
              <a:gd name="connsiteY0" fmla="*/ 1044324 h 2885724"/>
              <a:gd name="connsiteX1" fmla="*/ 1352739 w 2872287"/>
              <a:gd name="connsiteY1" fmla="*/ 1056758 h 2885724"/>
              <a:gd name="connsiteX2" fmla="*/ 1405032 w 2872287"/>
              <a:gd name="connsiteY2" fmla="*/ 1072990 h 2885724"/>
              <a:gd name="connsiteX3" fmla="*/ 1371388 w 2872287"/>
              <a:gd name="connsiteY3" fmla="*/ 1125341 h 2885724"/>
              <a:gd name="connsiteX4" fmla="*/ 1299983 w 2872287"/>
              <a:gd name="connsiteY4" fmla="*/ 1292254 h 2885724"/>
              <a:gd name="connsiteX5" fmla="*/ 1291507 w 2872287"/>
              <a:gd name="connsiteY5" fmla="*/ 1348568 h 2885724"/>
              <a:gd name="connsiteX6" fmla="*/ 1229400 w 2872287"/>
              <a:gd name="connsiteY6" fmla="*/ 1342307 h 2885724"/>
              <a:gd name="connsiteX7" fmla="*/ 915383 w 2872287"/>
              <a:gd name="connsiteY7" fmla="*/ 1656324 h 2885724"/>
              <a:gd name="connsiteX8" fmla="*/ 1229400 w 2872287"/>
              <a:gd name="connsiteY8" fmla="*/ 1970341 h 2885724"/>
              <a:gd name="connsiteX9" fmla="*/ 1543417 w 2872287"/>
              <a:gd name="connsiteY9" fmla="*/ 1656324 h 2885724"/>
              <a:gd name="connsiteX10" fmla="*/ 1537038 w 2872287"/>
              <a:gd name="connsiteY10" fmla="*/ 1593039 h 2885724"/>
              <a:gd name="connsiteX11" fmla="*/ 1532628 w 2872287"/>
              <a:gd name="connsiteY11" fmla="*/ 1578835 h 2885724"/>
              <a:gd name="connsiteX12" fmla="*/ 1573883 w 2872287"/>
              <a:gd name="connsiteY12" fmla="*/ 1572626 h 2885724"/>
              <a:gd name="connsiteX13" fmla="*/ 1740796 w 2872287"/>
              <a:gd name="connsiteY13" fmla="*/ 1501221 h 2885724"/>
              <a:gd name="connsiteX14" fmla="*/ 1806082 w 2872287"/>
              <a:gd name="connsiteY14" fmla="*/ 1459264 h 2885724"/>
              <a:gd name="connsiteX15" fmla="*/ 1828967 w 2872287"/>
              <a:gd name="connsiteY15" fmla="*/ 1532985 h 2885724"/>
              <a:gd name="connsiteX16" fmla="*/ 1841400 w 2872287"/>
              <a:gd name="connsiteY16" fmla="*/ 1656324 h 2885724"/>
              <a:gd name="connsiteX17" fmla="*/ 1229400 w 2872287"/>
              <a:gd name="connsiteY17" fmla="*/ 2268324 h 2885724"/>
              <a:gd name="connsiteX18" fmla="*/ 617400 w 2872287"/>
              <a:gd name="connsiteY18" fmla="*/ 1656324 h 2885724"/>
              <a:gd name="connsiteX19" fmla="*/ 1229400 w 2872287"/>
              <a:gd name="connsiteY19" fmla="*/ 1044324 h 2885724"/>
              <a:gd name="connsiteX20" fmla="*/ 1229400 w 2872287"/>
              <a:gd name="connsiteY20" fmla="*/ 426924 h 2885724"/>
              <a:gd name="connsiteX21" fmla="*/ 1916770 w 2872287"/>
              <a:gd name="connsiteY21" fmla="*/ 636886 h 2885724"/>
              <a:gd name="connsiteX22" fmla="*/ 1929798 w 2872287"/>
              <a:gd name="connsiteY22" fmla="*/ 646629 h 2885724"/>
              <a:gd name="connsiteX23" fmla="*/ 1885417 w 2872287"/>
              <a:gd name="connsiteY23" fmla="*/ 679181 h 2885724"/>
              <a:gd name="connsiteX24" fmla="*/ 1766443 w 2872287"/>
              <a:gd name="connsiteY24" fmla="*/ 778925 h 2885724"/>
              <a:gd name="connsiteX25" fmla="*/ 1697698 w 2872287"/>
              <a:gd name="connsiteY25" fmla="*/ 843854 h 2885724"/>
              <a:gd name="connsiteX26" fmla="*/ 1676733 w 2872287"/>
              <a:gd name="connsiteY26" fmla="*/ 831118 h 2885724"/>
              <a:gd name="connsiteX27" fmla="*/ 1229400 w 2872287"/>
              <a:gd name="connsiteY27" fmla="*/ 717849 h 2885724"/>
              <a:gd name="connsiteX28" fmla="*/ 290925 w 2872287"/>
              <a:gd name="connsiteY28" fmla="*/ 1656324 h 2885724"/>
              <a:gd name="connsiteX29" fmla="*/ 1229400 w 2872287"/>
              <a:gd name="connsiteY29" fmla="*/ 2594799 h 2885724"/>
              <a:gd name="connsiteX30" fmla="*/ 2167875 w 2872287"/>
              <a:gd name="connsiteY30" fmla="*/ 1656324 h 2885724"/>
              <a:gd name="connsiteX31" fmla="*/ 2054606 w 2872287"/>
              <a:gd name="connsiteY31" fmla="*/ 1208991 h 2885724"/>
              <a:gd name="connsiteX32" fmla="*/ 2028904 w 2872287"/>
              <a:gd name="connsiteY32" fmla="*/ 1166684 h 2885724"/>
              <a:gd name="connsiteX33" fmla="*/ 2089764 w 2872287"/>
              <a:gd name="connsiteY33" fmla="*/ 1102246 h 2885724"/>
              <a:gd name="connsiteX34" fmla="*/ 2189508 w 2872287"/>
              <a:gd name="connsiteY34" fmla="*/ 983272 h 2885724"/>
              <a:gd name="connsiteX35" fmla="*/ 2224188 w 2872287"/>
              <a:gd name="connsiteY35" fmla="*/ 935991 h 2885724"/>
              <a:gd name="connsiteX36" fmla="*/ 2248838 w 2872287"/>
              <a:gd name="connsiteY36" fmla="*/ 968955 h 2885724"/>
              <a:gd name="connsiteX37" fmla="*/ 2458800 w 2872287"/>
              <a:gd name="connsiteY37" fmla="*/ 1656324 h 2885724"/>
              <a:gd name="connsiteX38" fmla="*/ 1229400 w 2872287"/>
              <a:gd name="connsiteY38" fmla="*/ 2885724 h 2885724"/>
              <a:gd name="connsiteX39" fmla="*/ 0 w 2872287"/>
              <a:gd name="connsiteY39" fmla="*/ 1656324 h 2885724"/>
              <a:gd name="connsiteX40" fmla="*/ 1229400 w 2872287"/>
              <a:gd name="connsiteY40" fmla="*/ 426924 h 2885724"/>
              <a:gd name="connsiteX41" fmla="*/ 2402682 w 2872287"/>
              <a:gd name="connsiteY41" fmla="*/ 680 h 2885724"/>
              <a:gd name="connsiteX42" fmla="*/ 2450307 w 2872287"/>
              <a:gd name="connsiteY42" fmla="*/ 36399 h 2885724"/>
              <a:gd name="connsiteX43" fmla="*/ 2493170 w 2872287"/>
              <a:gd name="connsiteY43" fmla="*/ 184037 h 2885724"/>
              <a:gd name="connsiteX44" fmla="*/ 2528888 w 2872287"/>
              <a:gd name="connsiteY44" fmla="*/ 341199 h 2885724"/>
              <a:gd name="connsiteX45" fmla="*/ 2776539 w 2872287"/>
              <a:gd name="connsiteY45" fmla="*/ 405494 h 2885724"/>
              <a:gd name="connsiteX46" fmla="*/ 2864645 w 2872287"/>
              <a:gd name="connsiteY46" fmla="*/ 450737 h 2885724"/>
              <a:gd name="connsiteX47" fmla="*/ 2859882 w 2872287"/>
              <a:gd name="connsiteY47" fmla="*/ 515030 h 2885724"/>
              <a:gd name="connsiteX48" fmla="*/ 2795589 w 2872287"/>
              <a:gd name="connsiteY48" fmla="*/ 591230 h 2885724"/>
              <a:gd name="connsiteX49" fmla="*/ 2667002 w 2872287"/>
              <a:gd name="connsiteY49" fmla="*/ 715055 h 2885724"/>
              <a:gd name="connsiteX50" fmla="*/ 2552701 w 2872287"/>
              <a:gd name="connsiteY50" fmla="*/ 769824 h 2885724"/>
              <a:gd name="connsiteX51" fmla="*/ 2431257 w 2872287"/>
              <a:gd name="connsiteY51" fmla="*/ 784112 h 2885724"/>
              <a:gd name="connsiteX52" fmla="*/ 2271714 w 2872287"/>
              <a:gd name="connsiteY52" fmla="*/ 762680 h 2885724"/>
              <a:gd name="connsiteX53" fmla="*/ 2225051 w 2872287"/>
              <a:gd name="connsiteY53" fmla="*/ 746476 h 2885724"/>
              <a:gd name="connsiteX54" fmla="*/ 2216943 w 2872287"/>
              <a:gd name="connsiteY54" fmla="*/ 757918 h 2885724"/>
              <a:gd name="connsiteX55" fmla="*/ 2064543 w 2872287"/>
              <a:gd name="connsiteY55" fmla="*/ 962705 h 2885724"/>
              <a:gd name="connsiteX56" fmla="*/ 1862137 w 2872287"/>
              <a:gd name="connsiteY56" fmla="*/ 1212737 h 2885724"/>
              <a:gd name="connsiteX57" fmla="*/ 1750218 w 2872287"/>
              <a:gd name="connsiteY57" fmla="*/ 1334180 h 2885724"/>
              <a:gd name="connsiteX58" fmla="*/ 1664493 w 2872287"/>
              <a:gd name="connsiteY58" fmla="*/ 1407999 h 2885724"/>
              <a:gd name="connsiteX59" fmla="*/ 1607343 w 2872287"/>
              <a:gd name="connsiteY59" fmla="*/ 1438955 h 2885724"/>
              <a:gd name="connsiteX60" fmla="*/ 1550193 w 2872287"/>
              <a:gd name="connsiteY60" fmla="*/ 1438955 h 2885724"/>
              <a:gd name="connsiteX61" fmla="*/ 1526380 w 2872287"/>
              <a:gd name="connsiteY61" fmla="*/ 1438955 h 2885724"/>
              <a:gd name="connsiteX62" fmla="*/ 1521677 w 2872287"/>
              <a:gd name="connsiteY62" fmla="*/ 1440971 h 2885724"/>
              <a:gd name="connsiteX63" fmla="*/ 1499508 w 2872287"/>
              <a:gd name="connsiteY63" fmla="*/ 1464922 h 2885724"/>
              <a:gd name="connsiteX64" fmla="*/ 1198503 w 2872287"/>
              <a:gd name="connsiteY64" fmla="*/ 1669195 h 2885724"/>
              <a:gd name="connsiteX65" fmla="*/ 1402776 w 2872287"/>
              <a:gd name="connsiteY65" fmla="*/ 1368190 h 2885724"/>
              <a:gd name="connsiteX66" fmla="*/ 1429420 w 2872287"/>
              <a:gd name="connsiteY66" fmla="*/ 1343529 h 2885724"/>
              <a:gd name="connsiteX67" fmla="*/ 1427856 w 2872287"/>
              <a:gd name="connsiteY67" fmla="*/ 1324358 h 2885724"/>
              <a:gd name="connsiteX68" fmla="*/ 1423987 w 2872287"/>
              <a:gd name="connsiteY68" fmla="*/ 1288937 h 2885724"/>
              <a:gd name="connsiteX69" fmla="*/ 1435893 w 2872287"/>
              <a:gd name="connsiteY69" fmla="*/ 1231787 h 2885724"/>
              <a:gd name="connsiteX70" fmla="*/ 1502568 w 2872287"/>
              <a:gd name="connsiteY70" fmla="*/ 1148443 h 2885724"/>
              <a:gd name="connsiteX71" fmla="*/ 1693068 w 2872287"/>
              <a:gd name="connsiteY71" fmla="*/ 972230 h 2885724"/>
              <a:gd name="connsiteX72" fmla="*/ 1959768 w 2872287"/>
              <a:gd name="connsiteY72" fmla="*/ 760299 h 2885724"/>
              <a:gd name="connsiteX73" fmla="*/ 2058441 w 2872287"/>
              <a:gd name="connsiteY73" fmla="*/ 689309 h 2885724"/>
              <a:gd name="connsiteX74" fmla="*/ 2114702 w 2872287"/>
              <a:gd name="connsiteY74" fmla="*/ 654020 h 2885724"/>
              <a:gd name="connsiteX75" fmla="*/ 2106812 w 2872287"/>
              <a:gd name="connsiteY75" fmla="*/ 603584 h 2885724"/>
              <a:gd name="connsiteX76" fmla="*/ 2095501 w 2872287"/>
              <a:gd name="connsiteY76" fmla="*/ 495982 h 2885724"/>
              <a:gd name="connsiteX77" fmla="*/ 2095501 w 2872287"/>
              <a:gd name="connsiteY77" fmla="*/ 326912 h 2885724"/>
              <a:gd name="connsiteX78" fmla="*/ 2147889 w 2872287"/>
              <a:gd name="connsiteY78" fmla="*/ 231662 h 2885724"/>
              <a:gd name="connsiteX79" fmla="*/ 2300289 w 2872287"/>
              <a:gd name="connsiteY79" fmla="*/ 69737 h 2885724"/>
              <a:gd name="connsiteX80" fmla="*/ 2352676 w 2872287"/>
              <a:gd name="connsiteY80" fmla="*/ 17349 h 2885724"/>
              <a:gd name="connsiteX81" fmla="*/ 2402682 w 2872287"/>
              <a:gd name="connsiteY81" fmla="*/ 680 h 2885724"/>
              <a:gd name="connsiteX0" fmla="*/ 1229400 w 2872287"/>
              <a:gd name="connsiteY0" fmla="*/ 1044324 h 2885724"/>
              <a:gd name="connsiteX1" fmla="*/ 1352739 w 2872287"/>
              <a:gd name="connsiteY1" fmla="*/ 1056758 h 2885724"/>
              <a:gd name="connsiteX2" fmla="*/ 1405032 w 2872287"/>
              <a:gd name="connsiteY2" fmla="*/ 1072990 h 2885724"/>
              <a:gd name="connsiteX3" fmla="*/ 1371388 w 2872287"/>
              <a:gd name="connsiteY3" fmla="*/ 1125341 h 2885724"/>
              <a:gd name="connsiteX4" fmla="*/ 1299983 w 2872287"/>
              <a:gd name="connsiteY4" fmla="*/ 1292254 h 2885724"/>
              <a:gd name="connsiteX5" fmla="*/ 1291507 w 2872287"/>
              <a:gd name="connsiteY5" fmla="*/ 1348568 h 2885724"/>
              <a:gd name="connsiteX6" fmla="*/ 1229400 w 2872287"/>
              <a:gd name="connsiteY6" fmla="*/ 1342307 h 2885724"/>
              <a:gd name="connsiteX7" fmla="*/ 915383 w 2872287"/>
              <a:gd name="connsiteY7" fmla="*/ 1656324 h 2885724"/>
              <a:gd name="connsiteX8" fmla="*/ 1229400 w 2872287"/>
              <a:gd name="connsiteY8" fmla="*/ 1970341 h 2885724"/>
              <a:gd name="connsiteX9" fmla="*/ 1543417 w 2872287"/>
              <a:gd name="connsiteY9" fmla="*/ 1656324 h 2885724"/>
              <a:gd name="connsiteX10" fmla="*/ 1537038 w 2872287"/>
              <a:gd name="connsiteY10" fmla="*/ 1593039 h 2885724"/>
              <a:gd name="connsiteX11" fmla="*/ 1532628 w 2872287"/>
              <a:gd name="connsiteY11" fmla="*/ 1578835 h 2885724"/>
              <a:gd name="connsiteX12" fmla="*/ 1573883 w 2872287"/>
              <a:gd name="connsiteY12" fmla="*/ 1572626 h 2885724"/>
              <a:gd name="connsiteX13" fmla="*/ 1740796 w 2872287"/>
              <a:gd name="connsiteY13" fmla="*/ 1501221 h 2885724"/>
              <a:gd name="connsiteX14" fmla="*/ 1806082 w 2872287"/>
              <a:gd name="connsiteY14" fmla="*/ 1459264 h 2885724"/>
              <a:gd name="connsiteX15" fmla="*/ 1828967 w 2872287"/>
              <a:gd name="connsiteY15" fmla="*/ 1532985 h 2885724"/>
              <a:gd name="connsiteX16" fmla="*/ 1841400 w 2872287"/>
              <a:gd name="connsiteY16" fmla="*/ 1656324 h 2885724"/>
              <a:gd name="connsiteX17" fmla="*/ 1229400 w 2872287"/>
              <a:gd name="connsiteY17" fmla="*/ 2268324 h 2885724"/>
              <a:gd name="connsiteX18" fmla="*/ 617400 w 2872287"/>
              <a:gd name="connsiteY18" fmla="*/ 1656324 h 2885724"/>
              <a:gd name="connsiteX19" fmla="*/ 1229400 w 2872287"/>
              <a:gd name="connsiteY19" fmla="*/ 1044324 h 2885724"/>
              <a:gd name="connsiteX20" fmla="*/ 1229400 w 2872287"/>
              <a:gd name="connsiteY20" fmla="*/ 426924 h 2885724"/>
              <a:gd name="connsiteX21" fmla="*/ 1916770 w 2872287"/>
              <a:gd name="connsiteY21" fmla="*/ 636886 h 2885724"/>
              <a:gd name="connsiteX22" fmla="*/ 1929798 w 2872287"/>
              <a:gd name="connsiteY22" fmla="*/ 646629 h 2885724"/>
              <a:gd name="connsiteX23" fmla="*/ 1885417 w 2872287"/>
              <a:gd name="connsiteY23" fmla="*/ 679181 h 2885724"/>
              <a:gd name="connsiteX24" fmla="*/ 1766443 w 2872287"/>
              <a:gd name="connsiteY24" fmla="*/ 778925 h 2885724"/>
              <a:gd name="connsiteX25" fmla="*/ 1697698 w 2872287"/>
              <a:gd name="connsiteY25" fmla="*/ 843854 h 2885724"/>
              <a:gd name="connsiteX26" fmla="*/ 1676733 w 2872287"/>
              <a:gd name="connsiteY26" fmla="*/ 831118 h 2885724"/>
              <a:gd name="connsiteX27" fmla="*/ 1229400 w 2872287"/>
              <a:gd name="connsiteY27" fmla="*/ 717849 h 2885724"/>
              <a:gd name="connsiteX28" fmla="*/ 290925 w 2872287"/>
              <a:gd name="connsiteY28" fmla="*/ 1656324 h 2885724"/>
              <a:gd name="connsiteX29" fmla="*/ 1229400 w 2872287"/>
              <a:gd name="connsiteY29" fmla="*/ 2594799 h 2885724"/>
              <a:gd name="connsiteX30" fmla="*/ 2167875 w 2872287"/>
              <a:gd name="connsiteY30" fmla="*/ 1656324 h 2885724"/>
              <a:gd name="connsiteX31" fmla="*/ 2054606 w 2872287"/>
              <a:gd name="connsiteY31" fmla="*/ 1208991 h 2885724"/>
              <a:gd name="connsiteX32" fmla="*/ 2028904 w 2872287"/>
              <a:gd name="connsiteY32" fmla="*/ 1166684 h 2885724"/>
              <a:gd name="connsiteX33" fmla="*/ 2089764 w 2872287"/>
              <a:gd name="connsiteY33" fmla="*/ 1102246 h 2885724"/>
              <a:gd name="connsiteX34" fmla="*/ 2189508 w 2872287"/>
              <a:gd name="connsiteY34" fmla="*/ 983272 h 2885724"/>
              <a:gd name="connsiteX35" fmla="*/ 2224188 w 2872287"/>
              <a:gd name="connsiteY35" fmla="*/ 935991 h 2885724"/>
              <a:gd name="connsiteX36" fmla="*/ 2248838 w 2872287"/>
              <a:gd name="connsiteY36" fmla="*/ 968955 h 2885724"/>
              <a:gd name="connsiteX37" fmla="*/ 2458800 w 2872287"/>
              <a:gd name="connsiteY37" fmla="*/ 1656324 h 2885724"/>
              <a:gd name="connsiteX38" fmla="*/ 1229400 w 2872287"/>
              <a:gd name="connsiteY38" fmla="*/ 2885724 h 2885724"/>
              <a:gd name="connsiteX39" fmla="*/ 0 w 2872287"/>
              <a:gd name="connsiteY39" fmla="*/ 1656324 h 2885724"/>
              <a:gd name="connsiteX40" fmla="*/ 1229400 w 2872287"/>
              <a:gd name="connsiteY40" fmla="*/ 426924 h 2885724"/>
              <a:gd name="connsiteX41" fmla="*/ 2402682 w 2872287"/>
              <a:gd name="connsiteY41" fmla="*/ 680 h 2885724"/>
              <a:gd name="connsiteX42" fmla="*/ 2450307 w 2872287"/>
              <a:gd name="connsiteY42" fmla="*/ 36399 h 2885724"/>
              <a:gd name="connsiteX43" fmla="*/ 2493170 w 2872287"/>
              <a:gd name="connsiteY43" fmla="*/ 184037 h 2885724"/>
              <a:gd name="connsiteX44" fmla="*/ 2528888 w 2872287"/>
              <a:gd name="connsiteY44" fmla="*/ 341199 h 2885724"/>
              <a:gd name="connsiteX45" fmla="*/ 2776539 w 2872287"/>
              <a:gd name="connsiteY45" fmla="*/ 405494 h 2885724"/>
              <a:gd name="connsiteX46" fmla="*/ 2864645 w 2872287"/>
              <a:gd name="connsiteY46" fmla="*/ 450737 h 2885724"/>
              <a:gd name="connsiteX47" fmla="*/ 2859882 w 2872287"/>
              <a:gd name="connsiteY47" fmla="*/ 515030 h 2885724"/>
              <a:gd name="connsiteX48" fmla="*/ 2795589 w 2872287"/>
              <a:gd name="connsiteY48" fmla="*/ 591230 h 2885724"/>
              <a:gd name="connsiteX49" fmla="*/ 2667002 w 2872287"/>
              <a:gd name="connsiteY49" fmla="*/ 715055 h 2885724"/>
              <a:gd name="connsiteX50" fmla="*/ 2552701 w 2872287"/>
              <a:gd name="connsiteY50" fmla="*/ 769824 h 2885724"/>
              <a:gd name="connsiteX51" fmla="*/ 2431257 w 2872287"/>
              <a:gd name="connsiteY51" fmla="*/ 784112 h 2885724"/>
              <a:gd name="connsiteX52" fmla="*/ 2271714 w 2872287"/>
              <a:gd name="connsiteY52" fmla="*/ 762680 h 2885724"/>
              <a:gd name="connsiteX53" fmla="*/ 2225051 w 2872287"/>
              <a:gd name="connsiteY53" fmla="*/ 746476 h 2885724"/>
              <a:gd name="connsiteX54" fmla="*/ 2216943 w 2872287"/>
              <a:gd name="connsiteY54" fmla="*/ 757918 h 2885724"/>
              <a:gd name="connsiteX55" fmla="*/ 2064543 w 2872287"/>
              <a:gd name="connsiteY55" fmla="*/ 962705 h 2885724"/>
              <a:gd name="connsiteX56" fmla="*/ 1862137 w 2872287"/>
              <a:gd name="connsiteY56" fmla="*/ 1212737 h 2885724"/>
              <a:gd name="connsiteX57" fmla="*/ 1750218 w 2872287"/>
              <a:gd name="connsiteY57" fmla="*/ 1334180 h 2885724"/>
              <a:gd name="connsiteX58" fmla="*/ 1664493 w 2872287"/>
              <a:gd name="connsiteY58" fmla="*/ 1407999 h 2885724"/>
              <a:gd name="connsiteX59" fmla="*/ 1607343 w 2872287"/>
              <a:gd name="connsiteY59" fmla="*/ 1438955 h 2885724"/>
              <a:gd name="connsiteX60" fmla="*/ 1550193 w 2872287"/>
              <a:gd name="connsiteY60" fmla="*/ 1438955 h 2885724"/>
              <a:gd name="connsiteX61" fmla="*/ 1526380 w 2872287"/>
              <a:gd name="connsiteY61" fmla="*/ 1438955 h 2885724"/>
              <a:gd name="connsiteX62" fmla="*/ 1521677 w 2872287"/>
              <a:gd name="connsiteY62" fmla="*/ 1440971 h 2885724"/>
              <a:gd name="connsiteX63" fmla="*/ 1499508 w 2872287"/>
              <a:gd name="connsiteY63" fmla="*/ 1464922 h 2885724"/>
              <a:gd name="connsiteX64" fmla="*/ 1198503 w 2872287"/>
              <a:gd name="connsiteY64" fmla="*/ 1669195 h 2885724"/>
              <a:gd name="connsiteX65" fmla="*/ 1402776 w 2872287"/>
              <a:gd name="connsiteY65" fmla="*/ 1368190 h 2885724"/>
              <a:gd name="connsiteX66" fmla="*/ 1429420 w 2872287"/>
              <a:gd name="connsiteY66" fmla="*/ 1343529 h 2885724"/>
              <a:gd name="connsiteX67" fmla="*/ 1427856 w 2872287"/>
              <a:gd name="connsiteY67" fmla="*/ 1324358 h 2885724"/>
              <a:gd name="connsiteX68" fmla="*/ 1423987 w 2872287"/>
              <a:gd name="connsiteY68" fmla="*/ 1288937 h 2885724"/>
              <a:gd name="connsiteX69" fmla="*/ 1435893 w 2872287"/>
              <a:gd name="connsiteY69" fmla="*/ 1231787 h 2885724"/>
              <a:gd name="connsiteX70" fmla="*/ 1502568 w 2872287"/>
              <a:gd name="connsiteY70" fmla="*/ 1148443 h 2885724"/>
              <a:gd name="connsiteX71" fmla="*/ 1693068 w 2872287"/>
              <a:gd name="connsiteY71" fmla="*/ 972230 h 2885724"/>
              <a:gd name="connsiteX72" fmla="*/ 1959768 w 2872287"/>
              <a:gd name="connsiteY72" fmla="*/ 760299 h 2885724"/>
              <a:gd name="connsiteX73" fmla="*/ 2058441 w 2872287"/>
              <a:gd name="connsiteY73" fmla="*/ 689309 h 2885724"/>
              <a:gd name="connsiteX74" fmla="*/ 2114702 w 2872287"/>
              <a:gd name="connsiteY74" fmla="*/ 654020 h 2885724"/>
              <a:gd name="connsiteX75" fmla="*/ 2106812 w 2872287"/>
              <a:gd name="connsiteY75" fmla="*/ 603584 h 2885724"/>
              <a:gd name="connsiteX76" fmla="*/ 2095501 w 2872287"/>
              <a:gd name="connsiteY76" fmla="*/ 495982 h 2885724"/>
              <a:gd name="connsiteX77" fmla="*/ 2095501 w 2872287"/>
              <a:gd name="connsiteY77" fmla="*/ 326912 h 2885724"/>
              <a:gd name="connsiteX78" fmla="*/ 2147889 w 2872287"/>
              <a:gd name="connsiteY78" fmla="*/ 231662 h 2885724"/>
              <a:gd name="connsiteX79" fmla="*/ 2300289 w 2872287"/>
              <a:gd name="connsiteY79" fmla="*/ 69737 h 2885724"/>
              <a:gd name="connsiteX80" fmla="*/ 2352676 w 2872287"/>
              <a:gd name="connsiteY80" fmla="*/ 17349 h 2885724"/>
              <a:gd name="connsiteX81" fmla="*/ 2402682 w 2872287"/>
              <a:gd name="connsiteY81" fmla="*/ 680 h 2885724"/>
              <a:gd name="connsiteX0" fmla="*/ 1229400 w 2872287"/>
              <a:gd name="connsiteY0" fmla="*/ 1044324 h 2885724"/>
              <a:gd name="connsiteX1" fmla="*/ 1352739 w 2872287"/>
              <a:gd name="connsiteY1" fmla="*/ 1056758 h 2885724"/>
              <a:gd name="connsiteX2" fmla="*/ 1405032 w 2872287"/>
              <a:gd name="connsiteY2" fmla="*/ 1072990 h 2885724"/>
              <a:gd name="connsiteX3" fmla="*/ 1371388 w 2872287"/>
              <a:gd name="connsiteY3" fmla="*/ 1125341 h 2885724"/>
              <a:gd name="connsiteX4" fmla="*/ 1299983 w 2872287"/>
              <a:gd name="connsiteY4" fmla="*/ 1292254 h 2885724"/>
              <a:gd name="connsiteX5" fmla="*/ 1291507 w 2872287"/>
              <a:gd name="connsiteY5" fmla="*/ 1348568 h 2885724"/>
              <a:gd name="connsiteX6" fmla="*/ 1229400 w 2872287"/>
              <a:gd name="connsiteY6" fmla="*/ 1342307 h 2885724"/>
              <a:gd name="connsiteX7" fmla="*/ 915383 w 2872287"/>
              <a:gd name="connsiteY7" fmla="*/ 1656324 h 2885724"/>
              <a:gd name="connsiteX8" fmla="*/ 1229400 w 2872287"/>
              <a:gd name="connsiteY8" fmla="*/ 1970341 h 2885724"/>
              <a:gd name="connsiteX9" fmla="*/ 1543417 w 2872287"/>
              <a:gd name="connsiteY9" fmla="*/ 1656324 h 2885724"/>
              <a:gd name="connsiteX10" fmla="*/ 1537038 w 2872287"/>
              <a:gd name="connsiteY10" fmla="*/ 1593039 h 2885724"/>
              <a:gd name="connsiteX11" fmla="*/ 1532628 w 2872287"/>
              <a:gd name="connsiteY11" fmla="*/ 1578835 h 2885724"/>
              <a:gd name="connsiteX12" fmla="*/ 1573883 w 2872287"/>
              <a:gd name="connsiteY12" fmla="*/ 1572626 h 2885724"/>
              <a:gd name="connsiteX13" fmla="*/ 1740796 w 2872287"/>
              <a:gd name="connsiteY13" fmla="*/ 1501221 h 2885724"/>
              <a:gd name="connsiteX14" fmla="*/ 1806082 w 2872287"/>
              <a:gd name="connsiteY14" fmla="*/ 1459264 h 2885724"/>
              <a:gd name="connsiteX15" fmla="*/ 1828967 w 2872287"/>
              <a:gd name="connsiteY15" fmla="*/ 1532985 h 2885724"/>
              <a:gd name="connsiteX16" fmla="*/ 1841400 w 2872287"/>
              <a:gd name="connsiteY16" fmla="*/ 1656324 h 2885724"/>
              <a:gd name="connsiteX17" fmla="*/ 1229400 w 2872287"/>
              <a:gd name="connsiteY17" fmla="*/ 2268324 h 2885724"/>
              <a:gd name="connsiteX18" fmla="*/ 617400 w 2872287"/>
              <a:gd name="connsiteY18" fmla="*/ 1656324 h 2885724"/>
              <a:gd name="connsiteX19" fmla="*/ 1229400 w 2872287"/>
              <a:gd name="connsiteY19" fmla="*/ 1044324 h 2885724"/>
              <a:gd name="connsiteX20" fmla="*/ 1229400 w 2872287"/>
              <a:gd name="connsiteY20" fmla="*/ 426924 h 2885724"/>
              <a:gd name="connsiteX21" fmla="*/ 1916770 w 2872287"/>
              <a:gd name="connsiteY21" fmla="*/ 636886 h 2885724"/>
              <a:gd name="connsiteX22" fmla="*/ 1929798 w 2872287"/>
              <a:gd name="connsiteY22" fmla="*/ 646629 h 2885724"/>
              <a:gd name="connsiteX23" fmla="*/ 1885417 w 2872287"/>
              <a:gd name="connsiteY23" fmla="*/ 679181 h 2885724"/>
              <a:gd name="connsiteX24" fmla="*/ 1766443 w 2872287"/>
              <a:gd name="connsiteY24" fmla="*/ 778925 h 2885724"/>
              <a:gd name="connsiteX25" fmla="*/ 1697698 w 2872287"/>
              <a:gd name="connsiteY25" fmla="*/ 843854 h 2885724"/>
              <a:gd name="connsiteX26" fmla="*/ 1676733 w 2872287"/>
              <a:gd name="connsiteY26" fmla="*/ 831118 h 2885724"/>
              <a:gd name="connsiteX27" fmla="*/ 1229400 w 2872287"/>
              <a:gd name="connsiteY27" fmla="*/ 717849 h 2885724"/>
              <a:gd name="connsiteX28" fmla="*/ 290925 w 2872287"/>
              <a:gd name="connsiteY28" fmla="*/ 1656324 h 2885724"/>
              <a:gd name="connsiteX29" fmla="*/ 1229400 w 2872287"/>
              <a:gd name="connsiteY29" fmla="*/ 2594799 h 2885724"/>
              <a:gd name="connsiteX30" fmla="*/ 2167875 w 2872287"/>
              <a:gd name="connsiteY30" fmla="*/ 1656324 h 2885724"/>
              <a:gd name="connsiteX31" fmla="*/ 2054606 w 2872287"/>
              <a:gd name="connsiteY31" fmla="*/ 1208991 h 2885724"/>
              <a:gd name="connsiteX32" fmla="*/ 2028904 w 2872287"/>
              <a:gd name="connsiteY32" fmla="*/ 1166684 h 2885724"/>
              <a:gd name="connsiteX33" fmla="*/ 2089764 w 2872287"/>
              <a:gd name="connsiteY33" fmla="*/ 1102246 h 2885724"/>
              <a:gd name="connsiteX34" fmla="*/ 2189508 w 2872287"/>
              <a:gd name="connsiteY34" fmla="*/ 983272 h 2885724"/>
              <a:gd name="connsiteX35" fmla="*/ 2224188 w 2872287"/>
              <a:gd name="connsiteY35" fmla="*/ 935991 h 2885724"/>
              <a:gd name="connsiteX36" fmla="*/ 2248838 w 2872287"/>
              <a:gd name="connsiteY36" fmla="*/ 968955 h 2885724"/>
              <a:gd name="connsiteX37" fmla="*/ 2458800 w 2872287"/>
              <a:gd name="connsiteY37" fmla="*/ 1656324 h 2885724"/>
              <a:gd name="connsiteX38" fmla="*/ 1229400 w 2872287"/>
              <a:gd name="connsiteY38" fmla="*/ 2885724 h 2885724"/>
              <a:gd name="connsiteX39" fmla="*/ 0 w 2872287"/>
              <a:gd name="connsiteY39" fmla="*/ 1656324 h 2885724"/>
              <a:gd name="connsiteX40" fmla="*/ 1229400 w 2872287"/>
              <a:gd name="connsiteY40" fmla="*/ 426924 h 2885724"/>
              <a:gd name="connsiteX41" fmla="*/ 2402682 w 2872287"/>
              <a:gd name="connsiteY41" fmla="*/ 680 h 2885724"/>
              <a:gd name="connsiteX42" fmla="*/ 2450307 w 2872287"/>
              <a:gd name="connsiteY42" fmla="*/ 36399 h 2885724"/>
              <a:gd name="connsiteX43" fmla="*/ 2493170 w 2872287"/>
              <a:gd name="connsiteY43" fmla="*/ 184037 h 2885724"/>
              <a:gd name="connsiteX44" fmla="*/ 2528888 w 2872287"/>
              <a:gd name="connsiteY44" fmla="*/ 341199 h 2885724"/>
              <a:gd name="connsiteX45" fmla="*/ 2776539 w 2872287"/>
              <a:gd name="connsiteY45" fmla="*/ 405494 h 2885724"/>
              <a:gd name="connsiteX46" fmla="*/ 2864645 w 2872287"/>
              <a:gd name="connsiteY46" fmla="*/ 450737 h 2885724"/>
              <a:gd name="connsiteX47" fmla="*/ 2859882 w 2872287"/>
              <a:gd name="connsiteY47" fmla="*/ 515030 h 2885724"/>
              <a:gd name="connsiteX48" fmla="*/ 2795589 w 2872287"/>
              <a:gd name="connsiteY48" fmla="*/ 591230 h 2885724"/>
              <a:gd name="connsiteX49" fmla="*/ 2667002 w 2872287"/>
              <a:gd name="connsiteY49" fmla="*/ 715055 h 2885724"/>
              <a:gd name="connsiteX50" fmla="*/ 2552701 w 2872287"/>
              <a:gd name="connsiteY50" fmla="*/ 769824 h 2885724"/>
              <a:gd name="connsiteX51" fmla="*/ 2431257 w 2872287"/>
              <a:gd name="connsiteY51" fmla="*/ 784112 h 2885724"/>
              <a:gd name="connsiteX52" fmla="*/ 2271714 w 2872287"/>
              <a:gd name="connsiteY52" fmla="*/ 762680 h 2885724"/>
              <a:gd name="connsiteX53" fmla="*/ 2225051 w 2872287"/>
              <a:gd name="connsiteY53" fmla="*/ 746476 h 2885724"/>
              <a:gd name="connsiteX54" fmla="*/ 2216943 w 2872287"/>
              <a:gd name="connsiteY54" fmla="*/ 757918 h 2885724"/>
              <a:gd name="connsiteX55" fmla="*/ 2064543 w 2872287"/>
              <a:gd name="connsiteY55" fmla="*/ 962705 h 2885724"/>
              <a:gd name="connsiteX56" fmla="*/ 1862137 w 2872287"/>
              <a:gd name="connsiteY56" fmla="*/ 1212737 h 2885724"/>
              <a:gd name="connsiteX57" fmla="*/ 1750218 w 2872287"/>
              <a:gd name="connsiteY57" fmla="*/ 1334180 h 2885724"/>
              <a:gd name="connsiteX58" fmla="*/ 1664493 w 2872287"/>
              <a:gd name="connsiteY58" fmla="*/ 1407999 h 2885724"/>
              <a:gd name="connsiteX59" fmla="*/ 1607343 w 2872287"/>
              <a:gd name="connsiteY59" fmla="*/ 1438955 h 2885724"/>
              <a:gd name="connsiteX60" fmla="*/ 1550193 w 2872287"/>
              <a:gd name="connsiteY60" fmla="*/ 1438955 h 2885724"/>
              <a:gd name="connsiteX61" fmla="*/ 1526380 w 2872287"/>
              <a:gd name="connsiteY61" fmla="*/ 1438955 h 2885724"/>
              <a:gd name="connsiteX62" fmla="*/ 1521677 w 2872287"/>
              <a:gd name="connsiteY62" fmla="*/ 1440971 h 2885724"/>
              <a:gd name="connsiteX63" fmla="*/ 1499508 w 2872287"/>
              <a:gd name="connsiteY63" fmla="*/ 1464922 h 2885724"/>
              <a:gd name="connsiteX64" fmla="*/ 1198503 w 2872287"/>
              <a:gd name="connsiteY64" fmla="*/ 1669195 h 2885724"/>
              <a:gd name="connsiteX65" fmla="*/ 1402776 w 2872287"/>
              <a:gd name="connsiteY65" fmla="*/ 1368190 h 2885724"/>
              <a:gd name="connsiteX66" fmla="*/ 1429420 w 2872287"/>
              <a:gd name="connsiteY66" fmla="*/ 1343529 h 2885724"/>
              <a:gd name="connsiteX67" fmla="*/ 1427856 w 2872287"/>
              <a:gd name="connsiteY67" fmla="*/ 1324358 h 2885724"/>
              <a:gd name="connsiteX68" fmla="*/ 1423987 w 2872287"/>
              <a:gd name="connsiteY68" fmla="*/ 1288937 h 2885724"/>
              <a:gd name="connsiteX69" fmla="*/ 1435893 w 2872287"/>
              <a:gd name="connsiteY69" fmla="*/ 1231787 h 2885724"/>
              <a:gd name="connsiteX70" fmla="*/ 1502568 w 2872287"/>
              <a:gd name="connsiteY70" fmla="*/ 1148443 h 2885724"/>
              <a:gd name="connsiteX71" fmla="*/ 1693068 w 2872287"/>
              <a:gd name="connsiteY71" fmla="*/ 972230 h 2885724"/>
              <a:gd name="connsiteX72" fmla="*/ 1959768 w 2872287"/>
              <a:gd name="connsiteY72" fmla="*/ 760299 h 2885724"/>
              <a:gd name="connsiteX73" fmla="*/ 2058441 w 2872287"/>
              <a:gd name="connsiteY73" fmla="*/ 689309 h 2885724"/>
              <a:gd name="connsiteX74" fmla="*/ 2114702 w 2872287"/>
              <a:gd name="connsiteY74" fmla="*/ 654020 h 2885724"/>
              <a:gd name="connsiteX75" fmla="*/ 2106812 w 2872287"/>
              <a:gd name="connsiteY75" fmla="*/ 603584 h 2885724"/>
              <a:gd name="connsiteX76" fmla="*/ 2095501 w 2872287"/>
              <a:gd name="connsiteY76" fmla="*/ 495982 h 2885724"/>
              <a:gd name="connsiteX77" fmla="*/ 2095501 w 2872287"/>
              <a:gd name="connsiteY77" fmla="*/ 358662 h 2885724"/>
              <a:gd name="connsiteX78" fmla="*/ 2147889 w 2872287"/>
              <a:gd name="connsiteY78" fmla="*/ 231662 h 2885724"/>
              <a:gd name="connsiteX79" fmla="*/ 2300289 w 2872287"/>
              <a:gd name="connsiteY79" fmla="*/ 69737 h 2885724"/>
              <a:gd name="connsiteX80" fmla="*/ 2352676 w 2872287"/>
              <a:gd name="connsiteY80" fmla="*/ 17349 h 2885724"/>
              <a:gd name="connsiteX81" fmla="*/ 2402682 w 2872287"/>
              <a:gd name="connsiteY81" fmla="*/ 680 h 2885724"/>
              <a:gd name="connsiteX0" fmla="*/ 1229400 w 2872287"/>
              <a:gd name="connsiteY0" fmla="*/ 1044324 h 2885724"/>
              <a:gd name="connsiteX1" fmla="*/ 1352739 w 2872287"/>
              <a:gd name="connsiteY1" fmla="*/ 1056758 h 2885724"/>
              <a:gd name="connsiteX2" fmla="*/ 1405032 w 2872287"/>
              <a:gd name="connsiteY2" fmla="*/ 1072990 h 2885724"/>
              <a:gd name="connsiteX3" fmla="*/ 1371388 w 2872287"/>
              <a:gd name="connsiteY3" fmla="*/ 1125341 h 2885724"/>
              <a:gd name="connsiteX4" fmla="*/ 1299983 w 2872287"/>
              <a:gd name="connsiteY4" fmla="*/ 1292254 h 2885724"/>
              <a:gd name="connsiteX5" fmla="*/ 1291507 w 2872287"/>
              <a:gd name="connsiteY5" fmla="*/ 1348568 h 2885724"/>
              <a:gd name="connsiteX6" fmla="*/ 1229400 w 2872287"/>
              <a:gd name="connsiteY6" fmla="*/ 1342307 h 2885724"/>
              <a:gd name="connsiteX7" fmla="*/ 915383 w 2872287"/>
              <a:gd name="connsiteY7" fmla="*/ 1656324 h 2885724"/>
              <a:gd name="connsiteX8" fmla="*/ 1229400 w 2872287"/>
              <a:gd name="connsiteY8" fmla="*/ 1970341 h 2885724"/>
              <a:gd name="connsiteX9" fmla="*/ 1543417 w 2872287"/>
              <a:gd name="connsiteY9" fmla="*/ 1656324 h 2885724"/>
              <a:gd name="connsiteX10" fmla="*/ 1537038 w 2872287"/>
              <a:gd name="connsiteY10" fmla="*/ 1593039 h 2885724"/>
              <a:gd name="connsiteX11" fmla="*/ 1532628 w 2872287"/>
              <a:gd name="connsiteY11" fmla="*/ 1578835 h 2885724"/>
              <a:gd name="connsiteX12" fmla="*/ 1573883 w 2872287"/>
              <a:gd name="connsiteY12" fmla="*/ 1572626 h 2885724"/>
              <a:gd name="connsiteX13" fmla="*/ 1740796 w 2872287"/>
              <a:gd name="connsiteY13" fmla="*/ 1501221 h 2885724"/>
              <a:gd name="connsiteX14" fmla="*/ 1806082 w 2872287"/>
              <a:gd name="connsiteY14" fmla="*/ 1459264 h 2885724"/>
              <a:gd name="connsiteX15" fmla="*/ 1828967 w 2872287"/>
              <a:gd name="connsiteY15" fmla="*/ 1532985 h 2885724"/>
              <a:gd name="connsiteX16" fmla="*/ 1841400 w 2872287"/>
              <a:gd name="connsiteY16" fmla="*/ 1656324 h 2885724"/>
              <a:gd name="connsiteX17" fmla="*/ 1229400 w 2872287"/>
              <a:gd name="connsiteY17" fmla="*/ 2268324 h 2885724"/>
              <a:gd name="connsiteX18" fmla="*/ 617400 w 2872287"/>
              <a:gd name="connsiteY18" fmla="*/ 1656324 h 2885724"/>
              <a:gd name="connsiteX19" fmla="*/ 1229400 w 2872287"/>
              <a:gd name="connsiteY19" fmla="*/ 1044324 h 2885724"/>
              <a:gd name="connsiteX20" fmla="*/ 1229400 w 2872287"/>
              <a:gd name="connsiteY20" fmla="*/ 426924 h 2885724"/>
              <a:gd name="connsiteX21" fmla="*/ 1916770 w 2872287"/>
              <a:gd name="connsiteY21" fmla="*/ 636886 h 2885724"/>
              <a:gd name="connsiteX22" fmla="*/ 1929798 w 2872287"/>
              <a:gd name="connsiteY22" fmla="*/ 646629 h 2885724"/>
              <a:gd name="connsiteX23" fmla="*/ 1885417 w 2872287"/>
              <a:gd name="connsiteY23" fmla="*/ 679181 h 2885724"/>
              <a:gd name="connsiteX24" fmla="*/ 1766443 w 2872287"/>
              <a:gd name="connsiteY24" fmla="*/ 778925 h 2885724"/>
              <a:gd name="connsiteX25" fmla="*/ 1697698 w 2872287"/>
              <a:gd name="connsiteY25" fmla="*/ 843854 h 2885724"/>
              <a:gd name="connsiteX26" fmla="*/ 1676733 w 2872287"/>
              <a:gd name="connsiteY26" fmla="*/ 831118 h 2885724"/>
              <a:gd name="connsiteX27" fmla="*/ 1229400 w 2872287"/>
              <a:gd name="connsiteY27" fmla="*/ 717849 h 2885724"/>
              <a:gd name="connsiteX28" fmla="*/ 290925 w 2872287"/>
              <a:gd name="connsiteY28" fmla="*/ 1656324 h 2885724"/>
              <a:gd name="connsiteX29" fmla="*/ 1229400 w 2872287"/>
              <a:gd name="connsiteY29" fmla="*/ 2594799 h 2885724"/>
              <a:gd name="connsiteX30" fmla="*/ 2167875 w 2872287"/>
              <a:gd name="connsiteY30" fmla="*/ 1656324 h 2885724"/>
              <a:gd name="connsiteX31" fmla="*/ 2054606 w 2872287"/>
              <a:gd name="connsiteY31" fmla="*/ 1208991 h 2885724"/>
              <a:gd name="connsiteX32" fmla="*/ 2028904 w 2872287"/>
              <a:gd name="connsiteY32" fmla="*/ 1166684 h 2885724"/>
              <a:gd name="connsiteX33" fmla="*/ 2089764 w 2872287"/>
              <a:gd name="connsiteY33" fmla="*/ 1102246 h 2885724"/>
              <a:gd name="connsiteX34" fmla="*/ 2189508 w 2872287"/>
              <a:gd name="connsiteY34" fmla="*/ 983272 h 2885724"/>
              <a:gd name="connsiteX35" fmla="*/ 2224188 w 2872287"/>
              <a:gd name="connsiteY35" fmla="*/ 935991 h 2885724"/>
              <a:gd name="connsiteX36" fmla="*/ 2248838 w 2872287"/>
              <a:gd name="connsiteY36" fmla="*/ 968955 h 2885724"/>
              <a:gd name="connsiteX37" fmla="*/ 2458800 w 2872287"/>
              <a:gd name="connsiteY37" fmla="*/ 1656324 h 2885724"/>
              <a:gd name="connsiteX38" fmla="*/ 1229400 w 2872287"/>
              <a:gd name="connsiteY38" fmla="*/ 2885724 h 2885724"/>
              <a:gd name="connsiteX39" fmla="*/ 0 w 2872287"/>
              <a:gd name="connsiteY39" fmla="*/ 1656324 h 2885724"/>
              <a:gd name="connsiteX40" fmla="*/ 1229400 w 2872287"/>
              <a:gd name="connsiteY40" fmla="*/ 426924 h 2885724"/>
              <a:gd name="connsiteX41" fmla="*/ 2402682 w 2872287"/>
              <a:gd name="connsiteY41" fmla="*/ 680 h 2885724"/>
              <a:gd name="connsiteX42" fmla="*/ 2450307 w 2872287"/>
              <a:gd name="connsiteY42" fmla="*/ 36399 h 2885724"/>
              <a:gd name="connsiteX43" fmla="*/ 2493170 w 2872287"/>
              <a:gd name="connsiteY43" fmla="*/ 184037 h 2885724"/>
              <a:gd name="connsiteX44" fmla="*/ 2528888 w 2872287"/>
              <a:gd name="connsiteY44" fmla="*/ 341199 h 2885724"/>
              <a:gd name="connsiteX45" fmla="*/ 2776539 w 2872287"/>
              <a:gd name="connsiteY45" fmla="*/ 405494 h 2885724"/>
              <a:gd name="connsiteX46" fmla="*/ 2864645 w 2872287"/>
              <a:gd name="connsiteY46" fmla="*/ 450737 h 2885724"/>
              <a:gd name="connsiteX47" fmla="*/ 2859882 w 2872287"/>
              <a:gd name="connsiteY47" fmla="*/ 515030 h 2885724"/>
              <a:gd name="connsiteX48" fmla="*/ 2795589 w 2872287"/>
              <a:gd name="connsiteY48" fmla="*/ 591230 h 2885724"/>
              <a:gd name="connsiteX49" fmla="*/ 2667002 w 2872287"/>
              <a:gd name="connsiteY49" fmla="*/ 715055 h 2885724"/>
              <a:gd name="connsiteX50" fmla="*/ 2552701 w 2872287"/>
              <a:gd name="connsiteY50" fmla="*/ 769824 h 2885724"/>
              <a:gd name="connsiteX51" fmla="*/ 2431257 w 2872287"/>
              <a:gd name="connsiteY51" fmla="*/ 784112 h 2885724"/>
              <a:gd name="connsiteX52" fmla="*/ 2271714 w 2872287"/>
              <a:gd name="connsiteY52" fmla="*/ 762680 h 2885724"/>
              <a:gd name="connsiteX53" fmla="*/ 2225051 w 2872287"/>
              <a:gd name="connsiteY53" fmla="*/ 746476 h 2885724"/>
              <a:gd name="connsiteX54" fmla="*/ 2216943 w 2872287"/>
              <a:gd name="connsiteY54" fmla="*/ 757918 h 2885724"/>
              <a:gd name="connsiteX55" fmla="*/ 2064543 w 2872287"/>
              <a:gd name="connsiteY55" fmla="*/ 962705 h 2885724"/>
              <a:gd name="connsiteX56" fmla="*/ 1862137 w 2872287"/>
              <a:gd name="connsiteY56" fmla="*/ 1212737 h 2885724"/>
              <a:gd name="connsiteX57" fmla="*/ 1750218 w 2872287"/>
              <a:gd name="connsiteY57" fmla="*/ 1334180 h 2885724"/>
              <a:gd name="connsiteX58" fmla="*/ 1664493 w 2872287"/>
              <a:gd name="connsiteY58" fmla="*/ 1407999 h 2885724"/>
              <a:gd name="connsiteX59" fmla="*/ 1607343 w 2872287"/>
              <a:gd name="connsiteY59" fmla="*/ 1438955 h 2885724"/>
              <a:gd name="connsiteX60" fmla="*/ 1550193 w 2872287"/>
              <a:gd name="connsiteY60" fmla="*/ 1438955 h 2885724"/>
              <a:gd name="connsiteX61" fmla="*/ 1526380 w 2872287"/>
              <a:gd name="connsiteY61" fmla="*/ 1438955 h 2885724"/>
              <a:gd name="connsiteX62" fmla="*/ 1521677 w 2872287"/>
              <a:gd name="connsiteY62" fmla="*/ 1440971 h 2885724"/>
              <a:gd name="connsiteX63" fmla="*/ 1499508 w 2872287"/>
              <a:gd name="connsiteY63" fmla="*/ 1464922 h 2885724"/>
              <a:gd name="connsiteX64" fmla="*/ 1198503 w 2872287"/>
              <a:gd name="connsiteY64" fmla="*/ 1669195 h 2885724"/>
              <a:gd name="connsiteX65" fmla="*/ 1402776 w 2872287"/>
              <a:gd name="connsiteY65" fmla="*/ 1368190 h 2885724"/>
              <a:gd name="connsiteX66" fmla="*/ 1429420 w 2872287"/>
              <a:gd name="connsiteY66" fmla="*/ 1343529 h 2885724"/>
              <a:gd name="connsiteX67" fmla="*/ 1427856 w 2872287"/>
              <a:gd name="connsiteY67" fmla="*/ 1324358 h 2885724"/>
              <a:gd name="connsiteX68" fmla="*/ 1423987 w 2872287"/>
              <a:gd name="connsiteY68" fmla="*/ 1288937 h 2885724"/>
              <a:gd name="connsiteX69" fmla="*/ 1435893 w 2872287"/>
              <a:gd name="connsiteY69" fmla="*/ 1231787 h 2885724"/>
              <a:gd name="connsiteX70" fmla="*/ 1502568 w 2872287"/>
              <a:gd name="connsiteY70" fmla="*/ 1148443 h 2885724"/>
              <a:gd name="connsiteX71" fmla="*/ 1693068 w 2872287"/>
              <a:gd name="connsiteY71" fmla="*/ 972230 h 2885724"/>
              <a:gd name="connsiteX72" fmla="*/ 1959768 w 2872287"/>
              <a:gd name="connsiteY72" fmla="*/ 760299 h 2885724"/>
              <a:gd name="connsiteX73" fmla="*/ 2058441 w 2872287"/>
              <a:gd name="connsiteY73" fmla="*/ 689309 h 2885724"/>
              <a:gd name="connsiteX74" fmla="*/ 2114702 w 2872287"/>
              <a:gd name="connsiteY74" fmla="*/ 654020 h 2885724"/>
              <a:gd name="connsiteX75" fmla="*/ 2106812 w 2872287"/>
              <a:gd name="connsiteY75" fmla="*/ 603584 h 2885724"/>
              <a:gd name="connsiteX76" fmla="*/ 2095501 w 2872287"/>
              <a:gd name="connsiteY76" fmla="*/ 495982 h 2885724"/>
              <a:gd name="connsiteX77" fmla="*/ 2095501 w 2872287"/>
              <a:gd name="connsiteY77" fmla="*/ 358662 h 2885724"/>
              <a:gd name="connsiteX78" fmla="*/ 2147889 w 2872287"/>
              <a:gd name="connsiteY78" fmla="*/ 231662 h 2885724"/>
              <a:gd name="connsiteX79" fmla="*/ 2300289 w 2872287"/>
              <a:gd name="connsiteY79" fmla="*/ 69737 h 2885724"/>
              <a:gd name="connsiteX80" fmla="*/ 2352676 w 2872287"/>
              <a:gd name="connsiteY80" fmla="*/ 17349 h 2885724"/>
              <a:gd name="connsiteX81" fmla="*/ 2402682 w 2872287"/>
              <a:gd name="connsiteY81" fmla="*/ 680 h 2885724"/>
              <a:gd name="connsiteX0" fmla="*/ 1229400 w 2872287"/>
              <a:gd name="connsiteY0" fmla="*/ 1044324 h 2885724"/>
              <a:gd name="connsiteX1" fmla="*/ 1352739 w 2872287"/>
              <a:gd name="connsiteY1" fmla="*/ 1056758 h 2885724"/>
              <a:gd name="connsiteX2" fmla="*/ 1405032 w 2872287"/>
              <a:gd name="connsiteY2" fmla="*/ 1072990 h 2885724"/>
              <a:gd name="connsiteX3" fmla="*/ 1371388 w 2872287"/>
              <a:gd name="connsiteY3" fmla="*/ 1125341 h 2885724"/>
              <a:gd name="connsiteX4" fmla="*/ 1299983 w 2872287"/>
              <a:gd name="connsiteY4" fmla="*/ 1292254 h 2885724"/>
              <a:gd name="connsiteX5" fmla="*/ 1291507 w 2872287"/>
              <a:gd name="connsiteY5" fmla="*/ 1348568 h 2885724"/>
              <a:gd name="connsiteX6" fmla="*/ 1229400 w 2872287"/>
              <a:gd name="connsiteY6" fmla="*/ 1342307 h 2885724"/>
              <a:gd name="connsiteX7" fmla="*/ 915383 w 2872287"/>
              <a:gd name="connsiteY7" fmla="*/ 1656324 h 2885724"/>
              <a:gd name="connsiteX8" fmla="*/ 1229400 w 2872287"/>
              <a:gd name="connsiteY8" fmla="*/ 1970341 h 2885724"/>
              <a:gd name="connsiteX9" fmla="*/ 1543417 w 2872287"/>
              <a:gd name="connsiteY9" fmla="*/ 1656324 h 2885724"/>
              <a:gd name="connsiteX10" fmla="*/ 1537038 w 2872287"/>
              <a:gd name="connsiteY10" fmla="*/ 1593039 h 2885724"/>
              <a:gd name="connsiteX11" fmla="*/ 1532628 w 2872287"/>
              <a:gd name="connsiteY11" fmla="*/ 1578835 h 2885724"/>
              <a:gd name="connsiteX12" fmla="*/ 1573883 w 2872287"/>
              <a:gd name="connsiteY12" fmla="*/ 1572626 h 2885724"/>
              <a:gd name="connsiteX13" fmla="*/ 1740796 w 2872287"/>
              <a:gd name="connsiteY13" fmla="*/ 1501221 h 2885724"/>
              <a:gd name="connsiteX14" fmla="*/ 1806082 w 2872287"/>
              <a:gd name="connsiteY14" fmla="*/ 1459264 h 2885724"/>
              <a:gd name="connsiteX15" fmla="*/ 1828967 w 2872287"/>
              <a:gd name="connsiteY15" fmla="*/ 1532985 h 2885724"/>
              <a:gd name="connsiteX16" fmla="*/ 1841400 w 2872287"/>
              <a:gd name="connsiteY16" fmla="*/ 1656324 h 2885724"/>
              <a:gd name="connsiteX17" fmla="*/ 1229400 w 2872287"/>
              <a:gd name="connsiteY17" fmla="*/ 2268324 h 2885724"/>
              <a:gd name="connsiteX18" fmla="*/ 617400 w 2872287"/>
              <a:gd name="connsiteY18" fmla="*/ 1656324 h 2885724"/>
              <a:gd name="connsiteX19" fmla="*/ 1229400 w 2872287"/>
              <a:gd name="connsiteY19" fmla="*/ 1044324 h 2885724"/>
              <a:gd name="connsiteX20" fmla="*/ 1229400 w 2872287"/>
              <a:gd name="connsiteY20" fmla="*/ 426924 h 2885724"/>
              <a:gd name="connsiteX21" fmla="*/ 1916770 w 2872287"/>
              <a:gd name="connsiteY21" fmla="*/ 636886 h 2885724"/>
              <a:gd name="connsiteX22" fmla="*/ 1929798 w 2872287"/>
              <a:gd name="connsiteY22" fmla="*/ 646629 h 2885724"/>
              <a:gd name="connsiteX23" fmla="*/ 1885417 w 2872287"/>
              <a:gd name="connsiteY23" fmla="*/ 679181 h 2885724"/>
              <a:gd name="connsiteX24" fmla="*/ 1766443 w 2872287"/>
              <a:gd name="connsiteY24" fmla="*/ 778925 h 2885724"/>
              <a:gd name="connsiteX25" fmla="*/ 1697698 w 2872287"/>
              <a:gd name="connsiteY25" fmla="*/ 843854 h 2885724"/>
              <a:gd name="connsiteX26" fmla="*/ 1676733 w 2872287"/>
              <a:gd name="connsiteY26" fmla="*/ 831118 h 2885724"/>
              <a:gd name="connsiteX27" fmla="*/ 1229400 w 2872287"/>
              <a:gd name="connsiteY27" fmla="*/ 717849 h 2885724"/>
              <a:gd name="connsiteX28" fmla="*/ 290925 w 2872287"/>
              <a:gd name="connsiteY28" fmla="*/ 1656324 h 2885724"/>
              <a:gd name="connsiteX29" fmla="*/ 1229400 w 2872287"/>
              <a:gd name="connsiteY29" fmla="*/ 2594799 h 2885724"/>
              <a:gd name="connsiteX30" fmla="*/ 2167875 w 2872287"/>
              <a:gd name="connsiteY30" fmla="*/ 1656324 h 2885724"/>
              <a:gd name="connsiteX31" fmla="*/ 2054606 w 2872287"/>
              <a:gd name="connsiteY31" fmla="*/ 1208991 h 2885724"/>
              <a:gd name="connsiteX32" fmla="*/ 2028904 w 2872287"/>
              <a:gd name="connsiteY32" fmla="*/ 1166684 h 2885724"/>
              <a:gd name="connsiteX33" fmla="*/ 2089764 w 2872287"/>
              <a:gd name="connsiteY33" fmla="*/ 1102246 h 2885724"/>
              <a:gd name="connsiteX34" fmla="*/ 2189508 w 2872287"/>
              <a:gd name="connsiteY34" fmla="*/ 983272 h 2885724"/>
              <a:gd name="connsiteX35" fmla="*/ 2224188 w 2872287"/>
              <a:gd name="connsiteY35" fmla="*/ 935991 h 2885724"/>
              <a:gd name="connsiteX36" fmla="*/ 2248838 w 2872287"/>
              <a:gd name="connsiteY36" fmla="*/ 968955 h 2885724"/>
              <a:gd name="connsiteX37" fmla="*/ 2458800 w 2872287"/>
              <a:gd name="connsiteY37" fmla="*/ 1656324 h 2885724"/>
              <a:gd name="connsiteX38" fmla="*/ 1229400 w 2872287"/>
              <a:gd name="connsiteY38" fmla="*/ 2885724 h 2885724"/>
              <a:gd name="connsiteX39" fmla="*/ 0 w 2872287"/>
              <a:gd name="connsiteY39" fmla="*/ 1656324 h 2885724"/>
              <a:gd name="connsiteX40" fmla="*/ 1229400 w 2872287"/>
              <a:gd name="connsiteY40" fmla="*/ 426924 h 2885724"/>
              <a:gd name="connsiteX41" fmla="*/ 2402682 w 2872287"/>
              <a:gd name="connsiteY41" fmla="*/ 680 h 2885724"/>
              <a:gd name="connsiteX42" fmla="*/ 2450307 w 2872287"/>
              <a:gd name="connsiteY42" fmla="*/ 36399 h 2885724"/>
              <a:gd name="connsiteX43" fmla="*/ 2493170 w 2872287"/>
              <a:gd name="connsiteY43" fmla="*/ 184037 h 2885724"/>
              <a:gd name="connsiteX44" fmla="*/ 2528888 w 2872287"/>
              <a:gd name="connsiteY44" fmla="*/ 341199 h 2885724"/>
              <a:gd name="connsiteX45" fmla="*/ 2776539 w 2872287"/>
              <a:gd name="connsiteY45" fmla="*/ 405494 h 2885724"/>
              <a:gd name="connsiteX46" fmla="*/ 2864645 w 2872287"/>
              <a:gd name="connsiteY46" fmla="*/ 450737 h 2885724"/>
              <a:gd name="connsiteX47" fmla="*/ 2859882 w 2872287"/>
              <a:gd name="connsiteY47" fmla="*/ 515030 h 2885724"/>
              <a:gd name="connsiteX48" fmla="*/ 2786064 w 2872287"/>
              <a:gd name="connsiteY48" fmla="*/ 603137 h 2885724"/>
              <a:gd name="connsiteX49" fmla="*/ 2667002 w 2872287"/>
              <a:gd name="connsiteY49" fmla="*/ 715055 h 2885724"/>
              <a:gd name="connsiteX50" fmla="*/ 2552701 w 2872287"/>
              <a:gd name="connsiteY50" fmla="*/ 769824 h 2885724"/>
              <a:gd name="connsiteX51" fmla="*/ 2431257 w 2872287"/>
              <a:gd name="connsiteY51" fmla="*/ 784112 h 2885724"/>
              <a:gd name="connsiteX52" fmla="*/ 2271714 w 2872287"/>
              <a:gd name="connsiteY52" fmla="*/ 762680 h 2885724"/>
              <a:gd name="connsiteX53" fmla="*/ 2225051 w 2872287"/>
              <a:gd name="connsiteY53" fmla="*/ 746476 h 2885724"/>
              <a:gd name="connsiteX54" fmla="*/ 2216943 w 2872287"/>
              <a:gd name="connsiteY54" fmla="*/ 757918 h 2885724"/>
              <a:gd name="connsiteX55" fmla="*/ 2064543 w 2872287"/>
              <a:gd name="connsiteY55" fmla="*/ 962705 h 2885724"/>
              <a:gd name="connsiteX56" fmla="*/ 1862137 w 2872287"/>
              <a:gd name="connsiteY56" fmla="*/ 1212737 h 2885724"/>
              <a:gd name="connsiteX57" fmla="*/ 1750218 w 2872287"/>
              <a:gd name="connsiteY57" fmla="*/ 1334180 h 2885724"/>
              <a:gd name="connsiteX58" fmla="*/ 1664493 w 2872287"/>
              <a:gd name="connsiteY58" fmla="*/ 1407999 h 2885724"/>
              <a:gd name="connsiteX59" fmla="*/ 1607343 w 2872287"/>
              <a:gd name="connsiteY59" fmla="*/ 1438955 h 2885724"/>
              <a:gd name="connsiteX60" fmla="*/ 1550193 w 2872287"/>
              <a:gd name="connsiteY60" fmla="*/ 1438955 h 2885724"/>
              <a:gd name="connsiteX61" fmla="*/ 1526380 w 2872287"/>
              <a:gd name="connsiteY61" fmla="*/ 1438955 h 2885724"/>
              <a:gd name="connsiteX62" fmla="*/ 1521677 w 2872287"/>
              <a:gd name="connsiteY62" fmla="*/ 1440971 h 2885724"/>
              <a:gd name="connsiteX63" fmla="*/ 1499508 w 2872287"/>
              <a:gd name="connsiteY63" fmla="*/ 1464922 h 2885724"/>
              <a:gd name="connsiteX64" fmla="*/ 1198503 w 2872287"/>
              <a:gd name="connsiteY64" fmla="*/ 1669195 h 2885724"/>
              <a:gd name="connsiteX65" fmla="*/ 1402776 w 2872287"/>
              <a:gd name="connsiteY65" fmla="*/ 1368190 h 2885724"/>
              <a:gd name="connsiteX66" fmla="*/ 1429420 w 2872287"/>
              <a:gd name="connsiteY66" fmla="*/ 1343529 h 2885724"/>
              <a:gd name="connsiteX67" fmla="*/ 1427856 w 2872287"/>
              <a:gd name="connsiteY67" fmla="*/ 1324358 h 2885724"/>
              <a:gd name="connsiteX68" fmla="*/ 1423987 w 2872287"/>
              <a:gd name="connsiteY68" fmla="*/ 1288937 h 2885724"/>
              <a:gd name="connsiteX69" fmla="*/ 1435893 w 2872287"/>
              <a:gd name="connsiteY69" fmla="*/ 1231787 h 2885724"/>
              <a:gd name="connsiteX70" fmla="*/ 1502568 w 2872287"/>
              <a:gd name="connsiteY70" fmla="*/ 1148443 h 2885724"/>
              <a:gd name="connsiteX71" fmla="*/ 1693068 w 2872287"/>
              <a:gd name="connsiteY71" fmla="*/ 972230 h 2885724"/>
              <a:gd name="connsiteX72" fmla="*/ 1959768 w 2872287"/>
              <a:gd name="connsiteY72" fmla="*/ 760299 h 2885724"/>
              <a:gd name="connsiteX73" fmla="*/ 2058441 w 2872287"/>
              <a:gd name="connsiteY73" fmla="*/ 689309 h 2885724"/>
              <a:gd name="connsiteX74" fmla="*/ 2114702 w 2872287"/>
              <a:gd name="connsiteY74" fmla="*/ 654020 h 2885724"/>
              <a:gd name="connsiteX75" fmla="*/ 2106812 w 2872287"/>
              <a:gd name="connsiteY75" fmla="*/ 603584 h 2885724"/>
              <a:gd name="connsiteX76" fmla="*/ 2095501 w 2872287"/>
              <a:gd name="connsiteY76" fmla="*/ 495982 h 2885724"/>
              <a:gd name="connsiteX77" fmla="*/ 2095501 w 2872287"/>
              <a:gd name="connsiteY77" fmla="*/ 358662 h 2885724"/>
              <a:gd name="connsiteX78" fmla="*/ 2147889 w 2872287"/>
              <a:gd name="connsiteY78" fmla="*/ 231662 h 2885724"/>
              <a:gd name="connsiteX79" fmla="*/ 2300289 w 2872287"/>
              <a:gd name="connsiteY79" fmla="*/ 69737 h 2885724"/>
              <a:gd name="connsiteX80" fmla="*/ 2352676 w 2872287"/>
              <a:gd name="connsiteY80" fmla="*/ 17349 h 2885724"/>
              <a:gd name="connsiteX81" fmla="*/ 2402682 w 2872287"/>
              <a:gd name="connsiteY81" fmla="*/ 680 h 2885724"/>
              <a:gd name="connsiteX0" fmla="*/ 1229400 w 2872287"/>
              <a:gd name="connsiteY0" fmla="*/ 1044324 h 2885724"/>
              <a:gd name="connsiteX1" fmla="*/ 1352739 w 2872287"/>
              <a:gd name="connsiteY1" fmla="*/ 1056758 h 2885724"/>
              <a:gd name="connsiteX2" fmla="*/ 1405032 w 2872287"/>
              <a:gd name="connsiteY2" fmla="*/ 1072990 h 2885724"/>
              <a:gd name="connsiteX3" fmla="*/ 1371388 w 2872287"/>
              <a:gd name="connsiteY3" fmla="*/ 1125341 h 2885724"/>
              <a:gd name="connsiteX4" fmla="*/ 1299983 w 2872287"/>
              <a:gd name="connsiteY4" fmla="*/ 1292254 h 2885724"/>
              <a:gd name="connsiteX5" fmla="*/ 1291507 w 2872287"/>
              <a:gd name="connsiteY5" fmla="*/ 1348568 h 2885724"/>
              <a:gd name="connsiteX6" fmla="*/ 1229400 w 2872287"/>
              <a:gd name="connsiteY6" fmla="*/ 1342307 h 2885724"/>
              <a:gd name="connsiteX7" fmla="*/ 915383 w 2872287"/>
              <a:gd name="connsiteY7" fmla="*/ 1656324 h 2885724"/>
              <a:gd name="connsiteX8" fmla="*/ 1229400 w 2872287"/>
              <a:gd name="connsiteY8" fmla="*/ 1970341 h 2885724"/>
              <a:gd name="connsiteX9" fmla="*/ 1543417 w 2872287"/>
              <a:gd name="connsiteY9" fmla="*/ 1656324 h 2885724"/>
              <a:gd name="connsiteX10" fmla="*/ 1537038 w 2872287"/>
              <a:gd name="connsiteY10" fmla="*/ 1593039 h 2885724"/>
              <a:gd name="connsiteX11" fmla="*/ 1532628 w 2872287"/>
              <a:gd name="connsiteY11" fmla="*/ 1578835 h 2885724"/>
              <a:gd name="connsiteX12" fmla="*/ 1573883 w 2872287"/>
              <a:gd name="connsiteY12" fmla="*/ 1572626 h 2885724"/>
              <a:gd name="connsiteX13" fmla="*/ 1740796 w 2872287"/>
              <a:gd name="connsiteY13" fmla="*/ 1501221 h 2885724"/>
              <a:gd name="connsiteX14" fmla="*/ 1806082 w 2872287"/>
              <a:gd name="connsiteY14" fmla="*/ 1459264 h 2885724"/>
              <a:gd name="connsiteX15" fmla="*/ 1828967 w 2872287"/>
              <a:gd name="connsiteY15" fmla="*/ 1532985 h 2885724"/>
              <a:gd name="connsiteX16" fmla="*/ 1841400 w 2872287"/>
              <a:gd name="connsiteY16" fmla="*/ 1656324 h 2885724"/>
              <a:gd name="connsiteX17" fmla="*/ 1229400 w 2872287"/>
              <a:gd name="connsiteY17" fmla="*/ 2268324 h 2885724"/>
              <a:gd name="connsiteX18" fmla="*/ 617400 w 2872287"/>
              <a:gd name="connsiteY18" fmla="*/ 1656324 h 2885724"/>
              <a:gd name="connsiteX19" fmla="*/ 1229400 w 2872287"/>
              <a:gd name="connsiteY19" fmla="*/ 1044324 h 2885724"/>
              <a:gd name="connsiteX20" fmla="*/ 1229400 w 2872287"/>
              <a:gd name="connsiteY20" fmla="*/ 426924 h 2885724"/>
              <a:gd name="connsiteX21" fmla="*/ 1916770 w 2872287"/>
              <a:gd name="connsiteY21" fmla="*/ 636886 h 2885724"/>
              <a:gd name="connsiteX22" fmla="*/ 1929798 w 2872287"/>
              <a:gd name="connsiteY22" fmla="*/ 646629 h 2885724"/>
              <a:gd name="connsiteX23" fmla="*/ 1885417 w 2872287"/>
              <a:gd name="connsiteY23" fmla="*/ 679181 h 2885724"/>
              <a:gd name="connsiteX24" fmla="*/ 1766443 w 2872287"/>
              <a:gd name="connsiteY24" fmla="*/ 778925 h 2885724"/>
              <a:gd name="connsiteX25" fmla="*/ 1697698 w 2872287"/>
              <a:gd name="connsiteY25" fmla="*/ 843854 h 2885724"/>
              <a:gd name="connsiteX26" fmla="*/ 1676733 w 2872287"/>
              <a:gd name="connsiteY26" fmla="*/ 831118 h 2885724"/>
              <a:gd name="connsiteX27" fmla="*/ 1229400 w 2872287"/>
              <a:gd name="connsiteY27" fmla="*/ 717849 h 2885724"/>
              <a:gd name="connsiteX28" fmla="*/ 290925 w 2872287"/>
              <a:gd name="connsiteY28" fmla="*/ 1656324 h 2885724"/>
              <a:gd name="connsiteX29" fmla="*/ 1229400 w 2872287"/>
              <a:gd name="connsiteY29" fmla="*/ 2594799 h 2885724"/>
              <a:gd name="connsiteX30" fmla="*/ 2167875 w 2872287"/>
              <a:gd name="connsiteY30" fmla="*/ 1656324 h 2885724"/>
              <a:gd name="connsiteX31" fmla="*/ 2054606 w 2872287"/>
              <a:gd name="connsiteY31" fmla="*/ 1208991 h 2885724"/>
              <a:gd name="connsiteX32" fmla="*/ 2028904 w 2872287"/>
              <a:gd name="connsiteY32" fmla="*/ 1166684 h 2885724"/>
              <a:gd name="connsiteX33" fmla="*/ 2089764 w 2872287"/>
              <a:gd name="connsiteY33" fmla="*/ 1102246 h 2885724"/>
              <a:gd name="connsiteX34" fmla="*/ 2189508 w 2872287"/>
              <a:gd name="connsiteY34" fmla="*/ 983272 h 2885724"/>
              <a:gd name="connsiteX35" fmla="*/ 2224188 w 2872287"/>
              <a:gd name="connsiteY35" fmla="*/ 935991 h 2885724"/>
              <a:gd name="connsiteX36" fmla="*/ 2248838 w 2872287"/>
              <a:gd name="connsiteY36" fmla="*/ 968955 h 2885724"/>
              <a:gd name="connsiteX37" fmla="*/ 2458800 w 2872287"/>
              <a:gd name="connsiteY37" fmla="*/ 1656324 h 2885724"/>
              <a:gd name="connsiteX38" fmla="*/ 1229400 w 2872287"/>
              <a:gd name="connsiteY38" fmla="*/ 2885724 h 2885724"/>
              <a:gd name="connsiteX39" fmla="*/ 0 w 2872287"/>
              <a:gd name="connsiteY39" fmla="*/ 1656324 h 2885724"/>
              <a:gd name="connsiteX40" fmla="*/ 1229400 w 2872287"/>
              <a:gd name="connsiteY40" fmla="*/ 426924 h 2885724"/>
              <a:gd name="connsiteX41" fmla="*/ 2402682 w 2872287"/>
              <a:gd name="connsiteY41" fmla="*/ 680 h 2885724"/>
              <a:gd name="connsiteX42" fmla="*/ 2450307 w 2872287"/>
              <a:gd name="connsiteY42" fmla="*/ 36399 h 2885724"/>
              <a:gd name="connsiteX43" fmla="*/ 2493170 w 2872287"/>
              <a:gd name="connsiteY43" fmla="*/ 184037 h 2885724"/>
              <a:gd name="connsiteX44" fmla="*/ 2528888 w 2872287"/>
              <a:gd name="connsiteY44" fmla="*/ 341199 h 2885724"/>
              <a:gd name="connsiteX45" fmla="*/ 2776539 w 2872287"/>
              <a:gd name="connsiteY45" fmla="*/ 405494 h 2885724"/>
              <a:gd name="connsiteX46" fmla="*/ 2864645 w 2872287"/>
              <a:gd name="connsiteY46" fmla="*/ 450737 h 2885724"/>
              <a:gd name="connsiteX47" fmla="*/ 2859882 w 2872287"/>
              <a:gd name="connsiteY47" fmla="*/ 515030 h 2885724"/>
              <a:gd name="connsiteX48" fmla="*/ 2786064 w 2872287"/>
              <a:gd name="connsiteY48" fmla="*/ 603137 h 2885724"/>
              <a:gd name="connsiteX49" fmla="*/ 2667002 w 2872287"/>
              <a:gd name="connsiteY49" fmla="*/ 715055 h 2885724"/>
              <a:gd name="connsiteX50" fmla="*/ 2552701 w 2872287"/>
              <a:gd name="connsiteY50" fmla="*/ 769824 h 2885724"/>
              <a:gd name="connsiteX51" fmla="*/ 2431257 w 2872287"/>
              <a:gd name="connsiteY51" fmla="*/ 784112 h 2885724"/>
              <a:gd name="connsiteX52" fmla="*/ 2271714 w 2872287"/>
              <a:gd name="connsiteY52" fmla="*/ 762680 h 2885724"/>
              <a:gd name="connsiteX53" fmla="*/ 2225051 w 2872287"/>
              <a:gd name="connsiteY53" fmla="*/ 746476 h 2885724"/>
              <a:gd name="connsiteX54" fmla="*/ 2216943 w 2872287"/>
              <a:gd name="connsiteY54" fmla="*/ 757918 h 2885724"/>
              <a:gd name="connsiteX55" fmla="*/ 2064543 w 2872287"/>
              <a:gd name="connsiteY55" fmla="*/ 962705 h 2885724"/>
              <a:gd name="connsiteX56" fmla="*/ 1862137 w 2872287"/>
              <a:gd name="connsiteY56" fmla="*/ 1212737 h 2885724"/>
              <a:gd name="connsiteX57" fmla="*/ 1750218 w 2872287"/>
              <a:gd name="connsiteY57" fmla="*/ 1334180 h 2885724"/>
              <a:gd name="connsiteX58" fmla="*/ 1664493 w 2872287"/>
              <a:gd name="connsiteY58" fmla="*/ 1407999 h 2885724"/>
              <a:gd name="connsiteX59" fmla="*/ 1607343 w 2872287"/>
              <a:gd name="connsiteY59" fmla="*/ 1438955 h 2885724"/>
              <a:gd name="connsiteX60" fmla="*/ 1550193 w 2872287"/>
              <a:gd name="connsiteY60" fmla="*/ 1438955 h 2885724"/>
              <a:gd name="connsiteX61" fmla="*/ 1526380 w 2872287"/>
              <a:gd name="connsiteY61" fmla="*/ 1438955 h 2885724"/>
              <a:gd name="connsiteX62" fmla="*/ 1521677 w 2872287"/>
              <a:gd name="connsiteY62" fmla="*/ 1440971 h 2885724"/>
              <a:gd name="connsiteX63" fmla="*/ 1499508 w 2872287"/>
              <a:gd name="connsiteY63" fmla="*/ 1464922 h 2885724"/>
              <a:gd name="connsiteX64" fmla="*/ 1198503 w 2872287"/>
              <a:gd name="connsiteY64" fmla="*/ 1669195 h 2885724"/>
              <a:gd name="connsiteX65" fmla="*/ 1402776 w 2872287"/>
              <a:gd name="connsiteY65" fmla="*/ 1368190 h 2885724"/>
              <a:gd name="connsiteX66" fmla="*/ 1429420 w 2872287"/>
              <a:gd name="connsiteY66" fmla="*/ 1343529 h 2885724"/>
              <a:gd name="connsiteX67" fmla="*/ 1427856 w 2872287"/>
              <a:gd name="connsiteY67" fmla="*/ 1324358 h 2885724"/>
              <a:gd name="connsiteX68" fmla="*/ 1423987 w 2872287"/>
              <a:gd name="connsiteY68" fmla="*/ 1288937 h 2885724"/>
              <a:gd name="connsiteX69" fmla="*/ 1435893 w 2872287"/>
              <a:gd name="connsiteY69" fmla="*/ 1231787 h 2885724"/>
              <a:gd name="connsiteX70" fmla="*/ 1502568 w 2872287"/>
              <a:gd name="connsiteY70" fmla="*/ 1148443 h 2885724"/>
              <a:gd name="connsiteX71" fmla="*/ 1693068 w 2872287"/>
              <a:gd name="connsiteY71" fmla="*/ 972230 h 2885724"/>
              <a:gd name="connsiteX72" fmla="*/ 1959768 w 2872287"/>
              <a:gd name="connsiteY72" fmla="*/ 760299 h 2885724"/>
              <a:gd name="connsiteX73" fmla="*/ 2058441 w 2872287"/>
              <a:gd name="connsiteY73" fmla="*/ 689309 h 2885724"/>
              <a:gd name="connsiteX74" fmla="*/ 2114702 w 2872287"/>
              <a:gd name="connsiteY74" fmla="*/ 654020 h 2885724"/>
              <a:gd name="connsiteX75" fmla="*/ 2106812 w 2872287"/>
              <a:gd name="connsiteY75" fmla="*/ 603584 h 2885724"/>
              <a:gd name="connsiteX76" fmla="*/ 2095501 w 2872287"/>
              <a:gd name="connsiteY76" fmla="*/ 495982 h 2885724"/>
              <a:gd name="connsiteX77" fmla="*/ 2095501 w 2872287"/>
              <a:gd name="connsiteY77" fmla="*/ 358662 h 2885724"/>
              <a:gd name="connsiteX78" fmla="*/ 2147889 w 2872287"/>
              <a:gd name="connsiteY78" fmla="*/ 231662 h 2885724"/>
              <a:gd name="connsiteX79" fmla="*/ 2300289 w 2872287"/>
              <a:gd name="connsiteY79" fmla="*/ 69737 h 2885724"/>
              <a:gd name="connsiteX80" fmla="*/ 2352676 w 2872287"/>
              <a:gd name="connsiteY80" fmla="*/ 17349 h 2885724"/>
              <a:gd name="connsiteX81" fmla="*/ 2402682 w 2872287"/>
              <a:gd name="connsiteY81" fmla="*/ 680 h 28857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Lst>
            <a:rect l="l" t="t" r="r" b="b"/>
            <a:pathLst>
              <a:path w="2872287" h="2885724">
                <a:moveTo>
                  <a:pt x="1229400" y="1044324"/>
                </a:moveTo>
                <a:cubicBezTo>
                  <a:pt x="1271650" y="1044324"/>
                  <a:pt x="1312900" y="1048605"/>
                  <a:pt x="1352739" y="1056758"/>
                </a:cubicBezTo>
                <a:lnTo>
                  <a:pt x="1405032" y="1072990"/>
                </a:lnTo>
                <a:lnTo>
                  <a:pt x="1371388" y="1125341"/>
                </a:lnTo>
                <a:cubicBezTo>
                  <a:pt x="1337157" y="1184989"/>
                  <a:pt x="1312883" y="1241731"/>
                  <a:pt x="1299983" y="1292254"/>
                </a:cubicBezTo>
                <a:lnTo>
                  <a:pt x="1291507" y="1348568"/>
                </a:lnTo>
                <a:lnTo>
                  <a:pt x="1229400" y="1342307"/>
                </a:lnTo>
                <a:cubicBezTo>
                  <a:pt x="1055973" y="1342307"/>
                  <a:pt x="915383" y="1482897"/>
                  <a:pt x="915383" y="1656324"/>
                </a:cubicBezTo>
                <a:cubicBezTo>
                  <a:pt x="915383" y="1829751"/>
                  <a:pt x="1055973" y="1970341"/>
                  <a:pt x="1229400" y="1970341"/>
                </a:cubicBezTo>
                <a:cubicBezTo>
                  <a:pt x="1402827" y="1970341"/>
                  <a:pt x="1543417" y="1829751"/>
                  <a:pt x="1543417" y="1656324"/>
                </a:cubicBezTo>
                <a:cubicBezTo>
                  <a:pt x="1543417" y="1634646"/>
                  <a:pt x="1541221" y="1613480"/>
                  <a:pt x="1537038" y="1593039"/>
                </a:cubicBezTo>
                <a:lnTo>
                  <a:pt x="1532628" y="1578835"/>
                </a:lnTo>
                <a:lnTo>
                  <a:pt x="1573883" y="1572626"/>
                </a:lnTo>
                <a:cubicBezTo>
                  <a:pt x="1624406" y="1559726"/>
                  <a:pt x="1681148" y="1535452"/>
                  <a:pt x="1740796" y="1501221"/>
                </a:cubicBezTo>
                <a:lnTo>
                  <a:pt x="1806082" y="1459264"/>
                </a:lnTo>
                <a:lnTo>
                  <a:pt x="1828967" y="1532985"/>
                </a:lnTo>
                <a:cubicBezTo>
                  <a:pt x="1837119" y="1572825"/>
                  <a:pt x="1841400" y="1614074"/>
                  <a:pt x="1841400" y="1656324"/>
                </a:cubicBezTo>
                <a:cubicBezTo>
                  <a:pt x="1841400" y="1994322"/>
                  <a:pt x="1567398" y="2268324"/>
                  <a:pt x="1229400" y="2268324"/>
                </a:cubicBezTo>
                <a:cubicBezTo>
                  <a:pt x="891402" y="2268324"/>
                  <a:pt x="617400" y="1994322"/>
                  <a:pt x="617400" y="1656324"/>
                </a:cubicBezTo>
                <a:cubicBezTo>
                  <a:pt x="617400" y="1318326"/>
                  <a:pt x="891402" y="1044324"/>
                  <a:pt x="1229400" y="1044324"/>
                </a:cubicBezTo>
                <a:close/>
                <a:moveTo>
                  <a:pt x="1229400" y="426924"/>
                </a:moveTo>
                <a:cubicBezTo>
                  <a:pt x="1484017" y="426924"/>
                  <a:pt x="1720556" y="504327"/>
                  <a:pt x="1916770" y="636886"/>
                </a:cubicBezTo>
                <a:lnTo>
                  <a:pt x="1929798" y="646629"/>
                </a:lnTo>
                <a:lnTo>
                  <a:pt x="1885417" y="679181"/>
                </a:lnTo>
                <a:cubicBezTo>
                  <a:pt x="1846392" y="709857"/>
                  <a:pt x="1806567" y="743198"/>
                  <a:pt x="1766443" y="778925"/>
                </a:cubicBezTo>
                <a:lnTo>
                  <a:pt x="1697698" y="843854"/>
                </a:lnTo>
                <a:lnTo>
                  <a:pt x="1676733" y="831118"/>
                </a:lnTo>
                <a:cubicBezTo>
                  <a:pt x="1543757" y="758881"/>
                  <a:pt x="1391370" y="717849"/>
                  <a:pt x="1229400" y="717849"/>
                </a:cubicBezTo>
                <a:cubicBezTo>
                  <a:pt x="711095" y="717849"/>
                  <a:pt x="290925" y="1138019"/>
                  <a:pt x="290925" y="1656324"/>
                </a:cubicBezTo>
                <a:cubicBezTo>
                  <a:pt x="290925" y="2174629"/>
                  <a:pt x="711095" y="2594799"/>
                  <a:pt x="1229400" y="2594799"/>
                </a:cubicBezTo>
                <a:cubicBezTo>
                  <a:pt x="1747705" y="2594799"/>
                  <a:pt x="2167875" y="2174629"/>
                  <a:pt x="2167875" y="1656324"/>
                </a:cubicBezTo>
                <a:cubicBezTo>
                  <a:pt x="2167875" y="1494354"/>
                  <a:pt x="2126843" y="1341967"/>
                  <a:pt x="2054606" y="1208991"/>
                </a:cubicBezTo>
                <a:lnTo>
                  <a:pt x="2028904" y="1166684"/>
                </a:lnTo>
                <a:lnTo>
                  <a:pt x="2089764" y="1102246"/>
                </a:lnTo>
                <a:cubicBezTo>
                  <a:pt x="2125491" y="1062122"/>
                  <a:pt x="2158832" y="1022297"/>
                  <a:pt x="2189508" y="983272"/>
                </a:cubicBezTo>
                <a:lnTo>
                  <a:pt x="2224188" y="935991"/>
                </a:lnTo>
                <a:lnTo>
                  <a:pt x="2248838" y="968955"/>
                </a:lnTo>
                <a:cubicBezTo>
                  <a:pt x="2381397" y="1165168"/>
                  <a:pt x="2458800" y="1401707"/>
                  <a:pt x="2458800" y="1656324"/>
                </a:cubicBezTo>
                <a:cubicBezTo>
                  <a:pt x="2458800" y="2335303"/>
                  <a:pt x="1908379" y="2885724"/>
                  <a:pt x="1229400" y="2885724"/>
                </a:cubicBezTo>
                <a:cubicBezTo>
                  <a:pt x="550421" y="2885724"/>
                  <a:pt x="0" y="2335303"/>
                  <a:pt x="0" y="1656324"/>
                </a:cubicBezTo>
                <a:cubicBezTo>
                  <a:pt x="0" y="977345"/>
                  <a:pt x="550421" y="426924"/>
                  <a:pt x="1229400" y="426924"/>
                </a:cubicBezTo>
                <a:close/>
                <a:moveTo>
                  <a:pt x="2402682" y="680"/>
                </a:moveTo>
                <a:cubicBezTo>
                  <a:pt x="2418954" y="3855"/>
                  <a:pt x="2435226" y="5840"/>
                  <a:pt x="2450307" y="36399"/>
                </a:cubicBezTo>
                <a:cubicBezTo>
                  <a:pt x="2465388" y="66958"/>
                  <a:pt x="2480073" y="133237"/>
                  <a:pt x="2493170" y="184037"/>
                </a:cubicBezTo>
                <a:lnTo>
                  <a:pt x="2528888" y="341199"/>
                </a:lnTo>
                <a:lnTo>
                  <a:pt x="2776539" y="405494"/>
                </a:lnTo>
                <a:cubicBezTo>
                  <a:pt x="2832101" y="422957"/>
                  <a:pt x="2850755" y="432481"/>
                  <a:pt x="2864645" y="450737"/>
                </a:cubicBezTo>
                <a:cubicBezTo>
                  <a:pt x="2878535" y="468993"/>
                  <a:pt x="2871391" y="491614"/>
                  <a:pt x="2859882" y="515030"/>
                </a:cubicBezTo>
                <a:cubicBezTo>
                  <a:pt x="2838451" y="540430"/>
                  <a:pt x="2818211" y="569800"/>
                  <a:pt x="2786064" y="603137"/>
                </a:cubicBezTo>
                <a:cubicBezTo>
                  <a:pt x="2753917" y="636474"/>
                  <a:pt x="2709864" y="680924"/>
                  <a:pt x="2667002" y="715055"/>
                </a:cubicBezTo>
                <a:cubicBezTo>
                  <a:pt x="2626521" y="744821"/>
                  <a:pt x="2591992" y="758314"/>
                  <a:pt x="2552701" y="769824"/>
                </a:cubicBezTo>
                <a:cubicBezTo>
                  <a:pt x="2513410" y="781334"/>
                  <a:pt x="2478088" y="785303"/>
                  <a:pt x="2431257" y="784112"/>
                </a:cubicBezTo>
                <a:cubicBezTo>
                  <a:pt x="2384426" y="782921"/>
                  <a:pt x="2314973" y="772999"/>
                  <a:pt x="2271714" y="762680"/>
                </a:cubicBezTo>
                <a:lnTo>
                  <a:pt x="2225051" y="746476"/>
                </a:lnTo>
                <a:lnTo>
                  <a:pt x="2216943" y="757918"/>
                </a:lnTo>
                <a:cubicBezTo>
                  <a:pt x="2167334" y="830546"/>
                  <a:pt x="2123677" y="886902"/>
                  <a:pt x="2064543" y="962705"/>
                </a:cubicBezTo>
                <a:cubicBezTo>
                  <a:pt x="2005409" y="1038508"/>
                  <a:pt x="1914524" y="1150825"/>
                  <a:pt x="1862137" y="1212737"/>
                </a:cubicBezTo>
                <a:cubicBezTo>
                  <a:pt x="1809750" y="1274649"/>
                  <a:pt x="1783159" y="1301636"/>
                  <a:pt x="1750218" y="1334180"/>
                </a:cubicBezTo>
                <a:cubicBezTo>
                  <a:pt x="1717277" y="1366724"/>
                  <a:pt x="1688305" y="1390537"/>
                  <a:pt x="1664493" y="1407999"/>
                </a:cubicBezTo>
                <a:cubicBezTo>
                  <a:pt x="1640681" y="1425461"/>
                  <a:pt x="1626393" y="1433796"/>
                  <a:pt x="1607343" y="1438955"/>
                </a:cubicBezTo>
                <a:cubicBezTo>
                  <a:pt x="1588293" y="1444114"/>
                  <a:pt x="1550193" y="1438955"/>
                  <a:pt x="1550193" y="1438955"/>
                </a:cubicBezTo>
                <a:cubicBezTo>
                  <a:pt x="1536699" y="1438955"/>
                  <a:pt x="1535905" y="1436574"/>
                  <a:pt x="1526380" y="1438955"/>
                </a:cubicBezTo>
                <a:lnTo>
                  <a:pt x="1521677" y="1440971"/>
                </a:lnTo>
                <a:lnTo>
                  <a:pt x="1499508" y="1464922"/>
                </a:lnTo>
                <a:cubicBezTo>
                  <a:pt x="1359980" y="1604451"/>
                  <a:pt x="1225215" y="1695906"/>
                  <a:pt x="1198503" y="1669195"/>
                </a:cubicBezTo>
                <a:cubicBezTo>
                  <a:pt x="1171792" y="1642483"/>
                  <a:pt x="1263247" y="1507718"/>
                  <a:pt x="1402776" y="1368190"/>
                </a:cubicBezTo>
                <a:lnTo>
                  <a:pt x="1429420" y="1343529"/>
                </a:lnTo>
                <a:lnTo>
                  <a:pt x="1427856" y="1324358"/>
                </a:lnTo>
                <a:cubicBezTo>
                  <a:pt x="1425971" y="1311757"/>
                  <a:pt x="1423193" y="1300050"/>
                  <a:pt x="1423987" y="1288937"/>
                </a:cubicBezTo>
                <a:cubicBezTo>
                  <a:pt x="1425575" y="1266712"/>
                  <a:pt x="1422796" y="1255203"/>
                  <a:pt x="1435893" y="1231787"/>
                </a:cubicBezTo>
                <a:cubicBezTo>
                  <a:pt x="1448990" y="1208371"/>
                  <a:pt x="1459706" y="1191702"/>
                  <a:pt x="1502568" y="1148443"/>
                </a:cubicBezTo>
                <a:cubicBezTo>
                  <a:pt x="1545430" y="1105184"/>
                  <a:pt x="1616868" y="1036921"/>
                  <a:pt x="1693068" y="972230"/>
                </a:cubicBezTo>
                <a:cubicBezTo>
                  <a:pt x="1769268" y="907539"/>
                  <a:pt x="1883568" y="817052"/>
                  <a:pt x="1959768" y="760299"/>
                </a:cubicBezTo>
                <a:cubicBezTo>
                  <a:pt x="1997868" y="731923"/>
                  <a:pt x="2028725" y="709499"/>
                  <a:pt x="2058441" y="689309"/>
                </a:cubicBezTo>
                <a:lnTo>
                  <a:pt x="2114702" y="654020"/>
                </a:lnTo>
                <a:lnTo>
                  <a:pt x="2106812" y="603584"/>
                </a:lnTo>
                <a:cubicBezTo>
                  <a:pt x="2101851" y="566526"/>
                  <a:pt x="2097386" y="536802"/>
                  <a:pt x="2095501" y="495982"/>
                </a:cubicBezTo>
                <a:cubicBezTo>
                  <a:pt x="2093616" y="455162"/>
                  <a:pt x="2086770" y="402715"/>
                  <a:pt x="2095501" y="358662"/>
                </a:cubicBezTo>
                <a:cubicBezTo>
                  <a:pt x="2104232" y="314609"/>
                  <a:pt x="2113758" y="274524"/>
                  <a:pt x="2147889" y="231662"/>
                </a:cubicBezTo>
                <a:lnTo>
                  <a:pt x="2300289" y="69737"/>
                </a:lnTo>
                <a:lnTo>
                  <a:pt x="2352676" y="17349"/>
                </a:lnTo>
                <a:cubicBezTo>
                  <a:pt x="2369741" y="5840"/>
                  <a:pt x="2386410" y="-2495"/>
                  <a:pt x="2402682" y="680"/>
                </a:cubicBezTo>
                <a:close/>
              </a:path>
            </a:pathLst>
          </a:cu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1" dirty="0">
              <a:solidFill>
                <a:srgbClr val="000000"/>
              </a:solidFill>
            </a:endParaRPr>
          </a:p>
        </p:txBody>
      </p:sp>
      <p:sp>
        <p:nvSpPr>
          <p:cNvPr id="36" name="Freeform 54">
            <a:extLst>
              <a:ext uri="{FF2B5EF4-FFF2-40B4-BE49-F238E27FC236}">
                <a16:creationId xmlns:a16="http://schemas.microsoft.com/office/drawing/2014/main" id="{470F62E3-F3B2-4F2E-8B1B-6E7DD794403C}"/>
              </a:ext>
            </a:extLst>
          </p:cNvPr>
          <p:cNvSpPr/>
          <p:nvPr/>
        </p:nvSpPr>
        <p:spPr>
          <a:xfrm>
            <a:off x="3196242" y="728090"/>
            <a:ext cx="307408" cy="356439"/>
          </a:xfrm>
          <a:custGeom>
            <a:avLst/>
            <a:gdLst>
              <a:gd name="connsiteX0" fmla="*/ 2125980 w 3985260"/>
              <a:gd name="connsiteY0" fmla="*/ 5113020 h 5113020"/>
              <a:gd name="connsiteX1" fmla="*/ 0 w 3985260"/>
              <a:gd name="connsiteY1" fmla="*/ 4640580 h 5113020"/>
              <a:gd name="connsiteX2" fmla="*/ 259080 w 3985260"/>
              <a:gd name="connsiteY2" fmla="*/ 3817620 h 5113020"/>
              <a:gd name="connsiteX3" fmla="*/ 1417320 w 3985260"/>
              <a:gd name="connsiteY3" fmla="*/ 0 h 5113020"/>
              <a:gd name="connsiteX4" fmla="*/ 3520440 w 3985260"/>
              <a:gd name="connsiteY4" fmla="*/ 1630680 h 5113020"/>
              <a:gd name="connsiteX5" fmla="*/ 3985260 w 3985260"/>
              <a:gd name="connsiteY5" fmla="*/ 2903220 h 5113020"/>
              <a:gd name="connsiteX6" fmla="*/ 3680460 w 3985260"/>
              <a:gd name="connsiteY6" fmla="*/ 3345180 h 5113020"/>
              <a:gd name="connsiteX7" fmla="*/ 3589020 w 3985260"/>
              <a:gd name="connsiteY7" fmla="*/ 3459480 h 5113020"/>
              <a:gd name="connsiteX8" fmla="*/ 3649980 w 3985260"/>
              <a:gd name="connsiteY8" fmla="*/ 3627120 h 5113020"/>
              <a:gd name="connsiteX9" fmla="*/ 3474720 w 3985260"/>
              <a:gd name="connsiteY9" fmla="*/ 3771900 h 5113020"/>
              <a:gd name="connsiteX10" fmla="*/ 3489960 w 3985260"/>
              <a:gd name="connsiteY10" fmla="*/ 4297680 h 5113020"/>
              <a:gd name="connsiteX11" fmla="*/ 2491740 w 3985260"/>
              <a:gd name="connsiteY11" fmla="*/ 4480560 h 5113020"/>
              <a:gd name="connsiteX12" fmla="*/ 2125980 w 3985260"/>
              <a:gd name="connsiteY12" fmla="*/ 5113020 h 5113020"/>
              <a:gd name="connsiteX0" fmla="*/ 2125980 w 3985260"/>
              <a:gd name="connsiteY0" fmla="*/ 5113020 h 5113020"/>
              <a:gd name="connsiteX1" fmla="*/ 0 w 3985260"/>
              <a:gd name="connsiteY1" fmla="*/ 4640580 h 5113020"/>
              <a:gd name="connsiteX2" fmla="*/ 259080 w 3985260"/>
              <a:gd name="connsiteY2" fmla="*/ 3817620 h 5113020"/>
              <a:gd name="connsiteX3" fmla="*/ 1417320 w 3985260"/>
              <a:gd name="connsiteY3" fmla="*/ 0 h 5113020"/>
              <a:gd name="connsiteX4" fmla="*/ 3520440 w 3985260"/>
              <a:gd name="connsiteY4" fmla="*/ 1630680 h 5113020"/>
              <a:gd name="connsiteX5" fmla="*/ 3985260 w 3985260"/>
              <a:gd name="connsiteY5" fmla="*/ 2903220 h 5113020"/>
              <a:gd name="connsiteX6" fmla="*/ 3680460 w 3985260"/>
              <a:gd name="connsiteY6" fmla="*/ 3345180 h 5113020"/>
              <a:gd name="connsiteX7" fmla="*/ 3589020 w 3985260"/>
              <a:gd name="connsiteY7" fmla="*/ 3459480 h 5113020"/>
              <a:gd name="connsiteX8" fmla="*/ 3649980 w 3985260"/>
              <a:gd name="connsiteY8" fmla="*/ 3627120 h 5113020"/>
              <a:gd name="connsiteX9" fmla="*/ 3474720 w 3985260"/>
              <a:gd name="connsiteY9" fmla="*/ 3771900 h 5113020"/>
              <a:gd name="connsiteX10" fmla="*/ 3489960 w 3985260"/>
              <a:gd name="connsiteY10" fmla="*/ 4297680 h 5113020"/>
              <a:gd name="connsiteX11" fmla="*/ 2491740 w 3985260"/>
              <a:gd name="connsiteY11" fmla="*/ 4480560 h 5113020"/>
              <a:gd name="connsiteX12" fmla="*/ 2125980 w 3985260"/>
              <a:gd name="connsiteY12" fmla="*/ 5113020 h 5113020"/>
              <a:gd name="connsiteX0" fmla="*/ 2578242 w 4437522"/>
              <a:gd name="connsiteY0" fmla="*/ 5113020 h 5113020"/>
              <a:gd name="connsiteX1" fmla="*/ 452262 w 4437522"/>
              <a:gd name="connsiteY1" fmla="*/ 4640580 h 5113020"/>
              <a:gd name="connsiteX2" fmla="*/ 711342 w 4437522"/>
              <a:gd name="connsiteY2" fmla="*/ 3817620 h 5113020"/>
              <a:gd name="connsiteX3" fmla="*/ 1869582 w 4437522"/>
              <a:gd name="connsiteY3" fmla="*/ 0 h 5113020"/>
              <a:gd name="connsiteX4" fmla="*/ 3972702 w 4437522"/>
              <a:gd name="connsiteY4" fmla="*/ 1630680 h 5113020"/>
              <a:gd name="connsiteX5" fmla="*/ 4437522 w 4437522"/>
              <a:gd name="connsiteY5" fmla="*/ 2903220 h 5113020"/>
              <a:gd name="connsiteX6" fmla="*/ 4132722 w 4437522"/>
              <a:gd name="connsiteY6" fmla="*/ 3345180 h 5113020"/>
              <a:gd name="connsiteX7" fmla="*/ 4041282 w 4437522"/>
              <a:gd name="connsiteY7" fmla="*/ 3459480 h 5113020"/>
              <a:gd name="connsiteX8" fmla="*/ 4102242 w 4437522"/>
              <a:gd name="connsiteY8" fmla="*/ 3627120 h 5113020"/>
              <a:gd name="connsiteX9" fmla="*/ 3926982 w 4437522"/>
              <a:gd name="connsiteY9" fmla="*/ 3771900 h 5113020"/>
              <a:gd name="connsiteX10" fmla="*/ 3942222 w 4437522"/>
              <a:gd name="connsiteY10" fmla="*/ 4297680 h 5113020"/>
              <a:gd name="connsiteX11" fmla="*/ 2944002 w 4437522"/>
              <a:gd name="connsiteY11" fmla="*/ 4480560 h 5113020"/>
              <a:gd name="connsiteX12" fmla="*/ 2578242 w 4437522"/>
              <a:gd name="connsiteY12" fmla="*/ 5113020 h 5113020"/>
              <a:gd name="connsiteX0" fmla="*/ 2953119 w 4812399"/>
              <a:gd name="connsiteY0" fmla="*/ 5113020 h 5113020"/>
              <a:gd name="connsiteX1" fmla="*/ 827139 w 4812399"/>
              <a:gd name="connsiteY1" fmla="*/ 4640580 h 5113020"/>
              <a:gd name="connsiteX2" fmla="*/ 529959 w 4812399"/>
              <a:gd name="connsiteY2" fmla="*/ 2712720 h 5113020"/>
              <a:gd name="connsiteX3" fmla="*/ 2244459 w 4812399"/>
              <a:gd name="connsiteY3" fmla="*/ 0 h 5113020"/>
              <a:gd name="connsiteX4" fmla="*/ 4347579 w 4812399"/>
              <a:gd name="connsiteY4" fmla="*/ 1630680 h 5113020"/>
              <a:gd name="connsiteX5" fmla="*/ 4812399 w 4812399"/>
              <a:gd name="connsiteY5" fmla="*/ 2903220 h 5113020"/>
              <a:gd name="connsiteX6" fmla="*/ 4507599 w 4812399"/>
              <a:gd name="connsiteY6" fmla="*/ 3345180 h 5113020"/>
              <a:gd name="connsiteX7" fmla="*/ 4416159 w 4812399"/>
              <a:gd name="connsiteY7" fmla="*/ 3459480 h 5113020"/>
              <a:gd name="connsiteX8" fmla="*/ 4477119 w 4812399"/>
              <a:gd name="connsiteY8" fmla="*/ 3627120 h 5113020"/>
              <a:gd name="connsiteX9" fmla="*/ 4301859 w 4812399"/>
              <a:gd name="connsiteY9" fmla="*/ 3771900 h 5113020"/>
              <a:gd name="connsiteX10" fmla="*/ 4317099 w 4812399"/>
              <a:gd name="connsiteY10" fmla="*/ 4297680 h 5113020"/>
              <a:gd name="connsiteX11" fmla="*/ 3318879 w 4812399"/>
              <a:gd name="connsiteY11" fmla="*/ 4480560 h 5113020"/>
              <a:gd name="connsiteX12" fmla="*/ 2953119 w 4812399"/>
              <a:gd name="connsiteY12" fmla="*/ 5113020 h 5113020"/>
              <a:gd name="connsiteX0" fmla="*/ 2601128 w 4460408"/>
              <a:gd name="connsiteY0" fmla="*/ 5113020 h 5113020"/>
              <a:gd name="connsiteX1" fmla="*/ 475148 w 4460408"/>
              <a:gd name="connsiteY1" fmla="*/ 4640580 h 5113020"/>
              <a:gd name="connsiteX2" fmla="*/ 177968 w 4460408"/>
              <a:gd name="connsiteY2" fmla="*/ 2712720 h 5113020"/>
              <a:gd name="connsiteX3" fmla="*/ 1892468 w 4460408"/>
              <a:gd name="connsiteY3" fmla="*/ 0 h 5113020"/>
              <a:gd name="connsiteX4" fmla="*/ 3995588 w 4460408"/>
              <a:gd name="connsiteY4" fmla="*/ 1630680 h 5113020"/>
              <a:gd name="connsiteX5" fmla="*/ 4460408 w 4460408"/>
              <a:gd name="connsiteY5" fmla="*/ 2903220 h 5113020"/>
              <a:gd name="connsiteX6" fmla="*/ 4155608 w 4460408"/>
              <a:gd name="connsiteY6" fmla="*/ 3345180 h 5113020"/>
              <a:gd name="connsiteX7" fmla="*/ 4064168 w 4460408"/>
              <a:gd name="connsiteY7" fmla="*/ 3459480 h 5113020"/>
              <a:gd name="connsiteX8" fmla="*/ 4125128 w 4460408"/>
              <a:gd name="connsiteY8" fmla="*/ 3627120 h 5113020"/>
              <a:gd name="connsiteX9" fmla="*/ 3949868 w 4460408"/>
              <a:gd name="connsiteY9" fmla="*/ 3771900 h 5113020"/>
              <a:gd name="connsiteX10" fmla="*/ 3965108 w 4460408"/>
              <a:gd name="connsiteY10" fmla="*/ 4297680 h 5113020"/>
              <a:gd name="connsiteX11" fmla="*/ 2966888 w 4460408"/>
              <a:gd name="connsiteY11" fmla="*/ 4480560 h 5113020"/>
              <a:gd name="connsiteX12" fmla="*/ 2601128 w 4460408"/>
              <a:gd name="connsiteY12" fmla="*/ 5113020 h 5113020"/>
              <a:gd name="connsiteX0" fmla="*/ 2545808 w 4405088"/>
              <a:gd name="connsiteY0" fmla="*/ 5113020 h 5113020"/>
              <a:gd name="connsiteX1" fmla="*/ 419828 w 4405088"/>
              <a:gd name="connsiteY1" fmla="*/ 4640580 h 5113020"/>
              <a:gd name="connsiteX2" fmla="*/ 122648 w 4405088"/>
              <a:gd name="connsiteY2" fmla="*/ 2712720 h 5113020"/>
              <a:gd name="connsiteX3" fmla="*/ 1837148 w 4405088"/>
              <a:gd name="connsiteY3" fmla="*/ 0 h 5113020"/>
              <a:gd name="connsiteX4" fmla="*/ 3940268 w 4405088"/>
              <a:gd name="connsiteY4" fmla="*/ 1630680 h 5113020"/>
              <a:gd name="connsiteX5" fmla="*/ 4405088 w 4405088"/>
              <a:gd name="connsiteY5" fmla="*/ 2903220 h 5113020"/>
              <a:gd name="connsiteX6" fmla="*/ 4100288 w 4405088"/>
              <a:gd name="connsiteY6" fmla="*/ 3345180 h 5113020"/>
              <a:gd name="connsiteX7" fmla="*/ 4008848 w 4405088"/>
              <a:gd name="connsiteY7" fmla="*/ 3459480 h 5113020"/>
              <a:gd name="connsiteX8" fmla="*/ 4069808 w 4405088"/>
              <a:gd name="connsiteY8" fmla="*/ 3627120 h 5113020"/>
              <a:gd name="connsiteX9" fmla="*/ 3894548 w 4405088"/>
              <a:gd name="connsiteY9" fmla="*/ 3771900 h 5113020"/>
              <a:gd name="connsiteX10" fmla="*/ 3909788 w 4405088"/>
              <a:gd name="connsiteY10" fmla="*/ 4297680 h 5113020"/>
              <a:gd name="connsiteX11" fmla="*/ 2911568 w 4405088"/>
              <a:gd name="connsiteY11" fmla="*/ 4480560 h 5113020"/>
              <a:gd name="connsiteX12" fmla="*/ 2545808 w 4405088"/>
              <a:gd name="connsiteY12" fmla="*/ 5113020 h 5113020"/>
              <a:gd name="connsiteX0" fmla="*/ 2589294 w 4448574"/>
              <a:gd name="connsiteY0" fmla="*/ 5113020 h 5113020"/>
              <a:gd name="connsiteX1" fmla="*/ 463314 w 4448574"/>
              <a:gd name="connsiteY1" fmla="*/ 4640580 h 5113020"/>
              <a:gd name="connsiteX2" fmla="*/ 166134 w 4448574"/>
              <a:gd name="connsiteY2" fmla="*/ 2712720 h 5113020"/>
              <a:gd name="connsiteX3" fmla="*/ 1880634 w 4448574"/>
              <a:gd name="connsiteY3" fmla="*/ 0 h 5113020"/>
              <a:gd name="connsiteX4" fmla="*/ 3983754 w 4448574"/>
              <a:gd name="connsiteY4" fmla="*/ 1630680 h 5113020"/>
              <a:gd name="connsiteX5" fmla="*/ 4448574 w 4448574"/>
              <a:gd name="connsiteY5" fmla="*/ 2903220 h 5113020"/>
              <a:gd name="connsiteX6" fmla="*/ 4143774 w 4448574"/>
              <a:gd name="connsiteY6" fmla="*/ 3345180 h 5113020"/>
              <a:gd name="connsiteX7" fmla="*/ 4052334 w 4448574"/>
              <a:gd name="connsiteY7" fmla="*/ 3459480 h 5113020"/>
              <a:gd name="connsiteX8" fmla="*/ 4113294 w 4448574"/>
              <a:gd name="connsiteY8" fmla="*/ 3627120 h 5113020"/>
              <a:gd name="connsiteX9" fmla="*/ 3938034 w 4448574"/>
              <a:gd name="connsiteY9" fmla="*/ 3771900 h 5113020"/>
              <a:gd name="connsiteX10" fmla="*/ 3953274 w 4448574"/>
              <a:gd name="connsiteY10" fmla="*/ 4297680 h 5113020"/>
              <a:gd name="connsiteX11" fmla="*/ 2955054 w 4448574"/>
              <a:gd name="connsiteY11" fmla="*/ 4480560 h 5113020"/>
              <a:gd name="connsiteX12" fmla="*/ 2589294 w 4448574"/>
              <a:gd name="connsiteY12" fmla="*/ 5113020 h 5113020"/>
              <a:gd name="connsiteX0" fmla="*/ 2589294 w 4448574"/>
              <a:gd name="connsiteY0" fmla="*/ 5113020 h 5113020"/>
              <a:gd name="connsiteX1" fmla="*/ 463314 w 4448574"/>
              <a:gd name="connsiteY1" fmla="*/ 4640580 h 5113020"/>
              <a:gd name="connsiteX2" fmla="*/ 166134 w 4448574"/>
              <a:gd name="connsiteY2" fmla="*/ 2712720 h 5113020"/>
              <a:gd name="connsiteX3" fmla="*/ 1880634 w 4448574"/>
              <a:gd name="connsiteY3" fmla="*/ 0 h 5113020"/>
              <a:gd name="connsiteX4" fmla="*/ 3983754 w 4448574"/>
              <a:gd name="connsiteY4" fmla="*/ 1630680 h 5113020"/>
              <a:gd name="connsiteX5" fmla="*/ 4448574 w 4448574"/>
              <a:gd name="connsiteY5" fmla="*/ 2903220 h 5113020"/>
              <a:gd name="connsiteX6" fmla="*/ 4143774 w 4448574"/>
              <a:gd name="connsiteY6" fmla="*/ 3345180 h 5113020"/>
              <a:gd name="connsiteX7" fmla="*/ 4052334 w 4448574"/>
              <a:gd name="connsiteY7" fmla="*/ 3459480 h 5113020"/>
              <a:gd name="connsiteX8" fmla="*/ 4113294 w 4448574"/>
              <a:gd name="connsiteY8" fmla="*/ 3627120 h 5113020"/>
              <a:gd name="connsiteX9" fmla="*/ 3938034 w 4448574"/>
              <a:gd name="connsiteY9" fmla="*/ 3771900 h 5113020"/>
              <a:gd name="connsiteX10" fmla="*/ 3953274 w 4448574"/>
              <a:gd name="connsiteY10" fmla="*/ 4297680 h 5113020"/>
              <a:gd name="connsiteX11" fmla="*/ 2955054 w 4448574"/>
              <a:gd name="connsiteY11" fmla="*/ 4480560 h 5113020"/>
              <a:gd name="connsiteX12" fmla="*/ 2589294 w 4448574"/>
              <a:gd name="connsiteY12" fmla="*/ 5113020 h 5113020"/>
              <a:gd name="connsiteX0" fmla="*/ 2589294 w 4448574"/>
              <a:gd name="connsiteY0" fmla="*/ 5125515 h 5125515"/>
              <a:gd name="connsiteX1" fmla="*/ 463314 w 4448574"/>
              <a:gd name="connsiteY1" fmla="*/ 4653075 h 5125515"/>
              <a:gd name="connsiteX2" fmla="*/ 166134 w 4448574"/>
              <a:gd name="connsiteY2" fmla="*/ 2725215 h 5125515"/>
              <a:gd name="connsiteX3" fmla="*/ 1880634 w 4448574"/>
              <a:gd name="connsiteY3" fmla="*/ 12495 h 5125515"/>
              <a:gd name="connsiteX4" fmla="*/ 3983754 w 4448574"/>
              <a:gd name="connsiteY4" fmla="*/ 1643175 h 5125515"/>
              <a:gd name="connsiteX5" fmla="*/ 4448574 w 4448574"/>
              <a:gd name="connsiteY5" fmla="*/ 2915715 h 5125515"/>
              <a:gd name="connsiteX6" fmla="*/ 4143774 w 4448574"/>
              <a:gd name="connsiteY6" fmla="*/ 3357675 h 5125515"/>
              <a:gd name="connsiteX7" fmla="*/ 4052334 w 4448574"/>
              <a:gd name="connsiteY7" fmla="*/ 3471975 h 5125515"/>
              <a:gd name="connsiteX8" fmla="*/ 4113294 w 4448574"/>
              <a:gd name="connsiteY8" fmla="*/ 3639615 h 5125515"/>
              <a:gd name="connsiteX9" fmla="*/ 3938034 w 4448574"/>
              <a:gd name="connsiteY9" fmla="*/ 3784395 h 5125515"/>
              <a:gd name="connsiteX10" fmla="*/ 3953274 w 4448574"/>
              <a:gd name="connsiteY10" fmla="*/ 4310175 h 5125515"/>
              <a:gd name="connsiteX11" fmla="*/ 2955054 w 4448574"/>
              <a:gd name="connsiteY11" fmla="*/ 4493055 h 5125515"/>
              <a:gd name="connsiteX12" fmla="*/ 2589294 w 4448574"/>
              <a:gd name="connsiteY12" fmla="*/ 5125515 h 5125515"/>
              <a:gd name="connsiteX0" fmla="*/ 2589294 w 4448574"/>
              <a:gd name="connsiteY0" fmla="*/ 5119432 h 5119432"/>
              <a:gd name="connsiteX1" fmla="*/ 463314 w 4448574"/>
              <a:gd name="connsiteY1" fmla="*/ 4646992 h 5119432"/>
              <a:gd name="connsiteX2" fmla="*/ 166134 w 4448574"/>
              <a:gd name="connsiteY2" fmla="*/ 2719132 h 5119432"/>
              <a:gd name="connsiteX3" fmla="*/ 1880634 w 4448574"/>
              <a:gd name="connsiteY3" fmla="*/ 6412 h 5119432"/>
              <a:gd name="connsiteX4" fmla="*/ 3983754 w 4448574"/>
              <a:gd name="connsiteY4" fmla="*/ 1637092 h 5119432"/>
              <a:gd name="connsiteX5" fmla="*/ 4448574 w 4448574"/>
              <a:gd name="connsiteY5" fmla="*/ 2909632 h 5119432"/>
              <a:gd name="connsiteX6" fmla="*/ 4143774 w 4448574"/>
              <a:gd name="connsiteY6" fmla="*/ 3351592 h 5119432"/>
              <a:gd name="connsiteX7" fmla="*/ 4052334 w 4448574"/>
              <a:gd name="connsiteY7" fmla="*/ 3465892 h 5119432"/>
              <a:gd name="connsiteX8" fmla="*/ 4113294 w 4448574"/>
              <a:gd name="connsiteY8" fmla="*/ 3633532 h 5119432"/>
              <a:gd name="connsiteX9" fmla="*/ 3938034 w 4448574"/>
              <a:gd name="connsiteY9" fmla="*/ 3778312 h 5119432"/>
              <a:gd name="connsiteX10" fmla="*/ 3953274 w 4448574"/>
              <a:gd name="connsiteY10" fmla="*/ 4304092 h 5119432"/>
              <a:gd name="connsiteX11" fmla="*/ 2955054 w 4448574"/>
              <a:gd name="connsiteY11" fmla="*/ 4486972 h 5119432"/>
              <a:gd name="connsiteX12" fmla="*/ 2589294 w 4448574"/>
              <a:gd name="connsiteY12" fmla="*/ 5119432 h 5119432"/>
              <a:gd name="connsiteX0" fmla="*/ 2589294 w 4448574"/>
              <a:gd name="connsiteY0" fmla="*/ 5118976 h 5118976"/>
              <a:gd name="connsiteX1" fmla="*/ 463314 w 4448574"/>
              <a:gd name="connsiteY1" fmla="*/ 4646536 h 5118976"/>
              <a:gd name="connsiteX2" fmla="*/ 166134 w 4448574"/>
              <a:gd name="connsiteY2" fmla="*/ 2718676 h 5118976"/>
              <a:gd name="connsiteX3" fmla="*/ 1880634 w 4448574"/>
              <a:gd name="connsiteY3" fmla="*/ 5956 h 5118976"/>
              <a:gd name="connsiteX4" fmla="*/ 3983754 w 4448574"/>
              <a:gd name="connsiteY4" fmla="*/ 1636636 h 5118976"/>
              <a:gd name="connsiteX5" fmla="*/ 4448574 w 4448574"/>
              <a:gd name="connsiteY5" fmla="*/ 2909176 h 5118976"/>
              <a:gd name="connsiteX6" fmla="*/ 4143774 w 4448574"/>
              <a:gd name="connsiteY6" fmla="*/ 3351136 h 5118976"/>
              <a:gd name="connsiteX7" fmla="*/ 4052334 w 4448574"/>
              <a:gd name="connsiteY7" fmla="*/ 3465436 h 5118976"/>
              <a:gd name="connsiteX8" fmla="*/ 4113294 w 4448574"/>
              <a:gd name="connsiteY8" fmla="*/ 3633076 h 5118976"/>
              <a:gd name="connsiteX9" fmla="*/ 3938034 w 4448574"/>
              <a:gd name="connsiteY9" fmla="*/ 3777856 h 5118976"/>
              <a:gd name="connsiteX10" fmla="*/ 3953274 w 4448574"/>
              <a:gd name="connsiteY10" fmla="*/ 4303636 h 5118976"/>
              <a:gd name="connsiteX11" fmla="*/ 2955054 w 4448574"/>
              <a:gd name="connsiteY11" fmla="*/ 4486516 h 5118976"/>
              <a:gd name="connsiteX12" fmla="*/ 2589294 w 4448574"/>
              <a:gd name="connsiteY12" fmla="*/ 5118976 h 5118976"/>
              <a:gd name="connsiteX0" fmla="*/ 2589294 w 4448574"/>
              <a:gd name="connsiteY0" fmla="*/ 5118976 h 5118976"/>
              <a:gd name="connsiteX1" fmla="*/ 463314 w 4448574"/>
              <a:gd name="connsiteY1" fmla="*/ 4646536 h 5118976"/>
              <a:gd name="connsiteX2" fmla="*/ 166134 w 4448574"/>
              <a:gd name="connsiteY2" fmla="*/ 2718676 h 5118976"/>
              <a:gd name="connsiteX3" fmla="*/ 1880634 w 4448574"/>
              <a:gd name="connsiteY3" fmla="*/ 5956 h 5118976"/>
              <a:gd name="connsiteX4" fmla="*/ 3983754 w 4448574"/>
              <a:gd name="connsiteY4" fmla="*/ 1636636 h 5118976"/>
              <a:gd name="connsiteX5" fmla="*/ 4448574 w 4448574"/>
              <a:gd name="connsiteY5" fmla="*/ 2909176 h 5118976"/>
              <a:gd name="connsiteX6" fmla="*/ 4143774 w 4448574"/>
              <a:gd name="connsiteY6" fmla="*/ 3351136 h 5118976"/>
              <a:gd name="connsiteX7" fmla="*/ 4052334 w 4448574"/>
              <a:gd name="connsiteY7" fmla="*/ 3465436 h 5118976"/>
              <a:gd name="connsiteX8" fmla="*/ 4113294 w 4448574"/>
              <a:gd name="connsiteY8" fmla="*/ 3633076 h 5118976"/>
              <a:gd name="connsiteX9" fmla="*/ 3938034 w 4448574"/>
              <a:gd name="connsiteY9" fmla="*/ 3777856 h 5118976"/>
              <a:gd name="connsiteX10" fmla="*/ 3953274 w 4448574"/>
              <a:gd name="connsiteY10" fmla="*/ 4303636 h 5118976"/>
              <a:gd name="connsiteX11" fmla="*/ 2955054 w 4448574"/>
              <a:gd name="connsiteY11" fmla="*/ 4486516 h 5118976"/>
              <a:gd name="connsiteX12" fmla="*/ 2589294 w 4448574"/>
              <a:gd name="connsiteY12" fmla="*/ 5118976 h 5118976"/>
              <a:gd name="connsiteX0" fmla="*/ 2589294 w 4449538"/>
              <a:gd name="connsiteY0" fmla="*/ 5118976 h 5118976"/>
              <a:gd name="connsiteX1" fmla="*/ 463314 w 4449538"/>
              <a:gd name="connsiteY1" fmla="*/ 4646536 h 5118976"/>
              <a:gd name="connsiteX2" fmla="*/ 166134 w 4449538"/>
              <a:gd name="connsiteY2" fmla="*/ 2718676 h 5118976"/>
              <a:gd name="connsiteX3" fmla="*/ 1880634 w 4449538"/>
              <a:gd name="connsiteY3" fmla="*/ 5956 h 5118976"/>
              <a:gd name="connsiteX4" fmla="*/ 3983754 w 4449538"/>
              <a:gd name="connsiteY4" fmla="*/ 1636636 h 5118976"/>
              <a:gd name="connsiteX5" fmla="*/ 4448574 w 4449538"/>
              <a:gd name="connsiteY5" fmla="*/ 2909176 h 5118976"/>
              <a:gd name="connsiteX6" fmla="*/ 4143774 w 4449538"/>
              <a:gd name="connsiteY6" fmla="*/ 3351136 h 5118976"/>
              <a:gd name="connsiteX7" fmla="*/ 4052334 w 4449538"/>
              <a:gd name="connsiteY7" fmla="*/ 3465436 h 5118976"/>
              <a:gd name="connsiteX8" fmla="*/ 4113294 w 4449538"/>
              <a:gd name="connsiteY8" fmla="*/ 3633076 h 5118976"/>
              <a:gd name="connsiteX9" fmla="*/ 3938034 w 4449538"/>
              <a:gd name="connsiteY9" fmla="*/ 3777856 h 5118976"/>
              <a:gd name="connsiteX10" fmla="*/ 3953274 w 4449538"/>
              <a:gd name="connsiteY10" fmla="*/ 4303636 h 5118976"/>
              <a:gd name="connsiteX11" fmla="*/ 2955054 w 4449538"/>
              <a:gd name="connsiteY11" fmla="*/ 4486516 h 5118976"/>
              <a:gd name="connsiteX12" fmla="*/ 2589294 w 4449538"/>
              <a:gd name="connsiteY12" fmla="*/ 5118976 h 5118976"/>
              <a:gd name="connsiteX0" fmla="*/ 2589294 w 4449481"/>
              <a:gd name="connsiteY0" fmla="*/ 5118976 h 5118976"/>
              <a:gd name="connsiteX1" fmla="*/ 463314 w 4449481"/>
              <a:gd name="connsiteY1" fmla="*/ 4646536 h 5118976"/>
              <a:gd name="connsiteX2" fmla="*/ 166134 w 4449481"/>
              <a:gd name="connsiteY2" fmla="*/ 2718676 h 5118976"/>
              <a:gd name="connsiteX3" fmla="*/ 1880634 w 4449481"/>
              <a:gd name="connsiteY3" fmla="*/ 5956 h 5118976"/>
              <a:gd name="connsiteX4" fmla="*/ 3983754 w 4449481"/>
              <a:gd name="connsiteY4" fmla="*/ 1636636 h 5118976"/>
              <a:gd name="connsiteX5" fmla="*/ 4448574 w 4449481"/>
              <a:gd name="connsiteY5" fmla="*/ 2909176 h 5118976"/>
              <a:gd name="connsiteX6" fmla="*/ 4143774 w 4449481"/>
              <a:gd name="connsiteY6" fmla="*/ 3351136 h 5118976"/>
              <a:gd name="connsiteX7" fmla="*/ 4052334 w 4449481"/>
              <a:gd name="connsiteY7" fmla="*/ 3465436 h 5118976"/>
              <a:gd name="connsiteX8" fmla="*/ 4113294 w 4449481"/>
              <a:gd name="connsiteY8" fmla="*/ 3633076 h 5118976"/>
              <a:gd name="connsiteX9" fmla="*/ 3938034 w 4449481"/>
              <a:gd name="connsiteY9" fmla="*/ 3777856 h 5118976"/>
              <a:gd name="connsiteX10" fmla="*/ 3953274 w 4449481"/>
              <a:gd name="connsiteY10" fmla="*/ 4303636 h 5118976"/>
              <a:gd name="connsiteX11" fmla="*/ 2955054 w 4449481"/>
              <a:gd name="connsiteY11" fmla="*/ 4486516 h 5118976"/>
              <a:gd name="connsiteX12" fmla="*/ 2589294 w 4449481"/>
              <a:gd name="connsiteY12" fmla="*/ 5118976 h 5118976"/>
              <a:gd name="connsiteX0" fmla="*/ 2589294 w 4455338"/>
              <a:gd name="connsiteY0" fmla="*/ 5118976 h 5118976"/>
              <a:gd name="connsiteX1" fmla="*/ 463314 w 4455338"/>
              <a:gd name="connsiteY1" fmla="*/ 4646536 h 5118976"/>
              <a:gd name="connsiteX2" fmla="*/ 166134 w 4455338"/>
              <a:gd name="connsiteY2" fmla="*/ 2718676 h 5118976"/>
              <a:gd name="connsiteX3" fmla="*/ 1880634 w 4455338"/>
              <a:gd name="connsiteY3" fmla="*/ 5956 h 5118976"/>
              <a:gd name="connsiteX4" fmla="*/ 3983754 w 4455338"/>
              <a:gd name="connsiteY4" fmla="*/ 1636636 h 5118976"/>
              <a:gd name="connsiteX5" fmla="*/ 4448574 w 4455338"/>
              <a:gd name="connsiteY5" fmla="*/ 2909176 h 5118976"/>
              <a:gd name="connsiteX6" fmla="*/ 4143774 w 4455338"/>
              <a:gd name="connsiteY6" fmla="*/ 3351136 h 5118976"/>
              <a:gd name="connsiteX7" fmla="*/ 4052334 w 4455338"/>
              <a:gd name="connsiteY7" fmla="*/ 3465436 h 5118976"/>
              <a:gd name="connsiteX8" fmla="*/ 4113294 w 4455338"/>
              <a:gd name="connsiteY8" fmla="*/ 3633076 h 5118976"/>
              <a:gd name="connsiteX9" fmla="*/ 3938034 w 4455338"/>
              <a:gd name="connsiteY9" fmla="*/ 3777856 h 5118976"/>
              <a:gd name="connsiteX10" fmla="*/ 3953274 w 4455338"/>
              <a:gd name="connsiteY10" fmla="*/ 4303636 h 5118976"/>
              <a:gd name="connsiteX11" fmla="*/ 2955054 w 4455338"/>
              <a:gd name="connsiteY11" fmla="*/ 4486516 h 5118976"/>
              <a:gd name="connsiteX12" fmla="*/ 2589294 w 4455338"/>
              <a:gd name="connsiteY12" fmla="*/ 5118976 h 5118976"/>
              <a:gd name="connsiteX0" fmla="*/ 2589294 w 4451409"/>
              <a:gd name="connsiteY0" fmla="*/ 5118976 h 5118976"/>
              <a:gd name="connsiteX1" fmla="*/ 463314 w 4451409"/>
              <a:gd name="connsiteY1" fmla="*/ 4646536 h 5118976"/>
              <a:gd name="connsiteX2" fmla="*/ 166134 w 4451409"/>
              <a:gd name="connsiteY2" fmla="*/ 2718676 h 5118976"/>
              <a:gd name="connsiteX3" fmla="*/ 1880634 w 4451409"/>
              <a:gd name="connsiteY3" fmla="*/ 5956 h 5118976"/>
              <a:gd name="connsiteX4" fmla="*/ 3983754 w 4451409"/>
              <a:gd name="connsiteY4" fmla="*/ 1636636 h 5118976"/>
              <a:gd name="connsiteX5" fmla="*/ 4448574 w 4451409"/>
              <a:gd name="connsiteY5" fmla="*/ 2909176 h 5118976"/>
              <a:gd name="connsiteX6" fmla="*/ 4143774 w 4451409"/>
              <a:gd name="connsiteY6" fmla="*/ 3351136 h 5118976"/>
              <a:gd name="connsiteX7" fmla="*/ 4052334 w 4451409"/>
              <a:gd name="connsiteY7" fmla="*/ 3465436 h 5118976"/>
              <a:gd name="connsiteX8" fmla="*/ 4113294 w 4451409"/>
              <a:gd name="connsiteY8" fmla="*/ 3633076 h 5118976"/>
              <a:gd name="connsiteX9" fmla="*/ 3938034 w 4451409"/>
              <a:gd name="connsiteY9" fmla="*/ 3777856 h 5118976"/>
              <a:gd name="connsiteX10" fmla="*/ 3953274 w 4451409"/>
              <a:gd name="connsiteY10" fmla="*/ 4303636 h 5118976"/>
              <a:gd name="connsiteX11" fmla="*/ 2955054 w 4451409"/>
              <a:gd name="connsiteY11" fmla="*/ 4486516 h 5118976"/>
              <a:gd name="connsiteX12" fmla="*/ 2589294 w 4451409"/>
              <a:gd name="connsiteY12" fmla="*/ 5118976 h 5118976"/>
              <a:gd name="connsiteX0" fmla="*/ 2589294 w 4449063"/>
              <a:gd name="connsiteY0" fmla="*/ 5118976 h 5118976"/>
              <a:gd name="connsiteX1" fmla="*/ 463314 w 4449063"/>
              <a:gd name="connsiteY1" fmla="*/ 4646536 h 5118976"/>
              <a:gd name="connsiteX2" fmla="*/ 166134 w 4449063"/>
              <a:gd name="connsiteY2" fmla="*/ 2718676 h 5118976"/>
              <a:gd name="connsiteX3" fmla="*/ 1880634 w 4449063"/>
              <a:gd name="connsiteY3" fmla="*/ 5956 h 5118976"/>
              <a:gd name="connsiteX4" fmla="*/ 3983754 w 4449063"/>
              <a:gd name="connsiteY4" fmla="*/ 1636636 h 5118976"/>
              <a:gd name="connsiteX5" fmla="*/ 4448574 w 4449063"/>
              <a:gd name="connsiteY5" fmla="*/ 2909176 h 5118976"/>
              <a:gd name="connsiteX6" fmla="*/ 4143774 w 4449063"/>
              <a:gd name="connsiteY6" fmla="*/ 3351136 h 5118976"/>
              <a:gd name="connsiteX7" fmla="*/ 4052334 w 4449063"/>
              <a:gd name="connsiteY7" fmla="*/ 3465436 h 5118976"/>
              <a:gd name="connsiteX8" fmla="*/ 4113294 w 4449063"/>
              <a:gd name="connsiteY8" fmla="*/ 3633076 h 5118976"/>
              <a:gd name="connsiteX9" fmla="*/ 3938034 w 4449063"/>
              <a:gd name="connsiteY9" fmla="*/ 3777856 h 5118976"/>
              <a:gd name="connsiteX10" fmla="*/ 3953274 w 4449063"/>
              <a:gd name="connsiteY10" fmla="*/ 4303636 h 5118976"/>
              <a:gd name="connsiteX11" fmla="*/ 2955054 w 4449063"/>
              <a:gd name="connsiteY11" fmla="*/ 4486516 h 5118976"/>
              <a:gd name="connsiteX12" fmla="*/ 2589294 w 4449063"/>
              <a:gd name="connsiteY12" fmla="*/ 5118976 h 5118976"/>
              <a:gd name="connsiteX0" fmla="*/ 2589294 w 4449063"/>
              <a:gd name="connsiteY0" fmla="*/ 5118976 h 5118976"/>
              <a:gd name="connsiteX1" fmla="*/ 463314 w 4449063"/>
              <a:gd name="connsiteY1" fmla="*/ 4646536 h 5118976"/>
              <a:gd name="connsiteX2" fmla="*/ 166134 w 4449063"/>
              <a:gd name="connsiteY2" fmla="*/ 2718676 h 5118976"/>
              <a:gd name="connsiteX3" fmla="*/ 1880634 w 4449063"/>
              <a:gd name="connsiteY3" fmla="*/ 5956 h 5118976"/>
              <a:gd name="connsiteX4" fmla="*/ 3983754 w 4449063"/>
              <a:gd name="connsiteY4" fmla="*/ 1636636 h 5118976"/>
              <a:gd name="connsiteX5" fmla="*/ 4448574 w 4449063"/>
              <a:gd name="connsiteY5" fmla="*/ 2909176 h 5118976"/>
              <a:gd name="connsiteX6" fmla="*/ 4143774 w 4449063"/>
              <a:gd name="connsiteY6" fmla="*/ 3351136 h 5118976"/>
              <a:gd name="connsiteX7" fmla="*/ 4052334 w 4449063"/>
              <a:gd name="connsiteY7" fmla="*/ 3465436 h 5118976"/>
              <a:gd name="connsiteX8" fmla="*/ 4113294 w 4449063"/>
              <a:gd name="connsiteY8" fmla="*/ 3633076 h 5118976"/>
              <a:gd name="connsiteX9" fmla="*/ 3938034 w 4449063"/>
              <a:gd name="connsiteY9" fmla="*/ 3777856 h 5118976"/>
              <a:gd name="connsiteX10" fmla="*/ 3953274 w 4449063"/>
              <a:gd name="connsiteY10" fmla="*/ 4303636 h 5118976"/>
              <a:gd name="connsiteX11" fmla="*/ 2955054 w 4449063"/>
              <a:gd name="connsiteY11" fmla="*/ 4486516 h 5118976"/>
              <a:gd name="connsiteX12" fmla="*/ 2589294 w 4449063"/>
              <a:gd name="connsiteY12" fmla="*/ 5118976 h 5118976"/>
              <a:gd name="connsiteX0" fmla="*/ 2589294 w 4449063"/>
              <a:gd name="connsiteY0" fmla="*/ 5118976 h 5118976"/>
              <a:gd name="connsiteX1" fmla="*/ 463314 w 4449063"/>
              <a:gd name="connsiteY1" fmla="*/ 4646536 h 5118976"/>
              <a:gd name="connsiteX2" fmla="*/ 166134 w 4449063"/>
              <a:gd name="connsiteY2" fmla="*/ 2718676 h 5118976"/>
              <a:gd name="connsiteX3" fmla="*/ 1880634 w 4449063"/>
              <a:gd name="connsiteY3" fmla="*/ 5956 h 5118976"/>
              <a:gd name="connsiteX4" fmla="*/ 3983754 w 4449063"/>
              <a:gd name="connsiteY4" fmla="*/ 1636636 h 5118976"/>
              <a:gd name="connsiteX5" fmla="*/ 4448574 w 4449063"/>
              <a:gd name="connsiteY5" fmla="*/ 2909176 h 5118976"/>
              <a:gd name="connsiteX6" fmla="*/ 4143774 w 4449063"/>
              <a:gd name="connsiteY6" fmla="*/ 3351136 h 5118976"/>
              <a:gd name="connsiteX7" fmla="*/ 4052334 w 4449063"/>
              <a:gd name="connsiteY7" fmla="*/ 3465436 h 5118976"/>
              <a:gd name="connsiteX8" fmla="*/ 4113294 w 4449063"/>
              <a:gd name="connsiteY8" fmla="*/ 3633076 h 5118976"/>
              <a:gd name="connsiteX9" fmla="*/ 3938034 w 4449063"/>
              <a:gd name="connsiteY9" fmla="*/ 3777856 h 5118976"/>
              <a:gd name="connsiteX10" fmla="*/ 3953274 w 4449063"/>
              <a:gd name="connsiteY10" fmla="*/ 4303636 h 5118976"/>
              <a:gd name="connsiteX11" fmla="*/ 2955054 w 4449063"/>
              <a:gd name="connsiteY11" fmla="*/ 4486516 h 5118976"/>
              <a:gd name="connsiteX12" fmla="*/ 2589294 w 4449063"/>
              <a:gd name="connsiteY12" fmla="*/ 5118976 h 5118976"/>
              <a:gd name="connsiteX0" fmla="*/ 2589294 w 4449063"/>
              <a:gd name="connsiteY0" fmla="*/ 5118976 h 5118976"/>
              <a:gd name="connsiteX1" fmla="*/ 463314 w 4449063"/>
              <a:gd name="connsiteY1" fmla="*/ 4646536 h 5118976"/>
              <a:gd name="connsiteX2" fmla="*/ 166134 w 4449063"/>
              <a:gd name="connsiteY2" fmla="*/ 2718676 h 5118976"/>
              <a:gd name="connsiteX3" fmla="*/ 1880634 w 4449063"/>
              <a:gd name="connsiteY3" fmla="*/ 5956 h 5118976"/>
              <a:gd name="connsiteX4" fmla="*/ 3983754 w 4449063"/>
              <a:gd name="connsiteY4" fmla="*/ 1636636 h 5118976"/>
              <a:gd name="connsiteX5" fmla="*/ 4448574 w 4449063"/>
              <a:gd name="connsiteY5" fmla="*/ 2909176 h 5118976"/>
              <a:gd name="connsiteX6" fmla="*/ 4143774 w 4449063"/>
              <a:gd name="connsiteY6" fmla="*/ 3351136 h 5118976"/>
              <a:gd name="connsiteX7" fmla="*/ 4052334 w 4449063"/>
              <a:gd name="connsiteY7" fmla="*/ 3465436 h 5118976"/>
              <a:gd name="connsiteX8" fmla="*/ 4113294 w 4449063"/>
              <a:gd name="connsiteY8" fmla="*/ 3633076 h 5118976"/>
              <a:gd name="connsiteX9" fmla="*/ 3938034 w 4449063"/>
              <a:gd name="connsiteY9" fmla="*/ 3777856 h 5118976"/>
              <a:gd name="connsiteX10" fmla="*/ 3953274 w 4449063"/>
              <a:gd name="connsiteY10" fmla="*/ 4303636 h 5118976"/>
              <a:gd name="connsiteX11" fmla="*/ 2955054 w 4449063"/>
              <a:gd name="connsiteY11" fmla="*/ 4486516 h 5118976"/>
              <a:gd name="connsiteX12" fmla="*/ 2589294 w 4449063"/>
              <a:gd name="connsiteY12" fmla="*/ 5118976 h 5118976"/>
              <a:gd name="connsiteX0" fmla="*/ 2589294 w 4449063"/>
              <a:gd name="connsiteY0" fmla="*/ 5118976 h 5118976"/>
              <a:gd name="connsiteX1" fmla="*/ 463314 w 4449063"/>
              <a:gd name="connsiteY1" fmla="*/ 4646536 h 5118976"/>
              <a:gd name="connsiteX2" fmla="*/ 166134 w 4449063"/>
              <a:gd name="connsiteY2" fmla="*/ 2718676 h 5118976"/>
              <a:gd name="connsiteX3" fmla="*/ 1880634 w 4449063"/>
              <a:gd name="connsiteY3" fmla="*/ 5956 h 5118976"/>
              <a:gd name="connsiteX4" fmla="*/ 3983754 w 4449063"/>
              <a:gd name="connsiteY4" fmla="*/ 1636636 h 5118976"/>
              <a:gd name="connsiteX5" fmla="*/ 4448574 w 4449063"/>
              <a:gd name="connsiteY5" fmla="*/ 2909176 h 5118976"/>
              <a:gd name="connsiteX6" fmla="*/ 4143774 w 4449063"/>
              <a:gd name="connsiteY6" fmla="*/ 3351136 h 5118976"/>
              <a:gd name="connsiteX7" fmla="*/ 4052334 w 4449063"/>
              <a:gd name="connsiteY7" fmla="*/ 3465436 h 5118976"/>
              <a:gd name="connsiteX8" fmla="*/ 4113294 w 4449063"/>
              <a:gd name="connsiteY8" fmla="*/ 3633076 h 5118976"/>
              <a:gd name="connsiteX9" fmla="*/ 3938034 w 4449063"/>
              <a:gd name="connsiteY9" fmla="*/ 3777856 h 5118976"/>
              <a:gd name="connsiteX10" fmla="*/ 3953274 w 4449063"/>
              <a:gd name="connsiteY10" fmla="*/ 4303636 h 5118976"/>
              <a:gd name="connsiteX11" fmla="*/ 2955054 w 4449063"/>
              <a:gd name="connsiteY11" fmla="*/ 4486516 h 5118976"/>
              <a:gd name="connsiteX12" fmla="*/ 2589294 w 4449063"/>
              <a:gd name="connsiteY12" fmla="*/ 5118976 h 5118976"/>
              <a:gd name="connsiteX0" fmla="*/ 2589294 w 4449063"/>
              <a:gd name="connsiteY0" fmla="*/ 5118976 h 5118976"/>
              <a:gd name="connsiteX1" fmla="*/ 463314 w 4449063"/>
              <a:gd name="connsiteY1" fmla="*/ 4646536 h 5118976"/>
              <a:gd name="connsiteX2" fmla="*/ 166134 w 4449063"/>
              <a:gd name="connsiteY2" fmla="*/ 2718676 h 5118976"/>
              <a:gd name="connsiteX3" fmla="*/ 1880634 w 4449063"/>
              <a:gd name="connsiteY3" fmla="*/ 5956 h 5118976"/>
              <a:gd name="connsiteX4" fmla="*/ 3983754 w 4449063"/>
              <a:gd name="connsiteY4" fmla="*/ 1636636 h 5118976"/>
              <a:gd name="connsiteX5" fmla="*/ 4448574 w 4449063"/>
              <a:gd name="connsiteY5" fmla="*/ 2909176 h 5118976"/>
              <a:gd name="connsiteX6" fmla="*/ 4143774 w 4449063"/>
              <a:gd name="connsiteY6" fmla="*/ 3351136 h 5118976"/>
              <a:gd name="connsiteX7" fmla="*/ 4052334 w 4449063"/>
              <a:gd name="connsiteY7" fmla="*/ 3465436 h 5118976"/>
              <a:gd name="connsiteX8" fmla="*/ 4113294 w 4449063"/>
              <a:gd name="connsiteY8" fmla="*/ 3633076 h 5118976"/>
              <a:gd name="connsiteX9" fmla="*/ 3938034 w 4449063"/>
              <a:gd name="connsiteY9" fmla="*/ 3777856 h 5118976"/>
              <a:gd name="connsiteX10" fmla="*/ 3953274 w 4449063"/>
              <a:gd name="connsiteY10" fmla="*/ 4303636 h 5118976"/>
              <a:gd name="connsiteX11" fmla="*/ 2955054 w 4449063"/>
              <a:gd name="connsiteY11" fmla="*/ 4486516 h 5118976"/>
              <a:gd name="connsiteX12" fmla="*/ 2589294 w 4449063"/>
              <a:gd name="connsiteY12" fmla="*/ 5118976 h 5118976"/>
              <a:gd name="connsiteX0" fmla="*/ 2589294 w 4449063"/>
              <a:gd name="connsiteY0" fmla="*/ 5118976 h 5118976"/>
              <a:gd name="connsiteX1" fmla="*/ 463314 w 4449063"/>
              <a:gd name="connsiteY1" fmla="*/ 4646536 h 5118976"/>
              <a:gd name="connsiteX2" fmla="*/ 166134 w 4449063"/>
              <a:gd name="connsiteY2" fmla="*/ 2718676 h 5118976"/>
              <a:gd name="connsiteX3" fmla="*/ 1880634 w 4449063"/>
              <a:gd name="connsiteY3" fmla="*/ 5956 h 5118976"/>
              <a:gd name="connsiteX4" fmla="*/ 3983754 w 4449063"/>
              <a:gd name="connsiteY4" fmla="*/ 1636636 h 5118976"/>
              <a:gd name="connsiteX5" fmla="*/ 4448574 w 4449063"/>
              <a:gd name="connsiteY5" fmla="*/ 2909176 h 5118976"/>
              <a:gd name="connsiteX6" fmla="*/ 4143774 w 4449063"/>
              <a:gd name="connsiteY6" fmla="*/ 3351136 h 5118976"/>
              <a:gd name="connsiteX7" fmla="*/ 4052334 w 4449063"/>
              <a:gd name="connsiteY7" fmla="*/ 3465436 h 5118976"/>
              <a:gd name="connsiteX8" fmla="*/ 4113294 w 4449063"/>
              <a:gd name="connsiteY8" fmla="*/ 3633076 h 5118976"/>
              <a:gd name="connsiteX9" fmla="*/ 3938034 w 4449063"/>
              <a:gd name="connsiteY9" fmla="*/ 3777856 h 5118976"/>
              <a:gd name="connsiteX10" fmla="*/ 3953274 w 4449063"/>
              <a:gd name="connsiteY10" fmla="*/ 4303636 h 5118976"/>
              <a:gd name="connsiteX11" fmla="*/ 2955054 w 4449063"/>
              <a:gd name="connsiteY11" fmla="*/ 4486516 h 5118976"/>
              <a:gd name="connsiteX12" fmla="*/ 2589294 w 4449063"/>
              <a:gd name="connsiteY12" fmla="*/ 5118976 h 5118976"/>
              <a:gd name="connsiteX0" fmla="*/ 2589294 w 4449063"/>
              <a:gd name="connsiteY0" fmla="*/ 5118976 h 5118976"/>
              <a:gd name="connsiteX1" fmla="*/ 463314 w 4449063"/>
              <a:gd name="connsiteY1" fmla="*/ 4646536 h 5118976"/>
              <a:gd name="connsiteX2" fmla="*/ 166134 w 4449063"/>
              <a:gd name="connsiteY2" fmla="*/ 2718676 h 5118976"/>
              <a:gd name="connsiteX3" fmla="*/ 1880634 w 4449063"/>
              <a:gd name="connsiteY3" fmla="*/ 5956 h 5118976"/>
              <a:gd name="connsiteX4" fmla="*/ 3983754 w 4449063"/>
              <a:gd name="connsiteY4" fmla="*/ 1636636 h 5118976"/>
              <a:gd name="connsiteX5" fmla="*/ 4448574 w 4449063"/>
              <a:gd name="connsiteY5" fmla="*/ 2909176 h 5118976"/>
              <a:gd name="connsiteX6" fmla="*/ 4143774 w 4449063"/>
              <a:gd name="connsiteY6" fmla="*/ 3351136 h 5118976"/>
              <a:gd name="connsiteX7" fmla="*/ 4052334 w 4449063"/>
              <a:gd name="connsiteY7" fmla="*/ 3465436 h 5118976"/>
              <a:gd name="connsiteX8" fmla="*/ 4113294 w 4449063"/>
              <a:gd name="connsiteY8" fmla="*/ 3633076 h 5118976"/>
              <a:gd name="connsiteX9" fmla="*/ 3938034 w 4449063"/>
              <a:gd name="connsiteY9" fmla="*/ 3777856 h 5118976"/>
              <a:gd name="connsiteX10" fmla="*/ 3953274 w 4449063"/>
              <a:gd name="connsiteY10" fmla="*/ 4303636 h 5118976"/>
              <a:gd name="connsiteX11" fmla="*/ 2955054 w 4449063"/>
              <a:gd name="connsiteY11" fmla="*/ 4486516 h 5118976"/>
              <a:gd name="connsiteX12" fmla="*/ 2589294 w 4449063"/>
              <a:gd name="connsiteY12" fmla="*/ 5118976 h 5118976"/>
              <a:gd name="connsiteX0" fmla="*/ 2589294 w 4449063"/>
              <a:gd name="connsiteY0" fmla="*/ 5118976 h 5118976"/>
              <a:gd name="connsiteX1" fmla="*/ 463314 w 4449063"/>
              <a:gd name="connsiteY1" fmla="*/ 4646536 h 5118976"/>
              <a:gd name="connsiteX2" fmla="*/ 166134 w 4449063"/>
              <a:gd name="connsiteY2" fmla="*/ 2718676 h 5118976"/>
              <a:gd name="connsiteX3" fmla="*/ 1880634 w 4449063"/>
              <a:gd name="connsiteY3" fmla="*/ 5956 h 5118976"/>
              <a:gd name="connsiteX4" fmla="*/ 3983754 w 4449063"/>
              <a:gd name="connsiteY4" fmla="*/ 1636636 h 5118976"/>
              <a:gd name="connsiteX5" fmla="*/ 4448574 w 4449063"/>
              <a:gd name="connsiteY5" fmla="*/ 2909176 h 5118976"/>
              <a:gd name="connsiteX6" fmla="*/ 4143774 w 4449063"/>
              <a:gd name="connsiteY6" fmla="*/ 3351136 h 5118976"/>
              <a:gd name="connsiteX7" fmla="*/ 4052334 w 4449063"/>
              <a:gd name="connsiteY7" fmla="*/ 3465436 h 5118976"/>
              <a:gd name="connsiteX8" fmla="*/ 4113294 w 4449063"/>
              <a:gd name="connsiteY8" fmla="*/ 3633076 h 5118976"/>
              <a:gd name="connsiteX9" fmla="*/ 3938034 w 4449063"/>
              <a:gd name="connsiteY9" fmla="*/ 3777856 h 5118976"/>
              <a:gd name="connsiteX10" fmla="*/ 3953274 w 4449063"/>
              <a:gd name="connsiteY10" fmla="*/ 4303636 h 5118976"/>
              <a:gd name="connsiteX11" fmla="*/ 2955054 w 4449063"/>
              <a:gd name="connsiteY11" fmla="*/ 4486516 h 5118976"/>
              <a:gd name="connsiteX12" fmla="*/ 2589294 w 4449063"/>
              <a:gd name="connsiteY12" fmla="*/ 5118976 h 5118976"/>
              <a:gd name="connsiteX0" fmla="*/ 2589294 w 4449063"/>
              <a:gd name="connsiteY0" fmla="*/ 5118976 h 5118976"/>
              <a:gd name="connsiteX1" fmla="*/ 463314 w 4449063"/>
              <a:gd name="connsiteY1" fmla="*/ 4646536 h 5118976"/>
              <a:gd name="connsiteX2" fmla="*/ 166134 w 4449063"/>
              <a:gd name="connsiteY2" fmla="*/ 2718676 h 5118976"/>
              <a:gd name="connsiteX3" fmla="*/ 1880634 w 4449063"/>
              <a:gd name="connsiteY3" fmla="*/ 5956 h 5118976"/>
              <a:gd name="connsiteX4" fmla="*/ 3983754 w 4449063"/>
              <a:gd name="connsiteY4" fmla="*/ 1636636 h 5118976"/>
              <a:gd name="connsiteX5" fmla="*/ 4448574 w 4449063"/>
              <a:gd name="connsiteY5" fmla="*/ 2909176 h 5118976"/>
              <a:gd name="connsiteX6" fmla="*/ 4143774 w 4449063"/>
              <a:gd name="connsiteY6" fmla="*/ 3351136 h 5118976"/>
              <a:gd name="connsiteX7" fmla="*/ 4052334 w 4449063"/>
              <a:gd name="connsiteY7" fmla="*/ 3465436 h 5118976"/>
              <a:gd name="connsiteX8" fmla="*/ 4113294 w 4449063"/>
              <a:gd name="connsiteY8" fmla="*/ 3633076 h 5118976"/>
              <a:gd name="connsiteX9" fmla="*/ 3938034 w 4449063"/>
              <a:gd name="connsiteY9" fmla="*/ 3777856 h 5118976"/>
              <a:gd name="connsiteX10" fmla="*/ 3953274 w 4449063"/>
              <a:gd name="connsiteY10" fmla="*/ 4303636 h 5118976"/>
              <a:gd name="connsiteX11" fmla="*/ 2955054 w 4449063"/>
              <a:gd name="connsiteY11" fmla="*/ 4486516 h 5118976"/>
              <a:gd name="connsiteX12" fmla="*/ 2589294 w 4449063"/>
              <a:gd name="connsiteY12" fmla="*/ 5118976 h 5118976"/>
              <a:gd name="connsiteX0" fmla="*/ 2589294 w 4449063"/>
              <a:gd name="connsiteY0" fmla="*/ 5118976 h 5118976"/>
              <a:gd name="connsiteX1" fmla="*/ 463314 w 4449063"/>
              <a:gd name="connsiteY1" fmla="*/ 4646536 h 5118976"/>
              <a:gd name="connsiteX2" fmla="*/ 166134 w 4449063"/>
              <a:gd name="connsiteY2" fmla="*/ 2718676 h 5118976"/>
              <a:gd name="connsiteX3" fmla="*/ 1880634 w 4449063"/>
              <a:gd name="connsiteY3" fmla="*/ 5956 h 5118976"/>
              <a:gd name="connsiteX4" fmla="*/ 3983754 w 4449063"/>
              <a:gd name="connsiteY4" fmla="*/ 1636636 h 5118976"/>
              <a:gd name="connsiteX5" fmla="*/ 4448574 w 4449063"/>
              <a:gd name="connsiteY5" fmla="*/ 2909176 h 5118976"/>
              <a:gd name="connsiteX6" fmla="*/ 4143774 w 4449063"/>
              <a:gd name="connsiteY6" fmla="*/ 3351136 h 5118976"/>
              <a:gd name="connsiteX7" fmla="*/ 4052334 w 4449063"/>
              <a:gd name="connsiteY7" fmla="*/ 3465436 h 5118976"/>
              <a:gd name="connsiteX8" fmla="*/ 4113294 w 4449063"/>
              <a:gd name="connsiteY8" fmla="*/ 3633076 h 5118976"/>
              <a:gd name="connsiteX9" fmla="*/ 3938034 w 4449063"/>
              <a:gd name="connsiteY9" fmla="*/ 3777856 h 5118976"/>
              <a:gd name="connsiteX10" fmla="*/ 3953274 w 4449063"/>
              <a:gd name="connsiteY10" fmla="*/ 4303636 h 5118976"/>
              <a:gd name="connsiteX11" fmla="*/ 2955054 w 4449063"/>
              <a:gd name="connsiteY11" fmla="*/ 4486516 h 5118976"/>
              <a:gd name="connsiteX12" fmla="*/ 2589294 w 4449063"/>
              <a:gd name="connsiteY12" fmla="*/ 5118976 h 5118976"/>
              <a:gd name="connsiteX0" fmla="*/ 2589294 w 4449063"/>
              <a:gd name="connsiteY0" fmla="*/ 5118976 h 5118976"/>
              <a:gd name="connsiteX1" fmla="*/ 463314 w 4449063"/>
              <a:gd name="connsiteY1" fmla="*/ 4646536 h 5118976"/>
              <a:gd name="connsiteX2" fmla="*/ 166134 w 4449063"/>
              <a:gd name="connsiteY2" fmla="*/ 2718676 h 5118976"/>
              <a:gd name="connsiteX3" fmla="*/ 1880634 w 4449063"/>
              <a:gd name="connsiteY3" fmla="*/ 5956 h 5118976"/>
              <a:gd name="connsiteX4" fmla="*/ 3983754 w 4449063"/>
              <a:gd name="connsiteY4" fmla="*/ 1636636 h 5118976"/>
              <a:gd name="connsiteX5" fmla="*/ 4448574 w 4449063"/>
              <a:gd name="connsiteY5" fmla="*/ 2909176 h 5118976"/>
              <a:gd name="connsiteX6" fmla="*/ 4143774 w 4449063"/>
              <a:gd name="connsiteY6" fmla="*/ 3351136 h 5118976"/>
              <a:gd name="connsiteX7" fmla="*/ 4052334 w 4449063"/>
              <a:gd name="connsiteY7" fmla="*/ 3465436 h 5118976"/>
              <a:gd name="connsiteX8" fmla="*/ 4113294 w 4449063"/>
              <a:gd name="connsiteY8" fmla="*/ 3633076 h 5118976"/>
              <a:gd name="connsiteX9" fmla="*/ 3938034 w 4449063"/>
              <a:gd name="connsiteY9" fmla="*/ 3777856 h 5118976"/>
              <a:gd name="connsiteX10" fmla="*/ 3953274 w 4449063"/>
              <a:gd name="connsiteY10" fmla="*/ 4303636 h 5118976"/>
              <a:gd name="connsiteX11" fmla="*/ 2955054 w 4449063"/>
              <a:gd name="connsiteY11" fmla="*/ 4486516 h 5118976"/>
              <a:gd name="connsiteX12" fmla="*/ 2589294 w 4449063"/>
              <a:gd name="connsiteY12" fmla="*/ 5118976 h 5118976"/>
              <a:gd name="connsiteX0" fmla="*/ 2589294 w 4449063"/>
              <a:gd name="connsiteY0" fmla="*/ 5118976 h 5118976"/>
              <a:gd name="connsiteX1" fmla="*/ 463314 w 4449063"/>
              <a:gd name="connsiteY1" fmla="*/ 4646536 h 5118976"/>
              <a:gd name="connsiteX2" fmla="*/ 166134 w 4449063"/>
              <a:gd name="connsiteY2" fmla="*/ 2718676 h 5118976"/>
              <a:gd name="connsiteX3" fmla="*/ 1880634 w 4449063"/>
              <a:gd name="connsiteY3" fmla="*/ 5956 h 5118976"/>
              <a:gd name="connsiteX4" fmla="*/ 3983754 w 4449063"/>
              <a:gd name="connsiteY4" fmla="*/ 1636636 h 5118976"/>
              <a:gd name="connsiteX5" fmla="*/ 4448574 w 4449063"/>
              <a:gd name="connsiteY5" fmla="*/ 2909176 h 5118976"/>
              <a:gd name="connsiteX6" fmla="*/ 4143774 w 4449063"/>
              <a:gd name="connsiteY6" fmla="*/ 3351136 h 5118976"/>
              <a:gd name="connsiteX7" fmla="*/ 4052334 w 4449063"/>
              <a:gd name="connsiteY7" fmla="*/ 3465436 h 5118976"/>
              <a:gd name="connsiteX8" fmla="*/ 4113294 w 4449063"/>
              <a:gd name="connsiteY8" fmla="*/ 3633076 h 5118976"/>
              <a:gd name="connsiteX9" fmla="*/ 3938034 w 4449063"/>
              <a:gd name="connsiteY9" fmla="*/ 3777856 h 5118976"/>
              <a:gd name="connsiteX10" fmla="*/ 3953274 w 4449063"/>
              <a:gd name="connsiteY10" fmla="*/ 4303636 h 5118976"/>
              <a:gd name="connsiteX11" fmla="*/ 2955054 w 4449063"/>
              <a:gd name="connsiteY11" fmla="*/ 4486516 h 5118976"/>
              <a:gd name="connsiteX12" fmla="*/ 2589294 w 4449063"/>
              <a:gd name="connsiteY12" fmla="*/ 5118976 h 5118976"/>
              <a:gd name="connsiteX0" fmla="*/ 2589294 w 4449063"/>
              <a:gd name="connsiteY0" fmla="*/ 5118976 h 5118976"/>
              <a:gd name="connsiteX1" fmla="*/ 463314 w 4449063"/>
              <a:gd name="connsiteY1" fmla="*/ 4646536 h 5118976"/>
              <a:gd name="connsiteX2" fmla="*/ 166134 w 4449063"/>
              <a:gd name="connsiteY2" fmla="*/ 2718676 h 5118976"/>
              <a:gd name="connsiteX3" fmla="*/ 1880634 w 4449063"/>
              <a:gd name="connsiteY3" fmla="*/ 5956 h 5118976"/>
              <a:gd name="connsiteX4" fmla="*/ 3983754 w 4449063"/>
              <a:gd name="connsiteY4" fmla="*/ 1636636 h 5118976"/>
              <a:gd name="connsiteX5" fmla="*/ 4448574 w 4449063"/>
              <a:gd name="connsiteY5" fmla="*/ 2909176 h 5118976"/>
              <a:gd name="connsiteX6" fmla="*/ 4143774 w 4449063"/>
              <a:gd name="connsiteY6" fmla="*/ 3351136 h 5118976"/>
              <a:gd name="connsiteX7" fmla="*/ 4052334 w 4449063"/>
              <a:gd name="connsiteY7" fmla="*/ 3465436 h 5118976"/>
              <a:gd name="connsiteX8" fmla="*/ 4113294 w 4449063"/>
              <a:gd name="connsiteY8" fmla="*/ 3633076 h 5118976"/>
              <a:gd name="connsiteX9" fmla="*/ 3938034 w 4449063"/>
              <a:gd name="connsiteY9" fmla="*/ 3777856 h 5118976"/>
              <a:gd name="connsiteX10" fmla="*/ 3953274 w 4449063"/>
              <a:gd name="connsiteY10" fmla="*/ 4303636 h 5118976"/>
              <a:gd name="connsiteX11" fmla="*/ 2955054 w 4449063"/>
              <a:gd name="connsiteY11" fmla="*/ 4486516 h 5118976"/>
              <a:gd name="connsiteX12" fmla="*/ 2589294 w 4449063"/>
              <a:gd name="connsiteY12" fmla="*/ 5118976 h 5118976"/>
              <a:gd name="connsiteX0" fmla="*/ 2589294 w 4449063"/>
              <a:gd name="connsiteY0" fmla="*/ 5118976 h 5118976"/>
              <a:gd name="connsiteX1" fmla="*/ 463314 w 4449063"/>
              <a:gd name="connsiteY1" fmla="*/ 4646536 h 5118976"/>
              <a:gd name="connsiteX2" fmla="*/ 166134 w 4449063"/>
              <a:gd name="connsiteY2" fmla="*/ 2718676 h 5118976"/>
              <a:gd name="connsiteX3" fmla="*/ 1880634 w 4449063"/>
              <a:gd name="connsiteY3" fmla="*/ 5956 h 5118976"/>
              <a:gd name="connsiteX4" fmla="*/ 3983754 w 4449063"/>
              <a:gd name="connsiteY4" fmla="*/ 1636636 h 5118976"/>
              <a:gd name="connsiteX5" fmla="*/ 4448574 w 4449063"/>
              <a:gd name="connsiteY5" fmla="*/ 2909176 h 5118976"/>
              <a:gd name="connsiteX6" fmla="*/ 4143774 w 4449063"/>
              <a:gd name="connsiteY6" fmla="*/ 3351136 h 5118976"/>
              <a:gd name="connsiteX7" fmla="*/ 4052334 w 4449063"/>
              <a:gd name="connsiteY7" fmla="*/ 3465436 h 5118976"/>
              <a:gd name="connsiteX8" fmla="*/ 4113294 w 4449063"/>
              <a:gd name="connsiteY8" fmla="*/ 3633076 h 5118976"/>
              <a:gd name="connsiteX9" fmla="*/ 3938034 w 4449063"/>
              <a:gd name="connsiteY9" fmla="*/ 3777856 h 5118976"/>
              <a:gd name="connsiteX10" fmla="*/ 3953274 w 4449063"/>
              <a:gd name="connsiteY10" fmla="*/ 4303636 h 5118976"/>
              <a:gd name="connsiteX11" fmla="*/ 2955054 w 4449063"/>
              <a:gd name="connsiteY11" fmla="*/ 4486516 h 5118976"/>
              <a:gd name="connsiteX12" fmla="*/ 2589294 w 4449063"/>
              <a:gd name="connsiteY12" fmla="*/ 5118976 h 5118976"/>
              <a:gd name="connsiteX0" fmla="*/ 2589294 w 4449063"/>
              <a:gd name="connsiteY0" fmla="*/ 5118976 h 5118976"/>
              <a:gd name="connsiteX1" fmla="*/ 463314 w 4449063"/>
              <a:gd name="connsiteY1" fmla="*/ 4646536 h 5118976"/>
              <a:gd name="connsiteX2" fmla="*/ 166134 w 4449063"/>
              <a:gd name="connsiteY2" fmla="*/ 2718676 h 5118976"/>
              <a:gd name="connsiteX3" fmla="*/ 1880634 w 4449063"/>
              <a:gd name="connsiteY3" fmla="*/ 5956 h 5118976"/>
              <a:gd name="connsiteX4" fmla="*/ 3983754 w 4449063"/>
              <a:gd name="connsiteY4" fmla="*/ 1636636 h 5118976"/>
              <a:gd name="connsiteX5" fmla="*/ 4448574 w 4449063"/>
              <a:gd name="connsiteY5" fmla="*/ 2909176 h 5118976"/>
              <a:gd name="connsiteX6" fmla="*/ 4143774 w 4449063"/>
              <a:gd name="connsiteY6" fmla="*/ 3351136 h 5118976"/>
              <a:gd name="connsiteX7" fmla="*/ 4052334 w 4449063"/>
              <a:gd name="connsiteY7" fmla="*/ 3465436 h 5118976"/>
              <a:gd name="connsiteX8" fmla="*/ 4113294 w 4449063"/>
              <a:gd name="connsiteY8" fmla="*/ 3633076 h 5118976"/>
              <a:gd name="connsiteX9" fmla="*/ 3938034 w 4449063"/>
              <a:gd name="connsiteY9" fmla="*/ 3777856 h 5118976"/>
              <a:gd name="connsiteX10" fmla="*/ 3953274 w 4449063"/>
              <a:gd name="connsiteY10" fmla="*/ 4303636 h 5118976"/>
              <a:gd name="connsiteX11" fmla="*/ 2955054 w 4449063"/>
              <a:gd name="connsiteY11" fmla="*/ 4486516 h 5118976"/>
              <a:gd name="connsiteX12" fmla="*/ 2589294 w 4449063"/>
              <a:gd name="connsiteY12" fmla="*/ 5118976 h 5118976"/>
              <a:gd name="connsiteX0" fmla="*/ 2589294 w 4449063"/>
              <a:gd name="connsiteY0" fmla="*/ 5118976 h 5118976"/>
              <a:gd name="connsiteX1" fmla="*/ 463314 w 4449063"/>
              <a:gd name="connsiteY1" fmla="*/ 4646536 h 5118976"/>
              <a:gd name="connsiteX2" fmla="*/ 166134 w 4449063"/>
              <a:gd name="connsiteY2" fmla="*/ 2718676 h 5118976"/>
              <a:gd name="connsiteX3" fmla="*/ 1880634 w 4449063"/>
              <a:gd name="connsiteY3" fmla="*/ 5956 h 5118976"/>
              <a:gd name="connsiteX4" fmla="*/ 3983754 w 4449063"/>
              <a:gd name="connsiteY4" fmla="*/ 1636636 h 5118976"/>
              <a:gd name="connsiteX5" fmla="*/ 4448574 w 4449063"/>
              <a:gd name="connsiteY5" fmla="*/ 2909176 h 5118976"/>
              <a:gd name="connsiteX6" fmla="*/ 4143774 w 4449063"/>
              <a:gd name="connsiteY6" fmla="*/ 3351136 h 5118976"/>
              <a:gd name="connsiteX7" fmla="*/ 4052334 w 4449063"/>
              <a:gd name="connsiteY7" fmla="*/ 3465436 h 5118976"/>
              <a:gd name="connsiteX8" fmla="*/ 4113294 w 4449063"/>
              <a:gd name="connsiteY8" fmla="*/ 3633076 h 5118976"/>
              <a:gd name="connsiteX9" fmla="*/ 3938034 w 4449063"/>
              <a:gd name="connsiteY9" fmla="*/ 3777856 h 5118976"/>
              <a:gd name="connsiteX10" fmla="*/ 3953274 w 4449063"/>
              <a:gd name="connsiteY10" fmla="*/ 4303636 h 5118976"/>
              <a:gd name="connsiteX11" fmla="*/ 2955054 w 4449063"/>
              <a:gd name="connsiteY11" fmla="*/ 4486516 h 5118976"/>
              <a:gd name="connsiteX12" fmla="*/ 2589294 w 4449063"/>
              <a:gd name="connsiteY12" fmla="*/ 5118976 h 5118976"/>
              <a:gd name="connsiteX0" fmla="*/ 2589294 w 4449063"/>
              <a:gd name="connsiteY0" fmla="*/ 5118976 h 5118976"/>
              <a:gd name="connsiteX1" fmla="*/ 463314 w 4449063"/>
              <a:gd name="connsiteY1" fmla="*/ 4646536 h 5118976"/>
              <a:gd name="connsiteX2" fmla="*/ 166134 w 4449063"/>
              <a:gd name="connsiteY2" fmla="*/ 2718676 h 5118976"/>
              <a:gd name="connsiteX3" fmla="*/ 1880634 w 4449063"/>
              <a:gd name="connsiteY3" fmla="*/ 5956 h 5118976"/>
              <a:gd name="connsiteX4" fmla="*/ 3983754 w 4449063"/>
              <a:gd name="connsiteY4" fmla="*/ 1636636 h 5118976"/>
              <a:gd name="connsiteX5" fmla="*/ 4448574 w 4449063"/>
              <a:gd name="connsiteY5" fmla="*/ 2909176 h 5118976"/>
              <a:gd name="connsiteX6" fmla="*/ 4143774 w 4449063"/>
              <a:gd name="connsiteY6" fmla="*/ 3351136 h 5118976"/>
              <a:gd name="connsiteX7" fmla="*/ 4052334 w 4449063"/>
              <a:gd name="connsiteY7" fmla="*/ 3465436 h 5118976"/>
              <a:gd name="connsiteX8" fmla="*/ 4113294 w 4449063"/>
              <a:gd name="connsiteY8" fmla="*/ 3633076 h 5118976"/>
              <a:gd name="connsiteX9" fmla="*/ 3938034 w 4449063"/>
              <a:gd name="connsiteY9" fmla="*/ 3777856 h 5118976"/>
              <a:gd name="connsiteX10" fmla="*/ 3953274 w 4449063"/>
              <a:gd name="connsiteY10" fmla="*/ 4303636 h 5118976"/>
              <a:gd name="connsiteX11" fmla="*/ 2955054 w 4449063"/>
              <a:gd name="connsiteY11" fmla="*/ 4486516 h 5118976"/>
              <a:gd name="connsiteX12" fmla="*/ 2589294 w 4449063"/>
              <a:gd name="connsiteY12" fmla="*/ 5118976 h 5118976"/>
              <a:gd name="connsiteX0" fmla="*/ 2579246 w 4439015"/>
              <a:gd name="connsiteY0" fmla="*/ 5118976 h 5118976"/>
              <a:gd name="connsiteX1" fmla="*/ 453266 w 4439015"/>
              <a:gd name="connsiteY1" fmla="*/ 4646536 h 5118976"/>
              <a:gd name="connsiteX2" fmla="*/ 156086 w 4439015"/>
              <a:gd name="connsiteY2" fmla="*/ 2718676 h 5118976"/>
              <a:gd name="connsiteX3" fmla="*/ 1870586 w 4439015"/>
              <a:gd name="connsiteY3" fmla="*/ 5956 h 5118976"/>
              <a:gd name="connsiteX4" fmla="*/ 3973706 w 4439015"/>
              <a:gd name="connsiteY4" fmla="*/ 1636636 h 5118976"/>
              <a:gd name="connsiteX5" fmla="*/ 4438526 w 4439015"/>
              <a:gd name="connsiteY5" fmla="*/ 2909176 h 5118976"/>
              <a:gd name="connsiteX6" fmla="*/ 4133726 w 4439015"/>
              <a:gd name="connsiteY6" fmla="*/ 3351136 h 5118976"/>
              <a:gd name="connsiteX7" fmla="*/ 4042286 w 4439015"/>
              <a:gd name="connsiteY7" fmla="*/ 3465436 h 5118976"/>
              <a:gd name="connsiteX8" fmla="*/ 4103246 w 4439015"/>
              <a:gd name="connsiteY8" fmla="*/ 3633076 h 5118976"/>
              <a:gd name="connsiteX9" fmla="*/ 3927986 w 4439015"/>
              <a:gd name="connsiteY9" fmla="*/ 3777856 h 5118976"/>
              <a:gd name="connsiteX10" fmla="*/ 3943226 w 4439015"/>
              <a:gd name="connsiteY10" fmla="*/ 4303636 h 5118976"/>
              <a:gd name="connsiteX11" fmla="*/ 2945006 w 4439015"/>
              <a:gd name="connsiteY11" fmla="*/ 4486516 h 5118976"/>
              <a:gd name="connsiteX12" fmla="*/ 2579246 w 4439015"/>
              <a:gd name="connsiteY12" fmla="*/ 5118976 h 5118976"/>
              <a:gd name="connsiteX0" fmla="*/ 2579246 w 4439015"/>
              <a:gd name="connsiteY0" fmla="*/ 5118976 h 5118976"/>
              <a:gd name="connsiteX1" fmla="*/ 453266 w 4439015"/>
              <a:gd name="connsiteY1" fmla="*/ 4646536 h 5118976"/>
              <a:gd name="connsiteX2" fmla="*/ 156086 w 4439015"/>
              <a:gd name="connsiteY2" fmla="*/ 2718676 h 5118976"/>
              <a:gd name="connsiteX3" fmla="*/ 1870586 w 4439015"/>
              <a:gd name="connsiteY3" fmla="*/ 5956 h 5118976"/>
              <a:gd name="connsiteX4" fmla="*/ 3973706 w 4439015"/>
              <a:gd name="connsiteY4" fmla="*/ 1636636 h 5118976"/>
              <a:gd name="connsiteX5" fmla="*/ 4438526 w 4439015"/>
              <a:gd name="connsiteY5" fmla="*/ 2909176 h 5118976"/>
              <a:gd name="connsiteX6" fmla="*/ 4133726 w 4439015"/>
              <a:gd name="connsiteY6" fmla="*/ 3351136 h 5118976"/>
              <a:gd name="connsiteX7" fmla="*/ 4042286 w 4439015"/>
              <a:gd name="connsiteY7" fmla="*/ 3465436 h 5118976"/>
              <a:gd name="connsiteX8" fmla="*/ 4103246 w 4439015"/>
              <a:gd name="connsiteY8" fmla="*/ 3633076 h 5118976"/>
              <a:gd name="connsiteX9" fmla="*/ 3927986 w 4439015"/>
              <a:gd name="connsiteY9" fmla="*/ 3777856 h 5118976"/>
              <a:gd name="connsiteX10" fmla="*/ 3943226 w 4439015"/>
              <a:gd name="connsiteY10" fmla="*/ 4303636 h 5118976"/>
              <a:gd name="connsiteX11" fmla="*/ 2945006 w 4439015"/>
              <a:gd name="connsiteY11" fmla="*/ 4486516 h 5118976"/>
              <a:gd name="connsiteX12" fmla="*/ 2579246 w 4439015"/>
              <a:gd name="connsiteY12" fmla="*/ 5118976 h 5118976"/>
              <a:gd name="connsiteX0" fmla="*/ 2579246 w 4439015"/>
              <a:gd name="connsiteY0" fmla="*/ 5118976 h 5118976"/>
              <a:gd name="connsiteX1" fmla="*/ 453266 w 4439015"/>
              <a:gd name="connsiteY1" fmla="*/ 4646536 h 5118976"/>
              <a:gd name="connsiteX2" fmla="*/ 156086 w 4439015"/>
              <a:gd name="connsiteY2" fmla="*/ 2718676 h 5118976"/>
              <a:gd name="connsiteX3" fmla="*/ 1870586 w 4439015"/>
              <a:gd name="connsiteY3" fmla="*/ 5956 h 5118976"/>
              <a:gd name="connsiteX4" fmla="*/ 3973706 w 4439015"/>
              <a:gd name="connsiteY4" fmla="*/ 1636636 h 5118976"/>
              <a:gd name="connsiteX5" fmla="*/ 4438526 w 4439015"/>
              <a:gd name="connsiteY5" fmla="*/ 2909176 h 5118976"/>
              <a:gd name="connsiteX6" fmla="*/ 4133726 w 4439015"/>
              <a:gd name="connsiteY6" fmla="*/ 3351136 h 5118976"/>
              <a:gd name="connsiteX7" fmla="*/ 4042286 w 4439015"/>
              <a:gd name="connsiteY7" fmla="*/ 3465436 h 5118976"/>
              <a:gd name="connsiteX8" fmla="*/ 4103246 w 4439015"/>
              <a:gd name="connsiteY8" fmla="*/ 3633076 h 5118976"/>
              <a:gd name="connsiteX9" fmla="*/ 3927986 w 4439015"/>
              <a:gd name="connsiteY9" fmla="*/ 3777856 h 5118976"/>
              <a:gd name="connsiteX10" fmla="*/ 3943226 w 4439015"/>
              <a:gd name="connsiteY10" fmla="*/ 4303636 h 5118976"/>
              <a:gd name="connsiteX11" fmla="*/ 2945006 w 4439015"/>
              <a:gd name="connsiteY11" fmla="*/ 4486516 h 5118976"/>
              <a:gd name="connsiteX12" fmla="*/ 2579246 w 4439015"/>
              <a:gd name="connsiteY12" fmla="*/ 5118976 h 51189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439015" h="5118976">
                <a:moveTo>
                  <a:pt x="2579246" y="5118976"/>
                </a:moveTo>
                <a:lnTo>
                  <a:pt x="453266" y="4646536"/>
                </a:lnTo>
                <a:cubicBezTo>
                  <a:pt x="1032386" y="3584816"/>
                  <a:pt x="521846" y="3673716"/>
                  <a:pt x="156086" y="2718676"/>
                </a:cubicBezTo>
                <a:cubicBezTo>
                  <a:pt x="-143634" y="2025256"/>
                  <a:pt x="-214754" y="120256"/>
                  <a:pt x="1870586" y="5956"/>
                </a:cubicBezTo>
                <a:cubicBezTo>
                  <a:pt x="3524126" y="-98184"/>
                  <a:pt x="3844166" y="1192136"/>
                  <a:pt x="3973706" y="1636636"/>
                </a:cubicBezTo>
                <a:cubicBezTo>
                  <a:pt x="3839086" y="2487536"/>
                  <a:pt x="4458846" y="2576436"/>
                  <a:pt x="4438526" y="2909176"/>
                </a:cubicBezTo>
                <a:cubicBezTo>
                  <a:pt x="4428366" y="3094596"/>
                  <a:pt x="3846706" y="2906636"/>
                  <a:pt x="4133726" y="3351136"/>
                </a:cubicBezTo>
                <a:lnTo>
                  <a:pt x="4042286" y="3465436"/>
                </a:lnTo>
                <a:lnTo>
                  <a:pt x="4103246" y="3633076"/>
                </a:lnTo>
                <a:lnTo>
                  <a:pt x="3927986" y="3777856"/>
                </a:lnTo>
                <a:cubicBezTo>
                  <a:pt x="3971166" y="3983596"/>
                  <a:pt x="4037206" y="4158856"/>
                  <a:pt x="3943226" y="4303636"/>
                </a:cubicBezTo>
                <a:cubicBezTo>
                  <a:pt x="3778126" y="4524616"/>
                  <a:pt x="3148206" y="4349356"/>
                  <a:pt x="2945006" y="4486516"/>
                </a:cubicBezTo>
                <a:cubicBezTo>
                  <a:pt x="2708786" y="4659236"/>
                  <a:pt x="2640206" y="4877676"/>
                  <a:pt x="2579246" y="5118976"/>
                </a:cubicBezTo>
                <a:close/>
              </a:path>
            </a:pathLst>
          </a:cu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1" dirty="0">
              <a:solidFill>
                <a:srgbClr val="000000"/>
              </a:solidFill>
            </a:endParaRPr>
          </a:p>
        </p:txBody>
      </p:sp>
      <p:sp>
        <p:nvSpPr>
          <p:cNvPr id="39" name="Freeform 1710">
            <a:extLst>
              <a:ext uri="{FF2B5EF4-FFF2-40B4-BE49-F238E27FC236}">
                <a16:creationId xmlns:a16="http://schemas.microsoft.com/office/drawing/2014/main" id="{7FE55C73-317B-4D6F-BCEE-2FED7AA96643}"/>
              </a:ext>
            </a:extLst>
          </p:cNvPr>
          <p:cNvSpPr>
            <a:spLocks noEditPoints="1"/>
          </p:cNvSpPr>
          <p:nvPr/>
        </p:nvSpPr>
        <p:spPr bwMode="auto">
          <a:xfrm rot="9332290">
            <a:off x="3245308" y="746919"/>
            <a:ext cx="174446" cy="195639"/>
          </a:xfrm>
          <a:custGeom>
            <a:avLst/>
            <a:gdLst>
              <a:gd name="T0" fmla="*/ 9985 w 18909"/>
              <a:gd name="T1" fmla="*/ 19461 h 21155"/>
              <a:gd name="T2" fmla="*/ 7909 w 18909"/>
              <a:gd name="T3" fmla="*/ 19006 h 21155"/>
              <a:gd name="T4" fmla="*/ 7098 w 18909"/>
              <a:gd name="T5" fmla="*/ 16793 h 21155"/>
              <a:gd name="T6" fmla="*/ 6877 w 18909"/>
              <a:gd name="T7" fmla="*/ 15421 h 21155"/>
              <a:gd name="T8" fmla="*/ 7495 w 18909"/>
              <a:gd name="T9" fmla="*/ 12052 h 21155"/>
              <a:gd name="T10" fmla="*/ 9312 w 18909"/>
              <a:gd name="T11" fmla="*/ 10235 h 21155"/>
              <a:gd name="T12" fmla="*/ 11572 w 18909"/>
              <a:gd name="T13" fmla="*/ 10445 h 21155"/>
              <a:gd name="T14" fmla="*/ 13739 w 18909"/>
              <a:gd name="T15" fmla="*/ 9432 h 21155"/>
              <a:gd name="T16" fmla="*/ 15184 w 18909"/>
              <a:gd name="T17" fmla="*/ 11009 h 21155"/>
              <a:gd name="T18" fmla="*/ 16958 w 18909"/>
              <a:gd name="T19" fmla="*/ 11708 h 21155"/>
              <a:gd name="T20" fmla="*/ 18226 w 18909"/>
              <a:gd name="T21" fmla="*/ 13758 h 21155"/>
              <a:gd name="T22" fmla="*/ 17298 w 18909"/>
              <a:gd name="T23" fmla="*/ 16355 h 21155"/>
              <a:gd name="T24" fmla="*/ 17062 w 18909"/>
              <a:gd name="T25" fmla="*/ 18373 h 21155"/>
              <a:gd name="T26" fmla="*/ 15671 w 18909"/>
              <a:gd name="T27" fmla="*/ 20228 h 21155"/>
              <a:gd name="T28" fmla="*/ 13254 w 18909"/>
              <a:gd name="T29" fmla="*/ 20033 h 21155"/>
              <a:gd name="T30" fmla="*/ 11656 w 18909"/>
              <a:gd name="T31" fmla="*/ 21110 h 21155"/>
              <a:gd name="T32" fmla="*/ 14354 w 18909"/>
              <a:gd name="T33" fmla="*/ 13441 h 21155"/>
              <a:gd name="T34" fmla="*/ 10622 w 18909"/>
              <a:gd name="T35" fmla="*/ 17013 h 21155"/>
              <a:gd name="T36" fmla="*/ 4357 w 18909"/>
              <a:gd name="T37" fmla="*/ 11562 h 21155"/>
              <a:gd name="T38" fmla="*/ 2086 w 18909"/>
              <a:gd name="T39" fmla="*/ 11480 h 21155"/>
              <a:gd name="T40" fmla="*/ 445 w 18909"/>
              <a:gd name="T41" fmla="*/ 9670 h 21155"/>
              <a:gd name="T42" fmla="*/ 254 w 18909"/>
              <a:gd name="T43" fmla="*/ 7316 h 21155"/>
              <a:gd name="T44" fmla="*/ 131 w 18909"/>
              <a:gd name="T45" fmla="*/ 6285 h 21155"/>
              <a:gd name="T46" fmla="*/ 1143 w 18909"/>
              <a:gd name="T47" fmla="*/ 4444 h 21155"/>
              <a:gd name="T48" fmla="*/ 2657 w 18909"/>
              <a:gd name="T49" fmla="*/ 4141 h 21155"/>
              <a:gd name="T50" fmla="*/ 4319 w 18909"/>
              <a:gd name="T51" fmla="*/ 2824 h 21155"/>
              <a:gd name="T52" fmla="*/ 6397 w 18909"/>
              <a:gd name="T53" fmla="*/ 3378 h 21155"/>
              <a:gd name="T54" fmla="*/ 7395 w 18909"/>
              <a:gd name="T55" fmla="*/ 4642 h 21155"/>
              <a:gd name="T56" fmla="*/ 9156 w 18909"/>
              <a:gd name="T57" fmla="*/ 5794 h 21155"/>
              <a:gd name="T58" fmla="*/ 8636 w 18909"/>
              <a:gd name="T59" fmla="*/ 7241 h 21155"/>
              <a:gd name="T60" fmla="*/ 9339 w 18909"/>
              <a:gd name="T61" fmla="*/ 8827 h 21155"/>
              <a:gd name="T62" fmla="*/ 8311 w 18909"/>
              <a:gd name="T63" fmla="*/ 10714 h 21155"/>
              <a:gd name="T64" fmla="*/ 6448 w 18909"/>
              <a:gd name="T65" fmla="*/ 11087 h 21155"/>
              <a:gd name="T66" fmla="*/ 5178 w 18909"/>
              <a:gd name="T67" fmla="*/ 12336 h 21155"/>
              <a:gd name="T68" fmla="*/ 7073 w 18909"/>
              <a:gd name="T69" fmla="*/ 6395 h 21155"/>
              <a:gd name="T70" fmla="*/ 2145 w 18909"/>
              <a:gd name="T71" fmla="*/ 7989 h 21155"/>
              <a:gd name="T72" fmla="*/ 13338 w 18909"/>
              <a:gd name="T73" fmla="*/ 8744 h 21155"/>
              <a:gd name="T74" fmla="*/ 11563 w 18909"/>
              <a:gd name="T75" fmla="*/ 8928 h 21155"/>
              <a:gd name="T76" fmla="*/ 10239 w 18909"/>
              <a:gd name="T77" fmla="*/ 7450 h 21155"/>
              <a:gd name="T78" fmla="*/ 9835 w 18909"/>
              <a:gd name="T79" fmla="*/ 6404 h 21155"/>
              <a:gd name="T80" fmla="*/ 9385 w 18909"/>
              <a:gd name="T81" fmla="*/ 3819 h 21155"/>
              <a:gd name="T82" fmla="*/ 10450 w 18909"/>
              <a:gd name="T83" fmla="*/ 2040 h 21155"/>
              <a:gd name="T84" fmla="*/ 11867 w 18909"/>
              <a:gd name="T85" fmla="*/ 1411 h 21155"/>
              <a:gd name="T86" fmla="*/ 13777 w 18909"/>
              <a:gd name="T87" fmla="*/ 48 h 21155"/>
              <a:gd name="T88" fmla="*/ 15911 w 18909"/>
              <a:gd name="T89" fmla="*/ 357 h 21155"/>
              <a:gd name="T90" fmla="*/ 17915 w 18909"/>
              <a:gd name="T91" fmla="*/ 2220 h 21155"/>
              <a:gd name="T92" fmla="*/ 18085 w 18909"/>
              <a:gd name="T93" fmla="*/ 3635 h 21155"/>
              <a:gd name="T94" fmla="*/ 18909 w 18909"/>
              <a:gd name="T95" fmla="*/ 5056 h 21155"/>
              <a:gd name="T96" fmla="*/ 17641 w 18909"/>
              <a:gd name="T97" fmla="*/ 6602 h 21155"/>
              <a:gd name="T98" fmla="*/ 16944 w 18909"/>
              <a:gd name="T99" fmla="*/ 8423 h 21155"/>
              <a:gd name="T100" fmla="*/ 14508 w 18909"/>
              <a:gd name="T101" fmla="*/ 9640 h 21155"/>
              <a:gd name="T102" fmla="*/ 16649 w 18909"/>
              <a:gd name="T103" fmla="*/ 4814 h 21155"/>
              <a:gd name="T104" fmla="*/ 12289 w 18909"/>
              <a:gd name="T105" fmla="*/ 3005 h 21155"/>
              <a:gd name="T106" fmla="*/ 14831 w 18909"/>
              <a:gd name="T107" fmla="*/ 7283 h 21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09" h="21155">
                <a:moveTo>
                  <a:pt x="11656" y="21110"/>
                </a:moveTo>
                <a:cubicBezTo>
                  <a:pt x="11084" y="21022"/>
                  <a:pt x="10965" y="20974"/>
                  <a:pt x="10964" y="20832"/>
                </a:cubicBezTo>
                <a:cubicBezTo>
                  <a:pt x="10963" y="20691"/>
                  <a:pt x="10848" y="20233"/>
                  <a:pt x="10773" y="20074"/>
                </a:cubicBezTo>
                <a:cubicBezTo>
                  <a:pt x="10621" y="19748"/>
                  <a:pt x="10341" y="19531"/>
                  <a:pt x="9985" y="19461"/>
                </a:cubicBezTo>
                <a:cubicBezTo>
                  <a:pt x="9731" y="19411"/>
                  <a:pt x="9499" y="19459"/>
                  <a:pt x="9094" y="19647"/>
                </a:cubicBezTo>
                <a:cubicBezTo>
                  <a:pt x="8912" y="19731"/>
                  <a:pt x="8746" y="19800"/>
                  <a:pt x="8726" y="19800"/>
                </a:cubicBezTo>
                <a:cubicBezTo>
                  <a:pt x="8680" y="19800"/>
                  <a:pt x="8227" y="19379"/>
                  <a:pt x="8047" y="19168"/>
                </a:cubicBezTo>
                <a:lnTo>
                  <a:pt x="7909" y="19006"/>
                </a:lnTo>
                <a:lnTo>
                  <a:pt x="8065" y="18663"/>
                </a:lnTo>
                <a:cubicBezTo>
                  <a:pt x="8252" y="18253"/>
                  <a:pt x="8283" y="18148"/>
                  <a:pt x="8283" y="17921"/>
                </a:cubicBezTo>
                <a:cubicBezTo>
                  <a:pt x="8283" y="17469"/>
                  <a:pt x="7989" y="17068"/>
                  <a:pt x="7529" y="16894"/>
                </a:cubicBezTo>
                <a:cubicBezTo>
                  <a:pt x="7455" y="16866"/>
                  <a:pt x="7261" y="16821"/>
                  <a:pt x="7098" y="16793"/>
                </a:cubicBezTo>
                <a:cubicBezTo>
                  <a:pt x="6935" y="16766"/>
                  <a:pt x="6787" y="16730"/>
                  <a:pt x="6769" y="16713"/>
                </a:cubicBezTo>
                <a:cubicBezTo>
                  <a:pt x="6751" y="16696"/>
                  <a:pt x="6717" y="16593"/>
                  <a:pt x="6693" y="16484"/>
                </a:cubicBezTo>
                <a:cubicBezTo>
                  <a:pt x="6636" y="16229"/>
                  <a:pt x="6557" y="15626"/>
                  <a:pt x="6576" y="15595"/>
                </a:cubicBezTo>
                <a:cubicBezTo>
                  <a:pt x="6584" y="15581"/>
                  <a:pt x="6720" y="15503"/>
                  <a:pt x="6877" y="15421"/>
                </a:cubicBezTo>
                <a:cubicBezTo>
                  <a:pt x="7335" y="15181"/>
                  <a:pt x="7588" y="14913"/>
                  <a:pt x="7679" y="14573"/>
                </a:cubicBezTo>
                <a:cubicBezTo>
                  <a:pt x="7790" y="14154"/>
                  <a:pt x="7660" y="13797"/>
                  <a:pt x="7232" y="13349"/>
                </a:cubicBezTo>
                <a:cubicBezTo>
                  <a:pt x="7096" y="13207"/>
                  <a:pt x="6985" y="13075"/>
                  <a:pt x="6985" y="13056"/>
                </a:cubicBezTo>
                <a:cubicBezTo>
                  <a:pt x="6985" y="12957"/>
                  <a:pt x="7422" y="12097"/>
                  <a:pt x="7495" y="12052"/>
                </a:cubicBezTo>
                <a:cubicBezTo>
                  <a:pt x="7509" y="12043"/>
                  <a:pt x="7658" y="12057"/>
                  <a:pt x="7825" y="12083"/>
                </a:cubicBezTo>
                <a:cubicBezTo>
                  <a:pt x="8399" y="12174"/>
                  <a:pt x="8772" y="12088"/>
                  <a:pt x="9060" y="11800"/>
                </a:cubicBezTo>
                <a:cubicBezTo>
                  <a:pt x="9348" y="11512"/>
                  <a:pt x="9434" y="11139"/>
                  <a:pt x="9343" y="10565"/>
                </a:cubicBezTo>
                <a:cubicBezTo>
                  <a:pt x="9317" y="10398"/>
                  <a:pt x="9303" y="10249"/>
                  <a:pt x="9312" y="10235"/>
                </a:cubicBezTo>
                <a:cubicBezTo>
                  <a:pt x="9358" y="10161"/>
                  <a:pt x="10217" y="9725"/>
                  <a:pt x="10317" y="9725"/>
                </a:cubicBezTo>
                <a:cubicBezTo>
                  <a:pt x="10336" y="9725"/>
                  <a:pt x="10471" y="9840"/>
                  <a:pt x="10616" y="9981"/>
                </a:cubicBezTo>
                <a:cubicBezTo>
                  <a:pt x="10820" y="10178"/>
                  <a:pt x="10930" y="10260"/>
                  <a:pt x="11099" y="10340"/>
                </a:cubicBezTo>
                <a:cubicBezTo>
                  <a:pt x="11301" y="10437"/>
                  <a:pt x="11336" y="10445"/>
                  <a:pt x="11572" y="10445"/>
                </a:cubicBezTo>
                <a:cubicBezTo>
                  <a:pt x="11802" y="10445"/>
                  <a:pt x="11844" y="10436"/>
                  <a:pt x="12013" y="10353"/>
                </a:cubicBezTo>
                <a:cubicBezTo>
                  <a:pt x="12271" y="10226"/>
                  <a:pt x="12489" y="9986"/>
                  <a:pt x="12679" y="9621"/>
                </a:cubicBezTo>
                <a:cubicBezTo>
                  <a:pt x="12761" y="9464"/>
                  <a:pt x="12843" y="9330"/>
                  <a:pt x="12863" y="9322"/>
                </a:cubicBezTo>
                <a:cubicBezTo>
                  <a:pt x="12911" y="9304"/>
                  <a:pt x="13470" y="9374"/>
                  <a:pt x="13739" y="9432"/>
                </a:cubicBezTo>
                <a:cubicBezTo>
                  <a:pt x="13874" y="9461"/>
                  <a:pt x="13968" y="9497"/>
                  <a:pt x="13982" y="9525"/>
                </a:cubicBezTo>
                <a:cubicBezTo>
                  <a:pt x="13995" y="9550"/>
                  <a:pt x="14026" y="9694"/>
                  <a:pt x="14052" y="9846"/>
                </a:cubicBezTo>
                <a:cubicBezTo>
                  <a:pt x="14151" y="10436"/>
                  <a:pt x="14361" y="10760"/>
                  <a:pt x="14762" y="10945"/>
                </a:cubicBezTo>
                <a:cubicBezTo>
                  <a:pt x="14877" y="10998"/>
                  <a:pt x="14950" y="11009"/>
                  <a:pt x="15184" y="11009"/>
                </a:cubicBezTo>
                <a:cubicBezTo>
                  <a:pt x="15492" y="11009"/>
                  <a:pt x="15583" y="10983"/>
                  <a:pt x="16026" y="10763"/>
                </a:cubicBezTo>
                <a:cubicBezTo>
                  <a:pt x="16242" y="10655"/>
                  <a:pt x="16248" y="10654"/>
                  <a:pt x="16322" y="10702"/>
                </a:cubicBezTo>
                <a:cubicBezTo>
                  <a:pt x="16443" y="10780"/>
                  <a:pt x="17060" y="11416"/>
                  <a:pt x="17060" y="11462"/>
                </a:cubicBezTo>
                <a:cubicBezTo>
                  <a:pt x="17060" y="11485"/>
                  <a:pt x="17014" y="11596"/>
                  <a:pt x="16958" y="11708"/>
                </a:cubicBezTo>
                <a:cubicBezTo>
                  <a:pt x="16764" y="12092"/>
                  <a:pt x="16714" y="12258"/>
                  <a:pt x="16711" y="12519"/>
                </a:cubicBezTo>
                <a:cubicBezTo>
                  <a:pt x="16707" y="12806"/>
                  <a:pt x="16760" y="12979"/>
                  <a:pt x="16913" y="13182"/>
                </a:cubicBezTo>
                <a:cubicBezTo>
                  <a:pt x="17117" y="13452"/>
                  <a:pt x="17419" y="13600"/>
                  <a:pt x="17947" y="13689"/>
                </a:cubicBezTo>
                <a:cubicBezTo>
                  <a:pt x="18086" y="13712"/>
                  <a:pt x="18211" y="13743"/>
                  <a:pt x="18226" y="13758"/>
                </a:cubicBezTo>
                <a:cubicBezTo>
                  <a:pt x="18262" y="13794"/>
                  <a:pt x="18347" y="14224"/>
                  <a:pt x="18388" y="14578"/>
                </a:cubicBezTo>
                <a:cubicBezTo>
                  <a:pt x="18417" y="14826"/>
                  <a:pt x="18416" y="14877"/>
                  <a:pt x="18383" y="14897"/>
                </a:cubicBezTo>
                <a:cubicBezTo>
                  <a:pt x="18362" y="14910"/>
                  <a:pt x="18212" y="14993"/>
                  <a:pt x="18049" y="15081"/>
                </a:cubicBezTo>
                <a:cubicBezTo>
                  <a:pt x="17442" y="15412"/>
                  <a:pt x="17190" y="15839"/>
                  <a:pt x="17298" y="16355"/>
                </a:cubicBezTo>
                <a:cubicBezTo>
                  <a:pt x="17357" y="16636"/>
                  <a:pt x="17458" y="16805"/>
                  <a:pt x="17759" y="17123"/>
                </a:cubicBezTo>
                <a:cubicBezTo>
                  <a:pt x="17989" y="17367"/>
                  <a:pt x="18016" y="17407"/>
                  <a:pt x="17994" y="17465"/>
                </a:cubicBezTo>
                <a:cubicBezTo>
                  <a:pt x="17928" y="17639"/>
                  <a:pt x="17781" y="17939"/>
                  <a:pt x="17651" y="18166"/>
                </a:cubicBezTo>
                <a:cubicBezTo>
                  <a:pt x="17487" y="18454"/>
                  <a:pt x="17532" y="18438"/>
                  <a:pt x="17062" y="18373"/>
                </a:cubicBezTo>
                <a:cubicBezTo>
                  <a:pt x="16804" y="18337"/>
                  <a:pt x="16706" y="18335"/>
                  <a:pt x="16555" y="18360"/>
                </a:cubicBezTo>
                <a:cubicBezTo>
                  <a:pt x="16043" y="18448"/>
                  <a:pt x="15693" y="18799"/>
                  <a:pt x="15618" y="19300"/>
                </a:cubicBezTo>
                <a:cubicBezTo>
                  <a:pt x="15599" y="19431"/>
                  <a:pt x="15604" y="19566"/>
                  <a:pt x="15639" y="19832"/>
                </a:cubicBezTo>
                <a:cubicBezTo>
                  <a:pt x="15665" y="20028"/>
                  <a:pt x="15679" y="20206"/>
                  <a:pt x="15671" y="20228"/>
                </a:cubicBezTo>
                <a:cubicBezTo>
                  <a:pt x="15652" y="20277"/>
                  <a:pt x="15205" y="20527"/>
                  <a:pt x="14893" y="20662"/>
                </a:cubicBezTo>
                <a:lnTo>
                  <a:pt x="14659" y="20763"/>
                </a:lnTo>
                <a:lnTo>
                  <a:pt x="14381" y="20499"/>
                </a:lnTo>
                <a:cubicBezTo>
                  <a:pt x="13966" y="20105"/>
                  <a:pt x="13648" y="19973"/>
                  <a:pt x="13254" y="20033"/>
                </a:cubicBezTo>
                <a:cubicBezTo>
                  <a:pt x="12867" y="20092"/>
                  <a:pt x="12596" y="20323"/>
                  <a:pt x="12323" y="20827"/>
                </a:cubicBezTo>
                <a:lnTo>
                  <a:pt x="12146" y="21155"/>
                </a:lnTo>
                <a:lnTo>
                  <a:pt x="12028" y="21152"/>
                </a:lnTo>
                <a:cubicBezTo>
                  <a:pt x="11963" y="21151"/>
                  <a:pt x="11795" y="21132"/>
                  <a:pt x="11656" y="21110"/>
                </a:cubicBezTo>
                <a:close/>
                <a:moveTo>
                  <a:pt x="12982" y="17771"/>
                </a:moveTo>
                <a:cubicBezTo>
                  <a:pt x="14004" y="17559"/>
                  <a:pt x="14743" y="16853"/>
                  <a:pt x="15016" y="15828"/>
                </a:cubicBezTo>
                <a:cubicBezTo>
                  <a:pt x="15078" y="15592"/>
                  <a:pt x="15099" y="15131"/>
                  <a:pt x="15059" y="14870"/>
                </a:cubicBezTo>
                <a:cubicBezTo>
                  <a:pt x="14973" y="14315"/>
                  <a:pt x="14739" y="13841"/>
                  <a:pt x="14354" y="13441"/>
                </a:cubicBezTo>
                <a:cubicBezTo>
                  <a:pt x="13459" y="12510"/>
                  <a:pt x="12074" y="12375"/>
                  <a:pt x="11006" y="13114"/>
                </a:cubicBezTo>
                <a:cubicBezTo>
                  <a:pt x="10546" y="13432"/>
                  <a:pt x="10195" y="13912"/>
                  <a:pt x="10024" y="14456"/>
                </a:cubicBezTo>
                <a:cubicBezTo>
                  <a:pt x="9828" y="15077"/>
                  <a:pt x="9870" y="15733"/>
                  <a:pt x="10143" y="16316"/>
                </a:cubicBezTo>
                <a:cubicBezTo>
                  <a:pt x="10281" y="16610"/>
                  <a:pt x="10386" y="16763"/>
                  <a:pt x="10622" y="17013"/>
                </a:cubicBezTo>
                <a:cubicBezTo>
                  <a:pt x="11230" y="17658"/>
                  <a:pt x="12132" y="17948"/>
                  <a:pt x="12982" y="17771"/>
                </a:cubicBezTo>
                <a:close/>
                <a:moveTo>
                  <a:pt x="4906" y="12317"/>
                </a:moveTo>
                <a:cubicBezTo>
                  <a:pt x="4889" y="12296"/>
                  <a:pt x="4827" y="12184"/>
                  <a:pt x="4769" y="12068"/>
                </a:cubicBezTo>
                <a:cubicBezTo>
                  <a:pt x="4626" y="11783"/>
                  <a:pt x="4553" y="11693"/>
                  <a:pt x="4357" y="11562"/>
                </a:cubicBezTo>
                <a:cubicBezTo>
                  <a:pt x="3958" y="11295"/>
                  <a:pt x="3531" y="11365"/>
                  <a:pt x="3091" y="11768"/>
                </a:cubicBezTo>
                <a:cubicBezTo>
                  <a:pt x="2980" y="11871"/>
                  <a:pt x="2869" y="11955"/>
                  <a:pt x="2845" y="11955"/>
                </a:cubicBezTo>
                <a:cubicBezTo>
                  <a:pt x="2786" y="11955"/>
                  <a:pt x="2206" y="11651"/>
                  <a:pt x="2131" y="11582"/>
                </a:cubicBezTo>
                <a:cubicBezTo>
                  <a:pt x="2099" y="11552"/>
                  <a:pt x="2078" y="11506"/>
                  <a:pt x="2086" y="11480"/>
                </a:cubicBezTo>
                <a:cubicBezTo>
                  <a:pt x="2127" y="11337"/>
                  <a:pt x="2164" y="10941"/>
                  <a:pt x="2148" y="10802"/>
                </a:cubicBezTo>
                <a:cubicBezTo>
                  <a:pt x="2106" y="10438"/>
                  <a:pt x="1856" y="10139"/>
                  <a:pt x="1504" y="10032"/>
                </a:cubicBezTo>
                <a:cubicBezTo>
                  <a:pt x="1334" y="9980"/>
                  <a:pt x="1270" y="9975"/>
                  <a:pt x="1048" y="9993"/>
                </a:cubicBezTo>
                <a:cubicBezTo>
                  <a:pt x="574" y="10031"/>
                  <a:pt x="645" y="10070"/>
                  <a:pt x="445" y="9670"/>
                </a:cubicBezTo>
                <a:cubicBezTo>
                  <a:pt x="347" y="9476"/>
                  <a:pt x="268" y="9294"/>
                  <a:pt x="268" y="9265"/>
                </a:cubicBezTo>
                <a:cubicBezTo>
                  <a:pt x="268" y="9236"/>
                  <a:pt x="363" y="9118"/>
                  <a:pt x="479" y="9001"/>
                </a:cubicBezTo>
                <a:cubicBezTo>
                  <a:pt x="761" y="8720"/>
                  <a:pt x="867" y="8504"/>
                  <a:pt x="867" y="8214"/>
                </a:cubicBezTo>
                <a:cubicBezTo>
                  <a:pt x="867" y="7836"/>
                  <a:pt x="690" y="7576"/>
                  <a:pt x="254" y="7316"/>
                </a:cubicBezTo>
                <a:lnTo>
                  <a:pt x="0" y="7165"/>
                </a:lnTo>
                <a:lnTo>
                  <a:pt x="7" y="6985"/>
                </a:lnTo>
                <a:cubicBezTo>
                  <a:pt x="11" y="6885"/>
                  <a:pt x="40" y="6687"/>
                  <a:pt x="72" y="6544"/>
                </a:cubicBezTo>
                <a:lnTo>
                  <a:pt x="131" y="6285"/>
                </a:lnTo>
                <a:lnTo>
                  <a:pt x="263" y="6267"/>
                </a:lnTo>
                <a:cubicBezTo>
                  <a:pt x="732" y="6206"/>
                  <a:pt x="980" y="6106"/>
                  <a:pt x="1167" y="5902"/>
                </a:cubicBezTo>
                <a:cubicBezTo>
                  <a:pt x="1457" y="5588"/>
                  <a:pt x="1484" y="5236"/>
                  <a:pt x="1257" y="4726"/>
                </a:cubicBezTo>
                <a:cubicBezTo>
                  <a:pt x="1194" y="4585"/>
                  <a:pt x="1143" y="4457"/>
                  <a:pt x="1143" y="4444"/>
                </a:cubicBezTo>
                <a:cubicBezTo>
                  <a:pt x="1143" y="4403"/>
                  <a:pt x="1343" y="4194"/>
                  <a:pt x="1564" y="4005"/>
                </a:cubicBezTo>
                <a:lnTo>
                  <a:pt x="1773" y="3827"/>
                </a:lnTo>
                <a:lnTo>
                  <a:pt x="2001" y="3947"/>
                </a:lnTo>
                <a:cubicBezTo>
                  <a:pt x="2289" y="4100"/>
                  <a:pt x="2427" y="4141"/>
                  <a:pt x="2657" y="4141"/>
                </a:cubicBezTo>
                <a:cubicBezTo>
                  <a:pt x="2905" y="4141"/>
                  <a:pt x="3089" y="4074"/>
                  <a:pt x="3257" y="3922"/>
                </a:cubicBezTo>
                <a:cubicBezTo>
                  <a:pt x="3436" y="3762"/>
                  <a:pt x="3530" y="3569"/>
                  <a:pt x="3602" y="3217"/>
                </a:cubicBezTo>
                <a:cubicBezTo>
                  <a:pt x="3633" y="3064"/>
                  <a:pt x="3664" y="2933"/>
                  <a:pt x="3670" y="2927"/>
                </a:cubicBezTo>
                <a:cubicBezTo>
                  <a:pt x="3690" y="2907"/>
                  <a:pt x="4086" y="2844"/>
                  <a:pt x="4319" y="2824"/>
                </a:cubicBezTo>
                <a:lnTo>
                  <a:pt x="4544" y="2805"/>
                </a:lnTo>
                <a:lnTo>
                  <a:pt x="4671" y="3064"/>
                </a:lnTo>
                <a:cubicBezTo>
                  <a:pt x="4935" y="3605"/>
                  <a:pt x="5356" y="3849"/>
                  <a:pt x="5814" y="3727"/>
                </a:cubicBezTo>
                <a:cubicBezTo>
                  <a:pt x="6033" y="3669"/>
                  <a:pt x="6166" y="3590"/>
                  <a:pt x="6397" y="3378"/>
                </a:cubicBezTo>
                <a:cubicBezTo>
                  <a:pt x="6500" y="3283"/>
                  <a:pt x="6602" y="3206"/>
                  <a:pt x="6624" y="3206"/>
                </a:cubicBezTo>
                <a:cubicBezTo>
                  <a:pt x="6686" y="3206"/>
                  <a:pt x="7335" y="3550"/>
                  <a:pt x="7365" y="3600"/>
                </a:cubicBezTo>
                <a:cubicBezTo>
                  <a:pt x="7373" y="3611"/>
                  <a:pt x="7359" y="3740"/>
                  <a:pt x="7335" y="3886"/>
                </a:cubicBezTo>
                <a:cubicBezTo>
                  <a:pt x="7280" y="4218"/>
                  <a:pt x="7296" y="4421"/>
                  <a:pt x="7395" y="4642"/>
                </a:cubicBezTo>
                <a:cubicBezTo>
                  <a:pt x="7486" y="4844"/>
                  <a:pt x="7634" y="4989"/>
                  <a:pt x="7849" y="5088"/>
                </a:cubicBezTo>
                <a:cubicBezTo>
                  <a:pt x="8041" y="5175"/>
                  <a:pt x="8230" y="5194"/>
                  <a:pt x="8551" y="5158"/>
                </a:cubicBezTo>
                <a:cubicBezTo>
                  <a:pt x="8742" y="5136"/>
                  <a:pt x="8814" y="5137"/>
                  <a:pt x="8838" y="5162"/>
                </a:cubicBezTo>
                <a:cubicBezTo>
                  <a:pt x="8887" y="5211"/>
                  <a:pt x="9110" y="5656"/>
                  <a:pt x="9156" y="5794"/>
                </a:cubicBezTo>
                <a:lnTo>
                  <a:pt x="9195" y="5914"/>
                </a:lnTo>
                <a:lnTo>
                  <a:pt x="8984" y="6135"/>
                </a:lnTo>
                <a:cubicBezTo>
                  <a:pt x="8713" y="6418"/>
                  <a:pt x="8612" y="6617"/>
                  <a:pt x="8598" y="6894"/>
                </a:cubicBezTo>
                <a:cubicBezTo>
                  <a:pt x="8591" y="7033"/>
                  <a:pt x="8603" y="7141"/>
                  <a:pt x="8636" y="7241"/>
                </a:cubicBezTo>
                <a:cubicBezTo>
                  <a:pt x="8705" y="7449"/>
                  <a:pt x="8937" y="7688"/>
                  <a:pt x="9231" y="7855"/>
                </a:cubicBezTo>
                <a:lnTo>
                  <a:pt x="9468" y="7989"/>
                </a:lnTo>
                <a:lnTo>
                  <a:pt x="9468" y="8124"/>
                </a:lnTo>
                <a:cubicBezTo>
                  <a:pt x="9469" y="8236"/>
                  <a:pt x="9392" y="8654"/>
                  <a:pt x="9339" y="8827"/>
                </a:cubicBezTo>
                <a:cubicBezTo>
                  <a:pt x="9329" y="8861"/>
                  <a:pt x="9279" y="8880"/>
                  <a:pt x="9164" y="8893"/>
                </a:cubicBezTo>
                <a:cubicBezTo>
                  <a:pt x="8747" y="8941"/>
                  <a:pt x="8462" y="9062"/>
                  <a:pt x="8281" y="9268"/>
                </a:cubicBezTo>
                <a:cubicBezTo>
                  <a:pt x="8018" y="9568"/>
                  <a:pt x="7989" y="9939"/>
                  <a:pt x="8194" y="10399"/>
                </a:cubicBezTo>
                <a:cubicBezTo>
                  <a:pt x="8258" y="10544"/>
                  <a:pt x="8311" y="10686"/>
                  <a:pt x="8311" y="10714"/>
                </a:cubicBezTo>
                <a:cubicBezTo>
                  <a:pt x="8311" y="10779"/>
                  <a:pt x="7754" y="11305"/>
                  <a:pt x="7686" y="11305"/>
                </a:cubicBezTo>
                <a:cubicBezTo>
                  <a:pt x="7657" y="11305"/>
                  <a:pt x="7517" y="11245"/>
                  <a:pt x="7373" y="11171"/>
                </a:cubicBezTo>
                <a:cubicBezTo>
                  <a:pt x="7127" y="11045"/>
                  <a:pt x="7097" y="11037"/>
                  <a:pt x="6857" y="11028"/>
                </a:cubicBezTo>
                <a:cubicBezTo>
                  <a:pt x="6635" y="11019"/>
                  <a:pt x="6583" y="11027"/>
                  <a:pt x="6448" y="11087"/>
                </a:cubicBezTo>
                <a:cubicBezTo>
                  <a:pt x="6163" y="11215"/>
                  <a:pt x="5977" y="11460"/>
                  <a:pt x="5897" y="11813"/>
                </a:cubicBezTo>
                <a:cubicBezTo>
                  <a:pt x="5799" y="12246"/>
                  <a:pt x="5803" y="12235"/>
                  <a:pt x="5721" y="12252"/>
                </a:cubicBezTo>
                <a:cubicBezTo>
                  <a:pt x="5679" y="12261"/>
                  <a:pt x="5594" y="12279"/>
                  <a:pt x="5532" y="12293"/>
                </a:cubicBezTo>
                <a:cubicBezTo>
                  <a:pt x="5469" y="12306"/>
                  <a:pt x="5310" y="12326"/>
                  <a:pt x="5178" y="12336"/>
                </a:cubicBezTo>
                <a:cubicBezTo>
                  <a:pt x="4991" y="12351"/>
                  <a:pt x="4929" y="12347"/>
                  <a:pt x="4906" y="12317"/>
                </a:cubicBezTo>
                <a:close/>
                <a:moveTo>
                  <a:pt x="5296" y="10121"/>
                </a:moveTo>
                <a:cubicBezTo>
                  <a:pt x="5788" y="10013"/>
                  <a:pt x="6202" y="9781"/>
                  <a:pt x="6579" y="9404"/>
                </a:cubicBezTo>
                <a:cubicBezTo>
                  <a:pt x="7386" y="8597"/>
                  <a:pt x="7576" y="7438"/>
                  <a:pt x="7073" y="6395"/>
                </a:cubicBezTo>
                <a:cubicBezTo>
                  <a:pt x="6783" y="5792"/>
                  <a:pt x="6125" y="5239"/>
                  <a:pt x="5476" y="5053"/>
                </a:cubicBezTo>
                <a:cubicBezTo>
                  <a:pt x="5027" y="4924"/>
                  <a:pt x="4487" y="4919"/>
                  <a:pt x="4034" y="5041"/>
                </a:cubicBezTo>
                <a:cubicBezTo>
                  <a:pt x="3227" y="5257"/>
                  <a:pt x="2501" y="5945"/>
                  <a:pt x="2246" y="6735"/>
                </a:cubicBezTo>
                <a:cubicBezTo>
                  <a:pt x="2106" y="7167"/>
                  <a:pt x="2072" y="7600"/>
                  <a:pt x="2145" y="7989"/>
                </a:cubicBezTo>
                <a:cubicBezTo>
                  <a:pt x="2312" y="8869"/>
                  <a:pt x="2804" y="9526"/>
                  <a:pt x="3584" y="9911"/>
                </a:cubicBezTo>
                <a:cubicBezTo>
                  <a:pt x="4100" y="10166"/>
                  <a:pt x="4738" y="10245"/>
                  <a:pt x="5296" y="10121"/>
                </a:cubicBezTo>
                <a:close/>
                <a:moveTo>
                  <a:pt x="14278" y="9383"/>
                </a:moveTo>
                <a:cubicBezTo>
                  <a:pt x="14025" y="8915"/>
                  <a:pt x="13732" y="8715"/>
                  <a:pt x="13338" y="8744"/>
                </a:cubicBezTo>
                <a:cubicBezTo>
                  <a:pt x="13084" y="8762"/>
                  <a:pt x="12892" y="8865"/>
                  <a:pt x="12621" y="9128"/>
                </a:cubicBezTo>
                <a:lnTo>
                  <a:pt x="12401" y="9342"/>
                </a:lnTo>
                <a:lnTo>
                  <a:pt x="12254" y="9291"/>
                </a:lnTo>
                <a:cubicBezTo>
                  <a:pt x="12086" y="9232"/>
                  <a:pt x="11606" y="8980"/>
                  <a:pt x="11563" y="8928"/>
                </a:cubicBezTo>
                <a:cubicBezTo>
                  <a:pt x="11543" y="8903"/>
                  <a:pt x="11546" y="8802"/>
                  <a:pt x="11572" y="8599"/>
                </a:cubicBezTo>
                <a:cubicBezTo>
                  <a:pt x="11644" y="8043"/>
                  <a:pt x="11498" y="7696"/>
                  <a:pt x="11105" y="7492"/>
                </a:cubicBezTo>
                <a:cubicBezTo>
                  <a:pt x="10997" y="7436"/>
                  <a:pt x="10937" y="7426"/>
                  <a:pt x="10696" y="7426"/>
                </a:cubicBezTo>
                <a:cubicBezTo>
                  <a:pt x="10541" y="7426"/>
                  <a:pt x="10335" y="7437"/>
                  <a:pt x="10239" y="7450"/>
                </a:cubicBezTo>
                <a:lnTo>
                  <a:pt x="10065" y="7475"/>
                </a:lnTo>
                <a:lnTo>
                  <a:pt x="9976" y="7337"/>
                </a:lnTo>
                <a:cubicBezTo>
                  <a:pt x="9873" y="7176"/>
                  <a:pt x="9638" y="6697"/>
                  <a:pt x="9638" y="6648"/>
                </a:cubicBezTo>
                <a:cubicBezTo>
                  <a:pt x="9638" y="6630"/>
                  <a:pt x="9726" y="6520"/>
                  <a:pt x="9835" y="6404"/>
                </a:cubicBezTo>
                <a:cubicBezTo>
                  <a:pt x="10098" y="6122"/>
                  <a:pt x="10210" y="5895"/>
                  <a:pt x="10212" y="5639"/>
                </a:cubicBezTo>
                <a:cubicBezTo>
                  <a:pt x="10215" y="5266"/>
                  <a:pt x="10004" y="4978"/>
                  <a:pt x="9558" y="4748"/>
                </a:cubicBezTo>
                <a:cubicBezTo>
                  <a:pt x="9419" y="4676"/>
                  <a:pt x="9299" y="4601"/>
                  <a:pt x="9292" y="4582"/>
                </a:cubicBezTo>
                <a:cubicBezTo>
                  <a:pt x="9275" y="4536"/>
                  <a:pt x="9341" y="3994"/>
                  <a:pt x="9385" y="3819"/>
                </a:cubicBezTo>
                <a:cubicBezTo>
                  <a:pt x="9404" y="3744"/>
                  <a:pt x="9440" y="3673"/>
                  <a:pt x="9465" y="3659"/>
                </a:cubicBezTo>
                <a:cubicBezTo>
                  <a:pt x="9490" y="3646"/>
                  <a:pt x="9619" y="3614"/>
                  <a:pt x="9751" y="3587"/>
                </a:cubicBezTo>
                <a:cubicBezTo>
                  <a:pt x="10326" y="3473"/>
                  <a:pt x="10615" y="3204"/>
                  <a:pt x="10647" y="2754"/>
                </a:cubicBezTo>
                <a:cubicBezTo>
                  <a:pt x="10663" y="2534"/>
                  <a:pt x="10620" y="2379"/>
                  <a:pt x="10450" y="2040"/>
                </a:cubicBezTo>
                <a:cubicBezTo>
                  <a:pt x="10346" y="1834"/>
                  <a:pt x="10342" y="1815"/>
                  <a:pt x="10382" y="1754"/>
                </a:cubicBezTo>
                <a:cubicBezTo>
                  <a:pt x="10457" y="1639"/>
                  <a:pt x="10966" y="1145"/>
                  <a:pt x="11010" y="1145"/>
                </a:cubicBezTo>
                <a:cubicBezTo>
                  <a:pt x="11032" y="1145"/>
                  <a:pt x="11181" y="1205"/>
                  <a:pt x="11339" y="1279"/>
                </a:cubicBezTo>
                <a:cubicBezTo>
                  <a:pt x="11612" y="1405"/>
                  <a:pt x="11640" y="1412"/>
                  <a:pt x="11867" y="1411"/>
                </a:cubicBezTo>
                <a:cubicBezTo>
                  <a:pt x="12151" y="1410"/>
                  <a:pt x="12260" y="1370"/>
                  <a:pt x="12447" y="1198"/>
                </a:cubicBezTo>
                <a:cubicBezTo>
                  <a:pt x="12625" y="1034"/>
                  <a:pt x="12710" y="852"/>
                  <a:pt x="12774" y="500"/>
                </a:cubicBezTo>
                <a:cubicBezTo>
                  <a:pt x="12803" y="337"/>
                  <a:pt x="12843" y="193"/>
                  <a:pt x="12862" y="181"/>
                </a:cubicBezTo>
                <a:cubicBezTo>
                  <a:pt x="12981" y="107"/>
                  <a:pt x="13718" y="0"/>
                  <a:pt x="13777" y="48"/>
                </a:cubicBezTo>
                <a:cubicBezTo>
                  <a:pt x="13798" y="66"/>
                  <a:pt x="13868" y="177"/>
                  <a:pt x="13933" y="295"/>
                </a:cubicBezTo>
                <a:cubicBezTo>
                  <a:pt x="14171" y="726"/>
                  <a:pt x="14451" y="931"/>
                  <a:pt x="14801" y="931"/>
                </a:cubicBezTo>
                <a:cubicBezTo>
                  <a:pt x="15067" y="931"/>
                  <a:pt x="15287" y="822"/>
                  <a:pt x="15586" y="540"/>
                </a:cubicBezTo>
                <a:cubicBezTo>
                  <a:pt x="15819" y="321"/>
                  <a:pt x="15819" y="321"/>
                  <a:pt x="15911" y="357"/>
                </a:cubicBezTo>
                <a:cubicBezTo>
                  <a:pt x="16083" y="425"/>
                  <a:pt x="16538" y="659"/>
                  <a:pt x="16605" y="713"/>
                </a:cubicBezTo>
                <a:cubicBezTo>
                  <a:pt x="16671" y="767"/>
                  <a:pt x="16672" y="772"/>
                  <a:pt x="16640" y="1003"/>
                </a:cubicBezTo>
                <a:cubicBezTo>
                  <a:pt x="16571" y="1520"/>
                  <a:pt x="16627" y="1760"/>
                  <a:pt x="16875" y="2008"/>
                </a:cubicBezTo>
                <a:cubicBezTo>
                  <a:pt x="17112" y="2245"/>
                  <a:pt x="17439" y="2312"/>
                  <a:pt x="17915" y="2220"/>
                </a:cubicBezTo>
                <a:cubicBezTo>
                  <a:pt x="18089" y="2186"/>
                  <a:pt x="18112" y="2187"/>
                  <a:pt x="18161" y="2232"/>
                </a:cubicBezTo>
                <a:cubicBezTo>
                  <a:pt x="18232" y="2296"/>
                  <a:pt x="18556" y="2937"/>
                  <a:pt x="18556" y="3013"/>
                </a:cubicBezTo>
                <a:cubicBezTo>
                  <a:pt x="18556" y="3048"/>
                  <a:pt x="18475" y="3158"/>
                  <a:pt x="18359" y="3279"/>
                </a:cubicBezTo>
                <a:cubicBezTo>
                  <a:pt x="18251" y="3393"/>
                  <a:pt x="18128" y="3553"/>
                  <a:pt x="18085" y="3635"/>
                </a:cubicBezTo>
                <a:cubicBezTo>
                  <a:pt x="18016" y="3766"/>
                  <a:pt x="18006" y="3815"/>
                  <a:pt x="18006" y="4038"/>
                </a:cubicBezTo>
                <a:cubicBezTo>
                  <a:pt x="18006" y="4250"/>
                  <a:pt x="18017" y="4313"/>
                  <a:pt x="18072" y="4416"/>
                </a:cubicBezTo>
                <a:cubicBezTo>
                  <a:pt x="18170" y="4601"/>
                  <a:pt x="18348" y="4755"/>
                  <a:pt x="18644" y="4914"/>
                </a:cubicBezTo>
                <a:lnTo>
                  <a:pt x="18909" y="5056"/>
                </a:lnTo>
                <a:lnTo>
                  <a:pt x="18903" y="5239"/>
                </a:lnTo>
                <a:cubicBezTo>
                  <a:pt x="18894" y="5490"/>
                  <a:pt x="18809" y="5965"/>
                  <a:pt x="18767" y="6001"/>
                </a:cubicBezTo>
                <a:cubicBezTo>
                  <a:pt x="18747" y="6017"/>
                  <a:pt x="18619" y="6049"/>
                  <a:pt x="18482" y="6073"/>
                </a:cubicBezTo>
                <a:cubicBezTo>
                  <a:pt x="18047" y="6148"/>
                  <a:pt x="17778" y="6317"/>
                  <a:pt x="17641" y="6602"/>
                </a:cubicBezTo>
                <a:cubicBezTo>
                  <a:pt x="17498" y="6901"/>
                  <a:pt x="17523" y="7152"/>
                  <a:pt x="17737" y="7578"/>
                </a:cubicBezTo>
                <a:cubicBezTo>
                  <a:pt x="17799" y="7703"/>
                  <a:pt x="17851" y="7825"/>
                  <a:pt x="17851" y="7849"/>
                </a:cubicBezTo>
                <a:cubicBezTo>
                  <a:pt x="17851" y="7894"/>
                  <a:pt x="17312" y="8468"/>
                  <a:pt x="17226" y="8513"/>
                </a:cubicBezTo>
                <a:cubicBezTo>
                  <a:pt x="17194" y="8530"/>
                  <a:pt x="17109" y="8503"/>
                  <a:pt x="16944" y="8423"/>
                </a:cubicBezTo>
                <a:cubicBezTo>
                  <a:pt x="16491" y="8203"/>
                  <a:pt x="16158" y="8189"/>
                  <a:pt x="15867" y="8375"/>
                </a:cubicBezTo>
                <a:cubicBezTo>
                  <a:pt x="15618" y="8535"/>
                  <a:pt x="15485" y="8786"/>
                  <a:pt x="15422" y="9214"/>
                </a:cubicBezTo>
                <a:cubicBezTo>
                  <a:pt x="15395" y="9399"/>
                  <a:pt x="15376" y="9454"/>
                  <a:pt x="15327" y="9486"/>
                </a:cubicBezTo>
                <a:cubicBezTo>
                  <a:pt x="15263" y="9528"/>
                  <a:pt x="14667" y="9640"/>
                  <a:pt x="14508" y="9640"/>
                </a:cubicBezTo>
                <a:cubicBezTo>
                  <a:pt x="14422" y="9640"/>
                  <a:pt x="14409" y="9626"/>
                  <a:pt x="14278" y="9383"/>
                </a:cubicBezTo>
                <a:close/>
                <a:moveTo>
                  <a:pt x="14831" y="7283"/>
                </a:moveTo>
                <a:cubicBezTo>
                  <a:pt x="15713" y="7003"/>
                  <a:pt x="16329" y="6369"/>
                  <a:pt x="16586" y="5475"/>
                </a:cubicBezTo>
                <a:cubicBezTo>
                  <a:pt x="16641" y="5284"/>
                  <a:pt x="16650" y="5188"/>
                  <a:pt x="16649" y="4814"/>
                </a:cubicBezTo>
                <a:cubicBezTo>
                  <a:pt x="16648" y="4339"/>
                  <a:pt x="16623" y="4203"/>
                  <a:pt x="16468" y="3828"/>
                </a:cubicBezTo>
                <a:cubicBezTo>
                  <a:pt x="16301" y="3422"/>
                  <a:pt x="15961" y="2998"/>
                  <a:pt x="15582" y="2721"/>
                </a:cubicBezTo>
                <a:cubicBezTo>
                  <a:pt x="15416" y="2600"/>
                  <a:pt x="15073" y="2431"/>
                  <a:pt x="14859" y="2366"/>
                </a:cubicBezTo>
                <a:cubicBezTo>
                  <a:pt x="13949" y="2089"/>
                  <a:pt x="12954" y="2336"/>
                  <a:pt x="12289" y="3005"/>
                </a:cubicBezTo>
                <a:cubicBezTo>
                  <a:pt x="11187" y="4113"/>
                  <a:pt x="11306" y="5897"/>
                  <a:pt x="12547" y="6861"/>
                </a:cubicBezTo>
                <a:cubicBezTo>
                  <a:pt x="12840" y="7088"/>
                  <a:pt x="13196" y="7252"/>
                  <a:pt x="13589" y="7341"/>
                </a:cubicBezTo>
                <a:cubicBezTo>
                  <a:pt x="13720" y="7370"/>
                  <a:pt x="13889" y="7379"/>
                  <a:pt x="14182" y="7370"/>
                </a:cubicBezTo>
                <a:cubicBezTo>
                  <a:pt x="14528" y="7361"/>
                  <a:pt x="14628" y="7347"/>
                  <a:pt x="14831" y="7283"/>
                </a:cubicBezTo>
                <a:close/>
              </a:path>
            </a:pathLst>
          </a:custGeom>
          <a:solidFill>
            <a:schemeClr val="accent3"/>
          </a:solidFill>
          <a:ln w="0">
            <a:noFill/>
            <a:prstDash val="solid"/>
            <a:round/>
            <a:headEnd/>
            <a:tailEnd/>
          </a:ln>
          <a:effectLst/>
        </p:spPr>
        <p:txBody>
          <a:bodyPr vert="horz" wrap="square" lIns="91440" tIns="45720" rIns="91440" bIns="45720" numCol="1" anchor="ctr" anchorCtr="0" compatLnSpc="1">
            <a:prstTxWarp prst="textNoShape">
              <a:avLst/>
            </a:prstTxWarp>
          </a:bodyPr>
          <a:lstStyle/>
          <a:p>
            <a:endParaRPr lang="en-US" sz="1200" b="1" dirty="0">
              <a:solidFill>
                <a:srgbClr val="808080"/>
              </a:solidFill>
              <a:latin typeface="+mn-lt"/>
            </a:endParaRPr>
          </a:p>
        </p:txBody>
      </p:sp>
      <p:sp>
        <p:nvSpPr>
          <p:cNvPr id="41" name="Freeform 58">
            <a:extLst>
              <a:ext uri="{FF2B5EF4-FFF2-40B4-BE49-F238E27FC236}">
                <a16:creationId xmlns:a16="http://schemas.microsoft.com/office/drawing/2014/main" id="{ED9FF691-C6D4-4459-9398-7012857302C0}"/>
              </a:ext>
            </a:extLst>
          </p:cNvPr>
          <p:cNvSpPr>
            <a:spLocks noEditPoints="1"/>
          </p:cNvSpPr>
          <p:nvPr/>
        </p:nvSpPr>
        <p:spPr bwMode="auto">
          <a:xfrm>
            <a:off x="463793" y="854146"/>
            <a:ext cx="133691" cy="104325"/>
          </a:xfrm>
          <a:custGeom>
            <a:avLst/>
            <a:gdLst>
              <a:gd name="T0" fmla="*/ 0 w 173"/>
              <a:gd name="T1" fmla="*/ 135 h 135"/>
              <a:gd name="T2" fmla="*/ 59 w 173"/>
              <a:gd name="T3" fmla="*/ 135 h 135"/>
              <a:gd name="T4" fmla="*/ 71 w 173"/>
              <a:gd name="T5" fmla="*/ 107 h 135"/>
              <a:gd name="T6" fmla="*/ 0 w 173"/>
              <a:gd name="T7" fmla="*/ 107 h 135"/>
              <a:gd name="T8" fmla="*/ 0 w 173"/>
              <a:gd name="T9" fmla="*/ 135 h 135"/>
              <a:gd name="T10" fmla="*/ 0 w 173"/>
              <a:gd name="T11" fmla="*/ 81 h 135"/>
              <a:gd name="T12" fmla="*/ 92 w 173"/>
              <a:gd name="T13" fmla="*/ 81 h 135"/>
              <a:gd name="T14" fmla="*/ 118 w 173"/>
              <a:gd name="T15" fmla="*/ 55 h 135"/>
              <a:gd name="T16" fmla="*/ 0 w 173"/>
              <a:gd name="T17" fmla="*/ 55 h 135"/>
              <a:gd name="T18" fmla="*/ 0 w 173"/>
              <a:gd name="T19" fmla="*/ 81 h 135"/>
              <a:gd name="T20" fmla="*/ 0 w 173"/>
              <a:gd name="T21" fmla="*/ 0 h 135"/>
              <a:gd name="T22" fmla="*/ 0 w 173"/>
              <a:gd name="T23" fmla="*/ 29 h 135"/>
              <a:gd name="T24" fmla="*/ 147 w 173"/>
              <a:gd name="T25" fmla="*/ 29 h 135"/>
              <a:gd name="T26" fmla="*/ 173 w 173"/>
              <a:gd name="T27" fmla="*/ 0 h 135"/>
              <a:gd name="T28" fmla="*/ 0 w 173"/>
              <a:gd name="T29" fmla="*/ 0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73" h="135">
                <a:moveTo>
                  <a:pt x="0" y="135"/>
                </a:moveTo>
                <a:lnTo>
                  <a:pt x="59" y="135"/>
                </a:lnTo>
                <a:lnTo>
                  <a:pt x="71" y="107"/>
                </a:lnTo>
                <a:lnTo>
                  <a:pt x="0" y="107"/>
                </a:lnTo>
                <a:lnTo>
                  <a:pt x="0" y="135"/>
                </a:lnTo>
                <a:close/>
                <a:moveTo>
                  <a:pt x="0" y="81"/>
                </a:moveTo>
                <a:lnTo>
                  <a:pt x="92" y="81"/>
                </a:lnTo>
                <a:lnTo>
                  <a:pt x="118" y="55"/>
                </a:lnTo>
                <a:lnTo>
                  <a:pt x="0" y="55"/>
                </a:lnTo>
                <a:lnTo>
                  <a:pt x="0" y="81"/>
                </a:lnTo>
                <a:close/>
                <a:moveTo>
                  <a:pt x="0" y="0"/>
                </a:moveTo>
                <a:lnTo>
                  <a:pt x="0" y="29"/>
                </a:lnTo>
                <a:lnTo>
                  <a:pt x="147" y="29"/>
                </a:lnTo>
                <a:lnTo>
                  <a:pt x="173" y="0"/>
                </a:lnTo>
                <a:lnTo>
                  <a:pt x="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auto">
              <a:spcBef>
                <a:spcPts val="0"/>
              </a:spcBef>
              <a:spcAft>
                <a:spcPts val="0"/>
              </a:spcAft>
              <a:defRPr/>
            </a:pPr>
            <a:endParaRPr lang="en-US" sz="1200" b="1" kern="0" dirty="0">
              <a:solidFill>
                <a:srgbClr val="002960"/>
              </a:solidFill>
              <a:latin typeface="+mn-lt"/>
            </a:endParaRPr>
          </a:p>
        </p:txBody>
      </p:sp>
      <p:sp>
        <p:nvSpPr>
          <p:cNvPr id="42" name="Freeform 59">
            <a:extLst>
              <a:ext uri="{FF2B5EF4-FFF2-40B4-BE49-F238E27FC236}">
                <a16:creationId xmlns:a16="http://schemas.microsoft.com/office/drawing/2014/main" id="{5C108C9B-4BC9-4EA1-B9F8-07FF0E060E71}"/>
              </a:ext>
            </a:extLst>
          </p:cNvPr>
          <p:cNvSpPr>
            <a:spLocks noEditPoints="1"/>
          </p:cNvSpPr>
          <p:nvPr/>
        </p:nvSpPr>
        <p:spPr bwMode="auto">
          <a:xfrm>
            <a:off x="412789" y="741321"/>
            <a:ext cx="332295" cy="329976"/>
          </a:xfrm>
          <a:custGeom>
            <a:avLst/>
            <a:gdLst>
              <a:gd name="T0" fmla="*/ 135 w 182"/>
              <a:gd name="T1" fmla="*/ 169 h 181"/>
              <a:gd name="T2" fmla="*/ 11 w 182"/>
              <a:gd name="T3" fmla="*/ 169 h 181"/>
              <a:gd name="T4" fmla="*/ 11 w 182"/>
              <a:gd name="T5" fmla="*/ 56 h 181"/>
              <a:gd name="T6" fmla="*/ 17 w 182"/>
              <a:gd name="T7" fmla="*/ 48 h 181"/>
              <a:gd name="T8" fmla="*/ 28 w 182"/>
              <a:gd name="T9" fmla="*/ 48 h 181"/>
              <a:gd name="T10" fmla="*/ 43 w 182"/>
              <a:gd name="T11" fmla="*/ 43 h 181"/>
              <a:gd name="T12" fmla="*/ 48 w 182"/>
              <a:gd name="T13" fmla="*/ 28 h 181"/>
              <a:gd name="T14" fmla="*/ 48 w 182"/>
              <a:gd name="T15" fmla="*/ 17 h 181"/>
              <a:gd name="T16" fmla="*/ 55 w 182"/>
              <a:gd name="T17" fmla="*/ 11 h 181"/>
              <a:gd name="T18" fmla="*/ 135 w 182"/>
              <a:gd name="T19" fmla="*/ 11 h 181"/>
              <a:gd name="T20" fmla="*/ 135 w 182"/>
              <a:gd name="T21" fmla="*/ 28 h 181"/>
              <a:gd name="T22" fmla="*/ 146 w 182"/>
              <a:gd name="T23" fmla="*/ 17 h 181"/>
              <a:gd name="T24" fmla="*/ 146 w 182"/>
              <a:gd name="T25" fmla="*/ 11 h 181"/>
              <a:gd name="T26" fmla="*/ 143 w 182"/>
              <a:gd name="T27" fmla="*/ 3 h 181"/>
              <a:gd name="T28" fmla="*/ 135 w 182"/>
              <a:gd name="T29" fmla="*/ 0 h 181"/>
              <a:gd name="T30" fmla="*/ 56 w 182"/>
              <a:gd name="T31" fmla="*/ 0 h 181"/>
              <a:gd name="T32" fmla="*/ 37 w 182"/>
              <a:gd name="T33" fmla="*/ 8 h 181"/>
              <a:gd name="T34" fmla="*/ 8 w 182"/>
              <a:gd name="T35" fmla="*/ 37 h 181"/>
              <a:gd name="T36" fmla="*/ 0 w 182"/>
              <a:gd name="T37" fmla="*/ 57 h 181"/>
              <a:gd name="T38" fmla="*/ 0 w 182"/>
              <a:gd name="T39" fmla="*/ 169 h 181"/>
              <a:gd name="T40" fmla="*/ 3 w 182"/>
              <a:gd name="T41" fmla="*/ 177 h 181"/>
              <a:gd name="T42" fmla="*/ 11 w 182"/>
              <a:gd name="T43" fmla="*/ 181 h 181"/>
              <a:gd name="T44" fmla="*/ 135 w 182"/>
              <a:gd name="T45" fmla="*/ 181 h 181"/>
              <a:gd name="T46" fmla="*/ 143 w 182"/>
              <a:gd name="T47" fmla="*/ 177 h 181"/>
              <a:gd name="T48" fmla="*/ 146 w 182"/>
              <a:gd name="T49" fmla="*/ 169 h 181"/>
              <a:gd name="T50" fmla="*/ 146 w 182"/>
              <a:gd name="T51" fmla="*/ 96 h 181"/>
              <a:gd name="T52" fmla="*/ 135 w 182"/>
              <a:gd name="T53" fmla="*/ 108 h 181"/>
              <a:gd name="T54" fmla="*/ 135 w 182"/>
              <a:gd name="T55" fmla="*/ 169 h 181"/>
              <a:gd name="T56" fmla="*/ 172 w 182"/>
              <a:gd name="T57" fmla="*/ 31 h 181"/>
              <a:gd name="T58" fmla="*/ 156 w 182"/>
              <a:gd name="T59" fmla="*/ 23 h 181"/>
              <a:gd name="T60" fmla="*/ 68 w 182"/>
              <a:gd name="T61" fmla="*/ 111 h 181"/>
              <a:gd name="T62" fmla="*/ 68 w 182"/>
              <a:gd name="T63" fmla="*/ 111 h 181"/>
              <a:gd name="T64" fmla="*/ 84 w 182"/>
              <a:gd name="T65" fmla="*/ 119 h 181"/>
              <a:gd name="T66" fmla="*/ 92 w 182"/>
              <a:gd name="T67" fmla="*/ 135 h 181"/>
              <a:gd name="T68" fmla="*/ 92 w 182"/>
              <a:gd name="T69" fmla="*/ 135 h 181"/>
              <a:gd name="T70" fmla="*/ 180 w 182"/>
              <a:gd name="T71" fmla="*/ 47 h 181"/>
              <a:gd name="T72" fmla="*/ 172 w 182"/>
              <a:gd name="T73" fmla="*/ 31 h 181"/>
              <a:gd name="T74" fmla="*/ 58 w 182"/>
              <a:gd name="T75" fmla="*/ 145 h 181"/>
              <a:gd name="T76" fmla="*/ 58 w 182"/>
              <a:gd name="T77" fmla="*/ 145 h 181"/>
              <a:gd name="T78" fmla="*/ 58 w 182"/>
              <a:gd name="T79" fmla="*/ 145 h 181"/>
              <a:gd name="T80" fmla="*/ 64 w 182"/>
              <a:gd name="T81" fmla="*/ 146 h 181"/>
              <a:gd name="T82" fmla="*/ 76 w 182"/>
              <a:gd name="T83" fmla="*/ 141 h 181"/>
              <a:gd name="T84" fmla="*/ 70 w 182"/>
              <a:gd name="T85" fmla="*/ 133 h 181"/>
              <a:gd name="T86" fmla="*/ 62 w 182"/>
              <a:gd name="T87" fmla="*/ 127 h 181"/>
              <a:gd name="T88" fmla="*/ 57 w 182"/>
              <a:gd name="T89" fmla="*/ 139 h 181"/>
              <a:gd name="T90" fmla="*/ 58 w 182"/>
              <a:gd name="T91" fmla="*/ 145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82" h="181">
                <a:moveTo>
                  <a:pt x="135" y="169"/>
                </a:moveTo>
                <a:cubicBezTo>
                  <a:pt x="11" y="169"/>
                  <a:pt x="11" y="169"/>
                  <a:pt x="11" y="169"/>
                </a:cubicBezTo>
                <a:cubicBezTo>
                  <a:pt x="11" y="56"/>
                  <a:pt x="11" y="56"/>
                  <a:pt x="11" y="56"/>
                </a:cubicBezTo>
                <a:cubicBezTo>
                  <a:pt x="11" y="53"/>
                  <a:pt x="14" y="48"/>
                  <a:pt x="17" y="48"/>
                </a:cubicBezTo>
                <a:cubicBezTo>
                  <a:pt x="28" y="48"/>
                  <a:pt x="28" y="48"/>
                  <a:pt x="28" y="48"/>
                </a:cubicBezTo>
                <a:cubicBezTo>
                  <a:pt x="34" y="48"/>
                  <a:pt x="39" y="48"/>
                  <a:pt x="43" y="43"/>
                </a:cubicBezTo>
                <a:cubicBezTo>
                  <a:pt x="47" y="39"/>
                  <a:pt x="48" y="34"/>
                  <a:pt x="48" y="28"/>
                </a:cubicBezTo>
                <a:cubicBezTo>
                  <a:pt x="48" y="17"/>
                  <a:pt x="48" y="17"/>
                  <a:pt x="48" y="17"/>
                </a:cubicBezTo>
                <a:cubicBezTo>
                  <a:pt x="48" y="14"/>
                  <a:pt x="52" y="11"/>
                  <a:pt x="55" y="11"/>
                </a:cubicBezTo>
                <a:cubicBezTo>
                  <a:pt x="135" y="11"/>
                  <a:pt x="135" y="11"/>
                  <a:pt x="135" y="11"/>
                </a:cubicBezTo>
                <a:cubicBezTo>
                  <a:pt x="135" y="28"/>
                  <a:pt x="135" y="28"/>
                  <a:pt x="135" y="28"/>
                </a:cubicBezTo>
                <a:cubicBezTo>
                  <a:pt x="146" y="17"/>
                  <a:pt x="146" y="17"/>
                  <a:pt x="146" y="17"/>
                </a:cubicBezTo>
                <a:cubicBezTo>
                  <a:pt x="146" y="11"/>
                  <a:pt x="146" y="11"/>
                  <a:pt x="146" y="11"/>
                </a:cubicBezTo>
                <a:cubicBezTo>
                  <a:pt x="146" y="9"/>
                  <a:pt x="145" y="6"/>
                  <a:pt x="143" y="3"/>
                </a:cubicBezTo>
                <a:cubicBezTo>
                  <a:pt x="141" y="1"/>
                  <a:pt x="138" y="0"/>
                  <a:pt x="135" y="0"/>
                </a:cubicBezTo>
                <a:cubicBezTo>
                  <a:pt x="56" y="0"/>
                  <a:pt x="56" y="0"/>
                  <a:pt x="56" y="0"/>
                </a:cubicBezTo>
                <a:cubicBezTo>
                  <a:pt x="49" y="0"/>
                  <a:pt x="42" y="3"/>
                  <a:pt x="37" y="8"/>
                </a:cubicBezTo>
                <a:cubicBezTo>
                  <a:pt x="8" y="37"/>
                  <a:pt x="8" y="37"/>
                  <a:pt x="8" y="37"/>
                </a:cubicBezTo>
                <a:cubicBezTo>
                  <a:pt x="3" y="42"/>
                  <a:pt x="0" y="49"/>
                  <a:pt x="0" y="57"/>
                </a:cubicBezTo>
                <a:cubicBezTo>
                  <a:pt x="0" y="169"/>
                  <a:pt x="0" y="169"/>
                  <a:pt x="0" y="169"/>
                </a:cubicBezTo>
                <a:cubicBezTo>
                  <a:pt x="0" y="172"/>
                  <a:pt x="1" y="175"/>
                  <a:pt x="3" y="177"/>
                </a:cubicBezTo>
                <a:cubicBezTo>
                  <a:pt x="5" y="180"/>
                  <a:pt x="8" y="181"/>
                  <a:pt x="11" y="181"/>
                </a:cubicBezTo>
                <a:cubicBezTo>
                  <a:pt x="135" y="181"/>
                  <a:pt x="135" y="181"/>
                  <a:pt x="135" y="181"/>
                </a:cubicBezTo>
                <a:cubicBezTo>
                  <a:pt x="138" y="181"/>
                  <a:pt x="141" y="180"/>
                  <a:pt x="143" y="177"/>
                </a:cubicBezTo>
                <a:cubicBezTo>
                  <a:pt x="145" y="175"/>
                  <a:pt x="146" y="172"/>
                  <a:pt x="146" y="169"/>
                </a:cubicBezTo>
                <a:cubicBezTo>
                  <a:pt x="146" y="96"/>
                  <a:pt x="146" y="96"/>
                  <a:pt x="146" y="96"/>
                </a:cubicBezTo>
                <a:cubicBezTo>
                  <a:pt x="135" y="108"/>
                  <a:pt x="135" y="108"/>
                  <a:pt x="135" y="108"/>
                </a:cubicBezTo>
                <a:lnTo>
                  <a:pt x="135" y="169"/>
                </a:lnTo>
                <a:close/>
                <a:moveTo>
                  <a:pt x="172" y="31"/>
                </a:moveTo>
                <a:cubicBezTo>
                  <a:pt x="165" y="25"/>
                  <a:pt x="158" y="21"/>
                  <a:pt x="156" y="23"/>
                </a:cubicBezTo>
                <a:cubicBezTo>
                  <a:pt x="68" y="111"/>
                  <a:pt x="68" y="111"/>
                  <a:pt x="68" y="111"/>
                </a:cubicBezTo>
                <a:cubicBezTo>
                  <a:pt x="68" y="111"/>
                  <a:pt x="68" y="111"/>
                  <a:pt x="68" y="111"/>
                </a:cubicBezTo>
                <a:cubicBezTo>
                  <a:pt x="70" y="109"/>
                  <a:pt x="77" y="113"/>
                  <a:pt x="84" y="119"/>
                </a:cubicBezTo>
                <a:cubicBezTo>
                  <a:pt x="90" y="126"/>
                  <a:pt x="94" y="133"/>
                  <a:pt x="92" y="135"/>
                </a:cubicBezTo>
                <a:cubicBezTo>
                  <a:pt x="92" y="135"/>
                  <a:pt x="92" y="135"/>
                  <a:pt x="92" y="135"/>
                </a:cubicBezTo>
                <a:cubicBezTo>
                  <a:pt x="180" y="47"/>
                  <a:pt x="180" y="47"/>
                  <a:pt x="180" y="47"/>
                </a:cubicBezTo>
                <a:cubicBezTo>
                  <a:pt x="182" y="45"/>
                  <a:pt x="178" y="38"/>
                  <a:pt x="172" y="31"/>
                </a:cubicBezTo>
                <a:close/>
                <a:moveTo>
                  <a:pt x="58" y="145"/>
                </a:moveTo>
                <a:cubicBezTo>
                  <a:pt x="58" y="145"/>
                  <a:pt x="58" y="145"/>
                  <a:pt x="58" y="145"/>
                </a:cubicBezTo>
                <a:cubicBezTo>
                  <a:pt x="58" y="145"/>
                  <a:pt x="58" y="145"/>
                  <a:pt x="58" y="145"/>
                </a:cubicBezTo>
                <a:cubicBezTo>
                  <a:pt x="59" y="146"/>
                  <a:pt x="62" y="147"/>
                  <a:pt x="64" y="146"/>
                </a:cubicBezTo>
                <a:cubicBezTo>
                  <a:pt x="76" y="141"/>
                  <a:pt x="76" y="141"/>
                  <a:pt x="76" y="141"/>
                </a:cubicBezTo>
                <a:cubicBezTo>
                  <a:pt x="75" y="139"/>
                  <a:pt x="73" y="136"/>
                  <a:pt x="70" y="133"/>
                </a:cubicBezTo>
                <a:cubicBezTo>
                  <a:pt x="67" y="130"/>
                  <a:pt x="64" y="128"/>
                  <a:pt x="62" y="127"/>
                </a:cubicBezTo>
                <a:cubicBezTo>
                  <a:pt x="57" y="139"/>
                  <a:pt x="57" y="139"/>
                  <a:pt x="57" y="139"/>
                </a:cubicBezTo>
                <a:cubicBezTo>
                  <a:pt x="56" y="141"/>
                  <a:pt x="57" y="144"/>
                  <a:pt x="58" y="145"/>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auto">
              <a:spcBef>
                <a:spcPts val="0"/>
              </a:spcBef>
              <a:spcAft>
                <a:spcPts val="0"/>
              </a:spcAft>
              <a:defRPr/>
            </a:pPr>
            <a:endParaRPr lang="en-US" sz="1200" b="1" kern="0" dirty="0">
              <a:solidFill>
                <a:srgbClr val="002960"/>
              </a:solidFill>
              <a:latin typeface="+mn-lt"/>
            </a:endParaRPr>
          </a:p>
        </p:txBody>
      </p:sp>
      <p:sp>
        <p:nvSpPr>
          <p:cNvPr id="43" name="Rectangle 5">
            <a:extLst>
              <a:ext uri="{FF2B5EF4-FFF2-40B4-BE49-F238E27FC236}">
                <a16:creationId xmlns:a16="http://schemas.microsoft.com/office/drawing/2014/main" id="{C3D71C39-A928-4C2C-8794-1DF6C0D9AA87}"/>
              </a:ext>
            </a:extLst>
          </p:cNvPr>
          <p:cNvSpPr>
            <a:spLocks noChangeArrowheads="1"/>
          </p:cNvSpPr>
          <p:nvPr/>
        </p:nvSpPr>
        <p:spPr bwMode="gray">
          <a:xfrm>
            <a:off x="3180424" y="1192082"/>
            <a:ext cx="2600593" cy="4939814"/>
          </a:xfrm>
          <a:prstGeom prst="rect">
            <a:avLst/>
          </a:prstGeom>
          <a:noFill/>
          <a:ln w="19050">
            <a:noFill/>
            <a:miter lim="800000"/>
            <a:headEnd/>
            <a:tailEnd/>
          </a:ln>
        </p:spPr>
        <p:txBody>
          <a:bodyPr lIns="0" tIns="0" rIns="0" bIns="0">
            <a:spAutoFit/>
          </a:bodyPr>
          <a:lstStyle/>
          <a:p>
            <a:pPr marL="0" lvl="1" defTabSz="895350" eaLnBrk="0" hangingPunct="0">
              <a:spcBef>
                <a:spcPct val="25000"/>
              </a:spcBef>
              <a:buClr>
                <a:srgbClr val="002960"/>
              </a:buClr>
              <a:buSzPct val="125000"/>
              <a:defRPr/>
            </a:pPr>
            <a:r>
              <a:rPr lang="en-US" sz="1200" b="1" dirty="0">
                <a:solidFill>
                  <a:srgbClr val="0066CC"/>
                </a:solidFill>
                <a:latin typeface="+mn-lt"/>
                <a:ea typeface="Arial Unicode MS"/>
                <a:cs typeface="Arial Unicode MS"/>
              </a:rPr>
              <a:t>Phased approach to integration</a:t>
            </a:r>
          </a:p>
          <a:p>
            <a:pPr marL="1587" lvl="1" defTabSz="895350" eaLnBrk="0" hangingPunct="0">
              <a:spcBef>
                <a:spcPct val="25000"/>
              </a:spcBef>
              <a:buClr>
                <a:srgbClr val="002960"/>
              </a:buClr>
              <a:buSzPct val="125000"/>
              <a:defRPr/>
            </a:pPr>
            <a:r>
              <a:rPr lang="en-US" sz="1200" dirty="0">
                <a:solidFill>
                  <a:srgbClr val="000000"/>
                </a:solidFill>
                <a:latin typeface="+mn-lt"/>
              </a:rPr>
              <a:t>Integration planning and execution consisted of different elements ranging from I</a:t>
            </a:r>
            <a:r>
              <a:rPr lang="en-US" sz="1200" b="1" dirty="0">
                <a:solidFill>
                  <a:schemeClr val="accent3"/>
                </a:solidFill>
                <a:latin typeface="+mn-lt"/>
              </a:rPr>
              <a:t>ntegration Management Office (IMO) support </a:t>
            </a:r>
            <a:r>
              <a:rPr lang="en-US" sz="1200" dirty="0">
                <a:solidFill>
                  <a:srgbClr val="000000"/>
                </a:solidFill>
                <a:latin typeface="+mn-lt"/>
              </a:rPr>
              <a:t>to </a:t>
            </a:r>
            <a:r>
              <a:rPr lang="en-US" sz="1200" b="1" dirty="0">
                <a:solidFill>
                  <a:schemeClr val="accent3"/>
                </a:solidFill>
                <a:latin typeface="+mn-lt"/>
              </a:rPr>
              <a:t>organizational design:</a:t>
            </a:r>
          </a:p>
          <a:p>
            <a:pPr marL="193675" lvl="1" indent="-192088" defTabSz="895350" eaLnBrk="0" hangingPunct="0">
              <a:spcBef>
                <a:spcPct val="25000"/>
              </a:spcBef>
              <a:buClr>
                <a:srgbClr val="002960"/>
              </a:buClr>
              <a:buSzPct val="125000"/>
              <a:buFont typeface="Arial" charset="0"/>
              <a:buChar char="▪"/>
              <a:defRPr/>
            </a:pPr>
            <a:r>
              <a:rPr lang="en-US" sz="1200" b="1" dirty="0">
                <a:solidFill>
                  <a:srgbClr val="0066CC"/>
                </a:solidFill>
                <a:latin typeface="+mn-lt"/>
              </a:rPr>
              <a:t>Support the IMO </a:t>
            </a:r>
            <a:r>
              <a:rPr lang="en-US" sz="1200" dirty="0">
                <a:latin typeface="+mn-lt"/>
              </a:rPr>
              <a:t>from announcement </a:t>
            </a:r>
            <a:r>
              <a:rPr lang="en-US" sz="1200" dirty="0" err="1">
                <a:latin typeface="+mn-lt"/>
              </a:rPr>
              <a:t>to day</a:t>
            </a:r>
            <a:r>
              <a:rPr lang="en-US" sz="1200" dirty="0">
                <a:latin typeface="+mn-lt"/>
              </a:rPr>
              <a:t> 100 by providing guidance and coordinating the efforts of the integration teams</a:t>
            </a:r>
            <a:endParaRPr lang="en-US" sz="1200" b="1" dirty="0">
              <a:latin typeface="+mn-lt"/>
            </a:endParaRPr>
          </a:p>
          <a:p>
            <a:pPr marL="193675" lvl="1" indent="-192088" defTabSz="895350" eaLnBrk="0" hangingPunct="0">
              <a:spcBef>
                <a:spcPct val="25000"/>
              </a:spcBef>
              <a:buClr>
                <a:srgbClr val="002960"/>
              </a:buClr>
              <a:buSzPct val="125000"/>
              <a:buFont typeface="Arial" charset="0"/>
              <a:buChar char="▪"/>
              <a:defRPr/>
            </a:pPr>
            <a:r>
              <a:rPr lang="en-US" sz="1200" b="1" dirty="0">
                <a:solidFill>
                  <a:schemeClr val="accent3"/>
                </a:solidFill>
                <a:latin typeface="+mn-lt"/>
              </a:rPr>
              <a:t>Give visibility to benefit tracking </a:t>
            </a:r>
            <a:r>
              <a:rPr lang="en-US" sz="1200" dirty="0">
                <a:latin typeface="+mn-lt"/>
              </a:rPr>
              <a:t>and</a:t>
            </a:r>
            <a:r>
              <a:rPr lang="en-US" sz="1200" b="1" dirty="0">
                <a:solidFill>
                  <a:schemeClr val="accent3"/>
                </a:solidFill>
                <a:latin typeface="+mn-lt"/>
              </a:rPr>
              <a:t> risk mitigation </a:t>
            </a:r>
            <a:r>
              <a:rPr lang="en-US" sz="1200" dirty="0">
                <a:latin typeface="+mn-lt"/>
              </a:rPr>
              <a:t>by developing reporting tools and dashboards and defining risk prioritization</a:t>
            </a:r>
          </a:p>
          <a:p>
            <a:pPr marL="193675" lvl="1" indent="-192088" defTabSz="895350" eaLnBrk="0" hangingPunct="0">
              <a:spcBef>
                <a:spcPct val="25000"/>
              </a:spcBef>
              <a:buClr>
                <a:srgbClr val="002960"/>
              </a:buClr>
              <a:buSzPct val="125000"/>
              <a:buFont typeface="Arial" charset="0"/>
              <a:buChar char="▪"/>
              <a:defRPr/>
            </a:pPr>
            <a:r>
              <a:rPr lang="en-US" sz="1200" b="1" dirty="0">
                <a:solidFill>
                  <a:srgbClr val="0563BB"/>
                </a:solidFill>
                <a:latin typeface="+mn-lt"/>
              </a:rPr>
              <a:t>Equip HR to support synergy capture </a:t>
            </a:r>
            <a:r>
              <a:rPr lang="en-US" sz="1200" dirty="0">
                <a:latin typeface="+mn-lt"/>
              </a:rPr>
              <a:t>by developing </a:t>
            </a:r>
            <a:r>
              <a:rPr lang="en-US" sz="1200" dirty="0" err="1">
                <a:latin typeface="+mn-lt"/>
              </a:rPr>
              <a:t>SG&amp;A</a:t>
            </a:r>
            <a:r>
              <a:rPr lang="en-US" sz="1200" dirty="0">
                <a:latin typeface="+mn-lt"/>
              </a:rPr>
              <a:t> data base and putting in place headcount tracking systems</a:t>
            </a:r>
          </a:p>
          <a:p>
            <a:pPr marL="193675" lvl="1" indent="-192088" defTabSz="895350" eaLnBrk="0" hangingPunct="0">
              <a:spcBef>
                <a:spcPct val="25000"/>
              </a:spcBef>
              <a:buClr>
                <a:srgbClr val="002960"/>
              </a:buClr>
              <a:buSzPct val="125000"/>
              <a:buFont typeface="Arial" charset="0"/>
              <a:buChar char="▪"/>
              <a:defRPr/>
            </a:pPr>
            <a:r>
              <a:rPr lang="en-US" sz="1200" dirty="0">
                <a:latin typeface="+mn-lt"/>
              </a:rPr>
              <a:t>Support </a:t>
            </a:r>
            <a:r>
              <a:rPr lang="en-US" sz="1200" b="1" dirty="0">
                <a:solidFill>
                  <a:srgbClr val="0563BB"/>
                </a:solidFill>
                <a:latin typeface="+mn-lt"/>
              </a:rPr>
              <a:t>the governance of the integration</a:t>
            </a:r>
          </a:p>
          <a:p>
            <a:pPr marL="193675" lvl="1" indent="-192088" defTabSz="895350" eaLnBrk="0" hangingPunct="0">
              <a:spcBef>
                <a:spcPct val="25000"/>
              </a:spcBef>
              <a:buClr>
                <a:srgbClr val="002960"/>
              </a:buClr>
              <a:buSzPct val="125000"/>
              <a:buFont typeface="Arial" charset="0"/>
              <a:buChar char="▪"/>
              <a:defRPr/>
            </a:pPr>
            <a:r>
              <a:rPr lang="en-US" sz="1200" dirty="0">
                <a:latin typeface="+mn-lt"/>
              </a:rPr>
              <a:t>Provide direct support </a:t>
            </a:r>
            <a:r>
              <a:rPr lang="en-US" sz="1200" b="1" dirty="0">
                <a:solidFill>
                  <a:srgbClr val="0563BB"/>
                </a:solidFill>
                <a:latin typeface="+mn-lt"/>
              </a:rPr>
              <a:t>in high impact areas</a:t>
            </a:r>
          </a:p>
          <a:p>
            <a:pPr marL="193675" lvl="1" indent="-192088" defTabSz="895350" eaLnBrk="0" hangingPunct="0">
              <a:spcBef>
                <a:spcPct val="25000"/>
              </a:spcBef>
              <a:buClr>
                <a:srgbClr val="002960"/>
              </a:buClr>
              <a:buSzPct val="125000"/>
              <a:buFont typeface="Arial" charset="0"/>
              <a:buChar char="▪"/>
              <a:defRPr/>
            </a:pPr>
            <a:r>
              <a:rPr lang="en-US" sz="1200" dirty="0">
                <a:latin typeface="+mn-lt"/>
              </a:rPr>
              <a:t>Ensure </a:t>
            </a:r>
            <a:r>
              <a:rPr lang="en-US" sz="1200" b="1" dirty="0">
                <a:solidFill>
                  <a:srgbClr val="0563BB"/>
                </a:solidFill>
                <a:latin typeface="+mn-lt"/>
              </a:rPr>
              <a:t>rigor</a:t>
            </a:r>
            <a:r>
              <a:rPr lang="en-US" sz="1200" dirty="0">
                <a:latin typeface="+mn-lt"/>
              </a:rPr>
              <a:t> and </a:t>
            </a:r>
            <a:r>
              <a:rPr lang="en-US" sz="1200" b="1" dirty="0">
                <a:solidFill>
                  <a:srgbClr val="0563BB"/>
                </a:solidFill>
                <a:latin typeface="+mn-lt"/>
              </a:rPr>
              <a:t>coordination</a:t>
            </a:r>
            <a:r>
              <a:rPr lang="en-US" sz="1200" dirty="0">
                <a:latin typeface="+mn-lt"/>
              </a:rPr>
              <a:t> of </a:t>
            </a:r>
            <a:r>
              <a:rPr lang="en-US" sz="1200" b="1" dirty="0">
                <a:solidFill>
                  <a:srgbClr val="0563BB"/>
                </a:solidFill>
                <a:latin typeface="+mn-lt"/>
              </a:rPr>
              <a:t>the communications efforts</a:t>
            </a:r>
          </a:p>
        </p:txBody>
      </p:sp>
      <p:sp>
        <p:nvSpPr>
          <p:cNvPr id="44" name="Rectangle 6">
            <a:extLst>
              <a:ext uri="{FF2B5EF4-FFF2-40B4-BE49-F238E27FC236}">
                <a16:creationId xmlns:a16="http://schemas.microsoft.com/office/drawing/2014/main" id="{29D379D6-0913-4923-93BB-47BB339F7F3C}"/>
              </a:ext>
            </a:extLst>
          </p:cNvPr>
          <p:cNvSpPr>
            <a:spLocks noChangeArrowheads="1"/>
          </p:cNvSpPr>
          <p:nvPr/>
        </p:nvSpPr>
        <p:spPr bwMode="gray">
          <a:xfrm>
            <a:off x="383968" y="1192082"/>
            <a:ext cx="2626599" cy="4062651"/>
          </a:xfrm>
          <a:prstGeom prst="rect">
            <a:avLst/>
          </a:prstGeom>
          <a:noFill/>
          <a:ln w="19050">
            <a:noFill/>
            <a:miter lim="800000"/>
            <a:headEnd/>
            <a:tailEnd/>
          </a:ln>
        </p:spPr>
        <p:txBody>
          <a:bodyPr lIns="0" tIns="0" rIns="0" bIns="0">
            <a:spAutoFit/>
          </a:bodyPr>
          <a:lstStyle/>
          <a:p>
            <a:pPr marL="193675" lvl="1" indent="-192088" defTabSz="895350" eaLnBrk="0" hangingPunct="0">
              <a:spcBef>
                <a:spcPct val="25000"/>
              </a:spcBef>
              <a:buClr>
                <a:srgbClr val="002960"/>
              </a:buClr>
              <a:buSzPct val="125000"/>
              <a:defRPr/>
            </a:pPr>
            <a:r>
              <a:rPr lang="en-US" sz="1200" b="1" dirty="0">
                <a:solidFill>
                  <a:srgbClr val="0066CC"/>
                </a:solidFill>
                <a:latin typeface="+mn-lt"/>
              </a:rPr>
              <a:t>Context</a:t>
            </a:r>
            <a:endParaRPr lang="en-US" sz="1200" b="1" dirty="0">
              <a:solidFill>
                <a:srgbClr val="0066CC"/>
              </a:solidFill>
              <a:latin typeface="+mn-lt"/>
              <a:ea typeface="Arial Unicode MS" pitchFamily="34" charset="-128"/>
              <a:cs typeface="Arial Unicode MS" pitchFamily="34" charset="-128"/>
            </a:endParaRPr>
          </a:p>
          <a:p>
            <a:pPr marL="193675" lvl="1" indent="-192088" defTabSz="895350" eaLnBrk="0" hangingPunct="0">
              <a:spcBef>
                <a:spcPct val="25000"/>
              </a:spcBef>
              <a:buClr>
                <a:srgbClr val="002960"/>
              </a:buClr>
              <a:buSzPct val="125000"/>
              <a:buFont typeface="Arial" charset="0"/>
              <a:buChar char="▪"/>
              <a:defRPr/>
            </a:pPr>
            <a:r>
              <a:rPr lang="en-US" sz="1200" dirty="0">
                <a:solidFill>
                  <a:srgbClr val="000000"/>
                </a:solidFill>
                <a:latin typeface="+mn-lt"/>
              </a:rPr>
              <a:t>Merger of two well-known mining companies to become a leading metal producer company</a:t>
            </a:r>
          </a:p>
          <a:p>
            <a:pPr marL="1587" lvl="1" defTabSz="895350" eaLnBrk="0" hangingPunct="0">
              <a:spcBef>
                <a:spcPct val="25000"/>
              </a:spcBef>
              <a:buClr>
                <a:srgbClr val="002960"/>
              </a:buClr>
              <a:buSzPct val="125000"/>
              <a:defRPr/>
            </a:pPr>
            <a:r>
              <a:rPr lang="en-US" sz="1200" b="1" dirty="0">
                <a:solidFill>
                  <a:srgbClr val="0066CC"/>
                </a:solidFill>
                <a:latin typeface="+mn-lt"/>
              </a:rPr>
              <a:t>Challenges</a:t>
            </a:r>
          </a:p>
          <a:p>
            <a:pPr marL="193675" lvl="1" indent="-192088" defTabSz="895350" eaLnBrk="0" hangingPunct="0">
              <a:spcBef>
                <a:spcPct val="25000"/>
              </a:spcBef>
              <a:buClr>
                <a:srgbClr val="002960"/>
              </a:buClr>
              <a:buSzPct val="125000"/>
              <a:buFont typeface="Arial" charset="0"/>
              <a:buChar char="▪"/>
              <a:defRPr/>
            </a:pPr>
            <a:r>
              <a:rPr lang="en-US" sz="1200" b="1" dirty="0">
                <a:solidFill>
                  <a:srgbClr val="0066CC"/>
                </a:solidFill>
                <a:latin typeface="+mn-lt"/>
              </a:rPr>
              <a:t>No previous large integration, </a:t>
            </a:r>
            <a:r>
              <a:rPr lang="en-US" sz="1200" dirty="0">
                <a:solidFill>
                  <a:srgbClr val="000000"/>
                </a:solidFill>
                <a:latin typeface="+mn-lt"/>
              </a:rPr>
              <a:t>  the company last acquisition was 7 year before and represented a much lower amount of money</a:t>
            </a:r>
          </a:p>
          <a:p>
            <a:pPr marL="193675" lvl="1" indent="-192088" defTabSz="895350" eaLnBrk="0" hangingPunct="0">
              <a:spcBef>
                <a:spcPct val="25000"/>
              </a:spcBef>
              <a:buClr>
                <a:srgbClr val="002960"/>
              </a:buClr>
              <a:buSzPct val="125000"/>
              <a:buFont typeface="Arial" charset="0"/>
              <a:buChar char="▪"/>
              <a:defRPr/>
            </a:pPr>
            <a:r>
              <a:rPr lang="en-US" sz="1200" b="1" dirty="0">
                <a:solidFill>
                  <a:schemeClr val="accent3"/>
                </a:solidFill>
                <a:latin typeface="+mn-lt"/>
              </a:rPr>
              <a:t>Important stakeholders to manage</a:t>
            </a:r>
            <a:r>
              <a:rPr lang="en-US" sz="1200" dirty="0">
                <a:solidFill>
                  <a:srgbClr val="000000"/>
                </a:solidFill>
                <a:latin typeface="+mn-lt"/>
              </a:rPr>
              <a:t> such as </a:t>
            </a:r>
            <a:r>
              <a:rPr lang="en-US" sz="1200" b="1" dirty="0">
                <a:solidFill>
                  <a:schemeClr val="accent3"/>
                </a:solidFill>
                <a:latin typeface="+mn-lt"/>
              </a:rPr>
              <a:t>governments</a:t>
            </a:r>
            <a:r>
              <a:rPr lang="en-US" sz="1200" dirty="0">
                <a:solidFill>
                  <a:srgbClr val="000000"/>
                </a:solidFill>
                <a:latin typeface="+mn-lt"/>
              </a:rPr>
              <a:t> with whom they had significant </a:t>
            </a:r>
            <a:r>
              <a:rPr lang="en-US" sz="1200" b="1" dirty="0">
                <a:solidFill>
                  <a:schemeClr val="accent3"/>
                </a:solidFill>
                <a:latin typeface="+mn-lt"/>
              </a:rPr>
              <a:t>commitments</a:t>
            </a:r>
          </a:p>
          <a:p>
            <a:pPr marL="193675" lvl="1" indent="-192088" defTabSz="895350" eaLnBrk="0" hangingPunct="0">
              <a:spcBef>
                <a:spcPct val="25000"/>
              </a:spcBef>
              <a:buClr>
                <a:srgbClr val="002960"/>
              </a:buClr>
              <a:buSzPct val="125000"/>
              <a:buFont typeface="Arial" charset="0"/>
              <a:buChar char="▪"/>
              <a:defRPr/>
            </a:pPr>
            <a:r>
              <a:rPr lang="en-US" sz="1200" dirty="0">
                <a:solidFill>
                  <a:srgbClr val="000000"/>
                </a:solidFill>
                <a:latin typeface="+mn-lt"/>
              </a:rPr>
              <a:t>Ambiguous nature of the Integration: </a:t>
            </a:r>
            <a:r>
              <a:rPr lang="en-US" sz="1200" b="1" dirty="0">
                <a:solidFill>
                  <a:schemeClr val="accent3"/>
                </a:solidFill>
                <a:latin typeface="+mn-lt"/>
              </a:rPr>
              <a:t>Integration or transformation? Merger or acquisition?</a:t>
            </a:r>
          </a:p>
          <a:p>
            <a:pPr>
              <a:spcBef>
                <a:spcPct val="50000"/>
              </a:spcBef>
              <a:buClr>
                <a:srgbClr val="002960"/>
              </a:buClr>
            </a:pPr>
            <a:r>
              <a:rPr lang="en-US" sz="1200" b="1" dirty="0">
                <a:solidFill>
                  <a:srgbClr val="0066CC"/>
                </a:solidFill>
                <a:latin typeface="+mn-lt"/>
              </a:rPr>
              <a:t>Support client asked for</a:t>
            </a:r>
          </a:p>
          <a:p>
            <a:pPr marL="193675" lvl="1" indent="-192088" defTabSz="895350" eaLnBrk="0" hangingPunct="0">
              <a:spcBef>
                <a:spcPct val="25000"/>
              </a:spcBef>
              <a:buClr>
                <a:srgbClr val="002960"/>
              </a:buClr>
              <a:buSzPct val="125000"/>
              <a:buFont typeface="Arial" charset="0"/>
              <a:buChar char="▪"/>
              <a:defRPr/>
            </a:pPr>
            <a:r>
              <a:rPr lang="en-US" sz="1200" b="1" dirty="0">
                <a:solidFill>
                  <a:srgbClr val="0066CC"/>
                </a:solidFill>
                <a:latin typeface="+mn-lt"/>
              </a:rPr>
              <a:t>Continued support throughout the integration process</a:t>
            </a:r>
            <a:endParaRPr lang="en-US" sz="1200" dirty="0">
              <a:solidFill>
                <a:srgbClr val="000000"/>
              </a:solidFill>
              <a:latin typeface="+mn-lt"/>
            </a:endParaRPr>
          </a:p>
        </p:txBody>
      </p:sp>
      <p:sp>
        <p:nvSpPr>
          <p:cNvPr id="45" name="Rectangle 7">
            <a:extLst>
              <a:ext uri="{FF2B5EF4-FFF2-40B4-BE49-F238E27FC236}">
                <a16:creationId xmlns:a16="http://schemas.microsoft.com/office/drawing/2014/main" id="{82899E4E-0C65-44F2-89EF-8D5EC40592B5}"/>
              </a:ext>
            </a:extLst>
          </p:cNvPr>
          <p:cNvSpPr>
            <a:spLocks noChangeArrowheads="1"/>
          </p:cNvSpPr>
          <p:nvPr/>
        </p:nvSpPr>
        <p:spPr bwMode="gray">
          <a:xfrm>
            <a:off x="5991211" y="1192082"/>
            <a:ext cx="2545923" cy="1615827"/>
          </a:xfrm>
          <a:prstGeom prst="rect">
            <a:avLst/>
          </a:prstGeom>
          <a:noFill/>
          <a:ln w="19050">
            <a:noFill/>
            <a:miter lim="800000"/>
            <a:headEnd/>
            <a:tailEnd/>
          </a:ln>
        </p:spPr>
        <p:txBody>
          <a:bodyPr lIns="0" tIns="0" rIns="0" bIns="0">
            <a:spAutoFit/>
          </a:bodyPr>
          <a:lstStyle/>
          <a:p>
            <a:pPr marL="193675" lvl="1" indent="-192088" defTabSz="895350" eaLnBrk="0" hangingPunct="0">
              <a:spcBef>
                <a:spcPct val="25000"/>
              </a:spcBef>
              <a:buClr>
                <a:srgbClr val="002960"/>
              </a:buClr>
              <a:buSzPct val="125000"/>
              <a:buFont typeface="Arial" charset="0"/>
              <a:buChar char="▪"/>
              <a:defRPr/>
            </a:pPr>
            <a:r>
              <a:rPr lang="en-US" sz="1200" dirty="0">
                <a:solidFill>
                  <a:srgbClr val="000000"/>
                </a:solidFill>
                <a:latin typeface="+mn-lt"/>
              </a:rPr>
              <a:t>Delivered </a:t>
            </a:r>
            <a:r>
              <a:rPr lang="en-US" sz="1200" b="1" dirty="0">
                <a:solidFill>
                  <a:srgbClr val="0563BB"/>
                </a:solidFill>
                <a:latin typeface="+mn-lt"/>
              </a:rPr>
              <a:t>twice the synergy publicly announced</a:t>
            </a:r>
            <a:r>
              <a:rPr lang="en-US" sz="1200" dirty="0">
                <a:solidFill>
                  <a:srgbClr val="000000"/>
                </a:solidFill>
                <a:latin typeface="+mn-lt"/>
              </a:rPr>
              <a:t> ($0.4-0.7 </a:t>
            </a:r>
            <a:r>
              <a:rPr lang="en-US" sz="1200" dirty="0" err="1">
                <a:solidFill>
                  <a:srgbClr val="000000"/>
                </a:solidFill>
                <a:latin typeface="+mn-lt"/>
              </a:rPr>
              <a:t>bn</a:t>
            </a:r>
            <a:r>
              <a:rPr lang="en-US" sz="1200" dirty="0">
                <a:solidFill>
                  <a:srgbClr val="000000"/>
                </a:solidFill>
                <a:latin typeface="+mn-lt"/>
              </a:rPr>
              <a:t>) for a run-rate between $0.9-1.4 </a:t>
            </a:r>
            <a:r>
              <a:rPr lang="en-US" sz="1200" dirty="0" err="1">
                <a:solidFill>
                  <a:srgbClr val="000000"/>
                </a:solidFill>
                <a:latin typeface="+mn-lt"/>
              </a:rPr>
              <a:t>bn</a:t>
            </a:r>
            <a:r>
              <a:rPr lang="en-US" sz="1200" dirty="0">
                <a:solidFill>
                  <a:srgbClr val="000000"/>
                </a:solidFill>
                <a:latin typeface="+mn-lt"/>
              </a:rPr>
              <a:t> </a:t>
            </a:r>
          </a:p>
          <a:p>
            <a:pPr marL="193675" lvl="1" indent="-192088" defTabSz="895350" eaLnBrk="0" hangingPunct="0">
              <a:spcBef>
                <a:spcPct val="25000"/>
              </a:spcBef>
              <a:buClr>
                <a:srgbClr val="002960"/>
              </a:buClr>
              <a:buSzPct val="125000"/>
              <a:buFont typeface="Arial" charset="0"/>
              <a:buChar char="▪"/>
              <a:defRPr/>
            </a:pPr>
            <a:r>
              <a:rPr lang="en-US" sz="1200" dirty="0">
                <a:solidFill>
                  <a:srgbClr val="000000"/>
                </a:solidFill>
                <a:latin typeface="+mn-lt"/>
                <a:ea typeface="Arial Unicode MS"/>
                <a:cs typeface="Arial Unicode MS"/>
              </a:rPr>
              <a:t>Successfully completed </a:t>
            </a:r>
            <a:r>
              <a:rPr lang="en-US" sz="1200" b="1" dirty="0">
                <a:solidFill>
                  <a:srgbClr val="0563BB"/>
                </a:solidFill>
                <a:latin typeface="+mn-lt"/>
                <a:ea typeface="Arial Unicode MS"/>
                <a:cs typeface="Arial Unicode MS"/>
              </a:rPr>
              <a:t>headcount reduction </a:t>
            </a:r>
            <a:r>
              <a:rPr lang="en-US" sz="1200" dirty="0">
                <a:solidFill>
                  <a:srgbClr val="000000"/>
                </a:solidFill>
                <a:latin typeface="+mn-lt"/>
                <a:ea typeface="Arial Unicode MS"/>
                <a:cs typeface="Arial Unicode MS"/>
              </a:rPr>
              <a:t>of 5-10%</a:t>
            </a:r>
          </a:p>
          <a:p>
            <a:pPr marL="193675" lvl="1" indent="-192088" defTabSz="895350" eaLnBrk="0" hangingPunct="0">
              <a:spcBef>
                <a:spcPct val="25000"/>
              </a:spcBef>
              <a:buClr>
                <a:srgbClr val="002960"/>
              </a:buClr>
              <a:buSzPct val="125000"/>
              <a:buFont typeface="Arial" charset="0"/>
              <a:buChar char="▪"/>
              <a:defRPr/>
            </a:pPr>
            <a:r>
              <a:rPr lang="en-US" sz="1200" dirty="0">
                <a:solidFill>
                  <a:srgbClr val="000000"/>
                </a:solidFill>
                <a:latin typeface="+mn-lt"/>
                <a:ea typeface="Arial Unicode MS"/>
                <a:cs typeface="Arial Unicode MS"/>
              </a:rPr>
              <a:t>Created a </a:t>
            </a:r>
            <a:r>
              <a:rPr lang="en-US" sz="1200" b="1" dirty="0">
                <a:solidFill>
                  <a:srgbClr val="0563BB"/>
                </a:solidFill>
                <a:latin typeface="+mn-lt"/>
                <a:ea typeface="Arial Unicode MS"/>
                <a:cs typeface="Arial Unicode MS"/>
              </a:rPr>
              <a:t>new corporate group</a:t>
            </a:r>
            <a:endParaRPr lang="en-US" sz="1200" dirty="0">
              <a:solidFill>
                <a:srgbClr val="000000"/>
              </a:solidFill>
              <a:latin typeface="+mn-lt"/>
              <a:ea typeface="Arial Unicode MS"/>
              <a:cs typeface="Arial Unicode MS"/>
            </a:endParaRPr>
          </a:p>
          <a:p>
            <a:pPr marL="193675" lvl="1" indent="-192088" defTabSz="895350" eaLnBrk="0" hangingPunct="0">
              <a:spcBef>
                <a:spcPct val="25000"/>
              </a:spcBef>
              <a:buClr>
                <a:srgbClr val="002960"/>
              </a:buClr>
              <a:buSzPct val="125000"/>
              <a:buFont typeface="Arial" charset="0"/>
              <a:buChar char="▪"/>
              <a:defRPr/>
            </a:pPr>
            <a:r>
              <a:rPr lang="en-US" sz="1200" dirty="0">
                <a:solidFill>
                  <a:srgbClr val="000000"/>
                </a:solidFill>
                <a:latin typeface="+mn-lt"/>
                <a:ea typeface="Arial Unicode MS"/>
                <a:cs typeface="Arial Unicode MS"/>
              </a:rPr>
              <a:t>Successfully managed multiple </a:t>
            </a:r>
            <a:r>
              <a:rPr lang="en-US" sz="1200" b="1" dirty="0">
                <a:solidFill>
                  <a:srgbClr val="0563BB"/>
                </a:solidFill>
                <a:latin typeface="+mn-lt"/>
                <a:ea typeface="Arial Unicode MS"/>
                <a:cs typeface="Arial Unicode MS"/>
              </a:rPr>
              <a:t>political entities </a:t>
            </a:r>
          </a:p>
        </p:txBody>
      </p:sp>
      <p:sp>
        <p:nvSpPr>
          <p:cNvPr id="46" name="Chevron 3">
            <a:extLst>
              <a:ext uri="{FF2B5EF4-FFF2-40B4-BE49-F238E27FC236}">
                <a16:creationId xmlns:a16="http://schemas.microsoft.com/office/drawing/2014/main" id="{0681804F-2CFA-471E-ADEB-368028AB91B6}"/>
              </a:ext>
            </a:extLst>
          </p:cNvPr>
          <p:cNvSpPr/>
          <p:nvPr/>
        </p:nvSpPr>
        <p:spPr>
          <a:xfrm>
            <a:off x="2816722" y="765198"/>
            <a:ext cx="159376" cy="282222"/>
          </a:xfrm>
          <a:prstGeom prst="chevron">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48" name="Chevron 39">
            <a:extLst>
              <a:ext uri="{FF2B5EF4-FFF2-40B4-BE49-F238E27FC236}">
                <a16:creationId xmlns:a16="http://schemas.microsoft.com/office/drawing/2014/main" id="{2FC29E7F-029E-4D00-96CD-8E238F2F7832}"/>
              </a:ext>
            </a:extLst>
          </p:cNvPr>
          <p:cNvSpPr/>
          <p:nvPr/>
        </p:nvSpPr>
        <p:spPr>
          <a:xfrm>
            <a:off x="5600175" y="765198"/>
            <a:ext cx="159376" cy="282222"/>
          </a:xfrm>
          <a:prstGeom prst="chevron">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21" name="5. Source">
            <a:extLst>
              <a:ext uri="{FF2B5EF4-FFF2-40B4-BE49-F238E27FC236}">
                <a16:creationId xmlns:a16="http://schemas.microsoft.com/office/drawing/2014/main" id="{54B0CF8B-6DEE-42A1-B020-7F8389B933F6}"/>
              </a:ext>
            </a:extLst>
          </p:cNvPr>
          <p:cNvSpPr>
            <a:spLocks noChangeArrowheads="1"/>
          </p:cNvSpPr>
          <p:nvPr>
            <p:custDataLst>
              <p:tags r:id="rId5"/>
            </p:custDataLst>
          </p:nvPr>
        </p:nvSpPr>
        <p:spPr bwMode="gray">
          <a:xfrm>
            <a:off x="119063" y="6507558"/>
            <a:ext cx="7200000" cy="123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marL="609600" indent="-609600" defTabSz="895350">
              <a:tabLst>
                <a:tab pos="612775" algn="l"/>
              </a:tabLst>
            </a:pPr>
            <a:r>
              <a:rPr lang="en-US" altLang="zh-CN" sz="800" dirty="0">
                <a:solidFill>
                  <a:schemeClr val="accent6"/>
                </a:solidFill>
                <a:latin typeface="Arial" panose="020B0604020202020204" pitchFamily="34" charset="0"/>
              </a:rPr>
              <a:t>SOURCE: McKinsey Merger Management Practice</a:t>
            </a:r>
          </a:p>
        </p:txBody>
      </p:sp>
    </p:spTree>
    <p:custDataLst>
      <p:tags r:id="rId2"/>
    </p:custDataLst>
    <p:extLst>
      <p:ext uri="{BB962C8B-B14F-4D97-AF65-F5344CB8AC3E}">
        <p14:creationId xmlns:p14="http://schemas.microsoft.com/office/powerpoint/2010/main" val="3711411499"/>
      </p:ext>
    </p:extLst>
  </p:cSld>
  <p:clrMapOvr>
    <a:masterClrMapping/>
  </p:clrMapOvr>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146" name="AutoShape 3" hidden="1"/>
          <p:cNvGraphicFramePr>
            <a:graphicFrameLocks/>
          </p:cNvGraphicFramePr>
          <p:nvPr>
            <p:custDataLst>
              <p:tags r:id="rId3"/>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79572" name="think-cell Slide" r:id="rId8" imgW="0" imgH="0" progId="TCLayout.ActiveDocument.1">
                  <p:embed/>
                </p:oleObj>
              </mc:Choice>
              <mc:Fallback>
                <p:oleObj name="think-cell Slide" r:id="rId8" imgW="0" imgH="0" progId="TCLayout.ActiveDocument.1">
                  <p:embed/>
                  <p:pic>
                    <p:nvPicPr>
                      <p:cNvPr id="6146" name="AutoShape 3"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6162" name="Rectangle 14"/>
          <p:cNvSpPr>
            <a:spLocks noGrp="1" noChangeArrowheads="1"/>
          </p:cNvSpPr>
          <p:nvPr>
            <p:ph type="title"/>
            <p:custDataLst>
              <p:tags r:id="rId4"/>
            </p:custDataLst>
          </p:nvPr>
        </p:nvSpPr>
        <p:spPr>
          <a:xfrm>
            <a:off x="119063" y="230188"/>
            <a:ext cx="8618537" cy="307777"/>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marL="465138"/>
            <a:r>
              <a:rPr lang="en-US" dirty="0"/>
              <a:t>Case study: Merger of two global building material companies </a:t>
            </a:r>
          </a:p>
        </p:txBody>
      </p:sp>
      <p:sp>
        <p:nvSpPr>
          <p:cNvPr id="31" name="Rectangle 4"/>
          <p:cNvSpPr>
            <a:spLocks noChangeArrowheads="1"/>
          </p:cNvSpPr>
          <p:nvPr/>
        </p:nvSpPr>
        <p:spPr bwMode="gray">
          <a:xfrm>
            <a:off x="339415" y="1144274"/>
            <a:ext cx="2715704" cy="5279246"/>
          </a:xfrm>
          <a:prstGeom prst="rect">
            <a:avLst/>
          </a:prstGeom>
          <a:solidFill>
            <a:schemeClr val="bg1">
              <a:lumMod val="95000"/>
            </a:schemeClr>
          </a:solidFill>
          <a:ln w="9525">
            <a:noFill/>
          </a:ln>
          <a:effectLst/>
          <a:ex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200" b="1" dirty="0">
              <a:solidFill>
                <a:srgbClr val="000000"/>
              </a:solidFill>
            </a:endParaRPr>
          </a:p>
        </p:txBody>
      </p:sp>
      <p:sp>
        <p:nvSpPr>
          <p:cNvPr id="32" name="Rectangle 4"/>
          <p:cNvSpPr>
            <a:spLocks noChangeArrowheads="1"/>
          </p:cNvSpPr>
          <p:nvPr/>
        </p:nvSpPr>
        <p:spPr bwMode="gray">
          <a:xfrm>
            <a:off x="3122868" y="1144274"/>
            <a:ext cx="2715704" cy="5279246"/>
          </a:xfrm>
          <a:prstGeom prst="rect">
            <a:avLst/>
          </a:prstGeom>
          <a:solidFill>
            <a:schemeClr val="bg1">
              <a:lumMod val="95000"/>
            </a:schemeClr>
          </a:solidFill>
          <a:ln w="9525">
            <a:noFill/>
          </a:ln>
          <a:effectLst/>
          <a:ex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200" b="1" dirty="0">
              <a:solidFill>
                <a:srgbClr val="000000"/>
              </a:solidFill>
            </a:endParaRPr>
          </a:p>
        </p:txBody>
      </p:sp>
      <p:sp>
        <p:nvSpPr>
          <p:cNvPr id="34" name="Rectangle 4"/>
          <p:cNvSpPr>
            <a:spLocks noChangeArrowheads="1"/>
          </p:cNvSpPr>
          <p:nvPr/>
        </p:nvSpPr>
        <p:spPr bwMode="gray">
          <a:xfrm>
            <a:off x="5906320" y="1144274"/>
            <a:ext cx="2715704" cy="5279246"/>
          </a:xfrm>
          <a:prstGeom prst="rect">
            <a:avLst/>
          </a:prstGeom>
          <a:solidFill>
            <a:schemeClr val="bg1">
              <a:lumMod val="95000"/>
            </a:schemeClr>
          </a:solidFill>
          <a:ln w="9525">
            <a:noFill/>
          </a:ln>
          <a:effectLst/>
          <a:ex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200" b="1" dirty="0">
              <a:solidFill>
                <a:srgbClr val="000000"/>
              </a:solidFill>
            </a:endParaRPr>
          </a:p>
        </p:txBody>
      </p:sp>
      <p:sp>
        <p:nvSpPr>
          <p:cNvPr id="47" name="TextBox 46"/>
          <p:cNvSpPr txBox="1">
            <a:spLocks/>
          </p:cNvSpPr>
          <p:nvPr/>
        </p:nvSpPr>
        <p:spPr>
          <a:xfrm>
            <a:off x="339415" y="669572"/>
            <a:ext cx="2715704" cy="473474"/>
          </a:xfrm>
          <a:prstGeom prst="rect">
            <a:avLst/>
          </a:prstGeom>
          <a:solidFill>
            <a:schemeClr val="accent3"/>
          </a:solidFill>
          <a:ln w="9525">
            <a:noFill/>
            <a:miter lim="800000"/>
            <a:headEnd/>
            <a:tailEnd/>
          </a:ln>
          <a:effectLst/>
          <a:extLst/>
        </p:spPr>
        <p:txBody>
          <a:bodyPr vert="horz" wrap="square" lIns="457200" tIns="72009" rIns="72009" bIns="72009" numCol="1" anchor="ctr" anchorCtr="0" compatLnSpc="1">
            <a:prstTxWarp prst="textNoShape">
              <a:avLst/>
            </a:prstTxWarp>
            <a:noAutofit/>
          </a:bodyPr>
          <a:lstStyle>
            <a:lvl1pPr defTabSz="895350" eaLnBrk="1" hangingPunct="1">
              <a:tabLst>
                <a:tab pos="269875" algn="l"/>
              </a:tabLst>
              <a:defRPr sz="1900" b="1" baseline="0">
                <a:solidFill>
                  <a:schemeClr val="tx2"/>
                </a:solidFill>
                <a:latin typeface="+mj-lt"/>
                <a:ea typeface="+mj-ea"/>
                <a:cs typeface="+mj-cs"/>
              </a:defRPr>
            </a:lvl1pPr>
            <a:lvl2pPr defTabSz="895350" eaLnBrk="1" hangingPunct="1">
              <a:defRPr sz="1900" b="1">
                <a:solidFill>
                  <a:schemeClr val="tx2"/>
                </a:solidFill>
              </a:defRPr>
            </a:lvl2pPr>
            <a:lvl3pPr defTabSz="895350" eaLnBrk="1" hangingPunct="1">
              <a:defRPr sz="1900" b="1">
                <a:solidFill>
                  <a:schemeClr val="tx2"/>
                </a:solidFill>
              </a:defRPr>
            </a:lvl3pPr>
            <a:lvl4pPr defTabSz="895350" eaLnBrk="1" hangingPunct="1">
              <a:defRPr sz="1900" b="1">
                <a:solidFill>
                  <a:schemeClr val="tx2"/>
                </a:solidFill>
              </a:defRPr>
            </a:lvl4pPr>
            <a:lvl5pPr defTabSz="895350" eaLnBrk="1" hangingPunct="1">
              <a:defRPr sz="1900" b="1">
                <a:solidFill>
                  <a:schemeClr val="tx2"/>
                </a:solidFill>
              </a:defRPr>
            </a:lvl5pPr>
            <a:lvl6pPr marL="457200" defTabSz="895350" fontAlgn="base">
              <a:spcBef>
                <a:spcPct val="0"/>
              </a:spcBef>
              <a:spcAft>
                <a:spcPct val="0"/>
              </a:spcAft>
              <a:defRPr sz="1900" b="1">
                <a:solidFill>
                  <a:schemeClr val="tx2"/>
                </a:solidFill>
              </a:defRPr>
            </a:lvl6pPr>
            <a:lvl7pPr marL="914400" defTabSz="895350" fontAlgn="base">
              <a:spcBef>
                <a:spcPct val="0"/>
              </a:spcBef>
              <a:spcAft>
                <a:spcPct val="0"/>
              </a:spcAft>
              <a:defRPr sz="1900" b="1">
                <a:solidFill>
                  <a:schemeClr val="tx2"/>
                </a:solidFill>
              </a:defRPr>
            </a:lvl7pPr>
            <a:lvl8pPr marL="1371600" defTabSz="895350" fontAlgn="base">
              <a:spcBef>
                <a:spcPct val="0"/>
              </a:spcBef>
              <a:spcAft>
                <a:spcPct val="0"/>
              </a:spcAft>
              <a:defRPr sz="1900" b="1">
                <a:solidFill>
                  <a:schemeClr val="tx2"/>
                </a:solidFill>
              </a:defRPr>
            </a:lvl8pPr>
            <a:lvl9pPr marL="1828800" defTabSz="895350" fontAlgn="base">
              <a:spcBef>
                <a:spcPct val="0"/>
              </a:spcBef>
              <a:spcAft>
                <a:spcPct val="0"/>
              </a:spcAft>
              <a:defRPr sz="1900" b="1">
                <a:solidFill>
                  <a:schemeClr val="tx2"/>
                </a:solidFill>
              </a:defRPr>
            </a:lvl9pPr>
          </a:lstStyle>
          <a:p>
            <a:pPr>
              <a:tabLst/>
            </a:pPr>
            <a:r>
              <a:rPr lang="en-US" sz="1200" dirty="0">
                <a:solidFill>
                  <a:schemeClr val="bg1"/>
                </a:solidFill>
                <a:latin typeface="+mn-lt"/>
              </a:rPr>
              <a:t>Situation</a:t>
            </a:r>
          </a:p>
        </p:txBody>
      </p:sp>
      <p:sp>
        <p:nvSpPr>
          <p:cNvPr id="51" name="TextBox 50"/>
          <p:cNvSpPr txBox="1">
            <a:spLocks/>
          </p:cNvSpPr>
          <p:nvPr/>
        </p:nvSpPr>
        <p:spPr>
          <a:xfrm>
            <a:off x="5906320" y="669572"/>
            <a:ext cx="2715704" cy="473474"/>
          </a:xfrm>
          <a:prstGeom prst="rect">
            <a:avLst/>
          </a:prstGeom>
          <a:solidFill>
            <a:schemeClr val="accent3"/>
          </a:solidFill>
          <a:ln w="9525">
            <a:noFill/>
            <a:miter lim="800000"/>
            <a:headEnd/>
            <a:tailEnd/>
          </a:ln>
          <a:effectLst/>
          <a:extLst/>
        </p:spPr>
        <p:txBody>
          <a:bodyPr vert="horz" wrap="square" lIns="457200" tIns="72009" rIns="72009" bIns="72009" numCol="1" anchor="ctr" anchorCtr="0" compatLnSpc="1">
            <a:prstTxWarp prst="textNoShape">
              <a:avLst/>
            </a:prstTxWarp>
            <a:noAutofit/>
          </a:bodyPr>
          <a:lstStyle>
            <a:defPPr>
              <a:defRPr lang="en-US"/>
            </a:defPPr>
            <a:lvl1pPr marL="342900" defTabSz="895350" eaLnBrk="1" hangingPunct="1">
              <a:tabLst>
                <a:tab pos="317500" algn="l"/>
                <a:tab pos="342900" algn="l"/>
              </a:tabLst>
              <a:defRPr sz="1150" b="1" baseline="0">
                <a:solidFill>
                  <a:srgbClr val="0066CC"/>
                </a:solidFill>
                <a:latin typeface="+mj-lt"/>
                <a:ea typeface="+mj-ea"/>
                <a:cs typeface="+mj-cs"/>
              </a:defRPr>
            </a:lvl1pPr>
            <a:lvl2pPr defTabSz="895350" eaLnBrk="1" hangingPunct="1">
              <a:defRPr sz="1900" b="1">
                <a:solidFill>
                  <a:schemeClr val="tx2"/>
                </a:solidFill>
              </a:defRPr>
            </a:lvl2pPr>
            <a:lvl3pPr defTabSz="895350" eaLnBrk="1" hangingPunct="1">
              <a:defRPr sz="1900" b="1">
                <a:solidFill>
                  <a:schemeClr val="tx2"/>
                </a:solidFill>
              </a:defRPr>
            </a:lvl3pPr>
            <a:lvl4pPr defTabSz="895350" eaLnBrk="1" hangingPunct="1">
              <a:defRPr sz="1900" b="1">
                <a:solidFill>
                  <a:schemeClr val="tx2"/>
                </a:solidFill>
              </a:defRPr>
            </a:lvl4pPr>
            <a:lvl5pPr defTabSz="895350" eaLnBrk="1" hangingPunct="1">
              <a:defRPr sz="1900" b="1">
                <a:solidFill>
                  <a:schemeClr val="tx2"/>
                </a:solidFill>
              </a:defRPr>
            </a:lvl5pPr>
            <a:lvl6pPr marL="457200" defTabSz="895350" fontAlgn="base">
              <a:spcBef>
                <a:spcPct val="0"/>
              </a:spcBef>
              <a:spcAft>
                <a:spcPct val="0"/>
              </a:spcAft>
              <a:defRPr sz="1900" b="1">
                <a:solidFill>
                  <a:schemeClr val="tx2"/>
                </a:solidFill>
              </a:defRPr>
            </a:lvl6pPr>
            <a:lvl7pPr marL="914400" defTabSz="895350" fontAlgn="base">
              <a:spcBef>
                <a:spcPct val="0"/>
              </a:spcBef>
              <a:spcAft>
                <a:spcPct val="0"/>
              </a:spcAft>
              <a:defRPr sz="1900" b="1">
                <a:solidFill>
                  <a:schemeClr val="tx2"/>
                </a:solidFill>
              </a:defRPr>
            </a:lvl7pPr>
            <a:lvl8pPr marL="1371600" defTabSz="895350" fontAlgn="base">
              <a:spcBef>
                <a:spcPct val="0"/>
              </a:spcBef>
              <a:spcAft>
                <a:spcPct val="0"/>
              </a:spcAft>
              <a:defRPr sz="1900" b="1">
                <a:solidFill>
                  <a:schemeClr val="tx2"/>
                </a:solidFill>
              </a:defRPr>
            </a:lvl8pPr>
            <a:lvl9pPr marL="1828800" defTabSz="895350" fontAlgn="base">
              <a:spcBef>
                <a:spcPct val="0"/>
              </a:spcBef>
              <a:spcAft>
                <a:spcPct val="0"/>
              </a:spcAft>
              <a:defRPr sz="1900" b="1">
                <a:solidFill>
                  <a:schemeClr val="tx2"/>
                </a:solidFill>
              </a:defRPr>
            </a:lvl9pPr>
          </a:lstStyle>
          <a:p>
            <a:pPr marL="0">
              <a:tabLst/>
            </a:pPr>
            <a:r>
              <a:rPr lang="en-US" sz="1200" dirty="0">
                <a:solidFill>
                  <a:schemeClr val="bg1"/>
                </a:solidFill>
                <a:latin typeface="+mn-lt"/>
              </a:rPr>
              <a:t>Impact</a:t>
            </a:r>
          </a:p>
        </p:txBody>
      </p:sp>
      <p:sp>
        <p:nvSpPr>
          <p:cNvPr id="52" name="TextBox 51"/>
          <p:cNvSpPr txBox="1">
            <a:spLocks/>
          </p:cNvSpPr>
          <p:nvPr/>
        </p:nvSpPr>
        <p:spPr>
          <a:xfrm>
            <a:off x="3122868" y="669572"/>
            <a:ext cx="2715704" cy="473474"/>
          </a:xfrm>
          <a:prstGeom prst="rect">
            <a:avLst/>
          </a:prstGeom>
          <a:solidFill>
            <a:schemeClr val="accent3"/>
          </a:solidFill>
          <a:ln w="9525">
            <a:noFill/>
            <a:miter lim="800000"/>
            <a:headEnd/>
            <a:tailEnd/>
          </a:ln>
          <a:effectLst/>
          <a:extLst/>
        </p:spPr>
        <p:txBody>
          <a:bodyPr vert="horz" wrap="square" lIns="457200" tIns="72009" rIns="72009" bIns="72009" numCol="1" anchor="ctr" anchorCtr="0" compatLnSpc="1">
            <a:prstTxWarp prst="textNoShape">
              <a:avLst/>
            </a:prstTxWarp>
            <a:noAutofit/>
          </a:bodyPr>
          <a:lstStyle>
            <a:defPPr>
              <a:defRPr lang="en-US"/>
            </a:defPPr>
            <a:lvl1pPr marL="342900" defTabSz="895350" eaLnBrk="1" hangingPunct="1">
              <a:tabLst>
                <a:tab pos="317500" algn="l"/>
                <a:tab pos="342900" algn="l"/>
              </a:tabLst>
              <a:defRPr sz="1150" b="1" baseline="0">
                <a:solidFill>
                  <a:srgbClr val="0066CC"/>
                </a:solidFill>
                <a:latin typeface="+mj-lt"/>
                <a:ea typeface="+mj-ea"/>
                <a:cs typeface="+mj-cs"/>
              </a:defRPr>
            </a:lvl1pPr>
            <a:lvl2pPr defTabSz="895350" eaLnBrk="1" hangingPunct="1">
              <a:defRPr sz="1900" b="1">
                <a:solidFill>
                  <a:schemeClr val="tx2"/>
                </a:solidFill>
              </a:defRPr>
            </a:lvl2pPr>
            <a:lvl3pPr defTabSz="895350" eaLnBrk="1" hangingPunct="1">
              <a:defRPr sz="1900" b="1">
                <a:solidFill>
                  <a:schemeClr val="tx2"/>
                </a:solidFill>
              </a:defRPr>
            </a:lvl3pPr>
            <a:lvl4pPr defTabSz="895350" eaLnBrk="1" hangingPunct="1">
              <a:defRPr sz="1900" b="1">
                <a:solidFill>
                  <a:schemeClr val="tx2"/>
                </a:solidFill>
              </a:defRPr>
            </a:lvl4pPr>
            <a:lvl5pPr defTabSz="895350" eaLnBrk="1" hangingPunct="1">
              <a:defRPr sz="1900" b="1">
                <a:solidFill>
                  <a:schemeClr val="tx2"/>
                </a:solidFill>
              </a:defRPr>
            </a:lvl5pPr>
            <a:lvl6pPr marL="457200" defTabSz="895350" fontAlgn="base">
              <a:spcBef>
                <a:spcPct val="0"/>
              </a:spcBef>
              <a:spcAft>
                <a:spcPct val="0"/>
              </a:spcAft>
              <a:defRPr sz="1900" b="1">
                <a:solidFill>
                  <a:schemeClr val="tx2"/>
                </a:solidFill>
              </a:defRPr>
            </a:lvl6pPr>
            <a:lvl7pPr marL="914400" defTabSz="895350" fontAlgn="base">
              <a:spcBef>
                <a:spcPct val="0"/>
              </a:spcBef>
              <a:spcAft>
                <a:spcPct val="0"/>
              </a:spcAft>
              <a:defRPr sz="1900" b="1">
                <a:solidFill>
                  <a:schemeClr val="tx2"/>
                </a:solidFill>
              </a:defRPr>
            </a:lvl7pPr>
            <a:lvl8pPr marL="1371600" defTabSz="895350" fontAlgn="base">
              <a:spcBef>
                <a:spcPct val="0"/>
              </a:spcBef>
              <a:spcAft>
                <a:spcPct val="0"/>
              </a:spcAft>
              <a:defRPr sz="1900" b="1">
                <a:solidFill>
                  <a:schemeClr val="tx2"/>
                </a:solidFill>
              </a:defRPr>
            </a:lvl8pPr>
            <a:lvl9pPr marL="1828800" defTabSz="895350" fontAlgn="base">
              <a:spcBef>
                <a:spcPct val="0"/>
              </a:spcBef>
              <a:spcAft>
                <a:spcPct val="0"/>
              </a:spcAft>
              <a:defRPr sz="1900" b="1">
                <a:solidFill>
                  <a:schemeClr val="tx2"/>
                </a:solidFill>
              </a:defRPr>
            </a:lvl9pPr>
          </a:lstStyle>
          <a:p>
            <a:pPr marL="0">
              <a:tabLst>
                <a:tab pos="1143000" algn="l"/>
              </a:tabLst>
            </a:pPr>
            <a:r>
              <a:rPr lang="en-US" sz="1200" dirty="0">
                <a:solidFill>
                  <a:schemeClr val="bg1"/>
                </a:solidFill>
                <a:latin typeface="+mn-lt"/>
              </a:rPr>
              <a:t>McKinsey Approach</a:t>
            </a:r>
          </a:p>
        </p:txBody>
      </p:sp>
      <p:sp>
        <p:nvSpPr>
          <p:cNvPr id="53" name="Freeform 52"/>
          <p:cNvSpPr/>
          <p:nvPr/>
        </p:nvSpPr>
        <p:spPr>
          <a:xfrm>
            <a:off x="5979694" y="730399"/>
            <a:ext cx="350181" cy="351821"/>
          </a:xfrm>
          <a:custGeom>
            <a:avLst/>
            <a:gdLst>
              <a:gd name="connsiteX0" fmla="*/ 1229400 w 2872287"/>
              <a:gd name="connsiteY0" fmla="*/ 1044324 h 2885724"/>
              <a:gd name="connsiteX1" fmla="*/ 1352739 w 2872287"/>
              <a:gd name="connsiteY1" fmla="*/ 1056758 h 2885724"/>
              <a:gd name="connsiteX2" fmla="*/ 1405032 w 2872287"/>
              <a:gd name="connsiteY2" fmla="*/ 1072990 h 2885724"/>
              <a:gd name="connsiteX3" fmla="*/ 1371388 w 2872287"/>
              <a:gd name="connsiteY3" fmla="*/ 1125341 h 2885724"/>
              <a:gd name="connsiteX4" fmla="*/ 1299983 w 2872287"/>
              <a:gd name="connsiteY4" fmla="*/ 1292254 h 2885724"/>
              <a:gd name="connsiteX5" fmla="*/ 1291507 w 2872287"/>
              <a:gd name="connsiteY5" fmla="*/ 1348568 h 2885724"/>
              <a:gd name="connsiteX6" fmla="*/ 1229400 w 2872287"/>
              <a:gd name="connsiteY6" fmla="*/ 1342307 h 2885724"/>
              <a:gd name="connsiteX7" fmla="*/ 915383 w 2872287"/>
              <a:gd name="connsiteY7" fmla="*/ 1656324 h 2885724"/>
              <a:gd name="connsiteX8" fmla="*/ 1229400 w 2872287"/>
              <a:gd name="connsiteY8" fmla="*/ 1970341 h 2885724"/>
              <a:gd name="connsiteX9" fmla="*/ 1543417 w 2872287"/>
              <a:gd name="connsiteY9" fmla="*/ 1656324 h 2885724"/>
              <a:gd name="connsiteX10" fmla="*/ 1537038 w 2872287"/>
              <a:gd name="connsiteY10" fmla="*/ 1593039 h 2885724"/>
              <a:gd name="connsiteX11" fmla="*/ 1532628 w 2872287"/>
              <a:gd name="connsiteY11" fmla="*/ 1578835 h 2885724"/>
              <a:gd name="connsiteX12" fmla="*/ 1573883 w 2872287"/>
              <a:gd name="connsiteY12" fmla="*/ 1572626 h 2885724"/>
              <a:gd name="connsiteX13" fmla="*/ 1740796 w 2872287"/>
              <a:gd name="connsiteY13" fmla="*/ 1501221 h 2885724"/>
              <a:gd name="connsiteX14" fmla="*/ 1806082 w 2872287"/>
              <a:gd name="connsiteY14" fmla="*/ 1459264 h 2885724"/>
              <a:gd name="connsiteX15" fmla="*/ 1828967 w 2872287"/>
              <a:gd name="connsiteY15" fmla="*/ 1532985 h 2885724"/>
              <a:gd name="connsiteX16" fmla="*/ 1841400 w 2872287"/>
              <a:gd name="connsiteY16" fmla="*/ 1656324 h 2885724"/>
              <a:gd name="connsiteX17" fmla="*/ 1229400 w 2872287"/>
              <a:gd name="connsiteY17" fmla="*/ 2268324 h 2885724"/>
              <a:gd name="connsiteX18" fmla="*/ 617400 w 2872287"/>
              <a:gd name="connsiteY18" fmla="*/ 1656324 h 2885724"/>
              <a:gd name="connsiteX19" fmla="*/ 1229400 w 2872287"/>
              <a:gd name="connsiteY19" fmla="*/ 1044324 h 2885724"/>
              <a:gd name="connsiteX20" fmla="*/ 1229400 w 2872287"/>
              <a:gd name="connsiteY20" fmla="*/ 426924 h 2885724"/>
              <a:gd name="connsiteX21" fmla="*/ 1916770 w 2872287"/>
              <a:gd name="connsiteY21" fmla="*/ 636886 h 2885724"/>
              <a:gd name="connsiteX22" fmla="*/ 1929798 w 2872287"/>
              <a:gd name="connsiteY22" fmla="*/ 646629 h 2885724"/>
              <a:gd name="connsiteX23" fmla="*/ 1885417 w 2872287"/>
              <a:gd name="connsiteY23" fmla="*/ 679181 h 2885724"/>
              <a:gd name="connsiteX24" fmla="*/ 1766443 w 2872287"/>
              <a:gd name="connsiteY24" fmla="*/ 778925 h 2885724"/>
              <a:gd name="connsiteX25" fmla="*/ 1697698 w 2872287"/>
              <a:gd name="connsiteY25" fmla="*/ 843854 h 2885724"/>
              <a:gd name="connsiteX26" fmla="*/ 1676733 w 2872287"/>
              <a:gd name="connsiteY26" fmla="*/ 831118 h 2885724"/>
              <a:gd name="connsiteX27" fmla="*/ 1229400 w 2872287"/>
              <a:gd name="connsiteY27" fmla="*/ 717849 h 2885724"/>
              <a:gd name="connsiteX28" fmla="*/ 290925 w 2872287"/>
              <a:gd name="connsiteY28" fmla="*/ 1656324 h 2885724"/>
              <a:gd name="connsiteX29" fmla="*/ 1229400 w 2872287"/>
              <a:gd name="connsiteY29" fmla="*/ 2594799 h 2885724"/>
              <a:gd name="connsiteX30" fmla="*/ 2167875 w 2872287"/>
              <a:gd name="connsiteY30" fmla="*/ 1656324 h 2885724"/>
              <a:gd name="connsiteX31" fmla="*/ 2054606 w 2872287"/>
              <a:gd name="connsiteY31" fmla="*/ 1208991 h 2885724"/>
              <a:gd name="connsiteX32" fmla="*/ 2028904 w 2872287"/>
              <a:gd name="connsiteY32" fmla="*/ 1166684 h 2885724"/>
              <a:gd name="connsiteX33" fmla="*/ 2089764 w 2872287"/>
              <a:gd name="connsiteY33" fmla="*/ 1102246 h 2885724"/>
              <a:gd name="connsiteX34" fmla="*/ 2189508 w 2872287"/>
              <a:gd name="connsiteY34" fmla="*/ 983272 h 2885724"/>
              <a:gd name="connsiteX35" fmla="*/ 2224188 w 2872287"/>
              <a:gd name="connsiteY35" fmla="*/ 935991 h 2885724"/>
              <a:gd name="connsiteX36" fmla="*/ 2248838 w 2872287"/>
              <a:gd name="connsiteY36" fmla="*/ 968955 h 2885724"/>
              <a:gd name="connsiteX37" fmla="*/ 2458800 w 2872287"/>
              <a:gd name="connsiteY37" fmla="*/ 1656324 h 2885724"/>
              <a:gd name="connsiteX38" fmla="*/ 1229400 w 2872287"/>
              <a:gd name="connsiteY38" fmla="*/ 2885724 h 2885724"/>
              <a:gd name="connsiteX39" fmla="*/ 0 w 2872287"/>
              <a:gd name="connsiteY39" fmla="*/ 1656324 h 2885724"/>
              <a:gd name="connsiteX40" fmla="*/ 1229400 w 2872287"/>
              <a:gd name="connsiteY40" fmla="*/ 426924 h 2885724"/>
              <a:gd name="connsiteX41" fmla="*/ 2402682 w 2872287"/>
              <a:gd name="connsiteY41" fmla="*/ 680 h 2885724"/>
              <a:gd name="connsiteX42" fmla="*/ 2450307 w 2872287"/>
              <a:gd name="connsiteY42" fmla="*/ 36399 h 2885724"/>
              <a:gd name="connsiteX43" fmla="*/ 2493170 w 2872287"/>
              <a:gd name="connsiteY43" fmla="*/ 184037 h 2885724"/>
              <a:gd name="connsiteX44" fmla="*/ 2526508 w 2872287"/>
              <a:gd name="connsiteY44" fmla="*/ 322149 h 2885724"/>
              <a:gd name="connsiteX45" fmla="*/ 2574132 w 2872287"/>
              <a:gd name="connsiteY45" fmla="*/ 345962 h 2885724"/>
              <a:gd name="connsiteX46" fmla="*/ 2776539 w 2872287"/>
              <a:gd name="connsiteY46" fmla="*/ 405494 h 2885724"/>
              <a:gd name="connsiteX47" fmla="*/ 2864645 w 2872287"/>
              <a:gd name="connsiteY47" fmla="*/ 450737 h 2885724"/>
              <a:gd name="connsiteX48" fmla="*/ 2859882 w 2872287"/>
              <a:gd name="connsiteY48" fmla="*/ 515030 h 2885724"/>
              <a:gd name="connsiteX49" fmla="*/ 2795589 w 2872287"/>
              <a:gd name="connsiteY49" fmla="*/ 591230 h 2885724"/>
              <a:gd name="connsiteX50" fmla="*/ 2667002 w 2872287"/>
              <a:gd name="connsiteY50" fmla="*/ 715055 h 2885724"/>
              <a:gd name="connsiteX51" fmla="*/ 2552701 w 2872287"/>
              <a:gd name="connsiteY51" fmla="*/ 769824 h 2885724"/>
              <a:gd name="connsiteX52" fmla="*/ 2431257 w 2872287"/>
              <a:gd name="connsiteY52" fmla="*/ 784112 h 2885724"/>
              <a:gd name="connsiteX53" fmla="*/ 2271714 w 2872287"/>
              <a:gd name="connsiteY53" fmla="*/ 762680 h 2885724"/>
              <a:gd name="connsiteX54" fmla="*/ 2225051 w 2872287"/>
              <a:gd name="connsiteY54" fmla="*/ 746476 h 2885724"/>
              <a:gd name="connsiteX55" fmla="*/ 2216943 w 2872287"/>
              <a:gd name="connsiteY55" fmla="*/ 757918 h 2885724"/>
              <a:gd name="connsiteX56" fmla="*/ 2064543 w 2872287"/>
              <a:gd name="connsiteY56" fmla="*/ 962705 h 2885724"/>
              <a:gd name="connsiteX57" fmla="*/ 1862137 w 2872287"/>
              <a:gd name="connsiteY57" fmla="*/ 1212737 h 2885724"/>
              <a:gd name="connsiteX58" fmla="*/ 1750218 w 2872287"/>
              <a:gd name="connsiteY58" fmla="*/ 1334180 h 2885724"/>
              <a:gd name="connsiteX59" fmla="*/ 1664493 w 2872287"/>
              <a:gd name="connsiteY59" fmla="*/ 1407999 h 2885724"/>
              <a:gd name="connsiteX60" fmla="*/ 1607343 w 2872287"/>
              <a:gd name="connsiteY60" fmla="*/ 1438955 h 2885724"/>
              <a:gd name="connsiteX61" fmla="*/ 1550193 w 2872287"/>
              <a:gd name="connsiteY61" fmla="*/ 1438955 h 2885724"/>
              <a:gd name="connsiteX62" fmla="*/ 1526380 w 2872287"/>
              <a:gd name="connsiteY62" fmla="*/ 1438955 h 2885724"/>
              <a:gd name="connsiteX63" fmla="*/ 1521677 w 2872287"/>
              <a:gd name="connsiteY63" fmla="*/ 1440971 h 2885724"/>
              <a:gd name="connsiteX64" fmla="*/ 1499508 w 2872287"/>
              <a:gd name="connsiteY64" fmla="*/ 1464922 h 2885724"/>
              <a:gd name="connsiteX65" fmla="*/ 1198503 w 2872287"/>
              <a:gd name="connsiteY65" fmla="*/ 1669195 h 2885724"/>
              <a:gd name="connsiteX66" fmla="*/ 1402776 w 2872287"/>
              <a:gd name="connsiteY66" fmla="*/ 1368190 h 2885724"/>
              <a:gd name="connsiteX67" fmla="*/ 1429420 w 2872287"/>
              <a:gd name="connsiteY67" fmla="*/ 1343529 h 2885724"/>
              <a:gd name="connsiteX68" fmla="*/ 1427856 w 2872287"/>
              <a:gd name="connsiteY68" fmla="*/ 1324358 h 2885724"/>
              <a:gd name="connsiteX69" fmla="*/ 1423987 w 2872287"/>
              <a:gd name="connsiteY69" fmla="*/ 1288937 h 2885724"/>
              <a:gd name="connsiteX70" fmla="*/ 1435893 w 2872287"/>
              <a:gd name="connsiteY70" fmla="*/ 1231787 h 2885724"/>
              <a:gd name="connsiteX71" fmla="*/ 1502568 w 2872287"/>
              <a:gd name="connsiteY71" fmla="*/ 1148443 h 2885724"/>
              <a:gd name="connsiteX72" fmla="*/ 1693068 w 2872287"/>
              <a:gd name="connsiteY72" fmla="*/ 972230 h 2885724"/>
              <a:gd name="connsiteX73" fmla="*/ 1959768 w 2872287"/>
              <a:gd name="connsiteY73" fmla="*/ 760299 h 2885724"/>
              <a:gd name="connsiteX74" fmla="*/ 2058441 w 2872287"/>
              <a:gd name="connsiteY74" fmla="*/ 689309 h 2885724"/>
              <a:gd name="connsiteX75" fmla="*/ 2114702 w 2872287"/>
              <a:gd name="connsiteY75" fmla="*/ 654020 h 2885724"/>
              <a:gd name="connsiteX76" fmla="*/ 2106812 w 2872287"/>
              <a:gd name="connsiteY76" fmla="*/ 603584 h 2885724"/>
              <a:gd name="connsiteX77" fmla="*/ 2095501 w 2872287"/>
              <a:gd name="connsiteY77" fmla="*/ 495982 h 2885724"/>
              <a:gd name="connsiteX78" fmla="*/ 2095501 w 2872287"/>
              <a:gd name="connsiteY78" fmla="*/ 326912 h 2885724"/>
              <a:gd name="connsiteX79" fmla="*/ 2147889 w 2872287"/>
              <a:gd name="connsiteY79" fmla="*/ 231662 h 2885724"/>
              <a:gd name="connsiteX80" fmla="*/ 2300289 w 2872287"/>
              <a:gd name="connsiteY80" fmla="*/ 69737 h 2885724"/>
              <a:gd name="connsiteX81" fmla="*/ 2352676 w 2872287"/>
              <a:gd name="connsiteY81" fmla="*/ 17349 h 2885724"/>
              <a:gd name="connsiteX82" fmla="*/ 2402682 w 2872287"/>
              <a:gd name="connsiteY82" fmla="*/ 680 h 2885724"/>
              <a:gd name="connsiteX0" fmla="*/ 1229400 w 2872287"/>
              <a:gd name="connsiteY0" fmla="*/ 1044324 h 2885724"/>
              <a:gd name="connsiteX1" fmla="*/ 1352739 w 2872287"/>
              <a:gd name="connsiteY1" fmla="*/ 1056758 h 2885724"/>
              <a:gd name="connsiteX2" fmla="*/ 1405032 w 2872287"/>
              <a:gd name="connsiteY2" fmla="*/ 1072990 h 2885724"/>
              <a:gd name="connsiteX3" fmla="*/ 1371388 w 2872287"/>
              <a:gd name="connsiteY3" fmla="*/ 1125341 h 2885724"/>
              <a:gd name="connsiteX4" fmla="*/ 1299983 w 2872287"/>
              <a:gd name="connsiteY4" fmla="*/ 1292254 h 2885724"/>
              <a:gd name="connsiteX5" fmla="*/ 1291507 w 2872287"/>
              <a:gd name="connsiteY5" fmla="*/ 1348568 h 2885724"/>
              <a:gd name="connsiteX6" fmla="*/ 1229400 w 2872287"/>
              <a:gd name="connsiteY6" fmla="*/ 1342307 h 2885724"/>
              <a:gd name="connsiteX7" fmla="*/ 915383 w 2872287"/>
              <a:gd name="connsiteY7" fmla="*/ 1656324 h 2885724"/>
              <a:gd name="connsiteX8" fmla="*/ 1229400 w 2872287"/>
              <a:gd name="connsiteY8" fmla="*/ 1970341 h 2885724"/>
              <a:gd name="connsiteX9" fmla="*/ 1543417 w 2872287"/>
              <a:gd name="connsiteY9" fmla="*/ 1656324 h 2885724"/>
              <a:gd name="connsiteX10" fmla="*/ 1537038 w 2872287"/>
              <a:gd name="connsiteY10" fmla="*/ 1593039 h 2885724"/>
              <a:gd name="connsiteX11" fmla="*/ 1532628 w 2872287"/>
              <a:gd name="connsiteY11" fmla="*/ 1578835 h 2885724"/>
              <a:gd name="connsiteX12" fmla="*/ 1573883 w 2872287"/>
              <a:gd name="connsiteY12" fmla="*/ 1572626 h 2885724"/>
              <a:gd name="connsiteX13" fmla="*/ 1740796 w 2872287"/>
              <a:gd name="connsiteY13" fmla="*/ 1501221 h 2885724"/>
              <a:gd name="connsiteX14" fmla="*/ 1806082 w 2872287"/>
              <a:gd name="connsiteY14" fmla="*/ 1459264 h 2885724"/>
              <a:gd name="connsiteX15" fmla="*/ 1828967 w 2872287"/>
              <a:gd name="connsiteY15" fmla="*/ 1532985 h 2885724"/>
              <a:gd name="connsiteX16" fmla="*/ 1841400 w 2872287"/>
              <a:gd name="connsiteY16" fmla="*/ 1656324 h 2885724"/>
              <a:gd name="connsiteX17" fmla="*/ 1229400 w 2872287"/>
              <a:gd name="connsiteY17" fmla="*/ 2268324 h 2885724"/>
              <a:gd name="connsiteX18" fmla="*/ 617400 w 2872287"/>
              <a:gd name="connsiteY18" fmla="*/ 1656324 h 2885724"/>
              <a:gd name="connsiteX19" fmla="*/ 1229400 w 2872287"/>
              <a:gd name="connsiteY19" fmla="*/ 1044324 h 2885724"/>
              <a:gd name="connsiteX20" fmla="*/ 1229400 w 2872287"/>
              <a:gd name="connsiteY20" fmla="*/ 426924 h 2885724"/>
              <a:gd name="connsiteX21" fmla="*/ 1916770 w 2872287"/>
              <a:gd name="connsiteY21" fmla="*/ 636886 h 2885724"/>
              <a:gd name="connsiteX22" fmla="*/ 1929798 w 2872287"/>
              <a:gd name="connsiteY22" fmla="*/ 646629 h 2885724"/>
              <a:gd name="connsiteX23" fmla="*/ 1885417 w 2872287"/>
              <a:gd name="connsiteY23" fmla="*/ 679181 h 2885724"/>
              <a:gd name="connsiteX24" fmla="*/ 1766443 w 2872287"/>
              <a:gd name="connsiteY24" fmla="*/ 778925 h 2885724"/>
              <a:gd name="connsiteX25" fmla="*/ 1697698 w 2872287"/>
              <a:gd name="connsiteY25" fmla="*/ 843854 h 2885724"/>
              <a:gd name="connsiteX26" fmla="*/ 1676733 w 2872287"/>
              <a:gd name="connsiteY26" fmla="*/ 831118 h 2885724"/>
              <a:gd name="connsiteX27" fmla="*/ 1229400 w 2872287"/>
              <a:gd name="connsiteY27" fmla="*/ 717849 h 2885724"/>
              <a:gd name="connsiteX28" fmla="*/ 290925 w 2872287"/>
              <a:gd name="connsiteY28" fmla="*/ 1656324 h 2885724"/>
              <a:gd name="connsiteX29" fmla="*/ 1229400 w 2872287"/>
              <a:gd name="connsiteY29" fmla="*/ 2594799 h 2885724"/>
              <a:gd name="connsiteX30" fmla="*/ 2167875 w 2872287"/>
              <a:gd name="connsiteY30" fmla="*/ 1656324 h 2885724"/>
              <a:gd name="connsiteX31" fmla="*/ 2054606 w 2872287"/>
              <a:gd name="connsiteY31" fmla="*/ 1208991 h 2885724"/>
              <a:gd name="connsiteX32" fmla="*/ 2028904 w 2872287"/>
              <a:gd name="connsiteY32" fmla="*/ 1166684 h 2885724"/>
              <a:gd name="connsiteX33" fmla="*/ 2089764 w 2872287"/>
              <a:gd name="connsiteY33" fmla="*/ 1102246 h 2885724"/>
              <a:gd name="connsiteX34" fmla="*/ 2189508 w 2872287"/>
              <a:gd name="connsiteY34" fmla="*/ 983272 h 2885724"/>
              <a:gd name="connsiteX35" fmla="*/ 2224188 w 2872287"/>
              <a:gd name="connsiteY35" fmla="*/ 935991 h 2885724"/>
              <a:gd name="connsiteX36" fmla="*/ 2248838 w 2872287"/>
              <a:gd name="connsiteY36" fmla="*/ 968955 h 2885724"/>
              <a:gd name="connsiteX37" fmla="*/ 2458800 w 2872287"/>
              <a:gd name="connsiteY37" fmla="*/ 1656324 h 2885724"/>
              <a:gd name="connsiteX38" fmla="*/ 1229400 w 2872287"/>
              <a:gd name="connsiteY38" fmla="*/ 2885724 h 2885724"/>
              <a:gd name="connsiteX39" fmla="*/ 0 w 2872287"/>
              <a:gd name="connsiteY39" fmla="*/ 1656324 h 2885724"/>
              <a:gd name="connsiteX40" fmla="*/ 1229400 w 2872287"/>
              <a:gd name="connsiteY40" fmla="*/ 426924 h 2885724"/>
              <a:gd name="connsiteX41" fmla="*/ 2402682 w 2872287"/>
              <a:gd name="connsiteY41" fmla="*/ 680 h 2885724"/>
              <a:gd name="connsiteX42" fmla="*/ 2450307 w 2872287"/>
              <a:gd name="connsiteY42" fmla="*/ 36399 h 2885724"/>
              <a:gd name="connsiteX43" fmla="*/ 2493170 w 2872287"/>
              <a:gd name="connsiteY43" fmla="*/ 184037 h 2885724"/>
              <a:gd name="connsiteX44" fmla="*/ 2526508 w 2872287"/>
              <a:gd name="connsiteY44" fmla="*/ 322149 h 2885724"/>
              <a:gd name="connsiteX45" fmla="*/ 2776539 w 2872287"/>
              <a:gd name="connsiteY45" fmla="*/ 405494 h 2885724"/>
              <a:gd name="connsiteX46" fmla="*/ 2864645 w 2872287"/>
              <a:gd name="connsiteY46" fmla="*/ 450737 h 2885724"/>
              <a:gd name="connsiteX47" fmla="*/ 2859882 w 2872287"/>
              <a:gd name="connsiteY47" fmla="*/ 515030 h 2885724"/>
              <a:gd name="connsiteX48" fmla="*/ 2795589 w 2872287"/>
              <a:gd name="connsiteY48" fmla="*/ 591230 h 2885724"/>
              <a:gd name="connsiteX49" fmla="*/ 2667002 w 2872287"/>
              <a:gd name="connsiteY49" fmla="*/ 715055 h 2885724"/>
              <a:gd name="connsiteX50" fmla="*/ 2552701 w 2872287"/>
              <a:gd name="connsiteY50" fmla="*/ 769824 h 2885724"/>
              <a:gd name="connsiteX51" fmla="*/ 2431257 w 2872287"/>
              <a:gd name="connsiteY51" fmla="*/ 784112 h 2885724"/>
              <a:gd name="connsiteX52" fmla="*/ 2271714 w 2872287"/>
              <a:gd name="connsiteY52" fmla="*/ 762680 h 2885724"/>
              <a:gd name="connsiteX53" fmla="*/ 2225051 w 2872287"/>
              <a:gd name="connsiteY53" fmla="*/ 746476 h 2885724"/>
              <a:gd name="connsiteX54" fmla="*/ 2216943 w 2872287"/>
              <a:gd name="connsiteY54" fmla="*/ 757918 h 2885724"/>
              <a:gd name="connsiteX55" fmla="*/ 2064543 w 2872287"/>
              <a:gd name="connsiteY55" fmla="*/ 962705 h 2885724"/>
              <a:gd name="connsiteX56" fmla="*/ 1862137 w 2872287"/>
              <a:gd name="connsiteY56" fmla="*/ 1212737 h 2885724"/>
              <a:gd name="connsiteX57" fmla="*/ 1750218 w 2872287"/>
              <a:gd name="connsiteY57" fmla="*/ 1334180 h 2885724"/>
              <a:gd name="connsiteX58" fmla="*/ 1664493 w 2872287"/>
              <a:gd name="connsiteY58" fmla="*/ 1407999 h 2885724"/>
              <a:gd name="connsiteX59" fmla="*/ 1607343 w 2872287"/>
              <a:gd name="connsiteY59" fmla="*/ 1438955 h 2885724"/>
              <a:gd name="connsiteX60" fmla="*/ 1550193 w 2872287"/>
              <a:gd name="connsiteY60" fmla="*/ 1438955 h 2885724"/>
              <a:gd name="connsiteX61" fmla="*/ 1526380 w 2872287"/>
              <a:gd name="connsiteY61" fmla="*/ 1438955 h 2885724"/>
              <a:gd name="connsiteX62" fmla="*/ 1521677 w 2872287"/>
              <a:gd name="connsiteY62" fmla="*/ 1440971 h 2885724"/>
              <a:gd name="connsiteX63" fmla="*/ 1499508 w 2872287"/>
              <a:gd name="connsiteY63" fmla="*/ 1464922 h 2885724"/>
              <a:gd name="connsiteX64" fmla="*/ 1198503 w 2872287"/>
              <a:gd name="connsiteY64" fmla="*/ 1669195 h 2885724"/>
              <a:gd name="connsiteX65" fmla="*/ 1402776 w 2872287"/>
              <a:gd name="connsiteY65" fmla="*/ 1368190 h 2885724"/>
              <a:gd name="connsiteX66" fmla="*/ 1429420 w 2872287"/>
              <a:gd name="connsiteY66" fmla="*/ 1343529 h 2885724"/>
              <a:gd name="connsiteX67" fmla="*/ 1427856 w 2872287"/>
              <a:gd name="connsiteY67" fmla="*/ 1324358 h 2885724"/>
              <a:gd name="connsiteX68" fmla="*/ 1423987 w 2872287"/>
              <a:gd name="connsiteY68" fmla="*/ 1288937 h 2885724"/>
              <a:gd name="connsiteX69" fmla="*/ 1435893 w 2872287"/>
              <a:gd name="connsiteY69" fmla="*/ 1231787 h 2885724"/>
              <a:gd name="connsiteX70" fmla="*/ 1502568 w 2872287"/>
              <a:gd name="connsiteY70" fmla="*/ 1148443 h 2885724"/>
              <a:gd name="connsiteX71" fmla="*/ 1693068 w 2872287"/>
              <a:gd name="connsiteY71" fmla="*/ 972230 h 2885724"/>
              <a:gd name="connsiteX72" fmla="*/ 1959768 w 2872287"/>
              <a:gd name="connsiteY72" fmla="*/ 760299 h 2885724"/>
              <a:gd name="connsiteX73" fmla="*/ 2058441 w 2872287"/>
              <a:gd name="connsiteY73" fmla="*/ 689309 h 2885724"/>
              <a:gd name="connsiteX74" fmla="*/ 2114702 w 2872287"/>
              <a:gd name="connsiteY74" fmla="*/ 654020 h 2885724"/>
              <a:gd name="connsiteX75" fmla="*/ 2106812 w 2872287"/>
              <a:gd name="connsiteY75" fmla="*/ 603584 h 2885724"/>
              <a:gd name="connsiteX76" fmla="*/ 2095501 w 2872287"/>
              <a:gd name="connsiteY76" fmla="*/ 495982 h 2885724"/>
              <a:gd name="connsiteX77" fmla="*/ 2095501 w 2872287"/>
              <a:gd name="connsiteY77" fmla="*/ 326912 h 2885724"/>
              <a:gd name="connsiteX78" fmla="*/ 2147889 w 2872287"/>
              <a:gd name="connsiteY78" fmla="*/ 231662 h 2885724"/>
              <a:gd name="connsiteX79" fmla="*/ 2300289 w 2872287"/>
              <a:gd name="connsiteY79" fmla="*/ 69737 h 2885724"/>
              <a:gd name="connsiteX80" fmla="*/ 2352676 w 2872287"/>
              <a:gd name="connsiteY80" fmla="*/ 17349 h 2885724"/>
              <a:gd name="connsiteX81" fmla="*/ 2402682 w 2872287"/>
              <a:gd name="connsiteY81" fmla="*/ 680 h 2885724"/>
              <a:gd name="connsiteX0" fmla="*/ 1229400 w 2872287"/>
              <a:gd name="connsiteY0" fmla="*/ 1044324 h 2885724"/>
              <a:gd name="connsiteX1" fmla="*/ 1352739 w 2872287"/>
              <a:gd name="connsiteY1" fmla="*/ 1056758 h 2885724"/>
              <a:gd name="connsiteX2" fmla="*/ 1405032 w 2872287"/>
              <a:gd name="connsiteY2" fmla="*/ 1072990 h 2885724"/>
              <a:gd name="connsiteX3" fmla="*/ 1371388 w 2872287"/>
              <a:gd name="connsiteY3" fmla="*/ 1125341 h 2885724"/>
              <a:gd name="connsiteX4" fmla="*/ 1299983 w 2872287"/>
              <a:gd name="connsiteY4" fmla="*/ 1292254 h 2885724"/>
              <a:gd name="connsiteX5" fmla="*/ 1291507 w 2872287"/>
              <a:gd name="connsiteY5" fmla="*/ 1348568 h 2885724"/>
              <a:gd name="connsiteX6" fmla="*/ 1229400 w 2872287"/>
              <a:gd name="connsiteY6" fmla="*/ 1342307 h 2885724"/>
              <a:gd name="connsiteX7" fmla="*/ 915383 w 2872287"/>
              <a:gd name="connsiteY7" fmla="*/ 1656324 h 2885724"/>
              <a:gd name="connsiteX8" fmla="*/ 1229400 w 2872287"/>
              <a:gd name="connsiteY8" fmla="*/ 1970341 h 2885724"/>
              <a:gd name="connsiteX9" fmla="*/ 1543417 w 2872287"/>
              <a:gd name="connsiteY9" fmla="*/ 1656324 h 2885724"/>
              <a:gd name="connsiteX10" fmla="*/ 1537038 w 2872287"/>
              <a:gd name="connsiteY10" fmla="*/ 1593039 h 2885724"/>
              <a:gd name="connsiteX11" fmla="*/ 1532628 w 2872287"/>
              <a:gd name="connsiteY11" fmla="*/ 1578835 h 2885724"/>
              <a:gd name="connsiteX12" fmla="*/ 1573883 w 2872287"/>
              <a:gd name="connsiteY12" fmla="*/ 1572626 h 2885724"/>
              <a:gd name="connsiteX13" fmla="*/ 1740796 w 2872287"/>
              <a:gd name="connsiteY13" fmla="*/ 1501221 h 2885724"/>
              <a:gd name="connsiteX14" fmla="*/ 1806082 w 2872287"/>
              <a:gd name="connsiteY14" fmla="*/ 1459264 h 2885724"/>
              <a:gd name="connsiteX15" fmla="*/ 1828967 w 2872287"/>
              <a:gd name="connsiteY15" fmla="*/ 1532985 h 2885724"/>
              <a:gd name="connsiteX16" fmla="*/ 1841400 w 2872287"/>
              <a:gd name="connsiteY16" fmla="*/ 1656324 h 2885724"/>
              <a:gd name="connsiteX17" fmla="*/ 1229400 w 2872287"/>
              <a:gd name="connsiteY17" fmla="*/ 2268324 h 2885724"/>
              <a:gd name="connsiteX18" fmla="*/ 617400 w 2872287"/>
              <a:gd name="connsiteY18" fmla="*/ 1656324 h 2885724"/>
              <a:gd name="connsiteX19" fmla="*/ 1229400 w 2872287"/>
              <a:gd name="connsiteY19" fmla="*/ 1044324 h 2885724"/>
              <a:gd name="connsiteX20" fmla="*/ 1229400 w 2872287"/>
              <a:gd name="connsiteY20" fmla="*/ 426924 h 2885724"/>
              <a:gd name="connsiteX21" fmla="*/ 1916770 w 2872287"/>
              <a:gd name="connsiteY21" fmla="*/ 636886 h 2885724"/>
              <a:gd name="connsiteX22" fmla="*/ 1929798 w 2872287"/>
              <a:gd name="connsiteY22" fmla="*/ 646629 h 2885724"/>
              <a:gd name="connsiteX23" fmla="*/ 1885417 w 2872287"/>
              <a:gd name="connsiteY23" fmla="*/ 679181 h 2885724"/>
              <a:gd name="connsiteX24" fmla="*/ 1766443 w 2872287"/>
              <a:gd name="connsiteY24" fmla="*/ 778925 h 2885724"/>
              <a:gd name="connsiteX25" fmla="*/ 1697698 w 2872287"/>
              <a:gd name="connsiteY25" fmla="*/ 843854 h 2885724"/>
              <a:gd name="connsiteX26" fmla="*/ 1676733 w 2872287"/>
              <a:gd name="connsiteY26" fmla="*/ 831118 h 2885724"/>
              <a:gd name="connsiteX27" fmla="*/ 1229400 w 2872287"/>
              <a:gd name="connsiteY27" fmla="*/ 717849 h 2885724"/>
              <a:gd name="connsiteX28" fmla="*/ 290925 w 2872287"/>
              <a:gd name="connsiteY28" fmla="*/ 1656324 h 2885724"/>
              <a:gd name="connsiteX29" fmla="*/ 1229400 w 2872287"/>
              <a:gd name="connsiteY29" fmla="*/ 2594799 h 2885724"/>
              <a:gd name="connsiteX30" fmla="*/ 2167875 w 2872287"/>
              <a:gd name="connsiteY30" fmla="*/ 1656324 h 2885724"/>
              <a:gd name="connsiteX31" fmla="*/ 2054606 w 2872287"/>
              <a:gd name="connsiteY31" fmla="*/ 1208991 h 2885724"/>
              <a:gd name="connsiteX32" fmla="*/ 2028904 w 2872287"/>
              <a:gd name="connsiteY32" fmla="*/ 1166684 h 2885724"/>
              <a:gd name="connsiteX33" fmla="*/ 2089764 w 2872287"/>
              <a:gd name="connsiteY33" fmla="*/ 1102246 h 2885724"/>
              <a:gd name="connsiteX34" fmla="*/ 2189508 w 2872287"/>
              <a:gd name="connsiteY34" fmla="*/ 983272 h 2885724"/>
              <a:gd name="connsiteX35" fmla="*/ 2224188 w 2872287"/>
              <a:gd name="connsiteY35" fmla="*/ 935991 h 2885724"/>
              <a:gd name="connsiteX36" fmla="*/ 2248838 w 2872287"/>
              <a:gd name="connsiteY36" fmla="*/ 968955 h 2885724"/>
              <a:gd name="connsiteX37" fmla="*/ 2458800 w 2872287"/>
              <a:gd name="connsiteY37" fmla="*/ 1656324 h 2885724"/>
              <a:gd name="connsiteX38" fmla="*/ 1229400 w 2872287"/>
              <a:gd name="connsiteY38" fmla="*/ 2885724 h 2885724"/>
              <a:gd name="connsiteX39" fmla="*/ 0 w 2872287"/>
              <a:gd name="connsiteY39" fmla="*/ 1656324 h 2885724"/>
              <a:gd name="connsiteX40" fmla="*/ 1229400 w 2872287"/>
              <a:gd name="connsiteY40" fmla="*/ 426924 h 2885724"/>
              <a:gd name="connsiteX41" fmla="*/ 2402682 w 2872287"/>
              <a:gd name="connsiteY41" fmla="*/ 680 h 2885724"/>
              <a:gd name="connsiteX42" fmla="*/ 2450307 w 2872287"/>
              <a:gd name="connsiteY42" fmla="*/ 36399 h 2885724"/>
              <a:gd name="connsiteX43" fmla="*/ 2493170 w 2872287"/>
              <a:gd name="connsiteY43" fmla="*/ 184037 h 2885724"/>
              <a:gd name="connsiteX44" fmla="*/ 2524126 w 2872287"/>
              <a:gd name="connsiteY44" fmla="*/ 336437 h 2885724"/>
              <a:gd name="connsiteX45" fmla="*/ 2776539 w 2872287"/>
              <a:gd name="connsiteY45" fmla="*/ 405494 h 2885724"/>
              <a:gd name="connsiteX46" fmla="*/ 2864645 w 2872287"/>
              <a:gd name="connsiteY46" fmla="*/ 450737 h 2885724"/>
              <a:gd name="connsiteX47" fmla="*/ 2859882 w 2872287"/>
              <a:gd name="connsiteY47" fmla="*/ 515030 h 2885724"/>
              <a:gd name="connsiteX48" fmla="*/ 2795589 w 2872287"/>
              <a:gd name="connsiteY48" fmla="*/ 591230 h 2885724"/>
              <a:gd name="connsiteX49" fmla="*/ 2667002 w 2872287"/>
              <a:gd name="connsiteY49" fmla="*/ 715055 h 2885724"/>
              <a:gd name="connsiteX50" fmla="*/ 2552701 w 2872287"/>
              <a:gd name="connsiteY50" fmla="*/ 769824 h 2885724"/>
              <a:gd name="connsiteX51" fmla="*/ 2431257 w 2872287"/>
              <a:gd name="connsiteY51" fmla="*/ 784112 h 2885724"/>
              <a:gd name="connsiteX52" fmla="*/ 2271714 w 2872287"/>
              <a:gd name="connsiteY52" fmla="*/ 762680 h 2885724"/>
              <a:gd name="connsiteX53" fmla="*/ 2225051 w 2872287"/>
              <a:gd name="connsiteY53" fmla="*/ 746476 h 2885724"/>
              <a:gd name="connsiteX54" fmla="*/ 2216943 w 2872287"/>
              <a:gd name="connsiteY54" fmla="*/ 757918 h 2885724"/>
              <a:gd name="connsiteX55" fmla="*/ 2064543 w 2872287"/>
              <a:gd name="connsiteY55" fmla="*/ 962705 h 2885724"/>
              <a:gd name="connsiteX56" fmla="*/ 1862137 w 2872287"/>
              <a:gd name="connsiteY56" fmla="*/ 1212737 h 2885724"/>
              <a:gd name="connsiteX57" fmla="*/ 1750218 w 2872287"/>
              <a:gd name="connsiteY57" fmla="*/ 1334180 h 2885724"/>
              <a:gd name="connsiteX58" fmla="*/ 1664493 w 2872287"/>
              <a:gd name="connsiteY58" fmla="*/ 1407999 h 2885724"/>
              <a:gd name="connsiteX59" fmla="*/ 1607343 w 2872287"/>
              <a:gd name="connsiteY59" fmla="*/ 1438955 h 2885724"/>
              <a:gd name="connsiteX60" fmla="*/ 1550193 w 2872287"/>
              <a:gd name="connsiteY60" fmla="*/ 1438955 h 2885724"/>
              <a:gd name="connsiteX61" fmla="*/ 1526380 w 2872287"/>
              <a:gd name="connsiteY61" fmla="*/ 1438955 h 2885724"/>
              <a:gd name="connsiteX62" fmla="*/ 1521677 w 2872287"/>
              <a:gd name="connsiteY62" fmla="*/ 1440971 h 2885724"/>
              <a:gd name="connsiteX63" fmla="*/ 1499508 w 2872287"/>
              <a:gd name="connsiteY63" fmla="*/ 1464922 h 2885724"/>
              <a:gd name="connsiteX64" fmla="*/ 1198503 w 2872287"/>
              <a:gd name="connsiteY64" fmla="*/ 1669195 h 2885724"/>
              <a:gd name="connsiteX65" fmla="*/ 1402776 w 2872287"/>
              <a:gd name="connsiteY65" fmla="*/ 1368190 h 2885724"/>
              <a:gd name="connsiteX66" fmla="*/ 1429420 w 2872287"/>
              <a:gd name="connsiteY66" fmla="*/ 1343529 h 2885724"/>
              <a:gd name="connsiteX67" fmla="*/ 1427856 w 2872287"/>
              <a:gd name="connsiteY67" fmla="*/ 1324358 h 2885724"/>
              <a:gd name="connsiteX68" fmla="*/ 1423987 w 2872287"/>
              <a:gd name="connsiteY68" fmla="*/ 1288937 h 2885724"/>
              <a:gd name="connsiteX69" fmla="*/ 1435893 w 2872287"/>
              <a:gd name="connsiteY69" fmla="*/ 1231787 h 2885724"/>
              <a:gd name="connsiteX70" fmla="*/ 1502568 w 2872287"/>
              <a:gd name="connsiteY70" fmla="*/ 1148443 h 2885724"/>
              <a:gd name="connsiteX71" fmla="*/ 1693068 w 2872287"/>
              <a:gd name="connsiteY71" fmla="*/ 972230 h 2885724"/>
              <a:gd name="connsiteX72" fmla="*/ 1959768 w 2872287"/>
              <a:gd name="connsiteY72" fmla="*/ 760299 h 2885724"/>
              <a:gd name="connsiteX73" fmla="*/ 2058441 w 2872287"/>
              <a:gd name="connsiteY73" fmla="*/ 689309 h 2885724"/>
              <a:gd name="connsiteX74" fmla="*/ 2114702 w 2872287"/>
              <a:gd name="connsiteY74" fmla="*/ 654020 h 2885724"/>
              <a:gd name="connsiteX75" fmla="*/ 2106812 w 2872287"/>
              <a:gd name="connsiteY75" fmla="*/ 603584 h 2885724"/>
              <a:gd name="connsiteX76" fmla="*/ 2095501 w 2872287"/>
              <a:gd name="connsiteY76" fmla="*/ 495982 h 2885724"/>
              <a:gd name="connsiteX77" fmla="*/ 2095501 w 2872287"/>
              <a:gd name="connsiteY77" fmla="*/ 326912 h 2885724"/>
              <a:gd name="connsiteX78" fmla="*/ 2147889 w 2872287"/>
              <a:gd name="connsiteY78" fmla="*/ 231662 h 2885724"/>
              <a:gd name="connsiteX79" fmla="*/ 2300289 w 2872287"/>
              <a:gd name="connsiteY79" fmla="*/ 69737 h 2885724"/>
              <a:gd name="connsiteX80" fmla="*/ 2352676 w 2872287"/>
              <a:gd name="connsiteY80" fmla="*/ 17349 h 2885724"/>
              <a:gd name="connsiteX81" fmla="*/ 2402682 w 2872287"/>
              <a:gd name="connsiteY81" fmla="*/ 680 h 2885724"/>
              <a:gd name="connsiteX0" fmla="*/ 1229400 w 2872287"/>
              <a:gd name="connsiteY0" fmla="*/ 1044324 h 2885724"/>
              <a:gd name="connsiteX1" fmla="*/ 1352739 w 2872287"/>
              <a:gd name="connsiteY1" fmla="*/ 1056758 h 2885724"/>
              <a:gd name="connsiteX2" fmla="*/ 1405032 w 2872287"/>
              <a:gd name="connsiteY2" fmla="*/ 1072990 h 2885724"/>
              <a:gd name="connsiteX3" fmla="*/ 1371388 w 2872287"/>
              <a:gd name="connsiteY3" fmla="*/ 1125341 h 2885724"/>
              <a:gd name="connsiteX4" fmla="*/ 1299983 w 2872287"/>
              <a:gd name="connsiteY4" fmla="*/ 1292254 h 2885724"/>
              <a:gd name="connsiteX5" fmla="*/ 1291507 w 2872287"/>
              <a:gd name="connsiteY5" fmla="*/ 1348568 h 2885724"/>
              <a:gd name="connsiteX6" fmla="*/ 1229400 w 2872287"/>
              <a:gd name="connsiteY6" fmla="*/ 1342307 h 2885724"/>
              <a:gd name="connsiteX7" fmla="*/ 915383 w 2872287"/>
              <a:gd name="connsiteY7" fmla="*/ 1656324 h 2885724"/>
              <a:gd name="connsiteX8" fmla="*/ 1229400 w 2872287"/>
              <a:gd name="connsiteY8" fmla="*/ 1970341 h 2885724"/>
              <a:gd name="connsiteX9" fmla="*/ 1543417 w 2872287"/>
              <a:gd name="connsiteY9" fmla="*/ 1656324 h 2885724"/>
              <a:gd name="connsiteX10" fmla="*/ 1537038 w 2872287"/>
              <a:gd name="connsiteY10" fmla="*/ 1593039 h 2885724"/>
              <a:gd name="connsiteX11" fmla="*/ 1532628 w 2872287"/>
              <a:gd name="connsiteY11" fmla="*/ 1578835 h 2885724"/>
              <a:gd name="connsiteX12" fmla="*/ 1573883 w 2872287"/>
              <a:gd name="connsiteY12" fmla="*/ 1572626 h 2885724"/>
              <a:gd name="connsiteX13" fmla="*/ 1740796 w 2872287"/>
              <a:gd name="connsiteY13" fmla="*/ 1501221 h 2885724"/>
              <a:gd name="connsiteX14" fmla="*/ 1806082 w 2872287"/>
              <a:gd name="connsiteY14" fmla="*/ 1459264 h 2885724"/>
              <a:gd name="connsiteX15" fmla="*/ 1828967 w 2872287"/>
              <a:gd name="connsiteY15" fmla="*/ 1532985 h 2885724"/>
              <a:gd name="connsiteX16" fmla="*/ 1841400 w 2872287"/>
              <a:gd name="connsiteY16" fmla="*/ 1656324 h 2885724"/>
              <a:gd name="connsiteX17" fmla="*/ 1229400 w 2872287"/>
              <a:gd name="connsiteY17" fmla="*/ 2268324 h 2885724"/>
              <a:gd name="connsiteX18" fmla="*/ 617400 w 2872287"/>
              <a:gd name="connsiteY18" fmla="*/ 1656324 h 2885724"/>
              <a:gd name="connsiteX19" fmla="*/ 1229400 w 2872287"/>
              <a:gd name="connsiteY19" fmla="*/ 1044324 h 2885724"/>
              <a:gd name="connsiteX20" fmla="*/ 1229400 w 2872287"/>
              <a:gd name="connsiteY20" fmla="*/ 426924 h 2885724"/>
              <a:gd name="connsiteX21" fmla="*/ 1916770 w 2872287"/>
              <a:gd name="connsiteY21" fmla="*/ 636886 h 2885724"/>
              <a:gd name="connsiteX22" fmla="*/ 1929798 w 2872287"/>
              <a:gd name="connsiteY22" fmla="*/ 646629 h 2885724"/>
              <a:gd name="connsiteX23" fmla="*/ 1885417 w 2872287"/>
              <a:gd name="connsiteY23" fmla="*/ 679181 h 2885724"/>
              <a:gd name="connsiteX24" fmla="*/ 1766443 w 2872287"/>
              <a:gd name="connsiteY24" fmla="*/ 778925 h 2885724"/>
              <a:gd name="connsiteX25" fmla="*/ 1697698 w 2872287"/>
              <a:gd name="connsiteY25" fmla="*/ 843854 h 2885724"/>
              <a:gd name="connsiteX26" fmla="*/ 1676733 w 2872287"/>
              <a:gd name="connsiteY26" fmla="*/ 831118 h 2885724"/>
              <a:gd name="connsiteX27" fmla="*/ 1229400 w 2872287"/>
              <a:gd name="connsiteY27" fmla="*/ 717849 h 2885724"/>
              <a:gd name="connsiteX28" fmla="*/ 290925 w 2872287"/>
              <a:gd name="connsiteY28" fmla="*/ 1656324 h 2885724"/>
              <a:gd name="connsiteX29" fmla="*/ 1229400 w 2872287"/>
              <a:gd name="connsiteY29" fmla="*/ 2594799 h 2885724"/>
              <a:gd name="connsiteX30" fmla="*/ 2167875 w 2872287"/>
              <a:gd name="connsiteY30" fmla="*/ 1656324 h 2885724"/>
              <a:gd name="connsiteX31" fmla="*/ 2054606 w 2872287"/>
              <a:gd name="connsiteY31" fmla="*/ 1208991 h 2885724"/>
              <a:gd name="connsiteX32" fmla="*/ 2028904 w 2872287"/>
              <a:gd name="connsiteY32" fmla="*/ 1166684 h 2885724"/>
              <a:gd name="connsiteX33" fmla="*/ 2089764 w 2872287"/>
              <a:gd name="connsiteY33" fmla="*/ 1102246 h 2885724"/>
              <a:gd name="connsiteX34" fmla="*/ 2189508 w 2872287"/>
              <a:gd name="connsiteY34" fmla="*/ 983272 h 2885724"/>
              <a:gd name="connsiteX35" fmla="*/ 2224188 w 2872287"/>
              <a:gd name="connsiteY35" fmla="*/ 935991 h 2885724"/>
              <a:gd name="connsiteX36" fmla="*/ 2248838 w 2872287"/>
              <a:gd name="connsiteY36" fmla="*/ 968955 h 2885724"/>
              <a:gd name="connsiteX37" fmla="*/ 2458800 w 2872287"/>
              <a:gd name="connsiteY37" fmla="*/ 1656324 h 2885724"/>
              <a:gd name="connsiteX38" fmla="*/ 1229400 w 2872287"/>
              <a:gd name="connsiteY38" fmla="*/ 2885724 h 2885724"/>
              <a:gd name="connsiteX39" fmla="*/ 0 w 2872287"/>
              <a:gd name="connsiteY39" fmla="*/ 1656324 h 2885724"/>
              <a:gd name="connsiteX40" fmla="*/ 1229400 w 2872287"/>
              <a:gd name="connsiteY40" fmla="*/ 426924 h 2885724"/>
              <a:gd name="connsiteX41" fmla="*/ 2402682 w 2872287"/>
              <a:gd name="connsiteY41" fmla="*/ 680 h 2885724"/>
              <a:gd name="connsiteX42" fmla="*/ 2450307 w 2872287"/>
              <a:gd name="connsiteY42" fmla="*/ 36399 h 2885724"/>
              <a:gd name="connsiteX43" fmla="*/ 2493170 w 2872287"/>
              <a:gd name="connsiteY43" fmla="*/ 184037 h 2885724"/>
              <a:gd name="connsiteX44" fmla="*/ 2528888 w 2872287"/>
              <a:gd name="connsiteY44" fmla="*/ 341199 h 2885724"/>
              <a:gd name="connsiteX45" fmla="*/ 2776539 w 2872287"/>
              <a:gd name="connsiteY45" fmla="*/ 405494 h 2885724"/>
              <a:gd name="connsiteX46" fmla="*/ 2864645 w 2872287"/>
              <a:gd name="connsiteY46" fmla="*/ 450737 h 2885724"/>
              <a:gd name="connsiteX47" fmla="*/ 2859882 w 2872287"/>
              <a:gd name="connsiteY47" fmla="*/ 515030 h 2885724"/>
              <a:gd name="connsiteX48" fmla="*/ 2795589 w 2872287"/>
              <a:gd name="connsiteY48" fmla="*/ 591230 h 2885724"/>
              <a:gd name="connsiteX49" fmla="*/ 2667002 w 2872287"/>
              <a:gd name="connsiteY49" fmla="*/ 715055 h 2885724"/>
              <a:gd name="connsiteX50" fmla="*/ 2552701 w 2872287"/>
              <a:gd name="connsiteY50" fmla="*/ 769824 h 2885724"/>
              <a:gd name="connsiteX51" fmla="*/ 2431257 w 2872287"/>
              <a:gd name="connsiteY51" fmla="*/ 784112 h 2885724"/>
              <a:gd name="connsiteX52" fmla="*/ 2271714 w 2872287"/>
              <a:gd name="connsiteY52" fmla="*/ 762680 h 2885724"/>
              <a:gd name="connsiteX53" fmla="*/ 2225051 w 2872287"/>
              <a:gd name="connsiteY53" fmla="*/ 746476 h 2885724"/>
              <a:gd name="connsiteX54" fmla="*/ 2216943 w 2872287"/>
              <a:gd name="connsiteY54" fmla="*/ 757918 h 2885724"/>
              <a:gd name="connsiteX55" fmla="*/ 2064543 w 2872287"/>
              <a:gd name="connsiteY55" fmla="*/ 962705 h 2885724"/>
              <a:gd name="connsiteX56" fmla="*/ 1862137 w 2872287"/>
              <a:gd name="connsiteY56" fmla="*/ 1212737 h 2885724"/>
              <a:gd name="connsiteX57" fmla="*/ 1750218 w 2872287"/>
              <a:gd name="connsiteY57" fmla="*/ 1334180 h 2885724"/>
              <a:gd name="connsiteX58" fmla="*/ 1664493 w 2872287"/>
              <a:gd name="connsiteY58" fmla="*/ 1407999 h 2885724"/>
              <a:gd name="connsiteX59" fmla="*/ 1607343 w 2872287"/>
              <a:gd name="connsiteY59" fmla="*/ 1438955 h 2885724"/>
              <a:gd name="connsiteX60" fmla="*/ 1550193 w 2872287"/>
              <a:gd name="connsiteY60" fmla="*/ 1438955 h 2885724"/>
              <a:gd name="connsiteX61" fmla="*/ 1526380 w 2872287"/>
              <a:gd name="connsiteY61" fmla="*/ 1438955 h 2885724"/>
              <a:gd name="connsiteX62" fmla="*/ 1521677 w 2872287"/>
              <a:gd name="connsiteY62" fmla="*/ 1440971 h 2885724"/>
              <a:gd name="connsiteX63" fmla="*/ 1499508 w 2872287"/>
              <a:gd name="connsiteY63" fmla="*/ 1464922 h 2885724"/>
              <a:gd name="connsiteX64" fmla="*/ 1198503 w 2872287"/>
              <a:gd name="connsiteY64" fmla="*/ 1669195 h 2885724"/>
              <a:gd name="connsiteX65" fmla="*/ 1402776 w 2872287"/>
              <a:gd name="connsiteY65" fmla="*/ 1368190 h 2885724"/>
              <a:gd name="connsiteX66" fmla="*/ 1429420 w 2872287"/>
              <a:gd name="connsiteY66" fmla="*/ 1343529 h 2885724"/>
              <a:gd name="connsiteX67" fmla="*/ 1427856 w 2872287"/>
              <a:gd name="connsiteY67" fmla="*/ 1324358 h 2885724"/>
              <a:gd name="connsiteX68" fmla="*/ 1423987 w 2872287"/>
              <a:gd name="connsiteY68" fmla="*/ 1288937 h 2885724"/>
              <a:gd name="connsiteX69" fmla="*/ 1435893 w 2872287"/>
              <a:gd name="connsiteY69" fmla="*/ 1231787 h 2885724"/>
              <a:gd name="connsiteX70" fmla="*/ 1502568 w 2872287"/>
              <a:gd name="connsiteY70" fmla="*/ 1148443 h 2885724"/>
              <a:gd name="connsiteX71" fmla="*/ 1693068 w 2872287"/>
              <a:gd name="connsiteY71" fmla="*/ 972230 h 2885724"/>
              <a:gd name="connsiteX72" fmla="*/ 1959768 w 2872287"/>
              <a:gd name="connsiteY72" fmla="*/ 760299 h 2885724"/>
              <a:gd name="connsiteX73" fmla="*/ 2058441 w 2872287"/>
              <a:gd name="connsiteY73" fmla="*/ 689309 h 2885724"/>
              <a:gd name="connsiteX74" fmla="*/ 2114702 w 2872287"/>
              <a:gd name="connsiteY74" fmla="*/ 654020 h 2885724"/>
              <a:gd name="connsiteX75" fmla="*/ 2106812 w 2872287"/>
              <a:gd name="connsiteY75" fmla="*/ 603584 h 2885724"/>
              <a:gd name="connsiteX76" fmla="*/ 2095501 w 2872287"/>
              <a:gd name="connsiteY76" fmla="*/ 495982 h 2885724"/>
              <a:gd name="connsiteX77" fmla="*/ 2095501 w 2872287"/>
              <a:gd name="connsiteY77" fmla="*/ 326912 h 2885724"/>
              <a:gd name="connsiteX78" fmla="*/ 2147889 w 2872287"/>
              <a:gd name="connsiteY78" fmla="*/ 231662 h 2885724"/>
              <a:gd name="connsiteX79" fmla="*/ 2300289 w 2872287"/>
              <a:gd name="connsiteY79" fmla="*/ 69737 h 2885724"/>
              <a:gd name="connsiteX80" fmla="*/ 2352676 w 2872287"/>
              <a:gd name="connsiteY80" fmla="*/ 17349 h 2885724"/>
              <a:gd name="connsiteX81" fmla="*/ 2402682 w 2872287"/>
              <a:gd name="connsiteY81" fmla="*/ 680 h 2885724"/>
              <a:gd name="connsiteX0" fmla="*/ 1229400 w 2872287"/>
              <a:gd name="connsiteY0" fmla="*/ 1044324 h 2885724"/>
              <a:gd name="connsiteX1" fmla="*/ 1352739 w 2872287"/>
              <a:gd name="connsiteY1" fmla="*/ 1056758 h 2885724"/>
              <a:gd name="connsiteX2" fmla="*/ 1405032 w 2872287"/>
              <a:gd name="connsiteY2" fmla="*/ 1072990 h 2885724"/>
              <a:gd name="connsiteX3" fmla="*/ 1371388 w 2872287"/>
              <a:gd name="connsiteY3" fmla="*/ 1125341 h 2885724"/>
              <a:gd name="connsiteX4" fmla="*/ 1299983 w 2872287"/>
              <a:gd name="connsiteY4" fmla="*/ 1292254 h 2885724"/>
              <a:gd name="connsiteX5" fmla="*/ 1291507 w 2872287"/>
              <a:gd name="connsiteY5" fmla="*/ 1348568 h 2885724"/>
              <a:gd name="connsiteX6" fmla="*/ 1229400 w 2872287"/>
              <a:gd name="connsiteY6" fmla="*/ 1342307 h 2885724"/>
              <a:gd name="connsiteX7" fmla="*/ 915383 w 2872287"/>
              <a:gd name="connsiteY7" fmla="*/ 1656324 h 2885724"/>
              <a:gd name="connsiteX8" fmla="*/ 1229400 w 2872287"/>
              <a:gd name="connsiteY8" fmla="*/ 1970341 h 2885724"/>
              <a:gd name="connsiteX9" fmla="*/ 1543417 w 2872287"/>
              <a:gd name="connsiteY9" fmla="*/ 1656324 h 2885724"/>
              <a:gd name="connsiteX10" fmla="*/ 1537038 w 2872287"/>
              <a:gd name="connsiteY10" fmla="*/ 1593039 h 2885724"/>
              <a:gd name="connsiteX11" fmla="*/ 1532628 w 2872287"/>
              <a:gd name="connsiteY11" fmla="*/ 1578835 h 2885724"/>
              <a:gd name="connsiteX12" fmla="*/ 1573883 w 2872287"/>
              <a:gd name="connsiteY12" fmla="*/ 1572626 h 2885724"/>
              <a:gd name="connsiteX13" fmla="*/ 1740796 w 2872287"/>
              <a:gd name="connsiteY13" fmla="*/ 1501221 h 2885724"/>
              <a:gd name="connsiteX14" fmla="*/ 1806082 w 2872287"/>
              <a:gd name="connsiteY14" fmla="*/ 1459264 h 2885724"/>
              <a:gd name="connsiteX15" fmla="*/ 1828967 w 2872287"/>
              <a:gd name="connsiteY15" fmla="*/ 1532985 h 2885724"/>
              <a:gd name="connsiteX16" fmla="*/ 1841400 w 2872287"/>
              <a:gd name="connsiteY16" fmla="*/ 1656324 h 2885724"/>
              <a:gd name="connsiteX17" fmla="*/ 1229400 w 2872287"/>
              <a:gd name="connsiteY17" fmla="*/ 2268324 h 2885724"/>
              <a:gd name="connsiteX18" fmla="*/ 617400 w 2872287"/>
              <a:gd name="connsiteY18" fmla="*/ 1656324 h 2885724"/>
              <a:gd name="connsiteX19" fmla="*/ 1229400 w 2872287"/>
              <a:gd name="connsiteY19" fmla="*/ 1044324 h 2885724"/>
              <a:gd name="connsiteX20" fmla="*/ 1229400 w 2872287"/>
              <a:gd name="connsiteY20" fmla="*/ 426924 h 2885724"/>
              <a:gd name="connsiteX21" fmla="*/ 1916770 w 2872287"/>
              <a:gd name="connsiteY21" fmla="*/ 636886 h 2885724"/>
              <a:gd name="connsiteX22" fmla="*/ 1929798 w 2872287"/>
              <a:gd name="connsiteY22" fmla="*/ 646629 h 2885724"/>
              <a:gd name="connsiteX23" fmla="*/ 1885417 w 2872287"/>
              <a:gd name="connsiteY23" fmla="*/ 679181 h 2885724"/>
              <a:gd name="connsiteX24" fmla="*/ 1766443 w 2872287"/>
              <a:gd name="connsiteY24" fmla="*/ 778925 h 2885724"/>
              <a:gd name="connsiteX25" fmla="*/ 1697698 w 2872287"/>
              <a:gd name="connsiteY25" fmla="*/ 843854 h 2885724"/>
              <a:gd name="connsiteX26" fmla="*/ 1676733 w 2872287"/>
              <a:gd name="connsiteY26" fmla="*/ 831118 h 2885724"/>
              <a:gd name="connsiteX27" fmla="*/ 1229400 w 2872287"/>
              <a:gd name="connsiteY27" fmla="*/ 717849 h 2885724"/>
              <a:gd name="connsiteX28" fmla="*/ 290925 w 2872287"/>
              <a:gd name="connsiteY28" fmla="*/ 1656324 h 2885724"/>
              <a:gd name="connsiteX29" fmla="*/ 1229400 w 2872287"/>
              <a:gd name="connsiteY29" fmla="*/ 2594799 h 2885724"/>
              <a:gd name="connsiteX30" fmla="*/ 2167875 w 2872287"/>
              <a:gd name="connsiteY30" fmla="*/ 1656324 h 2885724"/>
              <a:gd name="connsiteX31" fmla="*/ 2054606 w 2872287"/>
              <a:gd name="connsiteY31" fmla="*/ 1208991 h 2885724"/>
              <a:gd name="connsiteX32" fmla="*/ 2028904 w 2872287"/>
              <a:gd name="connsiteY32" fmla="*/ 1166684 h 2885724"/>
              <a:gd name="connsiteX33" fmla="*/ 2089764 w 2872287"/>
              <a:gd name="connsiteY33" fmla="*/ 1102246 h 2885724"/>
              <a:gd name="connsiteX34" fmla="*/ 2189508 w 2872287"/>
              <a:gd name="connsiteY34" fmla="*/ 983272 h 2885724"/>
              <a:gd name="connsiteX35" fmla="*/ 2224188 w 2872287"/>
              <a:gd name="connsiteY35" fmla="*/ 935991 h 2885724"/>
              <a:gd name="connsiteX36" fmla="*/ 2248838 w 2872287"/>
              <a:gd name="connsiteY36" fmla="*/ 968955 h 2885724"/>
              <a:gd name="connsiteX37" fmla="*/ 2458800 w 2872287"/>
              <a:gd name="connsiteY37" fmla="*/ 1656324 h 2885724"/>
              <a:gd name="connsiteX38" fmla="*/ 1229400 w 2872287"/>
              <a:gd name="connsiteY38" fmla="*/ 2885724 h 2885724"/>
              <a:gd name="connsiteX39" fmla="*/ 0 w 2872287"/>
              <a:gd name="connsiteY39" fmla="*/ 1656324 h 2885724"/>
              <a:gd name="connsiteX40" fmla="*/ 1229400 w 2872287"/>
              <a:gd name="connsiteY40" fmla="*/ 426924 h 2885724"/>
              <a:gd name="connsiteX41" fmla="*/ 2402682 w 2872287"/>
              <a:gd name="connsiteY41" fmla="*/ 680 h 2885724"/>
              <a:gd name="connsiteX42" fmla="*/ 2450307 w 2872287"/>
              <a:gd name="connsiteY42" fmla="*/ 36399 h 2885724"/>
              <a:gd name="connsiteX43" fmla="*/ 2493170 w 2872287"/>
              <a:gd name="connsiteY43" fmla="*/ 184037 h 2885724"/>
              <a:gd name="connsiteX44" fmla="*/ 2528888 w 2872287"/>
              <a:gd name="connsiteY44" fmla="*/ 341199 h 2885724"/>
              <a:gd name="connsiteX45" fmla="*/ 2776539 w 2872287"/>
              <a:gd name="connsiteY45" fmla="*/ 405494 h 2885724"/>
              <a:gd name="connsiteX46" fmla="*/ 2864645 w 2872287"/>
              <a:gd name="connsiteY46" fmla="*/ 450737 h 2885724"/>
              <a:gd name="connsiteX47" fmla="*/ 2859882 w 2872287"/>
              <a:gd name="connsiteY47" fmla="*/ 515030 h 2885724"/>
              <a:gd name="connsiteX48" fmla="*/ 2795589 w 2872287"/>
              <a:gd name="connsiteY48" fmla="*/ 591230 h 2885724"/>
              <a:gd name="connsiteX49" fmla="*/ 2667002 w 2872287"/>
              <a:gd name="connsiteY49" fmla="*/ 715055 h 2885724"/>
              <a:gd name="connsiteX50" fmla="*/ 2552701 w 2872287"/>
              <a:gd name="connsiteY50" fmla="*/ 769824 h 2885724"/>
              <a:gd name="connsiteX51" fmla="*/ 2431257 w 2872287"/>
              <a:gd name="connsiteY51" fmla="*/ 784112 h 2885724"/>
              <a:gd name="connsiteX52" fmla="*/ 2271714 w 2872287"/>
              <a:gd name="connsiteY52" fmla="*/ 762680 h 2885724"/>
              <a:gd name="connsiteX53" fmla="*/ 2225051 w 2872287"/>
              <a:gd name="connsiteY53" fmla="*/ 746476 h 2885724"/>
              <a:gd name="connsiteX54" fmla="*/ 2216943 w 2872287"/>
              <a:gd name="connsiteY54" fmla="*/ 757918 h 2885724"/>
              <a:gd name="connsiteX55" fmla="*/ 2064543 w 2872287"/>
              <a:gd name="connsiteY55" fmla="*/ 962705 h 2885724"/>
              <a:gd name="connsiteX56" fmla="*/ 1862137 w 2872287"/>
              <a:gd name="connsiteY56" fmla="*/ 1212737 h 2885724"/>
              <a:gd name="connsiteX57" fmla="*/ 1750218 w 2872287"/>
              <a:gd name="connsiteY57" fmla="*/ 1334180 h 2885724"/>
              <a:gd name="connsiteX58" fmla="*/ 1664493 w 2872287"/>
              <a:gd name="connsiteY58" fmla="*/ 1407999 h 2885724"/>
              <a:gd name="connsiteX59" fmla="*/ 1607343 w 2872287"/>
              <a:gd name="connsiteY59" fmla="*/ 1438955 h 2885724"/>
              <a:gd name="connsiteX60" fmla="*/ 1550193 w 2872287"/>
              <a:gd name="connsiteY60" fmla="*/ 1438955 h 2885724"/>
              <a:gd name="connsiteX61" fmla="*/ 1526380 w 2872287"/>
              <a:gd name="connsiteY61" fmla="*/ 1438955 h 2885724"/>
              <a:gd name="connsiteX62" fmla="*/ 1521677 w 2872287"/>
              <a:gd name="connsiteY62" fmla="*/ 1440971 h 2885724"/>
              <a:gd name="connsiteX63" fmla="*/ 1499508 w 2872287"/>
              <a:gd name="connsiteY63" fmla="*/ 1464922 h 2885724"/>
              <a:gd name="connsiteX64" fmla="*/ 1198503 w 2872287"/>
              <a:gd name="connsiteY64" fmla="*/ 1669195 h 2885724"/>
              <a:gd name="connsiteX65" fmla="*/ 1402776 w 2872287"/>
              <a:gd name="connsiteY65" fmla="*/ 1368190 h 2885724"/>
              <a:gd name="connsiteX66" fmla="*/ 1429420 w 2872287"/>
              <a:gd name="connsiteY66" fmla="*/ 1343529 h 2885724"/>
              <a:gd name="connsiteX67" fmla="*/ 1427856 w 2872287"/>
              <a:gd name="connsiteY67" fmla="*/ 1324358 h 2885724"/>
              <a:gd name="connsiteX68" fmla="*/ 1423987 w 2872287"/>
              <a:gd name="connsiteY68" fmla="*/ 1288937 h 2885724"/>
              <a:gd name="connsiteX69" fmla="*/ 1435893 w 2872287"/>
              <a:gd name="connsiteY69" fmla="*/ 1231787 h 2885724"/>
              <a:gd name="connsiteX70" fmla="*/ 1502568 w 2872287"/>
              <a:gd name="connsiteY70" fmla="*/ 1148443 h 2885724"/>
              <a:gd name="connsiteX71" fmla="*/ 1693068 w 2872287"/>
              <a:gd name="connsiteY71" fmla="*/ 972230 h 2885724"/>
              <a:gd name="connsiteX72" fmla="*/ 1959768 w 2872287"/>
              <a:gd name="connsiteY72" fmla="*/ 760299 h 2885724"/>
              <a:gd name="connsiteX73" fmla="*/ 2058441 w 2872287"/>
              <a:gd name="connsiteY73" fmla="*/ 689309 h 2885724"/>
              <a:gd name="connsiteX74" fmla="*/ 2114702 w 2872287"/>
              <a:gd name="connsiteY74" fmla="*/ 654020 h 2885724"/>
              <a:gd name="connsiteX75" fmla="*/ 2106812 w 2872287"/>
              <a:gd name="connsiteY75" fmla="*/ 603584 h 2885724"/>
              <a:gd name="connsiteX76" fmla="*/ 2095501 w 2872287"/>
              <a:gd name="connsiteY76" fmla="*/ 495982 h 2885724"/>
              <a:gd name="connsiteX77" fmla="*/ 2095501 w 2872287"/>
              <a:gd name="connsiteY77" fmla="*/ 326912 h 2885724"/>
              <a:gd name="connsiteX78" fmla="*/ 2147889 w 2872287"/>
              <a:gd name="connsiteY78" fmla="*/ 231662 h 2885724"/>
              <a:gd name="connsiteX79" fmla="*/ 2300289 w 2872287"/>
              <a:gd name="connsiteY79" fmla="*/ 69737 h 2885724"/>
              <a:gd name="connsiteX80" fmla="*/ 2352676 w 2872287"/>
              <a:gd name="connsiteY80" fmla="*/ 17349 h 2885724"/>
              <a:gd name="connsiteX81" fmla="*/ 2402682 w 2872287"/>
              <a:gd name="connsiteY81" fmla="*/ 680 h 2885724"/>
              <a:gd name="connsiteX0" fmla="*/ 1229400 w 2872287"/>
              <a:gd name="connsiteY0" fmla="*/ 1044324 h 2885724"/>
              <a:gd name="connsiteX1" fmla="*/ 1352739 w 2872287"/>
              <a:gd name="connsiteY1" fmla="*/ 1056758 h 2885724"/>
              <a:gd name="connsiteX2" fmla="*/ 1405032 w 2872287"/>
              <a:gd name="connsiteY2" fmla="*/ 1072990 h 2885724"/>
              <a:gd name="connsiteX3" fmla="*/ 1371388 w 2872287"/>
              <a:gd name="connsiteY3" fmla="*/ 1125341 h 2885724"/>
              <a:gd name="connsiteX4" fmla="*/ 1299983 w 2872287"/>
              <a:gd name="connsiteY4" fmla="*/ 1292254 h 2885724"/>
              <a:gd name="connsiteX5" fmla="*/ 1291507 w 2872287"/>
              <a:gd name="connsiteY5" fmla="*/ 1348568 h 2885724"/>
              <a:gd name="connsiteX6" fmla="*/ 1229400 w 2872287"/>
              <a:gd name="connsiteY6" fmla="*/ 1342307 h 2885724"/>
              <a:gd name="connsiteX7" fmla="*/ 915383 w 2872287"/>
              <a:gd name="connsiteY7" fmla="*/ 1656324 h 2885724"/>
              <a:gd name="connsiteX8" fmla="*/ 1229400 w 2872287"/>
              <a:gd name="connsiteY8" fmla="*/ 1970341 h 2885724"/>
              <a:gd name="connsiteX9" fmla="*/ 1543417 w 2872287"/>
              <a:gd name="connsiteY9" fmla="*/ 1656324 h 2885724"/>
              <a:gd name="connsiteX10" fmla="*/ 1537038 w 2872287"/>
              <a:gd name="connsiteY10" fmla="*/ 1593039 h 2885724"/>
              <a:gd name="connsiteX11" fmla="*/ 1532628 w 2872287"/>
              <a:gd name="connsiteY11" fmla="*/ 1578835 h 2885724"/>
              <a:gd name="connsiteX12" fmla="*/ 1573883 w 2872287"/>
              <a:gd name="connsiteY12" fmla="*/ 1572626 h 2885724"/>
              <a:gd name="connsiteX13" fmla="*/ 1740796 w 2872287"/>
              <a:gd name="connsiteY13" fmla="*/ 1501221 h 2885724"/>
              <a:gd name="connsiteX14" fmla="*/ 1806082 w 2872287"/>
              <a:gd name="connsiteY14" fmla="*/ 1459264 h 2885724"/>
              <a:gd name="connsiteX15" fmla="*/ 1828967 w 2872287"/>
              <a:gd name="connsiteY15" fmla="*/ 1532985 h 2885724"/>
              <a:gd name="connsiteX16" fmla="*/ 1841400 w 2872287"/>
              <a:gd name="connsiteY16" fmla="*/ 1656324 h 2885724"/>
              <a:gd name="connsiteX17" fmla="*/ 1229400 w 2872287"/>
              <a:gd name="connsiteY17" fmla="*/ 2268324 h 2885724"/>
              <a:gd name="connsiteX18" fmla="*/ 617400 w 2872287"/>
              <a:gd name="connsiteY18" fmla="*/ 1656324 h 2885724"/>
              <a:gd name="connsiteX19" fmla="*/ 1229400 w 2872287"/>
              <a:gd name="connsiteY19" fmla="*/ 1044324 h 2885724"/>
              <a:gd name="connsiteX20" fmla="*/ 1229400 w 2872287"/>
              <a:gd name="connsiteY20" fmla="*/ 426924 h 2885724"/>
              <a:gd name="connsiteX21" fmla="*/ 1916770 w 2872287"/>
              <a:gd name="connsiteY21" fmla="*/ 636886 h 2885724"/>
              <a:gd name="connsiteX22" fmla="*/ 1929798 w 2872287"/>
              <a:gd name="connsiteY22" fmla="*/ 646629 h 2885724"/>
              <a:gd name="connsiteX23" fmla="*/ 1885417 w 2872287"/>
              <a:gd name="connsiteY23" fmla="*/ 679181 h 2885724"/>
              <a:gd name="connsiteX24" fmla="*/ 1766443 w 2872287"/>
              <a:gd name="connsiteY24" fmla="*/ 778925 h 2885724"/>
              <a:gd name="connsiteX25" fmla="*/ 1697698 w 2872287"/>
              <a:gd name="connsiteY25" fmla="*/ 843854 h 2885724"/>
              <a:gd name="connsiteX26" fmla="*/ 1676733 w 2872287"/>
              <a:gd name="connsiteY26" fmla="*/ 831118 h 2885724"/>
              <a:gd name="connsiteX27" fmla="*/ 1229400 w 2872287"/>
              <a:gd name="connsiteY27" fmla="*/ 717849 h 2885724"/>
              <a:gd name="connsiteX28" fmla="*/ 290925 w 2872287"/>
              <a:gd name="connsiteY28" fmla="*/ 1656324 h 2885724"/>
              <a:gd name="connsiteX29" fmla="*/ 1229400 w 2872287"/>
              <a:gd name="connsiteY29" fmla="*/ 2594799 h 2885724"/>
              <a:gd name="connsiteX30" fmla="*/ 2167875 w 2872287"/>
              <a:gd name="connsiteY30" fmla="*/ 1656324 h 2885724"/>
              <a:gd name="connsiteX31" fmla="*/ 2054606 w 2872287"/>
              <a:gd name="connsiteY31" fmla="*/ 1208991 h 2885724"/>
              <a:gd name="connsiteX32" fmla="*/ 2028904 w 2872287"/>
              <a:gd name="connsiteY32" fmla="*/ 1166684 h 2885724"/>
              <a:gd name="connsiteX33" fmla="*/ 2089764 w 2872287"/>
              <a:gd name="connsiteY33" fmla="*/ 1102246 h 2885724"/>
              <a:gd name="connsiteX34" fmla="*/ 2189508 w 2872287"/>
              <a:gd name="connsiteY34" fmla="*/ 983272 h 2885724"/>
              <a:gd name="connsiteX35" fmla="*/ 2224188 w 2872287"/>
              <a:gd name="connsiteY35" fmla="*/ 935991 h 2885724"/>
              <a:gd name="connsiteX36" fmla="*/ 2248838 w 2872287"/>
              <a:gd name="connsiteY36" fmla="*/ 968955 h 2885724"/>
              <a:gd name="connsiteX37" fmla="*/ 2458800 w 2872287"/>
              <a:gd name="connsiteY37" fmla="*/ 1656324 h 2885724"/>
              <a:gd name="connsiteX38" fmla="*/ 1229400 w 2872287"/>
              <a:gd name="connsiteY38" fmla="*/ 2885724 h 2885724"/>
              <a:gd name="connsiteX39" fmla="*/ 0 w 2872287"/>
              <a:gd name="connsiteY39" fmla="*/ 1656324 h 2885724"/>
              <a:gd name="connsiteX40" fmla="*/ 1229400 w 2872287"/>
              <a:gd name="connsiteY40" fmla="*/ 426924 h 2885724"/>
              <a:gd name="connsiteX41" fmla="*/ 2402682 w 2872287"/>
              <a:gd name="connsiteY41" fmla="*/ 680 h 2885724"/>
              <a:gd name="connsiteX42" fmla="*/ 2450307 w 2872287"/>
              <a:gd name="connsiteY42" fmla="*/ 36399 h 2885724"/>
              <a:gd name="connsiteX43" fmla="*/ 2493170 w 2872287"/>
              <a:gd name="connsiteY43" fmla="*/ 184037 h 2885724"/>
              <a:gd name="connsiteX44" fmla="*/ 2528888 w 2872287"/>
              <a:gd name="connsiteY44" fmla="*/ 341199 h 2885724"/>
              <a:gd name="connsiteX45" fmla="*/ 2776539 w 2872287"/>
              <a:gd name="connsiteY45" fmla="*/ 405494 h 2885724"/>
              <a:gd name="connsiteX46" fmla="*/ 2864645 w 2872287"/>
              <a:gd name="connsiteY46" fmla="*/ 450737 h 2885724"/>
              <a:gd name="connsiteX47" fmla="*/ 2859882 w 2872287"/>
              <a:gd name="connsiteY47" fmla="*/ 515030 h 2885724"/>
              <a:gd name="connsiteX48" fmla="*/ 2795589 w 2872287"/>
              <a:gd name="connsiteY48" fmla="*/ 591230 h 2885724"/>
              <a:gd name="connsiteX49" fmla="*/ 2667002 w 2872287"/>
              <a:gd name="connsiteY49" fmla="*/ 715055 h 2885724"/>
              <a:gd name="connsiteX50" fmla="*/ 2552701 w 2872287"/>
              <a:gd name="connsiteY50" fmla="*/ 769824 h 2885724"/>
              <a:gd name="connsiteX51" fmla="*/ 2431257 w 2872287"/>
              <a:gd name="connsiteY51" fmla="*/ 784112 h 2885724"/>
              <a:gd name="connsiteX52" fmla="*/ 2271714 w 2872287"/>
              <a:gd name="connsiteY52" fmla="*/ 762680 h 2885724"/>
              <a:gd name="connsiteX53" fmla="*/ 2225051 w 2872287"/>
              <a:gd name="connsiteY53" fmla="*/ 746476 h 2885724"/>
              <a:gd name="connsiteX54" fmla="*/ 2216943 w 2872287"/>
              <a:gd name="connsiteY54" fmla="*/ 757918 h 2885724"/>
              <a:gd name="connsiteX55" fmla="*/ 2064543 w 2872287"/>
              <a:gd name="connsiteY55" fmla="*/ 962705 h 2885724"/>
              <a:gd name="connsiteX56" fmla="*/ 1862137 w 2872287"/>
              <a:gd name="connsiteY56" fmla="*/ 1212737 h 2885724"/>
              <a:gd name="connsiteX57" fmla="*/ 1750218 w 2872287"/>
              <a:gd name="connsiteY57" fmla="*/ 1334180 h 2885724"/>
              <a:gd name="connsiteX58" fmla="*/ 1664493 w 2872287"/>
              <a:gd name="connsiteY58" fmla="*/ 1407999 h 2885724"/>
              <a:gd name="connsiteX59" fmla="*/ 1607343 w 2872287"/>
              <a:gd name="connsiteY59" fmla="*/ 1438955 h 2885724"/>
              <a:gd name="connsiteX60" fmla="*/ 1550193 w 2872287"/>
              <a:gd name="connsiteY60" fmla="*/ 1438955 h 2885724"/>
              <a:gd name="connsiteX61" fmla="*/ 1526380 w 2872287"/>
              <a:gd name="connsiteY61" fmla="*/ 1438955 h 2885724"/>
              <a:gd name="connsiteX62" fmla="*/ 1521677 w 2872287"/>
              <a:gd name="connsiteY62" fmla="*/ 1440971 h 2885724"/>
              <a:gd name="connsiteX63" fmla="*/ 1499508 w 2872287"/>
              <a:gd name="connsiteY63" fmla="*/ 1464922 h 2885724"/>
              <a:gd name="connsiteX64" fmla="*/ 1198503 w 2872287"/>
              <a:gd name="connsiteY64" fmla="*/ 1669195 h 2885724"/>
              <a:gd name="connsiteX65" fmla="*/ 1402776 w 2872287"/>
              <a:gd name="connsiteY65" fmla="*/ 1368190 h 2885724"/>
              <a:gd name="connsiteX66" fmla="*/ 1429420 w 2872287"/>
              <a:gd name="connsiteY66" fmla="*/ 1343529 h 2885724"/>
              <a:gd name="connsiteX67" fmla="*/ 1427856 w 2872287"/>
              <a:gd name="connsiteY67" fmla="*/ 1324358 h 2885724"/>
              <a:gd name="connsiteX68" fmla="*/ 1423987 w 2872287"/>
              <a:gd name="connsiteY68" fmla="*/ 1288937 h 2885724"/>
              <a:gd name="connsiteX69" fmla="*/ 1435893 w 2872287"/>
              <a:gd name="connsiteY69" fmla="*/ 1231787 h 2885724"/>
              <a:gd name="connsiteX70" fmla="*/ 1502568 w 2872287"/>
              <a:gd name="connsiteY70" fmla="*/ 1148443 h 2885724"/>
              <a:gd name="connsiteX71" fmla="*/ 1693068 w 2872287"/>
              <a:gd name="connsiteY71" fmla="*/ 972230 h 2885724"/>
              <a:gd name="connsiteX72" fmla="*/ 1959768 w 2872287"/>
              <a:gd name="connsiteY72" fmla="*/ 760299 h 2885724"/>
              <a:gd name="connsiteX73" fmla="*/ 2058441 w 2872287"/>
              <a:gd name="connsiteY73" fmla="*/ 689309 h 2885724"/>
              <a:gd name="connsiteX74" fmla="*/ 2114702 w 2872287"/>
              <a:gd name="connsiteY74" fmla="*/ 654020 h 2885724"/>
              <a:gd name="connsiteX75" fmla="*/ 2106812 w 2872287"/>
              <a:gd name="connsiteY75" fmla="*/ 603584 h 2885724"/>
              <a:gd name="connsiteX76" fmla="*/ 2095501 w 2872287"/>
              <a:gd name="connsiteY76" fmla="*/ 495982 h 2885724"/>
              <a:gd name="connsiteX77" fmla="*/ 2095501 w 2872287"/>
              <a:gd name="connsiteY77" fmla="*/ 358662 h 2885724"/>
              <a:gd name="connsiteX78" fmla="*/ 2147889 w 2872287"/>
              <a:gd name="connsiteY78" fmla="*/ 231662 h 2885724"/>
              <a:gd name="connsiteX79" fmla="*/ 2300289 w 2872287"/>
              <a:gd name="connsiteY79" fmla="*/ 69737 h 2885724"/>
              <a:gd name="connsiteX80" fmla="*/ 2352676 w 2872287"/>
              <a:gd name="connsiteY80" fmla="*/ 17349 h 2885724"/>
              <a:gd name="connsiteX81" fmla="*/ 2402682 w 2872287"/>
              <a:gd name="connsiteY81" fmla="*/ 680 h 2885724"/>
              <a:gd name="connsiteX0" fmla="*/ 1229400 w 2872287"/>
              <a:gd name="connsiteY0" fmla="*/ 1044324 h 2885724"/>
              <a:gd name="connsiteX1" fmla="*/ 1352739 w 2872287"/>
              <a:gd name="connsiteY1" fmla="*/ 1056758 h 2885724"/>
              <a:gd name="connsiteX2" fmla="*/ 1405032 w 2872287"/>
              <a:gd name="connsiteY2" fmla="*/ 1072990 h 2885724"/>
              <a:gd name="connsiteX3" fmla="*/ 1371388 w 2872287"/>
              <a:gd name="connsiteY3" fmla="*/ 1125341 h 2885724"/>
              <a:gd name="connsiteX4" fmla="*/ 1299983 w 2872287"/>
              <a:gd name="connsiteY4" fmla="*/ 1292254 h 2885724"/>
              <a:gd name="connsiteX5" fmla="*/ 1291507 w 2872287"/>
              <a:gd name="connsiteY5" fmla="*/ 1348568 h 2885724"/>
              <a:gd name="connsiteX6" fmla="*/ 1229400 w 2872287"/>
              <a:gd name="connsiteY6" fmla="*/ 1342307 h 2885724"/>
              <a:gd name="connsiteX7" fmla="*/ 915383 w 2872287"/>
              <a:gd name="connsiteY7" fmla="*/ 1656324 h 2885724"/>
              <a:gd name="connsiteX8" fmla="*/ 1229400 w 2872287"/>
              <a:gd name="connsiteY8" fmla="*/ 1970341 h 2885724"/>
              <a:gd name="connsiteX9" fmla="*/ 1543417 w 2872287"/>
              <a:gd name="connsiteY9" fmla="*/ 1656324 h 2885724"/>
              <a:gd name="connsiteX10" fmla="*/ 1537038 w 2872287"/>
              <a:gd name="connsiteY10" fmla="*/ 1593039 h 2885724"/>
              <a:gd name="connsiteX11" fmla="*/ 1532628 w 2872287"/>
              <a:gd name="connsiteY11" fmla="*/ 1578835 h 2885724"/>
              <a:gd name="connsiteX12" fmla="*/ 1573883 w 2872287"/>
              <a:gd name="connsiteY12" fmla="*/ 1572626 h 2885724"/>
              <a:gd name="connsiteX13" fmla="*/ 1740796 w 2872287"/>
              <a:gd name="connsiteY13" fmla="*/ 1501221 h 2885724"/>
              <a:gd name="connsiteX14" fmla="*/ 1806082 w 2872287"/>
              <a:gd name="connsiteY14" fmla="*/ 1459264 h 2885724"/>
              <a:gd name="connsiteX15" fmla="*/ 1828967 w 2872287"/>
              <a:gd name="connsiteY15" fmla="*/ 1532985 h 2885724"/>
              <a:gd name="connsiteX16" fmla="*/ 1841400 w 2872287"/>
              <a:gd name="connsiteY16" fmla="*/ 1656324 h 2885724"/>
              <a:gd name="connsiteX17" fmla="*/ 1229400 w 2872287"/>
              <a:gd name="connsiteY17" fmla="*/ 2268324 h 2885724"/>
              <a:gd name="connsiteX18" fmla="*/ 617400 w 2872287"/>
              <a:gd name="connsiteY18" fmla="*/ 1656324 h 2885724"/>
              <a:gd name="connsiteX19" fmla="*/ 1229400 w 2872287"/>
              <a:gd name="connsiteY19" fmla="*/ 1044324 h 2885724"/>
              <a:gd name="connsiteX20" fmla="*/ 1229400 w 2872287"/>
              <a:gd name="connsiteY20" fmla="*/ 426924 h 2885724"/>
              <a:gd name="connsiteX21" fmla="*/ 1916770 w 2872287"/>
              <a:gd name="connsiteY21" fmla="*/ 636886 h 2885724"/>
              <a:gd name="connsiteX22" fmla="*/ 1929798 w 2872287"/>
              <a:gd name="connsiteY22" fmla="*/ 646629 h 2885724"/>
              <a:gd name="connsiteX23" fmla="*/ 1885417 w 2872287"/>
              <a:gd name="connsiteY23" fmla="*/ 679181 h 2885724"/>
              <a:gd name="connsiteX24" fmla="*/ 1766443 w 2872287"/>
              <a:gd name="connsiteY24" fmla="*/ 778925 h 2885724"/>
              <a:gd name="connsiteX25" fmla="*/ 1697698 w 2872287"/>
              <a:gd name="connsiteY25" fmla="*/ 843854 h 2885724"/>
              <a:gd name="connsiteX26" fmla="*/ 1676733 w 2872287"/>
              <a:gd name="connsiteY26" fmla="*/ 831118 h 2885724"/>
              <a:gd name="connsiteX27" fmla="*/ 1229400 w 2872287"/>
              <a:gd name="connsiteY27" fmla="*/ 717849 h 2885724"/>
              <a:gd name="connsiteX28" fmla="*/ 290925 w 2872287"/>
              <a:gd name="connsiteY28" fmla="*/ 1656324 h 2885724"/>
              <a:gd name="connsiteX29" fmla="*/ 1229400 w 2872287"/>
              <a:gd name="connsiteY29" fmla="*/ 2594799 h 2885724"/>
              <a:gd name="connsiteX30" fmla="*/ 2167875 w 2872287"/>
              <a:gd name="connsiteY30" fmla="*/ 1656324 h 2885724"/>
              <a:gd name="connsiteX31" fmla="*/ 2054606 w 2872287"/>
              <a:gd name="connsiteY31" fmla="*/ 1208991 h 2885724"/>
              <a:gd name="connsiteX32" fmla="*/ 2028904 w 2872287"/>
              <a:gd name="connsiteY32" fmla="*/ 1166684 h 2885724"/>
              <a:gd name="connsiteX33" fmla="*/ 2089764 w 2872287"/>
              <a:gd name="connsiteY33" fmla="*/ 1102246 h 2885724"/>
              <a:gd name="connsiteX34" fmla="*/ 2189508 w 2872287"/>
              <a:gd name="connsiteY34" fmla="*/ 983272 h 2885724"/>
              <a:gd name="connsiteX35" fmla="*/ 2224188 w 2872287"/>
              <a:gd name="connsiteY35" fmla="*/ 935991 h 2885724"/>
              <a:gd name="connsiteX36" fmla="*/ 2248838 w 2872287"/>
              <a:gd name="connsiteY36" fmla="*/ 968955 h 2885724"/>
              <a:gd name="connsiteX37" fmla="*/ 2458800 w 2872287"/>
              <a:gd name="connsiteY37" fmla="*/ 1656324 h 2885724"/>
              <a:gd name="connsiteX38" fmla="*/ 1229400 w 2872287"/>
              <a:gd name="connsiteY38" fmla="*/ 2885724 h 2885724"/>
              <a:gd name="connsiteX39" fmla="*/ 0 w 2872287"/>
              <a:gd name="connsiteY39" fmla="*/ 1656324 h 2885724"/>
              <a:gd name="connsiteX40" fmla="*/ 1229400 w 2872287"/>
              <a:gd name="connsiteY40" fmla="*/ 426924 h 2885724"/>
              <a:gd name="connsiteX41" fmla="*/ 2402682 w 2872287"/>
              <a:gd name="connsiteY41" fmla="*/ 680 h 2885724"/>
              <a:gd name="connsiteX42" fmla="*/ 2450307 w 2872287"/>
              <a:gd name="connsiteY42" fmla="*/ 36399 h 2885724"/>
              <a:gd name="connsiteX43" fmla="*/ 2493170 w 2872287"/>
              <a:gd name="connsiteY43" fmla="*/ 184037 h 2885724"/>
              <a:gd name="connsiteX44" fmla="*/ 2528888 w 2872287"/>
              <a:gd name="connsiteY44" fmla="*/ 341199 h 2885724"/>
              <a:gd name="connsiteX45" fmla="*/ 2776539 w 2872287"/>
              <a:gd name="connsiteY45" fmla="*/ 405494 h 2885724"/>
              <a:gd name="connsiteX46" fmla="*/ 2864645 w 2872287"/>
              <a:gd name="connsiteY46" fmla="*/ 450737 h 2885724"/>
              <a:gd name="connsiteX47" fmla="*/ 2859882 w 2872287"/>
              <a:gd name="connsiteY47" fmla="*/ 515030 h 2885724"/>
              <a:gd name="connsiteX48" fmla="*/ 2795589 w 2872287"/>
              <a:gd name="connsiteY48" fmla="*/ 591230 h 2885724"/>
              <a:gd name="connsiteX49" fmla="*/ 2667002 w 2872287"/>
              <a:gd name="connsiteY49" fmla="*/ 715055 h 2885724"/>
              <a:gd name="connsiteX50" fmla="*/ 2552701 w 2872287"/>
              <a:gd name="connsiteY50" fmla="*/ 769824 h 2885724"/>
              <a:gd name="connsiteX51" fmla="*/ 2431257 w 2872287"/>
              <a:gd name="connsiteY51" fmla="*/ 784112 h 2885724"/>
              <a:gd name="connsiteX52" fmla="*/ 2271714 w 2872287"/>
              <a:gd name="connsiteY52" fmla="*/ 762680 h 2885724"/>
              <a:gd name="connsiteX53" fmla="*/ 2225051 w 2872287"/>
              <a:gd name="connsiteY53" fmla="*/ 746476 h 2885724"/>
              <a:gd name="connsiteX54" fmla="*/ 2216943 w 2872287"/>
              <a:gd name="connsiteY54" fmla="*/ 757918 h 2885724"/>
              <a:gd name="connsiteX55" fmla="*/ 2064543 w 2872287"/>
              <a:gd name="connsiteY55" fmla="*/ 962705 h 2885724"/>
              <a:gd name="connsiteX56" fmla="*/ 1862137 w 2872287"/>
              <a:gd name="connsiteY56" fmla="*/ 1212737 h 2885724"/>
              <a:gd name="connsiteX57" fmla="*/ 1750218 w 2872287"/>
              <a:gd name="connsiteY57" fmla="*/ 1334180 h 2885724"/>
              <a:gd name="connsiteX58" fmla="*/ 1664493 w 2872287"/>
              <a:gd name="connsiteY58" fmla="*/ 1407999 h 2885724"/>
              <a:gd name="connsiteX59" fmla="*/ 1607343 w 2872287"/>
              <a:gd name="connsiteY59" fmla="*/ 1438955 h 2885724"/>
              <a:gd name="connsiteX60" fmla="*/ 1550193 w 2872287"/>
              <a:gd name="connsiteY60" fmla="*/ 1438955 h 2885724"/>
              <a:gd name="connsiteX61" fmla="*/ 1526380 w 2872287"/>
              <a:gd name="connsiteY61" fmla="*/ 1438955 h 2885724"/>
              <a:gd name="connsiteX62" fmla="*/ 1521677 w 2872287"/>
              <a:gd name="connsiteY62" fmla="*/ 1440971 h 2885724"/>
              <a:gd name="connsiteX63" fmla="*/ 1499508 w 2872287"/>
              <a:gd name="connsiteY63" fmla="*/ 1464922 h 2885724"/>
              <a:gd name="connsiteX64" fmla="*/ 1198503 w 2872287"/>
              <a:gd name="connsiteY64" fmla="*/ 1669195 h 2885724"/>
              <a:gd name="connsiteX65" fmla="*/ 1402776 w 2872287"/>
              <a:gd name="connsiteY65" fmla="*/ 1368190 h 2885724"/>
              <a:gd name="connsiteX66" fmla="*/ 1429420 w 2872287"/>
              <a:gd name="connsiteY66" fmla="*/ 1343529 h 2885724"/>
              <a:gd name="connsiteX67" fmla="*/ 1427856 w 2872287"/>
              <a:gd name="connsiteY67" fmla="*/ 1324358 h 2885724"/>
              <a:gd name="connsiteX68" fmla="*/ 1423987 w 2872287"/>
              <a:gd name="connsiteY68" fmla="*/ 1288937 h 2885724"/>
              <a:gd name="connsiteX69" fmla="*/ 1435893 w 2872287"/>
              <a:gd name="connsiteY69" fmla="*/ 1231787 h 2885724"/>
              <a:gd name="connsiteX70" fmla="*/ 1502568 w 2872287"/>
              <a:gd name="connsiteY70" fmla="*/ 1148443 h 2885724"/>
              <a:gd name="connsiteX71" fmla="*/ 1693068 w 2872287"/>
              <a:gd name="connsiteY71" fmla="*/ 972230 h 2885724"/>
              <a:gd name="connsiteX72" fmla="*/ 1959768 w 2872287"/>
              <a:gd name="connsiteY72" fmla="*/ 760299 h 2885724"/>
              <a:gd name="connsiteX73" fmla="*/ 2058441 w 2872287"/>
              <a:gd name="connsiteY73" fmla="*/ 689309 h 2885724"/>
              <a:gd name="connsiteX74" fmla="*/ 2114702 w 2872287"/>
              <a:gd name="connsiteY74" fmla="*/ 654020 h 2885724"/>
              <a:gd name="connsiteX75" fmla="*/ 2106812 w 2872287"/>
              <a:gd name="connsiteY75" fmla="*/ 603584 h 2885724"/>
              <a:gd name="connsiteX76" fmla="*/ 2095501 w 2872287"/>
              <a:gd name="connsiteY76" fmla="*/ 495982 h 2885724"/>
              <a:gd name="connsiteX77" fmla="*/ 2095501 w 2872287"/>
              <a:gd name="connsiteY77" fmla="*/ 358662 h 2885724"/>
              <a:gd name="connsiteX78" fmla="*/ 2147889 w 2872287"/>
              <a:gd name="connsiteY78" fmla="*/ 231662 h 2885724"/>
              <a:gd name="connsiteX79" fmla="*/ 2300289 w 2872287"/>
              <a:gd name="connsiteY79" fmla="*/ 69737 h 2885724"/>
              <a:gd name="connsiteX80" fmla="*/ 2352676 w 2872287"/>
              <a:gd name="connsiteY80" fmla="*/ 17349 h 2885724"/>
              <a:gd name="connsiteX81" fmla="*/ 2402682 w 2872287"/>
              <a:gd name="connsiteY81" fmla="*/ 680 h 2885724"/>
              <a:gd name="connsiteX0" fmla="*/ 1229400 w 2872287"/>
              <a:gd name="connsiteY0" fmla="*/ 1044324 h 2885724"/>
              <a:gd name="connsiteX1" fmla="*/ 1352739 w 2872287"/>
              <a:gd name="connsiteY1" fmla="*/ 1056758 h 2885724"/>
              <a:gd name="connsiteX2" fmla="*/ 1405032 w 2872287"/>
              <a:gd name="connsiteY2" fmla="*/ 1072990 h 2885724"/>
              <a:gd name="connsiteX3" fmla="*/ 1371388 w 2872287"/>
              <a:gd name="connsiteY3" fmla="*/ 1125341 h 2885724"/>
              <a:gd name="connsiteX4" fmla="*/ 1299983 w 2872287"/>
              <a:gd name="connsiteY4" fmla="*/ 1292254 h 2885724"/>
              <a:gd name="connsiteX5" fmla="*/ 1291507 w 2872287"/>
              <a:gd name="connsiteY5" fmla="*/ 1348568 h 2885724"/>
              <a:gd name="connsiteX6" fmla="*/ 1229400 w 2872287"/>
              <a:gd name="connsiteY6" fmla="*/ 1342307 h 2885724"/>
              <a:gd name="connsiteX7" fmla="*/ 915383 w 2872287"/>
              <a:gd name="connsiteY7" fmla="*/ 1656324 h 2885724"/>
              <a:gd name="connsiteX8" fmla="*/ 1229400 w 2872287"/>
              <a:gd name="connsiteY8" fmla="*/ 1970341 h 2885724"/>
              <a:gd name="connsiteX9" fmla="*/ 1543417 w 2872287"/>
              <a:gd name="connsiteY9" fmla="*/ 1656324 h 2885724"/>
              <a:gd name="connsiteX10" fmla="*/ 1537038 w 2872287"/>
              <a:gd name="connsiteY10" fmla="*/ 1593039 h 2885724"/>
              <a:gd name="connsiteX11" fmla="*/ 1532628 w 2872287"/>
              <a:gd name="connsiteY11" fmla="*/ 1578835 h 2885724"/>
              <a:gd name="connsiteX12" fmla="*/ 1573883 w 2872287"/>
              <a:gd name="connsiteY12" fmla="*/ 1572626 h 2885724"/>
              <a:gd name="connsiteX13" fmla="*/ 1740796 w 2872287"/>
              <a:gd name="connsiteY13" fmla="*/ 1501221 h 2885724"/>
              <a:gd name="connsiteX14" fmla="*/ 1806082 w 2872287"/>
              <a:gd name="connsiteY14" fmla="*/ 1459264 h 2885724"/>
              <a:gd name="connsiteX15" fmla="*/ 1828967 w 2872287"/>
              <a:gd name="connsiteY15" fmla="*/ 1532985 h 2885724"/>
              <a:gd name="connsiteX16" fmla="*/ 1841400 w 2872287"/>
              <a:gd name="connsiteY16" fmla="*/ 1656324 h 2885724"/>
              <a:gd name="connsiteX17" fmla="*/ 1229400 w 2872287"/>
              <a:gd name="connsiteY17" fmla="*/ 2268324 h 2885724"/>
              <a:gd name="connsiteX18" fmla="*/ 617400 w 2872287"/>
              <a:gd name="connsiteY18" fmla="*/ 1656324 h 2885724"/>
              <a:gd name="connsiteX19" fmla="*/ 1229400 w 2872287"/>
              <a:gd name="connsiteY19" fmla="*/ 1044324 h 2885724"/>
              <a:gd name="connsiteX20" fmla="*/ 1229400 w 2872287"/>
              <a:gd name="connsiteY20" fmla="*/ 426924 h 2885724"/>
              <a:gd name="connsiteX21" fmla="*/ 1916770 w 2872287"/>
              <a:gd name="connsiteY21" fmla="*/ 636886 h 2885724"/>
              <a:gd name="connsiteX22" fmla="*/ 1929798 w 2872287"/>
              <a:gd name="connsiteY22" fmla="*/ 646629 h 2885724"/>
              <a:gd name="connsiteX23" fmla="*/ 1885417 w 2872287"/>
              <a:gd name="connsiteY23" fmla="*/ 679181 h 2885724"/>
              <a:gd name="connsiteX24" fmla="*/ 1766443 w 2872287"/>
              <a:gd name="connsiteY24" fmla="*/ 778925 h 2885724"/>
              <a:gd name="connsiteX25" fmla="*/ 1697698 w 2872287"/>
              <a:gd name="connsiteY25" fmla="*/ 843854 h 2885724"/>
              <a:gd name="connsiteX26" fmla="*/ 1676733 w 2872287"/>
              <a:gd name="connsiteY26" fmla="*/ 831118 h 2885724"/>
              <a:gd name="connsiteX27" fmla="*/ 1229400 w 2872287"/>
              <a:gd name="connsiteY27" fmla="*/ 717849 h 2885724"/>
              <a:gd name="connsiteX28" fmla="*/ 290925 w 2872287"/>
              <a:gd name="connsiteY28" fmla="*/ 1656324 h 2885724"/>
              <a:gd name="connsiteX29" fmla="*/ 1229400 w 2872287"/>
              <a:gd name="connsiteY29" fmla="*/ 2594799 h 2885724"/>
              <a:gd name="connsiteX30" fmla="*/ 2167875 w 2872287"/>
              <a:gd name="connsiteY30" fmla="*/ 1656324 h 2885724"/>
              <a:gd name="connsiteX31" fmla="*/ 2054606 w 2872287"/>
              <a:gd name="connsiteY31" fmla="*/ 1208991 h 2885724"/>
              <a:gd name="connsiteX32" fmla="*/ 2028904 w 2872287"/>
              <a:gd name="connsiteY32" fmla="*/ 1166684 h 2885724"/>
              <a:gd name="connsiteX33" fmla="*/ 2089764 w 2872287"/>
              <a:gd name="connsiteY33" fmla="*/ 1102246 h 2885724"/>
              <a:gd name="connsiteX34" fmla="*/ 2189508 w 2872287"/>
              <a:gd name="connsiteY34" fmla="*/ 983272 h 2885724"/>
              <a:gd name="connsiteX35" fmla="*/ 2224188 w 2872287"/>
              <a:gd name="connsiteY35" fmla="*/ 935991 h 2885724"/>
              <a:gd name="connsiteX36" fmla="*/ 2248838 w 2872287"/>
              <a:gd name="connsiteY36" fmla="*/ 968955 h 2885724"/>
              <a:gd name="connsiteX37" fmla="*/ 2458800 w 2872287"/>
              <a:gd name="connsiteY37" fmla="*/ 1656324 h 2885724"/>
              <a:gd name="connsiteX38" fmla="*/ 1229400 w 2872287"/>
              <a:gd name="connsiteY38" fmla="*/ 2885724 h 2885724"/>
              <a:gd name="connsiteX39" fmla="*/ 0 w 2872287"/>
              <a:gd name="connsiteY39" fmla="*/ 1656324 h 2885724"/>
              <a:gd name="connsiteX40" fmla="*/ 1229400 w 2872287"/>
              <a:gd name="connsiteY40" fmla="*/ 426924 h 2885724"/>
              <a:gd name="connsiteX41" fmla="*/ 2402682 w 2872287"/>
              <a:gd name="connsiteY41" fmla="*/ 680 h 2885724"/>
              <a:gd name="connsiteX42" fmla="*/ 2450307 w 2872287"/>
              <a:gd name="connsiteY42" fmla="*/ 36399 h 2885724"/>
              <a:gd name="connsiteX43" fmla="*/ 2493170 w 2872287"/>
              <a:gd name="connsiteY43" fmla="*/ 184037 h 2885724"/>
              <a:gd name="connsiteX44" fmla="*/ 2528888 w 2872287"/>
              <a:gd name="connsiteY44" fmla="*/ 341199 h 2885724"/>
              <a:gd name="connsiteX45" fmla="*/ 2776539 w 2872287"/>
              <a:gd name="connsiteY45" fmla="*/ 405494 h 2885724"/>
              <a:gd name="connsiteX46" fmla="*/ 2864645 w 2872287"/>
              <a:gd name="connsiteY46" fmla="*/ 450737 h 2885724"/>
              <a:gd name="connsiteX47" fmla="*/ 2859882 w 2872287"/>
              <a:gd name="connsiteY47" fmla="*/ 515030 h 2885724"/>
              <a:gd name="connsiteX48" fmla="*/ 2786064 w 2872287"/>
              <a:gd name="connsiteY48" fmla="*/ 603137 h 2885724"/>
              <a:gd name="connsiteX49" fmla="*/ 2667002 w 2872287"/>
              <a:gd name="connsiteY49" fmla="*/ 715055 h 2885724"/>
              <a:gd name="connsiteX50" fmla="*/ 2552701 w 2872287"/>
              <a:gd name="connsiteY50" fmla="*/ 769824 h 2885724"/>
              <a:gd name="connsiteX51" fmla="*/ 2431257 w 2872287"/>
              <a:gd name="connsiteY51" fmla="*/ 784112 h 2885724"/>
              <a:gd name="connsiteX52" fmla="*/ 2271714 w 2872287"/>
              <a:gd name="connsiteY52" fmla="*/ 762680 h 2885724"/>
              <a:gd name="connsiteX53" fmla="*/ 2225051 w 2872287"/>
              <a:gd name="connsiteY53" fmla="*/ 746476 h 2885724"/>
              <a:gd name="connsiteX54" fmla="*/ 2216943 w 2872287"/>
              <a:gd name="connsiteY54" fmla="*/ 757918 h 2885724"/>
              <a:gd name="connsiteX55" fmla="*/ 2064543 w 2872287"/>
              <a:gd name="connsiteY55" fmla="*/ 962705 h 2885724"/>
              <a:gd name="connsiteX56" fmla="*/ 1862137 w 2872287"/>
              <a:gd name="connsiteY56" fmla="*/ 1212737 h 2885724"/>
              <a:gd name="connsiteX57" fmla="*/ 1750218 w 2872287"/>
              <a:gd name="connsiteY57" fmla="*/ 1334180 h 2885724"/>
              <a:gd name="connsiteX58" fmla="*/ 1664493 w 2872287"/>
              <a:gd name="connsiteY58" fmla="*/ 1407999 h 2885724"/>
              <a:gd name="connsiteX59" fmla="*/ 1607343 w 2872287"/>
              <a:gd name="connsiteY59" fmla="*/ 1438955 h 2885724"/>
              <a:gd name="connsiteX60" fmla="*/ 1550193 w 2872287"/>
              <a:gd name="connsiteY60" fmla="*/ 1438955 h 2885724"/>
              <a:gd name="connsiteX61" fmla="*/ 1526380 w 2872287"/>
              <a:gd name="connsiteY61" fmla="*/ 1438955 h 2885724"/>
              <a:gd name="connsiteX62" fmla="*/ 1521677 w 2872287"/>
              <a:gd name="connsiteY62" fmla="*/ 1440971 h 2885724"/>
              <a:gd name="connsiteX63" fmla="*/ 1499508 w 2872287"/>
              <a:gd name="connsiteY63" fmla="*/ 1464922 h 2885724"/>
              <a:gd name="connsiteX64" fmla="*/ 1198503 w 2872287"/>
              <a:gd name="connsiteY64" fmla="*/ 1669195 h 2885724"/>
              <a:gd name="connsiteX65" fmla="*/ 1402776 w 2872287"/>
              <a:gd name="connsiteY65" fmla="*/ 1368190 h 2885724"/>
              <a:gd name="connsiteX66" fmla="*/ 1429420 w 2872287"/>
              <a:gd name="connsiteY66" fmla="*/ 1343529 h 2885724"/>
              <a:gd name="connsiteX67" fmla="*/ 1427856 w 2872287"/>
              <a:gd name="connsiteY67" fmla="*/ 1324358 h 2885724"/>
              <a:gd name="connsiteX68" fmla="*/ 1423987 w 2872287"/>
              <a:gd name="connsiteY68" fmla="*/ 1288937 h 2885724"/>
              <a:gd name="connsiteX69" fmla="*/ 1435893 w 2872287"/>
              <a:gd name="connsiteY69" fmla="*/ 1231787 h 2885724"/>
              <a:gd name="connsiteX70" fmla="*/ 1502568 w 2872287"/>
              <a:gd name="connsiteY70" fmla="*/ 1148443 h 2885724"/>
              <a:gd name="connsiteX71" fmla="*/ 1693068 w 2872287"/>
              <a:gd name="connsiteY71" fmla="*/ 972230 h 2885724"/>
              <a:gd name="connsiteX72" fmla="*/ 1959768 w 2872287"/>
              <a:gd name="connsiteY72" fmla="*/ 760299 h 2885724"/>
              <a:gd name="connsiteX73" fmla="*/ 2058441 w 2872287"/>
              <a:gd name="connsiteY73" fmla="*/ 689309 h 2885724"/>
              <a:gd name="connsiteX74" fmla="*/ 2114702 w 2872287"/>
              <a:gd name="connsiteY74" fmla="*/ 654020 h 2885724"/>
              <a:gd name="connsiteX75" fmla="*/ 2106812 w 2872287"/>
              <a:gd name="connsiteY75" fmla="*/ 603584 h 2885724"/>
              <a:gd name="connsiteX76" fmla="*/ 2095501 w 2872287"/>
              <a:gd name="connsiteY76" fmla="*/ 495982 h 2885724"/>
              <a:gd name="connsiteX77" fmla="*/ 2095501 w 2872287"/>
              <a:gd name="connsiteY77" fmla="*/ 358662 h 2885724"/>
              <a:gd name="connsiteX78" fmla="*/ 2147889 w 2872287"/>
              <a:gd name="connsiteY78" fmla="*/ 231662 h 2885724"/>
              <a:gd name="connsiteX79" fmla="*/ 2300289 w 2872287"/>
              <a:gd name="connsiteY79" fmla="*/ 69737 h 2885724"/>
              <a:gd name="connsiteX80" fmla="*/ 2352676 w 2872287"/>
              <a:gd name="connsiteY80" fmla="*/ 17349 h 2885724"/>
              <a:gd name="connsiteX81" fmla="*/ 2402682 w 2872287"/>
              <a:gd name="connsiteY81" fmla="*/ 680 h 2885724"/>
              <a:gd name="connsiteX0" fmla="*/ 1229400 w 2872287"/>
              <a:gd name="connsiteY0" fmla="*/ 1044324 h 2885724"/>
              <a:gd name="connsiteX1" fmla="*/ 1352739 w 2872287"/>
              <a:gd name="connsiteY1" fmla="*/ 1056758 h 2885724"/>
              <a:gd name="connsiteX2" fmla="*/ 1405032 w 2872287"/>
              <a:gd name="connsiteY2" fmla="*/ 1072990 h 2885724"/>
              <a:gd name="connsiteX3" fmla="*/ 1371388 w 2872287"/>
              <a:gd name="connsiteY3" fmla="*/ 1125341 h 2885724"/>
              <a:gd name="connsiteX4" fmla="*/ 1299983 w 2872287"/>
              <a:gd name="connsiteY4" fmla="*/ 1292254 h 2885724"/>
              <a:gd name="connsiteX5" fmla="*/ 1291507 w 2872287"/>
              <a:gd name="connsiteY5" fmla="*/ 1348568 h 2885724"/>
              <a:gd name="connsiteX6" fmla="*/ 1229400 w 2872287"/>
              <a:gd name="connsiteY6" fmla="*/ 1342307 h 2885724"/>
              <a:gd name="connsiteX7" fmla="*/ 915383 w 2872287"/>
              <a:gd name="connsiteY7" fmla="*/ 1656324 h 2885724"/>
              <a:gd name="connsiteX8" fmla="*/ 1229400 w 2872287"/>
              <a:gd name="connsiteY8" fmla="*/ 1970341 h 2885724"/>
              <a:gd name="connsiteX9" fmla="*/ 1543417 w 2872287"/>
              <a:gd name="connsiteY9" fmla="*/ 1656324 h 2885724"/>
              <a:gd name="connsiteX10" fmla="*/ 1537038 w 2872287"/>
              <a:gd name="connsiteY10" fmla="*/ 1593039 h 2885724"/>
              <a:gd name="connsiteX11" fmla="*/ 1532628 w 2872287"/>
              <a:gd name="connsiteY11" fmla="*/ 1578835 h 2885724"/>
              <a:gd name="connsiteX12" fmla="*/ 1573883 w 2872287"/>
              <a:gd name="connsiteY12" fmla="*/ 1572626 h 2885724"/>
              <a:gd name="connsiteX13" fmla="*/ 1740796 w 2872287"/>
              <a:gd name="connsiteY13" fmla="*/ 1501221 h 2885724"/>
              <a:gd name="connsiteX14" fmla="*/ 1806082 w 2872287"/>
              <a:gd name="connsiteY14" fmla="*/ 1459264 h 2885724"/>
              <a:gd name="connsiteX15" fmla="*/ 1828967 w 2872287"/>
              <a:gd name="connsiteY15" fmla="*/ 1532985 h 2885724"/>
              <a:gd name="connsiteX16" fmla="*/ 1841400 w 2872287"/>
              <a:gd name="connsiteY16" fmla="*/ 1656324 h 2885724"/>
              <a:gd name="connsiteX17" fmla="*/ 1229400 w 2872287"/>
              <a:gd name="connsiteY17" fmla="*/ 2268324 h 2885724"/>
              <a:gd name="connsiteX18" fmla="*/ 617400 w 2872287"/>
              <a:gd name="connsiteY18" fmla="*/ 1656324 h 2885724"/>
              <a:gd name="connsiteX19" fmla="*/ 1229400 w 2872287"/>
              <a:gd name="connsiteY19" fmla="*/ 1044324 h 2885724"/>
              <a:gd name="connsiteX20" fmla="*/ 1229400 w 2872287"/>
              <a:gd name="connsiteY20" fmla="*/ 426924 h 2885724"/>
              <a:gd name="connsiteX21" fmla="*/ 1916770 w 2872287"/>
              <a:gd name="connsiteY21" fmla="*/ 636886 h 2885724"/>
              <a:gd name="connsiteX22" fmla="*/ 1929798 w 2872287"/>
              <a:gd name="connsiteY22" fmla="*/ 646629 h 2885724"/>
              <a:gd name="connsiteX23" fmla="*/ 1885417 w 2872287"/>
              <a:gd name="connsiteY23" fmla="*/ 679181 h 2885724"/>
              <a:gd name="connsiteX24" fmla="*/ 1766443 w 2872287"/>
              <a:gd name="connsiteY24" fmla="*/ 778925 h 2885724"/>
              <a:gd name="connsiteX25" fmla="*/ 1697698 w 2872287"/>
              <a:gd name="connsiteY25" fmla="*/ 843854 h 2885724"/>
              <a:gd name="connsiteX26" fmla="*/ 1676733 w 2872287"/>
              <a:gd name="connsiteY26" fmla="*/ 831118 h 2885724"/>
              <a:gd name="connsiteX27" fmla="*/ 1229400 w 2872287"/>
              <a:gd name="connsiteY27" fmla="*/ 717849 h 2885724"/>
              <a:gd name="connsiteX28" fmla="*/ 290925 w 2872287"/>
              <a:gd name="connsiteY28" fmla="*/ 1656324 h 2885724"/>
              <a:gd name="connsiteX29" fmla="*/ 1229400 w 2872287"/>
              <a:gd name="connsiteY29" fmla="*/ 2594799 h 2885724"/>
              <a:gd name="connsiteX30" fmla="*/ 2167875 w 2872287"/>
              <a:gd name="connsiteY30" fmla="*/ 1656324 h 2885724"/>
              <a:gd name="connsiteX31" fmla="*/ 2054606 w 2872287"/>
              <a:gd name="connsiteY31" fmla="*/ 1208991 h 2885724"/>
              <a:gd name="connsiteX32" fmla="*/ 2028904 w 2872287"/>
              <a:gd name="connsiteY32" fmla="*/ 1166684 h 2885724"/>
              <a:gd name="connsiteX33" fmla="*/ 2089764 w 2872287"/>
              <a:gd name="connsiteY33" fmla="*/ 1102246 h 2885724"/>
              <a:gd name="connsiteX34" fmla="*/ 2189508 w 2872287"/>
              <a:gd name="connsiteY34" fmla="*/ 983272 h 2885724"/>
              <a:gd name="connsiteX35" fmla="*/ 2224188 w 2872287"/>
              <a:gd name="connsiteY35" fmla="*/ 935991 h 2885724"/>
              <a:gd name="connsiteX36" fmla="*/ 2248838 w 2872287"/>
              <a:gd name="connsiteY36" fmla="*/ 968955 h 2885724"/>
              <a:gd name="connsiteX37" fmla="*/ 2458800 w 2872287"/>
              <a:gd name="connsiteY37" fmla="*/ 1656324 h 2885724"/>
              <a:gd name="connsiteX38" fmla="*/ 1229400 w 2872287"/>
              <a:gd name="connsiteY38" fmla="*/ 2885724 h 2885724"/>
              <a:gd name="connsiteX39" fmla="*/ 0 w 2872287"/>
              <a:gd name="connsiteY39" fmla="*/ 1656324 h 2885724"/>
              <a:gd name="connsiteX40" fmla="*/ 1229400 w 2872287"/>
              <a:gd name="connsiteY40" fmla="*/ 426924 h 2885724"/>
              <a:gd name="connsiteX41" fmla="*/ 2402682 w 2872287"/>
              <a:gd name="connsiteY41" fmla="*/ 680 h 2885724"/>
              <a:gd name="connsiteX42" fmla="*/ 2450307 w 2872287"/>
              <a:gd name="connsiteY42" fmla="*/ 36399 h 2885724"/>
              <a:gd name="connsiteX43" fmla="*/ 2493170 w 2872287"/>
              <a:gd name="connsiteY43" fmla="*/ 184037 h 2885724"/>
              <a:gd name="connsiteX44" fmla="*/ 2528888 w 2872287"/>
              <a:gd name="connsiteY44" fmla="*/ 341199 h 2885724"/>
              <a:gd name="connsiteX45" fmla="*/ 2776539 w 2872287"/>
              <a:gd name="connsiteY45" fmla="*/ 405494 h 2885724"/>
              <a:gd name="connsiteX46" fmla="*/ 2864645 w 2872287"/>
              <a:gd name="connsiteY46" fmla="*/ 450737 h 2885724"/>
              <a:gd name="connsiteX47" fmla="*/ 2859882 w 2872287"/>
              <a:gd name="connsiteY47" fmla="*/ 515030 h 2885724"/>
              <a:gd name="connsiteX48" fmla="*/ 2786064 w 2872287"/>
              <a:gd name="connsiteY48" fmla="*/ 603137 h 2885724"/>
              <a:gd name="connsiteX49" fmla="*/ 2667002 w 2872287"/>
              <a:gd name="connsiteY49" fmla="*/ 715055 h 2885724"/>
              <a:gd name="connsiteX50" fmla="*/ 2552701 w 2872287"/>
              <a:gd name="connsiteY50" fmla="*/ 769824 h 2885724"/>
              <a:gd name="connsiteX51" fmla="*/ 2431257 w 2872287"/>
              <a:gd name="connsiteY51" fmla="*/ 784112 h 2885724"/>
              <a:gd name="connsiteX52" fmla="*/ 2271714 w 2872287"/>
              <a:gd name="connsiteY52" fmla="*/ 762680 h 2885724"/>
              <a:gd name="connsiteX53" fmla="*/ 2225051 w 2872287"/>
              <a:gd name="connsiteY53" fmla="*/ 746476 h 2885724"/>
              <a:gd name="connsiteX54" fmla="*/ 2216943 w 2872287"/>
              <a:gd name="connsiteY54" fmla="*/ 757918 h 2885724"/>
              <a:gd name="connsiteX55" fmla="*/ 2064543 w 2872287"/>
              <a:gd name="connsiteY55" fmla="*/ 962705 h 2885724"/>
              <a:gd name="connsiteX56" fmla="*/ 1862137 w 2872287"/>
              <a:gd name="connsiteY56" fmla="*/ 1212737 h 2885724"/>
              <a:gd name="connsiteX57" fmla="*/ 1750218 w 2872287"/>
              <a:gd name="connsiteY57" fmla="*/ 1334180 h 2885724"/>
              <a:gd name="connsiteX58" fmla="*/ 1664493 w 2872287"/>
              <a:gd name="connsiteY58" fmla="*/ 1407999 h 2885724"/>
              <a:gd name="connsiteX59" fmla="*/ 1607343 w 2872287"/>
              <a:gd name="connsiteY59" fmla="*/ 1438955 h 2885724"/>
              <a:gd name="connsiteX60" fmla="*/ 1550193 w 2872287"/>
              <a:gd name="connsiteY60" fmla="*/ 1438955 h 2885724"/>
              <a:gd name="connsiteX61" fmla="*/ 1526380 w 2872287"/>
              <a:gd name="connsiteY61" fmla="*/ 1438955 h 2885724"/>
              <a:gd name="connsiteX62" fmla="*/ 1521677 w 2872287"/>
              <a:gd name="connsiteY62" fmla="*/ 1440971 h 2885724"/>
              <a:gd name="connsiteX63" fmla="*/ 1499508 w 2872287"/>
              <a:gd name="connsiteY63" fmla="*/ 1464922 h 2885724"/>
              <a:gd name="connsiteX64" fmla="*/ 1198503 w 2872287"/>
              <a:gd name="connsiteY64" fmla="*/ 1669195 h 2885724"/>
              <a:gd name="connsiteX65" fmla="*/ 1402776 w 2872287"/>
              <a:gd name="connsiteY65" fmla="*/ 1368190 h 2885724"/>
              <a:gd name="connsiteX66" fmla="*/ 1429420 w 2872287"/>
              <a:gd name="connsiteY66" fmla="*/ 1343529 h 2885724"/>
              <a:gd name="connsiteX67" fmla="*/ 1427856 w 2872287"/>
              <a:gd name="connsiteY67" fmla="*/ 1324358 h 2885724"/>
              <a:gd name="connsiteX68" fmla="*/ 1423987 w 2872287"/>
              <a:gd name="connsiteY68" fmla="*/ 1288937 h 2885724"/>
              <a:gd name="connsiteX69" fmla="*/ 1435893 w 2872287"/>
              <a:gd name="connsiteY69" fmla="*/ 1231787 h 2885724"/>
              <a:gd name="connsiteX70" fmla="*/ 1502568 w 2872287"/>
              <a:gd name="connsiteY70" fmla="*/ 1148443 h 2885724"/>
              <a:gd name="connsiteX71" fmla="*/ 1693068 w 2872287"/>
              <a:gd name="connsiteY71" fmla="*/ 972230 h 2885724"/>
              <a:gd name="connsiteX72" fmla="*/ 1959768 w 2872287"/>
              <a:gd name="connsiteY72" fmla="*/ 760299 h 2885724"/>
              <a:gd name="connsiteX73" fmla="*/ 2058441 w 2872287"/>
              <a:gd name="connsiteY73" fmla="*/ 689309 h 2885724"/>
              <a:gd name="connsiteX74" fmla="*/ 2114702 w 2872287"/>
              <a:gd name="connsiteY74" fmla="*/ 654020 h 2885724"/>
              <a:gd name="connsiteX75" fmla="*/ 2106812 w 2872287"/>
              <a:gd name="connsiteY75" fmla="*/ 603584 h 2885724"/>
              <a:gd name="connsiteX76" fmla="*/ 2095501 w 2872287"/>
              <a:gd name="connsiteY76" fmla="*/ 495982 h 2885724"/>
              <a:gd name="connsiteX77" fmla="*/ 2095501 w 2872287"/>
              <a:gd name="connsiteY77" fmla="*/ 358662 h 2885724"/>
              <a:gd name="connsiteX78" fmla="*/ 2147889 w 2872287"/>
              <a:gd name="connsiteY78" fmla="*/ 231662 h 2885724"/>
              <a:gd name="connsiteX79" fmla="*/ 2300289 w 2872287"/>
              <a:gd name="connsiteY79" fmla="*/ 69737 h 2885724"/>
              <a:gd name="connsiteX80" fmla="*/ 2352676 w 2872287"/>
              <a:gd name="connsiteY80" fmla="*/ 17349 h 2885724"/>
              <a:gd name="connsiteX81" fmla="*/ 2402682 w 2872287"/>
              <a:gd name="connsiteY81" fmla="*/ 680 h 28857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Lst>
            <a:rect l="l" t="t" r="r" b="b"/>
            <a:pathLst>
              <a:path w="2872287" h="2885724">
                <a:moveTo>
                  <a:pt x="1229400" y="1044324"/>
                </a:moveTo>
                <a:cubicBezTo>
                  <a:pt x="1271650" y="1044324"/>
                  <a:pt x="1312900" y="1048605"/>
                  <a:pt x="1352739" y="1056758"/>
                </a:cubicBezTo>
                <a:lnTo>
                  <a:pt x="1405032" y="1072990"/>
                </a:lnTo>
                <a:lnTo>
                  <a:pt x="1371388" y="1125341"/>
                </a:lnTo>
                <a:cubicBezTo>
                  <a:pt x="1337157" y="1184989"/>
                  <a:pt x="1312883" y="1241731"/>
                  <a:pt x="1299983" y="1292254"/>
                </a:cubicBezTo>
                <a:lnTo>
                  <a:pt x="1291507" y="1348568"/>
                </a:lnTo>
                <a:lnTo>
                  <a:pt x="1229400" y="1342307"/>
                </a:lnTo>
                <a:cubicBezTo>
                  <a:pt x="1055973" y="1342307"/>
                  <a:pt x="915383" y="1482897"/>
                  <a:pt x="915383" y="1656324"/>
                </a:cubicBezTo>
                <a:cubicBezTo>
                  <a:pt x="915383" y="1829751"/>
                  <a:pt x="1055973" y="1970341"/>
                  <a:pt x="1229400" y="1970341"/>
                </a:cubicBezTo>
                <a:cubicBezTo>
                  <a:pt x="1402827" y="1970341"/>
                  <a:pt x="1543417" y="1829751"/>
                  <a:pt x="1543417" y="1656324"/>
                </a:cubicBezTo>
                <a:cubicBezTo>
                  <a:pt x="1543417" y="1634646"/>
                  <a:pt x="1541221" y="1613480"/>
                  <a:pt x="1537038" y="1593039"/>
                </a:cubicBezTo>
                <a:lnTo>
                  <a:pt x="1532628" y="1578835"/>
                </a:lnTo>
                <a:lnTo>
                  <a:pt x="1573883" y="1572626"/>
                </a:lnTo>
                <a:cubicBezTo>
                  <a:pt x="1624406" y="1559726"/>
                  <a:pt x="1681148" y="1535452"/>
                  <a:pt x="1740796" y="1501221"/>
                </a:cubicBezTo>
                <a:lnTo>
                  <a:pt x="1806082" y="1459264"/>
                </a:lnTo>
                <a:lnTo>
                  <a:pt x="1828967" y="1532985"/>
                </a:lnTo>
                <a:cubicBezTo>
                  <a:pt x="1837119" y="1572825"/>
                  <a:pt x="1841400" y="1614074"/>
                  <a:pt x="1841400" y="1656324"/>
                </a:cubicBezTo>
                <a:cubicBezTo>
                  <a:pt x="1841400" y="1994322"/>
                  <a:pt x="1567398" y="2268324"/>
                  <a:pt x="1229400" y="2268324"/>
                </a:cubicBezTo>
                <a:cubicBezTo>
                  <a:pt x="891402" y="2268324"/>
                  <a:pt x="617400" y="1994322"/>
                  <a:pt x="617400" y="1656324"/>
                </a:cubicBezTo>
                <a:cubicBezTo>
                  <a:pt x="617400" y="1318326"/>
                  <a:pt x="891402" y="1044324"/>
                  <a:pt x="1229400" y="1044324"/>
                </a:cubicBezTo>
                <a:close/>
                <a:moveTo>
                  <a:pt x="1229400" y="426924"/>
                </a:moveTo>
                <a:cubicBezTo>
                  <a:pt x="1484017" y="426924"/>
                  <a:pt x="1720556" y="504327"/>
                  <a:pt x="1916770" y="636886"/>
                </a:cubicBezTo>
                <a:lnTo>
                  <a:pt x="1929798" y="646629"/>
                </a:lnTo>
                <a:lnTo>
                  <a:pt x="1885417" y="679181"/>
                </a:lnTo>
                <a:cubicBezTo>
                  <a:pt x="1846392" y="709857"/>
                  <a:pt x="1806567" y="743198"/>
                  <a:pt x="1766443" y="778925"/>
                </a:cubicBezTo>
                <a:lnTo>
                  <a:pt x="1697698" y="843854"/>
                </a:lnTo>
                <a:lnTo>
                  <a:pt x="1676733" y="831118"/>
                </a:lnTo>
                <a:cubicBezTo>
                  <a:pt x="1543757" y="758881"/>
                  <a:pt x="1391370" y="717849"/>
                  <a:pt x="1229400" y="717849"/>
                </a:cubicBezTo>
                <a:cubicBezTo>
                  <a:pt x="711095" y="717849"/>
                  <a:pt x="290925" y="1138019"/>
                  <a:pt x="290925" y="1656324"/>
                </a:cubicBezTo>
                <a:cubicBezTo>
                  <a:pt x="290925" y="2174629"/>
                  <a:pt x="711095" y="2594799"/>
                  <a:pt x="1229400" y="2594799"/>
                </a:cubicBezTo>
                <a:cubicBezTo>
                  <a:pt x="1747705" y="2594799"/>
                  <a:pt x="2167875" y="2174629"/>
                  <a:pt x="2167875" y="1656324"/>
                </a:cubicBezTo>
                <a:cubicBezTo>
                  <a:pt x="2167875" y="1494354"/>
                  <a:pt x="2126843" y="1341967"/>
                  <a:pt x="2054606" y="1208991"/>
                </a:cubicBezTo>
                <a:lnTo>
                  <a:pt x="2028904" y="1166684"/>
                </a:lnTo>
                <a:lnTo>
                  <a:pt x="2089764" y="1102246"/>
                </a:lnTo>
                <a:cubicBezTo>
                  <a:pt x="2125491" y="1062122"/>
                  <a:pt x="2158832" y="1022297"/>
                  <a:pt x="2189508" y="983272"/>
                </a:cubicBezTo>
                <a:lnTo>
                  <a:pt x="2224188" y="935991"/>
                </a:lnTo>
                <a:lnTo>
                  <a:pt x="2248838" y="968955"/>
                </a:lnTo>
                <a:cubicBezTo>
                  <a:pt x="2381397" y="1165168"/>
                  <a:pt x="2458800" y="1401707"/>
                  <a:pt x="2458800" y="1656324"/>
                </a:cubicBezTo>
                <a:cubicBezTo>
                  <a:pt x="2458800" y="2335303"/>
                  <a:pt x="1908379" y="2885724"/>
                  <a:pt x="1229400" y="2885724"/>
                </a:cubicBezTo>
                <a:cubicBezTo>
                  <a:pt x="550421" y="2885724"/>
                  <a:pt x="0" y="2335303"/>
                  <a:pt x="0" y="1656324"/>
                </a:cubicBezTo>
                <a:cubicBezTo>
                  <a:pt x="0" y="977345"/>
                  <a:pt x="550421" y="426924"/>
                  <a:pt x="1229400" y="426924"/>
                </a:cubicBezTo>
                <a:close/>
                <a:moveTo>
                  <a:pt x="2402682" y="680"/>
                </a:moveTo>
                <a:cubicBezTo>
                  <a:pt x="2418954" y="3855"/>
                  <a:pt x="2435226" y="5840"/>
                  <a:pt x="2450307" y="36399"/>
                </a:cubicBezTo>
                <a:cubicBezTo>
                  <a:pt x="2465388" y="66958"/>
                  <a:pt x="2480073" y="133237"/>
                  <a:pt x="2493170" y="184037"/>
                </a:cubicBezTo>
                <a:lnTo>
                  <a:pt x="2528888" y="341199"/>
                </a:lnTo>
                <a:lnTo>
                  <a:pt x="2776539" y="405494"/>
                </a:lnTo>
                <a:cubicBezTo>
                  <a:pt x="2832101" y="422957"/>
                  <a:pt x="2850755" y="432481"/>
                  <a:pt x="2864645" y="450737"/>
                </a:cubicBezTo>
                <a:cubicBezTo>
                  <a:pt x="2878535" y="468993"/>
                  <a:pt x="2871391" y="491614"/>
                  <a:pt x="2859882" y="515030"/>
                </a:cubicBezTo>
                <a:cubicBezTo>
                  <a:pt x="2838451" y="540430"/>
                  <a:pt x="2818211" y="569800"/>
                  <a:pt x="2786064" y="603137"/>
                </a:cubicBezTo>
                <a:cubicBezTo>
                  <a:pt x="2753917" y="636474"/>
                  <a:pt x="2709864" y="680924"/>
                  <a:pt x="2667002" y="715055"/>
                </a:cubicBezTo>
                <a:cubicBezTo>
                  <a:pt x="2626521" y="744821"/>
                  <a:pt x="2591992" y="758314"/>
                  <a:pt x="2552701" y="769824"/>
                </a:cubicBezTo>
                <a:cubicBezTo>
                  <a:pt x="2513410" y="781334"/>
                  <a:pt x="2478088" y="785303"/>
                  <a:pt x="2431257" y="784112"/>
                </a:cubicBezTo>
                <a:cubicBezTo>
                  <a:pt x="2384426" y="782921"/>
                  <a:pt x="2314973" y="772999"/>
                  <a:pt x="2271714" y="762680"/>
                </a:cubicBezTo>
                <a:lnTo>
                  <a:pt x="2225051" y="746476"/>
                </a:lnTo>
                <a:lnTo>
                  <a:pt x="2216943" y="757918"/>
                </a:lnTo>
                <a:cubicBezTo>
                  <a:pt x="2167334" y="830546"/>
                  <a:pt x="2123677" y="886902"/>
                  <a:pt x="2064543" y="962705"/>
                </a:cubicBezTo>
                <a:cubicBezTo>
                  <a:pt x="2005409" y="1038508"/>
                  <a:pt x="1914524" y="1150825"/>
                  <a:pt x="1862137" y="1212737"/>
                </a:cubicBezTo>
                <a:cubicBezTo>
                  <a:pt x="1809750" y="1274649"/>
                  <a:pt x="1783159" y="1301636"/>
                  <a:pt x="1750218" y="1334180"/>
                </a:cubicBezTo>
                <a:cubicBezTo>
                  <a:pt x="1717277" y="1366724"/>
                  <a:pt x="1688305" y="1390537"/>
                  <a:pt x="1664493" y="1407999"/>
                </a:cubicBezTo>
                <a:cubicBezTo>
                  <a:pt x="1640681" y="1425461"/>
                  <a:pt x="1626393" y="1433796"/>
                  <a:pt x="1607343" y="1438955"/>
                </a:cubicBezTo>
                <a:cubicBezTo>
                  <a:pt x="1588293" y="1444114"/>
                  <a:pt x="1550193" y="1438955"/>
                  <a:pt x="1550193" y="1438955"/>
                </a:cubicBezTo>
                <a:cubicBezTo>
                  <a:pt x="1536699" y="1438955"/>
                  <a:pt x="1535905" y="1436574"/>
                  <a:pt x="1526380" y="1438955"/>
                </a:cubicBezTo>
                <a:lnTo>
                  <a:pt x="1521677" y="1440971"/>
                </a:lnTo>
                <a:lnTo>
                  <a:pt x="1499508" y="1464922"/>
                </a:lnTo>
                <a:cubicBezTo>
                  <a:pt x="1359980" y="1604451"/>
                  <a:pt x="1225215" y="1695906"/>
                  <a:pt x="1198503" y="1669195"/>
                </a:cubicBezTo>
                <a:cubicBezTo>
                  <a:pt x="1171792" y="1642483"/>
                  <a:pt x="1263247" y="1507718"/>
                  <a:pt x="1402776" y="1368190"/>
                </a:cubicBezTo>
                <a:lnTo>
                  <a:pt x="1429420" y="1343529"/>
                </a:lnTo>
                <a:lnTo>
                  <a:pt x="1427856" y="1324358"/>
                </a:lnTo>
                <a:cubicBezTo>
                  <a:pt x="1425971" y="1311757"/>
                  <a:pt x="1423193" y="1300050"/>
                  <a:pt x="1423987" y="1288937"/>
                </a:cubicBezTo>
                <a:cubicBezTo>
                  <a:pt x="1425575" y="1266712"/>
                  <a:pt x="1422796" y="1255203"/>
                  <a:pt x="1435893" y="1231787"/>
                </a:cubicBezTo>
                <a:cubicBezTo>
                  <a:pt x="1448990" y="1208371"/>
                  <a:pt x="1459706" y="1191702"/>
                  <a:pt x="1502568" y="1148443"/>
                </a:cubicBezTo>
                <a:cubicBezTo>
                  <a:pt x="1545430" y="1105184"/>
                  <a:pt x="1616868" y="1036921"/>
                  <a:pt x="1693068" y="972230"/>
                </a:cubicBezTo>
                <a:cubicBezTo>
                  <a:pt x="1769268" y="907539"/>
                  <a:pt x="1883568" y="817052"/>
                  <a:pt x="1959768" y="760299"/>
                </a:cubicBezTo>
                <a:cubicBezTo>
                  <a:pt x="1997868" y="731923"/>
                  <a:pt x="2028725" y="709499"/>
                  <a:pt x="2058441" y="689309"/>
                </a:cubicBezTo>
                <a:lnTo>
                  <a:pt x="2114702" y="654020"/>
                </a:lnTo>
                <a:lnTo>
                  <a:pt x="2106812" y="603584"/>
                </a:lnTo>
                <a:cubicBezTo>
                  <a:pt x="2101851" y="566526"/>
                  <a:pt x="2097386" y="536802"/>
                  <a:pt x="2095501" y="495982"/>
                </a:cubicBezTo>
                <a:cubicBezTo>
                  <a:pt x="2093616" y="455162"/>
                  <a:pt x="2086770" y="402715"/>
                  <a:pt x="2095501" y="358662"/>
                </a:cubicBezTo>
                <a:cubicBezTo>
                  <a:pt x="2104232" y="314609"/>
                  <a:pt x="2113758" y="274524"/>
                  <a:pt x="2147889" y="231662"/>
                </a:cubicBezTo>
                <a:lnTo>
                  <a:pt x="2300289" y="69737"/>
                </a:lnTo>
                <a:lnTo>
                  <a:pt x="2352676" y="17349"/>
                </a:lnTo>
                <a:cubicBezTo>
                  <a:pt x="2369741" y="5840"/>
                  <a:pt x="2386410" y="-2495"/>
                  <a:pt x="2402682" y="680"/>
                </a:cubicBezTo>
                <a:close/>
              </a:path>
            </a:pathLst>
          </a:cu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1" dirty="0">
              <a:solidFill>
                <a:srgbClr val="000000"/>
              </a:solidFill>
            </a:endParaRPr>
          </a:p>
        </p:txBody>
      </p:sp>
      <p:grpSp>
        <p:nvGrpSpPr>
          <p:cNvPr id="54" name="Group 53"/>
          <p:cNvGrpSpPr/>
          <p:nvPr/>
        </p:nvGrpSpPr>
        <p:grpSpPr>
          <a:xfrm>
            <a:off x="3196242" y="728090"/>
            <a:ext cx="307408" cy="356439"/>
            <a:chOff x="4618931" y="3659685"/>
            <a:chExt cx="353818" cy="410251"/>
          </a:xfrm>
          <a:solidFill>
            <a:schemeClr val="bg1"/>
          </a:solidFill>
        </p:grpSpPr>
        <p:sp>
          <p:nvSpPr>
            <p:cNvPr id="55" name="Freeform 54"/>
            <p:cNvSpPr/>
            <p:nvPr/>
          </p:nvSpPr>
          <p:spPr>
            <a:xfrm>
              <a:off x="4618931" y="3659685"/>
              <a:ext cx="353818" cy="410251"/>
            </a:xfrm>
            <a:custGeom>
              <a:avLst/>
              <a:gdLst>
                <a:gd name="connsiteX0" fmla="*/ 2125980 w 3985260"/>
                <a:gd name="connsiteY0" fmla="*/ 5113020 h 5113020"/>
                <a:gd name="connsiteX1" fmla="*/ 0 w 3985260"/>
                <a:gd name="connsiteY1" fmla="*/ 4640580 h 5113020"/>
                <a:gd name="connsiteX2" fmla="*/ 259080 w 3985260"/>
                <a:gd name="connsiteY2" fmla="*/ 3817620 h 5113020"/>
                <a:gd name="connsiteX3" fmla="*/ 1417320 w 3985260"/>
                <a:gd name="connsiteY3" fmla="*/ 0 h 5113020"/>
                <a:gd name="connsiteX4" fmla="*/ 3520440 w 3985260"/>
                <a:gd name="connsiteY4" fmla="*/ 1630680 h 5113020"/>
                <a:gd name="connsiteX5" fmla="*/ 3985260 w 3985260"/>
                <a:gd name="connsiteY5" fmla="*/ 2903220 h 5113020"/>
                <a:gd name="connsiteX6" fmla="*/ 3680460 w 3985260"/>
                <a:gd name="connsiteY6" fmla="*/ 3345180 h 5113020"/>
                <a:gd name="connsiteX7" fmla="*/ 3589020 w 3985260"/>
                <a:gd name="connsiteY7" fmla="*/ 3459480 h 5113020"/>
                <a:gd name="connsiteX8" fmla="*/ 3649980 w 3985260"/>
                <a:gd name="connsiteY8" fmla="*/ 3627120 h 5113020"/>
                <a:gd name="connsiteX9" fmla="*/ 3474720 w 3985260"/>
                <a:gd name="connsiteY9" fmla="*/ 3771900 h 5113020"/>
                <a:gd name="connsiteX10" fmla="*/ 3489960 w 3985260"/>
                <a:gd name="connsiteY10" fmla="*/ 4297680 h 5113020"/>
                <a:gd name="connsiteX11" fmla="*/ 2491740 w 3985260"/>
                <a:gd name="connsiteY11" fmla="*/ 4480560 h 5113020"/>
                <a:gd name="connsiteX12" fmla="*/ 2125980 w 3985260"/>
                <a:gd name="connsiteY12" fmla="*/ 5113020 h 5113020"/>
                <a:gd name="connsiteX0" fmla="*/ 2125980 w 3985260"/>
                <a:gd name="connsiteY0" fmla="*/ 5113020 h 5113020"/>
                <a:gd name="connsiteX1" fmla="*/ 0 w 3985260"/>
                <a:gd name="connsiteY1" fmla="*/ 4640580 h 5113020"/>
                <a:gd name="connsiteX2" fmla="*/ 259080 w 3985260"/>
                <a:gd name="connsiteY2" fmla="*/ 3817620 h 5113020"/>
                <a:gd name="connsiteX3" fmla="*/ 1417320 w 3985260"/>
                <a:gd name="connsiteY3" fmla="*/ 0 h 5113020"/>
                <a:gd name="connsiteX4" fmla="*/ 3520440 w 3985260"/>
                <a:gd name="connsiteY4" fmla="*/ 1630680 h 5113020"/>
                <a:gd name="connsiteX5" fmla="*/ 3985260 w 3985260"/>
                <a:gd name="connsiteY5" fmla="*/ 2903220 h 5113020"/>
                <a:gd name="connsiteX6" fmla="*/ 3680460 w 3985260"/>
                <a:gd name="connsiteY6" fmla="*/ 3345180 h 5113020"/>
                <a:gd name="connsiteX7" fmla="*/ 3589020 w 3985260"/>
                <a:gd name="connsiteY7" fmla="*/ 3459480 h 5113020"/>
                <a:gd name="connsiteX8" fmla="*/ 3649980 w 3985260"/>
                <a:gd name="connsiteY8" fmla="*/ 3627120 h 5113020"/>
                <a:gd name="connsiteX9" fmla="*/ 3474720 w 3985260"/>
                <a:gd name="connsiteY9" fmla="*/ 3771900 h 5113020"/>
                <a:gd name="connsiteX10" fmla="*/ 3489960 w 3985260"/>
                <a:gd name="connsiteY10" fmla="*/ 4297680 h 5113020"/>
                <a:gd name="connsiteX11" fmla="*/ 2491740 w 3985260"/>
                <a:gd name="connsiteY11" fmla="*/ 4480560 h 5113020"/>
                <a:gd name="connsiteX12" fmla="*/ 2125980 w 3985260"/>
                <a:gd name="connsiteY12" fmla="*/ 5113020 h 5113020"/>
                <a:gd name="connsiteX0" fmla="*/ 2578242 w 4437522"/>
                <a:gd name="connsiteY0" fmla="*/ 5113020 h 5113020"/>
                <a:gd name="connsiteX1" fmla="*/ 452262 w 4437522"/>
                <a:gd name="connsiteY1" fmla="*/ 4640580 h 5113020"/>
                <a:gd name="connsiteX2" fmla="*/ 711342 w 4437522"/>
                <a:gd name="connsiteY2" fmla="*/ 3817620 h 5113020"/>
                <a:gd name="connsiteX3" fmla="*/ 1869582 w 4437522"/>
                <a:gd name="connsiteY3" fmla="*/ 0 h 5113020"/>
                <a:gd name="connsiteX4" fmla="*/ 3972702 w 4437522"/>
                <a:gd name="connsiteY4" fmla="*/ 1630680 h 5113020"/>
                <a:gd name="connsiteX5" fmla="*/ 4437522 w 4437522"/>
                <a:gd name="connsiteY5" fmla="*/ 2903220 h 5113020"/>
                <a:gd name="connsiteX6" fmla="*/ 4132722 w 4437522"/>
                <a:gd name="connsiteY6" fmla="*/ 3345180 h 5113020"/>
                <a:gd name="connsiteX7" fmla="*/ 4041282 w 4437522"/>
                <a:gd name="connsiteY7" fmla="*/ 3459480 h 5113020"/>
                <a:gd name="connsiteX8" fmla="*/ 4102242 w 4437522"/>
                <a:gd name="connsiteY8" fmla="*/ 3627120 h 5113020"/>
                <a:gd name="connsiteX9" fmla="*/ 3926982 w 4437522"/>
                <a:gd name="connsiteY9" fmla="*/ 3771900 h 5113020"/>
                <a:gd name="connsiteX10" fmla="*/ 3942222 w 4437522"/>
                <a:gd name="connsiteY10" fmla="*/ 4297680 h 5113020"/>
                <a:gd name="connsiteX11" fmla="*/ 2944002 w 4437522"/>
                <a:gd name="connsiteY11" fmla="*/ 4480560 h 5113020"/>
                <a:gd name="connsiteX12" fmla="*/ 2578242 w 4437522"/>
                <a:gd name="connsiteY12" fmla="*/ 5113020 h 5113020"/>
                <a:gd name="connsiteX0" fmla="*/ 2953119 w 4812399"/>
                <a:gd name="connsiteY0" fmla="*/ 5113020 h 5113020"/>
                <a:gd name="connsiteX1" fmla="*/ 827139 w 4812399"/>
                <a:gd name="connsiteY1" fmla="*/ 4640580 h 5113020"/>
                <a:gd name="connsiteX2" fmla="*/ 529959 w 4812399"/>
                <a:gd name="connsiteY2" fmla="*/ 2712720 h 5113020"/>
                <a:gd name="connsiteX3" fmla="*/ 2244459 w 4812399"/>
                <a:gd name="connsiteY3" fmla="*/ 0 h 5113020"/>
                <a:gd name="connsiteX4" fmla="*/ 4347579 w 4812399"/>
                <a:gd name="connsiteY4" fmla="*/ 1630680 h 5113020"/>
                <a:gd name="connsiteX5" fmla="*/ 4812399 w 4812399"/>
                <a:gd name="connsiteY5" fmla="*/ 2903220 h 5113020"/>
                <a:gd name="connsiteX6" fmla="*/ 4507599 w 4812399"/>
                <a:gd name="connsiteY6" fmla="*/ 3345180 h 5113020"/>
                <a:gd name="connsiteX7" fmla="*/ 4416159 w 4812399"/>
                <a:gd name="connsiteY7" fmla="*/ 3459480 h 5113020"/>
                <a:gd name="connsiteX8" fmla="*/ 4477119 w 4812399"/>
                <a:gd name="connsiteY8" fmla="*/ 3627120 h 5113020"/>
                <a:gd name="connsiteX9" fmla="*/ 4301859 w 4812399"/>
                <a:gd name="connsiteY9" fmla="*/ 3771900 h 5113020"/>
                <a:gd name="connsiteX10" fmla="*/ 4317099 w 4812399"/>
                <a:gd name="connsiteY10" fmla="*/ 4297680 h 5113020"/>
                <a:gd name="connsiteX11" fmla="*/ 3318879 w 4812399"/>
                <a:gd name="connsiteY11" fmla="*/ 4480560 h 5113020"/>
                <a:gd name="connsiteX12" fmla="*/ 2953119 w 4812399"/>
                <a:gd name="connsiteY12" fmla="*/ 5113020 h 5113020"/>
                <a:gd name="connsiteX0" fmla="*/ 2601128 w 4460408"/>
                <a:gd name="connsiteY0" fmla="*/ 5113020 h 5113020"/>
                <a:gd name="connsiteX1" fmla="*/ 475148 w 4460408"/>
                <a:gd name="connsiteY1" fmla="*/ 4640580 h 5113020"/>
                <a:gd name="connsiteX2" fmla="*/ 177968 w 4460408"/>
                <a:gd name="connsiteY2" fmla="*/ 2712720 h 5113020"/>
                <a:gd name="connsiteX3" fmla="*/ 1892468 w 4460408"/>
                <a:gd name="connsiteY3" fmla="*/ 0 h 5113020"/>
                <a:gd name="connsiteX4" fmla="*/ 3995588 w 4460408"/>
                <a:gd name="connsiteY4" fmla="*/ 1630680 h 5113020"/>
                <a:gd name="connsiteX5" fmla="*/ 4460408 w 4460408"/>
                <a:gd name="connsiteY5" fmla="*/ 2903220 h 5113020"/>
                <a:gd name="connsiteX6" fmla="*/ 4155608 w 4460408"/>
                <a:gd name="connsiteY6" fmla="*/ 3345180 h 5113020"/>
                <a:gd name="connsiteX7" fmla="*/ 4064168 w 4460408"/>
                <a:gd name="connsiteY7" fmla="*/ 3459480 h 5113020"/>
                <a:gd name="connsiteX8" fmla="*/ 4125128 w 4460408"/>
                <a:gd name="connsiteY8" fmla="*/ 3627120 h 5113020"/>
                <a:gd name="connsiteX9" fmla="*/ 3949868 w 4460408"/>
                <a:gd name="connsiteY9" fmla="*/ 3771900 h 5113020"/>
                <a:gd name="connsiteX10" fmla="*/ 3965108 w 4460408"/>
                <a:gd name="connsiteY10" fmla="*/ 4297680 h 5113020"/>
                <a:gd name="connsiteX11" fmla="*/ 2966888 w 4460408"/>
                <a:gd name="connsiteY11" fmla="*/ 4480560 h 5113020"/>
                <a:gd name="connsiteX12" fmla="*/ 2601128 w 4460408"/>
                <a:gd name="connsiteY12" fmla="*/ 5113020 h 5113020"/>
                <a:gd name="connsiteX0" fmla="*/ 2545808 w 4405088"/>
                <a:gd name="connsiteY0" fmla="*/ 5113020 h 5113020"/>
                <a:gd name="connsiteX1" fmla="*/ 419828 w 4405088"/>
                <a:gd name="connsiteY1" fmla="*/ 4640580 h 5113020"/>
                <a:gd name="connsiteX2" fmla="*/ 122648 w 4405088"/>
                <a:gd name="connsiteY2" fmla="*/ 2712720 h 5113020"/>
                <a:gd name="connsiteX3" fmla="*/ 1837148 w 4405088"/>
                <a:gd name="connsiteY3" fmla="*/ 0 h 5113020"/>
                <a:gd name="connsiteX4" fmla="*/ 3940268 w 4405088"/>
                <a:gd name="connsiteY4" fmla="*/ 1630680 h 5113020"/>
                <a:gd name="connsiteX5" fmla="*/ 4405088 w 4405088"/>
                <a:gd name="connsiteY5" fmla="*/ 2903220 h 5113020"/>
                <a:gd name="connsiteX6" fmla="*/ 4100288 w 4405088"/>
                <a:gd name="connsiteY6" fmla="*/ 3345180 h 5113020"/>
                <a:gd name="connsiteX7" fmla="*/ 4008848 w 4405088"/>
                <a:gd name="connsiteY7" fmla="*/ 3459480 h 5113020"/>
                <a:gd name="connsiteX8" fmla="*/ 4069808 w 4405088"/>
                <a:gd name="connsiteY8" fmla="*/ 3627120 h 5113020"/>
                <a:gd name="connsiteX9" fmla="*/ 3894548 w 4405088"/>
                <a:gd name="connsiteY9" fmla="*/ 3771900 h 5113020"/>
                <a:gd name="connsiteX10" fmla="*/ 3909788 w 4405088"/>
                <a:gd name="connsiteY10" fmla="*/ 4297680 h 5113020"/>
                <a:gd name="connsiteX11" fmla="*/ 2911568 w 4405088"/>
                <a:gd name="connsiteY11" fmla="*/ 4480560 h 5113020"/>
                <a:gd name="connsiteX12" fmla="*/ 2545808 w 4405088"/>
                <a:gd name="connsiteY12" fmla="*/ 5113020 h 5113020"/>
                <a:gd name="connsiteX0" fmla="*/ 2589294 w 4448574"/>
                <a:gd name="connsiteY0" fmla="*/ 5113020 h 5113020"/>
                <a:gd name="connsiteX1" fmla="*/ 463314 w 4448574"/>
                <a:gd name="connsiteY1" fmla="*/ 4640580 h 5113020"/>
                <a:gd name="connsiteX2" fmla="*/ 166134 w 4448574"/>
                <a:gd name="connsiteY2" fmla="*/ 2712720 h 5113020"/>
                <a:gd name="connsiteX3" fmla="*/ 1880634 w 4448574"/>
                <a:gd name="connsiteY3" fmla="*/ 0 h 5113020"/>
                <a:gd name="connsiteX4" fmla="*/ 3983754 w 4448574"/>
                <a:gd name="connsiteY4" fmla="*/ 1630680 h 5113020"/>
                <a:gd name="connsiteX5" fmla="*/ 4448574 w 4448574"/>
                <a:gd name="connsiteY5" fmla="*/ 2903220 h 5113020"/>
                <a:gd name="connsiteX6" fmla="*/ 4143774 w 4448574"/>
                <a:gd name="connsiteY6" fmla="*/ 3345180 h 5113020"/>
                <a:gd name="connsiteX7" fmla="*/ 4052334 w 4448574"/>
                <a:gd name="connsiteY7" fmla="*/ 3459480 h 5113020"/>
                <a:gd name="connsiteX8" fmla="*/ 4113294 w 4448574"/>
                <a:gd name="connsiteY8" fmla="*/ 3627120 h 5113020"/>
                <a:gd name="connsiteX9" fmla="*/ 3938034 w 4448574"/>
                <a:gd name="connsiteY9" fmla="*/ 3771900 h 5113020"/>
                <a:gd name="connsiteX10" fmla="*/ 3953274 w 4448574"/>
                <a:gd name="connsiteY10" fmla="*/ 4297680 h 5113020"/>
                <a:gd name="connsiteX11" fmla="*/ 2955054 w 4448574"/>
                <a:gd name="connsiteY11" fmla="*/ 4480560 h 5113020"/>
                <a:gd name="connsiteX12" fmla="*/ 2589294 w 4448574"/>
                <a:gd name="connsiteY12" fmla="*/ 5113020 h 5113020"/>
                <a:gd name="connsiteX0" fmla="*/ 2589294 w 4448574"/>
                <a:gd name="connsiteY0" fmla="*/ 5113020 h 5113020"/>
                <a:gd name="connsiteX1" fmla="*/ 463314 w 4448574"/>
                <a:gd name="connsiteY1" fmla="*/ 4640580 h 5113020"/>
                <a:gd name="connsiteX2" fmla="*/ 166134 w 4448574"/>
                <a:gd name="connsiteY2" fmla="*/ 2712720 h 5113020"/>
                <a:gd name="connsiteX3" fmla="*/ 1880634 w 4448574"/>
                <a:gd name="connsiteY3" fmla="*/ 0 h 5113020"/>
                <a:gd name="connsiteX4" fmla="*/ 3983754 w 4448574"/>
                <a:gd name="connsiteY4" fmla="*/ 1630680 h 5113020"/>
                <a:gd name="connsiteX5" fmla="*/ 4448574 w 4448574"/>
                <a:gd name="connsiteY5" fmla="*/ 2903220 h 5113020"/>
                <a:gd name="connsiteX6" fmla="*/ 4143774 w 4448574"/>
                <a:gd name="connsiteY6" fmla="*/ 3345180 h 5113020"/>
                <a:gd name="connsiteX7" fmla="*/ 4052334 w 4448574"/>
                <a:gd name="connsiteY7" fmla="*/ 3459480 h 5113020"/>
                <a:gd name="connsiteX8" fmla="*/ 4113294 w 4448574"/>
                <a:gd name="connsiteY8" fmla="*/ 3627120 h 5113020"/>
                <a:gd name="connsiteX9" fmla="*/ 3938034 w 4448574"/>
                <a:gd name="connsiteY9" fmla="*/ 3771900 h 5113020"/>
                <a:gd name="connsiteX10" fmla="*/ 3953274 w 4448574"/>
                <a:gd name="connsiteY10" fmla="*/ 4297680 h 5113020"/>
                <a:gd name="connsiteX11" fmla="*/ 2955054 w 4448574"/>
                <a:gd name="connsiteY11" fmla="*/ 4480560 h 5113020"/>
                <a:gd name="connsiteX12" fmla="*/ 2589294 w 4448574"/>
                <a:gd name="connsiteY12" fmla="*/ 5113020 h 5113020"/>
                <a:gd name="connsiteX0" fmla="*/ 2589294 w 4448574"/>
                <a:gd name="connsiteY0" fmla="*/ 5125515 h 5125515"/>
                <a:gd name="connsiteX1" fmla="*/ 463314 w 4448574"/>
                <a:gd name="connsiteY1" fmla="*/ 4653075 h 5125515"/>
                <a:gd name="connsiteX2" fmla="*/ 166134 w 4448574"/>
                <a:gd name="connsiteY2" fmla="*/ 2725215 h 5125515"/>
                <a:gd name="connsiteX3" fmla="*/ 1880634 w 4448574"/>
                <a:gd name="connsiteY3" fmla="*/ 12495 h 5125515"/>
                <a:gd name="connsiteX4" fmla="*/ 3983754 w 4448574"/>
                <a:gd name="connsiteY4" fmla="*/ 1643175 h 5125515"/>
                <a:gd name="connsiteX5" fmla="*/ 4448574 w 4448574"/>
                <a:gd name="connsiteY5" fmla="*/ 2915715 h 5125515"/>
                <a:gd name="connsiteX6" fmla="*/ 4143774 w 4448574"/>
                <a:gd name="connsiteY6" fmla="*/ 3357675 h 5125515"/>
                <a:gd name="connsiteX7" fmla="*/ 4052334 w 4448574"/>
                <a:gd name="connsiteY7" fmla="*/ 3471975 h 5125515"/>
                <a:gd name="connsiteX8" fmla="*/ 4113294 w 4448574"/>
                <a:gd name="connsiteY8" fmla="*/ 3639615 h 5125515"/>
                <a:gd name="connsiteX9" fmla="*/ 3938034 w 4448574"/>
                <a:gd name="connsiteY9" fmla="*/ 3784395 h 5125515"/>
                <a:gd name="connsiteX10" fmla="*/ 3953274 w 4448574"/>
                <a:gd name="connsiteY10" fmla="*/ 4310175 h 5125515"/>
                <a:gd name="connsiteX11" fmla="*/ 2955054 w 4448574"/>
                <a:gd name="connsiteY11" fmla="*/ 4493055 h 5125515"/>
                <a:gd name="connsiteX12" fmla="*/ 2589294 w 4448574"/>
                <a:gd name="connsiteY12" fmla="*/ 5125515 h 5125515"/>
                <a:gd name="connsiteX0" fmla="*/ 2589294 w 4448574"/>
                <a:gd name="connsiteY0" fmla="*/ 5119432 h 5119432"/>
                <a:gd name="connsiteX1" fmla="*/ 463314 w 4448574"/>
                <a:gd name="connsiteY1" fmla="*/ 4646992 h 5119432"/>
                <a:gd name="connsiteX2" fmla="*/ 166134 w 4448574"/>
                <a:gd name="connsiteY2" fmla="*/ 2719132 h 5119432"/>
                <a:gd name="connsiteX3" fmla="*/ 1880634 w 4448574"/>
                <a:gd name="connsiteY3" fmla="*/ 6412 h 5119432"/>
                <a:gd name="connsiteX4" fmla="*/ 3983754 w 4448574"/>
                <a:gd name="connsiteY4" fmla="*/ 1637092 h 5119432"/>
                <a:gd name="connsiteX5" fmla="*/ 4448574 w 4448574"/>
                <a:gd name="connsiteY5" fmla="*/ 2909632 h 5119432"/>
                <a:gd name="connsiteX6" fmla="*/ 4143774 w 4448574"/>
                <a:gd name="connsiteY6" fmla="*/ 3351592 h 5119432"/>
                <a:gd name="connsiteX7" fmla="*/ 4052334 w 4448574"/>
                <a:gd name="connsiteY7" fmla="*/ 3465892 h 5119432"/>
                <a:gd name="connsiteX8" fmla="*/ 4113294 w 4448574"/>
                <a:gd name="connsiteY8" fmla="*/ 3633532 h 5119432"/>
                <a:gd name="connsiteX9" fmla="*/ 3938034 w 4448574"/>
                <a:gd name="connsiteY9" fmla="*/ 3778312 h 5119432"/>
                <a:gd name="connsiteX10" fmla="*/ 3953274 w 4448574"/>
                <a:gd name="connsiteY10" fmla="*/ 4304092 h 5119432"/>
                <a:gd name="connsiteX11" fmla="*/ 2955054 w 4448574"/>
                <a:gd name="connsiteY11" fmla="*/ 4486972 h 5119432"/>
                <a:gd name="connsiteX12" fmla="*/ 2589294 w 4448574"/>
                <a:gd name="connsiteY12" fmla="*/ 5119432 h 5119432"/>
                <a:gd name="connsiteX0" fmla="*/ 2589294 w 4448574"/>
                <a:gd name="connsiteY0" fmla="*/ 5118976 h 5118976"/>
                <a:gd name="connsiteX1" fmla="*/ 463314 w 4448574"/>
                <a:gd name="connsiteY1" fmla="*/ 4646536 h 5118976"/>
                <a:gd name="connsiteX2" fmla="*/ 166134 w 4448574"/>
                <a:gd name="connsiteY2" fmla="*/ 2718676 h 5118976"/>
                <a:gd name="connsiteX3" fmla="*/ 1880634 w 4448574"/>
                <a:gd name="connsiteY3" fmla="*/ 5956 h 5118976"/>
                <a:gd name="connsiteX4" fmla="*/ 3983754 w 4448574"/>
                <a:gd name="connsiteY4" fmla="*/ 1636636 h 5118976"/>
                <a:gd name="connsiteX5" fmla="*/ 4448574 w 4448574"/>
                <a:gd name="connsiteY5" fmla="*/ 2909176 h 5118976"/>
                <a:gd name="connsiteX6" fmla="*/ 4143774 w 4448574"/>
                <a:gd name="connsiteY6" fmla="*/ 3351136 h 5118976"/>
                <a:gd name="connsiteX7" fmla="*/ 4052334 w 4448574"/>
                <a:gd name="connsiteY7" fmla="*/ 3465436 h 5118976"/>
                <a:gd name="connsiteX8" fmla="*/ 4113294 w 4448574"/>
                <a:gd name="connsiteY8" fmla="*/ 3633076 h 5118976"/>
                <a:gd name="connsiteX9" fmla="*/ 3938034 w 4448574"/>
                <a:gd name="connsiteY9" fmla="*/ 3777856 h 5118976"/>
                <a:gd name="connsiteX10" fmla="*/ 3953274 w 4448574"/>
                <a:gd name="connsiteY10" fmla="*/ 4303636 h 5118976"/>
                <a:gd name="connsiteX11" fmla="*/ 2955054 w 4448574"/>
                <a:gd name="connsiteY11" fmla="*/ 4486516 h 5118976"/>
                <a:gd name="connsiteX12" fmla="*/ 2589294 w 4448574"/>
                <a:gd name="connsiteY12" fmla="*/ 5118976 h 5118976"/>
                <a:gd name="connsiteX0" fmla="*/ 2589294 w 4448574"/>
                <a:gd name="connsiteY0" fmla="*/ 5118976 h 5118976"/>
                <a:gd name="connsiteX1" fmla="*/ 463314 w 4448574"/>
                <a:gd name="connsiteY1" fmla="*/ 4646536 h 5118976"/>
                <a:gd name="connsiteX2" fmla="*/ 166134 w 4448574"/>
                <a:gd name="connsiteY2" fmla="*/ 2718676 h 5118976"/>
                <a:gd name="connsiteX3" fmla="*/ 1880634 w 4448574"/>
                <a:gd name="connsiteY3" fmla="*/ 5956 h 5118976"/>
                <a:gd name="connsiteX4" fmla="*/ 3983754 w 4448574"/>
                <a:gd name="connsiteY4" fmla="*/ 1636636 h 5118976"/>
                <a:gd name="connsiteX5" fmla="*/ 4448574 w 4448574"/>
                <a:gd name="connsiteY5" fmla="*/ 2909176 h 5118976"/>
                <a:gd name="connsiteX6" fmla="*/ 4143774 w 4448574"/>
                <a:gd name="connsiteY6" fmla="*/ 3351136 h 5118976"/>
                <a:gd name="connsiteX7" fmla="*/ 4052334 w 4448574"/>
                <a:gd name="connsiteY7" fmla="*/ 3465436 h 5118976"/>
                <a:gd name="connsiteX8" fmla="*/ 4113294 w 4448574"/>
                <a:gd name="connsiteY8" fmla="*/ 3633076 h 5118976"/>
                <a:gd name="connsiteX9" fmla="*/ 3938034 w 4448574"/>
                <a:gd name="connsiteY9" fmla="*/ 3777856 h 5118976"/>
                <a:gd name="connsiteX10" fmla="*/ 3953274 w 4448574"/>
                <a:gd name="connsiteY10" fmla="*/ 4303636 h 5118976"/>
                <a:gd name="connsiteX11" fmla="*/ 2955054 w 4448574"/>
                <a:gd name="connsiteY11" fmla="*/ 4486516 h 5118976"/>
                <a:gd name="connsiteX12" fmla="*/ 2589294 w 4448574"/>
                <a:gd name="connsiteY12" fmla="*/ 5118976 h 5118976"/>
                <a:gd name="connsiteX0" fmla="*/ 2589294 w 4449538"/>
                <a:gd name="connsiteY0" fmla="*/ 5118976 h 5118976"/>
                <a:gd name="connsiteX1" fmla="*/ 463314 w 4449538"/>
                <a:gd name="connsiteY1" fmla="*/ 4646536 h 5118976"/>
                <a:gd name="connsiteX2" fmla="*/ 166134 w 4449538"/>
                <a:gd name="connsiteY2" fmla="*/ 2718676 h 5118976"/>
                <a:gd name="connsiteX3" fmla="*/ 1880634 w 4449538"/>
                <a:gd name="connsiteY3" fmla="*/ 5956 h 5118976"/>
                <a:gd name="connsiteX4" fmla="*/ 3983754 w 4449538"/>
                <a:gd name="connsiteY4" fmla="*/ 1636636 h 5118976"/>
                <a:gd name="connsiteX5" fmla="*/ 4448574 w 4449538"/>
                <a:gd name="connsiteY5" fmla="*/ 2909176 h 5118976"/>
                <a:gd name="connsiteX6" fmla="*/ 4143774 w 4449538"/>
                <a:gd name="connsiteY6" fmla="*/ 3351136 h 5118976"/>
                <a:gd name="connsiteX7" fmla="*/ 4052334 w 4449538"/>
                <a:gd name="connsiteY7" fmla="*/ 3465436 h 5118976"/>
                <a:gd name="connsiteX8" fmla="*/ 4113294 w 4449538"/>
                <a:gd name="connsiteY8" fmla="*/ 3633076 h 5118976"/>
                <a:gd name="connsiteX9" fmla="*/ 3938034 w 4449538"/>
                <a:gd name="connsiteY9" fmla="*/ 3777856 h 5118976"/>
                <a:gd name="connsiteX10" fmla="*/ 3953274 w 4449538"/>
                <a:gd name="connsiteY10" fmla="*/ 4303636 h 5118976"/>
                <a:gd name="connsiteX11" fmla="*/ 2955054 w 4449538"/>
                <a:gd name="connsiteY11" fmla="*/ 4486516 h 5118976"/>
                <a:gd name="connsiteX12" fmla="*/ 2589294 w 4449538"/>
                <a:gd name="connsiteY12" fmla="*/ 5118976 h 5118976"/>
                <a:gd name="connsiteX0" fmla="*/ 2589294 w 4449481"/>
                <a:gd name="connsiteY0" fmla="*/ 5118976 h 5118976"/>
                <a:gd name="connsiteX1" fmla="*/ 463314 w 4449481"/>
                <a:gd name="connsiteY1" fmla="*/ 4646536 h 5118976"/>
                <a:gd name="connsiteX2" fmla="*/ 166134 w 4449481"/>
                <a:gd name="connsiteY2" fmla="*/ 2718676 h 5118976"/>
                <a:gd name="connsiteX3" fmla="*/ 1880634 w 4449481"/>
                <a:gd name="connsiteY3" fmla="*/ 5956 h 5118976"/>
                <a:gd name="connsiteX4" fmla="*/ 3983754 w 4449481"/>
                <a:gd name="connsiteY4" fmla="*/ 1636636 h 5118976"/>
                <a:gd name="connsiteX5" fmla="*/ 4448574 w 4449481"/>
                <a:gd name="connsiteY5" fmla="*/ 2909176 h 5118976"/>
                <a:gd name="connsiteX6" fmla="*/ 4143774 w 4449481"/>
                <a:gd name="connsiteY6" fmla="*/ 3351136 h 5118976"/>
                <a:gd name="connsiteX7" fmla="*/ 4052334 w 4449481"/>
                <a:gd name="connsiteY7" fmla="*/ 3465436 h 5118976"/>
                <a:gd name="connsiteX8" fmla="*/ 4113294 w 4449481"/>
                <a:gd name="connsiteY8" fmla="*/ 3633076 h 5118976"/>
                <a:gd name="connsiteX9" fmla="*/ 3938034 w 4449481"/>
                <a:gd name="connsiteY9" fmla="*/ 3777856 h 5118976"/>
                <a:gd name="connsiteX10" fmla="*/ 3953274 w 4449481"/>
                <a:gd name="connsiteY10" fmla="*/ 4303636 h 5118976"/>
                <a:gd name="connsiteX11" fmla="*/ 2955054 w 4449481"/>
                <a:gd name="connsiteY11" fmla="*/ 4486516 h 5118976"/>
                <a:gd name="connsiteX12" fmla="*/ 2589294 w 4449481"/>
                <a:gd name="connsiteY12" fmla="*/ 5118976 h 5118976"/>
                <a:gd name="connsiteX0" fmla="*/ 2589294 w 4455338"/>
                <a:gd name="connsiteY0" fmla="*/ 5118976 h 5118976"/>
                <a:gd name="connsiteX1" fmla="*/ 463314 w 4455338"/>
                <a:gd name="connsiteY1" fmla="*/ 4646536 h 5118976"/>
                <a:gd name="connsiteX2" fmla="*/ 166134 w 4455338"/>
                <a:gd name="connsiteY2" fmla="*/ 2718676 h 5118976"/>
                <a:gd name="connsiteX3" fmla="*/ 1880634 w 4455338"/>
                <a:gd name="connsiteY3" fmla="*/ 5956 h 5118976"/>
                <a:gd name="connsiteX4" fmla="*/ 3983754 w 4455338"/>
                <a:gd name="connsiteY4" fmla="*/ 1636636 h 5118976"/>
                <a:gd name="connsiteX5" fmla="*/ 4448574 w 4455338"/>
                <a:gd name="connsiteY5" fmla="*/ 2909176 h 5118976"/>
                <a:gd name="connsiteX6" fmla="*/ 4143774 w 4455338"/>
                <a:gd name="connsiteY6" fmla="*/ 3351136 h 5118976"/>
                <a:gd name="connsiteX7" fmla="*/ 4052334 w 4455338"/>
                <a:gd name="connsiteY7" fmla="*/ 3465436 h 5118976"/>
                <a:gd name="connsiteX8" fmla="*/ 4113294 w 4455338"/>
                <a:gd name="connsiteY8" fmla="*/ 3633076 h 5118976"/>
                <a:gd name="connsiteX9" fmla="*/ 3938034 w 4455338"/>
                <a:gd name="connsiteY9" fmla="*/ 3777856 h 5118976"/>
                <a:gd name="connsiteX10" fmla="*/ 3953274 w 4455338"/>
                <a:gd name="connsiteY10" fmla="*/ 4303636 h 5118976"/>
                <a:gd name="connsiteX11" fmla="*/ 2955054 w 4455338"/>
                <a:gd name="connsiteY11" fmla="*/ 4486516 h 5118976"/>
                <a:gd name="connsiteX12" fmla="*/ 2589294 w 4455338"/>
                <a:gd name="connsiteY12" fmla="*/ 5118976 h 5118976"/>
                <a:gd name="connsiteX0" fmla="*/ 2589294 w 4451409"/>
                <a:gd name="connsiteY0" fmla="*/ 5118976 h 5118976"/>
                <a:gd name="connsiteX1" fmla="*/ 463314 w 4451409"/>
                <a:gd name="connsiteY1" fmla="*/ 4646536 h 5118976"/>
                <a:gd name="connsiteX2" fmla="*/ 166134 w 4451409"/>
                <a:gd name="connsiteY2" fmla="*/ 2718676 h 5118976"/>
                <a:gd name="connsiteX3" fmla="*/ 1880634 w 4451409"/>
                <a:gd name="connsiteY3" fmla="*/ 5956 h 5118976"/>
                <a:gd name="connsiteX4" fmla="*/ 3983754 w 4451409"/>
                <a:gd name="connsiteY4" fmla="*/ 1636636 h 5118976"/>
                <a:gd name="connsiteX5" fmla="*/ 4448574 w 4451409"/>
                <a:gd name="connsiteY5" fmla="*/ 2909176 h 5118976"/>
                <a:gd name="connsiteX6" fmla="*/ 4143774 w 4451409"/>
                <a:gd name="connsiteY6" fmla="*/ 3351136 h 5118976"/>
                <a:gd name="connsiteX7" fmla="*/ 4052334 w 4451409"/>
                <a:gd name="connsiteY7" fmla="*/ 3465436 h 5118976"/>
                <a:gd name="connsiteX8" fmla="*/ 4113294 w 4451409"/>
                <a:gd name="connsiteY8" fmla="*/ 3633076 h 5118976"/>
                <a:gd name="connsiteX9" fmla="*/ 3938034 w 4451409"/>
                <a:gd name="connsiteY9" fmla="*/ 3777856 h 5118976"/>
                <a:gd name="connsiteX10" fmla="*/ 3953274 w 4451409"/>
                <a:gd name="connsiteY10" fmla="*/ 4303636 h 5118976"/>
                <a:gd name="connsiteX11" fmla="*/ 2955054 w 4451409"/>
                <a:gd name="connsiteY11" fmla="*/ 4486516 h 5118976"/>
                <a:gd name="connsiteX12" fmla="*/ 2589294 w 4451409"/>
                <a:gd name="connsiteY12" fmla="*/ 5118976 h 5118976"/>
                <a:gd name="connsiteX0" fmla="*/ 2589294 w 4449063"/>
                <a:gd name="connsiteY0" fmla="*/ 5118976 h 5118976"/>
                <a:gd name="connsiteX1" fmla="*/ 463314 w 4449063"/>
                <a:gd name="connsiteY1" fmla="*/ 4646536 h 5118976"/>
                <a:gd name="connsiteX2" fmla="*/ 166134 w 4449063"/>
                <a:gd name="connsiteY2" fmla="*/ 2718676 h 5118976"/>
                <a:gd name="connsiteX3" fmla="*/ 1880634 w 4449063"/>
                <a:gd name="connsiteY3" fmla="*/ 5956 h 5118976"/>
                <a:gd name="connsiteX4" fmla="*/ 3983754 w 4449063"/>
                <a:gd name="connsiteY4" fmla="*/ 1636636 h 5118976"/>
                <a:gd name="connsiteX5" fmla="*/ 4448574 w 4449063"/>
                <a:gd name="connsiteY5" fmla="*/ 2909176 h 5118976"/>
                <a:gd name="connsiteX6" fmla="*/ 4143774 w 4449063"/>
                <a:gd name="connsiteY6" fmla="*/ 3351136 h 5118976"/>
                <a:gd name="connsiteX7" fmla="*/ 4052334 w 4449063"/>
                <a:gd name="connsiteY7" fmla="*/ 3465436 h 5118976"/>
                <a:gd name="connsiteX8" fmla="*/ 4113294 w 4449063"/>
                <a:gd name="connsiteY8" fmla="*/ 3633076 h 5118976"/>
                <a:gd name="connsiteX9" fmla="*/ 3938034 w 4449063"/>
                <a:gd name="connsiteY9" fmla="*/ 3777856 h 5118976"/>
                <a:gd name="connsiteX10" fmla="*/ 3953274 w 4449063"/>
                <a:gd name="connsiteY10" fmla="*/ 4303636 h 5118976"/>
                <a:gd name="connsiteX11" fmla="*/ 2955054 w 4449063"/>
                <a:gd name="connsiteY11" fmla="*/ 4486516 h 5118976"/>
                <a:gd name="connsiteX12" fmla="*/ 2589294 w 4449063"/>
                <a:gd name="connsiteY12" fmla="*/ 5118976 h 5118976"/>
                <a:gd name="connsiteX0" fmla="*/ 2589294 w 4449063"/>
                <a:gd name="connsiteY0" fmla="*/ 5118976 h 5118976"/>
                <a:gd name="connsiteX1" fmla="*/ 463314 w 4449063"/>
                <a:gd name="connsiteY1" fmla="*/ 4646536 h 5118976"/>
                <a:gd name="connsiteX2" fmla="*/ 166134 w 4449063"/>
                <a:gd name="connsiteY2" fmla="*/ 2718676 h 5118976"/>
                <a:gd name="connsiteX3" fmla="*/ 1880634 w 4449063"/>
                <a:gd name="connsiteY3" fmla="*/ 5956 h 5118976"/>
                <a:gd name="connsiteX4" fmla="*/ 3983754 w 4449063"/>
                <a:gd name="connsiteY4" fmla="*/ 1636636 h 5118976"/>
                <a:gd name="connsiteX5" fmla="*/ 4448574 w 4449063"/>
                <a:gd name="connsiteY5" fmla="*/ 2909176 h 5118976"/>
                <a:gd name="connsiteX6" fmla="*/ 4143774 w 4449063"/>
                <a:gd name="connsiteY6" fmla="*/ 3351136 h 5118976"/>
                <a:gd name="connsiteX7" fmla="*/ 4052334 w 4449063"/>
                <a:gd name="connsiteY7" fmla="*/ 3465436 h 5118976"/>
                <a:gd name="connsiteX8" fmla="*/ 4113294 w 4449063"/>
                <a:gd name="connsiteY8" fmla="*/ 3633076 h 5118976"/>
                <a:gd name="connsiteX9" fmla="*/ 3938034 w 4449063"/>
                <a:gd name="connsiteY9" fmla="*/ 3777856 h 5118976"/>
                <a:gd name="connsiteX10" fmla="*/ 3953274 w 4449063"/>
                <a:gd name="connsiteY10" fmla="*/ 4303636 h 5118976"/>
                <a:gd name="connsiteX11" fmla="*/ 2955054 w 4449063"/>
                <a:gd name="connsiteY11" fmla="*/ 4486516 h 5118976"/>
                <a:gd name="connsiteX12" fmla="*/ 2589294 w 4449063"/>
                <a:gd name="connsiteY12" fmla="*/ 5118976 h 5118976"/>
                <a:gd name="connsiteX0" fmla="*/ 2589294 w 4449063"/>
                <a:gd name="connsiteY0" fmla="*/ 5118976 h 5118976"/>
                <a:gd name="connsiteX1" fmla="*/ 463314 w 4449063"/>
                <a:gd name="connsiteY1" fmla="*/ 4646536 h 5118976"/>
                <a:gd name="connsiteX2" fmla="*/ 166134 w 4449063"/>
                <a:gd name="connsiteY2" fmla="*/ 2718676 h 5118976"/>
                <a:gd name="connsiteX3" fmla="*/ 1880634 w 4449063"/>
                <a:gd name="connsiteY3" fmla="*/ 5956 h 5118976"/>
                <a:gd name="connsiteX4" fmla="*/ 3983754 w 4449063"/>
                <a:gd name="connsiteY4" fmla="*/ 1636636 h 5118976"/>
                <a:gd name="connsiteX5" fmla="*/ 4448574 w 4449063"/>
                <a:gd name="connsiteY5" fmla="*/ 2909176 h 5118976"/>
                <a:gd name="connsiteX6" fmla="*/ 4143774 w 4449063"/>
                <a:gd name="connsiteY6" fmla="*/ 3351136 h 5118976"/>
                <a:gd name="connsiteX7" fmla="*/ 4052334 w 4449063"/>
                <a:gd name="connsiteY7" fmla="*/ 3465436 h 5118976"/>
                <a:gd name="connsiteX8" fmla="*/ 4113294 w 4449063"/>
                <a:gd name="connsiteY8" fmla="*/ 3633076 h 5118976"/>
                <a:gd name="connsiteX9" fmla="*/ 3938034 w 4449063"/>
                <a:gd name="connsiteY9" fmla="*/ 3777856 h 5118976"/>
                <a:gd name="connsiteX10" fmla="*/ 3953274 w 4449063"/>
                <a:gd name="connsiteY10" fmla="*/ 4303636 h 5118976"/>
                <a:gd name="connsiteX11" fmla="*/ 2955054 w 4449063"/>
                <a:gd name="connsiteY11" fmla="*/ 4486516 h 5118976"/>
                <a:gd name="connsiteX12" fmla="*/ 2589294 w 4449063"/>
                <a:gd name="connsiteY12" fmla="*/ 5118976 h 5118976"/>
                <a:gd name="connsiteX0" fmla="*/ 2589294 w 4449063"/>
                <a:gd name="connsiteY0" fmla="*/ 5118976 h 5118976"/>
                <a:gd name="connsiteX1" fmla="*/ 463314 w 4449063"/>
                <a:gd name="connsiteY1" fmla="*/ 4646536 h 5118976"/>
                <a:gd name="connsiteX2" fmla="*/ 166134 w 4449063"/>
                <a:gd name="connsiteY2" fmla="*/ 2718676 h 5118976"/>
                <a:gd name="connsiteX3" fmla="*/ 1880634 w 4449063"/>
                <a:gd name="connsiteY3" fmla="*/ 5956 h 5118976"/>
                <a:gd name="connsiteX4" fmla="*/ 3983754 w 4449063"/>
                <a:gd name="connsiteY4" fmla="*/ 1636636 h 5118976"/>
                <a:gd name="connsiteX5" fmla="*/ 4448574 w 4449063"/>
                <a:gd name="connsiteY5" fmla="*/ 2909176 h 5118976"/>
                <a:gd name="connsiteX6" fmla="*/ 4143774 w 4449063"/>
                <a:gd name="connsiteY6" fmla="*/ 3351136 h 5118976"/>
                <a:gd name="connsiteX7" fmla="*/ 4052334 w 4449063"/>
                <a:gd name="connsiteY7" fmla="*/ 3465436 h 5118976"/>
                <a:gd name="connsiteX8" fmla="*/ 4113294 w 4449063"/>
                <a:gd name="connsiteY8" fmla="*/ 3633076 h 5118976"/>
                <a:gd name="connsiteX9" fmla="*/ 3938034 w 4449063"/>
                <a:gd name="connsiteY9" fmla="*/ 3777856 h 5118976"/>
                <a:gd name="connsiteX10" fmla="*/ 3953274 w 4449063"/>
                <a:gd name="connsiteY10" fmla="*/ 4303636 h 5118976"/>
                <a:gd name="connsiteX11" fmla="*/ 2955054 w 4449063"/>
                <a:gd name="connsiteY11" fmla="*/ 4486516 h 5118976"/>
                <a:gd name="connsiteX12" fmla="*/ 2589294 w 4449063"/>
                <a:gd name="connsiteY12" fmla="*/ 5118976 h 5118976"/>
                <a:gd name="connsiteX0" fmla="*/ 2589294 w 4449063"/>
                <a:gd name="connsiteY0" fmla="*/ 5118976 h 5118976"/>
                <a:gd name="connsiteX1" fmla="*/ 463314 w 4449063"/>
                <a:gd name="connsiteY1" fmla="*/ 4646536 h 5118976"/>
                <a:gd name="connsiteX2" fmla="*/ 166134 w 4449063"/>
                <a:gd name="connsiteY2" fmla="*/ 2718676 h 5118976"/>
                <a:gd name="connsiteX3" fmla="*/ 1880634 w 4449063"/>
                <a:gd name="connsiteY3" fmla="*/ 5956 h 5118976"/>
                <a:gd name="connsiteX4" fmla="*/ 3983754 w 4449063"/>
                <a:gd name="connsiteY4" fmla="*/ 1636636 h 5118976"/>
                <a:gd name="connsiteX5" fmla="*/ 4448574 w 4449063"/>
                <a:gd name="connsiteY5" fmla="*/ 2909176 h 5118976"/>
                <a:gd name="connsiteX6" fmla="*/ 4143774 w 4449063"/>
                <a:gd name="connsiteY6" fmla="*/ 3351136 h 5118976"/>
                <a:gd name="connsiteX7" fmla="*/ 4052334 w 4449063"/>
                <a:gd name="connsiteY7" fmla="*/ 3465436 h 5118976"/>
                <a:gd name="connsiteX8" fmla="*/ 4113294 w 4449063"/>
                <a:gd name="connsiteY8" fmla="*/ 3633076 h 5118976"/>
                <a:gd name="connsiteX9" fmla="*/ 3938034 w 4449063"/>
                <a:gd name="connsiteY9" fmla="*/ 3777856 h 5118976"/>
                <a:gd name="connsiteX10" fmla="*/ 3953274 w 4449063"/>
                <a:gd name="connsiteY10" fmla="*/ 4303636 h 5118976"/>
                <a:gd name="connsiteX11" fmla="*/ 2955054 w 4449063"/>
                <a:gd name="connsiteY11" fmla="*/ 4486516 h 5118976"/>
                <a:gd name="connsiteX12" fmla="*/ 2589294 w 4449063"/>
                <a:gd name="connsiteY12" fmla="*/ 5118976 h 5118976"/>
                <a:gd name="connsiteX0" fmla="*/ 2589294 w 4449063"/>
                <a:gd name="connsiteY0" fmla="*/ 5118976 h 5118976"/>
                <a:gd name="connsiteX1" fmla="*/ 463314 w 4449063"/>
                <a:gd name="connsiteY1" fmla="*/ 4646536 h 5118976"/>
                <a:gd name="connsiteX2" fmla="*/ 166134 w 4449063"/>
                <a:gd name="connsiteY2" fmla="*/ 2718676 h 5118976"/>
                <a:gd name="connsiteX3" fmla="*/ 1880634 w 4449063"/>
                <a:gd name="connsiteY3" fmla="*/ 5956 h 5118976"/>
                <a:gd name="connsiteX4" fmla="*/ 3983754 w 4449063"/>
                <a:gd name="connsiteY4" fmla="*/ 1636636 h 5118976"/>
                <a:gd name="connsiteX5" fmla="*/ 4448574 w 4449063"/>
                <a:gd name="connsiteY5" fmla="*/ 2909176 h 5118976"/>
                <a:gd name="connsiteX6" fmla="*/ 4143774 w 4449063"/>
                <a:gd name="connsiteY6" fmla="*/ 3351136 h 5118976"/>
                <a:gd name="connsiteX7" fmla="*/ 4052334 w 4449063"/>
                <a:gd name="connsiteY7" fmla="*/ 3465436 h 5118976"/>
                <a:gd name="connsiteX8" fmla="*/ 4113294 w 4449063"/>
                <a:gd name="connsiteY8" fmla="*/ 3633076 h 5118976"/>
                <a:gd name="connsiteX9" fmla="*/ 3938034 w 4449063"/>
                <a:gd name="connsiteY9" fmla="*/ 3777856 h 5118976"/>
                <a:gd name="connsiteX10" fmla="*/ 3953274 w 4449063"/>
                <a:gd name="connsiteY10" fmla="*/ 4303636 h 5118976"/>
                <a:gd name="connsiteX11" fmla="*/ 2955054 w 4449063"/>
                <a:gd name="connsiteY11" fmla="*/ 4486516 h 5118976"/>
                <a:gd name="connsiteX12" fmla="*/ 2589294 w 4449063"/>
                <a:gd name="connsiteY12" fmla="*/ 5118976 h 5118976"/>
                <a:gd name="connsiteX0" fmla="*/ 2589294 w 4449063"/>
                <a:gd name="connsiteY0" fmla="*/ 5118976 h 5118976"/>
                <a:gd name="connsiteX1" fmla="*/ 463314 w 4449063"/>
                <a:gd name="connsiteY1" fmla="*/ 4646536 h 5118976"/>
                <a:gd name="connsiteX2" fmla="*/ 166134 w 4449063"/>
                <a:gd name="connsiteY2" fmla="*/ 2718676 h 5118976"/>
                <a:gd name="connsiteX3" fmla="*/ 1880634 w 4449063"/>
                <a:gd name="connsiteY3" fmla="*/ 5956 h 5118976"/>
                <a:gd name="connsiteX4" fmla="*/ 3983754 w 4449063"/>
                <a:gd name="connsiteY4" fmla="*/ 1636636 h 5118976"/>
                <a:gd name="connsiteX5" fmla="*/ 4448574 w 4449063"/>
                <a:gd name="connsiteY5" fmla="*/ 2909176 h 5118976"/>
                <a:gd name="connsiteX6" fmla="*/ 4143774 w 4449063"/>
                <a:gd name="connsiteY6" fmla="*/ 3351136 h 5118976"/>
                <a:gd name="connsiteX7" fmla="*/ 4052334 w 4449063"/>
                <a:gd name="connsiteY7" fmla="*/ 3465436 h 5118976"/>
                <a:gd name="connsiteX8" fmla="*/ 4113294 w 4449063"/>
                <a:gd name="connsiteY8" fmla="*/ 3633076 h 5118976"/>
                <a:gd name="connsiteX9" fmla="*/ 3938034 w 4449063"/>
                <a:gd name="connsiteY9" fmla="*/ 3777856 h 5118976"/>
                <a:gd name="connsiteX10" fmla="*/ 3953274 w 4449063"/>
                <a:gd name="connsiteY10" fmla="*/ 4303636 h 5118976"/>
                <a:gd name="connsiteX11" fmla="*/ 2955054 w 4449063"/>
                <a:gd name="connsiteY11" fmla="*/ 4486516 h 5118976"/>
                <a:gd name="connsiteX12" fmla="*/ 2589294 w 4449063"/>
                <a:gd name="connsiteY12" fmla="*/ 5118976 h 5118976"/>
                <a:gd name="connsiteX0" fmla="*/ 2589294 w 4449063"/>
                <a:gd name="connsiteY0" fmla="*/ 5118976 h 5118976"/>
                <a:gd name="connsiteX1" fmla="*/ 463314 w 4449063"/>
                <a:gd name="connsiteY1" fmla="*/ 4646536 h 5118976"/>
                <a:gd name="connsiteX2" fmla="*/ 166134 w 4449063"/>
                <a:gd name="connsiteY2" fmla="*/ 2718676 h 5118976"/>
                <a:gd name="connsiteX3" fmla="*/ 1880634 w 4449063"/>
                <a:gd name="connsiteY3" fmla="*/ 5956 h 5118976"/>
                <a:gd name="connsiteX4" fmla="*/ 3983754 w 4449063"/>
                <a:gd name="connsiteY4" fmla="*/ 1636636 h 5118976"/>
                <a:gd name="connsiteX5" fmla="*/ 4448574 w 4449063"/>
                <a:gd name="connsiteY5" fmla="*/ 2909176 h 5118976"/>
                <a:gd name="connsiteX6" fmla="*/ 4143774 w 4449063"/>
                <a:gd name="connsiteY6" fmla="*/ 3351136 h 5118976"/>
                <a:gd name="connsiteX7" fmla="*/ 4052334 w 4449063"/>
                <a:gd name="connsiteY7" fmla="*/ 3465436 h 5118976"/>
                <a:gd name="connsiteX8" fmla="*/ 4113294 w 4449063"/>
                <a:gd name="connsiteY8" fmla="*/ 3633076 h 5118976"/>
                <a:gd name="connsiteX9" fmla="*/ 3938034 w 4449063"/>
                <a:gd name="connsiteY9" fmla="*/ 3777856 h 5118976"/>
                <a:gd name="connsiteX10" fmla="*/ 3953274 w 4449063"/>
                <a:gd name="connsiteY10" fmla="*/ 4303636 h 5118976"/>
                <a:gd name="connsiteX11" fmla="*/ 2955054 w 4449063"/>
                <a:gd name="connsiteY11" fmla="*/ 4486516 h 5118976"/>
                <a:gd name="connsiteX12" fmla="*/ 2589294 w 4449063"/>
                <a:gd name="connsiteY12" fmla="*/ 5118976 h 5118976"/>
                <a:gd name="connsiteX0" fmla="*/ 2589294 w 4449063"/>
                <a:gd name="connsiteY0" fmla="*/ 5118976 h 5118976"/>
                <a:gd name="connsiteX1" fmla="*/ 463314 w 4449063"/>
                <a:gd name="connsiteY1" fmla="*/ 4646536 h 5118976"/>
                <a:gd name="connsiteX2" fmla="*/ 166134 w 4449063"/>
                <a:gd name="connsiteY2" fmla="*/ 2718676 h 5118976"/>
                <a:gd name="connsiteX3" fmla="*/ 1880634 w 4449063"/>
                <a:gd name="connsiteY3" fmla="*/ 5956 h 5118976"/>
                <a:gd name="connsiteX4" fmla="*/ 3983754 w 4449063"/>
                <a:gd name="connsiteY4" fmla="*/ 1636636 h 5118976"/>
                <a:gd name="connsiteX5" fmla="*/ 4448574 w 4449063"/>
                <a:gd name="connsiteY5" fmla="*/ 2909176 h 5118976"/>
                <a:gd name="connsiteX6" fmla="*/ 4143774 w 4449063"/>
                <a:gd name="connsiteY6" fmla="*/ 3351136 h 5118976"/>
                <a:gd name="connsiteX7" fmla="*/ 4052334 w 4449063"/>
                <a:gd name="connsiteY7" fmla="*/ 3465436 h 5118976"/>
                <a:gd name="connsiteX8" fmla="*/ 4113294 w 4449063"/>
                <a:gd name="connsiteY8" fmla="*/ 3633076 h 5118976"/>
                <a:gd name="connsiteX9" fmla="*/ 3938034 w 4449063"/>
                <a:gd name="connsiteY9" fmla="*/ 3777856 h 5118976"/>
                <a:gd name="connsiteX10" fmla="*/ 3953274 w 4449063"/>
                <a:gd name="connsiteY10" fmla="*/ 4303636 h 5118976"/>
                <a:gd name="connsiteX11" fmla="*/ 2955054 w 4449063"/>
                <a:gd name="connsiteY11" fmla="*/ 4486516 h 5118976"/>
                <a:gd name="connsiteX12" fmla="*/ 2589294 w 4449063"/>
                <a:gd name="connsiteY12" fmla="*/ 5118976 h 5118976"/>
                <a:gd name="connsiteX0" fmla="*/ 2589294 w 4449063"/>
                <a:gd name="connsiteY0" fmla="*/ 5118976 h 5118976"/>
                <a:gd name="connsiteX1" fmla="*/ 463314 w 4449063"/>
                <a:gd name="connsiteY1" fmla="*/ 4646536 h 5118976"/>
                <a:gd name="connsiteX2" fmla="*/ 166134 w 4449063"/>
                <a:gd name="connsiteY2" fmla="*/ 2718676 h 5118976"/>
                <a:gd name="connsiteX3" fmla="*/ 1880634 w 4449063"/>
                <a:gd name="connsiteY3" fmla="*/ 5956 h 5118976"/>
                <a:gd name="connsiteX4" fmla="*/ 3983754 w 4449063"/>
                <a:gd name="connsiteY4" fmla="*/ 1636636 h 5118976"/>
                <a:gd name="connsiteX5" fmla="*/ 4448574 w 4449063"/>
                <a:gd name="connsiteY5" fmla="*/ 2909176 h 5118976"/>
                <a:gd name="connsiteX6" fmla="*/ 4143774 w 4449063"/>
                <a:gd name="connsiteY6" fmla="*/ 3351136 h 5118976"/>
                <a:gd name="connsiteX7" fmla="*/ 4052334 w 4449063"/>
                <a:gd name="connsiteY7" fmla="*/ 3465436 h 5118976"/>
                <a:gd name="connsiteX8" fmla="*/ 4113294 w 4449063"/>
                <a:gd name="connsiteY8" fmla="*/ 3633076 h 5118976"/>
                <a:gd name="connsiteX9" fmla="*/ 3938034 w 4449063"/>
                <a:gd name="connsiteY9" fmla="*/ 3777856 h 5118976"/>
                <a:gd name="connsiteX10" fmla="*/ 3953274 w 4449063"/>
                <a:gd name="connsiteY10" fmla="*/ 4303636 h 5118976"/>
                <a:gd name="connsiteX11" fmla="*/ 2955054 w 4449063"/>
                <a:gd name="connsiteY11" fmla="*/ 4486516 h 5118976"/>
                <a:gd name="connsiteX12" fmla="*/ 2589294 w 4449063"/>
                <a:gd name="connsiteY12" fmla="*/ 5118976 h 5118976"/>
                <a:gd name="connsiteX0" fmla="*/ 2589294 w 4449063"/>
                <a:gd name="connsiteY0" fmla="*/ 5118976 h 5118976"/>
                <a:gd name="connsiteX1" fmla="*/ 463314 w 4449063"/>
                <a:gd name="connsiteY1" fmla="*/ 4646536 h 5118976"/>
                <a:gd name="connsiteX2" fmla="*/ 166134 w 4449063"/>
                <a:gd name="connsiteY2" fmla="*/ 2718676 h 5118976"/>
                <a:gd name="connsiteX3" fmla="*/ 1880634 w 4449063"/>
                <a:gd name="connsiteY3" fmla="*/ 5956 h 5118976"/>
                <a:gd name="connsiteX4" fmla="*/ 3983754 w 4449063"/>
                <a:gd name="connsiteY4" fmla="*/ 1636636 h 5118976"/>
                <a:gd name="connsiteX5" fmla="*/ 4448574 w 4449063"/>
                <a:gd name="connsiteY5" fmla="*/ 2909176 h 5118976"/>
                <a:gd name="connsiteX6" fmla="*/ 4143774 w 4449063"/>
                <a:gd name="connsiteY6" fmla="*/ 3351136 h 5118976"/>
                <a:gd name="connsiteX7" fmla="*/ 4052334 w 4449063"/>
                <a:gd name="connsiteY7" fmla="*/ 3465436 h 5118976"/>
                <a:gd name="connsiteX8" fmla="*/ 4113294 w 4449063"/>
                <a:gd name="connsiteY8" fmla="*/ 3633076 h 5118976"/>
                <a:gd name="connsiteX9" fmla="*/ 3938034 w 4449063"/>
                <a:gd name="connsiteY9" fmla="*/ 3777856 h 5118976"/>
                <a:gd name="connsiteX10" fmla="*/ 3953274 w 4449063"/>
                <a:gd name="connsiteY10" fmla="*/ 4303636 h 5118976"/>
                <a:gd name="connsiteX11" fmla="*/ 2955054 w 4449063"/>
                <a:gd name="connsiteY11" fmla="*/ 4486516 h 5118976"/>
                <a:gd name="connsiteX12" fmla="*/ 2589294 w 4449063"/>
                <a:gd name="connsiteY12" fmla="*/ 5118976 h 5118976"/>
                <a:gd name="connsiteX0" fmla="*/ 2589294 w 4449063"/>
                <a:gd name="connsiteY0" fmla="*/ 5118976 h 5118976"/>
                <a:gd name="connsiteX1" fmla="*/ 463314 w 4449063"/>
                <a:gd name="connsiteY1" fmla="*/ 4646536 h 5118976"/>
                <a:gd name="connsiteX2" fmla="*/ 166134 w 4449063"/>
                <a:gd name="connsiteY2" fmla="*/ 2718676 h 5118976"/>
                <a:gd name="connsiteX3" fmla="*/ 1880634 w 4449063"/>
                <a:gd name="connsiteY3" fmla="*/ 5956 h 5118976"/>
                <a:gd name="connsiteX4" fmla="*/ 3983754 w 4449063"/>
                <a:gd name="connsiteY4" fmla="*/ 1636636 h 5118976"/>
                <a:gd name="connsiteX5" fmla="*/ 4448574 w 4449063"/>
                <a:gd name="connsiteY5" fmla="*/ 2909176 h 5118976"/>
                <a:gd name="connsiteX6" fmla="*/ 4143774 w 4449063"/>
                <a:gd name="connsiteY6" fmla="*/ 3351136 h 5118976"/>
                <a:gd name="connsiteX7" fmla="*/ 4052334 w 4449063"/>
                <a:gd name="connsiteY7" fmla="*/ 3465436 h 5118976"/>
                <a:gd name="connsiteX8" fmla="*/ 4113294 w 4449063"/>
                <a:gd name="connsiteY8" fmla="*/ 3633076 h 5118976"/>
                <a:gd name="connsiteX9" fmla="*/ 3938034 w 4449063"/>
                <a:gd name="connsiteY9" fmla="*/ 3777856 h 5118976"/>
                <a:gd name="connsiteX10" fmla="*/ 3953274 w 4449063"/>
                <a:gd name="connsiteY10" fmla="*/ 4303636 h 5118976"/>
                <a:gd name="connsiteX11" fmla="*/ 2955054 w 4449063"/>
                <a:gd name="connsiteY11" fmla="*/ 4486516 h 5118976"/>
                <a:gd name="connsiteX12" fmla="*/ 2589294 w 4449063"/>
                <a:gd name="connsiteY12" fmla="*/ 5118976 h 5118976"/>
                <a:gd name="connsiteX0" fmla="*/ 2589294 w 4449063"/>
                <a:gd name="connsiteY0" fmla="*/ 5118976 h 5118976"/>
                <a:gd name="connsiteX1" fmla="*/ 463314 w 4449063"/>
                <a:gd name="connsiteY1" fmla="*/ 4646536 h 5118976"/>
                <a:gd name="connsiteX2" fmla="*/ 166134 w 4449063"/>
                <a:gd name="connsiteY2" fmla="*/ 2718676 h 5118976"/>
                <a:gd name="connsiteX3" fmla="*/ 1880634 w 4449063"/>
                <a:gd name="connsiteY3" fmla="*/ 5956 h 5118976"/>
                <a:gd name="connsiteX4" fmla="*/ 3983754 w 4449063"/>
                <a:gd name="connsiteY4" fmla="*/ 1636636 h 5118976"/>
                <a:gd name="connsiteX5" fmla="*/ 4448574 w 4449063"/>
                <a:gd name="connsiteY5" fmla="*/ 2909176 h 5118976"/>
                <a:gd name="connsiteX6" fmla="*/ 4143774 w 4449063"/>
                <a:gd name="connsiteY6" fmla="*/ 3351136 h 5118976"/>
                <a:gd name="connsiteX7" fmla="*/ 4052334 w 4449063"/>
                <a:gd name="connsiteY7" fmla="*/ 3465436 h 5118976"/>
                <a:gd name="connsiteX8" fmla="*/ 4113294 w 4449063"/>
                <a:gd name="connsiteY8" fmla="*/ 3633076 h 5118976"/>
                <a:gd name="connsiteX9" fmla="*/ 3938034 w 4449063"/>
                <a:gd name="connsiteY9" fmla="*/ 3777856 h 5118976"/>
                <a:gd name="connsiteX10" fmla="*/ 3953274 w 4449063"/>
                <a:gd name="connsiteY10" fmla="*/ 4303636 h 5118976"/>
                <a:gd name="connsiteX11" fmla="*/ 2955054 w 4449063"/>
                <a:gd name="connsiteY11" fmla="*/ 4486516 h 5118976"/>
                <a:gd name="connsiteX12" fmla="*/ 2589294 w 4449063"/>
                <a:gd name="connsiteY12" fmla="*/ 5118976 h 5118976"/>
                <a:gd name="connsiteX0" fmla="*/ 2589294 w 4449063"/>
                <a:gd name="connsiteY0" fmla="*/ 5118976 h 5118976"/>
                <a:gd name="connsiteX1" fmla="*/ 463314 w 4449063"/>
                <a:gd name="connsiteY1" fmla="*/ 4646536 h 5118976"/>
                <a:gd name="connsiteX2" fmla="*/ 166134 w 4449063"/>
                <a:gd name="connsiteY2" fmla="*/ 2718676 h 5118976"/>
                <a:gd name="connsiteX3" fmla="*/ 1880634 w 4449063"/>
                <a:gd name="connsiteY3" fmla="*/ 5956 h 5118976"/>
                <a:gd name="connsiteX4" fmla="*/ 3983754 w 4449063"/>
                <a:gd name="connsiteY4" fmla="*/ 1636636 h 5118976"/>
                <a:gd name="connsiteX5" fmla="*/ 4448574 w 4449063"/>
                <a:gd name="connsiteY5" fmla="*/ 2909176 h 5118976"/>
                <a:gd name="connsiteX6" fmla="*/ 4143774 w 4449063"/>
                <a:gd name="connsiteY6" fmla="*/ 3351136 h 5118976"/>
                <a:gd name="connsiteX7" fmla="*/ 4052334 w 4449063"/>
                <a:gd name="connsiteY7" fmla="*/ 3465436 h 5118976"/>
                <a:gd name="connsiteX8" fmla="*/ 4113294 w 4449063"/>
                <a:gd name="connsiteY8" fmla="*/ 3633076 h 5118976"/>
                <a:gd name="connsiteX9" fmla="*/ 3938034 w 4449063"/>
                <a:gd name="connsiteY9" fmla="*/ 3777856 h 5118976"/>
                <a:gd name="connsiteX10" fmla="*/ 3953274 w 4449063"/>
                <a:gd name="connsiteY10" fmla="*/ 4303636 h 5118976"/>
                <a:gd name="connsiteX11" fmla="*/ 2955054 w 4449063"/>
                <a:gd name="connsiteY11" fmla="*/ 4486516 h 5118976"/>
                <a:gd name="connsiteX12" fmla="*/ 2589294 w 4449063"/>
                <a:gd name="connsiteY12" fmla="*/ 5118976 h 5118976"/>
                <a:gd name="connsiteX0" fmla="*/ 2589294 w 4449063"/>
                <a:gd name="connsiteY0" fmla="*/ 5118976 h 5118976"/>
                <a:gd name="connsiteX1" fmla="*/ 463314 w 4449063"/>
                <a:gd name="connsiteY1" fmla="*/ 4646536 h 5118976"/>
                <a:gd name="connsiteX2" fmla="*/ 166134 w 4449063"/>
                <a:gd name="connsiteY2" fmla="*/ 2718676 h 5118976"/>
                <a:gd name="connsiteX3" fmla="*/ 1880634 w 4449063"/>
                <a:gd name="connsiteY3" fmla="*/ 5956 h 5118976"/>
                <a:gd name="connsiteX4" fmla="*/ 3983754 w 4449063"/>
                <a:gd name="connsiteY4" fmla="*/ 1636636 h 5118976"/>
                <a:gd name="connsiteX5" fmla="*/ 4448574 w 4449063"/>
                <a:gd name="connsiteY5" fmla="*/ 2909176 h 5118976"/>
                <a:gd name="connsiteX6" fmla="*/ 4143774 w 4449063"/>
                <a:gd name="connsiteY6" fmla="*/ 3351136 h 5118976"/>
                <a:gd name="connsiteX7" fmla="*/ 4052334 w 4449063"/>
                <a:gd name="connsiteY7" fmla="*/ 3465436 h 5118976"/>
                <a:gd name="connsiteX8" fmla="*/ 4113294 w 4449063"/>
                <a:gd name="connsiteY8" fmla="*/ 3633076 h 5118976"/>
                <a:gd name="connsiteX9" fmla="*/ 3938034 w 4449063"/>
                <a:gd name="connsiteY9" fmla="*/ 3777856 h 5118976"/>
                <a:gd name="connsiteX10" fmla="*/ 3953274 w 4449063"/>
                <a:gd name="connsiteY10" fmla="*/ 4303636 h 5118976"/>
                <a:gd name="connsiteX11" fmla="*/ 2955054 w 4449063"/>
                <a:gd name="connsiteY11" fmla="*/ 4486516 h 5118976"/>
                <a:gd name="connsiteX12" fmla="*/ 2589294 w 4449063"/>
                <a:gd name="connsiteY12" fmla="*/ 5118976 h 5118976"/>
                <a:gd name="connsiteX0" fmla="*/ 2589294 w 4449063"/>
                <a:gd name="connsiteY0" fmla="*/ 5118976 h 5118976"/>
                <a:gd name="connsiteX1" fmla="*/ 463314 w 4449063"/>
                <a:gd name="connsiteY1" fmla="*/ 4646536 h 5118976"/>
                <a:gd name="connsiteX2" fmla="*/ 166134 w 4449063"/>
                <a:gd name="connsiteY2" fmla="*/ 2718676 h 5118976"/>
                <a:gd name="connsiteX3" fmla="*/ 1880634 w 4449063"/>
                <a:gd name="connsiteY3" fmla="*/ 5956 h 5118976"/>
                <a:gd name="connsiteX4" fmla="*/ 3983754 w 4449063"/>
                <a:gd name="connsiteY4" fmla="*/ 1636636 h 5118976"/>
                <a:gd name="connsiteX5" fmla="*/ 4448574 w 4449063"/>
                <a:gd name="connsiteY5" fmla="*/ 2909176 h 5118976"/>
                <a:gd name="connsiteX6" fmla="*/ 4143774 w 4449063"/>
                <a:gd name="connsiteY6" fmla="*/ 3351136 h 5118976"/>
                <a:gd name="connsiteX7" fmla="*/ 4052334 w 4449063"/>
                <a:gd name="connsiteY7" fmla="*/ 3465436 h 5118976"/>
                <a:gd name="connsiteX8" fmla="*/ 4113294 w 4449063"/>
                <a:gd name="connsiteY8" fmla="*/ 3633076 h 5118976"/>
                <a:gd name="connsiteX9" fmla="*/ 3938034 w 4449063"/>
                <a:gd name="connsiteY9" fmla="*/ 3777856 h 5118976"/>
                <a:gd name="connsiteX10" fmla="*/ 3953274 w 4449063"/>
                <a:gd name="connsiteY10" fmla="*/ 4303636 h 5118976"/>
                <a:gd name="connsiteX11" fmla="*/ 2955054 w 4449063"/>
                <a:gd name="connsiteY11" fmla="*/ 4486516 h 5118976"/>
                <a:gd name="connsiteX12" fmla="*/ 2589294 w 4449063"/>
                <a:gd name="connsiteY12" fmla="*/ 5118976 h 5118976"/>
                <a:gd name="connsiteX0" fmla="*/ 2589294 w 4449063"/>
                <a:gd name="connsiteY0" fmla="*/ 5118976 h 5118976"/>
                <a:gd name="connsiteX1" fmla="*/ 463314 w 4449063"/>
                <a:gd name="connsiteY1" fmla="*/ 4646536 h 5118976"/>
                <a:gd name="connsiteX2" fmla="*/ 166134 w 4449063"/>
                <a:gd name="connsiteY2" fmla="*/ 2718676 h 5118976"/>
                <a:gd name="connsiteX3" fmla="*/ 1880634 w 4449063"/>
                <a:gd name="connsiteY3" fmla="*/ 5956 h 5118976"/>
                <a:gd name="connsiteX4" fmla="*/ 3983754 w 4449063"/>
                <a:gd name="connsiteY4" fmla="*/ 1636636 h 5118976"/>
                <a:gd name="connsiteX5" fmla="*/ 4448574 w 4449063"/>
                <a:gd name="connsiteY5" fmla="*/ 2909176 h 5118976"/>
                <a:gd name="connsiteX6" fmla="*/ 4143774 w 4449063"/>
                <a:gd name="connsiteY6" fmla="*/ 3351136 h 5118976"/>
                <a:gd name="connsiteX7" fmla="*/ 4052334 w 4449063"/>
                <a:gd name="connsiteY7" fmla="*/ 3465436 h 5118976"/>
                <a:gd name="connsiteX8" fmla="*/ 4113294 w 4449063"/>
                <a:gd name="connsiteY8" fmla="*/ 3633076 h 5118976"/>
                <a:gd name="connsiteX9" fmla="*/ 3938034 w 4449063"/>
                <a:gd name="connsiteY9" fmla="*/ 3777856 h 5118976"/>
                <a:gd name="connsiteX10" fmla="*/ 3953274 w 4449063"/>
                <a:gd name="connsiteY10" fmla="*/ 4303636 h 5118976"/>
                <a:gd name="connsiteX11" fmla="*/ 2955054 w 4449063"/>
                <a:gd name="connsiteY11" fmla="*/ 4486516 h 5118976"/>
                <a:gd name="connsiteX12" fmla="*/ 2589294 w 4449063"/>
                <a:gd name="connsiteY12" fmla="*/ 5118976 h 5118976"/>
                <a:gd name="connsiteX0" fmla="*/ 2589294 w 4449063"/>
                <a:gd name="connsiteY0" fmla="*/ 5118976 h 5118976"/>
                <a:gd name="connsiteX1" fmla="*/ 463314 w 4449063"/>
                <a:gd name="connsiteY1" fmla="*/ 4646536 h 5118976"/>
                <a:gd name="connsiteX2" fmla="*/ 166134 w 4449063"/>
                <a:gd name="connsiteY2" fmla="*/ 2718676 h 5118976"/>
                <a:gd name="connsiteX3" fmla="*/ 1880634 w 4449063"/>
                <a:gd name="connsiteY3" fmla="*/ 5956 h 5118976"/>
                <a:gd name="connsiteX4" fmla="*/ 3983754 w 4449063"/>
                <a:gd name="connsiteY4" fmla="*/ 1636636 h 5118976"/>
                <a:gd name="connsiteX5" fmla="*/ 4448574 w 4449063"/>
                <a:gd name="connsiteY5" fmla="*/ 2909176 h 5118976"/>
                <a:gd name="connsiteX6" fmla="*/ 4143774 w 4449063"/>
                <a:gd name="connsiteY6" fmla="*/ 3351136 h 5118976"/>
                <a:gd name="connsiteX7" fmla="*/ 4052334 w 4449063"/>
                <a:gd name="connsiteY7" fmla="*/ 3465436 h 5118976"/>
                <a:gd name="connsiteX8" fmla="*/ 4113294 w 4449063"/>
                <a:gd name="connsiteY8" fmla="*/ 3633076 h 5118976"/>
                <a:gd name="connsiteX9" fmla="*/ 3938034 w 4449063"/>
                <a:gd name="connsiteY9" fmla="*/ 3777856 h 5118976"/>
                <a:gd name="connsiteX10" fmla="*/ 3953274 w 4449063"/>
                <a:gd name="connsiteY10" fmla="*/ 4303636 h 5118976"/>
                <a:gd name="connsiteX11" fmla="*/ 2955054 w 4449063"/>
                <a:gd name="connsiteY11" fmla="*/ 4486516 h 5118976"/>
                <a:gd name="connsiteX12" fmla="*/ 2589294 w 4449063"/>
                <a:gd name="connsiteY12" fmla="*/ 5118976 h 5118976"/>
                <a:gd name="connsiteX0" fmla="*/ 2579246 w 4439015"/>
                <a:gd name="connsiteY0" fmla="*/ 5118976 h 5118976"/>
                <a:gd name="connsiteX1" fmla="*/ 453266 w 4439015"/>
                <a:gd name="connsiteY1" fmla="*/ 4646536 h 5118976"/>
                <a:gd name="connsiteX2" fmla="*/ 156086 w 4439015"/>
                <a:gd name="connsiteY2" fmla="*/ 2718676 h 5118976"/>
                <a:gd name="connsiteX3" fmla="*/ 1870586 w 4439015"/>
                <a:gd name="connsiteY3" fmla="*/ 5956 h 5118976"/>
                <a:gd name="connsiteX4" fmla="*/ 3973706 w 4439015"/>
                <a:gd name="connsiteY4" fmla="*/ 1636636 h 5118976"/>
                <a:gd name="connsiteX5" fmla="*/ 4438526 w 4439015"/>
                <a:gd name="connsiteY5" fmla="*/ 2909176 h 5118976"/>
                <a:gd name="connsiteX6" fmla="*/ 4133726 w 4439015"/>
                <a:gd name="connsiteY6" fmla="*/ 3351136 h 5118976"/>
                <a:gd name="connsiteX7" fmla="*/ 4042286 w 4439015"/>
                <a:gd name="connsiteY7" fmla="*/ 3465436 h 5118976"/>
                <a:gd name="connsiteX8" fmla="*/ 4103246 w 4439015"/>
                <a:gd name="connsiteY8" fmla="*/ 3633076 h 5118976"/>
                <a:gd name="connsiteX9" fmla="*/ 3927986 w 4439015"/>
                <a:gd name="connsiteY9" fmla="*/ 3777856 h 5118976"/>
                <a:gd name="connsiteX10" fmla="*/ 3943226 w 4439015"/>
                <a:gd name="connsiteY10" fmla="*/ 4303636 h 5118976"/>
                <a:gd name="connsiteX11" fmla="*/ 2945006 w 4439015"/>
                <a:gd name="connsiteY11" fmla="*/ 4486516 h 5118976"/>
                <a:gd name="connsiteX12" fmla="*/ 2579246 w 4439015"/>
                <a:gd name="connsiteY12" fmla="*/ 5118976 h 5118976"/>
                <a:gd name="connsiteX0" fmla="*/ 2579246 w 4439015"/>
                <a:gd name="connsiteY0" fmla="*/ 5118976 h 5118976"/>
                <a:gd name="connsiteX1" fmla="*/ 453266 w 4439015"/>
                <a:gd name="connsiteY1" fmla="*/ 4646536 h 5118976"/>
                <a:gd name="connsiteX2" fmla="*/ 156086 w 4439015"/>
                <a:gd name="connsiteY2" fmla="*/ 2718676 h 5118976"/>
                <a:gd name="connsiteX3" fmla="*/ 1870586 w 4439015"/>
                <a:gd name="connsiteY3" fmla="*/ 5956 h 5118976"/>
                <a:gd name="connsiteX4" fmla="*/ 3973706 w 4439015"/>
                <a:gd name="connsiteY4" fmla="*/ 1636636 h 5118976"/>
                <a:gd name="connsiteX5" fmla="*/ 4438526 w 4439015"/>
                <a:gd name="connsiteY5" fmla="*/ 2909176 h 5118976"/>
                <a:gd name="connsiteX6" fmla="*/ 4133726 w 4439015"/>
                <a:gd name="connsiteY6" fmla="*/ 3351136 h 5118976"/>
                <a:gd name="connsiteX7" fmla="*/ 4042286 w 4439015"/>
                <a:gd name="connsiteY7" fmla="*/ 3465436 h 5118976"/>
                <a:gd name="connsiteX8" fmla="*/ 4103246 w 4439015"/>
                <a:gd name="connsiteY8" fmla="*/ 3633076 h 5118976"/>
                <a:gd name="connsiteX9" fmla="*/ 3927986 w 4439015"/>
                <a:gd name="connsiteY9" fmla="*/ 3777856 h 5118976"/>
                <a:gd name="connsiteX10" fmla="*/ 3943226 w 4439015"/>
                <a:gd name="connsiteY10" fmla="*/ 4303636 h 5118976"/>
                <a:gd name="connsiteX11" fmla="*/ 2945006 w 4439015"/>
                <a:gd name="connsiteY11" fmla="*/ 4486516 h 5118976"/>
                <a:gd name="connsiteX12" fmla="*/ 2579246 w 4439015"/>
                <a:gd name="connsiteY12" fmla="*/ 5118976 h 5118976"/>
                <a:gd name="connsiteX0" fmla="*/ 2579246 w 4439015"/>
                <a:gd name="connsiteY0" fmla="*/ 5118976 h 5118976"/>
                <a:gd name="connsiteX1" fmla="*/ 453266 w 4439015"/>
                <a:gd name="connsiteY1" fmla="*/ 4646536 h 5118976"/>
                <a:gd name="connsiteX2" fmla="*/ 156086 w 4439015"/>
                <a:gd name="connsiteY2" fmla="*/ 2718676 h 5118976"/>
                <a:gd name="connsiteX3" fmla="*/ 1870586 w 4439015"/>
                <a:gd name="connsiteY3" fmla="*/ 5956 h 5118976"/>
                <a:gd name="connsiteX4" fmla="*/ 3973706 w 4439015"/>
                <a:gd name="connsiteY4" fmla="*/ 1636636 h 5118976"/>
                <a:gd name="connsiteX5" fmla="*/ 4438526 w 4439015"/>
                <a:gd name="connsiteY5" fmla="*/ 2909176 h 5118976"/>
                <a:gd name="connsiteX6" fmla="*/ 4133726 w 4439015"/>
                <a:gd name="connsiteY6" fmla="*/ 3351136 h 5118976"/>
                <a:gd name="connsiteX7" fmla="*/ 4042286 w 4439015"/>
                <a:gd name="connsiteY7" fmla="*/ 3465436 h 5118976"/>
                <a:gd name="connsiteX8" fmla="*/ 4103246 w 4439015"/>
                <a:gd name="connsiteY8" fmla="*/ 3633076 h 5118976"/>
                <a:gd name="connsiteX9" fmla="*/ 3927986 w 4439015"/>
                <a:gd name="connsiteY9" fmla="*/ 3777856 h 5118976"/>
                <a:gd name="connsiteX10" fmla="*/ 3943226 w 4439015"/>
                <a:gd name="connsiteY10" fmla="*/ 4303636 h 5118976"/>
                <a:gd name="connsiteX11" fmla="*/ 2945006 w 4439015"/>
                <a:gd name="connsiteY11" fmla="*/ 4486516 h 5118976"/>
                <a:gd name="connsiteX12" fmla="*/ 2579246 w 4439015"/>
                <a:gd name="connsiteY12" fmla="*/ 5118976 h 51189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439015" h="5118976">
                  <a:moveTo>
                    <a:pt x="2579246" y="5118976"/>
                  </a:moveTo>
                  <a:lnTo>
                    <a:pt x="453266" y="4646536"/>
                  </a:lnTo>
                  <a:cubicBezTo>
                    <a:pt x="1032386" y="3584816"/>
                    <a:pt x="521846" y="3673716"/>
                    <a:pt x="156086" y="2718676"/>
                  </a:cubicBezTo>
                  <a:cubicBezTo>
                    <a:pt x="-143634" y="2025256"/>
                    <a:pt x="-214754" y="120256"/>
                    <a:pt x="1870586" y="5956"/>
                  </a:cubicBezTo>
                  <a:cubicBezTo>
                    <a:pt x="3524126" y="-98184"/>
                    <a:pt x="3844166" y="1192136"/>
                    <a:pt x="3973706" y="1636636"/>
                  </a:cubicBezTo>
                  <a:cubicBezTo>
                    <a:pt x="3839086" y="2487536"/>
                    <a:pt x="4458846" y="2576436"/>
                    <a:pt x="4438526" y="2909176"/>
                  </a:cubicBezTo>
                  <a:cubicBezTo>
                    <a:pt x="4428366" y="3094596"/>
                    <a:pt x="3846706" y="2906636"/>
                    <a:pt x="4133726" y="3351136"/>
                  </a:cubicBezTo>
                  <a:lnTo>
                    <a:pt x="4042286" y="3465436"/>
                  </a:lnTo>
                  <a:lnTo>
                    <a:pt x="4103246" y="3633076"/>
                  </a:lnTo>
                  <a:lnTo>
                    <a:pt x="3927986" y="3777856"/>
                  </a:lnTo>
                  <a:cubicBezTo>
                    <a:pt x="3971166" y="3983596"/>
                    <a:pt x="4037206" y="4158856"/>
                    <a:pt x="3943226" y="4303636"/>
                  </a:cubicBezTo>
                  <a:cubicBezTo>
                    <a:pt x="3778126" y="4524616"/>
                    <a:pt x="3148206" y="4349356"/>
                    <a:pt x="2945006" y="4486516"/>
                  </a:cubicBezTo>
                  <a:cubicBezTo>
                    <a:pt x="2708786" y="4659236"/>
                    <a:pt x="2640206" y="4877676"/>
                    <a:pt x="2579246" y="5118976"/>
                  </a:cubicBez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1" dirty="0">
                <a:solidFill>
                  <a:srgbClr val="000000"/>
                </a:solidFill>
              </a:endParaRPr>
            </a:p>
          </p:txBody>
        </p:sp>
        <p:sp>
          <p:nvSpPr>
            <p:cNvPr id="56" name="Freeform 1710"/>
            <p:cNvSpPr>
              <a:spLocks noEditPoints="1"/>
            </p:cNvSpPr>
            <p:nvPr/>
          </p:nvSpPr>
          <p:spPr bwMode="auto">
            <a:xfrm rot="9332290">
              <a:off x="4675405" y="3681357"/>
              <a:ext cx="200782" cy="225175"/>
            </a:xfrm>
            <a:custGeom>
              <a:avLst/>
              <a:gdLst>
                <a:gd name="T0" fmla="*/ 9985 w 18909"/>
                <a:gd name="T1" fmla="*/ 19461 h 21155"/>
                <a:gd name="T2" fmla="*/ 7909 w 18909"/>
                <a:gd name="T3" fmla="*/ 19006 h 21155"/>
                <a:gd name="T4" fmla="*/ 7098 w 18909"/>
                <a:gd name="T5" fmla="*/ 16793 h 21155"/>
                <a:gd name="T6" fmla="*/ 6877 w 18909"/>
                <a:gd name="T7" fmla="*/ 15421 h 21155"/>
                <a:gd name="T8" fmla="*/ 7495 w 18909"/>
                <a:gd name="T9" fmla="*/ 12052 h 21155"/>
                <a:gd name="T10" fmla="*/ 9312 w 18909"/>
                <a:gd name="T11" fmla="*/ 10235 h 21155"/>
                <a:gd name="T12" fmla="*/ 11572 w 18909"/>
                <a:gd name="T13" fmla="*/ 10445 h 21155"/>
                <a:gd name="T14" fmla="*/ 13739 w 18909"/>
                <a:gd name="T15" fmla="*/ 9432 h 21155"/>
                <a:gd name="T16" fmla="*/ 15184 w 18909"/>
                <a:gd name="T17" fmla="*/ 11009 h 21155"/>
                <a:gd name="T18" fmla="*/ 16958 w 18909"/>
                <a:gd name="T19" fmla="*/ 11708 h 21155"/>
                <a:gd name="T20" fmla="*/ 18226 w 18909"/>
                <a:gd name="T21" fmla="*/ 13758 h 21155"/>
                <a:gd name="T22" fmla="*/ 17298 w 18909"/>
                <a:gd name="T23" fmla="*/ 16355 h 21155"/>
                <a:gd name="T24" fmla="*/ 17062 w 18909"/>
                <a:gd name="T25" fmla="*/ 18373 h 21155"/>
                <a:gd name="T26" fmla="*/ 15671 w 18909"/>
                <a:gd name="T27" fmla="*/ 20228 h 21155"/>
                <a:gd name="T28" fmla="*/ 13254 w 18909"/>
                <a:gd name="T29" fmla="*/ 20033 h 21155"/>
                <a:gd name="T30" fmla="*/ 11656 w 18909"/>
                <a:gd name="T31" fmla="*/ 21110 h 21155"/>
                <a:gd name="T32" fmla="*/ 14354 w 18909"/>
                <a:gd name="T33" fmla="*/ 13441 h 21155"/>
                <a:gd name="T34" fmla="*/ 10622 w 18909"/>
                <a:gd name="T35" fmla="*/ 17013 h 21155"/>
                <a:gd name="T36" fmla="*/ 4357 w 18909"/>
                <a:gd name="T37" fmla="*/ 11562 h 21155"/>
                <a:gd name="T38" fmla="*/ 2086 w 18909"/>
                <a:gd name="T39" fmla="*/ 11480 h 21155"/>
                <a:gd name="T40" fmla="*/ 445 w 18909"/>
                <a:gd name="T41" fmla="*/ 9670 h 21155"/>
                <a:gd name="T42" fmla="*/ 254 w 18909"/>
                <a:gd name="T43" fmla="*/ 7316 h 21155"/>
                <a:gd name="T44" fmla="*/ 131 w 18909"/>
                <a:gd name="T45" fmla="*/ 6285 h 21155"/>
                <a:gd name="T46" fmla="*/ 1143 w 18909"/>
                <a:gd name="T47" fmla="*/ 4444 h 21155"/>
                <a:gd name="T48" fmla="*/ 2657 w 18909"/>
                <a:gd name="T49" fmla="*/ 4141 h 21155"/>
                <a:gd name="T50" fmla="*/ 4319 w 18909"/>
                <a:gd name="T51" fmla="*/ 2824 h 21155"/>
                <a:gd name="T52" fmla="*/ 6397 w 18909"/>
                <a:gd name="T53" fmla="*/ 3378 h 21155"/>
                <a:gd name="T54" fmla="*/ 7395 w 18909"/>
                <a:gd name="T55" fmla="*/ 4642 h 21155"/>
                <a:gd name="T56" fmla="*/ 9156 w 18909"/>
                <a:gd name="T57" fmla="*/ 5794 h 21155"/>
                <a:gd name="T58" fmla="*/ 8636 w 18909"/>
                <a:gd name="T59" fmla="*/ 7241 h 21155"/>
                <a:gd name="T60" fmla="*/ 9339 w 18909"/>
                <a:gd name="T61" fmla="*/ 8827 h 21155"/>
                <a:gd name="T62" fmla="*/ 8311 w 18909"/>
                <a:gd name="T63" fmla="*/ 10714 h 21155"/>
                <a:gd name="T64" fmla="*/ 6448 w 18909"/>
                <a:gd name="T65" fmla="*/ 11087 h 21155"/>
                <a:gd name="T66" fmla="*/ 5178 w 18909"/>
                <a:gd name="T67" fmla="*/ 12336 h 21155"/>
                <a:gd name="T68" fmla="*/ 7073 w 18909"/>
                <a:gd name="T69" fmla="*/ 6395 h 21155"/>
                <a:gd name="T70" fmla="*/ 2145 w 18909"/>
                <a:gd name="T71" fmla="*/ 7989 h 21155"/>
                <a:gd name="T72" fmla="*/ 13338 w 18909"/>
                <a:gd name="T73" fmla="*/ 8744 h 21155"/>
                <a:gd name="T74" fmla="*/ 11563 w 18909"/>
                <a:gd name="T75" fmla="*/ 8928 h 21155"/>
                <a:gd name="T76" fmla="*/ 10239 w 18909"/>
                <a:gd name="T77" fmla="*/ 7450 h 21155"/>
                <a:gd name="T78" fmla="*/ 9835 w 18909"/>
                <a:gd name="T79" fmla="*/ 6404 h 21155"/>
                <a:gd name="T80" fmla="*/ 9385 w 18909"/>
                <a:gd name="T81" fmla="*/ 3819 h 21155"/>
                <a:gd name="T82" fmla="*/ 10450 w 18909"/>
                <a:gd name="T83" fmla="*/ 2040 h 21155"/>
                <a:gd name="T84" fmla="*/ 11867 w 18909"/>
                <a:gd name="T85" fmla="*/ 1411 h 21155"/>
                <a:gd name="T86" fmla="*/ 13777 w 18909"/>
                <a:gd name="T87" fmla="*/ 48 h 21155"/>
                <a:gd name="T88" fmla="*/ 15911 w 18909"/>
                <a:gd name="T89" fmla="*/ 357 h 21155"/>
                <a:gd name="T90" fmla="*/ 17915 w 18909"/>
                <a:gd name="T91" fmla="*/ 2220 h 21155"/>
                <a:gd name="T92" fmla="*/ 18085 w 18909"/>
                <a:gd name="T93" fmla="*/ 3635 h 21155"/>
                <a:gd name="T94" fmla="*/ 18909 w 18909"/>
                <a:gd name="T95" fmla="*/ 5056 h 21155"/>
                <a:gd name="T96" fmla="*/ 17641 w 18909"/>
                <a:gd name="T97" fmla="*/ 6602 h 21155"/>
                <a:gd name="T98" fmla="*/ 16944 w 18909"/>
                <a:gd name="T99" fmla="*/ 8423 h 21155"/>
                <a:gd name="T100" fmla="*/ 14508 w 18909"/>
                <a:gd name="T101" fmla="*/ 9640 h 21155"/>
                <a:gd name="T102" fmla="*/ 16649 w 18909"/>
                <a:gd name="T103" fmla="*/ 4814 h 21155"/>
                <a:gd name="T104" fmla="*/ 12289 w 18909"/>
                <a:gd name="T105" fmla="*/ 3005 h 21155"/>
                <a:gd name="T106" fmla="*/ 14831 w 18909"/>
                <a:gd name="T107" fmla="*/ 7283 h 21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09" h="21155">
                  <a:moveTo>
                    <a:pt x="11656" y="21110"/>
                  </a:moveTo>
                  <a:cubicBezTo>
                    <a:pt x="11084" y="21022"/>
                    <a:pt x="10965" y="20974"/>
                    <a:pt x="10964" y="20832"/>
                  </a:cubicBezTo>
                  <a:cubicBezTo>
                    <a:pt x="10963" y="20691"/>
                    <a:pt x="10848" y="20233"/>
                    <a:pt x="10773" y="20074"/>
                  </a:cubicBezTo>
                  <a:cubicBezTo>
                    <a:pt x="10621" y="19748"/>
                    <a:pt x="10341" y="19531"/>
                    <a:pt x="9985" y="19461"/>
                  </a:cubicBezTo>
                  <a:cubicBezTo>
                    <a:pt x="9731" y="19411"/>
                    <a:pt x="9499" y="19459"/>
                    <a:pt x="9094" y="19647"/>
                  </a:cubicBezTo>
                  <a:cubicBezTo>
                    <a:pt x="8912" y="19731"/>
                    <a:pt x="8746" y="19800"/>
                    <a:pt x="8726" y="19800"/>
                  </a:cubicBezTo>
                  <a:cubicBezTo>
                    <a:pt x="8680" y="19800"/>
                    <a:pt x="8227" y="19379"/>
                    <a:pt x="8047" y="19168"/>
                  </a:cubicBezTo>
                  <a:lnTo>
                    <a:pt x="7909" y="19006"/>
                  </a:lnTo>
                  <a:lnTo>
                    <a:pt x="8065" y="18663"/>
                  </a:lnTo>
                  <a:cubicBezTo>
                    <a:pt x="8252" y="18253"/>
                    <a:pt x="8283" y="18148"/>
                    <a:pt x="8283" y="17921"/>
                  </a:cubicBezTo>
                  <a:cubicBezTo>
                    <a:pt x="8283" y="17469"/>
                    <a:pt x="7989" y="17068"/>
                    <a:pt x="7529" y="16894"/>
                  </a:cubicBezTo>
                  <a:cubicBezTo>
                    <a:pt x="7455" y="16866"/>
                    <a:pt x="7261" y="16821"/>
                    <a:pt x="7098" y="16793"/>
                  </a:cubicBezTo>
                  <a:cubicBezTo>
                    <a:pt x="6935" y="16766"/>
                    <a:pt x="6787" y="16730"/>
                    <a:pt x="6769" y="16713"/>
                  </a:cubicBezTo>
                  <a:cubicBezTo>
                    <a:pt x="6751" y="16696"/>
                    <a:pt x="6717" y="16593"/>
                    <a:pt x="6693" y="16484"/>
                  </a:cubicBezTo>
                  <a:cubicBezTo>
                    <a:pt x="6636" y="16229"/>
                    <a:pt x="6557" y="15626"/>
                    <a:pt x="6576" y="15595"/>
                  </a:cubicBezTo>
                  <a:cubicBezTo>
                    <a:pt x="6584" y="15581"/>
                    <a:pt x="6720" y="15503"/>
                    <a:pt x="6877" y="15421"/>
                  </a:cubicBezTo>
                  <a:cubicBezTo>
                    <a:pt x="7335" y="15181"/>
                    <a:pt x="7588" y="14913"/>
                    <a:pt x="7679" y="14573"/>
                  </a:cubicBezTo>
                  <a:cubicBezTo>
                    <a:pt x="7790" y="14154"/>
                    <a:pt x="7660" y="13797"/>
                    <a:pt x="7232" y="13349"/>
                  </a:cubicBezTo>
                  <a:cubicBezTo>
                    <a:pt x="7096" y="13207"/>
                    <a:pt x="6985" y="13075"/>
                    <a:pt x="6985" y="13056"/>
                  </a:cubicBezTo>
                  <a:cubicBezTo>
                    <a:pt x="6985" y="12957"/>
                    <a:pt x="7422" y="12097"/>
                    <a:pt x="7495" y="12052"/>
                  </a:cubicBezTo>
                  <a:cubicBezTo>
                    <a:pt x="7509" y="12043"/>
                    <a:pt x="7658" y="12057"/>
                    <a:pt x="7825" y="12083"/>
                  </a:cubicBezTo>
                  <a:cubicBezTo>
                    <a:pt x="8399" y="12174"/>
                    <a:pt x="8772" y="12088"/>
                    <a:pt x="9060" y="11800"/>
                  </a:cubicBezTo>
                  <a:cubicBezTo>
                    <a:pt x="9348" y="11512"/>
                    <a:pt x="9434" y="11139"/>
                    <a:pt x="9343" y="10565"/>
                  </a:cubicBezTo>
                  <a:cubicBezTo>
                    <a:pt x="9317" y="10398"/>
                    <a:pt x="9303" y="10249"/>
                    <a:pt x="9312" y="10235"/>
                  </a:cubicBezTo>
                  <a:cubicBezTo>
                    <a:pt x="9358" y="10161"/>
                    <a:pt x="10217" y="9725"/>
                    <a:pt x="10317" y="9725"/>
                  </a:cubicBezTo>
                  <a:cubicBezTo>
                    <a:pt x="10336" y="9725"/>
                    <a:pt x="10471" y="9840"/>
                    <a:pt x="10616" y="9981"/>
                  </a:cubicBezTo>
                  <a:cubicBezTo>
                    <a:pt x="10820" y="10178"/>
                    <a:pt x="10930" y="10260"/>
                    <a:pt x="11099" y="10340"/>
                  </a:cubicBezTo>
                  <a:cubicBezTo>
                    <a:pt x="11301" y="10437"/>
                    <a:pt x="11336" y="10445"/>
                    <a:pt x="11572" y="10445"/>
                  </a:cubicBezTo>
                  <a:cubicBezTo>
                    <a:pt x="11802" y="10445"/>
                    <a:pt x="11844" y="10436"/>
                    <a:pt x="12013" y="10353"/>
                  </a:cubicBezTo>
                  <a:cubicBezTo>
                    <a:pt x="12271" y="10226"/>
                    <a:pt x="12489" y="9986"/>
                    <a:pt x="12679" y="9621"/>
                  </a:cubicBezTo>
                  <a:cubicBezTo>
                    <a:pt x="12761" y="9464"/>
                    <a:pt x="12843" y="9330"/>
                    <a:pt x="12863" y="9322"/>
                  </a:cubicBezTo>
                  <a:cubicBezTo>
                    <a:pt x="12911" y="9304"/>
                    <a:pt x="13470" y="9374"/>
                    <a:pt x="13739" y="9432"/>
                  </a:cubicBezTo>
                  <a:cubicBezTo>
                    <a:pt x="13874" y="9461"/>
                    <a:pt x="13968" y="9497"/>
                    <a:pt x="13982" y="9525"/>
                  </a:cubicBezTo>
                  <a:cubicBezTo>
                    <a:pt x="13995" y="9550"/>
                    <a:pt x="14026" y="9694"/>
                    <a:pt x="14052" y="9846"/>
                  </a:cubicBezTo>
                  <a:cubicBezTo>
                    <a:pt x="14151" y="10436"/>
                    <a:pt x="14361" y="10760"/>
                    <a:pt x="14762" y="10945"/>
                  </a:cubicBezTo>
                  <a:cubicBezTo>
                    <a:pt x="14877" y="10998"/>
                    <a:pt x="14950" y="11009"/>
                    <a:pt x="15184" y="11009"/>
                  </a:cubicBezTo>
                  <a:cubicBezTo>
                    <a:pt x="15492" y="11009"/>
                    <a:pt x="15583" y="10983"/>
                    <a:pt x="16026" y="10763"/>
                  </a:cubicBezTo>
                  <a:cubicBezTo>
                    <a:pt x="16242" y="10655"/>
                    <a:pt x="16248" y="10654"/>
                    <a:pt x="16322" y="10702"/>
                  </a:cubicBezTo>
                  <a:cubicBezTo>
                    <a:pt x="16443" y="10780"/>
                    <a:pt x="17060" y="11416"/>
                    <a:pt x="17060" y="11462"/>
                  </a:cubicBezTo>
                  <a:cubicBezTo>
                    <a:pt x="17060" y="11485"/>
                    <a:pt x="17014" y="11596"/>
                    <a:pt x="16958" y="11708"/>
                  </a:cubicBezTo>
                  <a:cubicBezTo>
                    <a:pt x="16764" y="12092"/>
                    <a:pt x="16714" y="12258"/>
                    <a:pt x="16711" y="12519"/>
                  </a:cubicBezTo>
                  <a:cubicBezTo>
                    <a:pt x="16707" y="12806"/>
                    <a:pt x="16760" y="12979"/>
                    <a:pt x="16913" y="13182"/>
                  </a:cubicBezTo>
                  <a:cubicBezTo>
                    <a:pt x="17117" y="13452"/>
                    <a:pt x="17419" y="13600"/>
                    <a:pt x="17947" y="13689"/>
                  </a:cubicBezTo>
                  <a:cubicBezTo>
                    <a:pt x="18086" y="13712"/>
                    <a:pt x="18211" y="13743"/>
                    <a:pt x="18226" y="13758"/>
                  </a:cubicBezTo>
                  <a:cubicBezTo>
                    <a:pt x="18262" y="13794"/>
                    <a:pt x="18347" y="14224"/>
                    <a:pt x="18388" y="14578"/>
                  </a:cubicBezTo>
                  <a:cubicBezTo>
                    <a:pt x="18417" y="14826"/>
                    <a:pt x="18416" y="14877"/>
                    <a:pt x="18383" y="14897"/>
                  </a:cubicBezTo>
                  <a:cubicBezTo>
                    <a:pt x="18362" y="14910"/>
                    <a:pt x="18212" y="14993"/>
                    <a:pt x="18049" y="15081"/>
                  </a:cubicBezTo>
                  <a:cubicBezTo>
                    <a:pt x="17442" y="15412"/>
                    <a:pt x="17190" y="15839"/>
                    <a:pt x="17298" y="16355"/>
                  </a:cubicBezTo>
                  <a:cubicBezTo>
                    <a:pt x="17357" y="16636"/>
                    <a:pt x="17458" y="16805"/>
                    <a:pt x="17759" y="17123"/>
                  </a:cubicBezTo>
                  <a:cubicBezTo>
                    <a:pt x="17989" y="17367"/>
                    <a:pt x="18016" y="17407"/>
                    <a:pt x="17994" y="17465"/>
                  </a:cubicBezTo>
                  <a:cubicBezTo>
                    <a:pt x="17928" y="17639"/>
                    <a:pt x="17781" y="17939"/>
                    <a:pt x="17651" y="18166"/>
                  </a:cubicBezTo>
                  <a:cubicBezTo>
                    <a:pt x="17487" y="18454"/>
                    <a:pt x="17532" y="18438"/>
                    <a:pt x="17062" y="18373"/>
                  </a:cubicBezTo>
                  <a:cubicBezTo>
                    <a:pt x="16804" y="18337"/>
                    <a:pt x="16706" y="18335"/>
                    <a:pt x="16555" y="18360"/>
                  </a:cubicBezTo>
                  <a:cubicBezTo>
                    <a:pt x="16043" y="18448"/>
                    <a:pt x="15693" y="18799"/>
                    <a:pt x="15618" y="19300"/>
                  </a:cubicBezTo>
                  <a:cubicBezTo>
                    <a:pt x="15599" y="19431"/>
                    <a:pt x="15604" y="19566"/>
                    <a:pt x="15639" y="19832"/>
                  </a:cubicBezTo>
                  <a:cubicBezTo>
                    <a:pt x="15665" y="20028"/>
                    <a:pt x="15679" y="20206"/>
                    <a:pt x="15671" y="20228"/>
                  </a:cubicBezTo>
                  <a:cubicBezTo>
                    <a:pt x="15652" y="20277"/>
                    <a:pt x="15205" y="20527"/>
                    <a:pt x="14893" y="20662"/>
                  </a:cubicBezTo>
                  <a:lnTo>
                    <a:pt x="14659" y="20763"/>
                  </a:lnTo>
                  <a:lnTo>
                    <a:pt x="14381" y="20499"/>
                  </a:lnTo>
                  <a:cubicBezTo>
                    <a:pt x="13966" y="20105"/>
                    <a:pt x="13648" y="19973"/>
                    <a:pt x="13254" y="20033"/>
                  </a:cubicBezTo>
                  <a:cubicBezTo>
                    <a:pt x="12867" y="20092"/>
                    <a:pt x="12596" y="20323"/>
                    <a:pt x="12323" y="20827"/>
                  </a:cubicBezTo>
                  <a:lnTo>
                    <a:pt x="12146" y="21155"/>
                  </a:lnTo>
                  <a:lnTo>
                    <a:pt x="12028" y="21152"/>
                  </a:lnTo>
                  <a:cubicBezTo>
                    <a:pt x="11963" y="21151"/>
                    <a:pt x="11795" y="21132"/>
                    <a:pt x="11656" y="21110"/>
                  </a:cubicBezTo>
                  <a:close/>
                  <a:moveTo>
                    <a:pt x="12982" y="17771"/>
                  </a:moveTo>
                  <a:cubicBezTo>
                    <a:pt x="14004" y="17559"/>
                    <a:pt x="14743" y="16853"/>
                    <a:pt x="15016" y="15828"/>
                  </a:cubicBezTo>
                  <a:cubicBezTo>
                    <a:pt x="15078" y="15592"/>
                    <a:pt x="15099" y="15131"/>
                    <a:pt x="15059" y="14870"/>
                  </a:cubicBezTo>
                  <a:cubicBezTo>
                    <a:pt x="14973" y="14315"/>
                    <a:pt x="14739" y="13841"/>
                    <a:pt x="14354" y="13441"/>
                  </a:cubicBezTo>
                  <a:cubicBezTo>
                    <a:pt x="13459" y="12510"/>
                    <a:pt x="12074" y="12375"/>
                    <a:pt x="11006" y="13114"/>
                  </a:cubicBezTo>
                  <a:cubicBezTo>
                    <a:pt x="10546" y="13432"/>
                    <a:pt x="10195" y="13912"/>
                    <a:pt x="10024" y="14456"/>
                  </a:cubicBezTo>
                  <a:cubicBezTo>
                    <a:pt x="9828" y="15077"/>
                    <a:pt x="9870" y="15733"/>
                    <a:pt x="10143" y="16316"/>
                  </a:cubicBezTo>
                  <a:cubicBezTo>
                    <a:pt x="10281" y="16610"/>
                    <a:pt x="10386" y="16763"/>
                    <a:pt x="10622" y="17013"/>
                  </a:cubicBezTo>
                  <a:cubicBezTo>
                    <a:pt x="11230" y="17658"/>
                    <a:pt x="12132" y="17948"/>
                    <a:pt x="12982" y="17771"/>
                  </a:cubicBezTo>
                  <a:close/>
                  <a:moveTo>
                    <a:pt x="4906" y="12317"/>
                  </a:moveTo>
                  <a:cubicBezTo>
                    <a:pt x="4889" y="12296"/>
                    <a:pt x="4827" y="12184"/>
                    <a:pt x="4769" y="12068"/>
                  </a:cubicBezTo>
                  <a:cubicBezTo>
                    <a:pt x="4626" y="11783"/>
                    <a:pt x="4553" y="11693"/>
                    <a:pt x="4357" y="11562"/>
                  </a:cubicBezTo>
                  <a:cubicBezTo>
                    <a:pt x="3958" y="11295"/>
                    <a:pt x="3531" y="11365"/>
                    <a:pt x="3091" y="11768"/>
                  </a:cubicBezTo>
                  <a:cubicBezTo>
                    <a:pt x="2980" y="11871"/>
                    <a:pt x="2869" y="11955"/>
                    <a:pt x="2845" y="11955"/>
                  </a:cubicBezTo>
                  <a:cubicBezTo>
                    <a:pt x="2786" y="11955"/>
                    <a:pt x="2206" y="11651"/>
                    <a:pt x="2131" y="11582"/>
                  </a:cubicBezTo>
                  <a:cubicBezTo>
                    <a:pt x="2099" y="11552"/>
                    <a:pt x="2078" y="11506"/>
                    <a:pt x="2086" y="11480"/>
                  </a:cubicBezTo>
                  <a:cubicBezTo>
                    <a:pt x="2127" y="11337"/>
                    <a:pt x="2164" y="10941"/>
                    <a:pt x="2148" y="10802"/>
                  </a:cubicBezTo>
                  <a:cubicBezTo>
                    <a:pt x="2106" y="10438"/>
                    <a:pt x="1856" y="10139"/>
                    <a:pt x="1504" y="10032"/>
                  </a:cubicBezTo>
                  <a:cubicBezTo>
                    <a:pt x="1334" y="9980"/>
                    <a:pt x="1270" y="9975"/>
                    <a:pt x="1048" y="9993"/>
                  </a:cubicBezTo>
                  <a:cubicBezTo>
                    <a:pt x="574" y="10031"/>
                    <a:pt x="645" y="10070"/>
                    <a:pt x="445" y="9670"/>
                  </a:cubicBezTo>
                  <a:cubicBezTo>
                    <a:pt x="347" y="9476"/>
                    <a:pt x="268" y="9294"/>
                    <a:pt x="268" y="9265"/>
                  </a:cubicBezTo>
                  <a:cubicBezTo>
                    <a:pt x="268" y="9236"/>
                    <a:pt x="363" y="9118"/>
                    <a:pt x="479" y="9001"/>
                  </a:cubicBezTo>
                  <a:cubicBezTo>
                    <a:pt x="761" y="8720"/>
                    <a:pt x="867" y="8504"/>
                    <a:pt x="867" y="8214"/>
                  </a:cubicBezTo>
                  <a:cubicBezTo>
                    <a:pt x="867" y="7836"/>
                    <a:pt x="690" y="7576"/>
                    <a:pt x="254" y="7316"/>
                  </a:cubicBezTo>
                  <a:lnTo>
                    <a:pt x="0" y="7165"/>
                  </a:lnTo>
                  <a:lnTo>
                    <a:pt x="7" y="6985"/>
                  </a:lnTo>
                  <a:cubicBezTo>
                    <a:pt x="11" y="6885"/>
                    <a:pt x="40" y="6687"/>
                    <a:pt x="72" y="6544"/>
                  </a:cubicBezTo>
                  <a:lnTo>
                    <a:pt x="131" y="6285"/>
                  </a:lnTo>
                  <a:lnTo>
                    <a:pt x="263" y="6267"/>
                  </a:lnTo>
                  <a:cubicBezTo>
                    <a:pt x="732" y="6206"/>
                    <a:pt x="980" y="6106"/>
                    <a:pt x="1167" y="5902"/>
                  </a:cubicBezTo>
                  <a:cubicBezTo>
                    <a:pt x="1457" y="5588"/>
                    <a:pt x="1484" y="5236"/>
                    <a:pt x="1257" y="4726"/>
                  </a:cubicBezTo>
                  <a:cubicBezTo>
                    <a:pt x="1194" y="4585"/>
                    <a:pt x="1143" y="4457"/>
                    <a:pt x="1143" y="4444"/>
                  </a:cubicBezTo>
                  <a:cubicBezTo>
                    <a:pt x="1143" y="4403"/>
                    <a:pt x="1343" y="4194"/>
                    <a:pt x="1564" y="4005"/>
                  </a:cubicBezTo>
                  <a:lnTo>
                    <a:pt x="1773" y="3827"/>
                  </a:lnTo>
                  <a:lnTo>
                    <a:pt x="2001" y="3947"/>
                  </a:lnTo>
                  <a:cubicBezTo>
                    <a:pt x="2289" y="4100"/>
                    <a:pt x="2427" y="4141"/>
                    <a:pt x="2657" y="4141"/>
                  </a:cubicBezTo>
                  <a:cubicBezTo>
                    <a:pt x="2905" y="4141"/>
                    <a:pt x="3089" y="4074"/>
                    <a:pt x="3257" y="3922"/>
                  </a:cubicBezTo>
                  <a:cubicBezTo>
                    <a:pt x="3436" y="3762"/>
                    <a:pt x="3530" y="3569"/>
                    <a:pt x="3602" y="3217"/>
                  </a:cubicBezTo>
                  <a:cubicBezTo>
                    <a:pt x="3633" y="3064"/>
                    <a:pt x="3664" y="2933"/>
                    <a:pt x="3670" y="2927"/>
                  </a:cubicBezTo>
                  <a:cubicBezTo>
                    <a:pt x="3690" y="2907"/>
                    <a:pt x="4086" y="2844"/>
                    <a:pt x="4319" y="2824"/>
                  </a:cubicBezTo>
                  <a:lnTo>
                    <a:pt x="4544" y="2805"/>
                  </a:lnTo>
                  <a:lnTo>
                    <a:pt x="4671" y="3064"/>
                  </a:lnTo>
                  <a:cubicBezTo>
                    <a:pt x="4935" y="3605"/>
                    <a:pt x="5356" y="3849"/>
                    <a:pt x="5814" y="3727"/>
                  </a:cubicBezTo>
                  <a:cubicBezTo>
                    <a:pt x="6033" y="3669"/>
                    <a:pt x="6166" y="3590"/>
                    <a:pt x="6397" y="3378"/>
                  </a:cubicBezTo>
                  <a:cubicBezTo>
                    <a:pt x="6500" y="3283"/>
                    <a:pt x="6602" y="3206"/>
                    <a:pt x="6624" y="3206"/>
                  </a:cubicBezTo>
                  <a:cubicBezTo>
                    <a:pt x="6686" y="3206"/>
                    <a:pt x="7335" y="3550"/>
                    <a:pt x="7365" y="3600"/>
                  </a:cubicBezTo>
                  <a:cubicBezTo>
                    <a:pt x="7373" y="3611"/>
                    <a:pt x="7359" y="3740"/>
                    <a:pt x="7335" y="3886"/>
                  </a:cubicBezTo>
                  <a:cubicBezTo>
                    <a:pt x="7280" y="4218"/>
                    <a:pt x="7296" y="4421"/>
                    <a:pt x="7395" y="4642"/>
                  </a:cubicBezTo>
                  <a:cubicBezTo>
                    <a:pt x="7486" y="4844"/>
                    <a:pt x="7634" y="4989"/>
                    <a:pt x="7849" y="5088"/>
                  </a:cubicBezTo>
                  <a:cubicBezTo>
                    <a:pt x="8041" y="5175"/>
                    <a:pt x="8230" y="5194"/>
                    <a:pt x="8551" y="5158"/>
                  </a:cubicBezTo>
                  <a:cubicBezTo>
                    <a:pt x="8742" y="5136"/>
                    <a:pt x="8814" y="5137"/>
                    <a:pt x="8838" y="5162"/>
                  </a:cubicBezTo>
                  <a:cubicBezTo>
                    <a:pt x="8887" y="5211"/>
                    <a:pt x="9110" y="5656"/>
                    <a:pt x="9156" y="5794"/>
                  </a:cubicBezTo>
                  <a:lnTo>
                    <a:pt x="9195" y="5914"/>
                  </a:lnTo>
                  <a:lnTo>
                    <a:pt x="8984" y="6135"/>
                  </a:lnTo>
                  <a:cubicBezTo>
                    <a:pt x="8713" y="6418"/>
                    <a:pt x="8612" y="6617"/>
                    <a:pt x="8598" y="6894"/>
                  </a:cubicBezTo>
                  <a:cubicBezTo>
                    <a:pt x="8591" y="7033"/>
                    <a:pt x="8603" y="7141"/>
                    <a:pt x="8636" y="7241"/>
                  </a:cubicBezTo>
                  <a:cubicBezTo>
                    <a:pt x="8705" y="7449"/>
                    <a:pt x="8937" y="7688"/>
                    <a:pt x="9231" y="7855"/>
                  </a:cubicBezTo>
                  <a:lnTo>
                    <a:pt x="9468" y="7989"/>
                  </a:lnTo>
                  <a:lnTo>
                    <a:pt x="9468" y="8124"/>
                  </a:lnTo>
                  <a:cubicBezTo>
                    <a:pt x="9469" y="8236"/>
                    <a:pt x="9392" y="8654"/>
                    <a:pt x="9339" y="8827"/>
                  </a:cubicBezTo>
                  <a:cubicBezTo>
                    <a:pt x="9329" y="8861"/>
                    <a:pt x="9279" y="8880"/>
                    <a:pt x="9164" y="8893"/>
                  </a:cubicBezTo>
                  <a:cubicBezTo>
                    <a:pt x="8747" y="8941"/>
                    <a:pt x="8462" y="9062"/>
                    <a:pt x="8281" y="9268"/>
                  </a:cubicBezTo>
                  <a:cubicBezTo>
                    <a:pt x="8018" y="9568"/>
                    <a:pt x="7989" y="9939"/>
                    <a:pt x="8194" y="10399"/>
                  </a:cubicBezTo>
                  <a:cubicBezTo>
                    <a:pt x="8258" y="10544"/>
                    <a:pt x="8311" y="10686"/>
                    <a:pt x="8311" y="10714"/>
                  </a:cubicBezTo>
                  <a:cubicBezTo>
                    <a:pt x="8311" y="10779"/>
                    <a:pt x="7754" y="11305"/>
                    <a:pt x="7686" y="11305"/>
                  </a:cubicBezTo>
                  <a:cubicBezTo>
                    <a:pt x="7657" y="11305"/>
                    <a:pt x="7517" y="11245"/>
                    <a:pt x="7373" y="11171"/>
                  </a:cubicBezTo>
                  <a:cubicBezTo>
                    <a:pt x="7127" y="11045"/>
                    <a:pt x="7097" y="11037"/>
                    <a:pt x="6857" y="11028"/>
                  </a:cubicBezTo>
                  <a:cubicBezTo>
                    <a:pt x="6635" y="11019"/>
                    <a:pt x="6583" y="11027"/>
                    <a:pt x="6448" y="11087"/>
                  </a:cubicBezTo>
                  <a:cubicBezTo>
                    <a:pt x="6163" y="11215"/>
                    <a:pt x="5977" y="11460"/>
                    <a:pt x="5897" y="11813"/>
                  </a:cubicBezTo>
                  <a:cubicBezTo>
                    <a:pt x="5799" y="12246"/>
                    <a:pt x="5803" y="12235"/>
                    <a:pt x="5721" y="12252"/>
                  </a:cubicBezTo>
                  <a:cubicBezTo>
                    <a:pt x="5679" y="12261"/>
                    <a:pt x="5594" y="12279"/>
                    <a:pt x="5532" y="12293"/>
                  </a:cubicBezTo>
                  <a:cubicBezTo>
                    <a:pt x="5469" y="12306"/>
                    <a:pt x="5310" y="12326"/>
                    <a:pt x="5178" y="12336"/>
                  </a:cubicBezTo>
                  <a:cubicBezTo>
                    <a:pt x="4991" y="12351"/>
                    <a:pt x="4929" y="12347"/>
                    <a:pt x="4906" y="12317"/>
                  </a:cubicBezTo>
                  <a:close/>
                  <a:moveTo>
                    <a:pt x="5296" y="10121"/>
                  </a:moveTo>
                  <a:cubicBezTo>
                    <a:pt x="5788" y="10013"/>
                    <a:pt x="6202" y="9781"/>
                    <a:pt x="6579" y="9404"/>
                  </a:cubicBezTo>
                  <a:cubicBezTo>
                    <a:pt x="7386" y="8597"/>
                    <a:pt x="7576" y="7438"/>
                    <a:pt x="7073" y="6395"/>
                  </a:cubicBezTo>
                  <a:cubicBezTo>
                    <a:pt x="6783" y="5792"/>
                    <a:pt x="6125" y="5239"/>
                    <a:pt x="5476" y="5053"/>
                  </a:cubicBezTo>
                  <a:cubicBezTo>
                    <a:pt x="5027" y="4924"/>
                    <a:pt x="4487" y="4919"/>
                    <a:pt x="4034" y="5041"/>
                  </a:cubicBezTo>
                  <a:cubicBezTo>
                    <a:pt x="3227" y="5257"/>
                    <a:pt x="2501" y="5945"/>
                    <a:pt x="2246" y="6735"/>
                  </a:cubicBezTo>
                  <a:cubicBezTo>
                    <a:pt x="2106" y="7167"/>
                    <a:pt x="2072" y="7600"/>
                    <a:pt x="2145" y="7989"/>
                  </a:cubicBezTo>
                  <a:cubicBezTo>
                    <a:pt x="2312" y="8869"/>
                    <a:pt x="2804" y="9526"/>
                    <a:pt x="3584" y="9911"/>
                  </a:cubicBezTo>
                  <a:cubicBezTo>
                    <a:pt x="4100" y="10166"/>
                    <a:pt x="4738" y="10245"/>
                    <a:pt x="5296" y="10121"/>
                  </a:cubicBezTo>
                  <a:close/>
                  <a:moveTo>
                    <a:pt x="14278" y="9383"/>
                  </a:moveTo>
                  <a:cubicBezTo>
                    <a:pt x="14025" y="8915"/>
                    <a:pt x="13732" y="8715"/>
                    <a:pt x="13338" y="8744"/>
                  </a:cubicBezTo>
                  <a:cubicBezTo>
                    <a:pt x="13084" y="8762"/>
                    <a:pt x="12892" y="8865"/>
                    <a:pt x="12621" y="9128"/>
                  </a:cubicBezTo>
                  <a:lnTo>
                    <a:pt x="12401" y="9342"/>
                  </a:lnTo>
                  <a:lnTo>
                    <a:pt x="12254" y="9291"/>
                  </a:lnTo>
                  <a:cubicBezTo>
                    <a:pt x="12086" y="9232"/>
                    <a:pt x="11606" y="8980"/>
                    <a:pt x="11563" y="8928"/>
                  </a:cubicBezTo>
                  <a:cubicBezTo>
                    <a:pt x="11543" y="8903"/>
                    <a:pt x="11546" y="8802"/>
                    <a:pt x="11572" y="8599"/>
                  </a:cubicBezTo>
                  <a:cubicBezTo>
                    <a:pt x="11644" y="8043"/>
                    <a:pt x="11498" y="7696"/>
                    <a:pt x="11105" y="7492"/>
                  </a:cubicBezTo>
                  <a:cubicBezTo>
                    <a:pt x="10997" y="7436"/>
                    <a:pt x="10937" y="7426"/>
                    <a:pt x="10696" y="7426"/>
                  </a:cubicBezTo>
                  <a:cubicBezTo>
                    <a:pt x="10541" y="7426"/>
                    <a:pt x="10335" y="7437"/>
                    <a:pt x="10239" y="7450"/>
                  </a:cubicBezTo>
                  <a:lnTo>
                    <a:pt x="10065" y="7475"/>
                  </a:lnTo>
                  <a:lnTo>
                    <a:pt x="9976" y="7337"/>
                  </a:lnTo>
                  <a:cubicBezTo>
                    <a:pt x="9873" y="7176"/>
                    <a:pt x="9638" y="6697"/>
                    <a:pt x="9638" y="6648"/>
                  </a:cubicBezTo>
                  <a:cubicBezTo>
                    <a:pt x="9638" y="6630"/>
                    <a:pt x="9726" y="6520"/>
                    <a:pt x="9835" y="6404"/>
                  </a:cubicBezTo>
                  <a:cubicBezTo>
                    <a:pt x="10098" y="6122"/>
                    <a:pt x="10210" y="5895"/>
                    <a:pt x="10212" y="5639"/>
                  </a:cubicBezTo>
                  <a:cubicBezTo>
                    <a:pt x="10215" y="5266"/>
                    <a:pt x="10004" y="4978"/>
                    <a:pt x="9558" y="4748"/>
                  </a:cubicBezTo>
                  <a:cubicBezTo>
                    <a:pt x="9419" y="4676"/>
                    <a:pt x="9299" y="4601"/>
                    <a:pt x="9292" y="4582"/>
                  </a:cubicBezTo>
                  <a:cubicBezTo>
                    <a:pt x="9275" y="4536"/>
                    <a:pt x="9341" y="3994"/>
                    <a:pt x="9385" y="3819"/>
                  </a:cubicBezTo>
                  <a:cubicBezTo>
                    <a:pt x="9404" y="3744"/>
                    <a:pt x="9440" y="3673"/>
                    <a:pt x="9465" y="3659"/>
                  </a:cubicBezTo>
                  <a:cubicBezTo>
                    <a:pt x="9490" y="3646"/>
                    <a:pt x="9619" y="3614"/>
                    <a:pt x="9751" y="3587"/>
                  </a:cubicBezTo>
                  <a:cubicBezTo>
                    <a:pt x="10326" y="3473"/>
                    <a:pt x="10615" y="3204"/>
                    <a:pt x="10647" y="2754"/>
                  </a:cubicBezTo>
                  <a:cubicBezTo>
                    <a:pt x="10663" y="2534"/>
                    <a:pt x="10620" y="2379"/>
                    <a:pt x="10450" y="2040"/>
                  </a:cubicBezTo>
                  <a:cubicBezTo>
                    <a:pt x="10346" y="1834"/>
                    <a:pt x="10342" y="1815"/>
                    <a:pt x="10382" y="1754"/>
                  </a:cubicBezTo>
                  <a:cubicBezTo>
                    <a:pt x="10457" y="1639"/>
                    <a:pt x="10966" y="1145"/>
                    <a:pt x="11010" y="1145"/>
                  </a:cubicBezTo>
                  <a:cubicBezTo>
                    <a:pt x="11032" y="1145"/>
                    <a:pt x="11181" y="1205"/>
                    <a:pt x="11339" y="1279"/>
                  </a:cubicBezTo>
                  <a:cubicBezTo>
                    <a:pt x="11612" y="1405"/>
                    <a:pt x="11640" y="1412"/>
                    <a:pt x="11867" y="1411"/>
                  </a:cubicBezTo>
                  <a:cubicBezTo>
                    <a:pt x="12151" y="1410"/>
                    <a:pt x="12260" y="1370"/>
                    <a:pt x="12447" y="1198"/>
                  </a:cubicBezTo>
                  <a:cubicBezTo>
                    <a:pt x="12625" y="1034"/>
                    <a:pt x="12710" y="852"/>
                    <a:pt x="12774" y="500"/>
                  </a:cubicBezTo>
                  <a:cubicBezTo>
                    <a:pt x="12803" y="337"/>
                    <a:pt x="12843" y="193"/>
                    <a:pt x="12862" y="181"/>
                  </a:cubicBezTo>
                  <a:cubicBezTo>
                    <a:pt x="12981" y="107"/>
                    <a:pt x="13718" y="0"/>
                    <a:pt x="13777" y="48"/>
                  </a:cubicBezTo>
                  <a:cubicBezTo>
                    <a:pt x="13798" y="66"/>
                    <a:pt x="13868" y="177"/>
                    <a:pt x="13933" y="295"/>
                  </a:cubicBezTo>
                  <a:cubicBezTo>
                    <a:pt x="14171" y="726"/>
                    <a:pt x="14451" y="931"/>
                    <a:pt x="14801" y="931"/>
                  </a:cubicBezTo>
                  <a:cubicBezTo>
                    <a:pt x="15067" y="931"/>
                    <a:pt x="15287" y="822"/>
                    <a:pt x="15586" y="540"/>
                  </a:cubicBezTo>
                  <a:cubicBezTo>
                    <a:pt x="15819" y="321"/>
                    <a:pt x="15819" y="321"/>
                    <a:pt x="15911" y="357"/>
                  </a:cubicBezTo>
                  <a:cubicBezTo>
                    <a:pt x="16083" y="425"/>
                    <a:pt x="16538" y="659"/>
                    <a:pt x="16605" y="713"/>
                  </a:cubicBezTo>
                  <a:cubicBezTo>
                    <a:pt x="16671" y="767"/>
                    <a:pt x="16672" y="772"/>
                    <a:pt x="16640" y="1003"/>
                  </a:cubicBezTo>
                  <a:cubicBezTo>
                    <a:pt x="16571" y="1520"/>
                    <a:pt x="16627" y="1760"/>
                    <a:pt x="16875" y="2008"/>
                  </a:cubicBezTo>
                  <a:cubicBezTo>
                    <a:pt x="17112" y="2245"/>
                    <a:pt x="17439" y="2312"/>
                    <a:pt x="17915" y="2220"/>
                  </a:cubicBezTo>
                  <a:cubicBezTo>
                    <a:pt x="18089" y="2186"/>
                    <a:pt x="18112" y="2187"/>
                    <a:pt x="18161" y="2232"/>
                  </a:cubicBezTo>
                  <a:cubicBezTo>
                    <a:pt x="18232" y="2296"/>
                    <a:pt x="18556" y="2937"/>
                    <a:pt x="18556" y="3013"/>
                  </a:cubicBezTo>
                  <a:cubicBezTo>
                    <a:pt x="18556" y="3048"/>
                    <a:pt x="18475" y="3158"/>
                    <a:pt x="18359" y="3279"/>
                  </a:cubicBezTo>
                  <a:cubicBezTo>
                    <a:pt x="18251" y="3393"/>
                    <a:pt x="18128" y="3553"/>
                    <a:pt x="18085" y="3635"/>
                  </a:cubicBezTo>
                  <a:cubicBezTo>
                    <a:pt x="18016" y="3766"/>
                    <a:pt x="18006" y="3815"/>
                    <a:pt x="18006" y="4038"/>
                  </a:cubicBezTo>
                  <a:cubicBezTo>
                    <a:pt x="18006" y="4250"/>
                    <a:pt x="18017" y="4313"/>
                    <a:pt x="18072" y="4416"/>
                  </a:cubicBezTo>
                  <a:cubicBezTo>
                    <a:pt x="18170" y="4601"/>
                    <a:pt x="18348" y="4755"/>
                    <a:pt x="18644" y="4914"/>
                  </a:cubicBezTo>
                  <a:lnTo>
                    <a:pt x="18909" y="5056"/>
                  </a:lnTo>
                  <a:lnTo>
                    <a:pt x="18903" y="5239"/>
                  </a:lnTo>
                  <a:cubicBezTo>
                    <a:pt x="18894" y="5490"/>
                    <a:pt x="18809" y="5965"/>
                    <a:pt x="18767" y="6001"/>
                  </a:cubicBezTo>
                  <a:cubicBezTo>
                    <a:pt x="18747" y="6017"/>
                    <a:pt x="18619" y="6049"/>
                    <a:pt x="18482" y="6073"/>
                  </a:cubicBezTo>
                  <a:cubicBezTo>
                    <a:pt x="18047" y="6148"/>
                    <a:pt x="17778" y="6317"/>
                    <a:pt x="17641" y="6602"/>
                  </a:cubicBezTo>
                  <a:cubicBezTo>
                    <a:pt x="17498" y="6901"/>
                    <a:pt x="17523" y="7152"/>
                    <a:pt x="17737" y="7578"/>
                  </a:cubicBezTo>
                  <a:cubicBezTo>
                    <a:pt x="17799" y="7703"/>
                    <a:pt x="17851" y="7825"/>
                    <a:pt x="17851" y="7849"/>
                  </a:cubicBezTo>
                  <a:cubicBezTo>
                    <a:pt x="17851" y="7894"/>
                    <a:pt x="17312" y="8468"/>
                    <a:pt x="17226" y="8513"/>
                  </a:cubicBezTo>
                  <a:cubicBezTo>
                    <a:pt x="17194" y="8530"/>
                    <a:pt x="17109" y="8503"/>
                    <a:pt x="16944" y="8423"/>
                  </a:cubicBezTo>
                  <a:cubicBezTo>
                    <a:pt x="16491" y="8203"/>
                    <a:pt x="16158" y="8189"/>
                    <a:pt x="15867" y="8375"/>
                  </a:cubicBezTo>
                  <a:cubicBezTo>
                    <a:pt x="15618" y="8535"/>
                    <a:pt x="15485" y="8786"/>
                    <a:pt x="15422" y="9214"/>
                  </a:cubicBezTo>
                  <a:cubicBezTo>
                    <a:pt x="15395" y="9399"/>
                    <a:pt x="15376" y="9454"/>
                    <a:pt x="15327" y="9486"/>
                  </a:cubicBezTo>
                  <a:cubicBezTo>
                    <a:pt x="15263" y="9528"/>
                    <a:pt x="14667" y="9640"/>
                    <a:pt x="14508" y="9640"/>
                  </a:cubicBezTo>
                  <a:cubicBezTo>
                    <a:pt x="14422" y="9640"/>
                    <a:pt x="14409" y="9626"/>
                    <a:pt x="14278" y="9383"/>
                  </a:cubicBezTo>
                  <a:close/>
                  <a:moveTo>
                    <a:pt x="14831" y="7283"/>
                  </a:moveTo>
                  <a:cubicBezTo>
                    <a:pt x="15713" y="7003"/>
                    <a:pt x="16329" y="6369"/>
                    <a:pt x="16586" y="5475"/>
                  </a:cubicBezTo>
                  <a:cubicBezTo>
                    <a:pt x="16641" y="5284"/>
                    <a:pt x="16650" y="5188"/>
                    <a:pt x="16649" y="4814"/>
                  </a:cubicBezTo>
                  <a:cubicBezTo>
                    <a:pt x="16648" y="4339"/>
                    <a:pt x="16623" y="4203"/>
                    <a:pt x="16468" y="3828"/>
                  </a:cubicBezTo>
                  <a:cubicBezTo>
                    <a:pt x="16301" y="3422"/>
                    <a:pt x="15961" y="2998"/>
                    <a:pt x="15582" y="2721"/>
                  </a:cubicBezTo>
                  <a:cubicBezTo>
                    <a:pt x="15416" y="2600"/>
                    <a:pt x="15073" y="2431"/>
                    <a:pt x="14859" y="2366"/>
                  </a:cubicBezTo>
                  <a:cubicBezTo>
                    <a:pt x="13949" y="2089"/>
                    <a:pt x="12954" y="2336"/>
                    <a:pt x="12289" y="3005"/>
                  </a:cubicBezTo>
                  <a:cubicBezTo>
                    <a:pt x="11187" y="4113"/>
                    <a:pt x="11306" y="5897"/>
                    <a:pt x="12547" y="6861"/>
                  </a:cubicBezTo>
                  <a:cubicBezTo>
                    <a:pt x="12840" y="7088"/>
                    <a:pt x="13196" y="7252"/>
                    <a:pt x="13589" y="7341"/>
                  </a:cubicBezTo>
                  <a:cubicBezTo>
                    <a:pt x="13720" y="7370"/>
                    <a:pt x="13889" y="7379"/>
                    <a:pt x="14182" y="7370"/>
                  </a:cubicBezTo>
                  <a:cubicBezTo>
                    <a:pt x="14528" y="7361"/>
                    <a:pt x="14628" y="7347"/>
                    <a:pt x="14831" y="7283"/>
                  </a:cubicBezTo>
                  <a:close/>
                </a:path>
              </a:pathLst>
            </a:custGeom>
            <a:solidFill>
              <a:schemeClr val="accent3"/>
            </a:solidFill>
            <a:ln w="0">
              <a:noFill/>
              <a:prstDash val="solid"/>
              <a:round/>
              <a:headEnd/>
              <a:tailEnd/>
            </a:ln>
            <a:effectLst/>
          </p:spPr>
          <p:txBody>
            <a:bodyPr vert="horz" wrap="square" lIns="91440" tIns="45720" rIns="91440" bIns="45720" numCol="1" anchor="ctr" anchorCtr="0" compatLnSpc="1">
              <a:prstTxWarp prst="textNoShape">
                <a:avLst/>
              </a:prstTxWarp>
            </a:bodyPr>
            <a:lstStyle/>
            <a:p>
              <a:endParaRPr lang="en-US" sz="1200" b="1" dirty="0">
                <a:solidFill>
                  <a:srgbClr val="808080"/>
                </a:solidFill>
                <a:latin typeface="+mn-lt"/>
              </a:endParaRPr>
            </a:p>
          </p:txBody>
        </p:sp>
      </p:grpSp>
      <p:grpSp>
        <p:nvGrpSpPr>
          <p:cNvPr id="57" name="Group 56"/>
          <p:cNvGrpSpPr/>
          <p:nvPr/>
        </p:nvGrpSpPr>
        <p:grpSpPr>
          <a:xfrm>
            <a:off x="412789" y="741321"/>
            <a:ext cx="332295" cy="329976"/>
            <a:chOff x="2183154" y="3904581"/>
            <a:chExt cx="424883" cy="421918"/>
          </a:xfrm>
          <a:solidFill>
            <a:schemeClr val="bg1"/>
          </a:solidFill>
        </p:grpSpPr>
        <p:sp>
          <p:nvSpPr>
            <p:cNvPr id="58" name="Freeform 58"/>
            <p:cNvSpPr>
              <a:spLocks noEditPoints="1"/>
            </p:cNvSpPr>
            <p:nvPr/>
          </p:nvSpPr>
          <p:spPr bwMode="auto">
            <a:xfrm>
              <a:off x="2248369" y="4048843"/>
              <a:ext cx="170941" cy="133393"/>
            </a:xfrm>
            <a:custGeom>
              <a:avLst/>
              <a:gdLst>
                <a:gd name="T0" fmla="*/ 0 w 173"/>
                <a:gd name="T1" fmla="*/ 135 h 135"/>
                <a:gd name="T2" fmla="*/ 59 w 173"/>
                <a:gd name="T3" fmla="*/ 135 h 135"/>
                <a:gd name="T4" fmla="*/ 71 w 173"/>
                <a:gd name="T5" fmla="*/ 107 h 135"/>
                <a:gd name="T6" fmla="*/ 0 w 173"/>
                <a:gd name="T7" fmla="*/ 107 h 135"/>
                <a:gd name="T8" fmla="*/ 0 w 173"/>
                <a:gd name="T9" fmla="*/ 135 h 135"/>
                <a:gd name="T10" fmla="*/ 0 w 173"/>
                <a:gd name="T11" fmla="*/ 81 h 135"/>
                <a:gd name="T12" fmla="*/ 92 w 173"/>
                <a:gd name="T13" fmla="*/ 81 h 135"/>
                <a:gd name="T14" fmla="*/ 118 w 173"/>
                <a:gd name="T15" fmla="*/ 55 h 135"/>
                <a:gd name="T16" fmla="*/ 0 w 173"/>
                <a:gd name="T17" fmla="*/ 55 h 135"/>
                <a:gd name="T18" fmla="*/ 0 w 173"/>
                <a:gd name="T19" fmla="*/ 81 h 135"/>
                <a:gd name="T20" fmla="*/ 0 w 173"/>
                <a:gd name="T21" fmla="*/ 0 h 135"/>
                <a:gd name="T22" fmla="*/ 0 w 173"/>
                <a:gd name="T23" fmla="*/ 29 h 135"/>
                <a:gd name="T24" fmla="*/ 147 w 173"/>
                <a:gd name="T25" fmla="*/ 29 h 135"/>
                <a:gd name="T26" fmla="*/ 173 w 173"/>
                <a:gd name="T27" fmla="*/ 0 h 135"/>
                <a:gd name="T28" fmla="*/ 0 w 173"/>
                <a:gd name="T29" fmla="*/ 0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73" h="135">
                  <a:moveTo>
                    <a:pt x="0" y="135"/>
                  </a:moveTo>
                  <a:lnTo>
                    <a:pt x="59" y="135"/>
                  </a:lnTo>
                  <a:lnTo>
                    <a:pt x="71" y="107"/>
                  </a:lnTo>
                  <a:lnTo>
                    <a:pt x="0" y="107"/>
                  </a:lnTo>
                  <a:lnTo>
                    <a:pt x="0" y="135"/>
                  </a:lnTo>
                  <a:close/>
                  <a:moveTo>
                    <a:pt x="0" y="81"/>
                  </a:moveTo>
                  <a:lnTo>
                    <a:pt x="92" y="81"/>
                  </a:lnTo>
                  <a:lnTo>
                    <a:pt x="118" y="55"/>
                  </a:lnTo>
                  <a:lnTo>
                    <a:pt x="0" y="55"/>
                  </a:lnTo>
                  <a:lnTo>
                    <a:pt x="0" y="81"/>
                  </a:lnTo>
                  <a:close/>
                  <a:moveTo>
                    <a:pt x="0" y="0"/>
                  </a:moveTo>
                  <a:lnTo>
                    <a:pt x="0" y="29"/>
                  </a:lnTo>
                  <a:lnTo>
                    <a:pt x="147" y="29"/>
                  </a:lnTo>
                  <a:lnTo>
                    <a:pt x="173"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auto">
                <a:spcBef>
                  <a:spcPts val="0"/>
                </a:spcBef>
                <a:spcAft>
                  <a:spcPts val="0"/>
                </a:spcAft>
                <a:defRPr/>
              </a:pPr>
              <a:endParaRPr lang="en-US" sz="1200" b="1" kern="0" dirty="0">
                <a:solidFill>
                  <a:srgbClr val="002960"/>
                </a:solidFill>
                <a:latin typeface="+mn-lt"/>
              </a:endParaRPr>
            </a:p>
          </p:txBody>
        </p:sp>
        <p:sp>
          <p:nvSpPr>
            <p:cNvPr id="59" name="Freeform 59"/>
            <p:cNvSpPr>
              <a:spLocks noEditPoints="1"/>
            </p:cNvSpPr>
            <p:nvPr/>
          </p:nvSpPr>
          <p:spPr bwMode="auto">
            <a:xfrm>
              <a:off x="2183154" y="3904581"/>
              <a:ext cx="424883" cy="421918"/>
            </a:xfrm>
            <a:custGeom>
              <a:avLst/>
              <a:gdLst>
                <a:gd name="T0" fmla="*/ 135 w 182"/>
                <a:gd name="T1" fmla="*/ 169 h 181"/>
                <a:gd name="T2" fmla="*/ 11 w 182"/>
                <a:gd name="T3" fmla="*/ 169 h 181"/>
                <a:gd name="T4" fmla="*/ 11 w 182"/>
                <a:gd name="T5" fmla="*/ 56 h 181"/>
                <a:gd name="T6" fmla="*/ 17 w 182"/>
                <a:gd name="T7" fmla="*/ 48 h 181"/>
                <a:gd name="T8" fmla="*/ 28 w 182"/>
                <a:gd name="T9" fmla="*/ 48 h 181"/>
                <a:gd name="T10" fmla="*/ 43 w 182"/>
                <a:gd name="T11" fmla="*/ 43 h 181"/>
                <a:gd name="T12" fmla="*/ 48 w 182"/>
                <a:gd name="T13" fmla="*/ 28 h 181"/>
                <a:gd name="T14" fmla="*/ 48 w 182"/>
                <a:gd name="T15" fmla="*/ 17 h 181"/>
                <a:gd name="T16" fmla="*/ 55 w 182"/>
                <a:gd name="T17" fmla="*/ 11 h 181"/>
                <a:gd name="T18" fmla="*/ 135 w 182"/>
                <a:gd name="T19" fmla="*/ 11 h 181"/>
                <a:gd name="T20" fmla="*/ 135 w 182"/>
                <a:gd name="T21" fmla="*/ 28 h 181"/>
                <a:gd name="T22" fmla="*/ 146 w 182"/>
                <a:gd name="T23" fmla="*/ 17 h 181"/>
                <a:gd name="T24" fmla="*/ 146 w 182"/>
                <a:gd name="T25" fmla="*/ 11 h 181"/>
                <a:gd name="T26" fmla="*/ 143 w 182"/>
                <a:gd name="T27" fmla="*/ 3 h 181"/>
                <a:gd name="T28" fmla="*/ 135 w 182"/>
                <a:gd name="T29" fmla="*/ 0 h 181"/>
                <a:gd name="T30" fmla="*/ 56 w 182"/>
                <a:gd name="T31" fmla="*/ 0 h 181"/>
                <a:gd name="T32" fmla="*/ 37 w 182"/>
                <a:gd name="T33" fmla="*/ 8 h 181"/>
                <a:gd name="T34" fmla="*/ 8 w 182"/>
                <a:gd name="T35" fmla="*/ 37 h 181"/>
                <a:gd name="T36" fmla="*/ 0 w 182"/>
                <a:gd name="T37" fmla="*/ 57 h 181"/>
                <a:gd name="T38" fmla="*/ 0 w 182"/>
                <a:gd name="T39" fmla="*/ 169 h 181"/>
                <a:gd name="T40" fmla="*/ 3 w 182"/>
                <a:gd name="T41" fmla="*/ 177 h 181"/>
                <a:gd name="T42" fmla="*/ 11 w 182"/>
                <a:gd name="T43" fmla="*/ 181 h 181"/>
                <a:gd name="T44" fmla="*/ 135 w 182"/>
                <a:gd name="T45" fmla="*/ 181 h 181"/>
                <a:gd name="T46" fmla="*/ 143 w 182"/>
                <a:gd name="T47" fmla="*/ 177 h 181"/>
                <a:gd name="T48" fmla="*/ 146 w 182"/>
                <a:gd name="T49" fmla="*/ 169 h 181"/>
                <a:gd name="T50" fmla="*/ 146 w 182"/>
                <a:gd name="T51" fmla="*/ 96 h 181"/>
                <a:gd name="T52" fmla="*/ 135 w 182"/>
                <a:gd name="T53" fmla="*/ 108 h 181"/>
                <a:gd name="T54" fmla="*/ 135 w 182"/>
                <a:gd name="T55" fmla="*/ 169 h 181"/>
                <a:gd name="T56" fmla="*/ 172 w 182"/>
                <a:gd name="T57" fmla="*/ 31 h 181"/>
                <a:gd name="T58" fmla="*/ 156 w 182"/>
                <a:gd name="T59" fmla="*/ 23 h 181"/>
                <a:gd name="T60" fmla="*/ 68 w 182"/>
                <a:gd name="T61" fmla="*/ 111 h 181"/>
                <a:gd name="T62" fmla="*/ 68 w 182"/>
                <a:gd name="T63" fmla="*/ 111 h 181"/>
                <a:gd name="T64" fmla="*/ 84 w 182"/>
                <a:gd name="T65" fmla="*/ 119 h 181"/>
                <a:gd name="T66" fmla="*/ 92 w 182"/>
                <a:gd name="T67" fmla="*/ 135 h 181"/>
                <a:gd name="T68" fmla="*/ 92 w 182"/>
                <a:gd name="T69" fmla="*/ 135 h 181"/>
                <a:gd name="T70" fmla="*/ 180 w 182"/>
                <a:gd name="T71" fmla="*/ 47 h 181"/>
                <a:gd name="T72" fmla="*/ 172 w 182"/>
                <a:gd name="T73" fmla="*/ 31 h 181"/>
                <a:gd name="T74" fmla="*/ 58 w 182"/>
                <a:gd name="T75" fmla="*/ 145 h 181"/>
                <a:gd name="T76" fmla="*/ 58 w 182"/>
                <a:gd name="T77" fmla="*/ 145 h 181"/>
                <a:gd name="T78" fmla="*/ 58 w 182"/>
                <a:gd name="T79" fmla="*/ 145 h 181"/>
                <a:gd name="T80" fmla="*/ 64 w 182"/>
                <a:gd name="T81" fmla="*/ 146 h 181"/>
                <a:gd name="T82" fmla="*/ 76 w 182"/>
                <a:gd name="T83" fmla="*/ 141 h 181"/>
                <a:gd name="T84" fmla="*/ 70 w 182"/>
                <a:gd name="T85" fmla="*/ 133 h 181"/>
                <a:gd name="T86" fmla="*/ 62 w 182"/>
                <a:gd name="T87" fmla="*/ 127 h 181"/>
                <a:gd name="T88" fmla="*/ 57 w 182"/>
                <a:gd name="T89" fmla="*/ 139 h 181"/>
                <a:gd name="T90" fmla="*/ 58 w 182"/>
                <a:gd name="T91" fmla="*/ 145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82" h="181">
                  <a:moveTo>
                    <a:pt x="135" y="169"/>
                  </a:moveTo>
                  <a:cubicBezTo>
                    <a:pt x="11" y="169"/>
                    <a:pt x="11" y="169"/>
                    <a:pt x="11" y="169"/>
                  </a:cubicBezTo>
                  <a:cubicBezTo>
                    <a:pt x="11" y="56"/>
                    <a:pt x="11" y="56"/>
                    <a:pt x="11" y="56"/>
                  </a:cubicBezTo>
                  <a:cubicBezTo>
                    <a:pt x="11" y="53"/>
                    <a:pt x="14" y="48"/>
                    <a:pt x="17" y="48"/>
                  </a:cubicBezTo>
                  <a:cubicBezTo>
                    <a:pt x="28" y="48"/>
                    <a:pt x="28" y="48"/>
                    <a:pt x="28" y="48"/>
                  </a:cubicBezTo>
                  <a:cubicBezTo>
                    <a:pt x="34" y="48"/>
                    <a:pt x="39" y="48"/>
                    <a:pt x="43" y="43"/>
                  </a:cubicBezTo>
                  <a:cubicBezTo>
                    <a:pt x="47" y="39"/>
                    <a:pt x="48" y="34"/>
                    <a:pt x="48" y="28"/>
                  </a:cubicBezTo>
                  <a:cubicBezTo>
                    <a:pt x="48" y="17"/>
                    <a:pt x="48" y="17"/>
                    <a:pt x="48" y="17"/>
                  </a:cubicBezTo>
                  <a:cubicBezTo>
                    <a:pt x="48" y="14"/>
                    <a:pt x="52" y="11"/>
                    <a:pt x="55" y="11"/>
                  </a:cubicBezTo>
                  <a:cubicBezTo>
                    <a:pt x="135" y="11"/>
                    <a:pt x="135" y="11"/>
                    <a:pt x="135" y="11"/>
                  </a:cubicBezTo>
                  <a:cubicBezTo>
                    <a:pt x="135" y="28"/>
                    <a:pt x="135" y="28"/>
                    <a:pt x="135" y="28"/>
                  </a:cubicBezTo>
                  <a:cubicBezTo>
                    <a:pt x="146" y="17"/>
                    <a:pt x="146" y="17"/>
                    <a:pt x="146" y="17"/>
                  </a:cubicBezTo>
                  <a:cubicBezTo>
                    <a:pt x="146" y="11"/>
                    <a:pt x="146" y="11"/>
                    <a:pt x="146" y="11"/>
                  </a:cubicBezTo>
                  <a:cubicBezTo>
                    <a:pt x="146" y="9"/>
                    <a:pt x="145" y="6"/>
                    <a:pt x="143" y="3"/>
                  </a:cubicBezTo>
                  <a:cubicBezTo>
                    <a:pt x="141" y="1"/>
                    <a:pt x="138" y="0"/>
                    <a:pt x="135" y="0"/>
                  </a:cubicBezTo>
                  <a:cubicBezTo>
                    <a:pt x="56" y="0"/>
                    <a:pt x="56" y="0"/>
                    <a:pt x="56" y="0"/>
                  </a:cubicBezTo>
                  <a:cubicBezTo>
                    <a:pt x="49" y="0"/>
                    <a:pt x="42" y="3"/>
                    <a:pt x="37" y="8"/>
                  </a:cubicBezTo>
                  <a:cubicBezTo>
                    <a:pt x="8" y="37"/>
                    <a:pt x="8" y="37"/>
                    <a:pt x="8" y="37"/>
                  </a:cubicBezTo>
                  <a:cubicBezTo>
                    <a:pt x="3" y="42"/>
                    <a:pt x="0" y="49"/>
                    <a:pt x="0" y="57"/>
                  </a:cubicBezTo>
                  <a:cubicBezTo>
                    <a:pt x="0" y="169"/>
                    <a:pt x="0" y="169"/>
                    <a:pt x="0" y="169"/>
                  </a:cubicBezTo>
                  <a:cubicBezTo>
                    <a:pt x="0" y="172"/>
                    <a:pt x="1" y="175"/>
                    <a:pt x="3" y="177"/>
                  </a:cubicBezTo>
                  <a:cubicBezTo>
                    <a:pt x="5" y="180"/>
                    <a:pt x="8" y="181"/>
                    <a:pt x="11" y="181"/>
                  </a:cubicBezTo>
                  <a:cubicBezTo>
                    <a:pt x="135" y="181"/>
                    <a:pt x="135" y="181"/>
                    <a:pt x="135" y="181"/>
                  </a:cubicBezTo>
                  <a:cubicBezTo>
                    <a:pt x="138" y="181"/>
                    <a:pt x="141" y="180"/>
                    <a:pt x="143" y="177"/>
                  </a:cubicBezTo>
                  <a:cubicBezTo>
                    <a:pt x="145" y="175"/>
                    <a:pt x="146" y="172"/>
                    <a:pt x="146" y="169"/>
                  </a:cubicBezTo>
                  <a:cubicBezTo>
                    <a:pt x="146" y="96"/>
                    <a:pt x="146" y="96"/>
                    <a:pt x="146" y="96"/>
                  </a:cubicBezTo>
                  <a:cubicBezTo>
                    <a:pt x="135" y="108"/>
                    <a:pt x="135" y="108"/>
                    <a:pt x="135" y="108"/>
                  </a:cubicBezTo>
                  <a:lnTo>
                    <a:pt x="135" y="169"/>
                  </a:lnTo>
                  <a:close/>
                  <a:moveTo>
                    <a:pt x="172" y="31"/>
                  </a:moveTo>
                  <a:cubicBezTo>
                    <a:pt x="165" y="25"/>
                    <a:pt x="158" y="21"/>
                    <a:pt x="156" y="23"/>
                  </a:cubicBezTo>
                  <a:cubicBezTo>
                    <a:pt x="68" y="111"/>
                    <a:pt x="68" y="111"/>
                    <a:pt x="68" y="111"/>
                  </a:cubicBezTo>
                  <a:cubicBezTo>
                    <a:pt x="68" y="111"/>
                    <a:pt x="68" y="111"/>
                    <a:pt x="68" y="111"/>
                  </a:cubicBezTo>
                  <a:cubicBezTo>
                    <a:pt x="70" y="109"/>
                    <a:pt x="77" y="113"/>
                    <a:pt x="84" y="119"/>
                  </a:cubicBezTo>
                  <a:cubicBezTo>
                    <a:pt x="90" y="126"/>
                    <a:pt x="94" y="133"/>
                    <a:pt x="92" y="135"/>
                  </a:cubicBezTo>
                  <a:cubicBezTo>
                    <a:pt x="92" y="135"/>
                    <a:pt x="92" y="135"/>
                    <a:pt x="92" y="135"/>
                  </a:cubicBezTo>
                  <a:cubicBezTo>
                    <a:pt x="180" y="47"/>
                    <a:pt x="180" y="47"/>
                    <a:pt x="180" y="47"/>
                  </a:cubicBezTo>
                  <a:cubicBezTo>
                    <a:pt x="182" y="45"/>
                    <a:pt x="178" y="38"/>
                    <a:pt x="172" y="31"/>
                  </a:cubicBezTo>
                  <a:close/>
                  <a:moveTo>
                    <a:pt x="58" y="145"/>
                  </a:moveTo>
                  <a:cubicBezTo>
                    <a:pt x="58" y="145"/>
                    <a:pt x="58" y="145"/>
                    <a:pt x="58" y="145"/>
                  </a:cubicBezTo>
                  <a:cubicBezTo>
                    <a:pt x="58" y="145"/>
                    <a:pt x="58" y="145"/>
                    <a:pt x="58" y="145"/>
                  </a:cubicBezTo>
                  <a:cubicBezTo>
                    <a:pt x="59" y="146"/>
                    <a:pt x="62" y="147"/>
                    <a:pt x="64" y="146"/>
                  </a:cubicBezTo>
                  <a:cubicBezTo>
                    <a:pt x="76" y="141"/>
                    <a:pt x="76" y="141"/>
                    <a:pt x="76" y="141"/>
                  </a:cubicBezTo>
                  <a:cubicBezTo>
                    <a:pt x="75" y="139"/>
                    <a:pt x="73" y="136"/>
                    <a:pt x="70" y="133"/>
                  </a:cubicBezTo>
                  <a:cubicBezTo>
                    <a:pt x="67" y="130"/>
                    <a:pt x="64" y="128"/>
                    <a:pt x="62" y="127"/>
                  </a:cubicBezTo>
                  <a:cubicBezTo>
                    <a:pt x="57" y="139"/>
                    <a:pt x="57" y="139"/>
                    <a:pt x="57" y="139"/>
                  </a:cubicBezTo>
                  <a:cubicBezTo>
                    <a:pt x="56" y="141"/>
                    <a:pt x="57" y="144"/>
                    <a:pt x="58" y="14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auto">
                <a:spcBef>
                  <a:spcPts val="0"/>
                </a:spcBef>
                <a:spcAft>
                  <a:spcPts val="0"/>
                </a:spcAft>
                <a:defRPr/>
              </a:pPr>
              <a:endParaRPr lang="en-US" sz="1200" b="1" kern="0" dirty="0">
                <a:solidFill>
                  <a:srgbClr val="002960"/>
                </a:solidFill>
                <a:latin typeface="+mn-lt"/>
              </a:endParaRPr>
            </a:p>
          </p:txBody>
        </p:sp>
      </p:grpSp>
      <p:sp>
        <p:nvSpPr>
          <p:cNvPr id="33" name="Rectangle 5"/>
          <p:cNvSpPr>
            <a:spLocks noChangeArrowheads="1"/>
          </p:cNvSpPr>
          <p:nvPr/>
        </p:nvSpPr>
        <p:spPr bwMode="gray">
          <a:xfrm>
            <a:off x="3180424" y="1192082"/>
            <a:ext cx="2600593" cy="4893647"/>
          </a:xfrm>
          <a:prstGeom prst="rect">
            <a:avLst/>
          </a:prstGeom>
          <a:noFill/>
          <a:ln w="19050">
            <a:noFill/>
            <a:miter lim="800000"/>
            <a:headEnd/>
            <a:tailEnd/>
          </a:ln>
        </p:spPr>
        <p:txBody>
          <a:bodyPr lIns="0" tIns="0" rIns="0" bIns="0">
            <a:spAutoFit/>
          </a:bodyPr>
          <a:lstStyle/>
          <a:p>
            <a:pPr marL="0" lvl="1" defTabSz="895350" eaLnBrk="0" hangingPunct="0">
              <a:spcBef>
                <a:spcPct val="25000"/>
              </a:spcBef>
              <a:buClr>
                <a:srgbClr val="002960"/>
              </a:buClr>
              <a:buSzPct val="125000"/>
              <a:defRPr/>
            </a:pPr>
            <a:r>
              <a:rPr lang="en-US" sz="1200" b="1" dirty="0">
                <a:solidFill>
                  <a:srgbClr val="0563BB"/>
                </a:solidFill>
                <a:latin typeface="+mn-lt"/>
                <a:ea typeface="Arial Unicode MS"/>
                <a:cs typeface="Arial Unicode MS"/>
              </a:rPr>
              <a:t>Phased approach to integration</a:t>
            </a:r>
          </a:p>
          <a:p>
            <a:pPr marL="1587" lvl="1" defTabSz="895350" eaLnBrk="0" hangingPunct="0">
              <a:spcBef>
                <a:spcPct val="25000"/>
              </a:spcBef>
              <a:buClr>
                <a:srgbClr val="002960"/>
              </a:buClr>
              <a:buSzPct val="125000"/>
              <a:defRPr/>
            </a:pPr>
            <a:r>
              <a:rPr lang="en-US" sz="1200" dirty="0">
                <a:latin typeface="+mn-lt"/>
              </a:rPr>
              <a:t>Integration planning and execution focused on pre-close integration:</a:t>
            </a:r>
          </a:p>
          <a:p>
            <a:pPr marL="193675" lvl="1" indent="-192088" defTabSz="895350" eaLnBrk="0" hangingPunct="0">
              <a:spcBef>
                <a:spcPct val="25000"/>
              </a:spcBef>
              <a:buClr>
                <a:srgbClr val="002960"/>
              </a:buClr>
              <a:buSzPct val="125000"/>
              <a:buFont typeface="Arial" charset="0"/>
              <a:buChar char="▪"/>
              <a:defRPr/>
            </a:pPr>
            <a:r>
              <a:rPr lang="en-US" sz="1200" b="1" dirty="0">
                <a:solidFill>
                  <a:srgbClr val="0563BB"/>
                </a:solidFill>
                <a:latin typeface="+mn-lt"/>
              </a:rPr>
              <a:t>Pre-close support </a:t>
            </a:r>
            <a:r>
              <a:rPr lang="en-US" sz="1200" dirty="0">
                <a:latin typeface="+mn-lt"/>
              </a:rPr>
              <a:t>focusing </a:t>
            </a:r>
            <a:br>
              <a:rPr lang="en-US" sz="1200" dirty="0">
                <a:latin typeface="+mn-lt"/>
              </a:rPr>
            </a:br>
            <a:r>
              <a:rPr lang="en-US" sz="1200" dirty="0">
                <a:latin typeface="+mn-lt"/>
              </a:rPr>
              <a:t>on setting up an </a:t>
            </a:r>
            <a:r>
              <a:rPr lang="en-US" sz="1200" b="1" dirty="0">
                <a:solidFill>
                  <a:srgbClr val="0563BB"/>
                </a:solidFill>
                <a:latin typeface="+mn-lt"/>
              </a:rPr>
              <a:t>Integration Management Office </a:t>
            </a:r>
            <a:r>
              <a:rPr lang="en-US" sz="1200" dirty="0">
                <a:latin typeface="+mn-lt"/>
              </a:rPr>
              <a:t>and supporting </a:t>
            </a:r>
            <a:r>
              <a:rPr lang="en-US" sz="1200" b="1" dirty="0">
                <a:solidFill>
                  <a:srgbClr val="0563BB"/>
                </a:solidFill>
                <a:latin typeface="+mn-lt"/>
              </a:rPr>
              <a:t>divestment asset selection, preparation </a:t>
            </a:r>
            <a:r>
              <a:rPr lang="en-US" sz="1200" dirty="0">
                <a:latin typeface="+mn-lt"/>
              </a:rPr>
              <a:t>and</a:t>
            </a:r>
            <a:r>
              <a:rPr lang="en-US" sz="1200" b="1" dirty="0">
                <a:latin typeface="+mn-lt"/>
              </a:rPr>
              <a:t> </a:t>
            </a:r>
            <a:r>
              <a:rPr lang="en-US" sz="1200" b="1" dirty="0">
                <a:solidFill>
                  <a:srgbClr val="0563BB"/>
                </a:solidFill>
                <a:latin typeface="+mn-lt"/>
              </a:rPr>
              <a:t>consolidate plan design &amp; equity store</a:t>
            </a:r>
          </a:p>
          <a:p>
            <a:pPr marL="193675" lvl="1" indent="-192088" defTabSz="895350" eaLnBrk="0" hangingPunct="0">
              <a:spcBef>
                <a:spcPct val="25000"/>
              </a:spcBef>
              <a:buClr>
                <a:srgbClr val="002960"/>
              </a:buClr>
              <a:buSzPct val="125000"/>
              <a:buFont typeface="Arial" charset="0"/>
              <a:buChar char="▪"/>
              <a:defRPr/>
            </a:pPr>
            <a:r>
              <a:rPr lang="en-US" sz="1200" b="1" dirty="0">
                <a:solidFill>
                  <a:srgbClr val="0563BB"/>
                </a:solidFill>
                <a:latin typeface="+mn-lt"/>
              </a:rPr>
              <a:t>Shaping the future company</a:t>
            </a:r>
            <a:r>
              <a:rPr lang="en-US" sz="1200" dirty="0">
                <a:solidFill>
                  <a:srgbClr val="0563BB"/>
                </a:solidFill>
                <a:latin typeface="+mn-lt"/>
              </a:rPr>
              <a:t> </a:t>
            </a:r>
            <a:r>
              <a:rPr lang="en-US" sz="1200" dirty="0">
                <a:latin typeface="+mn-lt"/>
              </a:rPr>
              <a:t>by aligning on all material aspects for the future company and by preparing</a:t>
            </a:r>
            <a:r>
              <a:rPr lang="en-US" sz="1200" b="1" dirty="0">
                <a:solidFill>
                  <a:schemeClr val="accent3"/>
                </a:solidFill>
                <a:latin typeface="+mn-lt"/>
              </a:rPr>
              <a:t> day 1 readiness</a:t>
            </a:r>
          </a:p>
          <a:p>
            <a:pPr marL="193675" lvl="1" indent="-192088" defTabSz="895350" eaLnBrk="0" hangingPunct="0">
              <a:spcBef>
                <a:spcPct val="25000"/>
              </a:spcBef>
              <a:buClr>
                <a:srgbClr val="002960"/>
              </a:buClr>
              <a:buSzPct val="125000"/>
              <a:buFont typeface="Arial" charset="0"/>
              <a:buChar char="▪"/>
              <a:defRPr/>
            </a:pPr>
            <a:r>
              <a:rPr lang="en-US" sz="1200" b="1" dirty="0">
                <a:solidFill>
                  <a:srgbClr val="0563BB"/>
                </a:solidFill>
                <a:latin typeface="+mn-lt"/>
              </a:rPr>
              <a:t>Cultural compatibility </a:t>
            </a:r>
            <a:r>
              <a:rPr lang="en-US" sz="1200" dirty="0">
                <a:latin typeface="+mn-lt"/>
              </a:rPr>
              <a:t>exercises including value surveys, workshops, etc. </a:t>
            </a:r>
          </a:p>
          <a:p>
            <a:pPr marL="193675" lvl="1" indent="-192088" defTabSz="895350" eaLnBrk="0" hangingPunct="0">
              <a:spcBef>
                <a:spcPct val="25000"/>
              </a:spcBef>
              <a:buClr>
                <a:srgbClr val="002960"/>
              </a:buClr>
              <a:buSzPct val="125000"/>
              <a:buFont typeface="Arial" charset="0"/>
              <a:buChar char="▪"/>
              <a:defRPr/>
            </a:pPr>
            <a:r>
              <a:rPr lang="en-US" sz="1200" b="1" dirty="0">
                <a:solidFill>
                  <a:srgbClr val="0563BB"/>
                </a:solidFill>
                <a:latin typeface="+mn-lt"/>
              </a:rPr>
              <a:t>Integration planning &amp; value capture for countries </a:t>
            </a:r>
            <a:r>
              <a:rPr lang="en-US" sz="1200" dirty="0">
                <a:latin typeface="+mn-lt"/>
              </a:rPr>
              <a:t>(future country setup design) and</a:t>
            </a:r>
            <a:r>
              <a:rPr lang="en-US" sz="1200" b="1" dirty="0">
                <a:solidFill>
                  <a:srgbClr val="0563BB"/>
                </a:solidFill>
                <a:latin typeface="+mn-lt"/>
              </a:rPr>
              <a:t> corporate functions </a:t>
            </a:r>
            <a:r>
              <a:rPr lang="en-US" sz="1200" dirty="0">
                <a:latin typeface="+mn-lt"/>
              </a:rPr>
              <a:t>(future functional setup design)</a:t>
            </a:r>
          </a:p>
          <a:p>
            <a:pPr marL="193675" lvl="1" indent="-192088" defTabSz="895350" eaLnBrk="0" hangingPunct="0">
              <a:spcBef>
                <a:spcPct val="25000"/>
              </a:spcBef>
              <a:buClr>
                <a:srgbClr val="002960"/>
              </a:buClr>
              <a:buSzPct val="125000"/>
              <a:buFont typeface="Arial" charset="0"/>
              <a:buChar char="▪"/>
              <a:defRPr/>
            </a:pPr>
            <a:r>
              <a:rPr lang="en-US" sz="1200" b="1" dirty="0">
                <a:solidFill>
                  <a:srgbClr val="0563BB"/>
                </a:solidFill>
                <a:latin typeface="+mn-lt"/>
              </a:rPr>
              <a:t>Integration Management </a:t>
            </a:r>
            <a:r>
              <a:rPr lang="en-US" sz="1200" dirty="0">
                <a:latin typeface="+mn-lt"/>
              </a:rPr>
              <a:t>by designing the integration infrastructure</a:t>
            </a:r>
          </a:p>
        </p:txBody>
      </p:sp>
      <p:sp>
        <p:nvSpPr>
          <p:cNvPr id="37" name="Rectangle 6"/>
          <p:cNvSpPr>
            <a:spLocks noChangeArrowheads="1"/>
          </p:cNvSpPr>
          <p:nvPr/>
        </p:nvSpPr>
        <p:spPr bwMode="gray">
          <a:xfrm>
            <a:off x="383968" y="1192082"/>
            <a:ext cx="2626599" cy="4524315"/>
          </a:xfrm>
          <a:prstGeom prst="rect">
            <a:avLst/>
          </a:prstGeom>
          <a:noFill/>
          <a:ln w="19050">
            <a:noFill/>
            <a:miter lim="800000"/>
            <a:headEnd/>
            <a:tailEnd/>
          </a:ln>
        </p:spPr>
        <p:txBody>
          <a:bodyPr lIns="0" tIns="0" rIns="0" bIns="0">
            <a:spAutoFit/>
          </a:bodyPr>
          <a:lstStyle/>
          <a:p>
            <a:pPr marL="193675" lvl="1" indent="-192088" defTabSz="895350" eaLnBrk="0" hangingPunct="0">
              <a:spcBef>
                <a:spcPct val="25000"/>
              </a:spcBef>
              <a:buClr>
                <a:srgbClr val="002960"/>
              </a:buClr>
              <a:buSzPct val="125000"/>
              <a:defRPr/>
            </a:pPr>
            <a:r>
              <a:rPr lang="en-US" sz="1200" b="1" dirty="0">
                <a:solidFill>
                  <a:srgbClr val="0066CC"/>
                </a:solidFill>
                <a:latin typeface="+mn-lt"/>
              </a:rPr>
              <a:t>Context</a:t>
            </a:r>
            <a:endParaRPr lang="en-US" sz="1200" b="1" dirty="0">
              <a:solidFill>
                <a:srgbClr val="0066CC"/>
              </a:solidFill>
              <a:latin typeface="+mn-lt"/>
              <a:ea typeface="Arial Unicode MS" pitchFamily="34" charset="-128"/>
              <a:cs typeface="Arial Unicode MS" pitchFamily="34" charset="-128"/>
            </a:endParaRPr>
          </a:p>
          <a:p>
            <a:pPr marL="193675" lvl="1" indent="-192088" defTabSz="895350" eaLnBrk="0" hangingPunct="0">
              <a:spcBef>
                <a:spcPct val="25000"/>
              </a:spcBef>
              <a:buClr>
                <a:srgbClr val="002960"/>
              </a:buClr>
              <a:buSzPct val="125000"/>
              <a:buFont typeface="Arial" charset="0"/>
              <a:buChar char="▪"/>
              <a:defRPr/>
            </a:pPr>
            <a:r>
              <a:rPr lang="en-US" sz="1200" dirty="0">
                <a:solidFill>
                  <a:srgbClr val="000000"/>
                </a:solidFill>
                <a:latin typeface="+mn-lt"/>
              </a:rPr>
              <a:t>Merger of two well-known construction companies to become the global leader in building materials</a:t>
            </a:r>
          </a:p>
          <a:p>
            <a:pPr marL="1587" lvl="1" defTabSz="895350" eaLnBrk="0" hangingPunct="0">
              <a:spcBef>
                <a:spcPct val="25000"/>
              </a:spcBef>
              <a:buClr>
                <a:srgbClr val="002960"/>
              </a:buClr>
              <a:buSzPct val="125000"/>
              <a:defRPr/>
            </a:pPr>
            <a:r>
              <a:rPr lang="en-US" sz="1200" b="1" dirty="0">
                <a:solidFill>
                  <a:srgbClr val="0066CC"/>
                </a:solidFill>
                <a:latin typeface="+mn-lt"/>
              </a:rPr>
              <a:t>Challenges</a:t>
            </a:r>
          </a:p>
          <a:p>
            <a:pPr marL="193675" lvl="1" indent="-192088" defTabSz="895350" eaLnBrk="0" hangingPunct="0">
              <a:spcBef>
                <a:spcPct val="25000"/>
              </a:spcBef>
              <a:buClr>
                <a:srgbClr val="002960"/>
              </a:buClr>
              <a:buSzPct val="125000"/>
              <a:buFont typeface="Arial" charset="0"/>
              <a:buChar char="▪"/>
              <a:defRPr/>
            </a:pPr>
            <a:r>
              <a:rPr lang="en-US" sz="1200" b="1" dirty="0">
                <a:solidFill>
                  <a:srgbClr val="0066CC"/>
                </a:solidFill>
                <a:latin typeface="+mn-lt"/>
              </a:rPr>
              <a:t>Several countries</a:t>
            </a:r>
            <a:r>
              <a:rPr lang="en-US" sz="1200" dirty="0">
                <a:solidFill>
                  <a:srgbClr val="000000"/>
                </a:solidFill>
                <a:latin typeface="+mn-lt"/>
              </a:rPr>
              <a:t> were not allowing to start country integration planning due to legal restrictions</a:t>
            </a:r>
          </a:p>
          <a:p>
            <a:pPr marL="193675" lvl="1" indent="-192088" defTabSz="895350" eaLnBrk="0" hangingPunct="0">
              <a:spcBef>
                <a:spcPct val="25000"/>
              </a:spcBef>
              <a:buClr>
                <a:srgbClr val="002960"/>
              </a:buClr>
              <a:buSzPct val="125000"/>
              <a:buFont typeface="Arial" charset="0"/>
              <a:buChar char="▪"/>
              <a:defRPr/>
            </a:pPr>
            <a:r>
              <a:rPr lang="en-US" sz="1200" b="1" dirty="0">
                <a:solidFill>
                  <a:schemeClr val="accent3"/>
                </a:solidFill>
                <a:latin typeface="+mn-lt"/>
              </a:rPr>
              <a:t>Two potential different operating models</a:t>
            </a:r>
          </a:p>
          <a:p>
            <a:pPr marL="193675" lvl="1" indent="-192088" defTabSz="895350" eaLnBrk="0" hangingPunct="0">
              <a:spcBef>
                <a:spcPct val="25000"/>
              </a:spcBef>
              <a:buClr>
                <a:srgbClr val="002960"/>
              </a:buClr>
              <a:buSzPct val="125000"/>
              <a:buFont typeface="Arial" charset="0"/>
              <a:buChar char="▪"/>
              <a:defRPr/>
            </a:pPr>
            <a:r>
              <a:rPr lang="en-US" sz="1200" b="1" dirty="0">
                <a:solidFill>
                  <a:schemeClr val="accent3"/>
                </a:solidFill>
                <a:latin typeface="+mn-lt"/>
              </a:rPr>
              <a:t>Two strong cultures</a:t>
            </a:r>
            <a:endParaRPr lang="en-US" sz="1200" dirty="0">
              <a:latin typeface="+mn-lt"/>
            </a:endParaRPr>
          </a:p>
          <a:p>
            <a:pPr marL="193675" lvl="1" indent="-192088" defTabSz="895350" eaLnBrk="0" hangingPunct="0">
              <a:spcBef>
                <a:spcPct val="25000"/>
              </a:spcBef>
              <a:buClr>
                <a:srgbClr val="002960"/>
              </a:buClr>
              <a:buSzPct val="125000"/>
              <a:buFont typeface="Arial" charset="0"/>
              <a:buChar char="▪"/>
              <a:defRPr/>
            </a:pPr>
            <a:r>
              <a:rPr lang="en-US" sz="1200" b="1" dirty="0">
                <a:solidFill>
                  <a:srgbClr val="0563BB"/>
                </a:solidFill>
                <a:latin typeface="+mn-lt"/>
              </a:rPr>
              <a:t>Delivering value </a:t>
            </a:r>
            <a:r>
              <a:rPr lang="en-US" sz="1200" dirty="0">
                <a:latin typeface="+mn-lt"/>
              </a:rPr>
              <a:t>in an industry who has failed to do so in the last 15 years</a:t>
            </a:r>
          </a:p>
          <a:p>
            <a:pPr marL="193675" lvl="1" indent="-192088" defTabSz="895350" eaLnBrk="0" hangingPunct="0">
              <a:spcBef>
                <a:spcPct val="25000"/>
              </a:spcBef>
              <a:buClr>
                <a:srgbClr val="002960"/>
              </a:buClr>
              <a:buSzPct val="125000"/>
              <a:buFont typeface="Arial" charset="0"/>
              <a:buChar char="▪"/>
              <a:defRPr/>
            </a:pPr>
            <a:r>
              <a:rPr lang="en-US" sz="1200" b="1" dirty="0">
                <a:solidFill>
                  <a:srgbClr val="0563BB"/>
                </a:solidFill>
                <a:latin typeface="+mn-lt"/>
              </a:rPr>
              <a:t>Solutions for better building </a:t>
            </a:r>
            <a:r>
              <a:rPr lang="en-US" sz="1200" dirty="0">
                <a:latin typeface="+mn-lt"/>
              </a:rPr>
              <a:t>(energy efficient, social positive impact, etc.)</a:t>
            </a:r>
          </a:p>
          <a:p>
            <a:pPr>
              <a:spcBef>
                <a:spcPct val="50000"/>
              </a:spcBef>
              <a:buClr>
                <a:srgbClr val="002960"/>
              </a:buClr>
            </a:pPr>
            <a:r>
              <a:rPr lang="en-US" sz="1200" b="1" dirty="0">
                <a:solidFill>
                  <a:srgbClr val="0066CC"/>
                </a:solidFill>
                <a:latin typeface="+mn-lt"/>
              </a:rPr>
              <a:t>Support client asked for</a:t>
            </a:r>
          </a:p>
          <a:p>
            <a:pPr marL="193675" lvl="1" indent="-192088" defTabSz="895350" eaLnBrk="0" hangingPunct="0">
              <a:spcBef>
                <a:spcPct val="25000"/>
              </a:spcBef>
              <a:buClr>
                <a:srgbClr val="002960"/>
              </a:buClr>
              <a:buSzPct val="125000"/>
              <a:buFont typeface="Arial" charset="0"/>
              <a:buChar char="▪"/>
              <a:defRPr/>
            </a:pPr>
            <a:r>
              <a:rPr lang="en-US" sz="1200" b="1" dirty="0">
                <a:solidFill>
                  <a:srgbClr val="0066CC"/>
                </a:solidFill>
                <a:latin typeface="+mn-lt"/>
              </a:rPr>
              <a:t>Continued support throughout the integration process </a:t>
            </a:r>
            <a:r>
              <a:rPr lang="en-US" sz="1200" dirty="0">
                <a:solidFill>
                  <a:srgbClr val="000000"/>
                </a:solidFill>
                <a:latin typeface="+mn-lt"/>
              </a:rPr>
              <a:t>during pre-closing period</a:t>
            </a:r>
          </a:p>
        </p:txBody>
      </p:sp>
      <p:sp>
        <p:nvSpPr>
          <p:cNvPr id="4" name="Chevron 3"/>
          <p:cNvSpPr/>
          <p:nvPr/>
        </p:nvSpPr>
        <p:spPr>
          <a:xfrm>
            <a:off x="2816722" y="765198"/>
            <a:ext cx="159376" cy="282222"/>
          </a:xfrm>
          <a:prstGeom prst="chevron">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40" name="Chevron 39"/>
          <p:cNvSpPr/>
          <p:nvPr/>
        </p:nvSpPr>
        <p:spPr>
          <a:xfrm>
            <a:off x="5600175" y="765198"/>
            <a:ext cx="159376" cy="282222"/>
          </a:xfrm>
          <a:prstGeom prst="chevron">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27" name="Rectangle 5"/>
          <p:cNvSpPr>
            <a:spLocks noChangeArrowheads="1"/>
          </p:cNvSpPr>
          <p:nvPr/>
        </p:nvSpPr>
        <p:spPr bwMode="gray">
          <a:xfrm>
            <a:off x="5968733" y="1198593"/>
            <a:ext cx="2600593" cy="1523494"/>
          </a:xfrm>
          <a:prstGeom prst="rect">
            <a:avLst/>
          </a:prstGeom>
          <a:noFill/>
          <a:ln w="19050">
            <a:noFill/>
            <a:miter lim="800000"/>
            <a:headEnd/>
            <a:tailEnd/>
          </a:ln>
        </p:spPr>
        <p:txBody>
          <a:bodyPr lIns="0" tIns="0" rIns="0" bIns="0">
            <a:spAutoFit/>
          </a:bodyPr>
          <a:lstStyle/>
          <a:p>
            <a:pPr marL="193675" lvl="1" indent="-192088" defTabSz="895350" eaLnBrk="0" hangingPunct="0">
              <a:spcBef>
                <a:spcPct val="25000"/>
              </a:spcBef>
              <a:buClr>
                <a:srgbClr val="002960"/>
              </a:buClr>
              <a:buSzPct val="125000"/>
              <a:buFont typeface="Arial" charset="0"/>
              <a:buChar char="▪"/>
              <a:defRPr/>
            </a:pPr>
            <a:r>
              <a:rPr lang="en-US" sz="1200" b="1" dirty="0" err="1">
                <a:solidFill>
                  <a:srgbClr val="0563BB"/>
                </a:solidFill>
                <a:latin typeface="+mn-lt"/>
              </a:rPr>
              <a:t>Succesful</a:t>
            </a:r>
            <a:r>
              <a:rPr lang="en-US" sz="1200" b="1" dirty="0">
                <a:solidFill>
                  <a:srgbClr val="0563BB"/>
                </a:solidFill>
                <a:latin typeface="+mn-lt"/>
              </a:rPr>
              <a:t> Day 1</a:t>
            </a:r>
          </a:p>
          <a:p>
            <a:pPr marL="193675" lvl="1" indent="-192088" defTabSz="895350" eaLnBrk="0" hangingPunct="0">
              <a:spcBef>
                <a:spcPct val="25000"/>
              </a:spcBef>
              <a:buClr>
                <a:srgbClr val="002960"/>
              </a:buClr>
              <a:buSzPct val="125000"/>
              <a:buFont typeface="Arial" charset="0"/>
              <a:buChar char="▪"/>
              <a:defRPr/>
            </a:pPr>
            <a:r>
              <a:rPr lang="fr-BE" sz="1200" dirty="0">
                <a:solidFill>
                  <a:srgbClr val="000000"/>
                </a:solidFill>
                <a:latin typeface="+mn-lt"/>
              </a:rPr>
              <a:t>Full </a:t>
            </a:r>
            <a:r>
              <a:rPr lang="fr-BE" sz="1200" dirty="0" err="1">
                <a:solidFill>
                  <a:srgbClr val="000000"/>
                </a:solidFill>
                <a:latin typeface="+mn-lt"/>
              </a:rPr>
              <a:t>realization</a:t>
            </a:r>
            <a:r>
              <a:rPr lang="fr-BE" sz="1200" dirty="0">
                <a:solidFill>
                  <a:srgbClr val="000000"/>
                </a:solidFill>
                <a:latin typeface="+mn-lt"/>
              </a:rPr>
              <a:t> of synergies</a:t>
            </a:r>
          </a:p>
          <a:p>
            <a:pPr marL="193675" lvl="1" indent="-192088" defTabSz="895350" eaLnBrk="0" hangingPunct="0">
              <a:spcBef>
                <a:spcPct val="25000"/>
              </a:spcBef>
              <a:buClr>
                <a:srgbClr val="002960"/>
              </a:buClr>
              <a:buSzPct val="125000"/>
              <a:buFont typeface="Arial" charset="0"/>
              <a:buChar char="▪"/>
              <a:defRPr/>
            </a:pPr>
            <a:r>
              <a:rPr lang="fr-BE" sz="1200" dirty="0">
                <a:solidFill>
                  <a:srgbClr val="000000"/>
                </a:solidFill>
                <a:latin typeface="+mn-lt"/>
              </a:rPr>
              <a:t>Full </a:t>
            </a:r>
            <a:r>
              <a:rPr lang="fr-BE" sz="1200" b="1" dirty="0" err="1">
                <a:solidFill>
                  <a:srgbClr val="0563BB"/>
                </a:solidFill>
                <a:latin typeface="+mn-lt"/>
              </a:rPr>
              <a:t>reorganization</a:t>
            </a:r>
            <a:r>
              <a:rPr lang="fr-BE" sz="1200" b="1" dirty="0">
                <a:solidFill>
                  <a:srgbClr val="0563BB"/>
                </a:solidFill>
                <a:latin typeface="+mn-lt"/>
              </a:rPr>
              <a:t> </a:t>
            </a:r>
            <a:r>
              <a:rPr lang="fr-BE" sz="1200" dirty="0">
                <a:solidFill>
                  <a:srgbClr val="000000"/>
                </a:solidFill>
                <a:latin typeface="+mn-lt"/>
              </a:rPr>
              <a:t>of </a:t>
            </a:r>
            <a:r>
              <a:rPr lang="fr-BE" sz="1200" dirty="0" err="1">
                <a:solidFill>
                  <a:srgbClr val="000000"/>
                </a:solidFill>
                <a:latin typeface="+mn-lt"/>
              </a:rPr>
              <a:t>corporate</a:t>
            </a:r>
            <a:r>
              <a:rPr lang="fr-BE" sz="1200" dirty="0">
                <a:solidFill>
                  <a:srgbClr val="000000"/>
                </a:solidFill>
                <a:latin typeface="+mn-lt"/>
              </a:rPr>
              <a:t> </a:t>
            </a:r>
            <a:r>
              <a:rPr lang="fr-BE" sz="1200" dirty="0" err="1">
                <a:solidFill>
                  <a:srgbClr val="000000"/>
                </a:solidFill>
                <a:latin typeface="+mn-lt"/>
              </a:rPr>
              <a:t>functions</a:t>
            </a:r>
            <a:endParaRPr lang="fr-BE" sz="1200" dirty="0">
              <a:solidFill>
                <a:srgbClr val="000000"/>
              </a:solidFill>
              <a:latin typeface="+mn-lt"/>
            </a:endParaRPr>
          </a:p>
          <a:p>
            <a:pPr marL="193675" lvl="1" indent="-192088" defTabSz="895350" eaLnBrk="0" hangingPunct="0">
              <a:spcBef>
                <a:spcPct val="25000"/>
              </a:spcBef>
              <a:buClr>
                <a:srgbClr val="002960"/>
              </a:buClr>
              <a:buSzPct val="125000"/>
              <a:buFont typeface="Arial" charset="0"/>
              <a:buChar char="▪"/>
              <a:defRPr/>
            </a:pPr>
            <a:r>
              <a:rPr lang="fr-BE" sz="1200" dirty="0" err="1">
                <a:solidFill>
                  <a:srgbClr val="000000"/>
                </a:solidFill>
                <a:latin typeface="+mn-lt"/>
              </a:rPr>
              <a:t>Definition</a:t>
            </a:r>
            <a:r>
              <a:rPr lang="fr-BE" sz="1200" dirty="0">
                <a:solidFill>
                  <a:srgbClr val="000000"/>
                </a:solidFill>
                <a:latin typeface="+mn-lt"/>
              </a:rPr>
              <a:t> of </a:t>
            </a:r>
            <a:r>
              <a:rPr lang="fr-BE" sz="1200" b="1" dirty="0">
                <a:solidFill>
                  <a:srgbClr val="0563BB"/>
                </a:solidFill>
                <a:latin typeface="+mn-lt"/>
              </a:rPr>
              <a:t>new operating model</a:t>
            </a:r>
          </a:p>
          <a:p>
            <a:pPr marL="193675" lvl="1" indent="-192088" defTabSz="895350" eaLnBrk="0" hangingPunct="0">
              <a:spcBef>
                <a:spcPct val="25000"/>
              </a:spcBef>
              <a:buClr>
                <a:srgbClr val="002960"/>
              </a:buClr>
              <a:buSzPct val="125000"/>
              <a:buFont typeface="Arial" charset="0"/>
              <a:buChar char="▪"/>
              <a:defRPr/>
            </a:pPr>
            <a:r>
              <a:rPr lang="fr-BE" sz="1200" dirty="0">
                <a:solidFill>
                  <a:srgbClr val="000000"/>
                </a:solidFill>
                <a:latin typeface="+mn-lt"/>
              </a:rPr>
              <a:t>Full </a:t>
            </a:r>
            <a:r>
              <a:rPr lang="fr-BE" sz="1200" b="1" dirty="0">
                <a:solidFill>
                  <a:srgbClr val="0563BB"/>
                </a:solidFill>
                <a:latin typeface="+mn-lt"/>
              </a:rPr>
              <a:t>IT roadmap</a:t>
            </a:r>
          </a:p>
          <a:p>
            <a:pPr marL="193675" lvl="1" indent="-192088" defTabSz="895350" eaLnBrk="0" hangingPunct="0">
              <a:spcBef>
                <a:spcPct val="25000"/>
              </a:spcBef>
              <a:buClr>
                <a:srgbClr val="002960"/>
              </a:buClr>
              <a:buSzPct val="125000"/>
              <a:buFont typeface="Arial" charset="0"/>
              <a:buChar char="▪"/>
              <a:defRPr/>
            </a:pPr>
            <a:r>
              <a:rPr lang="fr-BE" sz="1200" b="1" dirty="0">
                <a:solidFill>
                  <a:srgbClr val="0563BB"/>
                </a:solidFill>
                <a:latin typeface="+mn-lt"/>
              </a:rPr>
              <a:t>New </a:t>
            </a:r>
            <a:r>
              <a:rPr lang="fr-BE" sz="1200" b="1" dirty="0" err="1">
                <a:solidFill>
                  <a:srgbClr val="0563BB"/>
                </a:solidFill>
                <a:latin typeface="+mn-lt"/>
              </a:rPr>
              <a:t>strategy</a:t>
            </a:r>
            <a:r>
              <a:rPr lang="fr-BE" sz="1200" b="1" dirty="0">
                <a:solidFill>
                  <a:srgbClr val="0563BB"/>
                </a:solidFill>
                <a:latin typeface="+mn-lt"/>
              </a:rPr>
              <a:t> </a:t>
            </a:r>
            <a:r>
              <a:rPr lang="fr-BE" sz="1200" dirty="0" err="1">
                <a:solidFill>
                  <a:srgbClr val="000000"/>
                </a:solidFill>
                <a:latin typeface="+mn-lt"/>
              </a:rPr>
              <a:t>defined</a:t>
            </a:r>
            <a:endParaRPr lang="en-US" sz="1200" dirty="0">
              <a:solidFill>
                <a:srgbClr val="000000"/>
              </a:solidFill>
              <a:latin typeface="+mn-lt"/>
            </a:endParaRPr>
          </a:p>
        </p:txBody>
      </p:sp>
      <p:sp>
        <p:nvSpPr>
          <p:cNvPr id="24" name="Title Tracker Circle">
            <a:extLst>
              <a:ext uri="{FF2B5EF4-FFF2-40B4-BE49-F238E27FC236}">
                <a16:creationId xmlns:a16="http://schemas.microsoft.com/office/drawing/2014/main" id="{3C968970-28A1-4E86-A080-334AF448F9EE}"/>
              </a:ext>
            </a:extLst>
          </p:cNvPr>
          <p:cNvSpPr/>
          <p:nvPr/>
        </p:nvSpPr>
        <p:spPr>
          <a:xfrm>
            <a:off x="119063" y="166736"/>
            <a:ext cx="418798" cy="418798"/>
          </a:xfrm>
          <a:prstGeom prst="ellipse">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p>
            <a:pPr algn="ctr"/>
            <a:r>
              <a:rPr lang="en-US" sz="2000" dirty="0">
                <a:solidFill>
                  <a:schemeClr val="tx2"/>
                </a:solidFill>
                <a:latin typeface="+mj-lt"/>
              </a:rPr>
              <a:t>2C</a:t>
            </a:r>
          </a:p>
        </p:txBody>
      </p:sp>
      <p:sp>
        <p:nvSpPr>
          <p:cNvPr id="23" name="5. Source">
            <a:extLst>
              <a:ext uri="{FF2B5EF4-FFF2-40B4-BE49-F238E27FC236}">
                <a16:creationId xmlns:a16="http://schemas.microsoft.com/office/drawing/2014/main" id="{9AD80289-9A68-4E89-862B-F7D07D5D3900}"/>
              </a:ext>
            </a:extLst>
          </p:cNvPr>
          <p:cNvSpPr>
            <a:spLocks noChangeArrowheads="1"/>
          </p:cNvSpPr>
          <p:nvPr>
            <p:custDataLst>
              <p:tags r:id="rId5"/>
            </p:custDataLst>
          </p:nvPr>
        </p:nvSpPr>
        <p:spPr bwMode="gray">
          <a:xfrm>
            <a:off x="119063" y="6507558"/>
            <a:ext cx="7200000" cy="123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marL="609600" indent="-609600" defTabSz="895350">
              <a:tabLst>
                <a:tab pos="612775" algn="l"/>
              </a:tabLst>
            </a:pPr>
            <a:r>
              <a:rPr lang="en-US" altLang="zh-CN" sz="800" dirty="0">
                <a:solidFill>
                  <a:schemeClr val="accent6"/>
                </a:solidFill>
                <a:latin typeface="Arial" panose="020B0604020202020204" pitchFamily="34" charset="0"/>
              </a:rPr>
              <a:t>SOURCE: McKinsey Merger Management Practice</a:t>
            </a:r>
          </a:p>
        </p:txBody>
      </p:sp>
    </p:spTree>
    <p:custDataLst>
      <p:tags r:id="rId2"/>
    </p:custDataLst>
    <p:extLst>
      <p:ext uri="{BB962C8B-B14F-4D97-AF65-F5344CB8AC3E}">
        <p14:creationId xmlns:p14="http://schemas.microsoft.com/office/powerpoint/2010/main" val="3519712342"/>
      </p:ext>
    </p:extLst>
  </p:cSld>
  <p:clrMapOvr>
    <a:masterClrMapping/>
  </p:clrMapOvr>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19063" y="230188"/>
            <a:ext cx="8618537" cy="307777"/>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marL="465138"/>
            <a:r>
              <a:rPr lang="en-US" dirty="0"/>
              <a:t>Case study: India merger of 2 Pharma cos to create global leader</a:t>
            </a:r>
            <a:endParaRPr lang="en-GB" dirty="0"/>
          </a:p>
        </p:txBody>
      </p:sp>
      <p:sp>
        <p:nvSpPr>
          <p:cNvPr id="3" name="5. Source"/>
          <p:cNvSpPr>
            <a:spLocks noChangeArrowheads="1"/>
          </p:cNvSpPr>
          <p:nvPr/>
        </p:nvSpPr>
        <p:spPr bwMode="gray">
          <a:xfrm>
            <a:off x="119063" y="6507558"/>
            <a:ext cx="7200000"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marL="609600" indent="-609600" defTabSz="895350">
              <a:tabLst>
                <a:tab pos="630238" algn="l"/>
              </a:tabLst>
            </a:pPr>
            <a:r>
              <a:rPr lang="en-US" sz="800" dirty="0">
                <a:solidFill>
                  <a:schemeClr val="accent6"/>
                </a:solidFill>
                <a:latin typeface="Arial" panose="020B0604020202020204" pitchFamily="34" charset="0"/>
              </a:rPr>
              <a:t>SOURCE: McKinsey Merger Management Practice</a:t>
            </a:r>
          </a:p>
        </p:txBody>
      </p:sp>
      <p:sp>
        <p:nvSpPr>
          <p:cNvPr id="5" name="Freeform 63"/>
          <p:cNvSpPr>
            <a:spLocks/>
          </p:cNvSpPr>
          <p:nvPr/>
        </p:nvSpPr>
        <p:spPr bwMode="gray">
          <a:xfrm>
            <a:off x="7063182" y="1792467"/>
            <a:ext cx="1604562" cy="4515747"/>
          </a:xfrm>
          <a:custGeom>
            <a:avLst/>
            <a:gdLst>
              <a:gd name="T0" fmla="*/ 0 w 1516"/>
              <a:gd name="T1" fmla="*/ 338 h 3047"/>
              <a:gd name="T2" fmla="*/ 199 w 1516"/>
              <a:gd name="T3" fmla="*/ 228 h 3047"/>
              <a:gd name="T4" fmla="*/ 482 w 1516"/>
              <a:gd name="T5" fmla="*/ 102 h 3047"/>
              <a:gd name="T6" fmla="*/ 828 w 1516"/>
              <a:gd name="T7" fmla="*/ 24 h 3047"/>
              <a:gd name="T8" fmla="*/ 1129 w 1516"/>
              <a:gd name="T9" fmla="*/ 0 h 3047"/>
              <a:gd name="T10" fmla="*/ 1516 w 1516"/>
              <a:gd name="T11" fmla="*/ 18 h 3047"/>
              <a:gd name="T12" fmla="*/ 1504 w 1516"/>
              <a:gd name="T13" fmla="*/ 78 h 3047"/>
              <a:gd name="T14" fmla="*/ 1493 w 1516"/>
              <a:gd name="T15" fmla="*/ 3037 h 3047"/>
              <a:gd name="T16" fmla="*/ 5 w 1516"/>
              <a:gd name="T17" fmla="*/ 3047 h 3047"/>
              <a:gd name="T18" fmla="*/ 0 w 1516"/>
              <a:gd name="T19" fmla="*/ 338 h 3047"/>
              <a:gd name="connsiteX0" fmla="*/ 0 w 9989"/>
              <a:gd name="connsiteY0" fmla="*/ 1228 h 10000"/>
              <a:gd name="connsiteX1" fmla="*/ 1302 w 9989"/>
              <a:gd name="connsiteY1" fmla="*/ 748 h 10000"/>
              <a:gd name="connsiteX2" fmla="*/ 3168 w 9989"/>
              <a:gd name="connsiteY2" fmla="*/ 335 h 10000"/>
              <a:gd name="connsiteX3" fmla="*/ 5451 w 9989"/>
              <a:gd name="connsiteY3" fmla="*/ 79 h 10000"/>
              <a:gd name="connsiteX4" fmla="*/ 7436 w 9989"/>
              <a:gd name="connsiteY4" fmla="*/ 0 h 10000"/>
              <a:gd name="connsiteX5" fmla="*/ 9989 w 9989"/>
              <a:gd name="connsiteY5" fmla="*/ 59 h 10000"/>
              <a:gd name="connsiteX6" fmla="*/ 9910 w 9989"/>
              <a:gd name="connsiteY6" fmla="*/ 256 h 10000"/>
              <a:gd name="connsiteX7" fmla="*/ 9837 w 9989"/>
              <a:gd name="connsiteY7" fmla="*/ 9967 h 10000"/>
              <a:gd name="connsiteX8" fmla="*/ 22 w 9989"/>
              <a:gd name="connsiteY8" fmla="*/ 10000 h 10000"/>
              <a:gd name="connsiteX9" fmla="*/ 0 w 9989"/>
              <a:gd name="connsiteY9" fmla="*/ 1228 h 10000"/>
              <a:gd name="connsiteX0" fmla="*/ 0 w 10000"/>
              <a:gd name="connsiteY0" fmla="*/ 1228 h 10000"/>
              <a:gd name="connsiteX1" fmla="*/ 1335 w 10000"/>
              <a:gd name="connsiteY1" fmla="*/ 812 h 10000"/>
              <a:gd name="connsiteX2" fmla="*/ 3171 w 10000"/>
              <a:gd name="connsiteY2" fmla="*/ 335 h 10000"/>
              <a:gd name="connsiteX3" fmla="*/ 5457 w 10000"/>
              <a:gd name="connsiteY3" fmla="*/ 79 h 10000"/>
              <a:gd name="connsiteX4" fmla="*/ 7444 w 10000"/>
              <a:gd name="connsiteY4" fmla="*/ 0 h 10000"/>
              <a:gd name="connsiteX5" fmla="*/ 10000 w 10000"/>
              <a:gd name="connsiteY5" fmla="*/ 59 h 10000"/>
              <a:gd name="connsiteX6" fmla="*/ 9921 w 10000"/>
              <a:gd name="connsiteY6" fmla="*/ 256 h 10000"/>
              <a:gd name="connsiteX7" fmla="*/ 9848 w 10000"/>
              <a:gd name="connsiteY7" fmla="*/ 9967 h 10000"/>
              <a:gd name="connsiteX8" fmla="*/ 22 w 10000"/>
              <a:gd name="connsiteY8" fmla="*/ 10000 h 10000"/>
              <a:gd name="connsiteX9" fmla="*/ 0 w 10000"/>
              <a:gd name="connsiteY9" fmla="*/ 1228 h 10000"/>
              <a:gd name="connsiteX0" fmla="*/ 0 w 10000"/>
              <a:gd name="connsiteY0" fmla="*/ 1228 h 10000"/>
              <a:gd name="connsiteX1" fmla="*/ 1335 w 10000"/>
              <a:gd name="connsiteY1" fmla="*/ 812 h 10000"/>
              <a:gd name="connsiteX2" fmla="*/ 3192 w 10000"/>
              <a:gd name="connsiteY2" fmla="*/ 395 h 10000"/>
              <a:gd name="connsiteX3" fmla="*/ 5457 w 10000"/>
              <a:gd name="connsiteY3" fmla="*/ 79 h 10000"/>
              <a:gd name="connsiteX4" fmla="*/ 7444 w 10000"/>
              <a:gd name="connsiteY4" fmla="*/ 0 h 10000"/>
              <a:gd name="connsiteX5" fmla="*/ 10000 w 10000"/>
              <a:gd name="connsiteY5" fmla="*/ 59 h 10000"/>
              <a:gd name="connsiteX6" fmla="*/ 9921 w 10000"/>
              <a:gd name="connsiteY6" fmla="*/ 256 h 10000"/>
              <a:gd name="connsiteX7" fmla="*/ 9848 w 10000"/>
              <a:gd name="connsiteY7" fmla="*/ 9967 h 10000"/>
              <a:gd name="connsiteX8" fmla="*/ 22 w 10000"/>
              <a:gd name="connsiteY8" fmla="*/ 10000 h 10000"/>
              <a:gd name="connsiteX9" fmla="*/ 0 w 10000"/>
              <a:gd name="connsiteY9" fmla="*/ 1228 h 10000"/>
              <a:gd name="connsiteX0" fmla="*/ 52 w 9979"/>
              <a:gd name="connsiteY0" fmla="*/ 1367 h 10000"/>
              <a:gd name="connsiteX1" fmla="*/ 1314 w 9979"/>
              <a:gd name="connsiteY1" fmla="*/ 812 h 10000"/>
              <a:gd name="connsiteX2" fmla="*/ 3171 w 9979"/>
              <a:gd name="connsiteY2" fmla="*/ 395 h 10000"/>
              <a:gd name="connsiteX3" fmla="*/ 5436 w 9979"/>
              <a:gd name="connsiteY3" fmla="*/ 79 h 10000"/>
              <a:gd name="connsiteX4" fmla="*/ 7423 w 9979"/>
              <a:gd name="connsiteY4" fmla="*/ 0 h 10000"/>
              <a:gd name="connsiteX5" fmla="*/ 9979 w 9979"/>
              <a:gd name="connsiteY5" fmla="*/ 59 h 10000"/>
              <a:gd name="connsiteX6" fmla="*/ 9900 w 9979"/>
              <a:gd name="connsiteY6" fmla="*/ 256 h 10000"/>
              <a:gd name="connsiteX7" fmla="*/ 9827 w 9979"/>
              <a:gd name="connsiteY7" fmla="*/ 9967 h 10000"/>
              <a:gd name="connsiteX8" fmla="*/ 1 w 9979"/>
              <a:gd name="connsiteY8" fmla="*/ 10000 h 10000"/>
              <a:gd name="connsiteX9" fmla="*/ 52 w 9979"/>
              <a:gd name="connsiteY9" fmla="*/ 1367 h 10000"/>
              <a:gd name="connsiteX0" fmla="*/ 52 w 10036"/>
              <a:gd name="connsiteY0" fmla="*/ 1487 h 10120"/>
              <a:gd name="connsiteX1" fmla="*/ 1317 w 10036"/>
              <a:gd name="connsiteY1" fmla="*/ 932 h 10120"/>
              <a:gd name="connsiteX2" fmla="*/ 3178 w 10036"/>
              <a:gd name="connsiteY2" fmla="*/ 515 h 10120"/>
              <a:gd name="connsiteX3" fmla="*/ 5447 w 10036"/>
              <a:gd name="connsiteY3" fmla="*/ 199 h 10120"/>
              <a:gd name="connsiteX4" fmla="*/ 7439 w 10036"/>
              <a:gd name="connsiteY4" fmla="*/ 120 h 10120"/>
              <a:gd name="connsiteX5" fmla="*/ 10036 w 10036"/>
              <a:gd name="connsiteY5" fmla="*/ 0 h 10120"/>
              <a:gd name="connsiteX6" fmla="*/ 9921 w 10036"/>
              <a:gd name="connsiteY6" fmla="*/ 376 h 10120"/>
              <a:gd name="connsiteX7" fmla="*/ 9848 w 10036"/>
              <a:gd name="connsiteY7" fmla="*/ 10087 h 10120"/>
              <a:gd name="connsiteX8" fmla="*/ 1 w 10036"/>
              <a:gd name="connsiteY8" fmla="*/ 10120 h 10120"/>
              <a:gd name="connsiteX9" fmla="*/ 52 w 10036"/>
              <a:gd name="connsiteY9" fmla="*/ 1487 h 10120"/>
              <a:gd name="connsiteX0" fmla="*/ 52 w 10036"/>
              <a:gd name="connsiteY0" fmla="*/ 1487 h 10120"/>
              <a:gd name="connsiteX1" fmla="*/ 1317 w 10036"/>
              <a:gd name="connsiteY1" fmla="*/ 932 h 10120"/>
              <a:gd name="connsiteX2" fmla="*/ 3292 w 10036"/>
              <a:gd name="connsiteY2" fmla="*/ 388 h 10120"/>
              <a:gd name="connsiteX3" fmla="*/ 5447 w 10036"/>
              <a:gd name="connsiteY3" fmla="*/ 199 h 10120"/>
              <a:gd name="connsiteX4" fmla="*/ 7439 w 10036"/>
              <a:gd name="connsiteY4" fmla="*/ 120 h 10120"/>
              <a:gd name="connsiteX5" fmla="*/ 10036 w 10036"/>
              <a:gd name="connsiteY5" fmla="*/ 0 h 10120"/>
              <a:gd name="connsiteX6" fmla="*/ 9921 w 10036"/>
              <a:gd name="connsiteY6" fmla="*/ 376 h 10120"/>
              <a:gd name="connsiteX7" fmla="*/ 9848 w 10036"/>
              <a:gd name="connsiteY7" fmla="*/ 10087 h 10120"/>
              <a:gd name="connsiteX8" fmla="*/ 1 w 10036"/>
              <a:gd name="connsiteY8" fmla="*/ 10120 h 10120"/>
              <a:gd name="connsiteX9" fmla="*/ 52 w 10036"/>
              <a:gd name="connsiteY9" fmla="*/ 1487 h 10120"/>
              <a:gd name="connsiteX0" fmla="*/ 52 w 10036"/>
              <a:gd name="connsiteY0" fmla="*/ 1494 h 10127"/>
              <a:gd name="connsiteX1" fmla="*/ 1317 w 10036"/>
              <a:gd name="connsiteY1" fmla="*/ 939 h 10127"/>
              <a:gd name="connsiteX2" fmla="*/ 3292 w 10036"/>
              <a:gd name="connsiteY2" fmla="*/ 395 h 10127"/>
              <a:gd name="connsiteX3" fmla="*/ 5447 w 10036"/>
              <a:gd name="connsiteY3" fmla="*/ 206 h 10127"/>
              <a:gd name="connsiteX4" fmla="*/ 7485 w 10036"/>
              <a:gd name="connsiteY4" fmla="*/ 0 h 10127"/>
              <a:gd name="connsiteX5" fmla="*/ 10036 w 10036"/>
              <a:gd name="connsiteY5" fmla="*/ 7 h 10127"/>
              <a:gd name="connsiteX6" fmla="*/ 9921 w 10036"/>
              <a:gd name="connsiteY6" fmla="*/ 383 h 10127"/>
              <a:gd name="connsiteX7" fmla="*/ 9848 w 10036"/>
              <a:gd name="connsiteY7" fmla="*/ 10094 h 10127"/>
              <a:gd name="connsiteX8" fmla="*/ 1 w 10036"/>
              <a:gd name="connsiteY8" fmla="*/ 10127 h 10127"/>
              <a:gd name="connsiteX9" fmla="*/ 52 w 10036"/>
              <a:gd name="connsiteY9" fmla="*/ 1494 h 10127"/>
              <a:gd name="connsiteX0" fmla="*/ 52 w 10036"/>
              <a:gd name="connsiteY0" fmla="*/ 1494 h 10127"/>
              <a:gd name="connsiteX1" fmla="*/ 1385 w 10036"/>
              <a:gd name="connsiteY1" fmla="*/ 722 h 10127"/>
              <a:gd name="connsiteX2" fmla="*/ 3292 w 10036"/>
              <a:gd name="connsiteY2" fmla="*/ 395 h 10127"/>
              <a:gd name="connsiteX3" fmla="*/ 5447 w 10036"/>
              <a:gd name="connsiteY3" fmla="*/ 206 h 10127"/>
              <a:gd name="connsiteX4" fmla="*/ 7485 w 10036"/>
              <a:gd name="connsiteY4" fmla="*/ 0 h 10127"/>
              <a:gd name="connsiteX5" fmla="*/ 10036 w 10036"/>
              <a:gd name="connsiteY5" fmla="*/ 7 h 10127"/>
              <a:gd name="connsiteX6" fmla="*/ 9921 w 10036"/>
              <a:gd name="connsiteY6" fmla="*/ 383 h 10127"/>
              <a:gd name="connsiteX7" fmla="*/ 9848 w 10036"/>
              <a:gd name="connsiteY7" fmla="*/ 10094 h 10127"/>
              <a:gd name="connsiteX8" fmla="*/ 1 w 10036"/>
              <a:gd name="connsiteY8" fmla="*/ 10127 h 10127"/>
              <a:gd name="connsiteX9" fmla="*/ 52 w 10036"/>
              <a:gd name="connsiteY9" fmla="*/ 1494 h 10127"/>
              <a:gd name="connsiteX0" fmla="*/ 52 w 10036"/>
              <a:gd name="connsiteY0" fmla="*/ 1051 h 10127"/>
              <a:gd name="connsiteX1" fmla="*/ 1385 w 10036"/>
              <a:gd name="connsiteY1" fmla="*/ 722 h 10127"/>
              <a:gd name="connsiteX2" fmla="*/ 3292 w 10036"/>
              <a:gd name="connsiteY2" fmla="*/ 395 h 10127"/>
              <a:gd name="connsiteX3" fmla="*/ 5447 w 10036"/>
              <a:gd name="connsiteY3" fmla="*/ 206 h 10127"/>
              <a:gd name="connsiteX4" fmla="*/ 7485 w 10036"/>
              <a:gd name="connsiteY4" fmla="*/ 0 h 10127"/>
              <a:gd name="connsiteX5" fmla="*/ 10036 w 10036"/>
              <a:gd name="connsiteY5" fmla="*/ 7 h 10127"/>
              <a:gd name="connsiteX6" fmla="*/ 9921 w 10036"/>
              <a:gd name="connsiteY6" fmla="*/ 383 h 10127"/>
              <a:gd name="connsiteX7" fmla="*/ 9848 w 10036"/>
              <a:gd name="connsiteY7" fmla="*/ 10094 h 10127"/>
              <a:gd name="connsiteX8" fmla="*/ 1 w 10036"/>
              <a:gd name="connsiteY8" fmla="*/ 10127 h 10127"/>
              <a:gd name="connsiteX9" fmla="*/ 52 w 10036"/>
              <a:gd name="connsiteY9" fmla="*/ 1051 h 10127"/>
              <a:gd name="connsiteX0" fmla="*/ 52 w 10036"/>
              <a:gd name="connsiteY0" fmla="*/ 1051 h 10127"/>
              <a:gd name="connsiteX1" fmla="*/ 1615 w 10036"/>
              <a:gd name="connsiteY1" fmla="*/ 586 h 10127"/>
              <a:gd name="connsiteX2" fmla="*/ 3292 w 10036"/>
              <a:gd name="connsiteY2" fmla="*/ 395 h 10127"/>
              <a:gd name="connsiteX3" fmla="*/ 5447 w 10036"/>
              <a:gd name="connsiteY3" fmla="*/ 206 h 10127"/>
              <a:gd name="connsiteX4" fmla="*/ 7485 w 10036"/>
              <a:gd name="connsiteY4" fmla="*/ 0 h 10127"/>
              <a:gd name="connsiteX5" fmla="*/ 10036 w 10036"/>
              <a:gd name="connsiteY5" fmla="*/ 7 h 10127"/>
              <a:gd name="connsiteX6" fmla="*/ 9921 w 10036"/>
              <a:gd name="connsiteY6" fmla="*/ 383 h 10127"/>
              <a:gd name="connsiteX7" fmla="*/ 9848 w 10036"/>
              <a:gd name="connsiteY7" fmla="*/ 10094 h 10127"/>
              <a:gd name="connsiteX8" fmla="*/ 1 w 10036"/>
              <a:gd name="connsiteY8" fmla="*/ 10127 h 10127"/>
              <a:gd name="connsiteX9" fmla="*/ 52 w 10036"/>
              <a:gd name="connsiteY9" fmla="*/ 1051 h 10127"/>
              <a:gd name="connsiteX0" fmla="*/ 52 w 10036"/>
              <a:gd name="connsiteY0" fmla="*/ 1051 h 10127"/>
              <a:gd name="connsiteX1" fmla="*/ 1615 w 10036"/>
              <a:gd name="connsiteY1" fmla="*/ 586 h 10127"/>
              <a:gd name="connsiteX2" fmla="*/ 3667 w 10036"/>
              <a:gd name="connsiteY2" fmla="*/ 254 h 10127"/>
              <a:gd name="connsiteX3" fmla="*/ 5447 w 10036"/>
              <a:gd name="connsiteY3" fmla="*/ 206 h 10127"/>
              <a:gd name="connsiteX4" fmla="*/ 7485 w 10036"/>
              <a:gd name="connsiteY4" fmla="*/ 0 h 10127"/>
              <a:gd name="connsiteX5" fmla="*/ 10036 w 10036"/>
              <a:gd name="connsiteY5" fmla="*/ 7 h 10127"/>
              <a:gd name="connsiteX6" fmla="*/ 9921 w 10036"/>
              <a:gd name="connsiteY6" fmla="*/ 383 h 10127"/>
              <a:gd name="connsiteX7" fmla="*/ 9848 w 10036"/>
              <a:gd name="connsiteY7" fmla="*/ 10094 h 10127"/>
              <a:gd name="connsiteX8" fmla="*/ 1 w 10036"/>
              <a:gd name="connsiteY8" fmla="*/ 10127 h 10127"/>
              <a:gd name="connsiteX9" fmla="*/ 52 w 10036"/>
              <a:gd name="connsiteY9" fmla="*/ 1051 h 10127"/>
              <a:gd name="connsiteX0" fmla="*/ 52 w 10036"/>
              <a:gd name="connsiteY0" fmla="*/ 1051 h 10127"/>
              <a:gd name="connsiteX1" fmla="*/ 1615 w 10036"/>
              <a:gd name="connsiteY1" fmla="*/ 586 h 10127"/>
              <a:gd name="connsiteX2" fmla="*/ 3667 w 10036"/>
              <a:gd name="connsiteY2" fmla="*/ 254 h 10127"/>
              <a:gd name="connsiteX3" fmla="*/ 5894 w 10036"/>
              <a:gd name="connsiteY3" fmla="*/ 81 h 10127"/>
              <a:gd name="connsiteX4" fmla="*/ 7485 w 10036"/>
              <a:gd name="connsiteY4" fmla="*/ 0 h 10127"/>
              <a:gd name="connsiteX5" fmla="*/ 10036 w 10036"/>
              <a:gd name="connsiteY5" fmla="*/ 7 h 10127"/>
              <a:gd name="connsiteX6" fmla="*/ 9921 w 10036"/>
              <a:gd name="connsiteY6" fmla="*/ 383 h 10127"/>
              <a:gd name="connsiteX7" fmla="*/ 9848 w 10036"/>
              <a:gd name="connsiteY7" fmla="*/ 10094 h 10127"/>
              <a:gd name="connsiteX8" fmla="*/ 1 w 10036"/>
              <a:gd name="connsiteY8" fmla="*/ 10127 h 10127"/>
              <a:gd name="connsiteX9" fmla="*/ 52 w 10036"/>
              <a:gd name="connsiteY9" fmla="*/ 1051 h 10127"/>
              <a:gd name="connsiteX0" fmla="*/ 52 w 9935"/>
              <a:gd name="connsiteY0" fmla="*/ 1060 h 10136"/>
              <a:gd name="connsiteX1" fmla="*/ 1615 w 9935"/>
              <a:gd name="connsiteY1" fmla="*/ 595 h 10136"/>
              <a:gd name="connsiteX2" fmla="*/ 3667 w 9935"/>
              <a:gd name="connsiteY2" fmla="*/ 263 h 10136"/>
              <a:gd name="connsiteX3" fmla="*/ 5894 w 9935"/>
              <a:gd name="connsiteY3" fmla="*/ 90 h 10136"/>
              <a:gd name="connsiteX4" fmla="*/ 7485 w 9935"/>
              <a:gd name="connsiteY4" fmla="*/ 9 h 10136"/>
              <a:gd name="connsiteX5" fmla="*/ 9935 w 9935"/>
              <a:gd name="connsiteY5" fmla="*/ 0 h 10136"/>
              <a:gd name="connsiteX6" fmla="*/ 9921 w 9935"/>
              <a:gd name="connsiteY6" fmla="*/ 392 h 10136"/>
              <a:gd name="connsiteX7" fmla="*/ 9848 w 9935"/>
              <a:gd name="connsiteY7" fmla="*/ 10103 h 10136"/>
              <a:gd name="connsiteX8" fmla="*/ 1 w 9935"/>
              <a:gd name="connsiteY8" fmla="*/ 10136 h 10136"/>
              <a:gd name="connsiteX9" fmla="*/ 52 w 9935"/>
              <a:gd name="connsiteY9" fmla="*/ 1060 h 10136"/>
              <a:gd name="connsiteX0" fmla="*/ 81 w 10000"/>
              <a:gd name="connsiteY0" fmla="*/ 984 h 10000"/>
              <a:gd name="connsiteX1" fmla="*/ 1626 w 10000"/>
              <a:gd name="connsiteY1" fmla="*/ 587 h 10000"/>
              <a:gd name="connsiteX2" fmla="*/ 3691 w 10000"/>
              <a:gd name="connsiteY2" fmla="*/ 259 h 10000"/>
              <a:gd name="connsiteX3" fmla="*/ 5933 w 10000"/>
              <a:gd name="connsiteY3" fmla="*/ 89 h 10000"/>
              <a:gd name="connsiteX4" fmla="*/ 7534 w 10000"/>
              <a:gd name="connsiteY4" fmla="*/ 9 h 10000"/>
              <a:gd name="connsiteX5" fmla="*/ 10000 w 10000"/>
              <a:gd name="connsiteY5" fmla="*/ 0 h 10000"/>
              <a:gd name="connsiteX6" fmla="*/ 9986 w 10000"/>
              <a:gd name="connsiteY6" fmla="*/ 387 h 10000"/>
              <a:gd name="connsiteX7" fmla="*/ 9912 w 10000"/>
              <a:gd name="connsiteY7" fmla="*/ 9967 h 10000"/>
              <a:gd name="connsiteX8" fmla="*/ 1 w 10000"/>
              <a:gd name="connsiteY8" fmla="*/ 10000 h 10000"/>
              <a:gd name="connsiteX9" fmla="*/ 81 w 10000"/>
              <a:gd name="connsiteY9" fmla="*/ 984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000" h="10000">
                <a:moveTo>
                  <a:pt x="81" y="984"/>
                </a:moveTo>
                <a:lnTo>
                  <a:pt x="1626" y="587"/>
                </a:lnTo>
                <a:lnTo>
                  <a:pt x="3691" y="259"/>
                </a:lnTo>
                <a:lnTo>
                  <a:pt x="5933" y="89"/>
                </a:lnTo>
                <a:lnTo>
                  <a:pt x="7534" y="9"/>
                </a:lnTo>
                <a:lnTo>
                  <a:pt x="10000" y="0"/>
                </a:lnTo>
                <a:cubicBezTo>
                  <a:pt x="9974" y="65"/>
                  <a:pt x="10012" y="322"/>
                  <a:pt x="9986" y="387"/>
                </a:cubicBezTo>
                <a:cubicBezTo>
                  <a:pt x="9962" y="3580"/>
                  <a:pt x="9937" y="6774"/>
                  <a:pt x="9912" y="9967"/>
                </a:cubicBezTo>
                <a:lnTo>
                  <a:pt x="1" y="10000"/>
                </a:lnTo>
                <a:cubicBezTo>
                  <a:pt x="-6" y="7115"/>
                  <a:pt x="88" y="3869"/>
                  <a:pt x="81" y="984"/>
                </a:cubicBezTo>
                <a:close/>
              </a:path>
            </a:pathLst>
          </a:custGeom>
          <a:gradFill flip="none" rotWithShape="1">
            <a:gsLst>
              <a:gs pos="0">
                <a:srgbClr val="B3E9FF"/>
              </a:gs>
              <a:gs pos="100000">
                <a:srgbClr val="E5F8FF"/>
              </a:gs>
            </a:gsLst>
            <a:lin ang="5400000" scaled="1"/>
            <a:tileRect/>
          </a:gradFill>
          <a:ln>
            <a:noFill/>
          </a:ln>
          <a:effectLst/>
          <a:extLst/>
        </p:spPr>
        <p:txBody>
          <a:bodyPr/>
          <a:lstStyle/>
          <a:p>
            <a:pPr>
              <a:defRPr/>
            </a:pPr>
            <a:endParaRPr lang="en-GB" sz="1000" dirty="0">
              <a:solidFill>
                <a:srgbClr val="000000"/>
              </a:solidFill>
              <a:latin typeface="Arial"/>
            </a:endParaRPr>
          </a:p>
        </p:txBody>
      </p:sp>
      <p:sp>
        <p:nvSpPr>
          <p:cNvPr id="6" name="Rectangle 4"/>
          <p:cNvSpPr txBox="1">
            <a:spLocks/>
          </p:cNvSpPr>
          <p:nvPr/>
        </p:nvSpPr>
        <p:spPr>
          <a:xfrm>
            <a:off x="7126366" y="4939945"/>
            <a:ext cx="1461443" cy="7822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lvl="0" defTabSz="895350">
              <a:buClr>
                <a:schemeClr val="tx2"/>
              </a:buClr>
              <a:defRPr sz="1600">
                <a:latin typeface="+mn-lt"/>
              </a:defRPr>
            </a:lvl1pPr>
            <a:lvl2pPr marL="193675" indent="-192088" defTabSz="895350">
              <a:buClr>
                <a:schemeClr val="tx2"/>
              </a:buClr>
              <a:buSzPct val="125000"/>
              <a:buFont typeface="Arial" pitchFamily="34" charset="0"/>
              <a:buChar char="▪"/>
              <a:defRPr sz="1600">
                <a:latin typeface="+mn-lt"/>
              </a:defRPr>
            </a:lvl2pPr>
            <a:lvl3pPr marL="457200" indent="-261938" defTabSz="895350">
              <a:buClr>
                <a:schemeClr val="tx2"/>
              </a:buClr>
              <a:buSzPct val="120000"/>
              <a:buFont typeface="Arial" pitchFamily="34" charset="0"/>
              <a:buChar char="–"/>
              <a:defRPr sz="1600">
                <a:latin typeface="+mn-lt"/>
              </a:defRPr>
            </a:lvl3pPr>
            <a:lvl4pPr marL="614363" indent="-155575" defTabSz="895350">
              <a:buClr>
                <a:schemeClr val="tx2"/>
              </a:buClr>
              <a:buSzPct val="120000"/>
              <a:buFont typeface="Arial" pitchFamily="34" charset="0"/>
              <a:buChar char="▫"/>
              <a:defRPr sz="1600">
                <a:latin typeface="+mn-lt"/>
              </a:defRPr>
            </a:lvl4pPr>
            <a:lvl5pPr marL="746125" indent="-130175" defTabSz="895350">
              <a:buClr>
                <a:schemeClr val="tx2"/>
              </a:buClr>
              <a:buSzPct val="89000"/>
              <a:buFont typeface="Arial" pitchFamily="34" charset="0"/>
              <a:buChar char="-"/>
              <a:defRPr sz="1600">
                <a:latin typeface="+mn-lt"/>
              </a:defRPr>
            </a:lvl5pPr>
            <a:lvl6pPr marL="1203325" indent="-130175" defTabSz="895350" fontAlgn="base">
              <a:spcBef>
                <a:spcPct val="0"/>
              </a:spcBef>
              <a:spcAft>
                <a:spcPct val="0"/>
              </a:spcAft>
              <a:buClr>
                <a:schemeClr val="tx2"/>
              </a:buClr>
              <a:buSzPct val="89000"/>
              <a:buFont typeface="Arial" pitchFamily="34" charset="0"/>
              <a:buChar char="-"/>
              <a:defRPr sz="1600">
                <a:latin typeface="+mn-lt"/>
              </a:defRPr>
            </a:lvl6pPr>
            <a:lvl7pPr marL="1660525" indent="-130175" defTabSz="895350" fontAlgn="base">
              <a:spcBef>
                <a:spcPct val="0"/>
              </a:spcBef>
              <a:spcAft>
                <a:spcPct val="0"/>
              </a:spcAft>
              <a:buClr>
                <a:schemeClr val="tx2"/>
              </a:buClr>
              <a:buSzPct val="89000"/>
              <a:buFont typeface="Arial" pitchFamily="34" charset="0"/>
              <a:buChar char="-"/>
              <a:defRPr sz="1600">
                <a:latin typeface="+mn-lt"/>
              </a:defRPr>
            </a:lvl7pPr>
            <a:lvl8pPr marL="2117725" indent="-130175" defTabSz="895350" fontAlgn="base">
              <a:spcBef>
                <a:spcPct val="0"/>
              </a:spcBef>
              <a:spcAft>
                <a:spcPct val="0"/>
              </a:spcAft>
              <a:buClr>
                <a:schemeClr val="tx2"/>
              </a:buClr>
              <a:buSzPct val="89000"/>
              <a:buFont typeface="Arial" pitchFamily="34" charset="0"/>
              <a:buChar char="-"/>
              <a:defRPr sz="1600">
                <a:latin typeface="+mn-lt"/>
              </a:defRPr>
            </a:lvl8pPr>
            <a:lvl9pPr marL="2574925" indent="-130175" defTabSz="895350" fontAlgn="base">
              <a:spcBef>
                <a:spcPct val="0"/>
              </a:spcBef>
              <a:spcAft>
                <a:spcPct val="0"/>
              </a:spcAft>
              <a:buClr>
                <a:schemeClr val="tx2"/>
              </a:buClr>
              <a:buSzPct val="89000"/>
              <a:buFont typeface="Arial" pitchFamily="34" charset="0"/>
              <a:buChar char="-"/>
              <a:defRPr sz="1600">
                <a:latin typeface="+mn-lt"/>
              </a:defRPr>
            </a:lvl9pPr>
          </a:lstStyle>
          <a:p>
            <a:pPr lvl="1">
              <a:spcBef>
                <a:spcPts val="0"/>
              </a:spcBef>
              <a:spcAft>
                <a:spcPts val="75"/>
              </a:spcAft>
              <a:buClr>
                <a:srgbClr val="002960"/>
              </a:buClr>
            </a:pPr>
            <a:r>
              <a:rPr lang="en-GB" sz="1000" dirty="0">
                <a:solidFill>
                  <a:srgbClr val="000000"/>
                </a:solidFill>
                <a:cs typeface="Arial"/>
              </a:rPr>
              <a:t>90% recurring funnel signed off</a:t>
            </a:r>
          </a:p>
          <a:p>
            <a:pPr lvl="1">
              <a:spcBef>
                <a:spcPts val="0"/>
              </a:spcBef>
              <a:spcAft>
                <a:spcPts val="75"/>
              </a:spcAft>
              <a:buClr>
                <a:srgbClr val="002960"/>
              </a:buClr>
            </a:pPr>
            <a:r>
              <a:rPr lang="en-US" sz="1000" dirty="0">
                <a:solidFill>
                  <a:srgbClr val="000000"/>
                </a:solidFill>
                <a:cs typeface="Arial"/>
              </a:rPr>
              <a:t>&gt;40% synergy implemented till Dec15</a:t>
            </a:r>
            <a:endParaRPr lang="en-GB" sz="1000" dirty="0">
              <a:solidFill>
                <a:srgbClr val="000000"/>
              </a:solidFill>
              <a:cs typeface="Arial"/>
            </a:endParaRPr>
          </a:p>
        </p:txBody>
      </p:sp>
      <p:sp>
        <p:nvSpPr>
          <p:cNvPr id="7" name="Oval 12"/>
          <p:cNvSpPr/>
          <p:nvPr/>
        </p:nvSpPr>
        <p:spPr>
          <a:xfrm rot="20820000">
            <a:off x="6965394" y="1841817"/>
            <a:ext cx="1749826" cy="238287"/>
          </a:xfrm>
          <a:custGeom>
            <a:avLst/>
            <a:gdLst/>
            <a:ahLst/>
            <a:cxnLst/>
            <a:rect l="l" t="t" r="r" b="b"/>
            <a:pathLst>
              <a:path w="2464187" h="390974">
                <a:moveTo>
                  <a:pt x="1810603" y="27963"/>
                </a:moveTo>
                <a:cubicBezTo>
                  <a:pt x="2045907" y="60620"/>
                  <a:pt x="2266376" y="120898"/>
                  <a:pt x="2464187" y="203911"/>
                </a:cubicBezTo>
                <a:lnTo>
                  <a:pt x="2325384" y="293921"/>
                </a:lnTo>
                <a:cubicBezTo>
                  <a:pt x="2082686" y="193174"/>
                  <a:pt x="1809337" y="124768"/>
                  <a:pt x="1517537" y="96944"/>
                </a:cubicBezTo>
                <a:cubicBezTo>
                  <a:pt x="936587" y="41548"/>
                  <a:pt x="397052" y="157935"/>
                  <a:pt x="4411" y="390974"/>
                </a:cubicBezTo>
                <a:lnTo>
                  <a:pt x="0" y="383392"/>
                </a:lnTo>
                <a:cubicBezTo>
                  <a:pt x="363280" y="145276"/>
                  <a:pt x="857436" y="0"/>
                  <a:pt x="1401621" y="0"/>
                </a:cubicBezTo>
                <a:cubicBezTo>
                  <a:pt x="1541717" y="0"/>
                  <a:pt x="1678498" y="9628"/>
                  <a:pt x="1810603" y="27963"/>
                </a:cubicBezTo>
                <a:close/>
              </a:path>
            </a:pathLst>
          </a:custGeom>
          <a:solidFill>
            <a:schemeClr val="accent3"/>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00" dirty="0" err="1">
              <a:solidFill>
                <a:srgbClr val="000000"/>
              </a:solidFill>
            </a:endParaRPr>
          </a:p>
        </p:txBody>
      </p:sp>
      <p:sp>
        <p:nvSpPr>
          <p:cNvPr id="8" name="Rectangle 16"/>
          <p:cNvSpPr txBox="1">
            <a:spLocks/>
          </p:cNvSpPr>
          <p:nvPr/>
        </p:nvSpPr>
        <p:spPr>
          <a:xfrm>
            <a:off x="246218" y="4925056"/>
            <a:ext cx="406873" cy="1334683"/>
          </a:xfrm>
          <a:prstGeom prst="rect">
            <a:avLst/>
          </a:prstGeom>
          <a:solidFill>
            <a:schemeClr val="accent2"/>
          </a:solidFill>
          <a:ln w="9525">
            <a:noFill/>
            <a:miter lim="800000"/>
            <a:headEnd/>
            <a:tailEnd/>
          </a:ln>
          <a:effectLst/>
          <a:extLst/>
        </p:spPr>
        <p:txBody>
          <a:bodyPr vert="vert270" wrap="square" lIns="54004" tIns="54004" rIns="54004" bIns="54004" numCol="1" anchor="ctr" anchorCtr="0" compatLnSpc="1">
            <a:prstTxWarp prst="textNoShape">
              <a:avLst/>
            </a:prstTxWarp>
            <a:noAutofit/>
          </a:bodyPr>
          <a:lstStyle>
            <a:lvl1pPr lvl="0" defTabSz="895350">
              <a:buClr>
                <a:schemeClr val="tx2"/>
              </a:buClr>
              <a:defRPr sz="1600">
                <a:latin typeface="+mn-lt"/>
              </a:defRPr>
            </a:lvl1pPr>
            <a:lvl2pPr marL="193675" indent="-192088" defTabSz="895350">
              <a:buClr>
                <a:schemeClr val="tx2"/>
              </a:buClr>
              <a:buSzPct val="125000"/>
              <a:buFont typeface="Arial" pitchFamily="34" charset="0"/>
              <a:buChar char="▪"/>
              <a:defRPr sz="1600">
                <a:latin typeface="+mn-lt"/>
              </a:defRPr>
            </a:lvl2pPr>
            <a:lvl3pPr marL="457200" indent="-261938" defTabSz="895350">
              <a:buClr>
                <a:schemeClr val="tx2"/>
              </a:buClr>
              <a:buSzPct val="120000"/>
              <a:buFont typeface="Arial" pitchFamily="34" charset="0"/>
              <a:buChar char="–"/>
              <a:defRPr sz="1600">
                <a:latin typeface="+mn-lt"/>
              </a:defRPr>
            </a:lvl3pPr>
            <a:lvl4pPr marL="614363" indent="-155575" defTabSz="895350">
              <a:buClr>
                <a:schemeClr val="tx2"/>
              </a:buClr>
              <a:buSzPct val="120000"/>
              <a:buFont typeface="Arial" pitchFamily="34" charset="0"/>
              <a:buChar char="▫"/>
              <a:defRPr sz="1600">
                <a:latin typeface="+mn-lt"/>
              </a:defRPr>
            </a:lvl4pPr>
            <a:lvl5pPr marL="746125" indent="-130175" defTabSz="895350">
              <a:buClr>
                <a:schemeClr val="tx2"/>
              </a:buClr>
              <a:buSzPct val="89000"/>
              <a:buFont typeface="Arial" pitchFamily="34" charset="0"/>
              <a:buChar char="-"/>
              <a:defRPr sz="1600">
                <a:latin typeface="+mn-lt"/>
              </a:defRPr>
            </a:lvl5pPr>
            <a:lvl6pPr marL="1203325" indent="-130175" defTabSz="895350" fontAlgn="base">
              <a:spcBef>
                <a:spcPct val="0"/>
              </a:spcBef>
              <a:spcAft>
                <a:spcPct val="0"/>
              </a:spcAft>
              <a:buClr>
                <a:schemeClr val="tx2"/>
              </a:buClr>
              <a:buSzPct val="89000"/>
              <a:buFont typeface="Arial" pitchFamily="34" charset="0"/>
              <a:buChar char="-"/>
              <a:defRPr sz="1600">
                <a:latin typeface="+mn-lt"/>
              </a:defRPr>
            </a:lvl6pPr>
            <a:lvl7pPr marL="1660525" indent="-130175" defTabSz="895350" fontAlgn="base">
              <a:spcBef>
                <a:spcPct val="0"/>
              </a:spcBef>
              <a:spcAft>
                <a:spcPct val="0"/>
              </a:spcAft>
              <a:buClr>
                <a:schemeClr val="tx2"/>
              </a:buClr>
              <a:buSzPct val="89000"/>
              <a:buFont typeface="Arial" pitchFamily="34" charset="0"/>
              <a:buChar char="-"/>
              <a:defRPr sz="1600">
                <a:latin typeface="+mn-lt"/>
              </a:defRPr>
            </a:lvl7pPr>
            <a:lvl8pPr marL="2117725" indent="-130175" defTabSz="895350" fontAlgn="base">
              <a:spcBef>
                <a:spcPct val="0"/>
              </a:spcBef>
              <a:spcAft>
                <a:spcPct val="0"/>
              </a:spcAft>
              <a:buClr>
                <a:schemeClr val="tx2"/>
              </a:buClr>
              <a:buSzPct val="89000"/>
              <a:buFont typeface="Arial" pitchFamily="34" charset="0"/>
              <a:buChar char="-"/>
              <a:defRPr sz="1600">
                <a:latin typeface="+mn-lt"/>
              </a:defRPr>
            </a:lvl8pPr>
            <a:lvl9pPr marL="2574925" indent="-130175" defTabSz="895350" fontAlgn="base">
              <a:spcBef>
                <a:spcPct val="0"/>
              </a:spcBef>
              <a:spcAft>
                <a:spcPct val="0"/>
              </a:spcAft>
              <a:buClr>
                <a:schemeClr val="tx2"/>
              </a:buClr>
              <a:buSzPct val="89000"/>
              <a:buFont typeface="Arial" pitchFamily="34" charset="0"/>
              <a:buChar char="-"/>
              <a:defRPr sz="1600">
                <a:latin typeface="+mn-lt"/>
              </a:defRPr>
            </a:lvl9pPr>
          </a:lstStyle>
          <a:p>
            <a:pPr algn="ctr">
              <a:spcBef>
                <a:spcPts val="750"/>
              </a:spcBef>
              <a:buClr>
                <a:srgbClr val="002960"/>
              </a:buClr>
            </a:pPr>
            <a:r>
              <a:rPr lang="en-GB" sz="1000" b="1" dirty="0">
                <a:solidFill>
                  <a:srgbClr val="FFFFFF"/>
                </a:solidFill>
              </a:rPr>
              <a:t>Outcomes </a:t>
            </a:r>
          </a:p>
        </p:txBody>
      </p:sp>
      <p:sp>
        <p:nvSpPr>
          <p:cNvPr id="9" name="Freeform 63"/>
          <p:cNvSpPr>
            <a:spLocks/>
          </p:cNvSpPr>
          <p:nvPr/>
        </p:nvSpPr>
        <p:spPr bwMode="gray">
          <a:xfrm>
            <a:off x="5485289" y="2102014"/>
            <a:ext cx="1580928" cy="4199341"/>
          </a:xfrm>
          <a:custGeom>
            <a:avLst/>
            <a:gdLst>
              <a:gd name="T0" fmla="*/ 0 w 1516"/>
              <a:gd name="T1" fmla="*/ 338 h 3047"/>
              <a:gd name="T2" fmla="*/ 199 w 1516"/>
              <a:gd name="T3" fmla="*/ 228 h 3047"/>
              <a:gd name="T4" fmla="*/ 482 w 1516"/>
              <a:gd name="T5" fmla="*/ 102 h 3047"/>
              <a:gd name="T6" fmla="*/ 828 w 1516"/>
              <a:gd name="T7" fmla="*/ 24 h 3047"/>
              <a:gd name="T8" fmla="*/ 1129 w 1516"/>
              <a:gd name="T9" fmla="*/ 0 h 3047"/>
              <a:gd name="T10" fmla="*/ 1516 w 1516"/>
              <a:gd name="T11" fmla="*/ 18 h 3047"/>
              <a:gd name="T12" fmla="*/ 1504 w 1516"/>
              <a:gd name="T13" fmla="*/ 78 h 3047"/>
              <a:gd name="T14" fmla="*/ 1493 w 1516"/>
              <a:gd name="T15" fmla="*/ 3037 h 3047"/>
              <a:gd name="T16" fmla="*/ 5 w 1516"/>
              <a:gd name="T17" fmla="*/ 3047 h 3047"/>
              <a:gd name="T18" fmla="*/ 0 w 1516"/>
              <a:gd name="T19" fmla="*/ 338 h 3047"/>
              <a:gd name="connsiteX0" fmla="*/ 0 w 9989"/>
              <a:gd name="connsiteY0" fmla="*/ 1228 h 10000"/>
              <a:gd name="connsiteX1" fmla="*/ 1302 w 9989"/>
              <a:gd name="connsiteY1" fmla="*/ 748 h 10000"/>
              <a:gd name="connsiteX2" fmla="*/ 3168 w 9989"/>
              <a:gd name="connsiteY2" fmla="*/ 335 h 10000"/>
              <a:gd name="connsiteX3" fmla="*/ 5451 w 9989"/>
              <a:gd name="connsiteY3" fmla="*/ 79 h 10000"/>
              <a:gd name="connsiteX4" fmla="*/ 7436 w 9989"/>
              <a:gd name="connsiteY4" fmla="*/ 0 h 10000"/>
              <a:gd name="connsiteX5" fmla="*/ 9989 w 9989"/>
              <a:gd name="connsiteY5" fmla="*/ 59 h 10000"/>
              <a:gd name="connsiteX6" fmla="*/ 9910 w 9989"/>
              <a:gd name="connsiteY6" fmla="*/ 256 h 10000"/>
              <a:gd name="connsiteX7" fmla="*/ 9837 w 9989"/>
              <a:gd name="connsiteY7" fmla="*/ 9967 h 10000"/>
              <a:gd name="connsiteX8" fmla="*/ 22 w 9989"/>
              <a:gd name="connsiteY8" fmla="*/ 10000 h 10000"/>
              <a:gd name="connsiteX9" fmla="*/ 0 w 9989"/>
              <a:gd name="connsiteY9" fmla="*/ 1228 h 10000"/>
              <a:gd name="connsiteX0" fmla="*/ 0 w 10000"/>
              <a:gd name="connsiteY0" fmla="*/ 1228 h 10000"/>
              <a:gd name="connsiteX1" fmla="*/ 1335 w 10000"/>
              <a:gd name="connsiteY1" fmla="*/ 812 h 10000"/>
              <a:gd name="connsiteX2" fmla="*/ 3171 w 10000"/>
              <a:gd name="connsiteY2" fmla="*/ 335 h 10000"/>
              <a:gd name="connsiteX3" fmla="*/ 5457 w 10000"/>
              <a:gd name="connsiteY3" fmla="*/ 79 h 10000"/>
              <a:gd name="connsiteX4" fmla="*/ 7444 w 10000"/>
              <a:gd name="connsiteY4" fmla="*/ 0 h 10000"/>
              <a:gd name="connsiteX5" fmla="*/ 10000 w 10000"/>
              <a:gd name="connsiteY5" fmla="*/ 59 h 10000"/>
              <a:gd name="connsiteX6" fmla="*/ 9921 w 10000"/>
              <a:gd name="connsiteY6" fmla="*/ 256 h 10000"/>
              <a:gd name="connsiteX7" fmla="*/ 9848 w 10000"/>
              <a:gd name="connsiteY7" fmla="*/ 9967 h 10000"/>
              <a:gd name="connsiteX8" fmla="*/ 22 w 10000"/>
              <a:gd name="connsiteY8" fmla="*/ 10000 h 10000"/>
              <a:gd name="connsiteX9" fmla="*/ 0 w 10000"/>
              <a:gd name="connsiteY9" fmla="*/ 1228 h 10000"/>
              <a:gd name="connsiteX0" fmla="*/ 0 w 10000"/>
              <a:gd name="connsiteY0" fmla="*/ 1228 h 10000"/>
              <a:gd name="connsiteX1" fmla="*/ 1335 w 10000"/>
              <a:gd name="connsiteY1" fmla="*/ 812 h 10000"/>
              <a:gd name="connsiteX2" fmla="*/ 3192 w 10000"/>
              <a:gd name="connsiteY2" fmla="*/ 395 h 10000"/>
              <a:gd name="connsiteX3" fmla="*/ 5457 w 10000"/>
              <a:gd name="connsiteY3" fmla="*/ 79 h 10000"/>
              <a:gd name="connsiteX4" fmla="*/ 7444 w 10000"/>
              <a:gd name="connsiteY4" fmla="*/ 0 h 10000"/>
              <a:gd name="connsiteX5" fmla="*/ 10000 w 10000"/>
              <a:gd name="connsiteY5" fmla="*/ 59 h 10000"/>
              <a:gd name="connsiteX6" fmla="*/ 9921 w 10000"/>
              <a:gd name="connsiteY6" fmla="*/ 256 h 10000"/>
              <a:gd name="connsiteX7" fmla="*/ 9848 w 10000"/>
              <a:gd name="connsiteY7" fmla="*/ 9967 h 10000"/>
              <a:gd name="connsiteX8" fmla="*/ 22 w 10000"/>
              <a:gd name="connsiteY8" fmla="*/ 10000 h 10000"/>
              <a:gd name="connsiteX9" fmla="*/ 0 w 10000"/>
              <a:gd name="connsiteY9" fmla="*/ 1228 h 10000"/>
              <a:gd name="connsiteX0" fmla="*/ 52 w 9979"/>
              <a:gd name="connsiteY0" fmla="*/ 1367 h 10000"/>
              <a:gd name="connsiteX1" fmla="*/ 1314 w 9979"/>
              <a:gd name="connsiteY1" fmla="*/ 812 h 10000"/>
              <a:gd name="connsiteX2" fmla="*/ 3171 w 9979"/>
              <a:gd name="connsiteY2" fmla="*/ 395 h 10000"/>
              <a:gd name="connsiteX3" fmla="*/ 5436 w 9979"/>
              <a:gd name="connsiteY3" fmla="*/ 79 h 10000"/>
              <a:gd name="connsiteX4" fmla="*/ 7423 w 9979"/>
              <a:gd name="connsiteY4" fmla="*/ 0 h 10000"/>
              <a:gd name="connsiteX5" fmla="*/ 9979 w 9979"/>
              <a:gd name="connsiteY5" fmla="*/ 59 h 10000"/>
              <a:gd name="connsiteX6" fmla="*/ 9900 w 9979"/>
              <a:gd name="connsiteY6" fmla="*/ 256 h 10000"/>
              <a:gd name="connsiteX7" fmla="*/ 9827 w 9979"/>
              <a:gd name="connsiteY7" fmla="*/ 9967 h 10000"/>
              <a:gd name="connsiteX8" fmla="*/ 1 w 9979"/>
              <a:gd name="connsiteY8" fmla="*/ 10000 h 10000"/>
              <a:gd name="connsiteX9" fmla="*/ 52 w 9979"/>
              <a:gd name="connsiteY9" fmla="*/ 1367 h 10000"/>
              <a:gd name="connsiteX0" fmla="*/ 52 w 10036"/>
              <a:gd name="connsiteY0" fmla="*/ 1487 h 10120"/>
              <a:gd name="connsiteX1" fmla="*/ 1317 w 10036"/>
              <a:gd name="connsiteY1" fmla="*/ 932 h 10120"/>
              <a:gd name="connsiteX2" fmla="*/ 3178 w 10036"/>
              <a:gd name="connsiteY2" fmla="*/ 515 h 10120"/>
              <a:gd name="connsiteX3" fmla="*/ 5447 w 10036"/>
              <a:gd name="connsiteY3" fmla="*/ 199 h 10120"/>
              <a:gd name="connsiteX4" fmla="*/ 7439 w 10036"/>
              <a:gd name="connsiteY4" fmla="*/ 120 h 10120"/>
              <a:gd name="connsiteX5" fmla="*/ 10036 w 10036"/>
              <a:gd name="connsiteY5" fmla="*/ 0 h 10120"/>
              <a:gd name="connsiteX6" fmla="*/ 9921 w 10036"/>
              <a:gd name="connsiteY6" fmla="*/ 376 h 10120"/>
              <a:gd name="connsiteX7" fmla="*/ 9848 w 10036"/>
              <a:gd name="connsiteY7" fmla="*/ 10087 h 10120"/>
              <a:gd name="connsiteX8" fmla="*/ 1 w 10036"/>
              <a:gd name="connsiteY8" fmla="*/ 10120 h 10120"/>
              <a:gd name="connsiteX9" fmla="*/ 52 w 10036"/>
              <a:gd name="connsiteY9" fmla="*/ 1487 h 10120"/>
              <a:gd name="connsiteX0" fmla="*/ 52 w 10036"/>
              <a:gd name="connsiteY0" fmla="*/ 1487 h 10120"/>
              <a:gd name="connsiteX1" fmla="*/ 1317 w 10036"/>
              <a:gd name="connsiteY1" fmla="*/ 932 h 10120"/>
              <a:gd name="connsiteX2" fmla="*/ 3292 w 10036"/>
              <a:gd name="connsiteY2" fmla="*/ 388 h 10120"/>
              <a:gd name="connsiteX3" fmla="*/ 5447 w 10036"/>
              <a:gd name="connsiteY3" fmla="*/ 199 h 10120"/>
              <a:gd name="connsiteX4" fmla="*/ 7439 w 10036"/>
              <a:gd name="connsiteY4" fmla="*/ 120 h 10120"/>
              <a:gd name="connsiteX5" fmla="*/ 10036 w 10036"/>
              <a:gd name="connsiteY5" fmla="*/ 0 h 10120"/>
              <a:gd name="connsiteX6" fmla="*/ 9921 w 10036"/>
              <a:gd name="connsiteY6" fmla="*/ 376 h 10120"/>
              <a:gd name="connsiteX7" fmla="*/ 9848 w 10036"/>
              <a:gd name="connsiteY7" fmla="*/ 10087 h 10120"/>
              <a:gd name="connsiteX8" fmla="*/ 1 w 10036"/>
              <a:gd name="connsiteY8" fmla="*/ 10120 h 10120"/>
              <a:gd name="connsiteX9" fmla="*/ 52 w 10036"/>
              <a:gd name="connsiteY9" fmla="*/ 1487 h 10120"/>
              <a:gd name="connsiteX0" fmla="*/ 52 w 10036"/>
              <a:gd name="connsiteY0" fmla="*/ 1494 h 10127"/>
              <a:gd name="connsiteX1" fmla="*/ 1317 w 10036"/>
              <a:gd name="connsiteY1" fmla="*/ 939 h 10127"/>
              <a:gd name="connsiteX2" fmla="*/ 3292 w 10036"/>
              <a:gd name="connsiteY2" fmla="*/ 395 h 10127"/>
              <a:gd name="connsiteX3" fmla="*/ 5447 w 10036"/>
              <a:gd name="connsiteY3" fmla="*/ 206 h 10127"/>
              <a:gd name="connsiteX4" fmla="*/ 7485 w 10036"/>
              <a:gd name="connsiteY4" fmla="*/ 0 h 10127"/>
              <a:gd name="connsiteX5" fmla="*/ 10036 w 10036"/>
              <a:gd name="connsiteY5" fmla="*/ 7 h 10127"/>
              <a:gd name="connsiteX6" fmla="*/ 9921 w 10036"/>
              <a:gd name="connsiteY6" fmla="*/ 383 h 10127"/>
              <a:gd name="connsiteX7" fmla="*/ 9848 w 10036"/>
              <a:gd name="connsiteY7" fmla="*/ 10094 h 10127"/>
              <a:gd name="connsiteX8" fmla="*/ 1 w 10036"/>
              <a:gd name="connsiteY8" fmla="*/ 10127 h 10127"/>
              <a:gd name="connsiteX9" fmla="*/ 52 w 10036"/>
              <a:gd name="connsiteY9" fmla="*/ 1494 h 10127"/>
              <a:gd name="connsiteX0" fmla="*/ 52 w 10036"/>
              <a:gd name="connsiteY0" fmla="*/ 1494 h 10127"/>
              <a:gd name="connsiteX1" fmla="*/ 1385 w 10036"/>
              <a:gd name="connsiteY1" fmla="*/ 722 h 10127"/>
              <a:gd name="connsiteX2" fmla="*/ 3292 w 10036"/>
              <a:gd name="connsiteY2" fmla="*/ 395 h 10127"/>
              <a:gd name="connsiteX3" fmla="*/ 5447 w 10036"/>
              <a:gd name="connsiteY3" fmla="*/ 206 h 10127"/>
              <a:gd name="connsiteX4" fmla="*/ 7485 w 10036"/>
              <a:gd name="connsiteY4" fmla="*/ 0 h 10127"/>
              <a:gd name="connsiteX5" fmla="*/ 10036 w 10036"/>
              <a:gd name="connsiteY5" fmla="*/ 7 h 10127"/>
              <a:gd name="connsiteX6" fmla="*/ 9921 w 10036"/>
              <a:gd name="connsiteY6" fmla="*/ 383 h 10127"/>
              <a:gd name="connsiteX7" fmla="*/ 9848 w 10036"/>
              <a:gd name="connsiteY7" fmla="*/ 10094 h 10127"/>
              <a:gd name="connsiteX8" fmla="*/ 1 w 10036"/>
              <a:gd name="connsiteY8" fmla="*/ 10127 h 10127"/>
              <a:gd name="connsiteX9" fmla="*/ 52 w 10036"/>
              <a:gd name="connsiteY9" fmla="*/ 1494 h 10127"/>
              <a:gd name="connsiteX0" fmla="*/ 52 w 10036"/>
              <a:gd name="connsiteY0" fmla="*/ 1051 h 10127"/>
              <a:gd name="connsiteX1" fmla="*/ 1385 w 10036"/>
              <a:gd name="connsiteY1" fmla="*/ 722 h 10127"/>
              <a:gd name="connsiteX2" fmla="*/ 3292 w 10036"/>
              <a:gd name="connsiteY2" fmla="*/ 395 h 10127"/>
              <a:gd name="connsiteX3" fmla="*/ 5447 w 10036"/>
              <a:gd name="connsiteY3" fmla="*/ 206 h 10127"/>
              <a:gd name="connsiteX4" fmla="*/ 7485 w 10036"/>
              <a:gd name="connsiteY4" fmla="*/ 0 h 10127"/>
              <a:gd name="connsiteX5" fmla="*/ 10036 w 10036"/>
              <a:gd name="connsiteY5" fmla="*/ 7 h 10127"/>
              <a:gd name="connsiteX6" fmla="*/ 9921 w 10036"/>
              <a:gd name="connsiteY6" fmla="*/ 383 h 10127"/>
              <a:gd name="connsiteX7" fmla="*/ 9848 w 10036"/>
              <a:gd name="connsiteY7" fmla="*/ 10094 h 10127"/>
              <a:gd name="connsiteX8" fmla="*/ 1 w 10036"/>
              <a:gd name="connsiteY8" fmla="*/ 10127 h 10127"/>
              <a:gd name="connsiteX9" fmla="*/ 52 w 10036"/>
              <a:gd name="connsiteY9" fmla="*/ 1051 h 10127"/>
              <a:gd name="connsiteX0" fmla="*/ 52 w 10036"/>
              <a:gd name="connsiteY0" fmla="*/ 1051 h 10127"/>
              <a:gd name="connsiteX1" fmla="*/ 1385 w 10036"/>
              <a:gd name="connsiteY1" fmla="*/ 722 h 10127"/>
              <a:gd name="connsiteX2" fmla="*/ 3292 w 10036"/>
              <a:gd name="connsiteY2" fmla="*/ 395 h 10127"/>
              <a:gd name="connsiteX3" fmla="*/ 5447 w 10036"/>
              <a:gd name="connsiteY3" fmla="*/ 116 h 10127"/>
              <a:gd name="connsiteX4" fmla="*/ 7485 w 10036"/>
              <a:gd name="connsiteY4" fmla="*/ 0 h 10127"/>
              <a:gd name="connsiteX5" fmla="*/ 10036 w 10036"/>
              <a:gd name="connsiteY5" fmla="*/ 7 h 10127"/>
              <a:gd name="connsiteX6" fmla="*/ 9921 w 10036"/>
              <a:gd name="connsiteY6" fmla="*/ 383 h 10127"/>
              <a:gd name="connsiteX7" fmla="*/ 9848 w 10036"/>
              <a:gd name="connsiteY7" fmla="*/ 10094 h 10127"/>
              <a:gd name="connsiteX8" fmla="*/ 1 w 10036"/>
              <a:gd name="connsiteY8" fmla="*/ 10127 h 10127"/>
              <a:gd name="connsiteX9" fmla="*/ 52 w 10036"/>
              <a:gd name="connsiteY9" fmla="*/ 1051 h 10127"/>
              <a:gd name="connsiteX0" fmla="*/ 52 w 10036"/>
              <a:gd name="connsiteY0" fmla="*/ 1051 h 10127"/>
              <a:gd name="connsiteX1" fmla="*/ 1385 w 10036"/>
              <a:gd name="connsiteY1" fmla="*/ 722 h 10127"/>
              <a:gd name="connsiteX2" fmla="*/ 3117 w 10036"/>
              <a:gd name="connsiteY2" fmla="*/ 384 h 10127"/>
              <a:gd name="connsiteX3" fmla="*/ 5447 w 10036"/>
              <a:gd name="connsiteY3" fmla="*/ 116 h 10127"/>
              <a:gd name="connsiteX4" fmla="*/ 7485 w 10036"/>
              <a:gd name="connsiteY4" fmla="*/ 0 h 10127"/>
              <a:gd name="connsiteX5" fmla="*/ 10036 w 10036"/>
              <a:gd name="connsiteY5" fmla="*/ 7 h 10127"/>
              <a:gd name="connsiteX6" fmla="*/ 9921 w 10036"/>
              <a:gd name="connsiteY6" fmla="*/ 383 h 10127"/>
              <a:gd name="connsiteX7" fmla="*/ 9848 w 10036"/>
              <a:gd name="connsiteY7" fmla="*/ 10094 h 10127"/>
              <a:gd name="connsiteX8" fmla="*/ 1 w 10036"/>
              <a:gd name="connsiteY8" fmla="*/ 10127 h 10127"/>
              <a:gd name="connsiteX9" fmla="*/ 52 w 10036"/>
              <a:gd name="connsiteY9" fmla="*/ 1051 h 10127"/>
              <a:gd name="connsiteX0" fmla="*/ 52 w 9963"/>
              <a:gd name="connsiteY0" fmla="*/ 1051 h 10127"/>
              <a:gd name="connsiteX1" fmla="*/ 1385 w 9963"/>
              <a:gd name="connsiteY1" fmla="*/ 722 h 10127"/>
              <a:gd name="connsiteX2" fmla="*/ 3117 w 9963"/>
              <a:gd name="connsiteY2" fmla="*/ 384 h 10127"/>
              <a:gd name="connsiteX3" fmla="*/ 5447 w 9963"/>
              <a:gd name="connsiteY3" fmla="*/ 116 h 10127"/>
              <a:gd name="connsiteX4" fmla="*/ 7485 w 9963"/>
              <a:gd name="connsiteY4" fmla="*/ 0 h 10127"/>
              <a:gd name="connsiteX5" fmla="*/ 9963 w 9963"/>
              <a:gd name="connsiteY5" fmla="*/ 7 h 10127"/>
              <a:gd name="connsiteX6" fmla="*/ 9921 w 9963"/>
              <a:gd name="connsiteY6" fmla="*/ 383 h 10127"/>
              <a:gd name="connsiteX7" fmla="*/ 9848 w 9963"/>
              <a:gd name="connsiteY7" fmla="*/ 10094 h 10127"/>
              <a:gd name="connsiteX8" fmla="*/ 1 w 9963"/>
              <a:gd name="connsiteY8" fmla="*/ 10127 h 10127"/>
              <a:gd name="connsiteX9" fmla="*/ 52 w 9963"/>
              <a:gd name="connsiteY9" fmla="*/ 1051 h 10127"/>
              <a:gd name="connsiteX0" fmla="*/ 52 w 9971"/>
              <a:gd name="connsiteY0" fmla="*/ 1064 h 10026"/>
              <a:gd name="connsiteX1" fmla="*/ 1390 w 9971"/>
              <a:gd name="connsiteY1" fmla="*/ 739 h 10026"/>
              <a:gd name="connsiteX2" fmla="*/ 3129 w 9971"/>
              <a:gd name="connsiteY2" fmla="*/ 405 h 10026"/>
              <a:gd name="connsiteX3" fmla="*/ 5467 w 9971"/>
              <a:gd name="connsiteY3" fmla="*/ 141 h 10026"/>
              <a:gd name="connsiteX4" fmla="*/ 7513 w 9971"/>
              <a:gd name="connsiteY4" fmla="*/ 26 h 10026"/>
              <a:gd name="connsiteX5" fmla="*/ 9971 w 9971"/>
              <a:gd name="connsiteY5" fmla="*/ 0 h 10026"/>
              <a:gd name="connsiteX6" fmla="*/ 9958 w 9971"/>
              <a:gd name="connsiteY6" fmla="*/ 404 h 10026"/>
              <a:gd name="connsiteX7" fmla="*/ 9885 w 9971"/>
              <a:gd name="connsiteY7" fmla="*/ 9993 h 10026"/>
              <a:gd name="connsiteX8" fmla="*/ 1 w 9971"/>
              <a:gd name="connsiteY8" fmla="*/ 10026 h 10026"/>
              <a:gd name="connsiteX9" fmla="*/ 52 w 9971"/>
              <a:gd name="connsiteY9" fmla="*/ 1064 h 10026"/>
              <a:gd name="connsiteX0" fmla="*/ 52 w 10000"/>
              <a:gd name="connsiteY0" fmla="*/ 1072 h 10011"/>
              <a:gd name="connsiteX1" fmla="*/ 1394 w 10000"/>
              <a:gd name="connsiteY1" fmla="*/ 748 h 10011"/>
              <a:gd name="connsiteX2" fmla="*/ 3138 w 10000"/>
              <a:gd name="connsiteY2" fmla="*/ 415 h 10011"/>
              <a:gd name="connsiteX3" fmla="*/ 5483 w 10000"/>
              <a:gd name="connsiteY3" fmla="*/ 152 h 10011"/>
              <a:gd name="connsiteX4" fmla="*/ 7535 w 10000"/>
              <a:gd name="connsiteY4" fmla="*/ 37 h 10011"/>
              <a:gd name="connsiteX5" fmla="*/ 10000 w 10000"/>
              <a:gd name="connsiteY5" fmla="*/ 0 h 10011"/>
              <a:gd name="connsiteX6" fmla="*/ 9987 w 10000"/>
              <a:gd name="connsiteY6" fmla="*/ 414 h 10011"/>
              <a:gd name="connsiteX7" fmla="*/ 9914 w 10000"/>
              <a:gd name="connsiteY7" fmla="*/ 9978 h 10011"/>
              <a:gd name="connsiteX8" fmla="*/ 1 w 10000"/>
              <a:gd name="connsiteY8" fmla="*/ 10011 h 10011"/>
              <a:gd name="connsiteX9" fmla="*/ 52 w 10000"/>
              <a:gd name="connsiteY9" fmla="*/ 1072 h 10011"/>
              <a:gd name="connsiteX0" fmla="*/ 52 w 10000"/>
              <a:gd name="connsiteY0" fmla="*/ 1017 h 10011"/>
              <a:gd name="connsiteX1" fmla="*/ 1394 w 10000"/>
              <a:gd name="connsiteY1" fmla="*/ 748 h 10011"/>
              <a:gd name="connsiteX2" fmla="*/ 3138 w 10000"/>
              <a:gd name="connsiteY2" fmla="*/ 415 h 10011"/>
              <a:gd name="connsiteX3" fmla="*/ 5483 w 10000"/>
              <a:gd name="connsiteY3" fmla="*/ 152 h 10011"/>
              <a:gd name="connsiteX4" fmla="*/ 7535 w 10000"/>
              <a:gd name="connsiteY4" fmla="*/ 37 h 10011"/>
              <a:gd name="connsiteX5" fmla="*/ 10000 w 10000"/>
              <a:gd name="connsiteY5" fmla="*/ 0 h 10011"/>
              <a:gd name="connsiteX6" fmla="*/ 9987 w 10000"/>
              <a:gd name="connsiteY6" fmla="*/ 414 h 10011"/>
              <a:gd name="connsiteX7" fmla="*/ 9914 w 10000"/>
              <a:gd name="connsiteY7" fmla="*/ 9978 h 10011"/>
              <a:gd name="connsiteX8" fmla="*/ 1 w 10000"/>
              <a:gd name="connsiteY8" fmla="*/ 10011 h 10011"/>
              <a:gd name="connsiteX9" fmla="*/ 52 w 10000"/>
              <a:gd name="connsiteY9" fmla="*/ 1017 h 10011"/>
              <a:gd name="connsiteX0" fmla="*/ 52 w 10000"/>
              <a:gd name="connsiteY0" fmla="*/ 1017 h 10011"/>
              <a:gd name="connsiteX1" fmla="*/ 1423 w 10000"/>
              <a:gd name="connsiteY1" fmla="*/ 698 h 10011"/>
              <a:gd name="connsiteX2" fmla="*/ 3138 w 10000"/>
              <a:gd name="connsiteY2" fmla="*/ 415 h 10011"/>
              <a:gd name="connsiteX3" fmla="*/ 5483 w 10000"/>
              <a:gd name="connsiteY3" fmla="*/ 152 h 10011"/>
              <a:gd name="connsiteX4" fmla="*/ 7535 w 10000"/>
              <a:gd name="connsiteY4" fmla="*/ 37 h 10011"/>
              <a:gd name="connsiteX5" fmla="*/ 10000 w 10000"/>
              <a:gd name="connsiteY5" fmla="*/ 0 h 10011"/>
              <a:gd name="connsiteX6" fmla="*/ 9987 w 10000"/>
              <a:gd name="connsiteY6" fmla="*/ 414 h 10011"/>
              <a:gd name="connsiteX7" fmla="*/ 9914 w 10000"/>
              <a:gd name="connsiteY7" fmla="*/ 9978 h 10011"/>
              <a:gd name="connsiteX8" fmla="*/ 1 w 10000"/>
              <a:gd name="connsiteY8" fmla="*/ 10011 h 10011"/>
              <a:gd name="connsiteX9" fmla="*/ 52 w 10000"/>
              <a:gd name="connsiteY9" fmla="*/ 1017 h 100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000" h="10011">
                <a:moveTo>
                  <a:pt x="52" y="1017"/>
                </a:moveTo>
                <a:lnTo>
                  <a:pt x="1423" y="698"/>
                </a:lnTo>
                <a:lnTo>
                  <a:pt x="3138" y="415"/>
                </a:lnTo>
                <a:lnTo>
                  <a:pt x="5483" y="152"/>
                </a:lnTo>
                <a:lnTo>
                  <a:pt x="7535" y="37"/>
                </a:lnTo>
                <a:lnTo>
                  <a:pt x="10000" y="0"/>
                </a:lnTo>
                <a:cubicBezTo>
                  <a:pt x="9974" y="65"/>
                  <a:pt x="10013" y="349"/>
                  <a:pt x="9987" y="414"/>
                </a:cubicBezTo>
                <a:cubicBezTo>
                  <a:pt x="9963" y="3603"/>
                  <a:pt x="9938" y="6790"/>
                  <a:pt x="9914" y="9978"/>
                </a:cubicBezTo>
                <a:lnTo>
                  <a:pt x="1" y="10011"/>
                </a:lnTo>
                <a:cubicBezTo>
                  <a:pt x="-6" y="7131"/>
                  <a:pt x="59" y="3897"/>
                  <a:pt x="52" y="1017"/>
                </a:cubicBezTo>
                <a:close/>
              </a:path>
            </a:pathLst>
          </a:custGeom>
          <a:gradFill flip="none" rotWithShape="1">
            <a:gsLst>
              <a:gs pos="0">
                <a:srgbClr val="B3E9FF"/>
              </a:gs>
              <a:gs pos="100000">
                <a:srgbClr val="E5F8FF"/>
              </a:gs>
            </a:gsLst>
            <a:lin ang="5400000" scaled="1"/>
            <a:tileRect/>
          </a:gradFill>
          <a:ln>
            <a:noFill/>
          </a:ln>
          <a:effectLst/>
          <a:extLst/>
        </p:spPr>
        <p:txBody>
          <a:bodyPr/>
          <a:lstStyle/>
          <a:p>
            <a:pPr>
              <a:defRPr/>
            </a:pPr>
            <a:endParaRPr lang="en-GB" sz="1000" dirty="0">
              <a:solidFill>
                <a:srgbClr val="000000"/>
              </a:solidFill>
              <a:latin typeface="Arial"/>
            </a:endParaRPr>
          </a:p>
        </p:txBody>
      </p:sp>
      <p:sp>
        <p:nvSpPr>
          <p:cNvPr id="10" name="Freeform 65"/>
          <p:cNvSpPr>
            <a:spLocks/>
          </p:cNvSpPr>
          <p:nvPr/>
        </p:nvSpPr>
        <p:spPr bwMode="gray">
          <a:xfrm>
            <a:off x="3897570" y="2452139"/>
            <a:ext cx="1595164" cy="3840271"/>
          </a:xfrm>
          <a:custGeom>
            <a:avLst/>
            <a:gdLst>
              <a:gd name="T0" fmla="*/ 0 w 1485"/>
              <a:gd name="T1" fmla="*/ 357 h 2754"/>
              <a:gd name="T2" fmla="*/ 212 w 1485"/>
              <a:gd name="T3" fmla="*/ 222 h 2754"/>
              <a:gd name="T4" fmla="*/ 486 w 1485"/>
              <a:gd name="T5" fmla="*/ 99 h 2754"/>
              <a:gd name="T6" fmla="*/ 821 w 1485"/>
              <a:gd name="T7" fmla="*/ 23 h 2754"/>
              <a:gd name="T8" fmla="*/ 1111 w 1485"/>
              <a:gd name="T9" fmla="*/ 0 h 2754"/>
              <a:gd name="T10" fmla="*/ 1485 w 1485"/>
              <a:gd name="T11" fmla="*/ 18 h 2754"/>
              <a:gd name="T12" fmla="*/ 1474 w 1485"/>
              <a:gd name="T13" fmla="*/ 76 h 2754"/>
              <a:gd name="T14" fmla="*/ 1464 w 1485"/>
              <a:gd name="T15" fmla="*/ 2744 h 2754"/>
              <a:gd name="T16" fmla="*/ 5 w 1485"/>
              <a:gd name="T17" fmla="*/ 2754 h 2754"/>
              <a:gd name="T18" fmla="*/ 0 w 1485"/>
              <a:gd name="T19" fmla="*/ 357 h 2754"/>
              <a:gd name="connsiteX0" fmla="*/ 0 w 9969"/>
              <a:gd name="connsiteY0" fmla="*/ 1380 h 10084"/>
              <a:gd name="connsiteX1" fmla="*/ 1428 w 9969"/>
              <a:gd name="connsiteY1" fmla="*/ 890 h 10084"/>
              <a:gd name="connsiteX2" fmla="*/ 3273 w 9969"/>
              <a:gd name="connsiteY2" fmla="*/ 443 h 10084"/>
              <a:gd name="connsiteX3" fmla="*/ 5529 w 9969"/>
              <a:gd name="connsiteY3" fmla="*/ 168 h 10084"/>
              <a:gd name="connsiteX4" fmla="*/ 7481 w 9969"/>
              <a:gd name="connsiteY4" fmla="*/ 84 h 10084"/>
              <a:gd name="connsiteX5" fmla="*/ 9969 w 9969"/>
              <a:gd name="connsiteY5" fmla="*/ 0 h 10084"/>
              <a:gd name="connsiteX6" fmla="*/ 9926 w 9969"/>
              <a:gd name="connsiteY6" fmla="*/ 360 h 10084"/>
              <a:gd name="connsiteX7" fmla="*/ 9859 w 9969"/>
              <a:gd name="connsiteY7" fmla="*/ 10048 h 10084"/>
              <a:gd name="connsiteX8" fmla="*/ 34 w 9969"/>
              <a:gd name="connsiteY8" fmla="*/ 10084 h 10084"/>
              <a:gd name="connsiteX9" fmla="*/ 0 w 9969"/>
              <a:gd name="connsiteY9" fmla="*/ 1380 h 10084"/>
              <a:gd name="connsiteX0" fmla="*/ 0 w 10000"/>
              <a:gd name="connsiteY0" fmla="*/ 1369 h 10000"/>
              <a:gd name="connsiteX1" fmla="*/ 1432 w 10000"/>
              <a:gd name="connsiteY1" fmla="*/ 883 h 10000"/>
              <a:gd name="connsiteX2" fmla="*/ 3283 w 10000"/>
              <a:gd name="connsiteY2" fmla="*/ 439 h 10000"/>
              <a:gd name="connsiteX3" fmla="*/ 5546 w 10000"/>
              <a:gd name="connsiteY3" fmla="*/ 167 h 10000"/>
              <a:gd name="connsiteX4" fmla="*/ 7504 w 10000"/>
              <a:gd name="connsiteY4" fmla="*/ 25 h 10000"/>
              <a:gd name="connsiteX5" fmla="*/ 10000 w 10000"/>
              <a:gd name="connsiteY5" fmla="*/ 0 h 10000"/>
              <a:gd name="connsiteX6" fmla="*/ 9957 w 10000"/>
              <a:gd name="connsiteY6" fmla="*/ 357 h 10000"/>
              <a:gd name="connsiteX7" fmla="*/ 9890 w 10000"/>
              <a:gd name="connsiteY7" fmla="*/ 9964 h 10000"/>
              <a:gd name="connsiteX8" fmla="*/ 34 w 10000"/>
              <a:gd name="connsiteY8" fmla="*/ 10000 h 10000"/>
              <a:gd name="connsiteX9" fmla="*/ 0 w 10000"/>
              <a:gd name="connsiteY9" fmla="*/ 1369 h 10000"/>
              <a:gd name="connsiteX0" fmla="*/ 0 w 10000"/>
              <a:gd name="connsiteY0" fmla="*/ 1369 h 10000"/>
              <a:gd name="connsiteX1" fmla="*/ 1432 w 10000"/>
              <a:gd name="connsiteY1" fmla="*/ 883 h 10000"/>
              <a:gd name="connsiteX2" fmla="*/ 3283 w 10000"/>
              <a:gd name="connsiteY2" fmla="*/ 439 h 10000"/>
              <a:gd name="connsiteX3" fmla="*/ 5523 w 10000"/>
              <a:gd name="connsiteY3" fmla="*/ 80 h 10000"/>
              <a:gd name="connsiteX4" fmla="*/ 7504 w 10000"/>
              <a:gd name="connsiteY4" fmla="*/ 25 h 10000"/>
              <a:gd name="connsiteX5" fmla="*/ 10000 w 10000"/>
              <a:gd name="connsiteY5" fmla="*/ 0 h 10000"/>
              <a:gd name="connsiteX6" fmla="*/ 9957 w 10000"/>
              <a:gd name="connsiteY6" fmla="*/ 357 h 10000"/>
              <a:gd name="connsiteX7" fmla="*/ 9890 w 10000"/>
              <a:gd name="connsiteY7" fmla="*/ 9964 h 10000"/>
              <a:gd name="connsiteX8" fmla="*/ 34 w 10000"/>
              <a:gd name="connsiteY8" fmla="*/ 10000 h 10000"/>
              <a:gd name="connsiteX9" fmla="*/ 0 w 10000"/>
              <a:gd name="connsiteY9" fmla="*/ 1369 h 10000"/>
              <a:gd name="connsiteX0" fmla="*/ 0 w 10000"/>
              <a:gd name="connsiteY0" fmla="*/ 1369 h 10000"/>
              <a:gd name="connsiteX1" fmla="*/ 1432 w 10000"/>
              <a:gd name="connsiteY1" fmla="*/ 883 h 10000"/>
              <a:gd name="connsiteX2" fmla="*/ 3213 w 10000"/>
              <a:gd name="connsiteY2" fmla="*/ 361 h 10000"/>
              <a:gd name="connsiteX3" fmla="*/ 5523 w 10000"/>
              <a:gd name="connsiteY3" fmla="*/ 80 h 10000"/>
              <a:gd name="connsiteX4" fmla="*/ 7504 w 10000"/>
              <a:gd name="connsiteY4" fmla="*/ 25 h 10000"/>
              <a:gd name="connsiteX5" fmla="*/ 10000 w 10000"/>
              <a:gd name="connsiteY5" fmla="*/ 0 h 10000"/>
              <a:gd name="connsiteX6" fmla="*/ 9957 w 10000"/>
              <a:gd name="connsiteY6" fmla="*/ 357 h 10000"/>
              <a:gd name="connsiteX7" fmla="*/ 9890 w 10000"/>
              <a:gd name="connsiteY7" fmla="*/ 9964 h 10000"/>
              <a:gd name="connsiteX8" fmla="*/ 34 w 10000"/>
              <a:gd name="connsiteY8" fmla="*/ 10000 h 10000"/>
              <a:gd name="connsiteX9" fmla="*/ 0 w 10000"/>
              <a:gd name="connsiteY9" fmla="*/ 1369 h 10000"/>
              <a:gd name="connsiteX0" fmla="*/ 0 w 10000"/>
              <a:gd name="connsiteY0" fmla="*/ 1369 h 10000"/>
              <a:gd name="connsiteX1" fmla="*/ 1479 w 10000"/>
              <a:gd name="connsiteY1" fmla="*/ 670 h 10000"/>
              <a:gd name="connsiteX2" fmla="*/ 3213 w 10000"/>
              <a:gd name="connsiteY2" fmla="*/ 361 h 10000"/>
              <a:gd name="connsiteX3" fmla="*/ 5523 w 10000"/>
              <a:gd name="connsiteY3" fmla="*/ 80 h 10000"/>
              <a:gd name="connsiteX4" fmla="*/ 7504 w 10000"/>
              <a:gd name="connsiteY4" fmla="*/ 25 h 10000"/>
              <a:gd name="connsiteX5" fmla="*/ 10000 w 10000"/>
              <a:gd name="connsiteY5" fmla="*/ 0 h 10000"/>
              <a:gd name="connsiteX6" fmla="*/ 9957 w 10000"/>
              <a:gd name="connsiteY6" fmla="*/ 357 h 10000"/>
              <a:gd name="connsiteX7" fmla="*/ 9890 w 10000"/>
              <a:gd name="connsiteY7" fmla="*/ 9964 h 10000"/>
              <a:gd name="connsiteX8" fmla="*/ 34 w 10000"/>
              <a:gd name="connsiteY8" fmla="*/ 10000 h 10000"/>
              <a:gd name="connsiteX9" fmla="*/ 0 w 10000"/>
              <a:gd name="connsiteY9" fmla="*/ 1369 h 10000"/>
              <a:gd name="connsiteX0" fmla="*/ 0 w 10000"/>
              <a:gd name="connsiteY0" fmla="*/ 1078 h 10000"/>
              <a:gd name="connsiteX1" fmla="*/ 1479 w 10000"/>
              <a:gd name="connsiteY1" fmla="*/ 670 h 10000"/>
              <a:gd name="connsiteX2" fmla="*/ 3213 w 10000"/>
              <a:gd name="connsiteY2" fmla="*/ 361 h 10000"/>
              <a:gd name="connsiteX3" fmla="*/ 5523 w 10000"/>
              <a:gd name="connsiteY3" fmla="*/ 80 h 10000"/>
              <a:gd name="connsiteX4" fmla="*/ 7504 w 10000"/>
              <a:gd name="connsiteY4" fmla="*/ 25 h 10000"/>
              <a:gd name="connsiteX5" fmla="*/ 10000 w 10000"/>
              <a:gd name="connsiteY5" fmla="*/ 0 h 10000"/>
              <a:gd name="connsiteX6" fmla="*/ 9957 w 10000"/>
              <a:gd name="connsiteY6" fmla="*/ 357 h 10000"/>
              <a:gd name="connsiteX7" fmla="*/ 9890 w 10000"/>
              <a:gd name="connsiteY7" fmla="*/ 9964 h 10000"/>
              <a:gd name="connsiteX8" fmla="*/ 34 w 10000"/>
              <a:gd name="connsiteY8" fmla="*/ 10000 h 10000"/>
              <a:gd name="connsiteX9" fmla="*/ 0 w 10000"/>
              <a:gd name="connsiteY9" fmla="*/ 1078 h 10000"/>
              <a:gd name="connsiteX0" fmla="*/ 0 w 10000"/>
              <a:gd name="connsiteY0" fmla="*/ 1068 h 10000"/>
              <a:gd name="connsiteX1" fmla="*/ 1479 w 10000"/>
              <a:gd name="connsiteY1" fmla="*/ 670 h 10000"/>
              <a:gd name="connsiteX2" fmla="*/ 3213 w 10000"/>
              <a:gd name="connsiteY2" fmla="*/ 361 h 10000"/>
              <a:gd name="connsiteX3" fmla="*/ 5523 w 10000"/>
              <a:gd name="connsiteY3" fmla="*/ 80 h 10000"/>
              <a:gd name="connsiteX4" fmla="*/ 7504 w 10000"/>
              <a:gd name="connsiteY4" fmla="*/ 25 h 10000"/>
              <a:gd name="connsiteX5" fmla="*/ 10000 w 10000"/>
              <a:gd name="connsiteY5" fmla="*/ 0 h 10000"/>
              <a:gd name="connsiteX6" fmla="*/ 9957 w 10000"/>
              <a:gd name="connsiteY6" fmla="*/ 357 h 10000"/>
              <a:gd name="connsiteX7" fmla="*/ 9890 w 10000"/>
              <a:gd name="connsiteY7" fmla="*/ 9964 h 10000"/>
              <a:gd name="connsiteX8" fmla="*/ 34 w 10000"/>
              <a:gd name="connsiteY8" fmla="*/ 10000 h 10000"/>
              <a:gd name="connsiteX9" fmla="*/ 0 w 10000"/>
              <a:gd name="connsiteY9" fmla="*/ 1068 h 10000"/>
              <a:gd name="connsiteX0" fmla="*/ 0 w 10000"/>
              <a:gd name="connsiteY0" fmla="*/ 1068 h 10000"/>
              <a:gd name="connsiteX1" fmla="*/ 1508 w 10000"/>
              <a:gd name="connsiteY1" fmla="*/ 725 h 10000"/>
              <a:gd name="connsiteX2" fmla="*/ 3213 w 10000"/>
              <a:gd name="connsiteY2" fmla="*/ 361 h 10000"/>
              <a:gd name="connsiteX3" fmla="*/ 5523 w 10000"/>
              <a:gd name="connsiteY3" fmla="*/ 80 h 10000"/>
              <a:gd name="connsiteX4" fmla="*/ 7504 w 10000"/>
              <a:gd name="connsiteY4" fmla="*/ 25 h 10000"/>
              <a:gd name="connsiteX5" fmla="*/ 10000 w 10000"/>
              <a:gd name="connsiteY5" fmla="*/ 0 h 10000"/>
              <a:gd name="connsiteX6" fmla="*/ 9957 w 10000"/>
              <a:gd name="connsiteY6" fmla="*/ 357 h 10000"/>
              <a:gd name="connsiteX7" fmla="*/ 9890 w 10000"/>
              <a:gd name="connsiteY7" fmla="*/ 9964 h 10000"/>
              <a:gd name="connsiteX8" fmla="*/ 34 w 10000"/>
              <a:gd name="connsiteY8" fmla="*/ 10000 h 10000"/>
              <a:gd name="connsiteX9" fmla="*/ 0 w 10000"/>
              <a:gd name="connsiteY9" fmla="*/ 1068 h 10000"/>
              <a:gd name="connsiteX0" fmla="*/ 0 w 10000"/>
              <a:gd name="connsiteY0" fmla="*/ 1068 h 10000"/>
              <a:gd name="connsiteX1" fmla="*/ 1508 w 10000"/>
              <a:gd name="connsiteY1" fmla="*/ 725 h 10000"/>
              <a:gd name="connsiteX2" fmla="*/ 3228 w 10000"/>
              <a:gd name="connsiteY2" fmla="*/ 403 h 10000"/>
              <a:gd name="connsiteX3" fmla="*/ 5523 w 10000"/>
              <a:gd name="connsiteY3" fmla="*/ 80 h 10000"/>
              <a:gd name="connsiteX4" fmla="*/ 7504 w 10000"/>
              <a:gd name="connsiteY4" fmla="*/ 25 h 10000"/>
              <a:gd name="connsiteX5" fmla="*/ 10000 w 10000"/>
              <a:gd name="connsiteY5" fmla="*/ 0 h 10000"/>
              <a:gd name="connsiteX6" fmla="*/ 9957 w 10000"/>
              <a:gd name="connsiteY6" fmla="*/ 357 h 10000"/>
              <a:gd name="connsiteX7" fmla="*/ 9890 w 10000"/>
              <a:gd name="connsiteY7" fmla="*/ 9964 h 10000"/>
              <a:gd name="connsiteX8" fmla="*/ 34 w 10000"/>
              <a:gd name="connsiteY8" fmla="*/ 10000 h 10000"/>
              <a:gd name="connsiteX9" fmla="*/ 0 w 10000"/>
              <a:gd name="connsiteY9" fmla="*/ 1068 h 10000"/>
              <a:gd name="connsiteX0" fmla="*/ 0 w 10000"/>
              <a:gd name="connsiteY0" fmla="*/ 1068 h 10000"/>
              <a:gd name="connsiteX1" fmla="*/ 1508 w 10000"/>
              <a:gd name="connsiteY1" fmla="*/ 725 h 10000"/>
              <a:gd name="connsiteX2" fmla="*/ 3228 w 10000"/>
              <a:gd name="connsiteY2" fmla="*/ 403 h 10000"/>
              <a:gd name="connsiteX3" fmla="*/ 5523 w 10000"/>
              <a:gd name="connsiteY3" fmla="*/ 128 h 10000"/>
              <a:gd name="connsiteX4" fmla="*/ 7504 w 10000"/>
              <a:gd name="connsiteY4" fmla="*/ 25 h 10000"/>
              <a:gd name="connsiteX5" fmla="*/ 10000 w 10000"/>
              <a:gd name="connsiteY5" fmla="*/ 0 h 10000"/>
              <a:gd name="connsiteX6" fmla="*/ 9957 w 10000"/>
              <a:gd name="connsiteY6" fmla="*/ 357 h 10000"/>
              <a:gd name="connsiteX7" fmla="*/ 9890 w 10000"/>
              <a:gd name="connsiteY7" fmla="*/ 9964 h 10000"/>
              <a:gd name="connsiteX8" fmla="*/ 34 w 10000"/>
              <a:gd name="connsiteY8" fmla="*/ 10000 h 10000"/>
              <a:gd name="connsiteX9" fmla="*/ 0 w 10000"/>
              <a:gd name="connsiteY9" fmla="*/ 1068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000" h="10000">
                <a:moveTo>
                  <a:pt x="0" y="1068"/>
                </a:moveTo>
                <a:lnTo>
                  <a:pt x="1508" y="725"/>
                </a:lnTo>
                <a:lnTo>
                  <a:pt x="3228" y="403"/>
                </a:lnTo>
                <a:lnTo>
                  <a:pt x="5523" y="128"/>
                </a:lnTo>
                <a:lnTo>
                  <a:pt x="7504" y="25"/>
                </a:lnTo>
                <a:lnTo>
                  <a:pt x="10000" y="0"/>
                </a:lnTo>
                <a:cubicBezTo>
                  <a:pt x="9986" y="119"/>
                  <a:pt x="9971" y="238"/>
                  <a:pt x="9957" y="357"/>
                </a:cubicBezTo>
                <a:cubicBezTo>
                  <a:pt x="9935" y="3559"/>
                  <a:pt x="9912" y="6762"/>
                  <a:pt x="9890" y="9964"/>
                </a:cubicBezTo>
                <a:lnTo>
                  <a:pt x="34" y="10000"/>
                </a:lnTo>
                <a:cubicBezTo>
                  <a:pt x="23" y="7123"/>
                  <a:pt x="11" y="3944"/>
                  <a:pt x="0" y="1068"/>
                </a:cubicBezTo>
                <a:close/>
              </a:path>
            </a:pathLst>
          </a:custGeom>
          <a:gradFill flip="none" rotWithShape="1">
            <a:gsLst>
              <a:gs pos="0">
                <a:srgbClr val="B3E9FF"/>
              </a:gs>
              <a:gs pos="100000">
                <a:srgbClr val="E5F8FF"/>
              </a:gs>
            </a:gsLst>
            <a:lin ang="5400000" scaled="1"/>
            <a:tileRect/>
          </a:gradFill>
          <a:ln>
            <a:noFill/>
          </a:ln>
          <a:effectLst/>
          <a:extLst/>
        </p:spPr>
        <p:txBody>
          <a:bodyPr/>
          <a:lstStyle/>
          <a:p>
            <a:pPr>
              <a:defRPr/>
            </a:pPr>
            <a:endParaRPr lang="en-GB" sz="1000" dirty="0">
              <a:solidFill>
                <a:srgbClr val="000000"/>
              </a:solidFill>
              <a:latin typeface="Arial"/>
            </a:endParaRPr>
          </a:p>
        </p:txBody>
      </p:sp>
      <p:sp>
        <p:nvSpPr>
          <p:cNvPr id="11" name="Freeform 67"/>
          <p:cNvSpPr>
            <a:spLocks/>
          </p:cNvSpPr>
          <p:nvPr/>
        </p:nvSpPr>
        <p:spPr bwMode="gray">
          <a:xfrm>
            <a:off x="2281256" y="2779753"/>
            <a:ext cx="1608868" cy="3498097"/>
          </a:xfrm>
          <a:custGeom>
            <a:avLst/>
            <a:gdLst>
              <a:gd name="T0" fmla="*/ 0 w 1474"/>
              <a:gd name="T1" fmla="*/ 347 h 2458"/>
              <a:gd name="T2" fmla="*/ 211 w 1474"/>
              <a:gd name="T3" fmla="*/ 216 h 2458"/>
              <a:gd name="T4" fmla="*/ 482 w 1474"/>
              <a:gd name="T5" fmla="*/ 97 h 2458"/>
              <a:gd name="T6" fmla="*/ 815 w 1474"/>
              <a:gd name="T7" fmla="*/ 23 h 2458"/>
              <a:gd name="T8" fmla="*/ 1103 w 1474"/>
              <a:gd name="T9" fmla="*/ 0 h 2458"/>
              <a:gd name="T10" fmla="*/ 1474 w 1474"/>
              <a:gd name="T11" fmla="*/ 17 h 2458"/>
              <a:gd name="T12" fmla="*/ 1463 w 1474"/>
              <a:gd name="T13" fmla="*/ 74 h 2458"/>
              <a:gd name="T14" fmla="*/ 1465 w 1474"/>
              <a:gd name="T15" fmla="*/ 2458 h 2458"/>
              <a:gd name="T16" fmla="*/ 1 w 1474"/>
              <a:gd name="T17" fmla="*/ 2458 h 2458"/>
              <a:gd name="T18" fmla="*/ 0 w 1474"/>
              <a:gd name="T19" fmla="*/ 347 h 2458"/>
              <a:gd name="connsiteX0" fmla="*/ 4 w 9993"/>
              <a:gd name="connsiteY0" fmla="*/ 1576 h 10000"/>
              <a:gd name="connsiteX1" fmla="*/ 1424 w 9993"/>
              <a:gd name="connsiteY1" fmla="*/ 879 h 10000"/>
              <a:gd name="connsiteX2" fmla="*/ 3263 w 9993"/>
              <a:gd name="connsiteY2" fmla="*/ 395 h 10000"/>
              <a:gd name="connsiteX3" fmla="*/ 5522 w 9993"/>
              <a:gd name="connsiteY3" fmla="*/ 94 h 10000"/>
              <a:gd name="connsiteX4" fmla="*/ 7476 w 9993"/>
              <a:gd name="connsiteY4" fmla="*/ 0 h 10000"/>
              <a:gd name="connsiteX5" fmla="*/ 9993 w 9993"/>
              <a:gd name="connsiteY5" fmla="*/ 69 h 10000"/>
              <a:gd name="connsiteX6" fmla="*/ 9918 w 9993"/>
              <a:gd name="connsiteY6" fmla="*/ 301 h 10000"/>
              <a:gd name="connsiteX7" fmla="*/ 9932 w 9993"/>
              <a:gd name="connsiteY7" fmla="*/ 10000 h 10000"/>
              <a:gd name="connsiteX8" fmla="*/ 0 w 9993"/>
              <a:gd name="connsiteY8" fmla="*/ 10000 h 10000"/>
              <a:gd name="connsiteX9" fmla="*/ 4 w 9993"/>
              <a:gd name="connsiteY9" fmla="*/ 1576 h 10000"/>
              <a:gd name="connsiteX0" fmla="*/ 4 w 10000"/>
              <a:gd name="connsiteY0" fmla="*/ 1576 h 10000"/>
              <a:gd name="connsiteX1" fmla="*/ 1509 w 10000"/>
              <a:gd name="connsiteY1" fmla="*/ 979 h 10000"/>
              <a:gd name="connsiteX2" fmla="*/ 3265 w 10000"/>
              <a:gd name="connsiteY2" fmla="*/ 395 h 10000"/>
              <a:gd name="connsiteX3" fmla="*/ 5526 w 10000"/>
              <a:gd name="connsiteY3" fmla="*/ 94 h 10000"/>
              <a:gd name="connsiteX4" fmla="*/ 7481 w 10000"/>
              <a:gd name="connsiteY4" fmla="*/ 0 h 10000"/>
              <a:gd name="connsiteX5" fmla="*/ 10000 w 10000"/>
              <a:gd name="connsiteY5" fmla="*/ 69 h 10000"/>
              <a:gd name="connsiteX6" fmla="*/ 9925 w 10000"/>
              <a:gd name="connsiteY6" fmla="*/ 301 h 10000"/>
              <a:gd name="connsiteX7" fmla="*/ 9939 w 10000"/>
              <a:gd name="connsiteY7" fmla="*/ 10000 h 10000"/>
              <a:gd name="connsiteX8" fmla="*/ 0 w 10000"/>
              <a:gd name="connsiteY8" fmla="*/ 10000 h 10000"/>
              <a:gd name="connsiteX9" fmla="*/ 4 w 10000"/>
              <a:gd name="connsiteY9" fmla="*/ 1576 h 10000"/>
              <a:gd name="connsiteX0" fmla="*/ 4 w 10000"/>
              <a:gd name="connsiteY0" fmla="*/ 1576 h 10000"/>
              <a:gd name="connsiteX1" fmla="*/ 1509 w 10000"/>
              <a:gd name="connsiteY1" fmla="*/ 979 h 10000"/>
              <a:gd name="connsiteX2" fmla="*/ 3339 w 10000"/>
              <a:gd name="connsiteY2" fmla="*/ 454 h 10000"/>
              <a:gd name="connsiteX3" fmla="*/ 5526 w 10000"/>
              <a:gd name="connsiteY3" fmla="*/ 94 h 10000"/>
              <a:gd name="connsiteX4" fmla="*/ 7481 w 10000"/>
              <a:gd name="connsiteY4" fmla="*/ 0 h 10000"/>
              <a:gd name="connsiteX5" fmla="*/ 10000 w 10000"/>
              <a:gd name="connsiteY5" fmla="*/ 69 h 10000"/>
              <a:gd name="connsiteX6" fmla="*/ 9925 w 10000"/>
              <a:gd name="connsiteY6" fmla="*/ 301 h 10000"/>
              <a:gd name="connsiteX7" fmla="*/ 9939 w 10000"/>
              <a:gd name="connsiteY7" fmla="*/ 10000 h 10000"/>
              <a:gd name="connsiteX8" fmla="*/ 0 w 10000"/>
              <a:gd name="connsiteY8" fmla="*/ 10000 h 10000"/>
              <a:gd name="connsiteX9" fmla="*/ 4 w 10000"/>
              <a:gd name="connsiteY9" fmla="*/ 1576 h 10000"/>
              <a:gd name="connsiteX0" fmla="*/ 4 w 9940"/>
              <a:gd name="connsiteY0" fmla="*/ 1656 h 10080"/>
              <a:gd name="connsiteX1" fmla="*/ 1509 w 9940"/>
              <a:gd name="connsiteY1" fmla="*/ 1059 h 10080"/>
              <a:gd name="connsiteX2" fmla="*/ 3339 w 9940"/>
              <a:gd name="connsiteY2" fmla="*/ 534 h 10080"/>
              <a:gd name="connsiteX3" fmla="*/ 5526 w 9940"/>
              <a:gd name="connsiteY3" fmla="*/ 174 h 10080"/>
              <a:gd name="connsiteX4" fmla="*/ 7481 w 9940"/>
              <a:gd name="connsiteY4" fmla="*/ 80 h 10080"/>
              <a:gd name="connsiteX5" fmla="*/ 9940 w 9940"/>
              <a:gd name="connsiteY5" fmla="*/ 2 h 10080"/>
              <a:gd name="connsiteX6" fmla="*/ 9925 w 9940"/>
              <a:gd name="connsiteY6" fmla="*/ 381 h 10080"/>
              <a:gd name="connsiteX7" fmla="*/ 9939 w 9940"/>
              <a:gd name="connsiteY7" fmla="*/ 10080 h 10080"/>
              <a:gd name="connsiteX8" fmla="*/ 0 w 9940"/>
              <a:gd name="connsiteY8" fmla="*/ 10080 h 10080"/>
              <a:gd name="connsiteX9" fmla="*/ 4 w 9940"/>
              <a:gd name="connsiteY9" fmla="*/ 1656 h 10080"/>
              <a:gd name="connsiteX0" fmla="*/ 4 w 10000"/>
              <a:gd name="connsiteY0" fmla="*/ 1643 h 10000"/>
              <a:gd name="connsiteX1" fmla="*/ 1518 w 10000"/>
              <a:gd name="connsiteY1" fmla="*/ 745 h 10000"/>
              <a:gd name="connsiteX2" fmla="*/ 3359 w 10000"/>
              <a:gd name="connsiteY2" fmla="*/ 530 h 10000"/>
              <a:gd name="connsiteX3" fmla="*/ 5559 w 10000"/>
              <a:gd name="connsiteY3" fmla="*/ 173 h 10000"/>
              <a:gd name="connsiteX4" fmla="*/ 7526 w 10000"/>
              <a:gd name="connsiteY4" fmla="*/ 79 h 10000"/>
              <a:gd name="connsiteX5" fmla="*/ 10000 w 10000"/>
              <a:gd name="connsiteY5" fmla="*/ 2 h 10000"/>
              <a:gd name="connsiteX6" fmla="*/ 9985 w 10000"/>
              <a:gd name="connsiteY6" fmla="*/ 378 h 10000"/>
              <a:gd name="connsiteX7" fmla="*/ 9999 w 10000"/>
              <a:gd name="connsiteY7" fmla="*/ 10000 h 10000"/>
              <a:gd name="connsiteX8" fmla="*/ 0 w 10000"/>
              <a:gd name="connsiteY8" fmla="*/ 10000 h 10000"/>
              <a:gd name="connsiteX9" fmla="*/ 4 w 10000"/>
              <a:gd name="connsiteY9" fmla="*/ 1643 h 10000"/>
              <a:gd name="connsiteX0" fmla="*/ 4 w 10000"/>
              <a:gd name="connsiteY0" fmla="*/ 1643 h 10000"/>
              <a:gd name="connsiteX1" fmla="*/ 1518 w 10000"/>
              <a:gd name="connsiteY1" fmla="*/ 745 h 10000"/>
              <a:gd name="connsiteX2" fmla="*/ 3427 w 10000"/>
              <a:gd name="connsiteY2" fmla="*/ 393 h 10000"/>
              <a:gd name="connsiteX3" fmla="*/ 5559 w 10000"/>
              <a:gd name="connsiteY3" fmla="*/ 173 h 10000"/>
              <a:gd name="connsiteX4" fmla="*/ 7526 w 10000"/>
              <a:gd name="connsiteY4" fmla="*/ 79 h 10000"/>
              <a:gd name="connsiteX5" fmla="*/ 10000 w 10000"/>
              <a:gd name="connsiteY5" fmla="*/ 2 h 10000"/>
              <a:gd name="connsiteX6" fmla="*/ 9985 w 10000"/>
              <a:gd name="connsiteY6" fmla="*/ 378 h 10000"/>
              <a:gd name="connsiteX7" fmla="*/ 9999 w 10000"/>
              <a:gd name="connsiteY7" fmla="*/ 10000 h 10000"/>
              <a:gd name="connsiteX8" fmla="*/ 0 w 10000"/>
              <a:gd name="connsiteY8" fmla="*/ 10000 h 10000"/>
              <a:gd name="connsiteX9" fmla="*/ 4 w 10000"/>
              <a:gd name="connsiteY9" fmla="*/ 1643 h 10000"/>
              <a:gd name="connsiteX0" fmla="*/ 4 w 10000"/>
              <a:gd name="connsiteY0" fmla="*/ 1643 h 10000"/>
              <a:gd name="connsiteX1" fmla="*/ 1518 w 10000"/>
              <a:gd name="connsiteY1" fmla="*/ 745 h 10000"/>
              <a:gd name="connsiteX2" fmla="*/ 3427 w 10000"/>
              <a:gd name="connsiteY2" fmla="*/ 393 h 10000"/>
              <a:gd name="connsiteX3" fmla="*/ 5627 w 10000"/>
              <a:gd name="connsiteY3" fmla="*/ 131 h 10000"/>
              <a:gd name="connsiteX4" fmla="*/ 7526 w 10000"/>
              <a:gd name="connsiteY4" fmla="*/ 79 h 10000"/>
              <a:gd name="connsiteX5" fmla="*/ 10000 w 10000"/>
              <a:gd name="connsiteY5" fmla="*/ 2 h 10000"/>
              <a:gd name="connsiteX6" fmla="*/ 9985 w 10000"/>
              <a:gd name="connsiteY6" fmla="*/ 378 h 10000"/>
              <a:gd name="connsiteX7" fmla="*/ 9999 w 10000"/>
              <a:gd name="connsiteY7" fmla="*/ 10000 h 10000"/>
              <a:gd name="connsiteX8" fmla="*/ 0 w 10000"/>
              <a:gd name="connsiteY8" fmla="*/ 10000 h 10000"/>
              <a:gd name="connsiteX9" fmla="*/ 4 w 10000"/>
              <a:gd name="connsiteY9" fmla="*/ 1643 h 10000"/>
              <a:gd name="connsiteX0" fmla="*/ 4 w 10000"/>
              <a:gd name="connsiteY0" fmla="*/ 1647 h 10004"/>
              <a:gd name="connsiteX1" fmla="*/ 1518 w 10000"/>
              <a:gd name="connsiteY1" fmla="*/ 749 h 10004"/>
              <a:gd name="connsiteX2" fmla="*/ 3427 w 10000"/>
              <a:gd name="connsiteY2" fmla="*/ 397 h 10004"/>
              <a:gd name="connsiteX3" fmla="*/ 5627 w 10000"/>
              <a:gd name="connsiteY3" fmla="*/ 135 h 10004"/>
              <a:gd name="connsiteX4" fmla="*/ 7571 w 10000"/>
              <a:gd name="connsiteY4" fmla="*/ 9 h 10004"/>
              <a:gd name="connsiteX5" fmla="*/ 10000 w 10000"/>
              <a:gd name="connsiteY5" fmla="*/ 6 h 10004"/>
              <a:gd name="connsiteX6" fmla="*/ 9985 w 10000"/>
              <a:gd name="connsiteY6" fmla="*/ 382 h 10004"/>
              <a:gd name="connsiteX7" fmla="*/ 9999 w 10000"/>
              <a:gd name="connsiteY7" fmla="*/ 10004 h 10004"/>
              <a:gd name="connsiteX8" fmla="*/ 0 w 10000"/>
              <a:gd name="connsiteY8" fmla="*/ 10004 h 10004"/>
              <a:gd name="connsiteX9" fmla="*/ 4 w 10000"/>
              <a:gd name="connsiteY9" fmla="*/ 1647 h 10004"/>
              <a:gd name="connsiteX0" fmla="*/ 4 w 10000"/>
              <a:gd name="connsiteY0" fmla="*/ 1204 h 10004"/>
              <a:gd name="connsiteX1" fmla="*/ 1518 w 10000"/>
              <a:gd name="connsiteY1" fmla="*/ 749 h 10004"/>
              <a:gd name="connsiteX2" fmla="*/ 3427 w 10000"/>
              <a:gd name="connsiteY2" fmla="*/ 397 h 10004"/>
              <a:gd name="connsiteX3" fmla="*/ 5627 w 10000"/>
              <a:gd name="connsiteY3" fmla="*/ 135 h 10004"/>
              <a:gd name="connsiteX4" fmla="*/ 7571 w 10000"/>
              <a:gd name="connsiteY4" fmla="*/ 9 h 10004"/>
              <a:gd name="connsiteX5" fmla="*/ 10000 w 10000"/>
              <a:gd name="connsiteY5" fmla="*/ 6 h 10004"/>
              <a:gd name="connsiteX6" fmla="*/ 9985 w 10000"/>
              <a:gd name="connsiteY6" fmla="*/ 382 h 10004"/>
              <a:gd name="connsiteX7" fmla="*/ 9999 w 10000"/>
              <a:gd name="connsiteY7" fmla="*/ 10004 h 10004"/>
              <a:gd name="connsiteX8" fmla="*/ 0 w 10000"/>
              <a:gd name="connsiteY8" fmla="*/ 10004 h 10004"/>
              <a:gd name="connsiteX9" fmla="*/ 4 w 10000"/>
              <a:gd name="connsiteY9" fmla="*/ 1204 h 10004"/>
              <a:gd name="connsiteX0" fmla="*/ 4 w 10000"/>
              <a:gd name="connsiteY0" fmla="*/ 1204 h 10004"/>
              <a:gd name="connsiteX1" fmla="*/ 1547 w 10000"/>
              <a:gd name="connsiteY1" fmla="*/ 809 h 10004"/>
              <a:gd name="connsiteX2" fmla="*/ 3427 w 10000"/>
              <a:gd name="connsiteY2" fmla="*/ 397 h 10004"/>
              <a:gd name="connsiteX3" fmla="*/ 5627 w 10000"/>
              <a:gd name="connsiteY3" fmla="*/ 135 h 10004"/>
              <a:gd name="connsiteX4" fmla="*/ 7571 w 10000"/>
              <a:gd name="connsiteY4" fmla="*/ 9 h 10004"/>
              <a:gd name="connsiteX5" fmla="*/ 10000 w 10000"/>
              <a:gd name="connsiteY5" fmla="*/ 6 h 10004"/>
              <a:gd name="connsiteX6" fmla="*/ 9985 w 10000"/>
              <a:gd name="connsiteY6" fmla="*/ 382 h 10004"/>
              <a:gd name="connsiteX7" fmla="*/ 9999 w 10000"/>
              <a:gd name="connsiteY7" fmla="*/ 10004 h 10004"/>
              <a:gd name="connsiteX8" fmla="*/ 0 w 10000"/>
              <a:gd name="connsiteY8" fmla="*/ 10004 h 10004"/>
              <a:gd name="connsiteX9" fmla="*/ 4 w 10000"/>
              <a:gd name="connsiteY9" fmla="*/ 1204 h 10004"/>
              <a:gd name="connsiteX0" fmla="*/ 4 w 10000"/>
              <a:gd name="connsiteY0" fmla="*/ 1204 h 10004"/>
              <a:gd name="connsiteX1" fmla="*/ 1547 w 10000"/>
              <a:gd name="connsiteY1" fmla="*/ 809 h 10004"/>
              <a:gd name="connsiteX2" fmla="*/ 3427 w 10000"/>
              <a:gd name="connsiteY2" fmla="*/ 450 h 10004"/>
              <a:gd name="connsiteX3" fmla="*/ 5627 w 10000"/>
              <a:gd name="connsiteY3" fmla="*/ 135 h 10004"/>
              <a:gd name="connsiteX4" fmla="*/ 7571 w 10000"/>
              <a:gd name="connsiteY4" fmla="*/ 9 h 10004"/>
              <a:gd name="connsiteX5" fmla="*/ 10000 w 10000"/>
              <a:gd name="connsiteY5" fmla="*/ 6 h 10004"/>
              <a:gd name="connsiteX6" fmla="*/ 9985 w 10000"/>
              <a:gd name="connsiteY6" fmla="*/ 382 h 10004"/>
              <a:gd name="connsiteX7" fmla="*/ 9999 w 10000"/>
              <a:gd name="connsiteY7" fmla="*/ 10004 h 10004"/>
              <a:gd name="connsiteX8" fmla="*/ 0 w 10000"/>
              <a:gd name="connsiteY8" fmla="*/ 10004 h 10004"/>
              <a:gd name="connsiteX9" fmla="*/ 4 w 10000"/>
              <a:gd name="connsiteY9" fmla="*/ 1204 h 10004"/>
              <a:gd name="connsiteX0" fmla="*/ 4 w 10000"/>
              <a:gd name="connsiteY0" fmla="*/ 1257 h 10004"/>
              <a:gd name="connsiteX1" fmla="*/ 1547 w 10000"/>
              <a:gd name="connsiteY1" fmla="*/ 809 h 10004"/>
              <a:gd name="connsiteX2" fmla="*/ 3427 w 10000"/>
              <a:gd name="connsiteY2" fmla="*/ 450 h 10004"/>
              <a:gd name="connsiteX3" fmla="*/ 5627 w 10000"/>
              <a:gd name="connsiteY3" fmla="*/ 135 h 10004"/>
              <a:gd name="connsiteX4" fmla="*/ 7571 w 10000"/>
              <a:gd name="connsiteY4" fmla="*/ 9 h 10004"/>
              <a:gd name="connsiteX5" fmla="*/ 10000 w 10000"/>
              <a:gd name="connsiteY5" fmla="*/ 6 h 10004"/>
              <a:gd name="connsiteX6" fmla="*/ 9985 w 10000"/>
              <a:gd name="connsiteY6" fmla="*/ 382 h 10004"/>
              <a:gd name="connsiteX7" fmla="*/ 9999 w 10000"/>
              <a:gd name="connsiteY7" fmla="*/ 10004 h 10004"/>
              <a:gd name="connsiteX8" fmla="*/ 0 w 10000"/>
              <a:gd name="connsiteY8" fmla="*/ 10004 h 10004"/>
              <a:gd name="connsiteX9" fmla="*/ 4 w 10000"/>
              <a:gd name="connsiteY9" fmla="*/ 1257 h 100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000" h="10004">
                <a:moveTo>
                  <a:pt x="4" y="1257"/>
                </a:moveTo>
                <a:lnTo>
                  <a:pt x="1547" y="809"/>
                </a:lnTo>
                <a:lnTo>
                  <a:pt x="3427" y="450"/>
                </a:lnTo>
                <a:lnTo>
                  <a:pt x="5627" y="135"/>
                </a:lnTo>
                <a:lnTo>
                  <a:pt x="7571" y="9"/>
                </a:lnTo>
                <a:cubicBezTo>
                  <a:pt x="8416" y="32"/>
                  <a:pt x="9155" y="-17"/>
                  <a:pt x="10000" y="6"/>
                </a:cubicBezTo>
                <a:cubicBezTo>
                  <a:pt x="9975" y="82"/>
                  <a:pt x="10010" y="306"/>
                  <a:pt x="9985" y="382"/>
                </a:cubicBezTo>
                <a:cubicBezTo>
                  <a:pt x="9990" y="3589"/>
                  <a:pt x="9994" y="6797"/>
                  <a:pt x="9999" y="10004"/>
                </a:cubicBezTo>
                <a:lnTo>
                  <a:pt x="0" y="10004"/>
                </a:lnTo>
                <a:cubicBezTo>
                  <a:pt x="1" y="7218"/>
                  <a:pt x="3" y="4043"/>
                  <a:pt x="4" y="1257"/>
                </a:cubicBezTo>
                <a:close/>
              </a:path>
            </a:pathLst>
          </a:custGeom>
          <a:gradFill flip="none" rotWithShape="1">
            <a:gsLst>
              <a:gs pos="0">
                <a:srgbClr val="B3E9FF"/>
              </a:gs>
              <a:gs pos="100000">
                <a:srgbClr val="E5F8FF"/>
              </a:gs>
            </a:gsLst>
            <a:lin ang="5400000" scaled="1"/>
            <a:tileRect/>
          </a:gradFill>
          <a:ln>
            <a:noFill/>
          </a:ln>
          <a:effectLst/>
          <a:extLst/>
        </p:spPr>
        <p:txBody>
          <a:bodyPr/>
          <a:lstStyle/>
          <a:p>
            <a:pPr>
              <a:defRPr/>
            </a:pPr>
            <a:endParaRPr lang="en-GB" sz="1000" dirty="0">
              <a:solidFill>
                <a:srgbClr val="000000"/>
              </a:solidFill>
              <a:latin typeface="Arial"/>
            </a:endParaRPr>
          </a:p>
        </p:txBody>
      </p:sp>
      <p:sp>
        <p:nvSpPr>
          <p:cNvPr id="12" name="Freeform 67"/>
          <p:cNvSpPr>
            <a:spLocks/>
          </p:cNvSpPr>
          <p:nvPr/>
        </p:nvSpPr>
        <p:spPr bwMode="gray">
          <a:xfrm>
            <a:off x="670532" y="3154308"/>
            <a:ext cx="1601403" cy="3109635"/>
          </a:xfrm>
          <a:custGeom>
            <a:avLst/>
            <a:gdLst>
              <a:gd name="T0" fmla="*/ 0 w 1474"/>
              <a:gd name="T1" fmla="*/ 347 h 2458"/>
              <a:gd name="T2" fmla="*/ 211 w 1474"/>
              <a:gd name="T3" fmla="*/ 216 h 2458"/>
              <a:gd name="T4" fmla="*/ 482 w 1474"/>
              <a:gd name="T5" fmla="*/ 97 h 2458"/>
              <a:gd name="T6" fmla="*/ 815 w 1474"/>
              <a:gd name="T7" fmla="*/ 23 h 2458"/>
              <a:gd name="T8" fmla="*/ 1103 w 1474"/>
              <a:gd name="T9" fmla="*/ 0 h 2458"/>
              <a:gd name="T10" fmla="*/ 1474 w 1474"/>
              <a:gd name="T11" fmla="*/ 17 h 2458"/>
              <a:gd name="T12" fmla="*/ 1463 w 1474"/>
              <a:gd name="T13" fmla="*/ 74 h 2458"/>
              <a:gd name="T14" fmla="*/ 1465 w 1474"/>
              <a:gd name="T15" fmla="*/ 2458 h 2458"/>
              <a:gd name="T16" fmla="*/ 1 w 1474"/>
              <a:gd name="T17" fmla="*/ 2458 h 2458"/>
              <a:gd name="T18" fmla="*/ 0 w 1474"/>
              <a:gd name="T19" fmla="*/ 347 h 2458"/>
              <a:gd name="connsiteX0" fmla="*/ 0 w 10000"/>
              <a:gd name="connsiteY0" fmla="*/ 1412 h 10000"/>
              <a:gd name="connsiteX1" fmla="*/ 1536 w 10000"/>
              <a:gd name="connsiteY1" fmla="*/ 1042 h 10000"/>
              <a:gd name="connsiteX2" fmla="*/ 3270 w 10000"/>
              <a:gd name="connsiteY2" fmla="*/ 395 h 10000"/>
              <a:gd name="connsiteX3" fmla="*/ 5529 w 10000"/>
              <a:gd name="connsiteY3" fmla="*/ 94 h 10000"/>
              <a:gd name="connsiteX4" fmla="*/ 7483 w 10000"/>
              <a:gd name="connsiteY4" fmla="*/ 0 h 10000"/>
              <a:gd name="connsiteX5" fmla="*/ 10000 w 10000"/>
              <a:gd name="connsiteY5" fmla="*/ 69 h 10000"/>
              <a:gd name="connsiteX6" fmla="*/ 9925 w 10000"/>
              <a:gd name="connsiteY6" fmla="*/ 301 h 10000"/>
              <a:gd name="connsiteX7" fmla="*/ 9939 w 10000"/>
              <a:gd name="connsiteY7" fmla="*/ 10000 h 10000"/>
              <a:gd name="connsiteX8" fmla="*/ 7 w 10000"/>
              <a:gd name="connsiteY8" fmla="*/ 10000 h 10000"/>
              <a:gd name="connsiteX9" fmla="*/ 0 w 10000"/>
              <a:gd name="connsiteY9" fmla="*/ 1412 h 10000"/>
              <a:gd name="connsiteX0" fmla="*/ 0 w 10000"/>
              <a:gd name="connsiteY0" fmla="*/ 1819 h 10000"/>
              <a:gd name="connsiteX1" fmla="*/ 1536 w 10000"/>
              <a:gd name="connsiteY1" fmla="*/ 1042 h 10000"/>
              <a:gd name="connsiteX2" fmla="*/ 3270 w 10000"/>
              <a:gd name="connsiteY2" fmla="*/ 395 h 10000"/>
              <a:gd name="connsiteX3" fmla="*/ 5529 w 10000"/>
              <a:gd name="connsiteY3" fmla="*/ 94 h 10000"/>
              <a:gd name="connsiteX4" fmla="*/ 7483 w 10000"/>
              <a:gd name="connsiteY4" fmla="*/ 0 h 10000"/>
              <a:gd name="connsiteX5" fmla="*/ 10000 w 10000"/>
              <a:gd name="connsiteY5" fmla="*/ 69 h 10000"/>
              <a:gd name="connsiteX6" fmla="*/ 9925 w 10000"/>
              <a:gd name="connsiteY6" fmla="*/ 301 h 10000"/>
              <a:gd name="connsiteX7" fmla="*/ 9939 w 10000"/>
              <a:gd name="connsiteY7" fmla="*/ 10000 h 10000"/>
              <a:gd name="connsiteX8" fmla="*/ 7 w 10000"/>
              <a:gd name="connsiteY8" fmla="*/ 10000 h 10000"/>
              <a:gd name="connsiteX9" fmla="*/ 0 w 10000"/>
              <a:gd name="connsiteY9" fmla="*/ 1819 h 10000"/>
              <a:gd name="connsiteX0" fmla="*/ 0 w 10000"/>
              <a:gd name="connsiteY0" fmla="*/ 2039 h 10220"/>
              <a:gd name="connsiteX1" fmla="*/ 1536 w 10000"/>
              <a:gd name="connsiteY1" fmla="*/ 1262 h 10220"/>
              <a:gd name="connsiteX2" fmla="*/ 3270 w 10000"/>
              <a:gd name="connsiteY2" fmla="*/ 615 h 10220"/>
              <a:gd name="connsiteX3" fmla="*/ 5529 w 10000"/>
              <a:gd name="connsiteY3" fmla="*/ 314 h 10220"/>
              <a:gd name="connsiteX4" fmla="*/ 7604 w 10000"/>
              <a:gd name="connsiteY4" fmla="*/ 0 h 10220"/>
              <a:gd name="connsiteX5" fmla="*/ 10000 w 10000"/>
              <a:gd name="connsiteY5" fmla="*/ 289 h 10220"/>
              <a:gd name="connsiteX6" fmla="*/ 9925 w 10000"/>
              <a:gd name="connsiteY6" fmla="*/ 521 h 10220"/>
              <a:gd name="connsiteX7" fmla="*/ 9939 w 10000"/>
              <a:gd name="connsiteY7" fmla="*/ 10220 h 10220"/>
              <a:gd name="connsiteX8" fmla="*/ 7 w 10000"/>
              <a:gd name="connsiteY8" fmla="*/ 10220 h 10220"/>
              <a:gd name="connsiteX9" fmla="*/ 0 w 10000"/>
              <a:gd name="connsiteY9" fmla="*/ 2039 h 10220"/>
              <a:gd name="connsiteX0" fmla="*/ 0 w 10000"/>
              <a:gd name="connsiteY0" fmla="*/ 2039 h 10220"/>
              <a:gd name="connsiteX1" fmla="*/ 1536 w 10000"/>
              <a:gd name="connsiteY1" fmla="*/ 1262 h 10220"/>
              <a:gd name="connsiteX2" fmla="*/ 3452 w 10000"/>
              <a:gd name="connsiteY2" fmla="*/ 688 h 10220"/>
              <a:gd name="connsiteX3" fmla="*/ 5529 w 10000"/>
              <a:gd name="connsiteY3" fmla="*/ 314 h 10220"/>
              <a:gd name="connsiteX4" fmla="*/ 7604 w 10000"/>
              <a:gd name="connsiteY4" fmla="*/ 0 h 10220"/>
              <a:gd name="connsiteX5" fmla="*/ 10000 w 10000"/>
              <a:gd name="connsiteY5" fmla="*/ 289 h 10220"/>
              <a:gd name="connsiteX6" fmla="*/ 9925 w 10000"/>
              <a:gd name="connsiteY6" fmla="*/ 521 h 10220"/>
              <a:gd name="connsiteX7" fmla="*/ 9939 w 10000"/>
              <a:gd name="connsiteY7" fmla="*/ 10220 h 10220"/>
              <a:gd name="connsiteX8" fmla="*/ 7 w 10000"/>
              <a:gd name="connsiteY8" fmla="*/ 10220 h 10220"/>
              <a:gd name="connsiteX9" fmla="*/ 0 w 10000"/>
              <a:gd name="connsiteY9" fmla="*/ 2039 h 10220"/>
              <a:gd name="connsiteX0" fmla="*/ 0 w 10000"/>
              <a:gd name="connsiteY0" fmla="*/ 2039 h 10220"/>
              <a:gd name="connsiteX1" fmla="*/ 1597 w 10000"/>
              <a:gd name="connsiteY1" fmla="*/ 1409 h 10220"/>
              <a:gd name="connsiteX2" fmla="*/ 3452 w 10000"/>
              <a:gd name="connsiteY2" fmla="*/ 688 h 10220"/>
              <a:gd name="connsiteX3" fmla="*/ 5529 w 10000"/>
              <a:gd name="connsiteY3" fmla="*/ 314 h 10220"/>
              <a:gd name="connsiteX4" fmla="*/ 7604 w 10000"/>
              <a:gd name="connsiteY4" fmla="*/ 0 h 10220"/>
              <a:gd name="connsiteX5" fmla="*/ 10000 w 10000"/>
              <a:gd name="connsiteY5" fmla="*/ 289 h 10220"/>
              <a:gd name="connsiteX6" fmla="*/ 9925 w 10000"/>
              <a:gd name="connsiteY6" fmla="*/ 521 h 10220"/>
              <a:gd name="connsiteX7" fmla="*/ 9939 w 10000"/>
              <a:gd name="connsiteY7" fmla="*/ 10220 h 10220"/>
              <a:gd name="connsiteX8" fmla="*/ 7 w 10000"/>
              <a:gd name="connsiteY8" fmla="*/ 10220 h 10220"/>
              <a:gd name="connsiteX9" fmla="*/ 0 w 10000"/>
              <a:gd name="connsiteY9" fmla="*/ 2039 h 10220"/>
              <a:gd name="connsiteX0" fmla="*/ 0 w 10000"/>
              <a:gd name="connsiteY0" fmla="*/ 2096 h 10277"/>
              <a:gd name="connsiteX1" fmla="*/ 1597 w 10000"/>
              <a:gd name="connsiteY1" fmla="*/ 1466 h 10277"/>
              <a:gd name="connsiteX2" fmla="*/ 3452 w 10000"/>
              <a:gd name="connsiteY2" fmla="*/ 745 h 10277"/>
              <a:gd name="connsiteX3" fmla="*/ 5529 w 10000"/>
              <a:gd name="connsiteY3" fmla="*/ 371 h 10277"/>
              <a:gd name="connsiteX4" fmla="*/ 7604 w 10000"/>
              <a:gd name="connsiteY4" fmla="*/ 57 h 10277"/>
              <a:gd name="connsiteX5" fmla="*/ 10000 w 10000"/>
              <a:gd name="connsiteY5" fmla="*/ 3 h 10277"/>
              <a:gd name="connsiteX6" fmla="*/ 9925 w 10000"/>
              <a:gd name="connsiteY6" fmla="*/ 578 h 10277"/>
              <a:gd name="connsiteX7" fmla="*/ 9939 w 10000"/>
              <a:gd name="connsiteY7" fmla="*/ 10277 h 10277"/>
              <a:gd name="connsiteX8" fmla="*/ 7 w 10000"/>
              <a:gd name="connsiteY8" fmla="*/ 10277 h 10277"/>
              <a:gd name="connsiteX9" fmla="*/ 0 w 10000"/>
              <a:gd name="connsiteY9" fmla="*/ 2096 h 10277"/>
              <a:gd name="connsiteX0" fmla="*/ 0 w 10000"/>
              <a:gd name="connsiteY0" fmla="*/ 2096 h 10277"/>
              <a:gd name="connsiteX1" fmla="*/ 1665 w 10000"/>
              <a:gd name="connsiteY1" fmla="*/ 885 h 10277"/>
              <a:gd name="connsiteX2" fmla="*/ 3452 w 10000"/>
              <a:gd name="connsiteY2" fmla="*/ 745 h 10277"/>
              <a:gd name="connsiteX3" fmla="*/ 5529 w 10000"/>
              <a:gd name="connsiteY3" fmla="*/ 371 h 10277"/>
              <a:gd name="connsiteX4" fmla="*/ 7604 w 10000"/>
              <a:gd name="connsiteY4" fmla="*/ 57 h 10277"/>
              <a:gd name="connsiteX5" fmla="*/ 10000 w 10000"/>
              <a:gd name="connsiteY5" fmla="*/ 3 h 10277"/>
              <a:gd name="connsiteX6" fmla="*/ 9925 w 10000"/>
              <a:gd name="connsiteY6" fmla="*/ 578 h 10277"/>
              <a:gd name="connsiteX7" fmla="*/ 9939 w 10000"/>
              <a:gd name="connsiteY7" fmla="*/ 10277 h 10277"/>
              <a:gd name="connsiteX8" fmla="*/ 7 w 10000"/>
              <a:gd name="connsiteY8" fmla="*/ 10277 h 10277"/>
              <a:gd name="connsiteX9" fmla="*/ 0 w 10000"/>
              <a:gd name="connsiteY9" fmla="*/ 2096 h 10277"/>
              <a:gd name="connsiteX0" fmla="*/ 0 w 10000"/>
              <a:gd name="connsiteY0" fmla="*/ 2096 h 10277"/>
              <a:gd name="connsiteX1" fmla="*/ 1665 w 10000"/>
              <a:gd name="connsiteY1" fmla="*/ 885 h 10277"/>
              <a:gd name="connsiteX2" fmla="*/ 3475 w 10000"/>
              <a:gd name="connsiteY2" fmla="*/ 484 h 10277"/>
              <a:gd name="connsiteX3" fmla="*/ 5529 w 10000"/>
              <a:gd name="connsiteY3" fmla="*/ 371 h 10277"/>
              <a:gd name="connsiteX4" fmla="*/ 7604 w 10000"/>
              <a:gd name="connsiteY4" fmla="*/ 57 h 10277"/>
              <a:gd name="connsiteX5" fmla="*/ 10000 w 10000"/>
              <a:gd name="connsiteY5" fmla="*/ 3 h 10277"/>
              <a:gd name="connsiteX6" fmla="*/ 9925 w 10000"/>
              <a:gd name="connsiteY6" fmla="*/ 578 h 10277"/>
              <a:gd name="connsiteX7" fmla="*/ 9939 w 10000"/>
              <a:gd name="connsiteY7" fmla="*/ 10277 h 10277"/>
              <a:gd name="connsiteX8" fmla="*/ 7 w 10000"/>
              <a:gd name="connsiteY8" fmla="*/ 10277 h 10277"/>
              <a:gd name="connsiteX9" fmla="*/ 0 w 10000"/>
              <a:gd name="connsiteY9" fmla="*/ 2096 h 10277"/>
              <a:gd name="connsiteX0" fmla="*/ 0 w 10000"/>
              <a:gd name="connsiteY0" fmla="*/ 2096 h 10277"/>
              <a:gd name="connsiteX1" fmla="*/ 1665 w 10000"/>
              <a:gd name="connsiteY1" fmla="*/ 885 h 10277"/>
              <a:gd name="connsiteX2" fmla="*/ 3475 w 10000"/>
              <a:gd name="connsiteY2" fmla="*/ 484 h 10277"/>
              <a:gd name="connsiteX3" fmla="*/ 5529 w 10000"/>
              <a:gd name="connsiteY3" fmla="*/ 205 h 10277"/>
              <a:gd name="connsiteX4" fmla="*/ 7604 w 10000"/>
              <a:gd name="connsiteY4" fmla="*/ 57 h 10277"/>
              <a:gd name="connsiteX5" fmla="*/ 10000 w 10000"/>
              <a:gd name="connsiteY5" fmla="*/ 3 h 10277"/>
              <a:gd name="connsiteX6" fmla="*/ 9925 w 10000"/>
              <a:gd name="connsiteY6" fmla="*/ 578 h 10277"/>
              <a:gd name="connsiteX7" fmla="*/ 9939 w 10000"/>
              <a:gd name="connsiteY7" fmla="*/ 10277 h 10277"/>
              <a:gd name="connsiteX8" fmla="*/ 7 w 10000"/>
              <a:gd name="connsiteY8" fmla="*/ 10277 h 10277"/>
              <a:gd name="connsiteX9" fmla="*/ 0 w 10000"/>
              <a:gd name="connsiteY9" fmla="*/ 2096 h 10277"/>
              <a:gd name="connsiteX0" fmla="*/ 0 w 10023"/>
              <a:gd name="connsiteY0" fmla="*/ 1396 h 10277"/>
              <a:gd name="connsiteX1" fmla="*/ 1688 w 10023"/>
              <a:gd name="connsiteY1" fmla="*/ 885 h 10277"/>
              <a:gd name="connsiteX2" fmla="*/ 3498 w 10023"/>
              <a:gd name="connsiteY2" fmla="*/ 484 h 10277"/>
              <a:gd name="connsiteX3" fmla="*/ 5552 w 10023"/>
              <a:gd name="connsiteY3" fmla="*/ 205 h 10277"/>
              <a:gd name="connsiteX4" fmla="*/ 7627 w 10023"/>
              <a:gd name="connsiteY4" fmla="*/ 57 h 10277"/>
              <a:gd name="connsiteX5" fmla="*/ 10023 w 10023"/>
              <a:gd name="connsiteY5" fmla="*/ 3 h 10277"/>
              <a:gd name="connsiteX6" fmla="*/ 9948 w 10023"/>
              <a:gd name="connsiteY6" fmla="*/ 578 h 10277"/>
              <a:gd name="connsiteX7" fmla="*/ 9962 w 10023"/>
              <a:gd name="connsiteY7" fmla="*/ 10277 h 10277"/>
              <a:gd name="connsiteX8" fmla="*/ 30 w 10023"/>
              <a:gd name="connsiteY8" fmla="*/ 10277 h 10277"/>
              <a:gd name="connsiteX9" fmla="*/ 0 w 10023"/>
              <a:gd name="connsiteY9" fmla="*/ 1396 h 10277"/>
              <a:gd name="connsiteX0" fmla="*/ 0 w 10023"/>
              <a:gd name="connsiteY0" fmla="*/ 1396 h 10277"/>
              <a:gd name="connsiteX1" fmla="*/ 1702 w 10023"/>
              <a:gd name="connsiteY1" fmla="*/ 846 h 10277"/>
              <a:gd name="connsiteX2" fmla="*/ 3498 w 10023"/>
              <a:gd name="connsiteY2" fmla="*/ 484 h 10277"/>
              <a:gd name="connsiteX3" fmla="*/ 5552 w 10023"/>
              <a:gd name="connsiteY3" fmla="*/ 205 h 10277"/>
              <a:gd name="connsiteX4" fmla="*/ 7627 w 10023"/>
              <a:gd name="connsiteY4" fmla="*/ 57 h 10277"/>
              <a:gd name="connsiteX5" fmla="*/ 10023 w 10023"/>
              <a:gd name="connsiteY5" fmla="*/ 3 h 10277"/>
              <a:gd name="connsiteX6" fmla="*/ 9948 w 10023"/>
              <a:gd name="connsiteY6" fmla="*/ 578 h 10277"/>
              <a:gd name="connsiteX7" fmla="*/ 9962 w 10023"/>
              <a:gd name="connsiteY7" fmla="*/ 10277 h 10277"/>
              <a:gd name="connsiteX8" fmla="*/ 30 w 10023"/>
              <a:gd name="connsiteY8" fmla="*/ 10277 h 10277"/>
              <a:gd name="connsiteX9" fmla="*/ 0 w 10023"/>
              <a:gd name="connsiteY9" fmla="*/ 1396 h 10277"/>
              <a:gd name="connsiteX0" fmla="*/ 0 w 10023"/>
              <a:gd name="connsiteY0" fmla="*/ 1396 h 10277"/>
              <a:gd name="connsiteX1" fmla="*/ 1702 w 10023"/>
              <a:gd name="connsiteY1" fmla="*/ 846 h 10277"/>
              <a:gd name="connsiteX2" fmla="*/ 3686 w 10023"/>
              <a:gd name="connsiteY2" fmla="*/ 375 h 10277"/>
              <a:gd name="connsiteX3" fmla="*/ 5552 w 10023"/>
              <a:gd name="connsiteY3" fmla="*/ 205 h 10277"/>
              <a:gd name="connsiteX4" fmla="*/ 7627 w 10023"/>
              <a:gd name="connsiteY4" fmla="*/ 57 h 10277"/>
              <a:gd name="connsiteX5" fmla="*/ 10023 w 10023"/>
              <a:gd name="connsiteY5" fmla="*/ 3 h 10277"/>
              <a:gd name="connsiteX6" fmla="*/ 9948 w 10023"/>
              <a:gd name="connsiteY6" fmla="*/ 578 h 10277"/>
              <a:gd name="connsiteX7" fmla="*/ 9962 w 10023"/>
              <a:gd name="connsiteY7" fmla="*/ 10277 h 10277"/>
              <a:gd name="connsiteX8" fmla="*/ 30 w 10023"/>
              <a:gd name="connsiteY8" fmla="*/ 10277 h 10277"/>
              <a:gd name="connsiteX9" fmla="*/ 0 w 10023"/>
              <a:gd name="connsiteY9" fmla="*/ 1396 h 10277"/>
              <a:gd name="connsiteX0" fmla="*/ 0 w 10023"/>
              <a:gd name="connsiteY0" fmla="*/ 1396 h 10277"/>
              <a:gd name="connsiteX1" fmla="*/ 1702 w 10023"/>
              <a:gd name="connsiteY1" fmla="*/ 846 h 10277"/>
              <a:gd name="connsiteX2" fmla="*/ 3686 w 10023"/>
              <a:gd name="connsiteY2" fmla="*/ 375 h 10277"/>
              <a:gd name="connsiteX3" fmla="*/ 5856 w 10023"/>
              <a:gd name="connsiteY3" fmla="*/ 57 h 10277"/>
              <a:gd name="connsiteX4" fmla="*/ 7627 w 10023"/>
              <a:gd name="connsiteY4" fmla="*/ 57 h 10277"/>
              <a:gd name="connsiteX5" fmla="*/ 10023 w 10023"/>
              <a:gd name="connsiteY5" fmla="*/ 3 h 10277"/>
              <a:gd name="connsiteX6" fmla="*/ 9948 w 10023"/>
              <a:gd name="connsiteY6" fmla="*/ 578 h 10277"/>
              <a:gd name="connsiteX7" fmla="*/ 9962 w 10023"/>
              <a:gd name="connsiteY7" fmla="*/ 10277 h 10277"/>
              <a:gd name="connsiteX8" fmla="*/ 30 w 10023"/>
              <a:gd name="connsiteY8" fmla="*/ 10277 h 10277"/>
              <a:gd name="connsiteX9" fmla="*/ 0 w 10023"/>
              <a:gd name="connsiteY9" fmla="*/ 1396 h 10277"/>
              <a:gd name="connsiteX0" fmla="*/ 0 w 10023"/>
              <a:gd name="connsiteY0" fmla="*/ 1510 h 10391"/>
              <a:gd name="connsiteX1" fmla="*/ 1702 w 10023"/>
              <a:gd name="connsiteY1" fmla="*/ 960 h 10391"/>
              <a:gd name="connsiteX2" fmla="*/ 3686 w 10023"/>
              <a:gd name="connsiteY2" fmla="*/ 489 h 10391"/>
              <a:gd name="connsiteX3" fmla="*/ 5856 w 10023"/>
              <a:gd name="connsiteY3" fmla="*/ 171 h 10391"/>
              <a:gd name="connsiteX4" fmla="*/ 8235 w 10023"/>
              <a:gd name="connsiteY4" fmla="*/ 0 h 10391"/>
              <a:gd name="connsiteX5" fmla="*/ 10023 w 10023"/>
              <a:gd name="connsiteY5" fmla="*/ 117 h 10391"/>
              <a:gd name="connsiteX6" fmla="*/ 9948 w 10023"/>
              <a:gd name="connsiteY6" fmla="*/ 692 h 10391"/>
              <a:gd name="connsiteX7" fmla="*/ 9962 w 10023"/>
              <a:gd name="connsiteY7" fmla="*/ 10391 h 10391"/>
              <a:gd name="connsiteX8" fmla="*/ 30 w 10023"/>
              <a:gd name="connsiteY8" fmla="*/ 10391 h 10391"/>
              <a:gd name="connsiteX9" fmla="*/ 0 w 10023"/>
              <a:gd name="connsiteY9" fmla="*/ 1510 h 10391"/>
              <a:gd name="connsiteX0" fmla="*/ 0 w 9965"/>
              <a:gd name="connsiteY0" fmla="*/ 1510 h 10391"/>
              <a:gd name="connsiteX1" fmla="*/ 1702 w 9965"/>
              <a:gd name="connsiteY1" fmla="*/ 960 h 10391"/>
              <a:gd name="connsiteX2" fmla="*/ 3686 w 9965"/>
              <a:gd name="connsiteY2" fmla="*/ 489 h 10391"/>
              <a:gd name="connsiteX3" fmla="*/ 5856 w 9965"/>
              <a:gd name="connsiteY3" fmla="*/ 171 h 10391"/>
              <a:gd name="connsiteX4" fmla="*/ 8235 w 9965"/>
              <a:gd name="connsiteY4" fmla="*/ 0 h 10391"/>
              <a:gd name="connsiteX5" fmla="*/ 9965 w 9965"/>
              <a:gd name="connsiteY5" fmla="*/ 47 h 10391"/>
              <a:gd name="connsiteX6" fmla="*/ 9948 w 9965"/>
              <a:gd name="connsiteY6" fmla="*/ 692 h 10391"/>
              <a:gd name="connsiteX7" fmla="*/ 9962 w 9965"/>
              <a:gd name="connsiteY7" fmla="*/ 10391 h 10391"/>
              <a:gd name="connsiteX8" fmla="*/ 30 w 9965"/>
              <a:gd name="connsiteY8" fmla="*/ 10391 h 10391"/>
              <a:gd name="connsiteX9" fmla="*/ 0 w 9965"/>
              <a:gd name="connsiteY9" fmla="*/ 1510 h 103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965" h="10391">
                <a:moveTo>
                  <a:pt x="0" y="1510"/>
                </a:moveTo>
                <a:lnTo>
                  <a:pt x="1702" y="960"/>
                </a:lnTo>
                <a:lnTo>
                  <a:pt x="3686" y="489"/>
                </a:lnTo>
                <a:lnTo>
                  <a:pt x="5856" y="171"/>
                </a:lnTo>
                <a:lnTo>
                  <a:pt x="8235" y="0"/>
                </a:lnTo>
                <a:lnTo>
                  <a:pt x="9965" y="47"/>
                </a:lnTo>
                <a:cubicBezTo>
                  <a:pt x="9940" y="124"/>
                  <a:pt x="9973" y="615"/>
                  <a:pt x="9948" y="692"/>
                </a:cubicBezTo>
                <a:cubicBezTo>
                  <a:pt x="9953" y="3925"/>
                  <a:pt x="9957" y="7158"/>
                  <a:pt x="9962" y="10391"/>
                </a:cubicBezTo>
                <a:lnTo>
                  <a:pt x="30" y="10391"/>
                </a:lnTo>
                <a:cubicBezTo>
                  <a:pt x="28" y="7528"/>
                  <a:pt x="2" y="4373"/>
                  <a:pt x="0" y="1510"/>
                </a:cubicBezTo>
                <a:close/>
              </a:path>
            </a:pathLst>
          </a:custGeom>
          <a:gradFill flip="none" rotWithShape="1">
            <a:gsLst>
              <a:gs pos="0">
                <a:srgbClr val="B3E9FF"/>
              </a:gs>
              <a:gs pos="100000">
                <a:srgbClr val="E5F8FF"/>
              </a:gs>
            </a:gsLst>
            <a:lin ang="5400000" scaled="1"/>
            <a:tileRect/>
          </a:gradFill>
          <a:ln>
            <a:noFill/>
          </a:ln>
          <a:effectLst/>
          <a:extLst/>
        </p:spPr>
        <p:txBody>
          <a:bodyPr/>
          <a:lstStyle/>
          <a:p>
            <a:pPr>
              <a:defRPr/>
            </a:pPr>
            <a:endParaRPr lang="en-GB" sz="1000" dirty="0">
              <a:solidFill>
                <a:srgbClr val="000000"/>
              </a:solidFill>
              <a:latin typeface="Arial"/>
            </a:endParaRPr>
          </a:p>
        </p:txBody>
      </p:sp>
      <p:sp>
        <p:nvSpPr>
          <p:cNvPr id="13" name="Rectangle 12"/>
          <p:cNvSpPr txBox="1"/>
          <p:nvPr/>
        </p:nvSpPr>
        <p:spPr>
          <a:xfrm>
            <a:off x="2331778" y="4939945"/>
            <a:ext cx="1462302" cy="109004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lvl="0" defTabSz="895350">
              <a:buClr>
                <a:schemeClr val="tx2"/>
              </a:buClr>
              <a:defRPr sz="1600">
                <a:latin typeface="+mn-lt"/>
              </a:defRPr>
            </a:lvl1pPr>
            <a:lvl2pPr marL="193675" indent="-192088" defTabSz="895350">
              <a:buClr>
                <a:schemeClr val="tx2"/>
              </a:buClr>
              <a:buSzPct val="125000"/>
              <a:buFont typeface="Arial" pitchFamily="34" charset="0"/>
              <a:buChar char="▪"/>
              <a:defRPr sz="1600">
                <a:latin typeface="+mn-lt"/>
              </a:defRPr>
            </a:lvl2pPr>
            <a:lvl3pPr marL="457200" indent="-261938" defTabSz="895350">
              <a:buClr>
                <a:schemeClr val="tx2"/>
              </a:buClr>
              <a:buSzPct val="120000"/>
              <a:buFont typeface="Arial" pitchFamily="34" charset="0"/>
              <a:buChar char="–"/>
              <a:defRPr sz="1600">
                <a:latin typeface="+mn-lt"/>
              </a:defRPr>
            </a:lvl3pPr>
            <a:lvl4pPr marL="614363" indent="-155575" defTabSz="895350">
              <a:buClr>
                <a:schemeClr val="tx2"/>
              </a:buClr>
              <a:buSzPct val="120000"/>
              <a:buFont typeface="Arial" pitchFamily="34" charset="0"/>
              <a:buChar char="▫"/>
              <a:defRPr sz="1600">
                <a:latin typeface="+mn-lt"/>
              </a:defRPr>
            </a:lvl4pPr>
            <a:lvl5pPr marL="746125" indent="-130175" defTabSz="895350">
              <a:buClr>
                <a:schemeClr val="tx2"/>
              </a:buClr>
              <a:buSzPct val="89000"/>
              <a:buFont typeface="Arial" pitchFamily="34" charset="0"/>
              <a:buChar char="-"/>
              <a:defRPr sz="1600">
                <a:latin typeface="+mn-lt"/>
              </a:defRPr>
            </a:lvl5pPr>
            <a:lvl6pPr marL="1203325" indent="-130175" defTabSz="895350" fontAlgn="base">
              <a:spcBef>
                <a:spcPct val="0"/>
              </a:spcBef>
              <a:spcAft>
                <a:spcPct val="0"/>
              </a:spcAft>
              <a:buClr>
                <a:schemeClr val="tx2"/>
              </a:buClr>
              <a:buSzPct val="89000"/>
              <a:buFont typeface="Arial" pitchFamily="34" charset="0"/>
              <a:buChar char="-"/>
              <a:defRPr sz="1600">
                <a:latin typeface="+mn-lt"/>
              </a:defRPr>
            </a:lvl6pPr>
            <a:lvl7pPr marL="1660525" indent="-130175" defTabSz="895350" fontAlgn="base">
              <a:spcBef>
                <a:spcPct val="0"/>
              </a:spcBef>
              <a:spcAft>
                <a:spcPct val="0"/>
              </a:spcAft>
              <a:buClr>
                <a:schemeClr val="tx2"/>
              </a:buClr>
              <a:buSzPct val="89000"/>
              <a:buFont typeface="Arial" pitchFamily="34" charset="0"/>
              <a:buChar char="-"/>
              <a:defRPr sz="1600">
                <a:latin typeface="+mn-lt"/>
              </a:defRPr>
            </a:lvl7pPr>
            <a:lvl8pPr marL="2117725" indent="-130175" defTabSz="895350" fontAlgn="base">
              <a:spcBef>
                <a:spcPct val="0"/>
              </a:spcBef>
              <a:spcAft>
                <a:spcPct val="0"/>
              </a:spcAft>
              <a:buClr>
                <a:schemeClr val="tx2"/>
              </a:buClr>
              <a:buSzPct val="89000"/>
              <a:buFont typeface="Arial" pitchFamily="34" charset="0"/>
              <a:buChar char="-"/>
              <a:defRPr sz="1600">
                <a:latin typeface="+mn-lt"/>
              </a:defRPr>
            </a:lvl8pPr>
            <a:lvl9pPr marL="2574925" indent="-130175" defTabSz="895350" fontAlgn="base">
              <a:spcBef>
                <a:spcPct val="0"/>
              </a:spcBef>
              <a:spcAft>
                <a:spcPct val="0"/>
              </a:spcAft>
              <a:buClr>
                <a:schemeClr val="tx2"/>
              </a:buClr>
              <a:buSzPct val="89000"/>
              <a:buFont typeface="Arial" pitchFamily="34" charset="0"/>
              <a:buChar char="-"/>
              <a:defRPr sz="1600">
                <a:latin typeface="+mn-lt"/>
              </a:defRPr>
            </a:lvl9pPr>
          </a:lstStyle>
          <a:p>
            <a:pPr lvl="1">
              <a:spcBef>
                <a:spcPts val="0"/>
              </a:spcBef>
              <a:spcAft>
                <a:spcPts val="75"/>
              </a:spcAft>
              <a:buClr>
                <a:srgbClr val="002960"/>
              </a:buClr>
            </a:pPr>
            <a:r>
              <a:rPr lang="en-GB" sz="1000" dirty="0">
                <a:solidFill>
                  <a:srgbClr val="000000"/>
                </a:solidFill>
              </a:rPr>
              <a:t>Business continuity - No significant business disruptions</a:t>
            </a:r>
          </a:p>
          <a:p>
            <a:pPr lvl="1">
              <a:spcBef>
                <a:spcPts val="0"/>
              </a:spcBef>
              <a:spcAft>
                <a:spcPts val="75"/>
              </a:spcAft>
              <a:buClr>
                <a:srgbClr val="002960"/>
              </a:buClr>
            </a:pPr>
            <a:r>
              <a:rPr lang="en-GB" sz="1000" dirty="0">
                <a:solidFill>
                  <a:srgbClr val="000000"/>
                </a:solidFill>
              </a:rPr>
              <a:t>Tracking of &gt;500 functional integration activities across 20 functions</a:t>
            </a:r>
          </a:p>
        </p:txBody>
      </p:sp>
      <p:sp>
        <p:nvSpPr>
          <p:cNvPr id="14" name="Rectangle 16"/>
          <p:cNvSpPr txBox="1">
            <a:spLocks/>
          </p:cNvSpPr>
          <p:nvPr/>
        </p:nvSpPr>
        <p:spPr>
          <a:xfrm>
            <a:off x="714360" y="4939946"/>
            <a:ext cx="1442500" cy="109004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lvl="0" defTabSz="895350">
              <a:buClr>
                <a:schemeClr val="tx2"/>
              </a:buClr>
              <a:defRPr sz="1600">
                <a:latin typeface="+mn-lt"/>
              </a:defRPr>
            </a:lvl1pPr>
            <a:lvl2pPr marL="193675" indent="-192088" defTabSz="895350">
              <a:buClr>
                <a:schemeClr val="tx2"/>
              </a:buClr>
              <a:buSzPct val="125000"/>
              <a:buFont typeface="Arial" pitchFamily="34" charset="0"/>
              <a:buChar char="▪"/>
              <a:defRPr sz="1600">
                <a:latin typeface="+mn-lt"/>
              </a:defRPr>
            </a:lvl2pPr>
            <a:lvl3pPr marL="457200" indent="-261938" defTabSz="895350">
              <a:buClr>
                <a:schemeClr val="tx2"/>
              </a:buClr>
              <a:buSzPct val="120000"/>
              <a:buFont typeface="Arial" pitchFamily="34" charset="0"/>
              <a:buChar char="–"/>
              <a:defRPr sz="1600">
                <a:latin typeface="+mn-lt"/>
              </a:defRPr>
            </a:lvl3pPr>
            <a:lvl4pPr marL="614363" indent="-155575" defTabSz="895350">
              <a:buClr>
                <a:schemeClr val="tx2"/>
              </a:buClr>
              <a:buSzPct val="120000"/>
              <a:buFont typeface="Arial" pitchFamily="34" charset="0"/>
              <a:buChar char="▫"/>
              <a:defRPr sz="1600">
                <a:latin typeface="+mn-lt"/>
              </a:defRPr>
            </a:lvl4pPr>
            <a:lvl5pPr marL="746125" indent="-130175" defTabSz="895350">
              <a:buClr>
                <a:schemeClr val="tx2"/>
              </a:buClr>
              <a:buSzPct val="89000"/>
              <a:buFont typeface="Arial" pitchFamily="34" charset="0"/>
              <a:buChar char="-"/>
              <a:defRPr sz="1600">
                <a:latin typeface="+mn-lt"/>
              </a:defRPr>
            </a:lvl5pPr>
            <a:lvl6pPr marL="1203325" indent="-130175" defTabSz="895350" fontAlgn="base">
              <a:spcBef>
                <a:spcPct val="0"/>
              </a:spcBef>
              <a:spcAft>
                <a:spcPct val="0"/>
              </a:spcAft>
              <a:buClr>
                <a:schemeClr val="tx2"/>
              </a:buClr>
              <a:buSzPct val="89000"/>
              <a:buFont typeface="Arial" pitchFamily="34" charset="0"/>
              <a:buChar char="-"/>
              <a:defRPr sz="1600">
                <a:latin typeface="+mn-lt"/>
              </a:defRPr>
            </a:lvl6pPr>
            <a:lvl7pPr marL="1660525" indent="-130175" defTabSz="895350" fontAlgn="base">
              <a:spcBef>
                <a:spcPct val="0"/>
              </a:spcBef>
              <a:spcAft>
                <a:spcPct val="0"/>
              </a:spcAft>
              <a:buClr>
                <a:schemeClr val="tx2"/>
              </a:buClr>
              <a:buSzPct val="89000"/>
              <a:buFont typeface="Arial" pitchFamily="34" charset="0"/>
              <a:buChar char="-"/>
              <a:defRPr sz="1600">
                <a:latin typeface="+mn-lt"/>
              </a:defRPr>
            </a:lvl7pPr>
            <a:lvl8pPr marL="2117725" indent="-130175" defTabSz="895350" fontAlgn="base">
              <a:spcBef>
                <a:spcPct val="0"/>
              </a:spcBef>
              <a:spcAft>
                <a:spcPct val="0"/>
              </a:spcAft>
              <a:buClr>
                <a:schemeClr val="tx2"/>
              </a:buClr>
              <a:buSzPct val="89000"/>
              <a:buFont typeface="Arial" pitchFamily="34" charset="0"/>
              <a:buChar char="-"/>
              <a:defRPr sz="1600">
                <a:latin typeface="+mn-lt"/>
              </a:defRPr>
            </a:lvl8pPr>
            <a:lvl9pPr marL="2574925" indent="-130175" defTabSz="895350" fontAlgn="base">
              <a:spcBef>
                <a:spcPct val="0"/>
              </a:spcBef>
              <a:spcAft>
                <a:spcPct val="0"/>
              </a:spcAft>
              <a:buClr>
                <a:schemeClr val="tx2"/>
              </a:buClr>
              <a:buSzPct val="89000"/>
              <a:buFont typeface="Arial" pitchFamily="34" charset="0"/>
              <a:buChar char="-"/>
              <a:defRPr sz="1600">
                <a:latin typeface="+mn-lt"/>
              </a:defRPr>
            </a:lvl9pPr>
          </a:lstStyle>
          <a:p>
            <a:pPr lvl="1">
              <a:spcBef>
                <a:spcPts val="0"/>
              </a:spcBef>
              <a:spcAft>
                <a:spcPts val="75"/>
              </a:spcAft>
              <a:buClr>
                <a:srgbClr val="002960"/>
              </a:buClr>
            </a:pPr>
            <a:r>
              <a:rPr lang="en-GB" sz="1000" dirty="0">
                <a:solidFill>
                  <a:srgbClr val="000000"/>
                </a:solidFill>
              </a:rPr>
              <a:t>Smooth Day1 of integration – no business disruption</a:t>
            </a:r>
          </a:p>
          <a:p>
            <a:pPr lvl="1">
              <a:spcBef>
                <a:spcPts val="0"/>
              </a:spcBef>
              <a:spcAft>
                <a:spcPts val="75"/>
              </a:spcAft>
              <a:buClr>
                <a:srgbClr val="002960"/>
              </a:buClr>
            </a:pPr>
            <a:r>
              <a:rPr lang="en-GB" sz="1000" dirty="0">
                <a:solidFill>
                  <a:srgbClr val="000000"/>
                </a:solidFill>
              </a:rPr>
              <a:t>Target setting and baseline for value capture based on clean team output</a:t>
            </a:r>
          </a:p>
        </p:txBody>
      </p:sp>
      <p:sp>
        <p:nvSpPr>
          <p:cNvPr id="15" name="Rectangle 4"/>
          <p:cNvSpPr txBox="1">
            <a:spLocks/>
          </p:cNvSpPr>
          <p:nvPr/>
        </p:nvSpPr>
        <p:spPr>
          <a:xfrm>
            <a:off x="5538704" y="4939946"/>
            <a:ext cx="1461441" cy="124393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lvl="0" defTabSz="895350">
              <a:buClr>
                <a:schemeClr val="tx2"/>
              </a:buClr>
              <a:defRPr sz="1600">
                <a:latin typeface="+mn-lt"/>
              </a:defRPr>
            </a:lvl1pPr>
            <a:lvl2pPr marL="193675" indent="-192088" defTabSz="895350">
              <a:buClr>
                <a:schemeClr val="tx2"/>
              </a:buClr>
              <a:buSzPct val="125000"/>
              <a:buFont typeface="Arial" pitchFamily="34" charset="0"/>
              <a:buChar char="▪"/>
              <a:defRPr sz="1600">
                <a:latin typeface="+mn-lt"/>
              </a:defRPr>
            </a:lvl2pPr>
            <a:lvl3pPr marL="457200" indent="-261938" defTabSz="895350">
              <a:buClr>
                <a:schemeClr val="tx2"/>
              </a:buClr>
              <a:buSzPct val="120000"/>
              <a:buFont typeface="Arial" pitchFamily="34" charset="0"/>
              <a:buChar char="–"/>
              <a:defRPr sz="1600">
                <a:latin typeface="+mn-lt"/>
              </a:defRPr>
            </a:lvl3pPr>
            <a:lvl4pPr marL="614363" indent="-155575" defTabSz="895350">
              <a:buClr>
                <a:schemeClr val="tx2"/>
              </a:buClr>
              <a:buSzPct val="120000"/>
              <a:buFont typeface="Arial" pitchFamily="34" charset="0"/>
              <a:buChar char="▫"/>
              <a:defRPr sz="1600">
                <a:latin typeface="+mn-lt"/>
              </a:defRPr>
            </a:lvl4pPr>
            <a:lvl5pPr marL="746125" indent="-130175" defTabSz="895350">
              <a:buClr>
                <a:schemeClr val="tx2"/>
              </a:buClr>
              <a:buSzPct val="89000"/>
              <a:buFont typeface="Arial" pitchFamily="34" charset="0"/>
              <a:buChar char="-"/>
              <a:defRPr sz="1600">
                <a:latin typeface="+mn-lt"/>
              </a:defRPr>
            </a:lvl5pPr>
            <a:lvl6pPr marL="1203325" indent="-130175" defTabSz="895350" fontAlgn="base">
              <a:spcBef>
                <a:spcPct val="0"/>
              </a:spcBef>
              <a:spcAft>
                <a:spcPct val="0"/>
              </a:spcAft>
              <a:buClr>
                <a:schemeClr val="tx2"/>
              </a:buClr>
              <a:buSzPct val="89000"/>
              <a:buFont typeface="Arial" pitchFamily="34" charset="0"/>
              <a:buChar char="-"/>
              <a:defRPr sz="1600">
                <a:latin typeface="+mn-lt"/>
              </a:defRPr>
            </a:lvl6pPr>
            <a:lvl7pPr marL="1660525" indent="-130175" defTabSz="895350" fontAlgn="base">
              <a:spcBef>
                <a:spcPct val="0"/>
              </a:spcBef>
              <a:spcAft>
                <a:spcPct val="0"/>
              </a:spcAft>
              <a:buClr>
                <a:schemeClr val="tx2"/>
              </a:buClr>
              <a:buSzPct val="89000"/>
              <a:buFont typeface="Arial" pitchFamily="34" charset="0"/>
              <a:buChar char="-"/>
              <a:defRPr sz="1600">
                <a:latin typeface="+mn-lt"/>
              </a:defRPr>
            </a:lvl7pPr>
            <a:lvl8pPr marL="2117725" indent="-130175" defTabSz="895350" fontAlgn="base">
              <a:spcBef>
                <a:spcPct val="0"/>
              </a:spcBef>
              <a:spcAft>
                <a:spcPct val="0"/>
              </a:spcAft>
              <a:buClr>
                <a:schemeClr val="tx2"/>
              </a:buClr>
              <a:buSzPct val="89000"/>
              <a:buFont typeface="Arial" pitchFamily="34" charset="0"/>
              <a:buChar char="-"/>
              <a:defRPr sz="1600">
                <a:latin typeface="+mn-lt"/>
              </a:defRPr>
            </a:lvl8pPr>
            <a:lvl9pPr marL="2574925" indent="-130175" defTabSz="895350" fontAlgn="base">
              <a:spcBef>
                <a:spcPct val="0"/>
              </a:spcBef>
              <a:spcAft>
                <a:spcPct val="0"/>
              </a:spcAft>
              <a:buClr>
                <a:schemeClr val="tx2"/>
              </a:buClr>
              <a:buSzPct val="89000"/>
              <a:buFont typeface="Arial" pitchFamily="34" charset="0"/>
              <a:buChar char="-"/>
              <a:defRPr sz="1600">
                <a:latin typeface="+mn-lt"/>
              </a:defRPr>
            </a:lvl9pPr>
          </a:lstStyle>
          <a:p>
            <a:pPr lvl="1">
              <a:spcBef>
                <a:spcPts val="0"/>
              </a:spcBef>
              <a:spcAft>
                <a:spcPts val="75"/>
              </a:spcAft>
              <a:buClr>
                <a:srgbClr val="002960"/>
              </a:buClr>
            </a:pPr>
            <a:r>
              <a:rPr lang="en-GB" sz="1000" dirty="0">
                <a:solidFill>
                  <a:srgbClr val="000000"/>
                </a:solidFill>
                <a:cs typeface="Arial"/>
              </a:rPr>
              <a:t>Clarity on org structures and from – </a:t>
            </a:r>
            <a:r>
              <a:rPr lang="en-GB" sz="1000" dirty="0" err="1">
                <a:solidFill>
                  <a:srgbClr val="000000"/>
                </a:solidFill>
                <a:cs typeface="Arial"/>
              </a:rPr>
              <a:t>to</a:t>
            </a:r>
            <a:r>
              <a:rPr lang="en-GB" sz="1000" dirty="0">
                <a:solidFill>
                  <a:srgbClr val="000000"/>
                </a:solidFill>
                <a:cs typeface="Arial"/>
              </a:rPr>
              <a:t> of the org for various functions</a:t>
            </a:r>
          </a:p>
          <a:p>
            <a:pPr lvl="1">
              <a:spcBef>
                <a:spcPts val="0"/>
              </a:spcBef>
              <a:spcAft>
                <a:spcPts val="75"/>
              </a:spcAft>
              <a:buClr>
                <a:srgbClr val="002960"/>
              </a:buClr>
            </a:pPr>
            <a:r>
              <a:rPr lang="en-GB" sz="1000" dirty="0">
                <a:solidFill>
                  <a:srgbClr val="000000"/>
                </a:solidFill>
                <a:cs typeface="Arial"/>
              </a:rPr>
              <a:t>Culture integration below N-2 levels through </a:t>
            </a:r>
            <a:r>
              <a:rPr lang="en-GB" sz="1000" dirty="0" err="1">
                <a:solidFill>
                  <a:srgbClr val="000000"/>
                </a:solidFill>
                <a:cs typeface="Arial"/>
              </a:rPr>
              <a:t>communi</a:t>
            </a:r>
            <a:r>
              <a:rPr lang="en-GB" sz="1000" dirty="0">
                <a:solidFill>
                  <a:srgbClr val="000000"/>
                </a:solidFill>
                <a:cs typeface="Arial"/>
              </a:rPr>
              <a:t>-cation workshops</a:t>
            </a:r>
          </a:p>
        </p:txBody>
      </p:sp>
      <p:sp>
        <p:nvSpPr>
          <p:cNvPr id="16" name="Rectangle 8"/>
          <p:cNvSpPr txBox="1"/>
          <p:nvPr/>
        </p:nvSpPr>
        <p:spPr>
          <a:xfrm>
            <a:off x="3950351" y="4939945"/>
            <a:ext cx="1534937" cy="9361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lvl="0" defTabSz="895350">
              <a:buClr>
                <a:schemeClr val="tx2"/>
              </a:buClr>
              <a:defRPr sz="1600">
                <a:latin typeface="+mn-lt"/>
              </a:defRPr>
            </a:lvl1pPr>
            <a:lvl2pPr marL="193675" indent="-192088" defTabSz="895350">
              <a:buClr>
                <a:schemeClr val="tx2"/>
              </a:buClr>
              <a:buSzPct val="125000"/>
              <a:buFont typeface="Arial" pitchFamily="34" charset="0"/>
              <a:buChar char="▪"/>
              <a:defRPr sz="1600">
                <a:latin typeface="+mn-lt"/>
              </a:defRPr>
            </a:lvl2pPr>
            <a:lvl3pPr marL="457200" indent="-261938" defTabSz="895350">
              <a:buClr>
                <a:schemeClr val="tx2"/>
              </a:buClr>
              <a:buSzPct val="120000"/>
              <a:buFont typeface="Arial" pitchFamily="34" charset="0"/>
              <a:buChar char="–"/>
              <a:defRPr sz="1600">
                <a:latin typeface="+mn-lt"/>
              </a:defRPr>
            </a:lvl3pPr>
            <a:lvl4pPr marL="614363" indent="-155575" defTabSz="895350">
              <a:buClr>
                <a:schemeClr val="tx2"/>
              </a:buClr>
              <a:buSzPct val="120000"/>
              <a:buFont typeface="Arial" pitchFamily="34" charset="0"/>
              <a:buChar char="▫"/>
              <a:defRPr sz="1600">
                <a:latin typeface="+mn-lt"/>
              </a:defRPr>
            </a:lvl4pPr>
            <a:lvl5pPr marL="746125" indent="-130175" defTabSz="895350">
              <a:buClr>
                <a:schemeClr val="tx2"/>
              </a:buClr>
              <a:buSzPct val="89000"/>
              <a:buFont typeface="Arial" pitchFamily="34" charset="0"/>
              <a:buChar char="-"/>
              <a:defRPr sz="1600">
                <a:latin typeface="+mn-lt"/>
              </a:defRPr>
            </a:lvl5pPr>
            <a:lvl6pPr marL="1203325" indent="-130175" defTabSz="895350" fontAlgn="base">
              <a:spcBef>
                <a:spcPct val="0"/>
              </a:spcBef>
              <a:spcAft>
                <a:spcPct val="0"/>
              </a:spcAft>
              <a:buClr>
                <a:schemeClr val="tx2"/>
              </a:buClr>
              <a:buSzPct val="89000"/>
              <a:buFont typeface="Arial" pitchFamily="34" charset="0"/>
              <a:buChar char="-"/>
              <a:defRPr sz="1600">
                <a:latin typeface="+mn-lt"/>
              </a:defRPr>
            </a:lvl6pPr>
            <a:lvl7pPr marL="1660525" indent="-130175" defTabSz="895350" fontAlgn="base">
              <a:spcBef>
                <a:spcPct val="0"/>
              </a:spcBef>
              <a:spcAft>
                <a:spcPct val="0"/>
              </a:spcAft>
              <a:buClr>
                <a:schemeClr val="tx2"/>
              </a:buClr>
              <a:buSzPct val="89000"/>
              <a:buFont typeface="Arial" pitchFamily="34" charset="0"/>
              <a:buChar char="-"/>
              <a:defRPr sz="1600">
                <a:latin typeface="+mn-lt"/>
              </a:defRPr>
            </a:lvl7pPr>
            <a:lvl8pPr marL="2117725" indent="-130175" defTabSz="895350" fontAlgn="base">
              <a:spcBef>
                <a:spcPct val="0"/>
              </a:spcBef>
              <a:spcAft>
                <a:spcPct val="0"/>
              </a:spcAft>
              <a:buClr>
                <a:schemeClr val="tx2"/>
              </a:buClr>
              <a:buSzPct val="89000"/>
              <a:buFont typeface="Arial" pitchFamily="34" charset="0"/>
              <a:buChar char="-"/>
              <a:defRPr sz="1600">
                <a:latin typeface="+mn-lt"/>
              </a:defRPr>
            </a:lvl8pPr>
            <a:lvl9pPr marL="2574925" indent="-130175" defTabSz="895350" fontAlgn="base">
              <a:spcBef>
                <a:spcPct val="0"/>
              </a:spcBef>
              <a:spcAft>
                <a:spcPct val="0"/>
              </a:spcAft>
              <a:buClr>
                <a:schemeClr val="tx2"/>
              </a:buClr>
              <a:buSzPct val="89000"/>
              <a:buFont typeface="Arial" pitchFamily="34" charset="0"/>
              <a:buChar char="-"/>
              <a:defRPr sz="1600">
                <a:latin typeface="+mn-lt"/>
              </a:defRPr>
            </a:lvl9pPr>
          </a:lstStyle>
          <a:p>
            <a:pPr lvl="1">
              <a:spcBef>
                <a:spcPts val="0"/>
              </a:spcBef>
              <a:spcAft>
                <a:spcPts val="75"/>
              </a:spcAft>
              <a:buClr>
                <a:srgbClr val="002960"/>
              </a:buClr>
            </a:pPr>
            <a:r>
              <a:rPr lang="en-GB" sz="1000" dirty="0">
                <a:solidFill>
                  <a:srgbClr val="000000"/>
                </a:solidFill>
              </a:rPr>
              <a:t>VC funnel with $350 Mn recurring and $700 Mn one time ideas</a:t>
            </a:r>
          </a:p>
          <a:p>
            <a:pPr lvl="1">
              <a:spcBef>
                <a:spcPts val="0"/>
              </a:spcBef>
              <a:spcAft>
                <a:spcPts val="75"/>
              </a:spcAft>
              <a:buClr>
                <a:srgbClr val="002960"/>
              </a:buClr>
            </a:pPr>
            <a:r>
              <a:rPr lang="en-GB" sz="1000" dirty="0">
                <a:solidFill>
                  <a:srgbClr val="000000"/>
                </a:solidFill>
              </a:rPr>
              <a:t>Management / CMT focus on delivering integration synergy</a:t>
            </a:r>
          </a:p>
        </p:txBody>
      </p:sp>
      <p:sp>
        <p:nvSpPr>
          <p:cNvPr id="17" name="Oval 12"/>
          <p:cNvSpPr/>
          <p:nvPr/>
        </p:nvSpPr>
        <p:spPr>
          <a:xfrm rot="20820000">
            <a:off x="599067" y="3215476"/>
            <a:ext cx="1749826" cy="218924"/>
          </a:xfrm>
          <a:custGeom>
            <a:avLst/>
            <a:gdLst/>
            <a:ahLst/>
            <a:cxnLst/>
            <a:rect l="l" t="t" r="r" b="b"/>
            <a:pathLst>
              <a:path w="2464187" h="390974">
                <a:moveTo>
                  <a:pt x="1810603" y="27963"/>
                </a:moveTo>
                <a:cubicBezTo>
                  <a:pt x="2045907" y="60620"/>
                  <a:pt x="2266376" y="120898"/>
                  <a:pt x="2464187" y="203911"/>
                </a:cubicBezTo>
                <a:lnTo>
                  <a:pt x="2325384" y="293921"/>
                </a:lnTo>
                <a:cubicBezTo>
                  <a:pt x="2082686" y="193174"/>
                  <a:pt x="1809337" y="124768"/>
                  <a:pt x="1517537" y="96944"/>
                </a:cubicBezTo>
                <a:cubicBezTo>
                  <a:pt x="936587" y="41548"/>
                  <a:pt x="397052" y="157935"/>
                  <a:pt x="4411" y="390974"/>
                </a:cubicBezTo>
                <a:lnTo>
                  <a:pt x="0" y="383392"/>
                </a:lnTo>
                <a:cubicBezTo>
                  <a:pt x="363280" y="145276"/>
                  <a:pt x="857436" y="0"/>
                  <a:pt x="1401621" y="0"/>
                </a:cubicBezTo>
                <a:cubicBezTo>
                  <a:pt x="1541717" y="0"/>
                  <a:pt x="1678498" y="9628"/>
                  <a:pt x="1810603" y="27963"/>
                </a:cubicBezTo>
                <a:close/>
              </a:path>
            </a:pathLst>
          </a:custGeom>
          <a:solidFill>
            <a:schemeClr val="accent3"/>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00" dirty="0" err="1">
              <a:solidFill>
                <a:srgbClr val="000000"/>
              </a:solidFill>
            </a:endParaRPr>
          </a:p>
        </p:txBody>
      </p:sp>
      <p:sp>
        <p:nvSpPr>
          <p:cNvPr id="18" name="Oval 12"/>
          <p:cNvSpPr/>
          <p:nvPr/>
        </p:nvSpPr>
        <p:spPr>
          <a:xfrm rot="20820000">
            <a:off x="2178999" y="2851723"/>
            <a:ext cx="1749826" cy="218924"/>
          </a:xfrm>
          <a:custGeom>
            <a:avLst/>
            <a:gdLst/>
            <a:ahLst/>
            <a:cxnLst/>
            <a:rect l="l" t="t" r="r" b="b"/>
            <a:pathLst>
              <a:path w="2464187" h="390974">
                <a:moveTo>
                  <a:pt x="1810603" y="27963"/>
                </a:moveTo>
                <a:cubicBezTo>
                  <a:pt x="2045907" y="60620"/>
                  <a:pt x="2266376" y="120898"/>
                  <a:pt x="2464187" y="203911"/>
                </a:cubicBezTo>
                <a:lnTo>
                  <a:pt x="2325384" y="293921"/>
                </a:lnTo>
                <a:cubicBezTo>
                  <a:pt x="2082686" y="193174"/>
                  <a:pt x="1809337" y="124768"/>
                  <a:pt x="1517537" y="96944"/>
                </a:cubicBezTo>
                <a:cubicBezTo>
                  <a:pt x="936587" y="41548"/>
                  <a:pt x="397052" y="157935"/>
                  <a:pt x="4411" y="390974"/>
                </a:cubicBezTo>
                <a:lnTo>
                  <a:pt x="0" y="383392"/>
                </a:lnTo>
                <a:cubicBezTo>
                  <a:pt x="363280" y="145276"/>
                  <a:pt x="857436" y="0"/>
                  <a:pt x="1401621" y="0"/>
                </a:cubicBezTo>
                <a:cubicBezTo>
                  <a:pt x="1541717" y="0"/>
                  <a:pt x="1678498" y="9628"/>
                  <a:pt x="1810603" y="27963"/>
                </a:cubicBezTo>
                <a:close/>
              </a:path>
            </a:pathLst>
          </a:custGeom>
          <a:solidFill>
            <a:schemeClr val="accent3"/>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00" dirty="0" err="1">
              <a:solidFill>
                <a:srgbClr val="000000"/>
              </a:solidFill>
            </a:endParaRPr>
          </a:p>
        </p:txBody>
      </p:sp>
      <p:sp>
        <p:nvSpPr>
          <p:cNvPr id="19" name="Oval 12"/>
          <p:cNvSpPr/>
          <p:nvPr/>
        </p:nvSpPr>
        <p:spPr>
          <a:xfrm rot="20820000">
            <a:off x="3792999" y="2510566"/>
            <a:ext cx="1749826" cy="218924"/>
          </a:xfrm>
          <a:custGeom>
            <a:avLst/>
            <a:gdLst/>
            <a:ahLst/>
            <a:cxnLst/>
            <a:rect l="l" t="t" r="r" b="b"/>
            <a:pathLst>
              <a:path w="2464187" h="390974">
                <a:moveTo>
                  <a:pt x="1810603" y="27963"/>
                </a:moveTo>
                <a:cubicBezTo>
                  <a:pt x="2045907" y="60620"/>
                  <a:pt x="2266376" y="120898"/>
                  <a:pt x="2464187" y="203911"/>
                </a:cubicBezTo>
                <a:lnTo>
                  <a:pt x="2325384" y="293921"/>
                </a:lnTo>
                <a:cubicBezTo>
                  <a:pt x="2082686" y="193174"/>
                  <a:pt x="1809337" y="124768"/>
                  <a:pt x="1517537" y="96944"/>
                </a:cubicBezTo>
                <a:cubicBezTo>
                  <a:pt x="936587" y="41548"/>
                  <a:pt x="397052" y="157935"/>
                  <a:pt x="4411" y="390974"/>
                </a:cubicBezTo>
                <a:lnTo>
                  <a:pt x="0" y="383392"/>
                </a:lnTo>
                <a:cubicBezTo>
                  <a:pt x="363280" y="145276"/>
                  <a:pt x="857436" y="0"/>
                  <a:pt x="1401621" y="0"/>
                </a:cubicBezTo>
                <a:cubicBezTo>
                  <a:pt x="1541717" y="0"/>
                  <a:pt x="1678498" y="9628"/>
                  <a:pt x="1810603" y="27963"/>
                </a:cubicBezTo>
                <a:close/>
              </a:path>
            </a:pathLst>
          </a:custGeom>
          <a:solidFill>
            <a:schemeClr val="accent3"/>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00" dirty="0" err="1">
              <a:solidFill>
                <a:srgbClr val="000000"/>
              </a:solidFill>
            </a:endParaRPr>
          </a:p>
        </p:txBody>
      </p:sp>
      <p:sp>
        <p:nvSpPr>
          <p:cNvPr id="20" name="Oval 12"/>
          <p:cNvSpPr/>
          <p:nvPr/>
        </p:nvSpPr>
        <p:spPr>
          <a:xfrm rot="20820000">
            <a:off x="5377729" y="2164856"/>
            <a:ext cx="1749826" cy="218924"/>
          </a:xfrm>
          <a:custGeom>
            <a:avLst/>
            <a:gdLst/>
            <a:ahLst/>
            <a:cxnLst/>
            <a:rect l="l" t="t" r="r" b="b"/>
            <a:pathLst>
              <a:path w="2464187" h="390974">
                <a:moveTo>
                  <a:pt x="1810603" y="27963"/>
                </a:moveTo>
                <a:cubicBezTo>
                  <a:pt x="2045907" y="60620"/>
                  <a:pt x="2266376" y="120898"/>
                  <a:pt x="2464187" y="203911"/>
                </a:cubicBezTo>
                <a:lnTo>
                  <a:pt x="2325384" y="293921"/>
                </a:lnTo>
                <a:cubicBezTo>
                  <a:pt x="2082686" y="193174"/>
                  <a:pt x="1809337" y="124768"/>
                  <a:pt x="1517537" y="96944"/>
                </a:cubicBezTo>
                <a:cubicBezTo>
                  <a:pt x="936587" y="41548"/>
                  <a:pt x="397052" y="157935"/>
                  <a:pt x="4411" y="390974"/>
                </a:cubicBezTo>
                <a:lnTo>
                  <a:pt x="0" y="383392"/>
                </a:lnTo>
                <a:cubicBezTo>
                  <a:pt x="363280" y="145276"/>
                  <a:pt x="857436" y="0"/>
                  <a:pt x="1401621" y="0"/>
                </a:cubicBezTo>
                <a:cubicBezTo>
                  <a:pt x="1541717" y="0"/>
                  <a:pt x="1678498" y="9628"/>
                  <a:pt x="1810603" y="27963"/>
                </a:cubicBezTo>
                <a:close/>
              </a:path>
            </a:pathLst>
          </a:custGeom>
          <a:solidFill>
            <a:schemeClr val="accent3"/>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00" dirty="0" err="1">
              <a:solidFill>
                <a:srgbClr val="000000"/>
              </a:solidFill>
            </a:endParaRPr>
          </a:p>
        </p:txBody>
      </p:sp>
      <p:sp>
        <p:nvSpPr>
          <p:cNvPr id="21" name="Rectangle 6"/>
          <p:cNvSpPr txBox="1"/>
          <p:nvPr/>
        </p:nvSpPr>
        <p:spPr>
          <a:xfrm>
            <a:off x="7126368" y="2186381"/>
            <a:ext cx="1461441" cy="2372444"/>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defPPr>
              <a:defRPr lang="en-US"/>
            </a:defPPr>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spcBef>
                <a:spcPts val="0"/>
              </a:spcBef>
              <a:buClr>
                <a:schemeClr val="tx2"/>
              </a:buClr>
              <a:buSzPct val="125000"/>
              <a:buFont typeface="Arial" charset="0"/>
              <a:buChar char="▪"/>
              <a:defRPr sz="1150" baseline="0">
                <a:latin typeface="+mn-lt"/>
                <a:ea typeface="Arial Unicode MS"/>
                <a:cs typeface="Arial Unicode MS"/>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1">
              <a:spcAft>
                <a:spcPts val="75"/>
              </a:spcAft>
              <a:buClr>
                <a:srgbClr val="002960"/>
              </a:buClr>
            </a:pPr>
            <a:r>
              <a:rPr lang="en-GB" sz="1000" dirty="0">
                <a:solidFill>
                  <a:srgbClr val="000000"/>
                </a:solidFill>
              </a:rPr>
              <a:t>Fortnightly function check in on synergy capture progress</a:t>
            </a:r>
          </a:p>
          <a:p>
            <a:pPr lvl="1">
              <a:spcAft>
                <a:spcPts val="75"/>
              </a:spcAft>
              <a:buClr>
                <a:srgbClr val="002960"/>
              </a:buClr>
            </a:pPr>
            <a:r>
              <a:rPr lang="en-GB" sz="1000" dirty="0">
                <a:solidFill>
                  <a:srgbClr val="000000"/>
                </a:solidFill>
              </a:rPr>
              <a:t>Rigorous tracking against implementation timelines</a:t>
            </a:r>
          </a:p>
          <a:p>
            <a:pPr lvl="1">
              <a:spcAft>
                <a:spcPts val="75"/>
              </a:spcAft>
              <a:buClr>
                <a:srgbClr val="002960"/>
              </a:buClr>
            </a:pPr>
            <a:r>
              <a:rPr lang="en-GB" sz="1000" dirty="0">
                <a:solidFill>
                  <a:srgbClr val="000000"/>
                </a:solidFill>
              </a:rPr>
              <a:t>Month-on-month </a:t>
            </a:r>
            <a:r>
              <a:rPr lang="en-GB" sz="1000" dirty="0" err="1">
                <a:solidFill>
                  <a:srgbClr val="000000"/>
                </a:solidFill>
              </a:rPr>
              <a:t>CMT</a:t>
            </a:r>
            <a:r>
              <a:rPr lang="en-GB" sz="1000" dirty="0">
                <a:solidFill>
                  <a:srgbClr val="000000"/>
                </a:solidFill>
              </a:rPr>
              <a:t> update</a:t>
            </a:r>
          </a:p>
          <a:p>
            <a:pPr lvl="1">
              <a:spcAft>
                <a:spcPts val="75"/>
              </a:spcAft>
              <a:buClr>
                <a:srgbClr val="002960"/>
              </a:buClr>
            </a:pPr>
            <a:r>
              <a:rPr lang="en-GB" sz="1000" dirty="0">
                <a:solidFill>
                  <a:srgbClr val="000000"/>
                </a:solidFill>
              </a:rPr>
              <a:t>Investment tracking</a:t>
            </a:r>
          </a:p>
          <a:p>
            <a:pPr lvl="1">
              <a:spcAft>
                <a:spcPts val="75"/>
              </a:spcAft>
              <a:buClr>
                <a:srgbClr val="002960"/>
              </a:buClr>
            </a:pPr>
            <a:r>
              <a:rPr lang="en-US" sz="1000" dirty="0">
                <a:solidFill>
                  <a:srgbClr val="000000"/>
                </a:solidFill>
              </a:rPr>
              <a:t>Supporting MD’s functional reviews</a:t>
            </a:r>
          </a:p>
          <a:p>
            <a:pPr lvl="1">
              <a:spcAft>
                <a:spcPts val="75"/>
              </a:spcAft>
              <a:buClr>
                <a:srgbClr val="002960"/>
              </a:buClr>
            </a:pPr>
            <a:r>
              <a:rPr lang="en-US" sz="1000" dirty="0">
                <a:solidFill>
                  <a:srgbClr val="000000"/>
                </a:solidFill>
              </a:rPr>
              <a:t>Setup of outside budget idea value tracking</a:t>
            </a:r>
            <a:endParaRPr lang="en-GB" sz="1000" dirty="0">
              <a:solidFill>
                <a:srgbClr val="000000"/>
              </a:solidFill>
            </a:endParaRPr>
          </a:p>
        </p:txBody>
      </p:sp>
      <p:sp>
        <p:nvSpPr>
          <p:cNvPr id="22" name="Rectangle 30"/>
          <p:cNvSpPr txBox="1"/>
          <p:nvPr/>
        </p:nvSpPr>
        <p:spPr>
          <a:xfrm>
            <a:off x="5538704" y="2530113"/>
            <a:ext cx="1461441" cy="203902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defPPr>
              <a:defRPr lang="en-US"/>
            </a:defPPr>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spcBef>
                <a:spcPts val="0"/>
              </a:spcBef>
              <a:buClr>
                <a:schemeClr val="tx2"/>
              </a:buClr>
              <a:buSzPct val="125000"/>
              <a:buFont typeface="Arial" charset="0"/>
              <a:buChar char="▪"/>
              <a:defRPr sz="1150" baseline="0">
                <a:latin typeface="+mn-lt"/>
                <a:ea typeface="Arial Unicode MS"/>
                <a:cs typeface="Arial Unicode MS"/>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1">
              <a:spcAft>
                <a:spcPts val="75"/>
              </a:spcAft>
              <a:buClr>
                <a:srgbClr val="002960"/>
              </a:buClr>
            </a:pPr>
            <a:r>
              <a:rPr lang="en-GB" sz="1000" dirty="0">
                <a:solidFill>
                  <a:srgbClr val="000000"/>
                </a:solidFill>
              </a:rPr>
              <a:t>Culture integration workshops with high manpower </a:t>
            </a:r>
            <a:r>
              <a:rPr lang="en-GB" sz="1000" dirty="0" err="1">
                <a:solidFill>
                  <a:srgbClr val="000000"/>
                </a:solidFill>
              </a:rPr>
              <a:t>fns</a:t>
            </a:r>
            <a:endParaRPr lang="en-GB" sz="1000" dirty="0">
              <a:solidFill>
                <a:srgbClr val="000000"/>
              </a:solidFill>
            </a:endParaRPr>
          </a:p>
          <a:p>
            <a:pPr lvl="1">
              <a:spcAft>
                <a:spcPts val="75"/>
              </a:spcAft>
              <a:buClr>
                <a:srgbClr val="002960"/>
              </a:buClr>
            </a:pPr>
            <a:r>
              <a:rPr lang="en-GB" sz="1000" dirty="0">
                <a:solidFill>
                  <a:srgbClr val="000000"/>
                </a:solidFill>
              </a:rPr>
              <a:t>Pulse check survey for objective view of culture challenges</a:t>
            </a:r>
          </a:p>
          <a:p>
            <a:pPr lvl="1">
              <a:spcAft>
                <a:spcPts val="75"/>
              </a:spcAft>
              <a:buClr>
                <a:srgbClr val="002960"/>
              </a:buClr>
            </a:pPr>
            <a:r>
              <a:rPr lang="en-GB" sz="1000" dirty="0">
                <a:solidFill>
                  <a:srgbClr val="000000"/>
                </a:solidFill>
              </a:rPr>
              <a:t>Org transparency exercise conducted for 19 functions</a:t>
            </a:r>
          </a:p>
          <a:p>
            <a:pPr lvl="1">
              <a:spcAft>
                <a:spcPts val="75"/>
              </a:spcAft>
              <a:buClr>
                <a:srgbClr val="002960"/>
              </a:buClr>
            </a:pPr>
            <a:r>
              <a:rPr lang="en-US" sz="1000" dirty="0">
                <a:solidFill>
                  <a:srgbClr val="000000"/>
                </a:solidFill>
              </a:rPr>
              <a:t>Culture and communication action planning workshops with CMT members</a:t>
            </a:r>
            <a:endParaRPr lang="en-GB" sz="1000" dirty="0">
              <a:solidFill>
                <a:srgbClr val="000000"/>
              </a:solidFill>
            </a:endParaRPr>
          </a:p>
        </p:txBody>
      </p:sp>
      <p:sp>
        <p:nvSpPr>
          <p:cNvPr id="23" name="Rectangle 32"/>
          <p:cNvSpPr txBox="1"/>
          <p:nvPr/>
        </p:nvSpPr>
        <p:spPr>
          <a:xfrm>
            <a:off x="3950351" y="2854233"/>
            <a:ext cx="1534937" cy="1744067"/>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defPPr>
              <a:defRPr lang="en-US"/>
            </a:defPPr>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spcBef>
                <a:spcPts val="0"/>
              </a:spcBef>
              <a:buClr>
                <a:schemeClr val="tx2"/>
              </a:buClr>
              <a:buSzPct val="125000"/>
              <a:buFont typeface="Arial" charset="0"/>
              <a:buChar char="▪"/>
              <a:defRPr sz="1150" baseline="0">
                <a:latin typeface="+mn-lt"/>
                <a:ea typeface="Arial Unicode MS"/>
                <a:cs typeface="Arial Unicode MS"/>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1">
              <a:spcAft>
                <a:spcPts val="75"/>
              </a:spcAft>
              <a:buClr>
                <a:srgbClr val="002960"/>
              </a:buClr>
            </a:pPr>
            <a:r>
              <a:rPr lang="en-GB" sz="1000" dirty="0">
                <a:solidFill>
                  <a:srgbClr val="000000"/>
                </a:solidFill>
              </a:rPr>
              <a:t>Setup of synergy value capture infra (FIT team, </a:t>
            </a:r>
            <a:r>
              <a:rPr lang="en-GB" sz="1000" dirty="0" err="1">
                <a:solidFill>
                  <a:srgbClr val="000000"/>
                </a:solidFill>
              </a:rPr>
              <a:t>FCs</a:t>
            </a:r>
            <a:r>
              <a:rPr lang="en-GB" sz="1000" dirty="0">
                <a:solidFill>
                  <a:srgbClr val="000000"/>
                </a:solidFill>
              </a:rPr>
              <a:t>, </a:t>
            </a:r>
            <a:r>
              <a:rPr lang="en-GB" sz="1000" dirty="0" err="1">
                <a:solidFill>
                  <a:srgbClr val="000000"/>
                </a:solidFill>
              </a:rPr>
              <a:t>FICs</a:t>
            </a:r>
            <a:r>
              <a:rPr lang="en-GB" sz="1000" dirty="0">
                <a:solidFill>
                  <a:srgbClr val="000000"/>
                </a:solidFill>
              </a:rPr>
              <a:t>, process, templates etc.)</a:t>
            </a:r>
          </a:p>
          <a:p>
            <a:pPr lvl="1">
              <a:spcAft>
                <a:spcPts val="75"/>
              </a:spcAft>
              <a:buClr>
                <a:srgbClr val="002960"/>
              </a:buClr>
            </a:pPr>
            <a:r>
              <a:rPr lang="en-GB" sz="1000" dirty="0">
                <a:solidFill>
                  <a:srgbClr val="000000"/>
                </a:solidFill>
              </a:rPr>
              <a:t>Defined </a:t>
            </a:r>
            <a:r>
              <a:rPr lang="en-GB" sz="1000" dirty="0" err="1">
                <a:solidFill>
                  <a:srgbClr val="000000"/>
                </a:solidFill>
              </a:rPr>
              <a:t>baselining</a:t>
            </a:r>
            <a:r>
              <a:rPr lang="en-GB" sz="1000" dirty="0">
                <a:solidFill>
                  <a:srgbClr val="000000"/>
                </a:solidFill>
              </a:rPr>
              <a:t> guidelines</a:t>
            </a:r>
          </a:p>
          <a:p>
            <a:pPr lvl="1">
              <a:spcAft>
                <a:spcPts val="75"/>
              </a:spcAft>
              <a:buClr>
                <a:srgbClr val="002960"/>
              </a:buClr>
            </a:pPr>
            <a:r>
              <a:rPr lang="en-GB" sz="1000" dirty="0">
                <a:solidFill>
                  <a:srgbClr val="000000"/>
                </a:solidFill>
              </a:rPr>
              <a:t>Conducted VC workshops</a:t>
            </a:r>
          </a:p>
          <a:p>
            <a:pPr lvl="1">
              <a:spcAft>
                <a:spcPts val="75"/>
              </a:spcAft>
              <a:buClr>
                <a:srgbClr val="002960"/>
              </a:buClr>
            </a:pPr>
            <a:r>
              <a:rPr lang="en-US" sz="1000" dirty="0">
                <a:solidFill>
                  <a:srgbClr val="000000"/>
                </a:solidFill>
              </a:rPr>
              <a:t>Management of interdependencies</a:t>
            </a:r>
          </a:p>
          <a:p>
            <a:pPr lvl="1">
              <a:spcAft>
                <a:spcPts val="75"/>
              </a:spcAft>
              <a:buClr>
                <a:srgbClr val="002960"/>
              </a:buClr>
            </a:pPr>
            <a:r>
              <a:rPr lang="en-US" sz="1000" dirty="0">
                <a:solidFill>
                  <a:srgbClr val="000000"/>
                </a:solidFill>
              </a:rPr>
              <a:t>IT integration</a:t>
            </a:r>
            <a:endParaRPr lang="en-GB" sz="1000" dirty="0">
              <a:solidFill>
                <a:srgbClr val="000000"/>
              </a:solidFill>
            </a:endParaRPr>
          </a:p>
        </p:txBody>
      </p:sp>
      <p:sp>
        <p:nvSpPr>
          <p:cNvPr id="24" name="Rectangle 34"/>
          <p:cNvSpPr txBox="1"/>
          <p:nvPr/>
        </p:nvSpPr>
        <p:spPr>
          <a:xfrm>
            <a:off x="2331779" y="3216342"/>
            <a:ext cx="1461441" cy="124393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1">
              <a:spcBef>
                <a:spcPts val="0"/>
              </a:spcBef>
              <a:spcAft>
                <a:spcPts val="75"/>
              </a:spcAft>
              <a:buClr>
                <a:srgbClr val="002960"/>
              </a:buClr>
            </a:pPr>
            <a:r>
              <a:rPr lang="en-GB" sz="1000" dirty="0">
                <a:solidFill>
                  <a:srgbClr val="000000"/>
                </a:solidFill>
                <a:ea typeface="Arial Unicode MS"/>
                <a:cs typeface="Arial Unicode MS"/>
              </a:rPr>
              <a:t>Function by function Day 100 planning</a:t>
            </a:r>
          </a:p>
          <a:p>
            <a:pPr lvl="1">
              <a:spcBef>
                <a:spcPts val="0"/>
              </a:spcBef>
              <a:spcAft>
                <a:spcPts val="75"/>
              </a:spcAft>
              <a:buClr>
                <a:srgbClr val="002960"/>
              </a:buClr>
            </a:pPr>
            <a:r>
              <a:rPr lang="en-GB" sz="1000" dirty="0">
                <a:solidFill>
                  <a:srgbClr val="000000"/>
                </a:solidFill>
                <a:ea typeface="Arial Unicode MS"/>
                <a:cs typeface="Arial Unicode MS"/>
              </a:rPr>
              <a:t>Identification of functional integration priorities and process harmonisation – created detailed </a:t>
            </a:r>
            <a:r>
              <a:rPr lang="en-GB" sz="1000" dirty="0" err="1">
                <a:solidFill>
                  <a:srgbClr val="000000"/>
                </a:solidFill>
                <a:ea typeface="Arial Unicode MS"/>
                <a:cs typeface="Arial Unicode MS"/>
              </a:rPr>
              <a:t>impl</a:t>
            </a:r>
            <a:r>
              <a:rPr lang="en-GB" sz="1000" dirty="0">
                <a:solidFill>
                  <a:srgbClr val="000000"/>
                </a:solidFill>
                <a:ea typeface="Arial Unicode MS"/>
                <a:cs typeface="Arial Unicode MS"/>
              </a:rPr>
              <a:t>. plans</a:t>
            </a:r>
          </a:p>
        </p:txBody>
      </p:sp>
      <p:sp>
        <p:nvSpPr>
          <p:cNvPr id="25" name="Rectangle 36"/>
          <p:cNvSpPr txBox="1"/>
          <p:nvPr/>
        </p:nvSpPr>
        <p:spPr>
          <a:xfrm>
            <a:off x="714362" y="3579919"/>
            <a:ext cx="1461441" cy="94897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1">
              <a:spcBef>
                <a:spcPts val="0"/>
              </a:spcBef>
              <a:spcAft>
                <a:spcPts val="75"/>
              </a:spcAft>
              <a:buClr>
                <a:srgbClr val="002960"/>
              </a:buClr>
            </a:pPr>
            <a:r>
              <a:rPr lang="en-GB" sz="1000" dirty="0">
                <a:solidFill>
                  <a:srgbClr val="000000"/>
                </a:solidFill>
                <a:ea typeface="Arial Unicode MS"/>
                <a:cs typeface="Arial Unicode MS"/>
              </a:rPr>
              <a:t>Functional charters for business continuity</a:t>
            </a:r>
          </a:p>
          <a:p>
            <a:pPr lvl="1">
              <a:spcBef>
                <a:spcPts val="0"/>
              </a:spcBef>
              <a:spcAft>
                <a:spcPts val="75"/>
              </a:spcAft>
              <a:buClr>
                <a:srgbClr val="002960"/>
              </a:buClr>
            </a:pPr>
            <a:r>
              <a:rPr lang="en-GB" sz="1000" dirty="0">
                <a:solidFill>
                  <a:srgbClr val="000000"/>
                </a:solidFill>
                <a:ea typeface="Arial Unicode MS"/>
                <a:cs typeface="Arial Unicode MS"/>
              </a:rPr>
              <a:t>Culture assessment and sensitisation</a:t>
            </a:r>
          </a:p>
          <a:p>
            <a:pPr lvl="1">
              <a:spcBef>
                <a:spcPts val="0"/>
              </a:spcBef>
              <a:spcAft>
                <a:spcPts val="75"/>
              </a:spcAft>
              <a:buClr>
                <a:srgbClr val="002960"/>
              </a:buClr>
            </a:pPr>
            <a:r>
              <a:rPr lang="en-GB" sz="1000" dirty="0">
                <a:solidFill>
                  <a:srgbClr val="000000"/>
                </a:solidFill>
                <a:ea typeface="Arial Unicode MS"/>
                <a:cs typeface="Arial Unicode MS"/>
              </a:rPr>
              <a:t>Clean team analysis (Procurement, US)</a:t>
            </a:r>
          </a:p>
        </p:txBody>
      </p:sp>
      <p:cxnSp>
        <p:nvCxnSpPr>
          <p:cNvPr id="26" name="Straight Connector 25"/>
          <p:cNvCxnSpPr>
            <a:cxnSpLocks/>
          </p:cNvCxnSpPr>
          <p:nvPr/>
        </p:nvCxnSpPr>
        <p:spPr bwMode="auto">
          <a:xfrm>
            <a:off x="670532" y="4902395"/>
            <a:ext cx="7949174" cy="0"/>
          </a:xfrm>
          <a:prstGeom prst="line">
            <a:avLst/>
          </a:prstGeom>
          <a:solidFill>
            <a:schemeClr val="accent1"/>
          </a:solidFill>
          <a:ln w="19050" cap="flat" cmpd="sng" algn="ctr">
            <a:solidFill>
              <a:srgbClr val="808080"/>
            </a:solidFill>
            <a:prstDash val="sysDot"/>
            <a:round/>
            <a:headEnd type="none" w="med" len="med"/>
            <a:tailEnd type="none" w="med" len="med"/>
          </a:ln>
          <a:effectLst/>
          <a:extLst/>
        </p:spPr>
      </p:cxnSp>
      <p:cxnSp>
        <p:nvCxnSpPr>
          <p:cNvPr id="27" name="Straight Connector 26"/>
          <p:cNvCxnSpPr>
            <a:cxnSpLocks/>
          </p:cNvCxnSpPr>
          <p:nvPr/>
        </p:nvCxnSpPr>
        <p:spPr bwMode="auto">
          <a:xfrm>
            <a:off x="675352" y="6255352"/>
            <a:ext cx="7978270" cy="29371"/>
          </a:xfrm>
          <a:prstGeom prst="line">
            <a:avLst/>
          </a:prstGeom>
          <a:noFill/>
          <a:ln w="38100">
            <a:solidFill>
              <a:schemeClr val="accent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28" name="Line 71"/>
          <p:cNvSpPr>
            <a:spLocks noChangeShapeType="1"/>
          </p:cNvSpPr>
          <p:nvPr/>
        </p:nvSpPr>
        <p:spPr bwMode="gray">
          <a:xfrm>
            <a:off x="7830584" y="1701372"/>
            <a:ext cx="0" cy="160822"/>
          </a:xfrm>
          <a:prstGeom prst="line">
            <a:avLst/>
          </a:prstGeom>
          <a:noFill/>
          <a:ln w="19050">
            <a:solidFill>
              <a:schemeClr val="accent6"/>
            </a:solidFill>
            <a:round/>
            <a:headEnd type="oval" w="med" len="med"/>
            <a:tailEnd type="oval"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en-GB" sz="1000" dirty="0">
              <a:solidFill>
                <a:srgbClr val="000000"/>
              </a:solidFill>
              <a:latin typeface="Arial"/>
            </a:endParaRPr>
          </a:p>
        </p:txBody>
      </p:sp>
      <p:sp>
        <p:nvSpPr>
          <p:cNvPr id="29" name="Line 71"/>
          <p:cNvSpPr>
            <a:spLocks noChangeShapeType="1"/>
          </p:cNvSpPr>
          <p:nvPr/>
        </p:nvSpPr>
        <p:spPr bwMode="gray">
          <a:xfrm>
            <a:off x="6252729" y="2031028"/>
            <a:ext cx="0" cy="147754"/>
          </a:xfrm>
          <a:prstGeom prst="line">
            <a:avLst/>
          </a:prstGeom>
          <a:noFill/>
          <a:ln w="19050">
            <a:solidFill>
              <a:schemeClr val="accent6"/>
            </a:solidFill>
            <a:round/>
            <a:headEnd type="oval" w="med" len="med"/>
            <a:tailEnd type="oval"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en-GB" sz="1000" dirty="0">
              <a:solidFill>
                <a:srgbClr val="000000"/>
              </a:solidFill>
              <a:latin typeface="Arial"/>
            </a:endParaRPr>
          </a:p>
        </p:txBody>
      </p:sp>
      <p:sp>
        <p:nvSpPr>
          <p:cNvPr id="30" name="Line 70"/>
          <p:cNvSpPr>
            <a:spLocks noChangeShapeType="1"/>
          </p:cNvSpPr>
          <p:nvPr/>
        </p:nvSpPr>
        <p:spPr bwMode="gray">
          <a:xfrm>
            <a:off x="4674873" y="2382565"/>
            <a:ext cx="0" cy="147754"/>
          </a:xfrm>
          <a:prstGeom prst="line">
            <a:avLst/>
          </a:prstGeom>
          <a:noFill/>
          <a:ln w="19050">
            <a:solidFill>
              <a:schemeClr val="accent6"/>
            </a:solidFill>
            <a:round/>
            <a:headEnd type="oval" w="med" len="med"/>
            <a:tailEnd type="oval"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en-GB" sz="1000" dirty="0">
              <a:solidFill>
                <a:srgbClr val="000000"/>
              </a:solidFill>
              <a:latin typeface="Arial"/>
            </a:endParaRPr>
          </a:p>
        </p:txBody>
      </p:sp>
      <p:sp>
        <p:nvSpPr>
          <p:cNvPr id="31" name="Line 69"/>
          <p:cNvSpPr>
            <a:spLocks noChangeShapeType="1"/>
          </p:cNvSpPr>
          <p:nvPr/>
        </p:nvSpPr>
        <p:spPr bwMode="gray">
          <a:xfrm>
            <a:off x="3062658" y="2720664"/>
            <a:ext cx="0" cy="147754"/>
          </a:xfrm>
          <a:prstGeom prst="line">
            <a:avLst/>
          </a:prstGeom>
          <a:noFill/>
          <a:ln w="19050">
            <a:solidFill>
              <a:schemeClr val="accent6"/>
            </a:solidFill>
            <a:round/>
            <a:headEnd type="oval" w="med" len="med"/>
            <a:tailEnd type="oval"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en-GB" sz="1000" dirty="0">
              <a:solidFill>
                <a:srgbClr val="000000"/>
              </a:solidFill>
              <a:latin typeface="Arial"/>
            </a:endParaRPr>
          </a:p>
        </p:txBody>
      </p:sp>
      <p:sp>
        <p:nvSpPr>
          <p:cNvPr id="32" name="Line 69"/>
          <p:cNvSpPr>
            <a:spLocks noChangeShapeType="1"/>
          </p:cNvSpPr>
          <p:nvPr/>
        </p:nvSpPr>
        <p:spPr bwMode="gray">
          <a:xfrm>
            <a:off x="1493392" y="3077210"/>
            <a:ext cx="0" cy="146824"/>
          </a:xfrm>
          <a:prstGeom prst="line">
            <a:avLst/>
          </a:prstGeom>
          <a:noFill/>
          <a:ln w="19050">
            <a:solidFill>
              <a:schemeClr val="accent6"/>
            </a:solidFill>
            <a:round/>
            <a:headEnd type="oval" w="med" len="med"/>
            <a:tailEnd type="oval"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en-GB" sz="1000" dirty="0">
              <a:solidFill>
                <a:srgbClr val="000000"/>
              </a:solidFill>
              <a:latin typeface="Arial"/>
            </a:endParaRPr>
          </a:p>
        </p:txBody>
      </p:sp>
      <p:sp>
        <p:nvSpPr>
          <p:cNvPr id="33" name="Rectangle 16"/>
          <p:cNvSpPr txBox="1">
            <a:spLocks/>
          </p:cNvSpPr>
          <p:nvPr/>
        </p:nvSpPr>
        <p:spPr>
          <a:xfrm>
            <a:off x="246218" y="3628406"/>
            <a:ext cx="406873" cy="1240138"/>
          </a:xfrm>
          <a:prstGeom prst="rect">
            <a:avLst/>
          </a:prstGeom>
          <a:solidFill>
            <a:schemeClr val="accent2"/>
          </a:solidFill>
          <a:ln w="9525">
            <a:noFill/>
            <a:miter lim="800000"/>
            <a:headEnd/>
            <a:tailEnd/>
          </a:ln>
          <a:effectLst/>
          <a:extLst/>
        </p:spPr>
        <p:txBody>
          <a:bodyPr vert="vert270" wrap="square" lIns="54004" tIns="54004" rIns="54004" bIns="54004" numCol="1" anchor="ctr" anchorCtr="0" compatLnSpc="1">
            <a:prstTxWarp prst="textNoShape">
              <a:avLst/>
            </a:prstTxWarp>
            <a:noAutofit/>
          </a:bodyPr>
          <a:lstStyle>
            <a:lvl1pPr lvl="0" defTabSz="895350">
              <a:buClr>
                <a:schemeClr val="tx2"/>
              </a:buClr>
              <a:defRPr sz="1600">
                <a:latin typeface="+mn-lt"/>
              </a:defRPr>
            </a:lvl1pPr>
            <a:lvl2pPr marL="193675" indent="-192088" defTabSz="895350">
              <a:buClr>
                <a:schemeClr val="tx2"/>
              </a:buClr>
              <a:buSzPct val="125000"/>
              <a:buFont typeface="Arial" pitchFamily="34" charset="0"/>
              <a:buChar char="▪"/>
              <a:defRPr sz="1600">
                <a:latin typeface="+mn-lt"/>
              </a:defRPr>
            </a:lvl2pPr>
            <a:lvl3pPr marL="457200" indent="-261938" defTabSz="895350">
              <a:buClr>
                <a:schemeClr val="tx2"/>
              </a:buClr>
              <a:buSzPct val="120000"/>
              <a:buFont typeface="Arial" pitchFamily="34" charset="0"/>
              <a:buChar char="–"/>
              <a:defRPr sz="1600">
                <a:latin typeface="+mn-lt"/>
              </a:defRPr>
            </a:lvl3pPr>
            <a:lvl4pPr marL="614363" indent="-155575" defTabSz="895350">
              <a:buClr>
                <a:schemeClr val="tx2"/>
              </a:buClr>
              <a:buSzPct val="120000"/>
              <a:buFont typeface="Arial" pitchFamily="34" charset="0"/>
              <a:buChar char="▫"/>
              <a:defRPr sz="1600">
                <a:latin typeface="+mn-lt"/>
              </a:defRPr>
            </a:lvl4pPr>
            <a:lvl5pPr marL="746125" indent="-130175" defTabSz="895350">
              <a:buClr>
                <a:schemeClr val="tx2"/>
              </a:buClr>
              <a:buSzPct val="89000"/>
              <a:buFont typeface="Arial" pitchFamily="34" charset="0"/>
              <a:buChar char="-"/>
              <a:defRPr sz="1600">
                <a:latin typeface="+mn-lt"/>
              </a:defRPr>
            </a:lvl5pPr>
            <a:lvl6pPr marL="1203325" indent="-130175" defTabSz="895350" fontAlgn="base">
              <a:spcBef>
                <a:spcPct val="0"/>
              </a:spcBef>
              <a:spcAft>
                <a:spcPct val="0"/>
              </a:spcAft>
              <a:buClr>
                <a:schemeClr val="tx2"/>
              </a:buClr>
              <a:buSzPct val="89000"/>
              <a:buFont typeface="Arial" pitchFamily="34" charset="0"/>
              <a:buChar char="-"/>
              <a:defRPr sz="1600">
                <a:latin typeface="+mn-lt"/>
              </a:defRPr>
            </a:lvl6pPr>
            <a:lvl7pPr marL="1660525" indent="-130175" defTabSz="895350" fontAlgn="base">
              <a:spcBef>
                <a:spcPct val="0"/>
              </a:spcBef>
              <a:spcAft>
                <a:spcPct val="0"/>
              </a:spcAft>
              <a:buClr>
                <a:schemeClr val="tx2"/>
              </a:buClr>
              <a:buSzPct val="89000"/>
              <a:buFont typeface="Arial" pitchFamily="34" charset="0"/>
              <a:buChar char="-"/>
              <a:defRPr sz="1600">
                <a:latin typeface="+mn-lt"/>
              </a:defRPr>
            </a:lvl7pPr>
            <a:lvl8pPr marL="2117725" indent="-130175" defTabSz="895350" fontAlgn="base">
              <a:spcBef>
                <a:spcPct val="0"/>
              </a:spcBef>
              <a:spcAft>
                <a:spcPct val="0"/>
              </a:spcAft>
              <a:buClr>
                <a:schemeClr val="tx2"/>
              </a:buClr>
              <a:buSzPct val="89000"/>
              <a:buFont typeface="Arial" pitchFamily="34" charset="0"/>
              <a:buChar char="-"/>
              <a:defRPr sz="1600">
                <a:latin typeface="+mn-lt"/>
              </a:defRPr>
            </a:lvl8pPr>
            <a:lvl9pPr marL="2574925" indent="-130175" defTabSz="895350" fontAlgn="base">
              <a:spcBef>
                <a:spcPct val="0"/>
              </a:spcBef>
              <a:spcAft>
                <a:spcPct val="0"/>
              </a:spcAft>
              <a:buClr>
                <a:schemeClr val="tx2"/>
              </a:buClr>
              <a:buSzPct val="89000"/>
              <a:buFont typeface="Arial" pitchFamily="34" charset="0"/>
              <a:buChar char="-"/>
              <a:defRPr sz="1600">
                <a:latin typeface="+mn-lt"/>
              </a:defRPr>
            </a:lvl9pPr>
          </a:lstStyle>
          <a:p>
            <a:pPr algn="ctr">
              <a:spcBef>
                <a:spcPts val="750"/>
              </a:spcBef>
              <a:buClr>
                <a:srgbClr val="002960"/>
              </a:buClr>
            </a:pPr>
            <a:r>
              <a:rPr lang="en-GB" sz="1000" b="1" dirty="0">
                <a:solidFill>
                  <a:srgbClr val="FFFFFF"/>
                </a:solidFill>
              </a:rPr>
              <a:t>Key interventions</a:t>
            </a:r>
          </a:p>
        </p:txBody>
      </p:sp>
      <p:grpSp>
        <p:nvGrpSpPr>
          <p:cNvPr id="34" name="Group 33"/>
          <p:cNvGrpSpPr/>
          <p:nvPr/>
        </p:nvGrpSpPr>
        <p:grpSpPr>
          <a:xfrm>
            <a:off x="750357" y="2565390"/>
            <a:ext cx="1471187" cy="479403"/>
            <a:chOff x="696847" y="2433779"/>
            <a:chExt cx="1505764" cy="490670"/>
          </a:xfrm>
        </p:grpSpPr>
        <p:grpSp>
          <p:nvGrpSpPr>
            <p:cNvPr id="35" name="Group 34"/>
            <p:cNvGrpSpPr>
              <a:grpSpLocks/>
            </p:cNvGrpSpPr>
            <p:nvPr/>
          </p:nvGrpSpPr>
          <p:grpSpPr>
            <a:xfrm>
              <a:off x="696848" y="2472719"/>
              <a:ext cx="1505763" cy="451730"/>
              <a:chOff x="712088" y="2475021"/>
              <a:chExt cx="1505763" cy="451730"/>
            </a:xfrm>
          </p:grpSpPr>
          <p:sp>
            <p:nvSpPr>
              <p:cNvPr id="37" name="Rectangle 73"/>
              <p:cNvSpPr txBox="1">
                <a:spLocks noChangeArrowheads="1"/>
              </p:cNvSpPr>
              <p:nvPr>
                <p:custDataLst>
                  <p:tags r:id="rId5"/>
                </p:custDataLst>
              </p:nvPr>
            </p:nvSpPr>
            <p:spPr bwMode="gray">
              <a:xfrm>
                <a:off x="712088" y="2479607"/>
                <a:ext cx="1462312" cy="447144"/>
              </a:xfrm>
              <a:prstGeom prst="rect">
                <a:avLst/>
              </a:prstGeom>
              <a:ln>
                <a:noFill/>
                <a:headEnd/>
                <a:tailEnd/>
              </a:ln>
              <a:effectLst/>
              <a:extLst/>
            </p:spPr>
            <p:style>
              <a:lnRef idx="1">
                <a:schemeClr val="accent3"/>
              </a:lnRef>
              <a:fillRef idx="3">
                <a:schemeClr val="accent3"/>
              </a:fillRef>
              <a:effectRef idx="2">
                <a:schemeClr val="accent3"/>
              </a:effectRef>
              <a:fontRef idx="minor">
                <a:schemeClr val="lt1"/>
              </a:fontRef>
            </p:style>
            <p:txBody>
              <a:bodyPr vert="horz" wrap="square" lIns="54004" tIns="54004" rIns="54004" bIns="54004" numCol="1" anchor="ctr" anchorCtr="0" compatLnSpc="1">
                <a:prstTxWarp prst="textNoShape">
                  <a:avLst/>
                </a:prstTxWarp>
                <a:noAutofit/>
              </a:bodyPr>
              <a:lstStyle>
                <a:defPPr>
                  <a:defRPr lang="en-US"/>
                </a:defPPr>
                <a:lvl1pPr marL="0" lvl="0" indent="0" defTabSz="895350" eaLnBrk="1" hangingPunct="1">
                  <a:buClr>
                    <a:schemeClr val="tx2"/>
                  </a:buClr>
                  <a:defRPr b="1"/>
                </a:lvl1pPr>
                <a:lvl2pPr marL="193675" lvl="1" indent="-192088" defTabSz="895350" eaLnBrk="1" hangingPunct="1">
                  <a:buClr>
                    <a:schemeClr val="tx2"/>
                  </a:buClr>
                  <a:buSzPct val="125000"/>
                  <a:buFont typeface="Arial" charset="0"/>
                  <a:buChar char="▪"/>
                </a:lvl2pPr>
                <a:lvl3pPr marL="457200" lvl="2" indent="-261938" defTabSz="895350" eaLnBrk="1" hangingPunct="1">
                  <a:buClr>
                    <a:schemeClr val="tx2"/>
                  </a:buClr>
                  <a:buSzPct val="120000"/>
                  <a:buFont typeface="Arial" charset="0"/>
                  <a:buChar char="–"/>
                </a:lvl3pPr>
                <a:lvl4pPr marL="614363" lvl="3" indent="-155575" defTabSz="895350" eaLnBrk="1" hangingPunct="1">
                  <a:buClr>
                    <a:schemeClr val="tx2"/>
                  </a:buClr>
                  <a:buSzPct val="120000"/>
                  <a:buFont typeface="Arial" charset="0"/>
                  <a:buChar char="▫"/>
                </a:lvl4pPr>
                <a:lvl5pPr marL="749808" lvl="4" indent="-130175" defTabSz="895350" eaLnBrk="1" hangingPunct="1">
                  <a:buClr>
                    <a:schemeClr val="tx2"/>
                  </a:buClr>
                  <a:buSzPct val="89000"/>
                  <a:buFont typeface="Arial" charset="0"/>
                  <a:buChar char="-"/>
                </a:lvl5pPr>
                <a:lvl6pPr marL="749808" indent="-130175" defTabSz="895350" fontAlgn="base">
                  <a:spcBef>
                    <a:spcPct val="0"/>
                  </a:spcBef>
                  <a:spcAft>
                    <a:spcPct val="0"/>
                  </a:spcAft>
                  <a:buClr>
                    <a:schemeClr val="tx2"/>
                  </a:buClr>
                  <a:buSzPct val="89000"/>
                  <a:buFont typeface="Arial" charset="0"/>
                  <a:buChar char="-"/>
                </a:lvl6pPr>
                <a:lvl7pPr marL="749808" indent="-130175" defTabSz="895350" fontAlgn="base">
                  <a:spcBef>
                    <a:spcPct val="0"/>
                  </a:spcBef>
                  <a:spcAft>
                    <a:spcPct val="0"/>
                  </a:spcAft>
                  <a:buClr>
                    <a:schemeClr val="tx2"/>
                  </a:buClr>
                  <a:buSzPct val="89000"/>
                  <a:buFont typeface="Arial" charset="0"/>
                  <a:buChar char="-"/>
                </a:lvl7pPr>
                <a:lvl8pPr marL="749808" indent="-130175" defTabSz="895350" fontAlgn="base">
                  <a:spcBef>
                    <a:spcPct val="0"/>
                  </a:spcBef>
                  <a:spcAft>
                    <a:spcPct val="0"/>
                  </a:spcAft>
                  <a:buClr>
                    <a:schemeClr val="tx2"/>
                  </a:buClr>
                  <a:buSzPct val="89000"/>
                  <a:buFont typeface="Arial" charset="0"/>
                  <a:buChar char="-"/>
                </a:lvl8pPr>
                <a:lvl9pPr marL="749808" indent="-130175" defTabSz="895350" fontAlgn="base">
                  <a:spcBef>
                    <a:spcPct val="0"/>
                  </a:spcBef>
                  <a:spcAft>
                    <a:spcPct val="0"/>
                  </a:spcAft>
                  <a:buClr>
                    <a:schemeClr val="tx2"/>
                  </a:buClr>
                  <a:buSzPct val="89000"/>
                  <a:buFont typeface="Arial" charset="0"/>
                  <a:buChar char="-"/>
                </a:lvl9pPr>
              </a:lstStyle>
              <a:p>
                <a:pPr>
                  <a:buClr>
                    <a:srgbClr val="002960"/>
                  </a:buClr>
                </a:pPr>
                <a:r>
                  <a:rPr lang="en-GB" altLang="ko-KR" sz="1000" dirty="0">
                    <a:solidFill>
                      <a:srgbClr val="FFFFFF"/>
                    </a:solidFill>
                  </a:rPr>
                  <a:t>Pre-close planning and clean team</a:t>
                </a:r>
              </a:p>
            </p:txBody>
          </p:sp>
          <p:sp>
            <p:nvSpPr>
              <p:cNvPr id="38" name="Rectangle 37"/>
              <p:cNvSpPr>
                <a:spLocks/>
              </p:cNvSpPr>
              <p:nvPr/>
            </p:nvSpPr>
            <p:spPr>
              <a:xfrm>
                <a:off x="2172132" y="2475021"/>
                <a:ext cx="45719" cy="447144"/>
              </a:xfrm>
              <a:prstGeom prst="rect">
                <a:avLst/>
              </a:prstGeom>
              <a:solidFill>
                <a:srgbClr val="00B05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err="1">
                  <a:solidFill>
                    <a:srgbClr val="000000"/>
                  </a:solidFill>
                </a:endParaRPr>
              </a:p>
            </p:txBody>
          </p:sp>
        </p:grpSp>
        <p:sp>
          <p:nvSpPr>
            <p:cNvPr id="36" name="Rectangle 35"/>
            <p:cNvSpPr>
              <a:spLocks/>
            </p:cNvSpPr>
            <p:nvPr/>
          </p:nvSpPr>
          <p:spPr>
            <a:xfrm rot="5400000">
              <a:off x="1426869" y="1703757"/>
              <a:ext cx="45719" cy="1505764"/>
            </a:xfrm>
            <a:prstGeom prst="rect">
              <a:avLst/>
            </a:prstGeom>
            <a:solidFill>
              <a:srgbClr val="00B05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err="1">
                <a:solidFill>
                  <a:srgbClr val="000000"/>
                </a:solidFill>
              </a:endParaRPr>
            </a:p>
          </p:txBody>
        </p:sp>
      </p:grpSp>
      <p:grpSp>
        <p:nvGrpSpPr>
          <p:cNvPr id="39" name="Group 38"/>
          <p:cNvGrpSpPr/>
          <p:nvPr/>
        </p:nvGrpSpPr>
        <p:grpSpPr>
          <a:xfrm>
            <a:off x="2317417" y="2204996"/>
            <a:ext cx="1469064" cy="484801"/>
            <a:chOff x="2300735" y="2064914"/>
            <a:chExt cx="1503591" cy="496195"/>
          </a:xfrm>
        </p:grpSpPr>
        <p:grpSp>
          <p:nvGrpSpPr>
            <p:cNvPr id="40" name="Group 39"/>
            <p:cNvGrpSpPr>
              <a:grpSpLocks/>
            </p:cNvGrpSpPr>
            <p:nvPr/>
          </p:nvGrpSpPr>
          <p:grpSpPr>
            <a:xfrm>
              <a:off x="2301738" y="2109379"/>
              <a:ext cx="1502588" cy="451730"/>
              <a:chOff x="2286068" y="2187882"/>
              <a:chExt cx="1505935" cy="396097"/>
            </a:xfrm>
          </p:grpSpPr>
          <p:sp>
            <p:nvSpPr>
              <p:cNvPr id="42" name="Rectangle 73"/>
              <p:cNvSpPr txBox="1">
                <a:spLocks noChangeArrowheads="1"/>
              </p:cNvSpPr>
              <p:nvPr>
                <p:custDataLst>
                  <p:tags r:id="rId4"/>
                </p:custDataLst>
              </p:nvPr>
            </p:nvSpPr>
            <p:spPr bwMode="gray">
              <a:xfrm>
                <a:off x="2286068" y="2187882"/>
                <a:ext cx="1462312" cy="396097"/>
              </a:xfrm>
              <a:prstGeom prst="rect">
                <a:avLst/>
              </a:prstGeom>
              <a:ln>
                <a:noFill/>
                <a:headEnd/>
                <a:tailEnd/>
              </a:ln>
              <a:effectLst/>
              <a:extLst/>
            </p:spPr>
            <p:style>
              <a:lnRef idx="1">
                <a:schemeClr val="accent3"/>
              </a:lnRef>
              <a:fillRef idx="3">
                <a:schemeClr val="accent3"/>
              </a:fillRef>
              <a:effectRef idx="2">
                <a:schemeClr val="accent3"/>
              </a:effectRef>
              <a:fontRef idx="minor">
                <a:schemeClr val="lt1"/>
              </a:fontRef>
            </p:style>
            <p:txBody>
              <a:bodyPr vert="horz" wrap="square" lIns="54004" tIns="54004" rIns="54004" bIns="54004" numCol="1" anchor="ctr" anchorCtr="0" compatLnSpc="1">
                <a:prstTxWarp prst="textNoShape">
                  <a:avLst/>
                </a:prstTxWarp>
                <a:noAutofit/>
              </a:bodyPr>
              <a:lstStyle>
                <a:defPPr>
                  <a:defRPr lang="en-US"/>
                </a:defPPr>
                <a:lvl1pPr marL="0" lvl="0" indent="0" defTabSz="895350" eaLnBrk="1" hangingPunct="1">
                  <a:buClr>
                    <a:schemeClr val="tx2"/>
                  </a:buClr>
                  <a:defRPr b="1"/>
                </a:lvl1pPr>
                <a:lvl2pPr marL="193675" lvl="1" indent="-192088" defTabSz="895350" eaLnBrk="1" hangingPunct="1">
                  <a:buClr>
                    <a:schemeClr val="tx2"/>
                  </a:buClr>
                  <a:buSzPct val="125000"/>
                  <a:buFont typeface="Arial" charset="0"/>
                  <a:buChar char="▪"/>
                </a:lvl2pPr>
                <a:lvl3pPr marL="457200" lvl="2" indent="-261938" defTabSz="895350" eaLnBrk="1" hangingPunct="1">
                  <a:buClr>
                    <a:schemeClr val="tx2"/>
                  </a:buClr>
                  <a:buSzPct val="120000"/>
                  <a:buFont typeface="Arial" charset="0"/>
                  <a:buChar char="–"/>
                </a:lvl3pPr>
                <a:lvl4pPr marL="614363" lvl="3" indent="-155575" defTabSz="895350" eaLnBrk="1" hangingPunct="1">
                  <a:buClr>
                    <a:schemeClr val="tx2"/>
                  </a:buClr>
                  <a:buSzPct val="120000"/>
                  <a:buFont typeface="Arial" charset="0"/>
                  <a:buChar char="▫"/>
                </a:lvl4pPr>
                <a:lvl5pPr marL="749808" lvl="4" indent="-130175" defTabSz="895350" eaLnBrk="1" hangingPunct="1">
                  <a:buClr>
                    <a:schemeClr val="tx2"/>
                  </a:buClr>
                  <a:buSzPct val="89000"/>
                  <a:buFont typeface="Arial" charset="0"/>
                  <a:buChar char="-"/>
                </a:lvl5pPr>
                <a:lvl6pPr marL="749808" indent="-130175" defTabSz="895350" fontAlgn="base">
                  <a:spcBef>
                    <a:spcPct val="0"/>
                  </a:spcBef>
                  <a:spcAft>
                    <a:spcPct val="0"/>
                  </a:spcAft>
                  <a:buClr>
                    <a:schemeClr val="tx2"/>
                  </a:buClr>
                  <a:buSzPct val="89000"/>
                  <a:buFont typeface="Arial" charset="0"/>
                  <a:buChar char="-"/>
                </a:lvl6pPr>
                <a:lvl7pPr marL="749808" indent="-130175" defTabSz="895350" fontAlgn="base">
                  <a:spcBef>
                    <a:spcPct val="0"/>
                  </a:spcBef>
                  <a:spcAft>
                    <a:spcPct val="0"/>
                  </a:spcAft>
                  <a:buClr>
                    <a:schemeClr val="tx2"/>
                  </a:buClr>
                  <a:buSzPct val="89000"/>
                  <a:buFont typeface="Arial" charset="0"/>
                  <a:buChar char="-"/>
                </a:lvl7pPr>
                <a:lvl8pPr marL="749808" indent="-130175" defTabSz="895350" fontAlgn="base">
                  <a:spcBef>
                    <a:spcPct val="0"/>
                  </a:spcBef>
                  <a:spcAft>
                    <a:spcPct val="0"/>
                  </a:spcAft>
                  <a:buClr>
                    <a:schemeClr val="tx2"/>
                  </a:buClr>
                  <a:buSzPct val="89000"/>
                  <a:buFont typeface="Arial" charset="0"/>
                  <a:buChar char="-"/>
                </a:lvl8pPr>
                <a:lvl9pPr marL="749808" indent="-130175" defTabSz="895350" fontAlgn="base">
                  <a:spcBef>
                    <a:spcPct val="0"/>
                  </a:spcBef>
                  <a:spcAft>
                    <a:spcPct val="0"/>
                  </a:spcAft>
                  <a:buClr>
                    <a:schemeClr val="tx2"/>
                  </a:buClr>
                  <a:buSzPct val="89000"/>
                  <a:buFont typeface="Arial" charset="0"/>
                  <a:buChar char="-"/>
                </a:lvl9pPr>
              </a:lstStyle>
              <a:p>
                <a:pPr>
                  <a:buClr>
                    <a:srgbClr val="002960"/>
                  </a:buClr>
                </a:pPr>
                <a:r>
                  <a:rPr lang="en-GB" altLang="ko-KR" sz="1000" dirty="0">
                    <a:solidFill>
                      <a:srgbClr val="FFFFFF"/>
                    </a:solidFill>
                  </a:rPr>
                  <a:t>Business continuity</a:t>
                </a:r>
              </a:p>
            </p:txBody>
          </p:sp>
          <p:sp>
            <p:nvSpPr>
              <p:cNvPr id="43" name="Rectangle 42"/>
              <p:cNvSpPr>
                <a:spLocks/>
              </p:cNvSpPr>
              <p:nvPr/>
            </p:nvSpPr>
            <p:spPr>
              <a:xfrm>
                <a:off x="3746284" y="2187882"/>
                <a:ext cx="45719" cy="396097"/>
              </a:xfrm>
              <a:prstGeom prst="rect">
                <a:avLst/>
              </a:prstGeom>
              <a:solidFill>
                <a:srgbClr val="00B05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000" dirty="0" err="1">
                  <a:solidFill>
                    <a:srgbClr val="000000"/>
                  </a:solidFill>
                </a:endParaRPr>
              </a:p>
            </p:txBody>
          </p:sp>
        </p:grpSp>
        <p:sp>
          <p:nvSpPr>
            <p:cNvPr id="41" name="Rectangle 40"/>
            <p:cNvSpPr>
              <a:spLocks/>
            </p:cNvSpPr>
            <p:nvPr/>
          </p:nvSpPr>
          <p:spPr>
            <a:xfrm rot="5400000">
              <a:off x="3029131" y="1336518"/>
              <a:ext cx="46800" cy="1503591"/>
            </a:xfrm>
            <a:prstGeom prst="rect">
              <a:avLst/>
            </a:prstGeom>
            <a:solidFill>
              <a:srgbClr val="00B05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err="1">
                <a:solidFill>
                  <a:srgbClr val="000000"/>
                </a:solidFill>
              </a:endParaRPr>
            </a:p>
          </p:txBody>
        </p:sp>
      </p:grpSp>
      <p:grpSp>
        <p:nvGrpSpPr>
          <p:cNvPr id="44" name="Group 43"/>
          <p:cNvGrpSpPr/>
          <p:nvPr/>
        </p:nvGrpSpPr>
        <p:grpSpPr>
          <a:xfrm>
            <a:off x="3931103" y="1868802"/>
            <a:ext cx="1468084" cy="484556"/>
            <a:chOff x="3952348" y="1720820"/>
            <a:chExt cx="1502588" cy="495944"/>
          </a:xfrm>
        </p:grpSpPr>
        <p:grpSp>
          <p:nvGrpSpPr>
            <p:cNvPr id="45" name="Group 44"/>
            <p:cNvGrpSpPr>
              <a:grpSpLocks/>
            </p:cNvGrpSpPr>
            <p:nvPr/>
          </p:nvGrpSpPr>
          <p:grpSpPr>
            <a:xfrm>
              <a:off x="3952348" y="1765034"/>
              <a:ext cx="1502588" cy="451730"/>
              <a:chOff x="3904181" y="1858777"/>
              <a:chExt cx="1502588" cy="396097"/>
            </a:xfrm>
          </p:grpSpPr>
          <p:sp>
            <p:nvSpPr>
              <p:cNvPr id="47" name="Rectangle 73"/>
              <p:cNvSpPr txBox="1">
                <a:spLocks noChangeArrowheads="1"/>
              </p:cNvSpPr>
              <p:nvPr>
                <p:custDataLst>
                  <p:tags r:id="rId3"/>
                </p:custDataLst>
              </p:nvPr>
            </p:nvSpPr>
            <p:spPr bwMode="gray">
              <a:xfrm>
                <a:off x="3904181" y="1858777"/>
                <a:ext cx="1462312" cy="396097"/>
              </a:xfrm>
              <a:prstGeom prst="rect">
                <a:avLst/>
              </a:prstGeom>
              <a:ln>
                <a:noFill/>
                <a:headEnd/>
                <a:tailEnd/>
              </a:ln>
              <a:effectLst/>
              <a:extLst/>
            </p:spPr>
            <p:style>
              <a:lnRef idx="1">
                <a:schemeClr val="accent3"/>
              </a:lnRef>
              <a:fillRef idx="3">
                <a:schemeClr val="accent3"/>
              </a:fillRef>
              <a:effectRef idx="2">
                <a:schemeClr val="accent3"/>
              </a:effectRef>
              <a:fontRef idx="minor">
                <a:schemeClr val="lt1"/>
              </a:fontRef>
            </p:style>
            <p:txBody>
              <a:bodyPr vert="horz" wrap="square" lIns="54004" tIns="54004" rIns="54004" bIns="54004" numCol="1" anchor="ctr" anchorCtr="0" compatLnSpc="1">
                <a:prstTxWarp prst="textNoShape">
                  <a:avLst/>
                </a:prstTxWarp>
                <a:noAutofit/>
              </a:bodyPr>
              <a:lstStyle>
                <a:defPPr>
                  <a:defRPr lang="en-US"/>
                </a:defPPr>
                <a:lvl1pPr marL="0" lvl="0" indent="0" defTabSz="895350" eaLnBrk="1" hangingPunct="1">
                  <a:buClr>
                    <a:schemeClr val="tx2"/>
                  </a:buClr>
                  <a:defRPr b="1"/>
                </a:lvl1pPr>
                <a:lvl2pPr marL="193675" lvl="1" indent="-192088" defTabSz="895350" eaLnBrk="1" hangingPunct="1">
                  <a:buClr>
                    <a:schemeClr val="tx2"/>
                  </a:buClr>
                  <a:buSzPct val="125000"/>
                  <a:buFont typeface="Arial" charset="0"/>
                  <a:buChar char="▪"/>
                </a:lvl2pPr>
                <a:lvl3pPr marL="457200" lvl="2" indent="-261938" defTabSz="895350" eaLnBrk="1" hangingPunct="1">
                  <a:buClr>
                    <a:schemeClr val="tx2"/>
                  </a:buClr>
                  <a:buSzPct val="120000"/>
                  <a:buFont typeface="Arial" charset="0"/>
                  <a:buChar char="–"/>
                </a:lvl3pPr>
                <a:lvl4pPr marL="614363" lvl="3" indent="-155575" defTabSz="895350" eaLnBrk="1" hangingPunct="1">
                  <a:buClr>
                    <a:schemeClr val="tx2"/>
                  </a:buClr>
                  <a:buSzPct val="120000"/>
                  <a:buFont typeface="Arial" charset="0"/>
                  <a:buChar char="▫"/>
                </a:lvl4pPr>
                <a:lvl5pPr marL="749808" lvl="4" indent="-130175" defTabSz="895350" eaLnBrk="1" hangingPunct="1">
                  <a:buClr>
                    <a:schemeClr val="tx2"/>
                  </a:buClr>
                  <a:buSzPct val="89000"/>
                  <a:buFont typeface="Arial" charset="0"/>
                  <a:buChar char="-"/>
                </a:lvl5pPr>
                <a:lvl6pPr marL="749808" indent="-130175" defTabSz="895350" fontAlgn="base">
                  <a:spcBef>
                    <a:spcPct val="0"/>
                  </a:spcBef>
                  <a:spcAft>
                    <a:spcPct val="0"/>
                  </a:spcAft>
                  <a:buClr>
                    <a:schemeClr val="tx2"/>
                  </a:buClr>
                  <a:buSzPct val="89000"/>
                  <a:buFont typeface="Arial" charset="0"/>
                  <a:buChar char="-"/>
                </a:lvl6pPr>
                <a:lvl7pPr marL="749808" indent="-130175" defTabSz="895350" fontAlgn="base">
                  <a:spcBef>
                    <a:spcPct val="0"/>
                  </a:spcBef>
                  <a:spcAft>
                    <a:spcPct val="0"/>
                  </a:spcAft>
                  <a:buClr>
                    <a:schemeClr val="tx2"/>
                  </a:buClr>
                  <a:buSzPct val="89000"/>
                  <a:buFont typeface="Arial" charset="0"/>
                  <a:buChar char="-"/>
                </a:lvl7pPr>
                <a:lvl8pPr marL="749808" indent="-130175" defTabSz="895350" fontAlgn="base">
                  <a:spcBef>
                    <a:spcPct val="0"/>
                  </a:spcBef>
                  <a:spcAft>
                    <a:spcPct val="0"/>
                  </a:spcAft>
                  <a:buClr>
                    <a:schemeClr val="tx2"/>
                  </a:buClr>
                  <a:buSzPct val="89000"/>
                  <a:buFont typeface="Arial" charset="0"/>
                  <a:buChar char="-"/>
                </a:lvl8pPr>
                <a:lvl9pPr marL="749808" indent="-130175" defTabSz="895350" fontAlgn="base">
                  <a:spcBef>
                    <a:spcPct val="0"/>
                  </a:spcBef>
                  <a:spcAft>
                    <a:spcPct val="0"/>
                  </a:spcAft>
                  <a:buClr>
                    <a:schemeClr val="tx2"/>
                  </a:buClr>
                  <a:buSzPct val="89000"/>
                  <a:buFont typeface="Arial" charset="0"/>
                  <a:buChar char="-"/>
                </a:lvl9pPr>
              </a:lstStyle>
              <a:p>
                <a:pPr>
                  <a:buClr>
                    <a:srgbClr val="002960"/>
                  </a:buClr>
                </a:pPr>
                <a:r>
                  <a:rPr lang="en-GB" altLang="ko-KR" sz="1000" dirty="0">
                    <a:solidFill>
                      <a:srgbClr val="FFFFFF"/>
                    </a:solidFill>
                  </a:rPr>
                  <a:t>VC funnel build up</a:t>
                </a:r>
              </a:p>
            </p:txBody>
          </p:sp>
          <p:sp>
            <p:nvSpPr>
              <p:cNvPr id="48" name="Rectangle 47"/>
              <p:cNvSpPr>
                <a:spLocks/>
              </p:cNvSpPr>
              <p:nvPr/>
            </p:nvSpPr>
            <p:spPr>
              <a:xfrm>
                <a:off x="5361050" y="1858777"/>
                <a:ext cx="45719" cy="396097"/>
              </a:xfrm>
              <a:prstGeom prst="rect">
                <a:avLst/>
              </a:prstGeom>
              <a:solidFill>
                <a:srgbClr val="00B05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000" dirty="0" err="1">
                  <a:solidFill>
                    <a:srgbClr val="000000"/>
                  </a:solidFill>
                </a:endParaRPr>
              </a:p>
            </p:txBody>
          </p:sp>
        </p:grpSp>
        <p:sp>
          <p:nvSpPr>
            <p:cNvPr id="46" name="Rectangle 45"/>
            <p:cNvSpPr>
              <a:spLocks/>
            </p:cNvSpPr>
            <p:nvPr/>
          </p:nvSpPr>
          <p:spPr>
            <a:xfrm rot="5400000">
              <a:off x="4680241" y="992927"/>
              <a:ext cx="46801" cy="1502588"/>
            </a:xfrm>
            <a:prstGeom prst="rect">
              <a:avLst/>
            </a:prstGeom>
            <a:solidFill>
              <a:srgbClr val="00B05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err="1">
                <a:solidFill>
                  <a:srgbClr val="000000"/>
                </a:solidFill>
              </a:endParaRPr>
            </a:p>
          </p:txBody>
        </p:sp>
      </p:grpSp>
      <p:grpSp>
        <p:nvGrpSpPr>
          <p:cNvPr id="49" name="Group 48"/>
          <p:cNvGrpSpPr/>
          <p:nvPr/>
        </p:nvGrpSpPr>
        <p:grpSpPr>
          <a:xfrm>
            <a:off x="5509380" y="1519442"/>
            <a:ext cx="1479715" cy="482864"/>
            <a:chOff x="5567719" y="1363249"/>
            <a:chExt cx="1514492" cy="494212"/>
          </a:xfrm>
        </p:grpSpPr>
        <p:grpSp>
          <p:nvGrpSpPr>
            <p:cNvPr id="50" name="Group 49"/>
            <p:cNvGrpSpPr>
              <a:grpSpLocks/>
            </p:cNvGrpSpPr>
            <p:nvPr/>
          </p:nvGrpSpPr>
          <p:grpSpPr>
            <a:xfrm>
              <a:off x="5572479" y="1405731"/>
              <a:ext cx="1509732" cy="451730"/>
              <a:chOff x="5487300" y="1491854"/>
              <a:chExt cx="1507132" cy="396097"/>
            </a:xfrm>
          </p:grpSpPr>
          <p:sp>
            <p:nvSpPr>
              <p:cNvPr id="52" name="Rectangle 73"/>
              <p:cNvSpPr txBox="1">
                <a:spLocks noChangeArrowheads="1"/>
              </p:cNvSpPr>
              <p:nvPr>
                <p:custDataLst>
                  <p:tags r:id="rId2"/>
                </p:custDataLst>
              </p:nvPr>
            </p:nvSpPr>
            <p:spPr bwMode="gray">
              <a:xfrm>
                <a:off x="5487300" y="1491854"/>
                <a:ext cx="1462312" cy="396097"/>
              </a:xfrm>
              <a:prstGeom prst="rect">
                <a:avLst/>
              </a:prstGeom>
              <a:ln>
                <a:noFill/>
                <a:headEnd/>
                <a:tailEnd/>
              </a:ln>
              <a:effectLst/>
              <a:extLst/>
            </p:spPr>
            <p:style>
              <a:lnRef idx="1">
                <a:schemeClr val="accent3"/>
              </a:lnRef>
              <a:fillRef idx="3">
                <a:schemeClr val="accent3"/>
              </a:fillRef>
              <a:effectRef idx="2">
                <a:schemeClr val="accent3"/>
              </a:effectRef>
              <a:fontRef idx="minor">
                <a:schemeClr val="lt1"/>
              </a:fontRef>
            </p:style>
            <p:txBody>
              <a:bodyPr vert="horz" wrap="square" lIns="54004" tIns="54004" rIns="54004" bIns="54004" numCol="1" anchor="ctr" anchorCtr="0" compatLnSpc="1">
                <a:prstTxWarp prst="textNoShape">
                  <a:avLst/>
                </a:prstTxWarp>
                <a:noAutofit/>
              </a:bodyPr>
              <a:lstStyle>
                <a:defPPr>
                  <a:defRPr lang="en-US"/>
                </a:defPPr>
                <a:lvl1pPr marL="0" lvl="0" indent="0" defTabSz="895350" eaLnBrk="1" hangingPunct="1">
                  <a:buClr>
                    <a:schemeClr val="tx2"/>
                  </a:buClr>
                  <a:defRPr b="1"/>
                </a:lvl1pPr>
                <a:lvl2pPr marL="193675" lvl="1" indent="-192088" defTabSz="895350" eaLnBrk="1" hangingPunct="1">
                  <a:buClr>
                    <a:schemeClr val="tx2"/>
                  </a:buClr>
                  <a:buSzPct val="125000"/>
                  <a:buFont typeface="Arial" charset="0"/>
                  <a:buChar char="▪"/>
                </a:lvl2pPr>
                <a:lvl3pPr marL="457200" lvl="2" indent="-261938" defTabSz="895350" eaLnBrk="1" hangingPunct="1">
                  <a:buClr>
                    <a:schemeClr val="tx2"/>
                  </a:buClr>
                  <a:buSzPct val="120000"/>
                  <a:buFont typeface="Arial" charset="0"/>
                  <a:buChar char="–"/>
                </a:lvl3pPr>
                <a:lvl4pPr marL="614363" lvl="3" indent="-155575" defTabSz="895350" eaLnBrk="1" hangingPunct="1">
                  <a:buClr>
                    <a:schemeClr val="tx2"/>
                  </a:buClr>
                  <a:buSzPct val="120000"/>
                  <a:buFont typeface="Arial" charset="0"/>
                  <a:buChar char="▫"/>
                </a:lvl4pPr>
                <a:lvl5pPr marL="749808" lvl="4" indent="-130175" defTabSz="895350" eaLnBrk="1" hangingPunct="1">
                  <a:buClr>
                    <a:schemeClr val="tx2"/>
                  </a:buClr>
                  <a:buSzPct val="89000"/>
                  <a:buFont typeface="Arial" charset="0"/>
                  <a:buChar char="-"/>
                </a:lvl5pPr>
                <a:lvl6pPr marL="749808" indent="-130175" defTabSz="895350" fontAlgn="base">
                  <a:spcBef>
                    <a:spcPct val="0"/>
                  </a:spcBef>
                  <a:spcAft>
                    <a:spcPct val="0"/>
                  </a:spcAft>
                  <a:buClr>
                    <a:schemeClr val="tx2"/>
                  </a:buClr>
                  <a:buSzPct val="89000"/>
                  <a:buFont typeface="Arial" charset="0"/>
                  <a:buChar char="-"/>
                </a:lvl6pPr>
                <a:lvl7pPr marL="749808" indent="-130175" defTabSz="895350" fontAlgn="base">
                  <a:spcBef>
                    <a:spcPct val="0"/>
                  </a:spcBef>
                  <a:spcAft>
                    <a:spcPct val="0"/>
                  </a:spcAft>
                  <a:buClr>
                    <a:schemeClr val="tx2"/>
                  </a:buClr>
                  <a:buSzPct val="89000"/>
                  <a:buFont typeface="Arial" charset="0"/>
                  <a:buChar char="-"/>
                </a:lvl7pPr>
                <a:lvl8pPr marL="749808" indent="-130175" defTabSz="895350" fontAlgn="base">
                  <a:spcBef>
                    <a:spcPct val="0"/>
                  </a:spcBef>
                  <a:spcAft>
                    <a:spcPct val="0"/>
                  </a:spcAft>
                  <a:buClr>
                    <a:schemeClr val="tx2"/>
                  </a:buClr>
                  <a:buSzPct val="89000"/>
                  <a:buFont typeface="Arial" charset="0"/>
                  <a:buChar char="-"/>
                </a:lvl8pPr>
                <a:lvl9pPr marL="749808" indent="-130175" defTabSz="895350" fontAlgn="base">
                  <a:spcBef>
                    <a:spcPct val="0"/>
                  </a:spcBef>
                  <a:spcAft>
                    <a:spcPct val="0"/>
                  </a:spcAft>
                  <a:buClr>
                    <a:schemeClr val="tx2"/>
                  </a:buClr>
                  <a:buSzPct val="89000"/>
                  <a:buFont typeface="Arial" charset="0"/>
                  <a:buChar char="-"/>
                </a:lvl9pPr>
              </a:lstStyle>
              <a:p>
                <a:pPr>
                  <a:buClr>
                    <a:srgbClr val="002960"/>
                  </a:buClr>
                </a:pPr>
                <a:r>
                  <a:rPr lang="en-GB" altLang="ko-KR" sz="1000" dirty="0">
                    <a:solidFill>
                      <a:srgbClr val="FFFFFF"/>
                    </a:solidFill>
                  </a:rPr>
                  <a:t>Culture and org</a:t>
                </a:r>
              </a:p>
            </p:txBody>
          </p:sp>
          <p:sp>
            <p:nvSpPr>
              <p:cNvPr id="53" name="Rectangle 52"/>
              <p:cNvSpPr>
                <a:spLocks/>
              </p:cNvSpPr>
              <p:nvPr/>
            </p:nvSpPr>
            <p:spPr>
              <a:xfrm>
                <a:off x="6948713" y="1491854"/>
                <a:ext cx="45719" cy="396097"/>
              </a:xfrm>
              <a:prstGeom prst="rect">
                <a:avLst/>
              </a:prstGeom>
              <a:solidFill>
                <a:srgbClr val="FF0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000" dirty="0" err="1">
                  <a:solidFill>
                    <a:srgbClr val="000000"/>
                  </a:solidFill>
                </a:endParaRPr>
              </a:p>
            </p:txBody>
          </p:sp>
        </p:grpSp>
        <p:sp>
          <p:nvSpPr>
            <p:cNvPr id="51" name="Rectangle 50"/>
            <p:cNvSpPr>
              <a:spLocks/>
            </p:cNvSpPr>
            <p:nvPr/>
          </p:nvSpPr>
          <p:spPr>
            <a:xfrm rot="5400000">
              <a:off x="6302105" y="628863"/>
              <a:ext cx="45719" cy="1514492"/>
            </a:xfrm>
            <a:prstGeom prst="rect">
              <a:avLst/>
            </a:prstGeom>
            <a:solidFill>
              <a:srgbClr val="FF0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err="1">
                <a:solidFill>
                  <a:srgbClr val="000000"/>
                </a:solidFill>
              </a:endParaRPr>
            </a:p>
          </p:txBody>
        </p:sp>
      </p:grpSp>
      <p:grpSp>
        <p:nvGrpSpPr>
          <p:cNvPr id="54" name="Group 53"/>
          <p:cNvGrpSpPr/>
          <p:nvPr/>
        </p:nvGrpSpPr>
        <p:grpSpPr>
          <a:xfrm>
            <a:off x="7082068" y="1185096"/>
            <a:ext cx="1477822" cy="483811"/>
            <a:chOff x="7177368" y="1021045"/>
            <a:chExt cx="1512555" cy="495182"/>
          </a:xfrm>
        </p:grpSpPr>
        <p:grpSp>
          <p:nvGrpSpPr>
            <p:cNvPr id="55" name="Group 54"/>
            <p:cNvGrpSpPr>
              <a:grpSpLocks/>
            </p:cNvGrpSpPr>
            <p:nvPr/>
          </p:nvGrpSpPr>
          <p:grpSpPr>
            <a:xfrm>
              <a:off x="7177369" y="1064497"/>
              <a:ext cx="1512113" cy="451730"/>
              <a:chOff x="7070417" y="1120140"/>
              <a:chExt cx="1515895" cy="431129"/>
            </a:xfrm>
          </p:grpSpPr>
          <p:sp>
            <p:nvSpPr>
              <p:cNvPr id="57" name="Rectangle 73"/>
              <p:cNvSpPr txBox="1">
                <a:spLocks noChangeArrowheads="1"/>
              </p:cNvSpPr>
              <p:nvPr>
                <p:custDataLst>
                  <p:tags r:id="rId1"/>
                </p:custDataLst>
              </p:nvPr>
            </p:nvSpPr>
            <p:spPr bwMode="gray">
              <a:xfrm>
                <a:off x="7070417" y="1120140"/>
                <a:ext cx="1462312" cy="431129"/>
              </a:xfrm>
              <a:prstGeom prst="rect">
                <a:avLst/>
              </a:prstGeom>
              <a:ln>
                <a:noFill/>
                <a:headEnd/>
                <a:tailEnd/>
              </a:ln>
              <a:effectLst/>
              <a:extLst/>
            </p:spPr>
            <p:style>
              <a:lnRef idx="1">
                <a:schemeClr val="accent3"/>
              </a:lnRef>
              <a:fillRef idx="3">
                <a:schemeClr val="accent3"/>
              </a:fillRef>
              <a:effectRef idx="2">
                <a:schemeClr val="accent3"/>
              </a:effectRef>
              <a:fontRef idx="minor">
                <a:schemeClr val="lt1"/>
              </a:fontRef>
            </p:style>
            <p:txBody>
              <a:bodyPr vert="horz" wrap="square" lIns="54004" tIns="54004" rIns="54004" bIns="54004" numCol="1" anchor="ctr" anchorCtr="0" compatLnSpc="1">
                <a:prstTxWarp prst="textNoShape">
                  <a:avLst/>
                </a:prstTxWarp>
                <a:noAutofit/>
              </a:bodyPr>
              <a:lstStyle>
                <a:defPPr>
                  <a:defRPr lang="en-US"/>
                </a:defPPr>
                <a:lvl1pPr marL="0" lvl="0" indent="0" defTabSz="895350" eaLnBrk="1" hangingPunct="1">
                  <a:buClr>
                    <a:schemeClr val="tx2"/>
                  </a:buClr>
                  <a:defRPr b="1"/>
                </a:lvl1pPr>
                <a:lvl2pPr marL="193675" lvl="1" indent="-192088" defTabSz="895350" eaLnBrk="1" hangingPunct="1">
                  <a:buClr>
                    <a:schemeClr val="tx2"/>
                  </a:buClr>
                  <a:buSzPct val="125000"/>
                  <a:buFont typeface="Arial" charset="0"/>
                  <a:buChar char="▪"/>
                </a:lvl2pPr>
                <a:lvl3pPr marL="457200" lvl="2" indent="-261938" defTabSz="895350" eaLnBrk="1" hangingPunct="1">
                  <a:buClr>
                    <a:schemeClr val="tx2"/>
                  </a:buClr>
                  <a:buSzPct val="120000"/>
                  <a:buFont typeface="Arial" charset="0"/>
                  <a:buChar char="–"/>
                </a:lvl3pPr>
                <a:lvl4pPr marL="614363" lvl="3" indent="-155575" defTabSz="895350" eaLnBrk="1" hangingPunct="1">
                  <a:buClr>
                    <a:schemeClr val="tx2"/>
                  </a:buClr>
                  <a:buSzPct val="120000"/>
                  <a:buFont typeface="Arial" charset="0"/>
                  <a:buChar char="▫"/>
                </a:lvl4pPr>
                <a:lvl5pPr marL="749808" lvl="4" indent="-130175" defTabSz="895350" eaLnBrk="1" hangingPunct="1">
                  <a:buClr>
                    <a:schemeClr val="tx2"/>
                  </a:buClr>
                  <a:buSzPct val="89000"/>
                  <a:buFont typeface="Arial" charset="0"/>
                  <a:buChar char="-"/>
                </a:lvl5pPr>
                <a:lvl6pPr marL="749808" indent="-130175" defTabSz="895350" fontAlgn="base">
                  <a:spcBef>
                    <a:spcPct val="0"/>
                  </a:spcBef>
                  <a:spcAft>
                    <a:spcPct val="0"/>
                  </a:spcAft>
                  <a:buClr>
                    <a:schemeClr val="tx2"/>
                  </a:buClr>
                  <a:buSzPct val="89000"/>
                  <a:buFont typeface="Arial" charset="0"/>
                  <a:buChar char="-"/>
                </a:lvl6pPr>
                <a:lvl7pPr marL="749808" indent="-130175" defTabSz="895350" fontAlgn="base">
                  <a:spcBef>
                    <a:spcPct val="0"/>
                  </a:spcBef>
                  <a:spcAft>
                    <a:spcPct val="0"/>
                  </a:spcAft>
                  <a:buClr>
                    <a:schemeClr val="tx2"/>
                  </a:buClr>
                  <a:buSzPct val="89000"/>
                  <a:buFont typeface="Arial" charset="0"/>
                  <a:buChar char="-"/>
                </a:lvl7pPr>
                <a:lvl8pPr marL="749808" indent="-130175" defTabSz="895350" fontAlgn="base">
                  <a:spcBef>
                    <a:spcPct val="0"/>
                  </a:spcBef>
                  <a:spcAft>
                    <a:spcPct val="0"/>
                  </a:spcAft>
                  <a:buClr>
                    <a:schemeClr val="tx2"/>
                  </a:buClr>
                  <a:buSzPct val="89000"/>
                  <a:buFont typeface="Arial" charset="0"/>
                  <a:buChar char="-"/>
                </a:lvl8pPr>
                <a:lvl9pPr marL="749808" indent="-130175" defTabSz="895350" fontAlgn="base">
                  <a:spcBef>
                    <a:spcPct val="0"/>
                  </a:spcBef>
                  <a:spcAft>
                    <a:spcPct val="0"/>
                  </a:spcAft>
                  <a:buClr>
                    <a:schemeClr val="tx2"/>
                  </a:buClr>
                  <a:buSzPct val="89000"/>
                  <a:buFont typeface="Arial" charset="0"/>
                  <a:buChar char="-"/>
                </a:lvl9pPr>
              </a:lstStyle>
              <a:p>
                <a:pPr>
                  <a:buClr>
                    <a:srgbClr val="002960"/>
                  </a:buClr>
                </a:pPr>
                <a:r>
                  <a:rPr lang="en-GB" altLang="ko-KR" sz="1000" dirty="0">
                    <a:solidFill>
                      <a:srgbClr val="FFFFFF"/>
                    </a:solidFill>
                  </a:rPr>
                  <a:t>VC delivery</a:t>
                </a:r>
              </a:p>
            </p:txBody>
          </p:sp>
          <p:sp>
            <p:nvSpPr>
              <p:cNvPr id="58" name="Rectangle 57"/>
              <p:cNvSpPr>
                <a:spLocks/>
              </p:cNvSpPr>
              <p:nvPr/>
            </p:nvSpPr>
            <p:spPr>
              <a:xfrm>
                <a:off x="8540593" y="1120140"/>
                <a:ext cx="45719" cy="431129"/>
              </a:xfrm>
              <a:prstGeom prst="rect">
                <a:avLst/>
              </a:prstGeom>
              <a:solidFill>
                <a:srgbClr val="FFC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000" dirty="0" err="1">
                  <a:solidFill>
                    <a:srgbClr val="000000"/>
                  </a:solidFill>
                </a:endParaRPr>
              </a:p>
            </p:txBody>
          </p:sp>
        </p:grpSp>
        <p:sp>
          <p:nvSpPr>
            <p:cNvPr id="56" name="Rectangle 55"/>
            <p:cNvSpPr>
              <a:spLocks/>
            </p:cNvSpPr>
            <p:nvPr/>
          </p:nvSpPr>
          <p:spPr>
            <a:xfrm rot="5400000">
              <a:off x="7910786" y="287627"/>
              <a:ext cx="45719" cy="1512555"/>
            </a:xfrm>
            <a:prstGeom prst="rect">
              <a:avLst/>
            </a:prstGeom>
            <a:solidFill>
              <a:srgbClr val="FFC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err="1">
                <a:solidFill>
                  <a:srgbClr val="000000"/>
                </a:solidFill>
              </a:endParaRPr>
            </a:p>
          </p:txBody>
        </p:sp>
      </p:grpSp>
      <p:sp>
        <p:nvSpPr>
          <p:cNvPr id="63" name="Title Tracker Circle">
            <a:extLst>
              <a:ext uri="{FF2B5EF4-FFF2-40B4-BE49-F238E27FC236}">
                <a16:creationId xmlns:a16="http://schemas.microsoft.com/office/drawing/2014/main" id="{547C945E-B27E-4F75-AA90-E97801913AAD}"/>
              </a:ext>
            </a:extLst>
          </p:cNvPr>
          <p:cNvSpPr/>
          <p:nvPr/>
        </p:nvSpPr>
        <p:spPr>
          <a:xfrm>
            <a:off x="119063" y="166736"/>
            <a:ext cx="418798" cy="418798"/>
          </a:xfrm>
          <a:prstGeom prst="ellipse">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p>
            <a:pPr algn="ctr"/>
            <a:r>
              <a:rPr lang="en-US" sz="2000" dirty="0">
                <a:solidFill>
                  <a:schemeClr val="tx2"/>
                </a:solidFill>
                <a:latin typeface="+mj-lt"/>
              </a:rPr>
              <a:t>3</a:t>
            </a:r>
          </a:p>
        </p:txBody>
      </p:sp>
      <p:sp>
        <p:nvSpPr>
          <p:cNvPr id="64" name="3. Unit of measure">
            <a:extLst>
              <a:ext uri="{FF2B5EF4-FFF2-40B4-BE49-F238E27FC236}">
                <a16:creationId xmlns:a16="http://schemas.microsoft.com/office/drawing/2014/main" id="{55ED6E49-0339-45BB-A41F-EFA4467CE383}"/>
              </a:ext>
            </a:extLst>
          </p:cNvPr>
          <p:cNvSpPr txBox="1">
            <a:spLocks noChangeArrowheads="1"/>
          </p:cNvSpPr>
          <p:nvPr/>
        </p:nvSpPr>
        <p:spPr bwMode="gray">
          <a:xfrm>
            <a:off x="119063" y="554865"/>
            <a:ext cx="8618537" cy="430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marL="465138">
              <a:defRPr/>
            </a:pPr>
            <a:r>
              <a:rPr lang="en-US" sz="1400" dirty="0">
                <a:solidFill>
                  <a:schemeClr val="accent6"/>
                </a:solidFill>
                <a:latin typeface="+mn-lt"/>
              </a:rPr>
              <a:t>Identified 20% additional synergy potential than originally planned; Delivered 40% synergy value </a:t>
            </a:r>
            <a:r>
              <a:rPr lang="en-US" sz="1400" dirty="0" err="1">
                <a:solidFill>
                  <a:schemeClr val="accent6"/>
                </a:solidFill>
                <a:latin typeface="+mn-lt"/>
              </a:rPr>
              <a:t>with in</a:t>
            </a:r>
            <a:r>
              <a:rPr lang="en-US" sz="1400" dirty="0">
                <a:solidFill>
                  <a:schemeClr val="accent6"/>
                </a:solidFill>
                <a:latin typeface="+mn-lt"/>
              </a:rPr>
              <a:t> 9 months of close</a:t>
            </a:r>
          </a:p>
        </p:txBody>
      </p:sp>
    </p:spTree>
    <p:extLst>
      <p:ext uri="{BB962C8B-B14F-4D97-AF65-F5344CB8AC3E}">
        <p14:creationId xmlns:p14="http://schemas.microsoft.com/office/powerpoint/2010/main" val="73973285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121521" y="841488"/>
          <a:ext cx="1190" cy="1190"/>
        </p:xfrm>
        <a:graphic>
          <a:graphicData uri="http://schemas.openxmlformats.org/presentationml/2006/ole">
            <mc:AlternateContent xmlns:mc="http://schemas.openxmlformats.org/markup-compatibility/2006">
              <mc:Choice xmlns:v="urn:schemas-microsoft-com:vml" Requires="v">
                <p:oleObj spid="_x0000_s280596" name="think-cell Slide" r:id="rId12" imgW="270" imgH="270" progId="TCLayout.ActiveDocument.1">
                  <p:embed/>
                </p:oleObj>
              </mc:Choice>
              <mc:Fallback>
                <p:oleObj name="think-cell Slide" r:id="rId12" imgW="270" imgH="270" progId="TCLayout.ActiveDocument.1">
                  <p:embed/>
                  <p:pic>
                    <p:nvPicPr>
                      <p:cNvPr id="4" name="Object 3" hidden="1"/>
                      <p:cNvPicPr/>
                      <p:nvPr/>
                    </p:nvPicPr>
                    <p:blipFill>
                      <a:blip r:embed="rId13"/>
                      <a:stretch>
                        <a:fillRect/>
                      </a:stretch>
                    </p:blipFill>
                    <p:spPr>
                      <a:xfrm>
                        <a:off x="1121521" y="841488"/>
                        <a:ext cx="1190" cy="1190"/>
                      </a:xfrm>
                      <a:prstGeom prst="rect">
                        <a:avLst/>
                      </a:prstGeom>
                    </p:spPr>
                  </p:pic>
                </p:oleObj>
              </mc:Fallback>
            </mc:AlternateContent>
          </a:graphicData>
        </a:graphic>
      </p:graphicFrame>
      <p:sp>
        <p:nvSpPr>
          <p:cNvPr id="6146" name="Rectangle 2"/>
          <p:cNvSpPr>
            <a:spLocks noGrp="1" noChangeArrowheads="1"/>
          </p:cNvSpPr>
          <p:nvPr>
            <p:ph type="title"/>
          </p:nvPr>
        </p:nvSpPr>
        <p:spPr>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marL="465138"/>
            <a:r>
              <a:rPr lang="en-GB" dirty="0"/>
              <a:t>Case study: Merger to create a large private sector bank in India</a:t>
            </a:r>
          </a:p>
        </p:txBody>
      </p:sp>
      <p:sp>
        <p:nvSpPr>
          <p:cNvPr id="3" name="Rectangle 2"/>
          <p:cNvSpPr/>
          <p:nvPr/>
        </p:nvSpPr>
        <p:spPr>
          <a:xfrm>
            <a:off x="142820" y="1303691"/>
            <a:ext cx="2795129" cy="4921672"/>
          </a:xfrm>
          <a:prstGeom prst="rect">
            <a:avLst/>
          </a:prstGeom>
          <a:solidFill>
            <a:schemeClr val="bg1"/>
          </a:solid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a:solidFill>
                <a:schemeClr val="tx1"/>
              </a:solidFill>
            </a:endParaRPr>
          </a:p>
        </p:txBody>
      </p:sp>
      <p:sp>
        <p:nvSpPr>
          <p:cNvPr id="20" name="Rectangle 19"/>
          <p:cNvSpPr/>
          <p:nvPr/>
        </p:nvSpPr>
        <p:spPr>
          <a:xfrm>
            <a:off x="3089446" y="1303691"/>
            <a:ext cx="2698744" cy="4921672"/>
          </a:xfrm>
          <a:prstGeom prst="rect">
            <a:avLst/>
          </a:prstGeom>
          <a:solidFill>
            <a:schemeClr val="bg1"/>
          </a:solidFill>
          <a:ln w="190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a:solidFill>
                <a:schemeClr val="tx1"/>
              </a:solidFill>
            </a:endParaRPr>
          </a:p>
        </p:txBody>
      </p:sp>
      <p:sp>
        <p:nvSpPr>
          <p:cNvPr id="21" name="Rectangle 20"/>
          <p:cNvSpPr/>
          <p:nvPr/>
        </p:nvSpPr>
        <p:spPr>
          <a:xfrm>
            <a:off x="5936472" y="1303691"/>
            <a:ext cx="2798507" cy="4921672"/>
          </a:xfrm>
          <a:prstGeom prst="rect">
            <a:avLst/>
          </a:prstGeom>
          <a:solidFill>
            <a:schemeClr val="bg1"/>
          </a:solid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a:solidFill>
                <a:schemeClr val="tx1"/>
              </a:solidFill>
            </a:endParaRPr>
          </a:p>
        </p:txBody>
      </p:sp>
      <p:sp>
        <p:nvSpPr>
          <p:cNvPr id="8" name="Freeform 7"/>
          <p:cNvSpPr/>
          <p:nvPr>
            <p:custDataLst>
              <p:tags r:id="rId3"/>
            </p:custDataLst>
          </p:nvPr>
        </p:nvSpPr>
        <p:spPr bwMode="auto">
          <a:xfrm>
            <a:off x="140868" y="800193"/>
            <a:ext cx="3003938" cy="448718"/>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49400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1"/>
              <a:gd name="connsiteX1" fmla="*/ 1749400 w 1828800"/>
              <a:gd name="connsiteY1" fmla="*/ 0 h 914401"/>
              <a:gd name="connsiteX2" fmla="*/ 1828800 w 1828800"/>
              <a:gd name="connsiteY2" fmla="*/ 457200 h 914401"/>
              <a:gd name="connsiteX3" fmla="*/ 1749400 w 1828800"/>
              <a:gd name="connsiteY3" fmla="*/ 914401 h 914401"/>
              <a:gd name="connsiteX4" fmla="*/ 0 w 1828800"/>
              <a:gd name="connsiteY4" fmla="*/ 914400 h 914401"/>
              <a:gd name="connsiteX5" fmla="*/ 0 w 1828800"/>
              <a:gd name="connsiteY5" fmla="*/ 457200 h 914401"/>
              <a:gd name="connsiteX0" fmla="*/ 0 w 1828800"/>
              <a:gd name="connsiteY0" fmla="*/ 0 h 914401"/>
              <a:gd name="connsiteX1" fmla="*/ 1749400 w 1828800"/>
              <a:gd name="connsiteY1" fmla="*/ 0 h 914401"/>
              <a:gd name="connsiteX2" fmla="*/ 1828800 w 1828800"/>
              <a:gd name="connsiteY2" fmla="*/ 457200 h 914401"/>
              <a:gd name="connsiteX3" fmla="*/ 1749400 w 1828800"/>
              <a:gd name="connsiteY3" fmla="*/ 914401 h 914401"/>
              <a:gd name="connsiteX4" fmla="*/ 0 w 1828800"/>
              <a:gd name="connsiteY4" fmla="*/ 914400 h 914401"/>
              <a:gd name="connsiteX5" fmla="*/ 0 w 1828800"/>
              <a:gd name="connsiteY5" fmla="*/ 457200 h 914401"/>
              <a:gd name="connsiteX0" fmla="*/ 0 w 1828800"/>
              <a:gd name="connsiteY0" fmla="*/ 0 h 914401"/>
              <a:gd name="connsiteX1" fmla="*/ 1720808 w 1828800"/>
              <a:gd name="connsiteY1" fmla="*/ 0 h 914401"/>
              <a:gd name="connsiteX2" fmla="*/ 1828800 w 1828800"/>
              <a:gd name="connsiteY2" fmla="*/ 457200 h 914401"/>
              <a:gd name="connsiteX3" fmla="*/ 1749400 w 1828800"/>
              <a:gd name="connsiteY3" fmla="*/ 914401 h 914401"/>
              <a:gd name="connsiteX4" fmla="*/ 0 w 1828800"/>
              <a:gd name="connsiteY4" fmla="*/ 914400 h 914401"/>
              <a:gd name="connsiteX5" fmla="*/ 0 w 1828800"/>
              <a:gd name="connsiteY5" fmla="*/ 457200 h 914401"/>
              <a:gd name="connsiteX0" fmla="*/ 0 w 1828800"/>
              <a:gd name="connsiteY0" fmla="*/ 0 h 914401"/>
              <a:gd name="connsiteX1" fmla="*/ 1720808 w 1828800"/>
              <a:gd name="connsiteY1" fmla="*/ 0 h 914401"/>
              <a:gd name="connsiteX2" fmla="*/ 1828800 w 1828800"/>
              <a:gd name="connsiteY2" fmla="*/ 457200 h 914401"/>
              <a:gd name="connsiteX3" fmla="*/ 1720808 w 1828800"/>
              <a:gd name="connsiteY3" fmla="*/ 914401 h 914401"/>
              <a:gd name="connsiteX4" fmla="*/ 0 w 1828800"/>
              <a:gd name="connsiteY4" fmla="*/ 914400 h 914401"/>
              <a:gd name="connsiteX5" fmla="*/ 0 w 1828800"/>
              <a:gd name="connsiteY5" fmla="*/ 457200 h 914401"/>
              <a:gd name="connsiteX0" fmla="*/ 0 w 1828800"/>
              <a:gd name="connsiteY0" fmla="*/ 0 h 914401"/>
              <a:gd name="connsiteX1" fmla="*/ 1720808 w 1828800"/>
              <a:gd name="connsiteY1" fmla="*/ 0 h 914401"/>
              <a:gd name="connsiteX2" fmla="*/ 1828800 w 1828800"/>
              <a:gd name="connsiteY2" fmla="*/ 457200 h 914401"/>
              <a:gd name="connsiteX3" fmla="*/ 1720808 w 1828800"/>
              <a:gd name="connsiteY3" fmla="*/ 914401 h 914401"/>
              <a:gd name="connsiteX4" fmla="*/ 0 w 1828800"/>
              <a:gd name="connsiteY4" fmla="*/ 914400 h 914401"/>
              <a:gd name="connsiteX5" fmla="*/ 116561 w 1828800"/>
              <a:gd name="connsiteY5" fmla="*/ 457201 h 914401"/>
              <a:gd name="connsiteX0" fmla="*/ 0 w 1828800"/>
              <a:gd name="connsiteY0" fmla="*/ 0 h 914401"/>
              <a:gd name="connsiteX1" fmla="*/ 1712239 w 1828800"/>
              <a:gd name="connsiteY1" fmla="*/ 0 h 914401"/>
              <a:gd name="connsiteX2" fmla="*/ 1828800 w 1828800"/>
              <a:gd name="connsiteY2" fmla="*/ 457200 h 914401"/>
              <a:gd name="connsiteX3" fmla="*/ 1720808 w 1828800"/>
              <a:gd name="connsiteY3" fmla="*/ 914401 h 914401"/>
              <a:gd name="connsiteX4" fmla="*/ 0 w 1828800"/>
              <a:gd name="connsiteY4" fmla="*/ 914400 h 914401"/>
              <a:gd name="connsiteX5" fmla="*/ 116561 w 1828800"/>
              <a:gd name="connsiteY5" fmla="*/ 457201 h 914401"/>
              <a:gd name="connsiteX0" fmla="*/ 0 w 1828800"/>
              <a:gd name="connsiteY0" fmla="*/ 0 h 914401"/>
              <a:gd name="connsiteX1" fmla="*/ 1712239 w 1828800"/>
              <a:gd name="connsiteY1" fmla="*/ 0 h 914401"/>
              <a:gd name="connsiteX2" fmla="*/ 1828800 w 1828800"/>
              <a:gd name="connsiteY2" fmla="*/ 457200 h 914401"/>
              <a:gd name="connsiteX3" fmla="*/ 1712239 w 1828800"/>
              <a:gd name="connsiteY3" fmla="*/ 914401 h 914401"/>
              <a:gd name="connsiteX4" fmla="*/ 0 w 1828800"/>
              <a:gd name="connsiteY4" fmla="*/ 914400 h 914401"/>
              <a:gd name="connsiteX5" fmla="*/ 116561 w 1828800"/>
              <a:gd name="connsiteY5" fmla="*/ 457201 h 914401"/>
              <a:gd name="connsiteX0" fmla="*/ 0 w 1828800"/>
              <a:gd name="connsiteY0" fmla="*/ 0 h 914401"/>
              <a:gd name="connsiteX1" fmla="*/ 1712239 w 1828800"/>
              <a:gd name="connsiteY1" fmla="*/ 0 h 914401"/>
              <a:gd name="connsiteX2" fmla="*/ 1828800 w 1828800"/>
              <a:gd name="connsiteY2" fmla="*/ 457200 h 914401"/>
              <a:gd name="connsiteX3" fmla="*/ 1712239 w 1828800"/>
              <a:gd name="connsiteY3" fmla="*/ 914401 h 914401"/>
              <a:gd name="connsiteX4" fmla="*/ 0 w 1828800"/>
              <a:gd name="connsiteY4" fmla="*/ 914400 h 914401"/>
              <a:gd name="connsiteX5" fmla="*/ 0 w 1828800"/>
              <a:gd name="connsiteY5" fmla="*/ 457201 h 914401"/>
              <a:gd name="connsiteX0" fmla="*/ 0 w 1828800"/>
              <a:gd name="connsiteY0" fmla="*/ 0 h 914401"/>
              <a:gd name="connsiteX1" fmla="*/ 1712239 w 1828800"/>
              <a:gd name="connsiteY1" fmla="*/ 0 h 914401"/>
              <a:gd name="connsiteX2" fmla="*/ 1828800 w 1828800"/>
              <a:gd name="connsiteY2" fmla="*/ 457200 h 914401"/>
              <a:gd name="connsiteX3" fmla="*/ 1712239 w 1828800"/>
              <a:gd name="connsiteY3" fmla="*/ 914401 h 914401"/>
              <a:gd name="connsiteX4" fmla="*/ 0 w 1828800"/>
              <a:gd name="connsiteY4" fmla="*/ 914400 h 914401"/>
              <a:gd name="connsiteX5" fmla="*/ 0 w 1828800"/>
              <a:gd name="connsiteY5" fmla="*/ 457201 h 914401"/>
              <a:gd name="connsiteX0" fmla="*/ 0 w 1828800"/>
              <a:gd name="connsiteY0" fmla="*/ 0 h 914401"/>
              <a:gd name="connsiteX1" fmla="*/ 1712239 w 1828800"/>
              <a:gd name="connsiteY1" fmla="*/ 0 h 914401"/>
              <a:gd name="connsiteX2" fmla="*/ 1828800 w 1828800"/>
              <a:gd name="connsiteY2" fmla="*/ 457200 h 914401"/>
              <a:gd name="connsiteX3" fmla="*/ 1712239 w 1828800"/>
              <a:gd name="connsiteY3" fmla="*/ 914401 h 914401"/>
              <a:gd name="connsiteX4" fmla="*/ 0 w 1828800"/>
              <a:gd name="connsiteY4" fmla="*/ 914400 h 914401"/>
              <a:gd name="connsiteX5" fmla="*/ 0 w 1828800"/>
              <a:gd name="connsiteY5" fmla="*/ 457201 h 914401"/>
              <a:gd name="connsiteX0" fmla="*/ 0 w 1828800"/>
              <a:gd name="connsiteY0" fmla="*/ 0 h 914401"/>
              <a:gd name="connsiteX1" fmla="*/ 1712239 w 1828800"/>
              <a:gd name="connsiteY1" fmla="*/ 0 h 914401"/>
              <a:gd name="connsiteX2" fmla="*/ 1828800 w 1828800"/>
              <a:gd name="connsiteY2" fmla="*/ 457200 h 914401"/>
              <a:gd name="connsiteX3" fmla="*/ 1712239 w 1828800"/>
              <a:gd name="connsiteY3" fmla="*/ 914401 h 914401"/>
              <a:gd name="connsiteX4" fmla="*/ 0 w 1828800"/>
              <a:gd name="connsiteY4" fmla="*/ 914400 h 914401"/>
              <a:gd name="connsiteX5" fmla="*/ 116780 w 1828800"/>
              <a:gd name="connsiteY5" fmla="*/ 457201 h 914401"/>
              <a:gd name="connsiteX0" fmla="*/ 0 w 1828800"/>
              <a:gd name="connsiteY0" fmla="*/ 0 h 914401"/>
              <a:gd name="connsiteX1" fmla="*/ 1712020 w 1828800"/>
              <a:gd name="connsiteY1" fmla="*/ 0 h 914401"/>
              <a:gd name="connsiteX2" fmla="*/ 1828800 w 1828800"/>
              <a:gd name="connsiteY2" fmla="*/ 457200 h 914401"/>
              <a:gd name="connsiteX3" fmla="*/ 1712239 w 1828800"/>
              <a:gd name="connsiteY3" fmla="*/ 914401 h 914401"/>
              <a:gd name="connsiteX4" fmla="*/ 0 w 1828800"/>
              <a:gd name="connsiteY4" fmla="*/ 914400 h 914401"/>
              <a:gd name="connsiteX5" fmla="*/ 116780 w 1828800"/>
              <a:gd name="connsiteY5" fmla="*/ 457201 h 914401"/>
              <a:gd name="connsiteX0" fmla="*/ 0 w 1828800"/>
              <a:gd name="connsiteY0" fmla="*/ 0 h 914401"/>
              <a:gd name="connsiteX1" fmla="*/ 1712020 w 1828800"/>
              <a:gd name="connsiteY1" fmla="*/ 0 h 914401"/>
              <a:gd name="connsiteX2" fmla="*/ 1828800 w 1828800"/>
              <a:gd name="connsiteY2" fmla="*/ 457200 h 914401"/>
              <a:gd name="connsiteX3" fmla="*/ 1712020 w 1828800"/>
              <a:gd name="connsiteY3" fmla="*/ 914401 h 914401"/>
              <a:gd name="connsiteX4" fmla="*/ 0 w 1828800"/>
              <a:gd name="connsiteY4" fmla="*/ 914400 h 914401"/>
              <a:gd name="connsiteX5" fmla="*/ 116780 w 1828800"/>
              <a:gd name="connsiteY5" fmla="*/ 457201 h 914401"/>
              <a:gd name="connsiteX0" fmla="*/ 0 w 1828800"/>
              <a:gd name="connsiteY0" fmla="*/ 0 h 914401"/>
              <a:gd name="connsiteX1" fmla="*/ 1712020 w 1828800"/>
              <a:gd name="connsiteY1" fmla="*/ 0 h 914401"/>
              <a:gd name="connsiteX2" fmla="*/ 1828800 w 1828800"/>
              <a:gd name="connsiteY2" fmla="*/ 457200 h 914401"/>
              <a:gd name="connsiteX3" fmla="*/ 1712020 w 1828800"/>
              <a:gd name="connsiteY3" fmla="*/ 914401 h 914401"/>
              <a:gd name="connsiteX4" fmla="*/ 0 w 1828800"/>
              <a:gd name="connsiteY4" fmla="*/ 914400 h 914401"/>
              <a:gd name="connsiteX5" fmla="*/ 0 w 1828800"/>
              <a:gd name="connsiteY5" fmla="*/ 457201 h 914401"/>
              <a:gd name="connsiteX0" fmla="*/ 0 w 1828800"/>
              <a:gd name="connsiteY0" fmla="*/ 0 h 914401"/>
              <a:gd name="connsiteX1" fmla="*/ 1712020 w 1828800"/>
              <a:gd name="connsiteY1" fmla="*/ 0 h 914401"/>
              <a:gd name="connsiteX2" fmla="*/ 1828800 w 1828800"/>
              <a:gd name="connsiteY2" fmla="*/ 457200 h 914401"/>
              <a:gd name="connsiteX3" fmla="*/ 1712020 w 1828800"/>
              <a:gd name="connsiteY3" fmla="*/ 914401 h 914401"/>
              <a:gd name="connsiteX4" fmla="*/ 0 w 1828800"/>
              <a:gd name="connsiteY4" fmla="*/ 914400 h 914401"/>
              <a:gd name="connsiteX5" fmla="*/ 0 w 1828800"/>
              <a:gd name="connsiteY5" fmla="*/ 457201 h 914401"/>
              <a:gd name="connsiteX0" fmla="*/ 0 w 1828800"/>
              <a:gd name="connsiteY0" fmla="*/ 0 h 914401"/>
              <a:gd name="connsiteX1" fmla="*/ 1712020 w 1828800"/>
              <a:gd name="connsiteY1" fmla="*/ 0 h 914401"/>
              <a:gd name="connsiteX2" fmla="*/ 1828800 w 1828800"/>
              <a:gd name="connsiteY2" fmla="*/ 457200 h 914401"/>
              <a:gd name="connsiteX3" fmla="*/ 1712020 w 1828800"/>
              <a:gd name="connsiteY3" fmla="*/ 914401 h 914401"/>
              <a:gd name="connsiteX4" fmla="*/ 0 w 1828800"/>
              <a:gd name="connsiteY4" fmla="*/ 914400 h 914401"/>
              <a:gd name="connsiteX5" fmla="*/ 0 w 1828800"/>
              <a:gd name="connsiteY5" fmla="*/ 457201 h 914401"/>
              <a:gd name="connsiteX0" fmla="*/ 0 w 1828800"/>
              <a:gd name="connsiteY0" fmla="*/ 0 h 914401"/>
              <a:gd name="connsiteX1" fmla="*/ 1712020 w 1828800"/>
              <a:gd name="connsiteY1" fmla="*/ 0 h 914401"/>
              <a:gd name="connsiteX2" fmla="*/ 1828800 w 1828800"/>
              <a:gd name="connsiteY2" fmla="*/ 457200 h 914401"/>
              <a:gd name="connsiteX3" fmla="*/ 1712020 w 1828800"/>
              <a:gd name="connsiteY3" fmla="*/ 914401 h 914401"/>
              <a:gd name="connsiteX4" fmla="*/ 0 w 1828800"/>
              <a:gd name="connsiteY4" fmla="*/ 914400 h 914401"/>
              <a:gd name="connsiteX5" fmla="*/ 116780 w 1828800"/>
              <a:gd name="connsiteY5" fmla="*/ 457201 h 914401"/>
              <a:gd name="connsiteX0" fmla="*/ 0 w 1828800"/>
              <a:gd name="connsiteY0" fmla="*/ 0 h 914401"/>
              <a:gd name="connsiteX1" fmla="*/ 1712020 w 1828800"/>
              <a:gd name="connsiteY1" fmla="*/ 0 h 914401"/>
              <a:gd name="connsiteX2" fmla="*/ 1828800 w 1828800"/>
              <a:gd name="connsiteY2" fmla="*/ 457200 h 914401"/>
              <a:gd name="connsiteX3" fmla="*/ 1712020 w 1828800"/>
              <a:gd name="connsiteY3" fmla="*/ 914401 h 914401"/>
              <a:gd name="connsiteX4" fmla="*/ 0 w 1828800"/>
              <a:gd name="connsiteY4" fmla="*/ 914400 h 914401"/>
              <a:gd name="connsiteX5" fmla="*/ 116780 w 1828800"/>
              <a:gd name="connsiteY5" fmla="*/ 457201 h 914401"/>
              <a:gd name="connsiteX0" fmla="*/ 0 w 1828800"/>
              <a:gd name="connsiteY0" fmla="*/ 0 h 914401"/>
              <a:gd name="connsiteX1" fmla="*/ 1712020 w 1828800"/>
              <a:gd name="connsiteY1" fmla="*/ 0 h 914401"/>
              <a:gd name="connsiteX2" fmla="*/ 1828800 w 1828800"/>
              <a:gd name="connsiteY2" fmla="*/ 457200 h 914401"/>
              <a:gd name="connsiteX3" fmla="*/ 1712020 w 1828800"/>
              <a:gd name="connsiteY3" fmla="*/ 914401 h 914401"/>
              <a:gd name="connsiteX4" fmla="*/ 0 w 1828800"/>
              <a:gd name="connsiteY4" fmla="*/ 914400 h 914401"/>
              <a:gd name="connsiteX5" fmla="*/ 116780 w 1828800"/>
              <a:gd name="connsiteY5" fmla="*/ 457201 h 914401"/>
              <a:gd name="connsiteX0" fmla="*/ 0 w 1828800"/>
              <a:gd name="connsiteY0" fmla="*/ 0 h 914401"/>
              <a:gd name="connsiteX1" fmla="*/ 1712020 w 1828800"/>
              <a:gd name="connsiteY1" fmla="*/ 0 h 914401"/>
              <a:gd name="connsiteX2" fmla="*/ 1828800 w 1828800"/>
              <a:gd name="connsiteY2" fmla="*/ 457200 h 914401"/>
              <a:gd name="connsiteX3" fmla="*/ 1712020 w 1828800"/>
              <a:gd name="connsiteY3" fmla="*/ 914401 h 914401"/>
              <a:gd name="connsiteX4" fmla="*/ 0 w 1828800"/>
              <a:gd name="connsiteY4" fmla="*/ 914400 h 914401"/>
              <a:gd name="connsiteX5" fmla="*/ 0 w 1828800"/>
              <a:gd name="connsiteY5" fmla="*/ 457201 h 914401"/>
              <a:gd name="connsiteX0" fmla="*/ 0 w 1828800"/>
              <a:gd name="connsiteY0" fmla="*/ 0 h 914401"/>
              <a:gd name="connsiteX1" fmla="*/ 1712020 w 1828800"/>
              <a:gd name="connsiteY1" fmla="*/ 0 h 914401"/>
              <a:gd name="connsiteX2" fmla="*/ 1828800 w 1828800"/>
              <a:gd name="connsiteY2" fmla="*/ 457200 h 914401"/>
              <a:gd name="connsiteX3" fmla="*/ 1712020 w 1828800"/>
              <a:gd name="connsiteY3" fmla="*/ 914401 h 914401"/>
              <a:gd name="connsiteX4" fmla="*/ 0 w 1828800"/>
              <a:gd name="connsiteY4" fmla="*/ 914400 h 914401"/>
              <a:gd name="connsiteX5" fmla="*/ 0 w 1828800"/>
              <a:gd name="connsiteY5" fmla="*/ 457201 h 914401"/>
              <a:gd name="connsiteX0" fmla="*/ 0 w 1828800"/>
              <a:gd name="connsiteY0" fmla="*/ 0 h 914401"/>
              <a:gd name="connsiteX1" fmla="*/ 1712020 w 1828800"/>
              <a:gd name="connsiteY1" fmla="*/ 0 h 914401"/>
              <a:gd name="connsiteX2" fmla="*/ 1828800 w 1828800"/>
              <a:gd name="connsiteY2" fmla="*/ 457200 h 914401"/>
              <a:gd name="connsiteX3" fmla="*/ 1712020 w 1828800"/>
              <a:gd name="connsiteY3" fmla="*/ 914401 h 914401"/>
              <a:gd name="connsiteX4" fmla="*/ 0 w 1828800"/>
              <a:gd name="connsiteY4" fmla="*/ 914400 h 914401"/>
              <a:gd name="connsiteX5" fmla="*/ 0 w 1828800"/>
              <a:gd name="connsiteY5" fmla="*/ 457201 h 914401"/>
              <a:gd name="connsiteX0" fmla="*/ 0 w 1828800"/>
              <a:gd name="connsiteY0" fmla="*/ 0 h 914401"/>
              <a:gd name="connsiteX1" fmla="*/ 1712020 w 1828800"/>
              <a:gd name="connsiteY1" fmla="*/ 0 h 914401"/>
              <a:gd name="connsiteX2" fmla="*/ 1828800 w 1828800"/>
              <a:gd name="connsiteY2" fmla="*/ 457200 h 914401"/>
              <a:gd name="connsiteX3" fmla="*/ 1712020 w 1828800"/>
              <a:gd name="connsiteY3" fmla="*/ 914401 h 914401"/>
              <a:gd name="connsiteX4" fmla="*/ 0 w 1828800"/>
              <a:gd name="connsiteY4" fmla="*/ 914400 h 914401"/>
              <a:gd name="connsiteX5" fmla="*/ 116780 w 1828800"/>
              <a:gd name="connsiteY5" fmla="*/ 457201 h 914401"/>
              <a:gd name="connsiteX0" fmla="*/ 0 w 1828800"/>
              <a:gd name="connsiteY0" fmla="*/ 0 h 914401"/>
              <a:gd name="connsiteX1" fmla="*/ 1712020 w 1828800"/>
              <a:gd name="connsiteY1" fmla="*/ 0 h 914401"/>
              <a:gd name="connsiteX2" fmla="*/ 1828800 w 1828800"/>
              <a:gd name="connsiteY2" fmla="*/ 457200 h 914401"/>
              <a:gd name="connsiteX3" fmla="*/ 1712020 w 1828800"/>
              <a:gd name="connsiteY3" fmla="*/ 914401 h 914401"/>
              <a:gd name="connsiteX4" fmla="*/ 0 w 1828800"/>
              <a:gd name="connsiteY4" fmla="*/ 914400 h 914401"/>
              <a:gd name="connsiteX5" fmla="*/ 116780 w 1828800"/>
              <a:gd name="connsiteY5" fmla="*/ 457201 h 914401"/>
              <a:gd name="connsiteX0" fmla="*/ 0 w 1828800"/>
              <a:gd name="connsiteY0" fmla="*/ 0 h 914401"/>
              <a:gd name="connsiteX1" fmla="*/ 1712020 w 1828800"/>
              <a:gd name="connsiteY1" fmla="*/ 0 h 914401"/>
              <a:gd name="connsiteX2" fmla="*/ 1828800 w 1828800"/>
              <a:gd name="connsiteY2" fmla="*/ 457200 h 914401"/>
              <a:gd name="connsiteX3" fmla="*/ 1712020 w 1828800"/>
              <a:gd name="connsiteY3" fmla="*/ 914401 h 914401"/>
              <a:gd name="connsiteX4" fmla="*/ 0 w 1828800"/>
              <a:gd name="connsiteY4" fmla="*/ 914400 h 914401"/>
              <a:gd name="connsiteX5" fmla="*/ 116780 w 1828800"/>
              <a:gd name="connsiteY5" fmla="*/ 457201 h 914401"/>
              <a:gd name="connsiteX0" fmla="*/ 0 w 1828800"/>
              <a:gd name="connsiteY0" fmla="*/ 0 h 914401"/>
              <a:gd name="connsiteX1" fmla="*/ 1712020 w 1828800"/>
              <a:gd name="connsiteY1" fmla="*/ 0 h 914401"/>
              <a:gd name="connsiteX2" fmla="*/ 1828800 w 1828800"/>
              <a:gd name="connsiteY2" fmla="*/ 457200 h 914401"/>
              <a:gd name="connsiteX3" fmla="*/ 1712020 w 1828800"/>
              <a:gd name="connsiteY3" fmla="*/ 914401 h 914401"/>
              <a:gd name="connsiteX4" fmla="*/ 0 w 1828800"/>
              <a:gd name="connsiteY4" fmla="*/ 914400 h 914401"/>
              <a:gd name="connsiteX5" fmla="*/ 0 w 1828800"/>
              <a:gd name="connsiteY5" fmla="*/ 457201 h 914401"/>
              <a:gd name="connsiteX0" fmla="*/ 0 w 1828800"/>
              <a:gd name="connsiteY0" fmla="*/ 0 h 914401"/>
              <a:gd name="connsiteX1" fmla="*/ 1712020 w 1828800"/>
              <a:gd name="connsiteY1" fmla="*/ 0 h 914401"/>
              <a:gd name="connsiteX2" fmla="*/ 1828800 w 1828800"/>
              <a:gd name="connsiteY2" fmla="*/ 457200 h 914401"/>
              <a:gd name="connsiteX3" fmla="*/ 1712020 w 1828800"/>
              <a:gd name="connsiteY3" fmla="*/ 914401 h 914401"/>
              <a:gd name="connsiteX4" fmla="*/ 0 w 1828800"/>
              <a:gd name="connsiteY4" fmla="*/ 914400 h 914401"/>
              <a:gd name="connsiteX5" fmla="*/ 0 w 1828800"/>
              <a:gd name="connsiteY5" fmla="*/ 457201 h 914401"/>
              <a:gd name="connsiteX0" fmla="*/ 0 w 1828800"/>
              <a:gd name="connsiteY0" fmla="*/ 0 h 914401"/>
              <a:gd name="connsiteX1" fmla="*/ 1712020 w 1828800"/>
              <a:gd name="connsiteY1" fmla="*/ 0 h 914401"/>
              <a:gd name="connsiteX2" fmla="*/ 1828800 w 1828800"/>
              <a:gd name="connsiteY2" fmla="*/ 457200 h 914401"/>
              <a:gd name="connsiteX3" fmla="*/ 1712020 w 1828800"/>
              <a:gd name="connsiteY3" fmla="*/ 914401 h 914401"/>
              <a:gd name="connsiteX4" fmla="*/ 0 w 1828800"/>
              <a:gd name="connsiteY4" fmla="*/ 914400 h 914401"/>
              <a:gd name="connsiteX5" fmla="*/ 0 w 1828800"/>
              <a:gd name="connsiteY5" fmla="*/ 457201 h 914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1">
                <a:moveTo>
                  <a:pt x="0" y="0"/>
                </a:moveTo>
                <a:lnTo>
                  <a:pt x="1712020" y="0"/>
                </a:lnTo>
                <a:lnTo>
                  <a:pt x="1828800" y="457200"/>
                </a:lnTo>
                <a:lnTo>
                  <a:pt x="1712020" y="914401"/>
                </a:lnTo>
                <a:lnTo>
                  <a:pt x="0" y="914400"/>
                </a:lnTo>
                <a:lnTo>
                  <a:pt x="0" y="457201"/>
                </a:lnTo>
                <a:close/>
              </a:path>
            </a:pathLst>
          </a:custGeom>
          <a:solidFill>
            <a:schemeClr val="accent2"/>
          </a:solidFill>
          <a:ln>
            <a:noFill/>
            <a:headEnd/>
            <a:tailEnd/>
          </a:ln>
          <a:effectLst/>
        </p:spPr>
        <p:style>
          <a:lnRef idx="1">
            <a:schemeClr val="accent3"/>
          </a:lnRef>
          <a:fillRef idx="3">
            <a:schemeClr val="accent3"/>
          </a:fillRef>
          <a:effectRef idx="2">
            <a:schemeClr val="accent3"/>
          </a:effectRef>
          <a:fontRef idx="minor">
            <a:schemeClr val="lt1"/>
          </a:fontRef>
        </p:style>
        <p:txBody>
          <a:bodyPr wrap="none" rtlCol="0" anchor="ctr"/>
          <a:lstStyle/>
          <a:p>
            <a:pPr algn="ctr"/>
            <a:endParaRPr lang="en-US" sz="1150" b="1" dirty="0">
              <a:solidFill>
                <a:schemeClr val="bg1"/>
              </a:solidFill>
            </a:endParaRPr>
          </a:p>
        </p:txBody>
      </p:sp>
      <p:sp>
        <p:nvSpPr>
          <p:cNvPr id="9" name="Rectangle 4"/>
          <p:cNvSpPr txBox="1"/>
          <p:nvPr>
            <p:custDataLst>
              <p:tags r:id="rId4"/>
            </p:custDataLst>
          </p:nvPr>
        </p:nvSpPr>
        <p:spPr>
          <a:xfrm>
            <a:off x="197769" y="871722"/>
            <a:ext cx="2649540" cy="305661"/>
          </a:xfrm>
          <a:prstGeom prst="rect">
            <a:avLst/>
          </a:prstGeom>
          <a:noFill/>
          <a:ln>
            <a:noFill/>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noAutofit/>
          </a:bodyPr>
          <a:lstStyle>
            <a:lvl1pPr marL="0" lvl="0" indent="0" defTabSz="895350" eaLnBrk="1" hangingPunct="1">
              <a:buClr>
                <a:schemeClr val="tx2"/>
              </a:buClr>
              <a:defRPr>
                <a:latin typeface="+mn-lt"/>
              </a:defRPr>
            </a:lvl1pPr>
            <a:lvl2pPr marL="193675" lvl="1" indent="-192088" defTabSz="895350" eaLnBrk="1" hangingPunct="1">
              <a:buClr>
                <a:schemeClr val="tx2"/>
              </a:buClr>
              <a:buSzPct val="125000"/>
              <a:buFont typeface="Arial" charset="0"/>
              <a:buChar char="▪"/>
              <a:defRPr>
                <a:latin typeface="+mn-lt"/>
              </a:defRPr>
            </a:lvl2pPr>
            <a:lvl3pPr marL="457200" lvl="2" indent="-261938" defTabSz="895350" eaLnBrk="1" hangingPunct="1">
              <a:buClr>
                <a:schemeClr val="tx2"/>
              </a:buClr>
              <a:buSzPct val="120000"/>
              <a:buFont typeface="Arial" charset="0"/>
              <a:buChar char="–"/>
              <a:defRPr>
                <a:latin typeface="+mn-lt"/>
              </a:defRPr>
            </a:lvl3pPr>
            <a:lvl4pPr marL="614363" lvl="3" indent="-155575" defTabSz="895350" eaLnBrk="1" hangingPunct="1">
              <a:buClr>
                <a:schemeClr val="tx2"/>
              </a:buClr>
              <a:buSzPct val="120000"/>
              <a:buFont typeface="Arial" charset="0"/>
              <a:buChar char="▫"/>
              <a:defRPr>
                <a:latin typeface="+mn-lt"/>
              </a:defRPr>
            </a:lvl4pPr>
            <a:lvl5pPr marL="746125" lvl="4" indent="-130175" defTabSz="895350" eaLnBrk="1" hangingPunct="1">
              <a:buClr>
                <a:schemeClr val="tx2"/>
              </a:buClr>
              <a:buSzPct val="89000"/>
              <a:buFont typeface="Arial" charset="0"/>
              <a:buChar char="-"/>
              <a:defRPr>
                <a:latin typeface="+mn-lt"/>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r>
              <a:rPr lang="en-US" sz="1150" b="1" dirty="0">
                <a:solidFill>
                  <a:schemeClr val="bg1"/>
                </a:solidFill>
              </a:rPr>
              <a:t>Context</a:t>
            </a:r>
          </a:p>
        </p:txBody>
      </p:sp>
      <p:sp>
        <p:nvSpPr>
          <p:cNvPr id="11" name="Rectangle 286"/>
          <p:cNvSpPr txBox="1">
            <a:spLocks noChangeArrowheads="1"/>
          </p:cNvSpPr>
          <p:nvPr/>
        </p:nvSpPr>
        <p:spPr bwMode="auto">
          <a:xfrm>
            <a:off x="3248385" y="1378611"/>
            <a:ext cx="2494145" cy="486671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indent="0" algn="l" defTabSz="895350" rtl="0" eaLnBrk="1" fontAlgn="base" hangingPunct="1">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pPr lvl="1">
              <a:spcBef>
                <a:spcPct val="25000"/>
              </a:spcBef>
            </a:pPr>
            <a:r>
              <a:rPr lang="en-US" sz="1150" dirty="0"/>
              <a:t>Setup a two tiered Integration Governance Architecture </a:t>
            </a:r>
          </a:p>
          <a:p>
            <a:pPr lvl="1">
              <a:spcBef>
                <a:spcPct val="25000"/>
              </a:spcBef>
            </a:pPr>
            <a:r>
              <a:rPr lang="en-US" sz="1150" dirty="0"/>
              <a:t>Integration management was driven by three key teams – IMO, </a:t>
            </a:r>
            <a:r>
              <a:rPr lang="en-US" sz="1150" dirty="0" err="1"/>
              <a:t>PMO</a:t>
            </a:r>
            <a:r>
              <a:rPr lang="en-US" sz="1150" dirty="0"/>
              <a:t> and Working groups, with defined roles and reporting</a:t>
            </a:r>
          </a:p>
          <a:p>
            <a:pPr lvl="1">
              <a:spcBef>
                <a:spcPct val="25000"/>
              </a:spcBef>
            </a:pPr>
            <a:r>
              <a:rPr lang="en-US" sz="1150" dirty="0"/>
              <a:t>Master plan was created – </a:t>
            </a:r>
            <a:br>
              <a:rPr lang="en-US" sz="1150" dirty="0"/>
            </a:br>
            <a:r>
              <a:rPr lang="en-US" sz="1150" dirty="0"/>
              <a:t>pre-Day 0 till Integration completion, monitored by </a:t>
            </a:r>
            <a:r>
              <a:rPr lang="en-US" sz="1150" dirty="0" err="1"/>
              <a:t>PMO</a:t>
            </a:r>
            <a:endParaRPr lang="en-US" sz="1150" dirty="0"/>
          </a:p>
          <a:p>
            <a:pPr lvl="1">
              <a:spcBef>
                <a:spcPct val="25000"/>
              </a:spcBef>
            </a:pPr>
            <a:r>
              <a:rPr lang="en-US" sz="1150" dirty="0"/>
              <a:t>End state org. structure was aligned, with clarity on Day 0 merger of units, and transition structures e.g. Bank in a Bank</a:t>
            </a:r>
          </a:p>
          <a:p>
            <a:pPr lvl="1">
              <a:spcBef>
                <a:spcPct val="25000"/>
              </a:spcBef>
            </a:pPr>
            <a:r>
              <a:rPr lang="en-US" sz="1150" dirty="0"/>
              <a:t>Top-down and bottom up estimate of combinational and transformational synergy was done pre-merger, implementation monitored by </a:t>
            </a:r>
            <a:r>
              <a:rPr lang="en-US" sz="1150" dirty="0" err="1"/>
              <a:t>PMO</a:t>
            </a:r>
            <a:endParaRPr lang="en-US" sz="1150" dirty="0"/>
          </a:p>
          <a:p>
            <a:pPr lvl="1">
              <a:spcBef>
                <a:spcPct val="25000"/>
              </a:spcBef>
            </a:pPr>
            <a:r>
              <a:rPr lang="en-US" sz="1150" dirty="0"/>
              <a:t>Cultural interventions were designed basis scientific assessment of cultural differences (17,000+ employees participated in Culture Survey)</a:t>
            </a:r>
          </a:p>
          <a:p>
            <a:pPr lvl="1">
              <a:spcBef>
                <a:spcPct val="25000"/>
              </a:spcBef>
            </a:pPr>
            <a:r>
              <a:rPr lang="en-US" sz="1150" dirty="0"/>
              <a:t>Communication plans were made after detailed stakeholder-wise analysis of communication needs</a:t>
            </a:r>
          </a:p>
        </p:txBody>
      </p:sp>
      <p:sp>
        <p:nvSpPr>
          <p:cNvPr id="14" name="Freeform 13"/>
          <p:cNvSpPr/>
          <p:nvPr>
            <p:custDataLst>
              <p:tags r:id="rId5"/>
            </p:custDataLst>
          </p:nvPr>
        </p:nvSpPr>
        <p:spPr bwMode="auto">
          <a:xfrm>
            <a:off x="3084989" y="800193"/>
            <a:ext cx="2891056" cy="448718"/>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49400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1"/>
              <a:gd name="connsiteX1" fmla="*/ 1749400 w 1828800"/>
              <a:gd name="connsiteY1" fmla="*/ 0 h 914401"/>
              <a:gd name="connsiteX2" fmla="*/ 1828800 w 1828800"/>
              <a:gd name="connsiteY2" fmla="*/ 457200 h 914401"/>
              <a:gd name="connsiteX3" fmla="*/ 1749400 w 1828800"/>
              <a:gd name="connsiteY3" fmla="*/ 914401 h 914401"/>
              <a:gd name="connsiteX4" fmla="*/ 0 w 1828800"/>
              <a:gd name="connsiteY4" fmla="*/ 914400 h 914401"/>
              <a:gd name="connsiteX5" fmla="*/ 0 w 1828800"/>
              <a:gd name="connsiteY5" fmla="*/ 457200 h 914401"/>
              <a:gd name="connsiteX0" fmla="*/ 0 w 1828800"/>
              <a:gd name="connsiteY0" fmla="*/ 0 h 914401"/>
              <a:gd name="connsiteX1" fmla="*/ 1749400 w 1828800"/>
              <a:gd name="connsiteY1" fmla="*/ 0 h 914401"/>
              <a:gd name="connsiteX2" fmla="*/ 1828800 w 1828800"/>
              <a:gd name="connsiteY2" fmla="*/ 457200 h 914401"/>
              <a:gd name="connsiteX3" fmla="*/ 1749400 w 1828800"/>
              <a:gd name="connsiteY3" fmla="*/ 914401 h 914401"/>
              <a:gd name="connsiteX4" fmla="*/ 0 w 1828800"/>
              <a:gd name="connsiteY4" fmla="*/ 914400 h 914401"/>
              <a:gd name="connsiteX5" fmla="*/ 79401 w 1828800"/>
              <a:gd name="connsiteY5" fmla="*/ 457200 h 914401"/>
              <a:gd name="connsiteX0" fmla="*/ 0 w 1828800"/>
              <a:gd name="connsiteY0" fmla="*/ 0 h 914401"/>
              <a:gd name="connsiteX1" fmla="*/ 1749399 w 1828800"/>
              <a:gd name="connsiteY1" fmla="*/ 0 h 914401"/>
              <a:gd name="connsiteX2" fmla="*/ 1828800 w 1828800"/>
              <a:gd name="connsiteY2" fmla="*/ 457200 h 914401"/>
              <a:gd name="connsiteX3" fmla="*/ 1749400 w 1828800"/>
              <a:gd name="connsiteY3" fmla="*/ 914401 h 914401"/>
              <a:gd name="connsiteX4" fmla="*/ 0 w 1828800"/>
              <a:gd name="connsiteY4" fmla="*/ 914400 h 914401"/>
              <a:gd name="connsiteX5" fmla="*/ 79401 w 1828800"/>
              <a:gd name="connsiteY5" fmla="*/ 457200 h 914401"/>
              <a:gd name="connsiteX0" fmla="*/ 0 w 1828800"/>
              <a:gd name="connsiteY0" fmla="*/ 0 h 914401"/>
              <a:gd name="connsiteX1" fmla="*/ 1749399 w 1828800"/>
              <a:gd name="connsiteY1" fmla="*/ 0 h 914401"/>
              <a:gd name="connsiteX2" fmla="*/ 1828800 w 1828800"/>
              <a:gd name="connsiteY2" fmla="*/ 457200 h 914401"/>
              <a:gd name="connsiteX3" fmla="*/ 1749399 w 1828800"/>
              <a:gd name="connsiteY3" fmla="*/ 914401 h 914401"/>
              <a:gd name="connsiteX4" fmla="*/ 0 w 1828800"/>
              <a:gd name="connsiteY4" fmla="*/ 914400 h 914401"/>
              <a:gd name="connsiteX5" fmla="*/ 79401 w 1828800"/>
              <a:gd name="connsiteY5" fmla="*/ 457200 h 914401"/>
              <a:gd name="connsiteX0" fmla="*/ 0 w 1828800"/>
              <a:gd name="connsiteY0" fmla="*/ 0 h 914401"/>
              <a:gd name="connsiteX1" fmla="*/ 1749399 w 1828800"/>
              <a:gd name="connsiteY1" fmla="*/ 0 h 914401"/>
              <a:gd name="connsiteX2" fmla="*/ 1828800 w 1828800"/>
              <a:gd name="connsiteY2" fmla="*/ 457200 h 914401"/>
              <a:gd name="connsiteX3" fmla="*/ 1749399 w 1828800"/>
              <a:gd name="connsiteY3" fmla="*/ 914401 h 914401"/>
              <a:gd name="connsiteX4" fmla="*/ 0 w 1828800"/>
              <a:gd name="connsiteY4" fmla="*/ 914400 h 914401"/>
              <a:gd name="connsiteX5" fmla="*/ 107992 w 1828800"/>
              <a:gd name="connsiteY5" fmla="*/ 457200 h 914401"/>
              <a:gd name="connsiteX0" fmla="*/ 0 w 1828800"/>
              <a:gd name="connsiteY0" fmla="*/ 0 h 914401"/>
              <a:gd name="connsiteX1" fmla="*/ 1720808 w 1828800"/>
              <a:gd name="connsiteY1" fmla="*/ 0 h 914401"/>
              <a:gd name="connsiteX2" fmla="*/ 1828800 w 1828800"/>
              <a:gd name="connsiteY2" fmla="*/ 457200 h 914401"/>
              <a:gd name="connsiteX3" fmla="*/ 1749399 w 1828800"/>
              <a:gd name="connsiteY3" fmla="*/ 914401 h 914401"/>
              <a:gd name="connsiteX4" fmla="*/ 0 w 1828800"/>
              <a:gd name="connsiteY4" fmla="*/ 914400 h 914401"/>
              <a:gd name="connsiteX5" fmla="*/ 107992 w 1828800"/>
              <a:gd name="connsiteY5" fmla="*/ 457200 h 914401"/>
              <a:gd name="connsiteX0" fmla="*/ 0 w 1828800"/>
              <a:gd name="connsiteY0" fmla="*/ 0 h 914401"/>
              <a:gd name="connsiteX1" fmla="*/ 1720808 w 1828800"/>
              <a:gd name="connsiteY1" fmla="*/ 0 h 914401"/>
              <a:gd name="connsiteX2" fmla="*/ 1828800 w 1828800"/>
              <a:gd name="connsiteY2" fmla="*/ 457200 h 914401"/>
              <a:gd name="connsiteX3" fmla="*/ 1720808 w 1828800"/>
              <a:gd name="connsiteY3" fmla="*/ 914401 h 914401"/>
              <a:gd name="connsiteX4" fmla="*/ 0 w 1828800"/>
              <a:gd name="connsiteY4" fmla="*/ 914400 h 914401"/>
              <a:gd name="connsiteX5" fmla="*/ 107992 w 1828800"/>
              <a:gd name="connsiteY5" fmla="*/ 457200 h 914401"/>
              <a:gd name="connsiteX0" fmla="*/ 0 w 1828800"/>
              <a:gd name="connsiteY0" fmla="*/ 0 h 914401"/>
              <a:gd name="connsiteX1" fmla="*/ 1720808 w 1828800"/>
              <a:gd name="connsiteY1" fmla="*/ 0 h 914401"/>
              <a:gd name="connsiteX2" fmla="*/ 1828800 w 1828800"/>
              <a:gd name="connsiteY2" fmla="*/ 457200 h 914401"/>
              <a:gd name="connsiteX3" fmla="*/ 1720808 w 1828800"/>
              <a:gd name="connsiteY3" fmla="*/ 914401 h 914401"/>
              <a:gd name="connsiteX4" fmla="*/ 0 w 1828800"/>
              <a:gd name="connsiteY4" fmla="*/ 914400 h 914401"/>
              <a:gd name="connsiteX5" fmla="*/ 0 w 1828800"/>
              <a:gd name="connsiteY5" fmla="*/ 457201 h 914401"/>
              <a:gd name="connsiteX0" fmla="*/ 0 w 1828800"/>
              <a:gd name="connsiteY0" fmla="*/ 0 h 914401"/>
              <a:gd name="connsiteX1" fmla="*/ 1712239 w 1828800"/>
              <a:gd name="connsiteY1" fmla="*/ 0 h 914401"/>
              <a:gd name="connsiteX2" fmla="*/ 1828800 w 1828800"/>
              <a:gd name="connsiteY2" fmla="*/ 457200 h 914401"/>
              <a:gd name="connsiteX3" fmla="*/ 1720808 w 1828800"/>
              <a:gd name="connsiteY3" fmla="*/ 914401 h 914401"/>
              <a:gd name="connsiteX4" fmla="*/ 0 w 1828800"/>
              <a:gd name="connsiteY4" fmla="*/ 914400 h 914401"/>
              <a:gd name="connsiteX5" fmla="*/ 0 w 1828800"/>
              <a:gd name="connsiteY5" fmla="*/ 457201 h 914401"/>
              <a:gd name="connsiteX0" fmla="*/ 0 w 1828800"/>
              <a:gd name="connsiteY0" fmla="*/ 0 h 914401"/>
              <a:gd name="connsiteX1" fmla="*/ 1712239 w 1828800"/>
              <a:gd name="connsiteY1" fmla="*/ 0 h 914401"/>
              <a:gd name="connsiteX2" fmla="*/ 1828800 w 1828800"/>
              <a:gd name="connsiteY2" fmla="*/ 457200 h 914401"/>
              <a:gd name="connsiteX3" fmla="*/ 1712239 w 1828800"/>
              <a:gd name="connsiteY3" fmla="*/ 914401 h 914401"/>
              <a:gd name="connsiteX4" fmla="*/ 0 w 1828800"/>
              <a:gd name="connsiteY4" fmla="*/ 914400 h 914401"/>
              <a:gd name="connsiteX5" fmla="*/ 0 w 1828800"/>
              <a:gd name="connsiteY5" fmla="*/ 457201 h 914401"/>
              <a:gd name="connsiteX0" fmla="*/ 0 w 1828800"/>
              <a:gd name="connsiteY0" fmla="*/ 0 h 914401"/>
              <a:gd name="connsiteX1" fmla="*/ 1712239 w 1828800"/>
              <a:gd name="connsiteY1" fmla="*/ 0 h 914401"/>
              <a:gd name="connsiteX2" fmla="*/ 1828800 w 1828800"/>
              <a:gd name="connsiteY2" fmla="*/ 457200 h 914401"/>
              <a:gd name="connsiteX3" fmla="*/ 1712239 w 1828800"/>
              <a:gd name="connsiteY3" fmla="*/ 914401 h 914401"/>
              <a:gd name="connsiteX4" fmla="*/ 0 w 1828800"/>
              <a:gd name="connsiteY4" fmla="*/ 914400 h 914401"/>
              <a:gd name="connsiteX5" fmla="*/ 116561 w 1828800"/>
              <a:gd name="connsiteY5" fmla="*/ 457201 h 914401"/>
              <a:gd name="connsiteX0" fmla="*/ 0 w 1828800"/>
              <a:gd name="connsiteY0" fmla="*/ 0 h 914401"/>
              <a:gd name="connsiteX1" fmla="*/ 1712239 w 1828800"/>
              <a:gd name="connsiteY1" fmla="*/ 0 h 914401"/>
              <a:gd name="connsiteX2" fmla="*/ 1828800 w 1828800"/>
              <a:gd name="connsiteY2" fmla="*/ 457200 h 914401"/>
              <a:gd name="connsiteX3" fmla="*/ 1712239 w 1828800"/>
              <a:gd name="connsiteY3" fmla="*/ 914401 h 914401"/>
              <a:gd name="connsiteX4" fmla="*/ 0 w 1828800"/>
              <a:gd name="connsiteY4" fmla="*/ 914400 h 914401"/>
              <a:gd name="connsiteX5" fmla="*/ 116561 w 1828800"/>
              <a:gd name="connsiteY5" fmla="*/ 457201 h 914401"/>
              <a:gd name="connsiteX0" fmla="*/ 0 w 1828800"/>
              <a:gd name="connsiteY0" fmla="*/ 0 h 914401"/>
              <a:gd name="connsiteX1" fmla="*/ 1712239 w 1828800"/>
              <a:gd name="connsiteY1" fmla="*/ 0 h 914401"/>
              <a:gd name="connsiteX2" fmla="*/ 1828800 w 1828800"/>
              <a:gd name="connsiteY2" fmla="*/ 457200 h 914401"/>
              <a:gd name="connsiteX3" fmla="*/ 1712239 w 1828800"/>
              <a:gd name="connsiteY3" fmla="*/ 914401 h 914401"/>
              <a:gd name="connsiteX4" fmla="*/ 0 w 1828800"/>
              <a:gd name="connsiteY4" fmla="*/ 914400 h 914401"/>
              <a:gd name="connsiteX5" fmla="*/ 116561 w 1828800"/>
              <a:gd name="connsiteY5" fmla="*/ 457201 h 914401"/>
              <a:gd name="connsiteX0" fmla="*/ 0 w 1828800"/>
              <a:gd name="connsiteY0" fmla="*/ 0 h 914401"/>
              <a:gd name="connsiteX1" fmla="*/ 1712239 w 1828800"/>
              <a:gd name="connsiteY1" fmla="*/ 0 h 914401"/>
              <a:gd name="connsiteX2" fmla="*/ 1828800 w 1828800"/>
              <a:gd name="connsiteY2" fmla="*/ 457200 h 914401"/>
              <a:gd name="connsiteX3" fmla="*/ 1712239 w 1828800"/>
              <a:gd name="connsiteY3" fmla="*/ 914401 h 914401"/>
              <a:gd name="connsiteX4" fmla="*/ 0 w 1828800"/>
              <a:gd name="connsiteY4" fmla="*/ 914400 h 914401"/>
              <a:gd name="connsiteX5" fmla="*/ 0 w 1828800"/>
              <a:gd name="connsiteY5" fmla="*/ 457201 h 914401"/>
              <a:gd name="connsiteX0" fmla="*/ 0 w 1828800"/>
              <a:gd name="connsiteY0" fmla="*/ 0 h 914401"/>
              <a:gd name="connsiteX1" fmla="*/ 1712020 w 1828800"/>
              <a:gd name="connsiteY1" fmla="*/ 0 h 914401"/>
              <a:gd name="connsiteX2" fmla="*/ 1828800 w 1828800"/>
              <a:gd name="connsiteY2" fmla="*/ 457200 h 914401"/>
              <a:gd name="connsiteX3" fmla="*/ 1712239 w 1828800"/>
              <a:gd name="connsiteY3" fmla="*/ 914401 h 914401"/>
              <a:gd name="connsiteX4" fmla="*/ 0 w 1828800"/>
              <a:gd name="connsiteY4" fmla="*/ 914400 h 914401"/>
              <a:gd name="connsiteX5" fmla="*/ 0 w 1828800"/>
              <a:gd name="connsiteY5" fmla="*/ 457201 h 914401"/>
              <a:gd name="connsiteX0" fmla="*/ 0 w 1828800"/>
              <a:gd name="connsiteY0" fmla="*/ 0 h 914401"/>
              <a:gd name="connsiteX1" fmla="*/ 1712020 w 1828800"/>
              <a:gd name="connsiteY1" fmla="*/ 0 h 914401"/>
              <a:gd name="connsiteX2" fmla="*/ 1828800 w 1828800"/>
              <a:gd name="connsiteY2" fmla="*/ 457200 h 914401"/>
              <a:gd name="connsiteX3" fmla="*/ 1712020 w 1828800"/>
              <a:gd name="connsiteY3" fmla="*/ 914401 h 914401"/>
              <a:gd name="connsiteX4" fmla="*/ 0 w 1828800"/>
              <a:gd name="connsiteY4" fmla="*/ 914400 h 914401"/>
              <a:gd name="connsiteX5" fmla="*/ 0 w 1828800"/>
              <a:gd name="connsiteY5" fmla="*/ 457201 h 914401"/>
              <a:gd name="connsiteX0" fmla="*/ 0 w 1828800"/>
              <a:gd name="connsiteY0" fmla="*/ 0 h 914401"/>
              <a:gd name="connsiteX1" fmla="*/ 1712020 w 1828800"/>
              <a:gd name="connsiteY1" fmla="*/ 0 h 914401"/>
              <a:gd name="connsiteX2" fmla="*/ 1828800 w 1828800"/>
              <a:gd name="connsiteY2" fmla="*/ 457200 h 914401"/>
              <a:gd name="connsiteX3" fmla="*/ 1712020 w 1828800"/>
              <a:gd name="connsiteY3" fmla="*/ 914401 h 914401"/>
              <a:gd name="connsiteX4" fmla="*/ 0 w 1828800"/>
              <a:gd name="connsiteY4" fmla="*/ 914400 h 914401"/>
              <a:gd name="connsiteX5" fmla="*/ 116779 w 1828800"/>
              <a:gd name="connsiteY5" fmla="*/ 457201 h 914401"/>
              <a:gd name="connsiteX0" fmla="*/ 0 w 1828800"/>
              <a:gd name="connsiteY0" fmla="*/ 0 h 914401"/>
              <a:gd name="connsiteX1" fmla="*/ 1712020 w 1828800"/>
              <a:gd name="connsiteY1" fmla="*/ 0 h 914401"/>
              <a:gd name="connsiteX2" fmla="*/ 1828800 w 1828800"/>
              <a:gd name="connsiteY2" fmla="*/ 457200 h 914401"/>
              <a:gd name="connsiteX3" fmla="*/ 1712020 w 1828800"/>
              <a:gd name="connsiteY3" fmla="*/ 914401 h 914401"/>
              <a:gd name="connsiteX4" fmla="*/ 0 w 1828800"/>
              <a:gd name="connsiteY4" fmla="*/ 914400 h 914401"/>
              <a:gd name="connsiteX5" fmla="*/ 116779 w 1828800"/>
              <a:gd name="connsiteY5" fmla="*/ 457201 h 914401"/>
              <a:gd name="connsiteX0" fmla="*/ 0 w 1828800"/>
              <a:gd name="connsiteY0" fmla="*/ 0 h 914401"/>
              <a:gd name="connsiteX1" fmla="*/ 1712020 w 1828800"/>
              <a:gd name="connsiteY1" fmla="*/ 0 h 914401"/>
              <a:gd name="connsiteX2" fmla="*/ 1828800 w 1828800"/>
              <a:gd name="connsiteY2" fmla="*/ 457200 h 914401"/>
              <a:gd name="connsiteX3" fmla="*/ 1712020 w 1828800"/>
              <a:gd name="connsiteY3" fmla="*/ 914401 h 914401"/>
              <a:gd name="connsiteX4" fmla="*/ 0 w 1828800"/>
              <a:gd name="connsiteY4" fmla="*/ 914400 h 914401"/>
              <a:gd name="connsiteX5" fmla="*/ 116779 w 1828800"/>
              <a:gd name="connsiteY5" fmla="*/ 457201 h 914401"/>
              <a:gd name="connsiteX0" fmla="*/ 0 w 1828800"/>
              <a:gd name="connsiteY0" fmla="*/ 0 h 914401"/>
              <a:gd name="connsiteX1" fmla="*/ 1712020 w 1828800"/>
              <a:gd name="connsiteY1" fmla="*/ 0 h 914401"/>
              <a:gd name="connsiteX2" fmla="*/ 1828800 w 1828800"/>
              <a:gd name="connsiteY2" fmla="*/ 457200 h 914401"/>
              <a:gd name="connsiteX3" fmla="*/ 1712020 w 1828800"/>
              <a:gd name="connsiteY3" fmla="*/ 914401 h 914401"/>
              <a:gd name="connsiteX4" fmla="*/ 0 w 1828800"/>
              <a:gd name="connsiteY4" fmla="*/ 914400 h 914401"/>
              <a:gd name="connsiteX5" fmla="*/ 0 w 1828800"/>
              <a:gd name="connsiteY5" fmla="*/ 457201 h 914401"/>
              <a:gd name="connsiteX0" fmla="*/ 0 w 1828800"/>
              <a:gd name="connsiteY0" fmla="*/ 0 h 914401"/>
              <a:gd name="connsiteX1" fmla="*/ 1712021 w 1828800"/>
              <a:gd name="connsiteY1" fmla="*/ 0 h 914401"/>
              <a:gd name="connsiteX2" fmla="*/ 1828800 w 1828800"/>
              <a:gd name="connsiteY2" fmla="*/ 457200 h 914401"/>
              <a:gd name="connsiteX3" fmla="*/ 1712020 w 1828800"/>
              <a:gd name="connsiteY3" fmla="*/ 914401 h 914401"/>
              <a:gd name="connsiteX4" fmla="*/ 0 w 1828800"/>
              <a:gd name="connsiteY4" fmla="*/ 914400 h 914401"/>
              <a:gd name="connsiteX5" fmla="*/ 0 w 1828800"/>
              <a:gd name="connsiteY5" fmla="*/ 457201 h 914401"/>
              <a:gd name="connsiteX0" fmla="*/ 0 w 1828800"/>
              <a:gd name="connsiteY0" fmla="*/ 0 h 914401"/>
              <a:gd name="connsiteX1" fmla="*/ 1712021 w 1828800"/>
              <a:gd name="connsiteY1" fmla="*/ 0 h 914401"/>
              <a:gd name="connsiteX2" fmla="*/ 1828800 w 1828800"/>
              <a:gd name="connsiteY2" fmla="*/ 457200 h 914401"/>
              <a:gd name="connsiteX3" fmla="*/ 1712021 w 1828800"/>
              <a:gd name="connsiteY3" fmla="*/ 914401 h 914401"/>
              <a:gd name="connsiteX4" fmla="*/ 0 w 1828800"/>
              <a:gd name="connsiteY4" fmla="*/ 914400 h 914401"/>
              <a:gd name="connsiteX5" fmla="*/ 0 w 1828800"/>
              <a:gd name="connsiteY5" fmla="*/ 457201 h 914401"/>
              <a:gd name="connsiteX0" fmla="*/ 0 w 1828800"/>
              <a:gd name="connsiteY0" fmla="*/ 0 h 914401"/>
              <a:gd name="connsiteX1" fmla="*/ 1712021 w 1828800"/>
              <a:gd name="connsiteY1" fmla="*/ 0 h 914401"/>
              <a:gd name="connsiteX2" fmla="*/ 1828800 w 1828800"/>
              <a:gd name="connsiteY2" fmla="*/ 457200 h 914401"/>
              <a:gd name="connsiteX3" fmla="*/ 1712021 w 1828800"/>
              <a:gd name="connsiteY3" fmla="*/ 914401 h 914401"/>
              <a:gd name="connsiteX4" fmla="*/ 0 w 1828800"/>
              <a:gd name="connsiteY4" fmla="*/ 914400 h 914401"/>
              <a:gd name="connsiteX5" fmla="*/ 116780 w 1828800"/>
              <a:gd name="connsiteY5" fmla="*/ 457201 h 914401"/>
              <a:gd name="connsiteX0" fmla="*/ 0 w 1828800"/>
              <a:gd name="connsiteY0" fmla="*/ 0 h 914401"/>
              <a:gd name="connsiteX1" fmla="*/ 1712021 w 1828800"/>
              <a:gd name="connsiteY1" fmla="*/ 0 h 914401"/>
              <a:gd name="connsiteX2" fmla="*/ 1828800 w 1828800"/>
              <a:gd name="connsiteY2" fmla="*/ 457200 h 914401"/>
              <a:gd name="connsiteX3" fmla="*/ 1712021 w 1828800"/>
              <a:gd name="connsiteY3" fmla="*/ 914401 h 914401"/>
              <a:gd name="connsiteX4" fmla="*/ 0 w 1828800"/>
              <a:gd name="connsiteY4" fmla="*/ 914400 h 914401"/>
              <a:gd name="connsiteX5" fmla="*/ 116780 w 1828800"/>
              <a:gd name="connsiteY5" fmla="*/ 457201 h 914401"/>
              <a:gd name="connsiteX0" fmla="*/ 0 w 1828800"/>
              <a:gd name="connsiteY0" fmla="*/ 0 h 914401"/>
              <a:gd name="connsiteX1" fmla="*/ 1712021 w 1828800"/>
              <a:gd name="connsiteY1" fmla="*/ 0 h 914401"/>
              <a:gd name="connsiteX2" fmla="*/ 1828800 w 1828800"/>
              <a:gd name="connsiteY2" fmla="*/ 457200 h 914401"/>
              <a:gd name="connsiteX3" fmla="*/ 1712021 w 1828800"/>
              <a:gd name="connsiteY3" fmla="*/ 914401 h 914401"/>
              <a:gd name="connsiteX4" fmla="*/ 0 w 1828800"/>
              <a:gd name="connsiteY4" fmla="*/ 914400 h 914401"/>
              <a:gd name="connsiteX5" fmla="*/ 116780 w 1828800"/>
              <a:gd name="connsiteY5" fmla="*/ 457201 h 914401"/>
              <a:gd name="connsiteX0" fmla="*/ 0 w 1828800"/>
              <a:gd name="connsiteY0" fmla="*/ 0 h 914401"/>
              <a:gd name="connsiteX1" fmla="*/ 1712021 w 1828800"/>
              <a:gd name="connsiteY1" fmla="*/ 0 h 914401"/>
              <a:gd name="connsiteX2" fmla="*/ 1828800 w 1828800"/>
              <a:gd name="connsiteY2" fmla="*/ 457200 h 914401"/>
              <a:gd name="connsiteX3" fmla="*/ 1712021 w 1828800"/>
              <a:gd name="connsiteY3" fmla="*/ 914401 h 914401"/>
              <a:gd name="connsiteX4" fmla="*/ 0 w 1828800"/>
              <a:gd name="connsiteY4" fmla="*/ 914400 h 914401"/>
              <a:gd name="connsiteX5" fmla="*/ 0 w 1828800"/>
              <a:gd name="connsiteY5" fmla="*/ 457201 h 914401"/>
              <a:gd name="connsiteX0" fmla="*/ 0 w 1828800"/>
              <a:gd name="connsiteY0" fmla="*/ 0 h 914401"/>
              <a:gd name="connsiteX1" fmla="*/ 1712021 w 1828800"/>
              <a:gd name="connsiteY1" fmla="*/ 0 h 914401"/>
              <a:gd name="connsiteX2" fmla="*/ 1828800 w 1828800"/>
              <a:gd name="connsiteY2" fmla="*/ 457200 h 914401"/>
              <a:gd name="connsiteX3" fmla="*/ 1712021 w 1828800"/>
              <a:gd name="connsiteY3" fmla="*/ 914401 h 914401"/>
              <a:gd name="connsiteX4" fmla="*/ 0 w 1828800"/>
              <a:gd name="connsiteY4" fmla="*/ 914400 h 914401"/>
              <a:gd name="connsiteX5" fmla="*/ 0 w 1828800"/>
              <a:gd name="connsiteY5" fmla="*/ 457201 h 914401"/>
              <a:gd name="connsiteX0" fmla="*/ 0 w 1828800"/>
              <a:gd name="connsiteY0" fmla="*/ 0 h 914401"/>
              <a:gd name="connsiteX1" fmla="*/ 1712021 w 1828800"/>
              <a:gd name="connsiteY1" fmla="*/ 0 h 914401"/>
              <a:gd name="connsiteX2" fmla="*/ 1828800 w 1828800"/>
              <a:gd name="connsiteY2" fmla="*/ 457200 h 914401"/>
              <a:gd name="connsiteX3" fmla="*/ 1712021 w 1828800"/>
              <a:gd name="connsiteY3" fmla="*/ 914401 h 914401"/>
              <a:gd name="connsiteX4" fmla="*/ 0 w 1828800"/>
              <a:gd name="connsiteY4" fmla="*/ 914400 h 914401"/>
              <a:gd name="connsiteX5" fmla="*/ 0 w 1828800"/>
              <a:gd name="connsiteY5" fmla="*/ 457201 h 914401"/>
              <a:gd name="connsiteX0" fmla="*/ 0 w 1828800"/>
              <a:gd name="connsiteY0" fmla="*/ 0 h 914401"/>
              <a:gd name="connsiteX1" fmla="*/ 1712021 w 1828800"/>
              <a:gd name="connsiteY1" fmla="*/ 0 h 914401"/>
              <a:gd name="connsiteX2" fmla="*/ 1828800 w 1828800"/>
              <a:gd name="connsiteY2" fmla="*/ 457200 h 914401"/>
              <a:gd name="connsiteX3" fmla="*/ 1712021 w 1828800"/>
              <a:gd name="connsiteY3" fmla="*/ 914401 h 914401"/>
              <a:gd name="connsiteX4" fmla="*/ 0 w 1828800"/>
              <a:gd name="connsiteY4" fmla="*/ 914400 h 914401"/>
              <a:gd name="connsiteX5" fmla="*/ 116780 w 1828800"/>
              <a:gd name="connsiteY5" fmla="*/ 457201 h 914401"/>
              <a:gd name="connsiteX0" fmla="*/ 0 w 1828800"/>
              <a:gd name="connsiteY0" fmla="*/ 0 h 914401"/>
              <a:gd name="connsiteX1" fmla="*/ 1712021 w 1828800"/>
              <a:gd name="connsiteY1" fmla="*/ 0 h 914401"/>
              <a:gd name="connsiteX2" fmla="*/ 1828800 w 1828800"/>
              <a:gd name="connsiteY2" fmla="*/ 457200 h 914401"/>
              <a:gd name="connsiteX3" fmla="*/ 1712021 w 1828800"/>
              <a:gd name="connsiteY3" fmla="*/ 914401 h 914401"/>
              <a:gd name="connsiteX4" fmla="*/ 0 w 1828800"/>
              <a:gd name="connsiteY4" fmla="*/ 914400 h 914401"/>
              <a:gd name="connsiteX5" fmla="*/ 116780 w 1828800"/>
              <a:gd name="connsiteY5" fmla="*/ 457201 h 914401"/>
              <a:gd name="connsiteX0" fmla="*/ 0 w 1828800"/>
              <a:gd name="connsiteY0" fmla="*/ 0 h 914401"/>
              <a:gd name="connsiteX1" fmla="*/ 1712021 w 1828800"/>
              <a:gd name="connsiteY1" fmla="*/ 0 h 914401"/>
              <a:gd name="connsiteX2" fmla="*/ 1828800 w 1828800"/>
              <a:gd name="connsiteY2" fmla="*/ 457200 h 914401"/>
              <a:gd name="connsiteX3" fmla="*/ 1712021 w 1828800"/>
              <a:gd name="connsiteY3" fmla="*/ 914401 h 914401"/>
              <a:gd name="connsiteX4" fmla="*/ 0 w 1828800"/>
              <a:gd name="connsiteY4" fmla="*/ 914400 h 914401"/>
              <a:gd name="connsiteX5" fmla="*/ 116780 w 1828800"/>
              <a:gd name="connsiteY5" fmla="*/ 457201 h 914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1">
                <a:moveTo>
                  <a:pt x="0" y="0"/>
                </a:moveTo>
                <a:lnTo>
                  <a:pt x="1712021" y="0"/>
                </a:lnTo>
                <a:lnTo>
                  <a:pt x="1828800" y="457200"/>
                </a:lnTo>
                <a:lnTo>
                  <a:pt x="1712021" y="914401"/>
                </a:lnTo>
                <a:lnTo>
                  <a:pt x="0" y="914400"/>
                </a:lnTo>
                <a:lnTo>
                  <a:pt x="116780" y="457201"/>
                </a:lnTo>
                <a:close/>
              </a:path>
            </a:pathLst>
          </a:custGeom>
          <a:solidFill>
            <a:schemeClr val="accent3"/>
          </a:solidFill>
          <a:ln>
            <a:noFill/>
            <a:headEnd/>
            <a:tailEnd/>
          </a:ln>
          <a:effectLst/>
        </p:spPr>
        <p:style>
          <a:lnRef idx="1">
            <a:schemeClr val="accent3"/>
          </a:lnRef>
          <a:fillRef idx="3">
            <a:schemeClr val="accent3"/>
          </a:fillRef>
          <a:effectRef idx="2">
            <a:schemeClr val="accent3"/>
          </a:effectRef>
          <a:fontRef idx="minor">
            <a:schemeClr val="lt1"/>
          </a:fontRef>
        </p:style>
        <p:txBody>
          <a:bodyPr wrap="none" rtlCol="0" anchor="ctr"/>
          <a:lstStyle/>
          <a:p>
            <a:pPr algn="ctr"/>
            <a:endParaRPr lang="en-US" sz="1150" b="1" dirty="0">
              <a:solidFill>
                <a:schemeClr val="bg1"/>
              </a:solidFill>
            </a:endParaRPr>
          </a:p>
        </p:txBody>
      </p:sp>
      <p:sp>
        <p:nvSpPr>
          <p:cNvPr id="15" name="Rectangle 4"/>
          <p:cNvSpPr txBox="1"/>
          <p:nvPr>
            <p:custDataLst>
              <p:tags r:id="rId6"/>
            </p:custDataLst>
          </p:nvPr>
        </p:nvSpPr>
        <p:spPr>
          <a:xfrm>
            <a:off x="3326501" y="871722"/>
            <a:ext cx="2464932" cy="305661"/>
          </a:xfrm>
          <a:prstGeom prst="rect">
            <a:avLst/>
          </a:prstGeom>
          <a:noFill/>
          <a:ln>
            <a:noFill/>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noAutofit/>
          </a:bodyPr>
          <a:lstStyle>
            <a:lvl1pPr marL="0" lvl="0" indent="0" defTabSz="895350" eaLnBrk="1" hangingPunct="1">
              <a:buClr>
                <a:schemeClr val="tx2"/>
              </a:buClr>
              <a:defRPr>
                <a:latin typeface="+mn-lt"/>
              </a:defRPr>
            </a:lvl1pPr>
            <a:lvl2pPr marL="193675" lvl="1" indent="-192088" defTabSz="895350" eaLnBrk="1" hangingPunct="1">
              <a:buClr>
                <a:schemeClr val="tx2"/>
              </a:buClr>
              <a:buSzPct val="125000"/>
              <a:buFont typeface="Arial" charset="0"/>
              <a:buChar char="▪"/>
              <a:defRPr>
                <a:latin typeface="+mn-lt"/>
              </a:defRPr>
            </a:lvl2pPr>
            <a:lvl3pPr marL="457200" lvl="2" indent="-261938" defTabSz="895350" eaLnBrk="1" hangingPunct="1">
              <a:buClr>
                <a:schemeClr val="tx2"/>
              </a:buClr>
              <a:buSzPct val="120000"/>
              <a:buFont typeface="Arial" charset="0"/>
              <a:buChar char="–"/>
              <a:defRPr>
                <a:latin typeface="+mn-lt"/>
              </a:defRPr>
            </a:lvl3pPr>
            <a:lvl4pPr marL="614363" lvl="3" indent="-155575" defTabSz="895350" eaLnBrk="1" hangingPunct="1">
              <a:buClr>
                <a:schemeClr val="tx2"/>
              </a:buClr>
              <a:buSzPct val="120000"/>
              <a:buFont typeface="Arial" charset="0"/>
              <a:buChar char="▫"/>
              <a:defRPr>
                <a:latin typeface="+mn-lt"/>
              </a:defRPr>
            </a:lvl4pPr>
            <a:lvl5pPr marL="746125" lvl="4" indent="-130175" defTabSz="895350" eaLnBrk="1" hangingPunct="1">
              <a:buClr>
                <a:schemeClr val="tx2"/>
              </a:buClr>
              <a:buSzPct val="89000"/>
              <a:buFont typeface="Arial" charset="0"/>
              <a:buChar char="-"/>
              <a:defRPr>
                <a:latin typeface="+mn-lt"/>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r>
              <a:rPr lang="en-US" sz="1150" b="1" dirty="0">
                <a:solidFill>
                  <a:schemeClr val="bg1"/>
                </a:solidFill>
              </a:rPr>
              <a:t>Approach</a:t>
            </a:r>
          </a:p>
        </p:txBody>
      </p:sp>
      <p:sp>
        <p:nvSpPr>
          <p:cNvPr id="17" name="Freeform 16"/>
          <p:cNvSpPr/>
          <p:nvPr>
            <p:custDataLst>
              <p:tags r:id="rId7"/>
            </p:custDataLst>
          </p:nvPr>
        </p:nvSpPr>
        <p:spPr bwMode="auto">
          <a:xfrm>
            <a:off x="5929515" y="800193"/>
            <a:ext cx="2891056" cy="448718"/>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49400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1"/>
              <a:gd name="connsiteX1" fmla="*/ 1749400 w 1828800"/>
              <a:gd name="connsiteY1" fmla="*/ 0 h 914401"/>
              <a:gd name="connsiteX2" fmla="*/ 1828800 w 1828800"/>
              <a:gd name="connsiteY2" fmla="*/ 457200 h 914401"/>
              <a:gd name="connsiteX3" fmla="*/ 1749400 w 1828800"/>
              <a:gd name="connsiteY3" fmla="*/ 914401 h 914401"/>
              <a:gd name="connsiteX4" fmla="*/ 0 w 1828800"/>
              <a:gd name="connsiteY4" fmla="*/ 914400 h 914401"/>
              <a:gd name="connsiteX5" fmla="*/ 0 w 1828800"/>
              <a:gd name="connsiteY5" fmla="*/ 457200 h 914401"/>
              <a:gd name="connsiteX0" fmla="*/ 0 w 1828800"/>
              <a:gd name="connsiteY0" fmla="*/ 0 h 914401"/>
              <a:gd name="connsiteX1" fmla="*/ 1749400 w 1828800"/>
              <a:gd name="connsiteY1" fmla="*/ 0 h 914401"/>
              <a:gd name="connsiteX2" fmla="*/ 1828800 w 1828800"/>
              <a:gd name="connsiteY2" fmla="*/ 457200 h 914401"/>
              <a:gd name="connsiteX3" fmla="*/ 1749400 w 1828800"/>
              <a:gd name="connsiteY3" fmla="*/ 914401 h 914401"/>
              <a:gd name="connsiteX4" fmla="*/ 0 w 1828800"/>
              <a:gd name="connsiteY4" fmla="*/ 914400 h 914401"/>
              <a:gd name="connsiteX5" fmla="*/ 79401 w 1828800"/>
              <a:gd name="connsiteY5" fmla="*/ 457200 h 914401"/>
              <a:gd name="connsiteX0" fmla="*/ 0 w 1828800"/>
              <a:gd name="connsiteY0" fmla="*/ 0 h 914401"/>
              <a:gd name="connsiteX1" fmla="*/ 1749399 w 1828800"/>
              <a:gd name="connsiteY1" fmla="*/ 0 h 914401"/>
              <a:gd name="connsiteX2" fmla="*/ 1828800 w 1828800"/>
              <a:gd name="connsiteY2" fmla="*/ 457200 h 914401"/>
              <a:gd name="connsiteX3" fmla="*/ 1749400 w 1828800"/>
              <a:gd name="connsiteY3" fmla="*/ 914401 h 914401"/>
              <a:gd name="connsiteX4" fmla="*/ 0 w 1828800"/>
              <a:gd name="connsiteY4" fmla="*/ 914400 h 914401"/>
              <a:gd name="connsiteX5" fmla="*/ 79401 w 1828800"/>
              <a:gd name="connsiteY5" fmla="*/ 457200 h 914401"/>
              <a:gd name="connsiteX0" fmla="*/ 0 w 1828800"/>
              <a:gd name="connsiteY0" fmla="*/ 0 h 914401"/>
              <a:gd name="connsiteX1" fmla="*/ 1749399 w 1828800"/>
              <a:gd name="connsiteY1" fmla="*/ 0 h 914401"/>
              <a:gd name="connsiteX2" fmla="*/ 1828800 w 1828800"/>
              <a:gd name="connsiteY2" fmla="*/ 457200 h 914401"/>
              <a:gd name="connsiteX3" fmla="*/ 1749399 w 1828800"/>
              <a:gd name="connsiteY3" fmla="*/ 914401 h 914401"/>
              <a:gd name="connsiteX4" fmla="*/ 0 w 1828800"/>
              <a:gd name="connsiteY4" fmla="*/ 914400 h 914401"/>
              <a:gd name="connsiteX5" fmla="*/ 79401 w 1828800"/>
              <a:gd name="connsiteY5" fmla="*/ 457200 h 914401"/>
              <a:gd name="connsiteX0" fmla="*/ 0 w 1828800"/>
              <a:gd name="connsiteY0" fmla="*/ 0 h 914401"/>
              <a:gd name="connsiteX1" fmla="*/ 1749399 w 1828800"/>
              <a:gd name="connsiteY1" fmla="*/ 0 h 914401"/>
              <a:gd name="connsiteX2" fmla="*/ 1828800 w 1828800"/>
              <a:gd name="connsiteY2" fmla="*/ 457200 h 914401"/>
              <a:gd name="connsiteX3" fmla="*/ 1749399 w 1828800"/>
              <a:gd name="connsiteY3" fmla="*/ 914401 h 914401"/>
              <a:gd name="connsiteX4" fmla="*/ 0 w 1828800"/>
              <a:gd name="connsiteY4" fmla="*/ 914400 h 914401"/>
              <a:gd name="connsiteX5" fmla="*/ 107992 w 1828800"/>
              <a:gd name="connsiteY5" fmla="*/ 457200 h 914401"/>
              <a:gd name="connsiteX0" fmla="*/ 0 w 1828800"/>
              <a:gd name="connsiteY0" fmla="*/ 0 h 914401"/>
              <a:gd name="connsiteX1" fmla="*/ 1720808 w 1828800"/>
              <a:gd name="connsiteY1" fmla="*/ 0 h 914401"/>
              <a:gd name="connsiteX2" fmla="*/ 1828800 w 1828800"/>
              <a:gd name="connsiteY2" fmla="*/ 457200 h 914401"/>
              <a:gd name="connsiteX3" fmla="*/ 1749399 w 1828800"/>
              <a:gd name="connsiteY3" fmla="*/ 914401 h 914401"/>
              <a:gd name="connsiteX4" fmla="*/ 0 w 1828800"/>
              <a:gd name="connsiteY4" fmla="*/ 914400 h 914401"/>
              <a:gd name="connsiteX5" fmla="*/ 107992 w 1828800"/>
              <a:gd name="connsiteY5" fmla="*/ 457200 h 914401"/>
              <a:gd name="connsiteX0" fmla="*/ 0 w 1828800"/>
              <a:gd name="connsiteY0" fmla="*/ 0 h 914401"/>
              <a:gd name="connsiteX1" fmla="*/ 1720808 w 1828800"/>
              <a:gd name="connsiteY1" fmla="*/ 0 h 914401"/>
              <a:gd name="connsiteX2" fmla="*/ 1828800 w 1828800"/>
              <a:gd name="connsiteY2" fmla="*/ 457200 h 914401"/>
              <a:gd name="connsiteX3" fmla="*/ 1720808 w 1828800"/>
              <a:gd name="connsiteY3" fmla="*/ 914401 h 914401"/>
              <a:gd name="connsiteX4" fmla="*/ 0 w 1828800"/>
              <a:gd name="connsiteY4" fmla="*/ 914400 h 914401"/>
              <a:gd name="connsiteX5" fmla="*/ 107992 w 1828800"/>
              <a:gd name="connsiteY5" fmla="*/ 457200 h 914401"/>
              <a:gd name="connsiteX0" fmla="*/ 0 w 1828800"/>
              <a:gd name="connsiteY0" fmla="*/ 0 h 914401"/>
              <a:gd name="connsiteX1" fmla="*/ 1720808 w 1828800"/>
              <a:gd name="connsiteY1" fmla="*/ 0 h 914401"/>
              <a:gd name="connsiteX2" fmla="*/ 1828800 w 1828800"/>
              <a:gd name="connsiteY2" fmla="*/ 457200 h 914401"/>
              <a:gd name="connsiteX3" fmla="*/ 1720808 w 1828800"/>
              <a:gd name="connsiteY3" fmla="*/ 914401 h 914401"/>
              <a:gd name="connsiteX4" fmla="*/ 0 w 1828800"/>
              <a:gd name="connsiteY4" fmla="*/ 914400 h 914401"/>
              <a:gd name="connsiteX5" fmla="*/ 0 w 1828800"/>
              <a:gd name="connsiteY5" fmla="*/ 457201 h 914401"/>
              <a:gd name="connsiteX0" fmla="*/ 0 w 1828800"/>
              <a:gd name="connsiteY0" fmla="*/ 0 h 914401"/>
              <a:gd name="connsiteX1" fmla="*/ 1712239 w 1828800"/>
              <a:gd name="connsiteY1" fmla="*/ 0 h 914401"/>
              <a:gd name="connsiteX2" fmla="*/ 1828800 w 1828800"/>
              <a:gd name="connsiteY2" fmla="*/ 457200 h 914401"/>
              <a:gd name="connsiteX3" fmla="*/ 1720808 w 1828800"/>
              <a:gd name="connsiteY3" fmla="*/ 914401 h 914401"/>
              <a:gd name="connsiteX4" fmla="*/ 0 w 1828800"/>
              <a:gd name="connsiteY4" fmla="*/ 914400 h 914401"/>
              <a:gd name="connsiteX5" fmla="*/ 0 w 1828800"/>
              <a:gd name="connsiteY5" fmla="*/ 457201 h 914401"/>
              <a:gd name="connsiteX0" fmla="*/ 0 w 1828800"/>
              <a:gd name="connsiteY0" fmla="*/ 0 h 914401"/>
              <a:gd name="connsiteX1" fmla="*/ 1712239 w 1828800"/>
              <a:gd name="connsiteY1" fmla="*/ 0 h 914401"/>
              <a:gd name="connsiteX2" fmla="*/ 1828800 w 1828800"/>
              <a:gd name="connsiteY2" fmla="*/ 457200 h 914401"/>
              <a:gd name="connsiteX3" fmla="*/ 1712239 w 1828800"/>
              <a:gd name="connsiteY3" fmla="*/ 914401 h 914401"/>
              <a:gd name="connsiteX4" fmla="*/ 0 w 1828800"/>
              <a:gd name="connsiteY4" fmla="*/ 914400 h 914401"/>
              <a:gd name="connsiteX5" fmla="*/ 0 w 1828800"/>
              <a:gd name="connsiteY5" fmla="*/ 457201 h 914401"/>
              <a:gd name="connsiteX0" fmla="*/ 0 w 1828800"/>
              <a:gd name="connsiteY0" fmla="*/ 0 h 914401"/>
              <a:gd name="connsiteX1" fmla="*/ 1712239 w 1828800"/>
              <a:gd name="connsiteY1" fmla="*/ 0 h 914401"/>
              <a:gd name="connsiteX2" fmla="*/ 1828800 w 1828800"/>
              <a:gd name="connsiteY2" fmla="*/ 457200 h 914401"/>
              <a:gd name="connsiteX3" fmla="*/ 1712239 w 1828800"/>
              <a:gd name="connsiteY3" fmla="*/ 914401 h 914401"/>
              <a:gd name="connsiteX4" fmla="*/ 0 w 1828800"/>
              <a:gd name="connsiteY4" fmla="*/ 914400 h 914401"/>
              <a:gd name="connsiteX5" fmla="*/ 116561 w 1828800"/>
              <a:gd name="connsiteY5" fmla="*/ 457201 h 914401"/>
              <a:gd name="connsiteX0" fmla="*/ 0 w 1828800"/>
              <a:gd name="connsiteY0" fmla="*/ 0 h 914401"/>
              <a:gd name="connsiteX1" fmla="*/ 1712239 w 1828800"/>
              <a:gd name="connsiteY1" fmla="*/ 0 h 914401"/>
              <a:gd name="connsiteX2" fmla="*/ 1828800 w 1828800"/>
              <a:gd name="connsiteY2" fmla="*/ 457200 h 914401"/>
              <a:gd name="connsiteX3" fmla="*/ 1712239 w 1828800"/>
              <a:gd name="connsiteY3" fmla="*/ 914401 h 914401"/>
              <a:gd name="connsiteX4" fmla="*/ 0 w 1828800"/>
              <a:gd name="connsiteY4" fmla="*/ 914400 h 914401"/>
              <a:gd name="connsiteX5" fmla="*/ 116561 w 1828800"/>
              <a:gd name="connsiteY5" fmla="*/ 457201 h 914401"/>
              <a:gd name="connsiteX0" fmla="*/ 0 w 1828800"/>
              <a:gd name="connsiteY0" fmla="*/ 0 h 914401"/>
              <a:gd name="connsiteX1" fmla="*/ 1712239 w 1828800"/>
              <a:gd name="connsiteY1" fmla="*/ 0 h 914401"/>
              <a:gd name="connsiteX2" fmla="*/ 1828800 w 1828800"/>
              <a:gd name="connsiteY2" fmla="*/ 457200 h 914401"/>
              <a:gd name="connsiteX3" fmla="*/ 1712239 w 1828800"/>
              <a:gd name="connsiteY3" fmla="*/ 914401 h 914401"/>
              <a:gd name="connsiteX4" fmla="*/ 0 w 1828800"/>
              <a:gd name="connsiteY4" fmla="*/ 914400 h 914401"/>
              <a:gd name="connsiteX5" fmla="*/ 116561 w 1828800"/>
              <a:gd name="connsiteY5" fmla="*/ 457201 h 914401"/>
              <a:gd name="connsiteX0" fmla="*/ 0 w 1828800"/>
              <a:gd name="connsiteY0" fmla="*/ 0 h 914401"/>
              <a:gd name="connsiteX1" fmla="*/ 1712239 w 1828800"/>
              <a:gd name="connsiteY1" fmla="*/ 0 h 914401"/>
              <a:gd name="connsiteX2" fmla="*/ 1828800 w 1828800"/>
              <a:gd name="connsiteY2" fmla="*/ 457200 h 914401"/>
              <a:gd name="connsiteX3" fmla="*/ 1712239 w 1828800"/>
              <a:gd name="connsiteY3" fmla="*/ 914401 h 914401"/>
              <a:gd name="connsiteX4" fmla="*/ 0 w 1828800"/>
              <a:gd name="connsiteY4" fmla="*/ 914400 h 914401"/>
              <a:gd name="connsiteX5" fmla="*/ 0 w 1828800"/>
              <a:gd name="connsiteY5" fmla="*/ 457201 h 914401"/>
              <a:gd name="connsiteX0" fmla="*/ 0 w 1828800"/>
              <a:gd name="connsiteY0" fmla="*/ 0 h 914401"/>
              <a:gd name="connsiteX1" fmla="*/ 1712021 w 1828800"/>
              <a:gd name="connsiteY1" fmla="*/ 0 h 914401"/>
              <a:gd name="connsiteX2" fmla="*/ 1828800 w 1828800"/>
              <a:gd name="connsiteY2" fmla="*/ 457200 h 914401"/>
              <a:gd name="connsiteX3" fmla="*/ 1712239 w 1828800"/>
              <a:gd name="connsiteY3" fmla="*/ 914401 h 914401"/>
              <a:gd name="connsiteX4" fmla="*/ 0 w 1828800"/>
              <a:gd name="connsiteY4" fmla="*/ 914400 h 914401"/>
              <a:gd name="connsiteX5" fmla="*/ 0 w 1828800"/>
              <a:gd name="connsiteY5" fmla="*/ 457201 h 914401"/>
              <a:gd name="connsiteX0" fmla="*/ 0 w 1828800"/>
              <a:gd name="connsiteY0" fmla="*/ 0 h 914401"/>
              <a:gd name="connsiteX1" fmla="*/ 1712021 w 1828800"/>
              <a:gd name="connsiteY1" fmla="*/ 0 h 914401"/>
              <a:gd name="connsiteX2" fmla="*/ 1828800 w 1828800"/>
              <a:gd name="connsiteY2" fmla="*/ 457200 h 914401"/>
              <a:gd name="connsiteX3" fmla="*/ 1712021 w 1828800"/>
              <a:gd name="connsiteY3" fmla="*/ 914401 h 914401"/>
              <a:gd name="connsiteX4" fmla="*/ 0 w 1828800"/>
              <a:gd name="connsiteY4" fmla="*/ 914400 h 914401"/>
              <a:gd name="connsiteX5" fmla="*/ 0 w 1828800"/>
              <a:gd name="connsiteY5" fmla="*/ 457201 h 914401"/>
              <a:gd name="connsiteX0" fmla="*/ 0 w 1828800"/>
              <a:gd name="connsiteY0" fmla="*/ 0 h 914401"/>
              <a:gd name="connsiteX1" fmla="*/ 1712021 w 1828800"/>
              <a:gd name="connsiteY1" fmla="*/ 0 h 914401"/>
              <a:gd name="connsiteX2" fmla="*/ 1828800 w 1828800"/>
              <a:gd name="connsiteY2" fmla="*/ 457200 h 914401"/>
              <a:gd name="connsiteX3" fmla="*/ 1712021 w 1828800"/>
              <a:gd name="connsiteY3" fmla="*/ 914401 h 914401"/>
              <a:gd name="connsiteX4" fmla="*/ 0 w 1828800"/>
              <a:gd name="connsiteY4" fmla="*/ 914400 h 914401"/>
              <a:gd name="connsiteX5" fmla="*/ 116779 w 1828800"/>
              <a:gd name="connsiteY5" fmla="*/ 457201 h 914401"/>
              <a:gd name="connsiteX0" fmla="*/ 0 w 1828800"/>
              <a:gd name="connsiteY0" fmla="*/ 0 h 914401"/>
              <a:gd name="connsiteX1" fmla="*/ 1712021 w 1828800"/>
              <a:gd name="connsiteY1" fmla="*/ 0 h 914401"/>
              <a:gd name="connsiteX2" fmla="*/ 1828800 w 1828800"/>
              <a:gd name="connsiteY2" fmla="*/ 457200 h 914401"/>
              <a:gd name="connsiteX3" fmla="*/ 1712021 w 1828800"/>
              <a:gd name="connsiteY3" fmla="*/ 914401 h 914401"/>
              <a:gd name="connsiteX4" fmla="*/ 0 w 1828800"/>
              <a:gd name="connsiteY4" fmla="*/ 914400 h 914401"/>
              <a:gd name="connsiteX5" fmla="*/ 116779 w 1828800"/>
              <a:gd name="connsiteY5" fmla="*/ 457201 h 914401"/>
              <a:gd name="connsiteX0" fmla="*/ 0 w 1828800"/>
              <a:gd name="connsiteY0" fmla="*/ 0 h 914401"/>
              <a:gd name="connsiteX1" fmla="*/ 1712021 w 1828800"/>
              <a:gd name="connsiteY1" fmla="*/ 0 h 914401"/>
              <a:gd name="connsiteX2" fmla="*/ 1828800 w 1828800"/>
              <a:gd name="connsiteY2" fmla="*/ 457200 h 914401"/>
              <a:gd name="connsiteX3" fmla="*/ 1712021 w 1828800"/>
              <a:gd name="connsiteY3" fmla="*/ 914401 h 914401"/>
              <a:gd name="connsiteX4" fmla="*/ 0 w 1828800"/>
              <a:gd name="connsiteY4" fmla="*/ 914400 h 914401"/>
              <a:gd name="connsiteX5" fmla="*/ 116779 w 1828800"/>
              <a:gd name="connsiteY5" fmla="*/ 457201 h 914401"/>
              <a:gd name="connsiteX0" fmla="*/ 0 w 1828800"/>
              <a:gd name="connsiteY0" fmla="*/ 0 h 914401"/>
              <a:gd name="connsiteX1" fmla="*/ 1712021 w 1828800"/>
              <a:gd name="connsiteY1" fmla="*/ 0 h 914401"/>
              <a:gd name="connsiteX2" fmla="*/ 1828800 w 1828800"/>
              <a:gd name="connsiteY2" fmla="*/ 457200 h 914401"/>
              <a:gd name="connsiteX3" fmla="*/ 1712021 w 1828800"/>
              <a:gd name="connsiteY3" fmla="*/ 914401 h 914401"/>
              <a:gd name="connsiteX4" fmla="*/ 0 w 1828800"/>
              <a:gd name="connsiteY4" fmla="*/ 914400 h 914401"/>
              <a:gd name="connsiteX5" fmla="*/ 0 w 1828800"/>
              <a:gd name="connsiteY5" fmla="*/ 457201 h 914401"/>
              <a:gd name="connsiteX0" fmla="*/ 0 w 1828800"/>
              <a:gd name="connsiteY0" fmla="*/ 0 h 914401"/>
              <a:gd name="connsiteX1" fmla="*/ 1712021 w 1828800"/>
              <a:gd name="connsiteY1" fmla="*/ 0 h 914401"/>
              <a:gd name="connsiteX2" fmla="*/ 1828800 w 1828800"/>
              <a:gd name="connsiteY2" fmla="*/ 457200 h 914401"/>
              <a:gd name="connsiteX3" fmla="*/ 1712021 w 1828800"/>
              <a:gd name="connsiteY3" fmla="*/ 914401 h 914401"/>
              <a:gd name="connsiteX4" fmla="*/ 0 w 1828800"/>
              <a:gd name="connsiteY4" fmla="*/ 914400 h 914401"/>
              <a:gd name="connsiteX5" fmla="*/ 0 w 1828800"/>
              <a:gd name="connsiteY5" fmla="*/ 457201 h 914401"/>
              <a:gd name="connsiteX0" fmla="*/ 0 w 1828800"/>
              <a:gd name="connsiteY0" fmla="*/ 0 h 914401"/>
              <a:gd name="connsiteX1" fmla="*/ 1712021 w 1828800"/>
              <a:gd name="connsiteY1" fmla="*/ 0 h 914401"/>
              <a:gd name="connsiteX2" fmla="*/ 1828800 w 1828800"/>
              <a:gd name="connsiteY2" fmla="*/ 457200 h 914401"/>
              <a:gd name="connsiteX3" fmla="*/ 1712021 w 1828800"/>
              <a:gd name="connsiteY3" fmla="*/ 914401 h 914401"/>
              <a:gd name="connsiteX4" fmla="*/ 0 w 1828800"/>
              <a:gd name="connsiteY4" fmla="*/ 914400 h 914401"/>
              <a:gd name="connsiteX5" fmla="*/ 0 w 1828800"/>
              <a:gd name="connsiteY5" fmla="*/ 457201 h 914401"/>
              <a:gd name="connsiteX0" fmla="*/ 0 w 1828800"/>
              <a:gd name="connsiteY0" fmla="*/ 0 h 914401"/>
              <a:gd name="connsiteX1" fmla="*/ 1712021 w 1828800"/>
              <a:gd name="connsiteY1" fmla="*/ 0 h 914401"/>
              <a:gd name="connsiteX2" fmla="*/ 1828800 w 1828800"/>
              <a:gd name="connsiteY2" fmla="*/ 457200 h 914401"/>
              <a:gd name="connsiteX3" fmla="*/ 1712021 w 1828800"/>
              <a:gd name="connsiteY3" fmla="*/ 914401 h 914401"/>
              <a:gd name="connsiteX4" fmla="*/ 0 w 1828800"/>
              <a:gd name="connsiteY4" fmla="*/ 914400 h 914401"/>
              <a:gd name="connsiteX5" fmla="*/ 116779 w 1828800"/>
              <a:gd name="connsiteY5" fmla="*/ 457201 h 914401"/>
              <a:gd name="connsiteX0" fmla="*/ 0 w 1828800"/>
              <a:gd name="connsiteY0" fmla="*/ 0 h 914401"/>
              <a:gd name="connsiteX1" fmla="*/ 1712021 w 1828800"/>
              <a:gd name="connsiteY1" fmla="*/ 0 h 914401"/>
              <a:gd name="connsiteX2" fmla="*/ 1828800 w 1828800"/>
              <a:gd name="connsiteY2" fmla="*/ 457200 h 914401"/>
              <a:gd name="connsiteX3" fmla="*/ 1712021 w 1828800"/>
              <a:gd name="connsiteY3" fmla="*/ 914401 h 914401"/>
              <a:gd name="connsiteX4" fmla="*/ 0 w 1828800"/>
              <a:gd name="connsiteY4" fmla="*/ 914400 h 914401"/>
              <a:gd name="connsiteX5" fmla="*/ 116779 w 1828800"/>
              <a:gd name="connsiteY5" fmla="*/ 457201 h 914401"/>
              <a:gd name="connsiteX0" fmla="*/ 0 w 1828800"/>
              <a:gd name="connsiteY0" fmla="*/ 0 h 914401"/>
              <a:gd name="connsiteX1" fmla="*/ 1712021 w 1828800"/>
              <a:gd name="connsiteY1" fmla="*/ 0 h 914401"/>
              <a:gd name="connsiteX2" fmla="*/ 1828800 w 1828800"/>
              <a:gd name="connsiteY2" fmla="*/ 457200 h 914401"/>
              <a:gd name="connsiteX3" fmla="*/ 1712021 w 1828800"/>
              <a:gd name="connsiteY3" fmla="*/ 914401 h 914401"/>
              <a:gd name="connsiteX4" fmla="*/ 0 w 1828800"/>
              <a:gd name="connsiteY4" fmla="*/ 914400 h 914401"/>
              <a:gd name="connsiteX5" fmla="*/ 116779 w 1828800"/>
              <a:gd name="connsiteY5" fmla="*/ 457201 h 914401"/>
              <a:gd name="connsiteX0" fmla="*/ 0 w 1828800"/>
              <a:gd name="connsiteY0" fmla="*/ 0 h 914401"/>
              <a:gd name="connsiteX1" fmla="*/ 1712021 w 1828800"/>
              <a:gd name="connsiteY1" fmla="*/ 0 h 914401"/>
              <a:gd name="connsiteX2" fmla="*/ 1828800 w 1828800"/>
              <a:gd name="connsiteY2" fmla="*/ 457200 h 914401"/>
              <a:gd name="connsiteX3" fmla="*/ 1712021 w 1828800"/>
              <a:gd name="connsiteY3" fmla="*/ 914401 h 914401"/>
              <a:gd name="connsiteX4" fmla="*/ 0 w 1828800"/>
              <a:gd name="connsiteY4" fmla="*/ 914400 h 914401"/>
              <a:gd name="connsiteX5" fmla="*/ 0 w 1828800"/>
              <a:gd name="connsiteY5" fmla="*/ 457201 h 914401"/>
              <a:gd name="connsiteX0" fmla="*/ 0 w 1828800"/>
              <a:gd name="connsiteY0" fmla="*/ 0 h 914401"/>
              <a:gd name="connsiteX1" fmla="*/ 1712021 w 1828800"/>
              <a:gd name="connsiteY1" fmla="*/ 0 h 914401"/>
              <a:gd name="connsiteX2" fmla="*/ 1828800 w 1828800"/>
              <a:gd name="connsiteY2" fmla="*/ 457200 h 914401"/>
              <a:gd name="connsiteX3" fmla="*/ 1712021 w 1828800"/>
              <a:gd name="connsiteY3" fmla="*/ 914401 h 914401"/>
              <a:gd name="connsiteX4" fmla="*/ 0 w 1828800"/>
              <a:gd name="connsiteY4" fmla="*/ 914400 h 914401"/>
              <a:gd name="connsiteX5" fmla="*/ 0 w 1828800"/>
              <a:gd name="connsiteY5" fmla="*/ 457201 h 914401"/>
              <a:gd name="connsiteX0" fmla="*/ 0 w 1828800"/>
              <a:gd name="connsiteY0" fmla="*/ 0 h 914401"/>
              <a:gd name="connsiteX1" fmla="*/ 1712021 w 1828800"/>
              <a:gd name="connsiteY1" fmla="*/ 0 h 914401"/>
              <a:gd name="connsiteX2" fmla="*/ 1828800 w 1828800"/>
              <a:gd name="connsiteY2" fmla="*/ 457200 h 914401"/>
              <a:gd name="connsiteX3" fmla="*/ 1712021 w 1828800"/>
              <a:gd name="connsiteY3" fmla="*/ 914401 h 914401"/>
              <a:gd name="connsiteX4" fmla="*/ 0 w 1828800"/>
              <a:gd name="connsiteY4" fmla="*/ 914400 h 914401"/>
              <a:gd name="connsiteX5" fmla="*/ 0 w 1828800"/>
              <a:gd name="connsiteY5" fmla="*/ 457201 h 914401"/>
              <a:gd name="connsiteX0" fmla="*/ 0 w 1828800"/>
              <a:gd name="connsiteY0" fmla="*/ 0 h 914401"/>
              <a:gd name="connsiteX1" fmla="*/ 1712021 w 1828800"/>
              <a:gd name="connsiteY1" fmla="*/ 0 h 914401"/>
              <a:gd name="connsiteX2" fmla="*/ 1828800 w 1828800"/>
              <a:gd name="connsiteY2" fmla="*/ 457200 h 914401"/>
              <a:gd name="connsiteX3" fmla="*/ 1712021 w 1828800"/>
              <a:gd name="connsiteY3" fmla="*/ 914401 h 914401"/>
              <a:gd name="connsiteX4" fmla="*/ 0 w 1828800"/>
              <a:gd name="connsiteY4" fmla="*/ 914400 h 914401"/>
              <a:gd name="connsiteX5" fmla="*/ 116779 w 1828800"/>
              <a:gd name="connsiteY5" fmla="*/ 457201 h 914401"/>
              <a:gd name="connsiteX0" fmla="*/ 0 w 1828800"/>
              <a:gd name="connsiteY0" fmla="*/ 0 h 914401"/>
              <a:gd name="connsiteX1" fmla="*/ 1712021 w 1828800"/>
              <a:gd name="connsiteY1" fmla="*/ 0 h 914401"/>
              <a:gd name="connsiteX2" fmla="*/ 1828800 w 1828800"/>
              <a:gd name="connsiteY2" fmla="*/ 457200 h 914401"/>
              <a:gd name="connsiteX3" fmla="*/ 1712021 w 1828800"/>
              <a:gd name="connsiteY3" fmla="*/ 914401 h 914401"/>
              <a:gd name="connsiteX4" fmla="*/ 0 w 1828800"/>
              <a:gd name="connsiteY4" fmla="*/ 914400 h 914401"/>
              <a:gd name="connsiteX5" fmla="*/ 116779 w 1828800"/>
              <a:gd name="connsiteY5" fmla="*/ 457201 h 914401"/>
              <a:gd name="connsiteX0" fmla="*/ 0 w 1828800"/>
              <a:gd name="connsiteY0" fmla="*/ 0 h 914401"/>
              <a:gd name="connsiteX1" fmla="*/ 1712021 w 1828800"/>
              <a:gd name="connsiteY1" fmla="*/ 0 h 914401"/>
              <a:gd name="connsiteX2" fmla="*/ 1828800 w 1828800"/>
              <a:gd name="connsiteY2" fmla="*/ 457200 h 914401"/>
              <a:gd name="connsiteX3" fmla="*/ 1712021 w 1828800"/>
              <a:gd name="connsiteY3" fmla="*/ 914401 h 914401"/>
              <a:gd name="connsiteX4" fmla="*/ 0 w 1828800"/>
              <a:gd name="connsiteY4" fmla="*/ 914400 h 914401"/>
              <a:gd name="connsiteX5" fmla="*/ 116779 w 1828800"/>
              <a:gd name="connsiteY5" fmla="*/ 457201 h 914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1">
                <a:moveTo>
                  <a:pt x="0" y="0"/>
                </a:moveTo>
                <a:lnTo>
                  <a:pt x="1712021" y="0"/>
                </a:lnTo>
                <a:lnTo>
                  <a:pt x="1828800" y="457200"/>
                </a:lnTo>
                <a:lnTo>
                  <a:pt x="1712021" y="914401"/>
                </a:lnTo>
                <a:lnTo>
                  <a:pt x="0" y="914400"/>
                </a:lnTo>
                <a:lnTo>
                  <a:pt x="116779" y="457201"/>
                </a:lnTo>
                <a:close/>
              </a:path>
            </a:pathLst>
          </a:custGeom>
          <a:solidFill>
            <a:schemeClr val="accent4"/>
          </a:solidFill>
          <a:ln>
            <a:noFill/>
            <a:headEnd/>
            <a:tailEnd/>
          </a:ln>
          <a:effectLst/>
        </p:spPr>
        <p:style>
          <a:lnRef idx="1">
            <a:schemeClr val="accent3"/>
          </a:lnRef>
          <a:fillRef idx="3">
            <a:schemeClr val="accent3"/>
          </a:fillRef>
          <a:effectRef idx="2">
            <a:schemeClr val="accent3"/>
          </a:effectRef>
          <a:fontRef idx="minor">
            <a:schemeClr val="lt1"/>
          </a:fontRef>
        </p:style>
        <p:txBody>
          <a:bodyPr wrap="none" rtlCol="0" anchor="ctr"/>
          <a:lstStyle/>
          <a:p>
            <a:pPr algn="ctr"/>
            <a:endParaRPr lang="en-US" sz="1150" b="1" dirty="0">
              <a:solidFill>
                <a:schemeClr val="bg1"/>
              </a:solidFill>
            </a:endParaRPr>
          </a:p>
        </p:txBody>
      </p:sp>
      <p:sp>
        <p:nvSpPr>
          <p:cNvPr id="18" name="Rectangle 4"/>
          <p:cNvSpPr txBox="1"/>
          <p:nvPr>
            <p:custDataLst>
              <p:tags r:id="rId8"/>
            </p:custDataLst>
          </p:nvPr>
        </p:nvSpPr>
        <p:spPr>
          <a:xfrm>
            <a:off x="6171028" y="871722"/>
            <a:ext cx="2464932" cy="305661"/>
          </a:xfrm>
          <a:prstGeom prst="rect">
            <a:avLst/>
          </a:prstGeom>
          <a:noFill/>
          <a:ln>
            <a:noFill/>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noAutofit/>
          </a:bodyPr>
          <a:lstStyle>
            <a:lvl1pPr marL="0" lvl="0" indent="0" defTabSz="895350" eaLnBrk="1" hangingPunct="1">
              <a:buClr>
                <a:schemeClr val="tx2"/>
              </a:buClr>
              <a:defRPr>
                <a:latin typeface="+mn-lt"/>
              </a:defRPr>
            </a:lvl1pPr>
            <a:lvl2pPr marL="193675" lvl="1" indent="-192088" defTabSz="895350" eaLnBrk="1" hangingPunct="1">
              <a:buClr>
                <a:schemeClr val="tx2"/>
              </a:buClr>
              <a:buSzPct val="125000"/>
              <a:buFont typeface="Arial" charset="0"/>
              <a:buChar char="▪"/>
              <a:defRPr>
                <a:latin typeface="+mn-lt"/>
              </a:defRPr>
            </a:lvl2pPr>
            <a:lvl3pPr marL="457200" lvl="2" indent="-261938" defTabSz="895350" eaLnBrk="1" hangingPunct="1">
              <a:buClr>
                <a:schemeClr val="tx2"/>
              </a:buClr>
              <a:buSzPct val="120000"/>
              <a:buFont typeface="Arial" charset="0"/>
              <a:buChar char="–"/>
              <a:defRPr>
                <a:latin typeface="+mn-lt"/>
              </a:defRPr>
            </a:lvl3pPr>
            <a:lvl4pPr marL="614363" lvl="3" indent="-155575" defTabSz="895350" eaLnBrk="1" hangingPunct="1">
              <a:buClr>
                <a:schemeClr val="tx2"/>
              </a:buClr>
              <a:buSzPct val="120000"/>
              <a:buFont typeface="Arial" charset="0"/>
              <a:buChar char="▫"/>
              <a:defRPr>
                <a:latin typeface="+mn-lt"/>
              </a:defRPr>
            </a:lvl4pPr>
            <a:lvl5pPr marL="746125" lvl="4" indent="-130175" defTabSz="895350" eaLnBrk="1" hangingPunct="1">
              <a:buClr>
                <a:schemeClr val="tx2"/>
              </a:buClr>
              <a:buSzPct val="89000"/>
              <a:buFont typeface="Arial" charset="0"/>
              <a:buChar char="-"/>
              <a:defRPr>
                <a:latin typeface="+mn-lt"/>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r>
              <a:rPr lang="en-US" sz="1150" b="1" dirty="0">
                <a:solidFill>
                  <a:schemeClr val="bg1"/>
                </a:solidFill>
              </a:rPr>
              <a:t>Impact</a:t>
            </a:r>
          </a:p>
        </p:txBody>
      </p:sp>
      <p:sp>
        <p:nvSpPr>
          <p:cNvPr id="6" name="Rectangle 286"/>
          <p:cNvSpPr txBox="1">
            <a:spLocks noChangeArrowheads="1"/>
          </p:cNvSpPr>
          <p:nvPr/>
        </p:nvSpPr>
        <p:spPr bwMode="auto">
          <a:xfrm>
            <a:off x="242341" y="1378611"/>
            <a:ext cx="2596087" cy="59503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indent="0" algn="l" defTabSz="895350" rtl="0" eaLnBrk="1" fontAlgn="base" hangingPunct="1">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pPr>
              <a:spcBef>
                <a:spcPts val="0"/>
              </a:spcBef>
              <a:spcAft>
                <a:spcPts val="450"/>
              </a:spcAft>
            </a:pPr>
            <a:r>
              <a:rPr lang="en-US" sz="1150" b="1" dirty="0">
                <a:solidFill>
                  <a:schemeClr val="accent3"/>
                </a:solidFill>
              </a:rPr>
              <a:t>Merging entities</a:t>
            </a:r>
          </a:p>
          <a:p>
            <a:pPr lvl="1">
              <a:spcBef>
                <a:spcPts val="0"/>
              </a:spcBef>
              <a:spcAft>
                <a:spcPts val="450"/>
              </a:spcAft>
            </a:pPr>
            <a:r>
              <a:rPr lang="en-US" sz="1150" dirty="0"/>
              <a:t>Two large privately owned banks in India </a:t>
            </a:r>
          </a:p>
        </p:txBody>
      </p:sp>
      <p:sp>
        <p:nvSpPr>
          <p:cNvPr id="24" name="Rectangle 286"/>
          <p:cNvSpPr txBox="1">
            <a:spLocks noChangeArrowheads="1"/>
          </p:cNvSpPr>
          <p:nvPr/>
        </p:nvSpPr>
        <p:spPr bwMode="auto">
          <a:xfrm>
            <a:off x="5985773" y="1378611"/>
            <a:ext cx="2699906" cy="13670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indent="0" algn="l" defTabSz="895350" rtl="0" eaLnBrk="1" fontAlgn="base" hangingPunct="1">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pPr>
              <a:spcBef>
                <a:spcPts val="0"/>
              </a:spcBef>
              <a:spcAft>
                <a:spcPts val="450"/>
              </a:spcAft>
            </a:pPr>
            <a:r>
              <a:rPr lang="en-US" sz="1150" b="1" dirty="0">
                <a:solidFill>
                  <a:schemeClr val="accent3"/>
                </a:solidFill>
              </a:rPr>
              <a:t>Total synergy captured &amp; top ideas</a:t>
            </a:r>
          </a:p>
          <a:p>
            <a:pPr lvl="1">
              <a:spcBef>
                <a:spcPts val="0"/>
              </a:spcBef>
              <a:spcAft>
                <a:spcPts val="450"/>
              </a:spcAft>
            </a:pPr>
            <a:r>
              <a:rPr lang="en-US" sz="1150" dirty="0"/>
              <a:t>~80% of the cost synergy and ~30% of revenue synergy has hit the </a:t>
            </a:r>
            <a:r>
              <a:rPr lang="en-US" sz="1150" dirty="0" err="1"/>
              <a:t>P&amp;L</a:t>
            </a:r>
            <a:r>
              <a:rPr lang="en-US" sz="1150" dirty="0"/>
              <a:t> in </a:t>
            </a:r>
            <a:br>
              <a:rPr lang="en-US" sz="1150" dirty="0"/>
            </a:br>
            <a:r>
              <a:rPr lang="en-US" sz="1150" dirty="0"/>
              <a:t>first 12 months</a:t>
            </a:r>
          </a:p>
          <a:p>
            <a:pPr lvl="1">
              <a:spcBef>
                <a:spcPts val="0"/>
              </a:spcBef>
              <a:spcAft>
                <a:spcPts val="450"/>
              </a:spcAft>
            </a:pPr>
            <a:r>
              <a:rPr lang="en-US" sz="1150" dirty="0"/>
              <a:t>Plan set up to boost baseline </a:t>
            </a:r>
            <a:r>
              <a:rPr lang="en-US" sz="1150" dirty="0" err="1"/>
              <a:t>PBT</a:t>
            </a:r>
            <a:r>
              <a:rPr lang="en-US" sz="1150" dirty="0"/>
              <a:t> by ~35% through transformational initiatives</a:t>
            </a:r>
          </a:p>
        </p:txBody>
      </p:sp>
      <p:sp>
        <p:nvSpPr>
          <p:cNvPr id="26" name="Rectangle 286"/>
          <p:cNvSpPr txBox="1">
            <a:spLocks noChangeArrowheads="1"/>
          </p:cNvSpPr>
          <p:nvPr/>
        </p:nvSpPr>
        <p:spPr bwMode="auto">
          <a:xfrm>
            <a:off x="242341" y="2200993"/>
            <a:ext cx="2596087" cy="13670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indent="0" algn="l" defTabSz="895350" rtl="0" eaLnBrk="1" fontAlgn="base" hangingPunct="1">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pPr>
              <a:spcBef>
                <a:spcPts val="0"/>
              </a:spcBef>
              <a:spcAft>
                <a:spcPts val="450"/>
              </a:spcAft>
            </a:pPr>
            <a:r>
              <a:rPr lang="en-US" sz="1150" b="1" dirty="0">
                <a:solidFill>
                  <a:schemeClr val="accent3"/>
                </a:solidFill>
              </a:rPr>
              <a:t>Background of merger</a:t>
            </a:r>
          </a:p>
          <a:p>
            <a:pPr lvl="1">
              <a:spcBef>
                <a:spcPts val="0"/>
              </a:spcBef>
              <a:spcAft>
                <a:spcPts val="450"/>
              </a:spcAft>
            </a:pPr>
            <a:r>
              <a:rPr lang="en-US" sz="1150" dirty="0"/>
              <a:t>Strategic rationale for the deal was to acquire a larger branch network, and a profitable SME business franchise</a:t>
            </a:r>
          </a:p>
          <a:p>
            <a:pPr lvl="1">
              <a:spcBef>
                <a:spcPts val="0"/>
              </a:spcBef>
              <a:spcAft>
                <a:spcPts val="450"/>
              </a:spcAft>
            </a:pPr>
            <a:r>
              <a:rPr lang="en-US" sz="1150" dirty="0"/>
              <a:t>Kept an aggressive target of completing integration in 12 months</a:t>
            </a:r>
          </a:p>
        </p:txBody>
      </p:sp>
      <p:sp>
        <p:nvSpPr>
          <p:cNvPr id="29" name="Rectangle 286"/>
          <p:cNvSpPr txBox="1">
            <a:spLocks noChangeArrowheads="1"/>
          </p:cNvSpPr>
          <p:nvPr/>
        </p:nvSpPr>
        <p:spPr bwMode="auto">
          <a:xfrm>
            <a:off x="5985773" y="3099700"/>
            <a:ext cx="2699906" cy="77200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indent="0" algn="l" defTabSz="895350" rtl="0" eaLnBrk="1" fontAlgn="base" hangingPunct="1">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pPr>
              <a:spcBef>
                <a:spcPts val="0"/>
              </a:spcBef>
              <a:spcAft>
                <a:spcPts val="450"/>
              </a:spcAft>
            </a:pPr>
            <a:r>
              <a:rPr lang="en-US" sz="1150" b="1" dirty="0">
                <a:solidFill>
                  <a:schemeClr val="accent3"/>
                </a:solidFill>
              </a:rPr>
              <a:t>IT &amp; Ops integration</a:t>
            </a:r>
          </a:p>
          <a:p>
            <a:pPr lvl="1">
              <a:spcBef>
                <a:spcPts val="0"/>
              </a:spcBef>
              <a:spcAft>
                <a:spcPts val="450"/>
              </a:spcAft>
            </a:pPr>
            <a:r>
              <a:rPr lang="en-US" sz="1150" dirty="0"/>
              <a:t>While the acquiring bank retained its CBS vendor, it achieved ~20% improvement in its financial contract</a:t>
            </a:r>
          </a:p>
        </p:txBody>
      </p:sp>
      <p:sp>
        <p:nvSpPr>
          <p:cNvPr id="31" name="Rectangle 286"/>
          <p:cNvSpPr txBox="1">
            <a:spLocks noChangeArrowheads="1"/>
          </p:cNvSpPr>
          <p:nvPr/>
        </p:nvSpPr>
        <p:spPr bwMode="auto">
          <a:xfrm>
            <a:off x="242341" y="3807932"/>
            <a:ext cx="2596087" cy="21390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indent="0" algn="l" defTabSz="895350" rtl="0" eaLnBrk="1" fontAlgn="base" hangingPunct="1">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pPr>
              <a:spcBef>
                <a:spcPts val="0"/>
              </a:spcBef>
              <a:spcAft>
                <a:spcPts val="450"/>
              </a:spcAft>
            </a:pPr>
            <a:r>
              <a:rPr lang="en-US" sz="1150" b="1" dirty="0">
                <a:solidFill>
                  <a:schemeClr val="accent3"/>
                </a:solidFill>
              </a:rPr>
              <a:t>Complexity/Challenges</a:t>
            </a:r>
          </a:p>
          <a:p>
            <a:pPr lvl="1">
              <a:spcBef>
                <a:spcPts val="0"/>
              </a:spcBef>
              <a:spcAft>
                <a:spcPts val="450"/>
              </a:spcAft>
            </a:pPr>
            <a:r>
              <a:rPr lang="en-US" sz="1150" dirty="0"/>
              <a:t>The target bank had comparable size to the acquirer – balance sheet ~65%, headcount ~50%, branch network of </a:t>
            </a:r>
            <a:br>
              <a:rPr lang="en-US" sz="1150" dirty="0"/>
            </a:br>
            <a:r>
              <a:rPr lang="en-US" sz="1150" dirty="0"/>
              <a:t>comparable size</a:t>
            </a:r>
          </a:p>
          <a:p>
            <a:pPr lvl="1">
              <a:spcBef>
                <a:spcPts val="0"/>
              </a:spcBef>
              <a:spcAft>
                <a:spcPts val="450"/>
              </a:spcAft>
            </a:pPr>
            <a:r>
              <a:rPr lang="en-US" sz="1150" dirty="0"/>
              <a:t>Key IT systems were different</a:t>
            </a:r>
          </a:p>
          <a:p>
            <a:pPr lvl="1">
              <a:spcBef>
                <a:spcPts val="0"/>
              </a:spcBef>
              <a:spcAft>
                <a:spcPts val="450"/>
              </a:spcAft>
            </a:pPr>
            <a:r>
              <a:rPr lang="en-US" sz="1150" dirty="0"/>
              <a:t>Sharp difference in culture e.g. average experience of employees, style of performance management, unionized staff</a:t>
            </a:r>
          </a:p>
        </p:txBody>
      </p:sp>
      <p:sp>
        <p:nvSpPr>
          <p:cNvPr id="34" name="Rectangle 286"/>
          <p:cNvSpPr txBox="1">
            <a:spLocks noChangeArrowheads="1"/>
          </p:cNvSpPr>
          <p:nvPr/>
        </p:nvSpPr>
        <p:spPr bwMode="auto">
          <a:xfrm>
            <a:off x="5985773" y="4245940"/>
            <a:ext cx="2699906" cy="160813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indent="0" algn="l" defTabSz="895350" rtl="0" eaLnBrk="1" fontAlgn="base" hangingPunct="1">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pPr>
              <a:spcBef>
                <a:spcPts val="0"/>
              </a:spcBef>
              <a:spcAft>
                <a:spcPts val="450"/>
              </a:spcAft>
            </a:pPr>
            <a:r>
              <a:rPr lang="en-US" sz="1150" b="1" dirty="0">
                <a:solidFill>
                  <a:schemeClr val="accent3"/>
                </a:solidFill>
              </a:rPr>
              <a:t>Cultural integration</a:t>
            </a:r>
            <a:r>
              <a:rPr lang="en-US" sz="1150" dirty="0"/>
              <a:t> </a:t>
            </a:r>
          </a:p>
          <a:p>
            <a:pPr lvl="1">
              <a:spcBef>
                <a:spcPts val="0"/>
              </a:spcBef>
              <a:spcAft>
                <a:spcPts val="450"/>
              </a:spcAft>
            </a:pPr>
            <a:r>
              <a:rPr lang="en-US" sz="1150" dirty="0"/>
              <a:t>Cultural interventions were designed based on inputs form interviews with top 50 senior managers and ~17,000 employees</a:t>
            </a:r>
          </a:p>
          <a:p>
            <a:pPr lvl="1">
              <a:spcBef>
                <a:spcPts val="0"/>
              </a:spcBef>
              <a:spcAft>
                <a:spcPts val="450"/>
              </a:spcAft>
            </a:pPr>
            <a:r>
              <a:rPr lang="en-US" sz="1150" dirty="0"/>
              <a:t>Strong program ensured minimal attrition in key talent</a:t>
            </a:r>
          </a:p>
          <a:p>
            <a:pPr lvl="1">
              <a:spcBef>
                <a:spcPts val="0"/>
              </a:spcBef>
              <a:spcAft>
                <a:spcPts val="450"/>
              </a:spcAft>
            </a:pPr>
            <a:r>
              <a:rPr lang="en-US" sz="1150" dirty="0"/>
              <a:t>Smooth in-placement of surplus staff</a:t>
            </a:r>
          </a:p>
        </p:txBody>
      </p:sp>
      <p:cxnSp>
        <p:nvCxnSpPr>
          <p:cNvPr id="44" name="Straight Connector 43"/>
          <p:cNvCxnSpPr>
            <a:cxnSpLocks/>
          </p:cNvCxnSpPr>
          <p:nvPr/>
        </p:nvCxnSpPr>
        <p:spPr>
          <a:xfrm>
            <a:off x="242341" y="2095271"/>
            <a:ext cx="2596087" cy="0"/>
          </a:xfrm>
          <a:prstGeom prst="line">
            <a:avLst/>
          </a:prstGeom>
          <a:ln w="19050" cmpd="sng">
            <a:solidFill>
              <a:srgbClr val="808080"/>
            </a:solidFill>
            <a:prstDash val="sysDot"/>
          </a:ln>
        </p:spPr>
        <p:style>
          <a:lnRef idx="1">
            <a:schemeClr val="accent1"/>
          </a:lnRef>
          <a:fillRef idx="0">
            <a:schemeClr val="accent1"/>
          </a:fillRef>
          <a:effectRef idx="0">
            <a:schemeClr val="accent1"/>
          </a:effectRef>
          <a:fontRef idx="minor">
            <a:schemeClr val="tx1"/>
          </a:fontRef>
        </p:style>
      </p:cxnSp>
      <p:cxnSp>
        <p:nvCxnSpPr>
          <p:cNvPr id="46" name="Straight Connector 45"/>
          <p:cNvCxnSpPr>
            <a:cxnSpLocks/>
          </p:cNvCxnSpPr>
          <p:nvPr/>
        </p:nvCxnSpPr>
        <p:spPr>
          <a:xfrm>
            <a:off x="5985773" y="2898129"/>
            <a:ext cx="2699906" cy="0"/>
          </a:xfrm>
          <a:prstGeom prst="line">
            <a:avLst/>
          </a:prstGeom>
          <a:ln w="19050" cmpd="sng">
            <a:solidFill>
              <a:srgbClr val="808080"/>
            </a:solidFill>
            <a:prstDash val="sysDot"/>
          </a:ln>
        </p:spPr>
        <p:style>
          <a:lnRef idx="1">
            <a:schemeClr val="accent1"/>
          </a:lnRef>
          <a:fillRef idx="0">
            <a:schemeClr val="accent1"/>
          </a:fillRef>
          <a:effectRef idx="0">
            <a:schemeClr val="accent1"/>
          </a:effectRef>
          <a:fontRef idx="minor">
            <a:schemeClr val="tx1"/>
          </a:fontRef>
        </p:style>
      </p:cxnSp>
      <p:cxnSp>
        <p:nvCxnSpPr>
          <p:cNvPr id="47" name="Straight Connector 46"/>
          <p:cNvCxnSpPr>
            <a:cxnSpLocks/>
          </p:cNvCxnSpPr>
          <p:nvPr/>
        </p:nvCxnSpPr>
        <p:spPr>
          <a:xfrm>
            <a:off x="242341" y="3702211"/>
            <a:ext cx="2596087" cy="0"/>
          </a:xfrm>
          <a:prstGeom prst="line">
            <a:avLst/>
          </a:prstGeom>
          <a:ln w="19050" cmpd="sng">
            <a:solidFill>
              <a:srgbClr val="808080"/>
            </a:solidFill>
            <a:prstDash val="sysDot"/>
          </a:ln>
        </p:spPr>
        <p:style>
          <a:lnRef idx="1">
            <a:schemeClr val="accent1"/>
          </a:lnRef>
          <a:fillRef idx="0">
            <a:schemeClr val="accent1"/>
          </a:fillRef>
          <a:effectRef idx="0">
            <a:schemeClr val="accent1"/>
          </a:effectRef>
          <a:fontRef idx="minor">
            <a:schemeClr val="tx1"/>
          </a:fontRef>
        </p:style>
      </p:cxnSp>
      <p:cxnSp>
        <p:nvCxnSpPr>
          <p:cNvPr id="49" name="Straight Connector 48"/>
          <p:cNvCxnSpPr>
            <a:cxnSpLocks/>
          </p:cNvCxnSpPr>
          <p:nvPr/>
        </p:nvCxnSpPr>
        <p:spPr>
          <a:xfrm>
            <a:off x="5985773" y="4044369"/>
            <a:ext cx="2699906" cy="0"/>
          </a:xfrm>
          <a:prstGeom prst="line">
            <a:avLst/>
          </a:prstGeom>
          <a:ln w="19050" cmpd="sng">
            <a:solidFill>
              <a:srgbClr val="808080"/>
            </a:solidFill>
            <a:prstDash val="sysDot"/>
          </a:ln>
        </p:spPr>
        <p:style>
          <a:lnRef idx="1">
            <a:schemeClr val="accent1"/>
          </a:lnRef>
          <a:fillRef idx="0">
            <a:schemeClr val="accent1"/>
          </a:fillRef>
          <a:effectRef idx="0">
            <a:schemeClr val="accent1"/>
          </a:effectRef>
          <a:fontRef idx="minor">
            <a:schemeClr val="tx1"/>
          </a:fontRef>
        </p:style>
      </p:cxnSp>
      <p:sp>
        <p:nvSpPr>
          <p:cNvPr id="36" name="Oval 35"/>
          <p:cNvSpPr>
            <a:spLocks/>
          </p:cNvSpPr>
          <p:nvPr/>
        </p:nvSpPr>
        <p:spPr>
          <a:xfrm>
            <a:off x="3183584" y="1382441"/>
            <a:ext cx="190973" cy="184451"/>
          </a:xfrm>
          <a:prstGeom prst="ellipse">
            <a:avLst/>
          </a:prstGeom>
          <a:ln/>
        </p:spPr>
        <p:style>
          <a:lnRef idx="1">
            <a:schemeClr val="accent4"/>
          </a:lnRef>
          <a:fillRef idx="3">
            <a:schemeClr val="accent4"/>
          </a:fillRef>
          <a:effectRef idx="2">
            <a:schemeClr val="accent4"/>
          </a:effectRef>
          <a:fontRef idx="minor">
            <a:schemeClr val="lt1"/>
          </a:fontRef>
        </p:style>
        <p:txBody>
          <a:bodyPr rtlCol="0" anchor="ctr">
            <a:noAutofit/>
          </a:bodyPr>
          <a:lstStyle/>
          <a:p>
            <a:pPr algn="ctr"/>
            <a:r>
              <a:rPr lang="en-GB" sz="1150" b="1" dirty="0">
                <a:solidFill>
                  <a:schemeClr val="bg1"/>
                </a:solidFill>
              </a:rPr>
              <a:t>1</a:t>
            </a:r>
          </a:p>
        </p:txBody>
      </p:sp>
      <p:sp>
        <p:nvSpPr>
          <p:cNvPr id="37" name="Oval 36"/>
          <p:cNvSpPr>
            <a:spLocks/>
          </p:cNvSpPr>
          <p:nvPr/>
        </p:nvSpPr>
        <p:spPr>
          <a:xfrm>
            <a:off x="3183584" y="1788310"/>
            <a:ext cx="190973" cy="184451"/>
          </a:xfrm>
          <a:prstGeom prst="ellipse">
            <a:avLst/>
          </a:prstGeom>
          <a:ln/>
        </p:spPr>
        <p:style>
          <a:lnRef idx="1">
            <a:schemeClr val="accent4"/>
          </a:lnRef>
          <a:fillRef idx="3">
            <a:schemeClr val="accent4"/>
          </a:fillRef>
          <a:effectRef idx="2">
            <a:schemeClr val="accent4"/>
          </a:effectRef>
          <a:fontRef idx="minor">
            <a:schemeClr val="lt1"/>
          </a:fontRef>
        </p:style>
        <p:txBody>
          <a:bodyPr rtlCol="0" anchor="ctr">
            <a:noAutofit/>
          </a:bodyPr>
          <a:lstStyle/>
          <a:p>
            <a:pPr algn="ctr"/>
            <a:r>
              <a:rPr lang="en-GB" sz="1150" b="1" dirty="0">
                <a:solidFill>
                  <a:schemeClr val="bg1"/>
                </a:solidFill>
              </a:rPr>
              <a:t>2</a:t>
            </a:r>
          </a:p>
        </p:txBody>
      </p:sp>
      <p:sp>
        <p:nvSpPr>
          <p:cNvPr id="38" name="Oval 37"/>
          <p:cNvSpPr>
            <a:spLocks/>
          </p:cNvSpPr>
          <p:nvPr/>
        </p:nvSpPr>
        <p:spPr>
          <a:xfrm>
            <a:off x="3183584" y="2523989"/>
            <a:ext cx="190973" cy="184451"/>
          </a:xfrm>
          <a:prstGeom prst="ellipse">
            <a:avLst/>
          </a:prstGeom>
          <a:ln/>
        </p:spPr>
        <p:style>
          <a:lnRef idx="1">
            <a:schemeClr val="accent4"/>
          </a:lnRef>
          <a:fillRef idx="3">
            <a:schemeClr val="accent4"/>
          </a:fillRef>
          <a:effectRef idx="2">
            <a:schemeClr val="accent4"/>
          </a:effectRef>
          <a:fontRef idx="minor">
            <a:schemeClr val="lt1"/>
          </a:fontRef>
        </p:style>
        <p:txBody>
          <a:bodyPr rtlCol="0" anchor="ctr">
            <a:noAutofit/>
          </a:bodyPr>
          <a:lstStyle/>
          <a:p>
            <a:pPr algn="ctr"/>
            <a:r>
              <a:rPr lang="en-US" sz="1150" b="1" dirty="0">
                <a:solidFill>
                  <a:schemeClr val="bg1"/>
                </a:solidFill>
              </a:rPr>
              <a:t>3</a:t>
            </a:r>
            <a:endParaRPr lang="en-GB" sz="1150" b="1" dirty="0">
              <a:solidFill>
                <a:schemeClr val="bg1"/>
              </a:solidFill>
            </a:endParaRPr>
          </a:p>
        </p:txBody>
      </p:sp>
      <p:sp>
        <p:nvSpPr>
          <p:cNvPr id="32" name="Oval 31"/>
          <p:cNvSpPr>
            <a:spLocks/>
          </p:cNvSpPr>
          <p:nvPr/>
        </p:nvSpPr>
        <p:spPr>
          <a:xfrm>
            <a:off x="3183584" y="3118900"/>
            <a:ext cx="190973" cy="184451"/>
          </a:xfrm>
          <a:prstGeom prst="ellipse">
            <a:avLst/>
          </a:prstGeom>
          <a:ln/>
        </p:spPr>
        <p:style>
          <a:lnRef idx="1">
            <a:schemeClr val="accent4"/>
          </a:lnRef>
          <a:fillRef idx="3">
            <a:schemeClr val="accent4"/>
          </a:fillRef>
          <a:effectRef idx="2">
            <a:schemeClr val="accent4"/>
          </a:effectRef>
          <a:fontRef idx="minor">
            <a:schemeClr val="lt1"/>
          </a:fontRef>
        </p:style>
        <p:txBody>
          <a:bodyPr rtlCol="0" anchor="ctr">
            <a:noAutofit/>
          </a:bodyPr>
          <a:lstStyle/>
          <a:p>
            <a:pPr algn="ctr"/>
            <a:r>
              <a:rPr lang="en-US" sz="1150" b="1" dirty="0">
                <a:solidFill>
                  <a:schemeClr val="bg1"/>
                </a:solidFill>
              </a:rPr>
              <a:t>4</a:t>
            </a:r>
            <a:endParaRPr lang="en-GB" sz="1150" b="1" dirty="0">
              <a:solidFill>
                <a:schemeClr val="bg1"/>
              </a:solidFill>
            </a:endParaRPr>
          </a:p>
        </p:txBody>
      </p:sp>
      <p:sp>
        <p:nvSpPr>
          <p:cNvPr id="35" name="Oval 34"/>
          <p:cNvSpPr>
            <a:spLocks/>
          </p:cNvSpPr>
          <p:nvPr/>
        </p:nvSpPr>
        <p:spPr>
          <a:xfrm>
            <a:off x="3183584" y="5651281"/>
            <a:ext cx="190973" cy="184451"/>
          </a:xfrm>
          <a:prstGeom prst="ellipse">
            <a:avLst/>
          </a:prstGeom>
          <a:ln/>
        </p:spPr>
        <p:style>
          <a:lnRef idx="1">
            <a:schemeClr val="accent4"/>
          </a:lnRef>
          <a:fillRef idx="3">
            <a:schemeClr val="accent4"/>
          </a:fillRef>
          <a:effectRef idx="2">
            <a:schemeClr val="accent4"/>
          </a:effectRef>
          <a:fontRef idx="minor">
            <a:schemeClr val="lt1"/>
          </a:fontRef>
        </p:style>
        <p:txBody>
          <a:bodyPr rtlCol="0" anchor="ctr">
            <a:noAutofit/>
          </a:bodyPr>
          <a:lstStyle/>
          <a:p>
            <a:pPr algn="ctr"/>
            <a:r>
              <a:rPr lang="en-US" sz="1150" b="1" dirty="0">
                <a:solidFill>
                  <a:schemeClr val="bg1"/>
                </a:solidFill>
              </a:rPr>
              <a:t>7</a:t>
            </a:r>
            <a:endParaRPr lang="en-GB" sz="1150" b="1" dirty="0">
              <a:solidFill>
                <a:schemeClr val="bg1"/>
              </a:solidFill>
            </a:endParaRPr>
          </a:p>
        </p:txBody>
      </p:sp>
      <p:sp>
        <p:nvSpPr>
          <p:cNvPr id="41" name="Oval 40"/>
          <p:cNvSpPr>
            <a:spLocks/>
          </p:cNvSpPr>
          <p:nvPr/>
        </p:nvSpPr>
        <p:spPr>
          <a:xfrm>
            <a:off x="3183584" y="3861818"/>
            <a:ext cx="190973" cy="184451"/>
          </a:xfrm>
          <a:prstGeom prst="ellipse">
            <a:avLst/>
          </a:prstGeom>
          <a:ln/>
        </p:spPr>
        <p:style>
          <a:lnRef idx="1">
            <a:schemeClr val="accent4"/>
          </a:lnRef>
          <a:fillRef idx="3">
            <a:schemeClr val="accent4"/>
          </a:fillRef>
          <a:effectRef idx="2">
            <a:schemeClr val="accent4"/>
          </a:effectRef>
          <a:fontRef idx="minor">
            <a:schemeClr val="lt1"/>
          </a:fontRef>
        </p:style>
        <p:txBody>
          <a:bodyPr rtlCol="0" anchor="ctr">
            <a:noAutofit/>
          </a:bodyPr>
          <a:lstStyle/>
          <a:p>
            <a:pPr algn="ctr"/>
            <a:r>
              <a:rPr lang="en-US" sz="1150" b="1" dirty="0">
                <a:solidFill>
                  <a:schemeClr val="bg1"/>
                </a:solidFill>
              </a:rPr>
              <a:t>5</a:t>
            </a:r>
            <a:endParaRPr lang="en-GB" sz="1150" b="1" dirty="0">
              <a:solidFill>
                <a:schemeClr val="bg1"/>
              </a:solidFill>
            </a:endParaRPr>
          </a:p>
        </p:txBody>
      </p:sp>
      <p:sp>
        <p:nvSpPr>
          <p:cNvPr id="45" name="Oval 44"/>
          <p:cNvSpPr>
            <a:spLocks/>
          </p:cNvSpPr>
          <p:nvPr/>
        </p:nvSpPr>
        <p:spPr>
          <a:xfrm>
            <a:off x="3183584" y="4742980"/>
            <a:ext cx="190973" cy="184451"/>
          </a:xfrm>
          <a:prstGeom prst="ellipse">
            <a:avLst/>
          </a:prstGeom>
          <a:ln/>
        </p:spPr>
        <p:style>
          <a:lnRef idx="1">
            <a:schemeClr val="accent4"/>
          </a:lnRef>
          <a:fillRef idx="3">
            <a:schemeClr val="accent4"/>
          </a:fillRef>
          <a:effectRef idx="2">
            <a:schemeClr val="accent4"/>
          </a:effectRef>
          <a:fontRef idx="minor">
            <a:schemeClr val="lt1"/>
          </a:fontRef>
        </p:style>
        <p:txBody>
          <a:bodyPr rtlCol="0" anchor="ctr">
            <a:noAutofit/>
          </a:bodyPr>
          <a:lstStyle/>
          <a:p>
            <a:pPr algn="ctr"/>
            <a:r>
              <a:rPr lang="en-US" sz="1150" b="1" dirty="0">
                <a:solidFill>
                  <a:schemeClr val="bg1"/>
                </a:solidFill>
              </a:rPr>
              <a:t>6</a:t>
            </a:r>
            <a:endParaRPr lang="en-GB" sz="1150" b="1" dirty="0">
              <a:solidFill>
                <a:schemeClr val="bg1"/>
              </a:solidFill>
            </a:endParaRPr>
          </a:p>
        </p:txBody>
      </p:sp>
      <p:sp>
        <p:nvSpPr>
          <p:cNvPr id="40" name="5. Source"/>
          <p:cNvSpPr>
            <a:spLocks noChangeArrowheads="1"/>
          </p:cNvSpPr>
          <p:nvPr>
            <p:custDataLst>
              <p:tags r:id="rId9"/>
            </p:custDataLst>
          </p:nvPr>
        </p:nvSpPr>
        <p:spPr bwMode="gray">
          <a:xfrm>
            <a:off x="119063" y="6507558"/>
            <a:ext cx="7200000"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marL="609600" indent="-609600" defTabSz="895350">
              <a:tabLst>
                <a:tab pos="630238" algn="l"/>
              </a:tabLst>
            </a:pPr>
            <a:r>
              <a:rPr lang="en-US" sz="800" dirty="0">
                <a:solidFill>
                  <a:schemeClr val="accent6"/>
                </a:solidFill>
                <a:latin typeface="Arial" panose="020B0604020202020204" pitchFamily="34" charset="0"/>
              </a:rPr>
              <a:t>SOURCE: McKinsey Merger Management Practice</a:t>
            </a:r>
          </a:p>
        </p:txBody>
      </p:sp>
      <p:sp>
        <p:nvSpPr>
          <p:cNvPr id="43" name="Title Tracker Circle">
            <a:extLst>
              <a:ext uri="{FF2B5EF4-FFF2-40B4-BE49-F238E27FC236}">
                <a16:creationId xmlns:a16="http://schemas.microsoft.com/office/drawing/2014/main" id="{BB1C51A0-8095-4085-AF30-BB29AE650DD7}"/>
              </a:ext>
            </a:extLst>
          </p:cNvPr>
          <p:cNvSpPr/>
          <p:nvPr/>
        </p:nvSpPr>
        <p:spPr>
          <a:xfrm>
            <a:off x="119063" y="166736"/>
            <a:ext cx="418798" cy="418798"/>
          </a:xfrm>
          <a:prstGeom prst="ellipse">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p>
            <a:pPr algn="ctr"/>
            <a:r>
              <a:rPr lang="en-US" sz="2000" dirty="0">
                <a:solidFill>
                  <a:schemeClr val="tx2"/>
                </a:solidFill>
                <a:latin typeface="+mj-lt"/>
              </a:rPr>
              <a:t>3</a:t>
            </a:r>
          </a:p>
        </p:txBody>
      </p:sp>
    </p:spTree>
    <p:extLst>
      <p:ext uri="{BB962C8B-B14F-4D97-AF65-F5344CB8AC3E}">
        <p14:creationId xmlns:p14="http://schemas.microsoft.com/office/powerpoint/2010/main" val="307933751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257890379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81620" name="think-cell Slide" r:id="rId12" imgW="353" imgH="353" progId="TCLayout.ActiveDocument.1">
                  <p:embed/>
                </p:oleObj>
              </mc:Choice>
              <mc:Fallback>
                <p:oleObj name="think-cell Slide" r:id="rId12" imgW="353" imgH="353" progId="TCLayout.ActiveDocument.1">
                  <p:embed/>
                  <p:pic>
                    <p:nvPicPr>
                      <p:cNvPr id="5" name="Object 4" hidden="1"/>
                      <p:cNvPicPr/>
                      <p:nvPr/>
                    </p:nvPicPr>
                    <p:blipFill>
                      <a:blip r:embed="rId13"/>
                      <a:stretch>
                        <a:fillRect/>
                      </a:stretch>
                    </p:blipFill>
                    <p:spPr>
                      <a:xfrm>
                        <a:off x="1588" y="1588"/>
                        <a:ext cx="1587" cy="1587"/>
                      </a:xfrm>
                      <a:prstGeom prst="rect">
                        <a:avLst/>
                      </a:prstGeom>
                    </p:spPr>
                  </p:pic>
                </p:oleObj>
              </mc:Fallback>
            </mc:AlternateContent>
          </a:graphicData>
        </a:graphic>
      </p:graphicFrame>
      <p:sp>
        <p:nvSpPr>
          <p:cNvPr id="4" name="Rectangle 3" hidden="1"/>
          <p:cNvSpPr/>
          <p:nvPr>
            <p:custDataLst>
              <p:tags r:id="rId3"/>
            </p:custDataLst>
          </p:nvPr>
        </p:nvSpPr>
        <p:spPr bwMode="auto">
          <a:xfrm>
            <a:off x="0" y="0"/>
            <a:ext cx="158750" cy="158750"/>
          </a:xfrm>
          <a:prstGeom prst="rect">
            <a:avLst/>
          </a:prstGeom>
          <a:solidFill>
            <a:schemeClr val="bg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2800" dirty="0">
              <a:solidFill>
                <a:schemeClr val="tx1"/>
              </a:solidFill>
              <a:latin typeface="Arial" panose="020B0604020202020204" pitchFamily="34" charset="0"/>
              <a:sym typeface="Arial" panose="020B0604020202020204" pitchFamily="34" charset="0"/>
            </a:endParaRPr>
          </a:p>
        </p:txBody>
      </p:sp>
      <p:sp>
        <p:nvSpPr>
          <p:cNvPr id="2" name="Title 1"/>
          <p:cNvSpPr>
            <a:spLocks noGrp="1"/>
          </p:cNvSpPr>
          <p:nvPr>
            <p:ph type="title"/>
          </p:nvPr>
        </p:nvSpPr>
        <p:spPr bwMode="black">
          <a:xfrm>
            <a:off x="119063" y="230188"/>
            <a:ext cx="8618537" cy="307777"/>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r>
              <a:rPr lang="en-US" dirty="0"/>
              <a:t>Contents</a:t>
            </a:r>
          </a:p>
        </p:txBody>
      </p:sp>
      <p:sp>
        <p:nvSpPr>
          <p:cNvPr id="32" name="Text Placeholder 2">
            <a:hlinkClick r:id="rId14" action="ppaction://hlinksldjump"/>
            <a:extLst>
              <a:ext uri="{FF2B5EF4-FFF2-40B4-BE49-F238E27FC236}">
                <a16:creationId xmlns:a16="http://schemas.microsoft.com/office/drawing/2014/main" id="{87623098-5B46-4FB7-8F48-9AA358DE1887}"/>
              </a:ext>
            </a:extLst>
          </p:cNvPr>
          <p:cNvSpPr>
            <a:spLocks noGrp="1"/>
          </p:cNvSpPr>
          <p:nvPr>
            <p:custDataLst>
              <p:tags r:id="rId4"/>
            </p:custDataLst>
          </p:nvPr>
        </p:nvSpPr>
        <p:spPr bwMode="black">
          <a:xfrm>
            <a:off x="125403" y="1225550"/>
            <a:ext cx="6842125" cy="712788"/>
          </a:xfrm>
          <a:prstGeom prst="rect">
            <a:avLst/>
          </a:prstGeom>
          <a:noFill/>
          <a:ln w="9525">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bg2"/>
                </a:solidFill>
              </a14:hiddenLine>
            </a:ext>
          </a:extLst>
        </p:spPr>
        <p:txBody>
          <a:bodyPr vert="horz" wrap="square" lIns="142875" tIns="142875" rIns="0" bIns="142875" numCol="1" spcCol="0" rtlCol="0" anchor="ctr" anchorCtr="0">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buClr>
                <a:schemeClr val="bg1"/>
              </a:buClr>
            </a:pPr>
            <a:r>
              <a:rPr lang="en-US" sz="2800" dirty="0">
                <a:solidFill>
                  <a:schemeClr val="bg1"/>
                </a:solidFill>
                <a:sym typeface="+mn-lt"/>
              </a:rPr>
              <a:t>1. Integration expertise</a:t>
            </a:r>
          </a:p>
        </p:txBody>
      </p:sp>
      <p:sp>
        <p:nvSpPr>
          <p:cNvPr id="12" name="Text Placeholder 2">
            <a:extLst>
              <a:ext uri="{FF2B5EF4-FFF2-40B4-BE49-F238E27FC236}">
                <a16:creationId xmlns:a16="http://schemas.microsoft.com/office/drawing/2014/main" id="{1DD32C81-A645-4DC6-81B8-111433E531C3}"/>
              </a:ext>
            </a:extLst>
          </p:cNvPr>
          <p:cNvSpPr>
            <a:spLocks noGrp="1"/>
          </p:cNvSpPr>
          <p:nvPr>
            <p:custDataLst>
              <p:tags r:id="rId5"/>
            </p:custDataLst>
          </p:nvPr>
        </p:nvSpPr>
        <p:spPr bwMode="black">
          <a:xfrm>
            <a:off x="125413" y="1938338"/>
            <a:ext cx="6842125" cy="711200"/>
          </a:xfrm>
          <a:prstGeom prst="rect">
            <a:avLst/>
          </a:prstGeom>
          <a:noFill/>
          <a:ln w="9525">
            <a:solidFill>
              <a:schemeClr val="bg2"/>
            </a:solidFill>
          </a:ln>
          <a:extLst>
            <a:ext uri="{909E8E84-426E-40DD-AFC4-6F175D3DCCD1}">
              <a14:hiddenFill xmlns:a14="http://schemas.microsoft.com/office/drawing/2010/main">
                <a:solidFill>
                  <a:schemeClr val="accent1"/>
                </a:solidFill>
              </a14:hiddenFill>
            </a:ext>
          </a:extLst>
        </p:spPr>
        <p:txBody>
          <a:bodyPr vert="horz" wrap="square" lIns="142875" tIns="141288" rIns="0" bIns="142875" numCol="1" spcCol="0" rtlCol="0" anchor="ctr" anchorCtr="0">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defTabSz="914400">
              <a:buClr>
                <a:schemeClr val="bg1"/>
              </a:buClr>
            </a:pPr>
            <a:r>
              <a:rPr lang="en-US" altLang="en-US" sz="2800" dirty="0">
                <a:solidFill>
                  <a:schemeClr val="bg1"/>
                </a:solidFill>
              </a:rPr>
              <a:t>2. Lessons &amp; tools</a:t>
            </a:r>
            <a:endParaRPr lang="en-US" sz="2800" dirty="0">
              <a:solidFill>
                <a:schemeClr val="bg1"/>
              </a:solidFill>
              <a:latin typeface="Arial" charset="0"/>
              <a:sym typeface="+mn-lt"/>
            </a:endParaRPr>
          </a:p>
        </p:txBody>
      </p:sp>
      <p:sp>
        <p:nvSpPr>
          <p:cNvPr id="15" name="Text Placeholder 2">
            <a:hlinkClick r:id="rId15" action="ppaction://hlinksldjump"/>
            <a:extLst>
              <a:ext uri="{FF2B5EF4-FFF2-40B4-BE49-F238E27FC236}">
                <a16:creationId xmlns:a16="http://schemas.microsoft.com/office/drawing/2014/main" id="{55FC0CF9-E73A-4287-B9B3-BEC3538AAFCD}"/>
              </a:ext>
            </a:extLst>
          </p:cNvPr>
          <p:cNvSpPr>
            <a:spLocks noGrp="1"/>
          </p:cNvSpPr>
          <p:nvPr>
            <p:custDataLst>
              <p:tags r:id="rId6"/>
            </p:custDataLst>
          </p:nvPr>
        </p:nvSpPr>
        <p:spPr bwMode="black">
          <a:xfrm>
            <a:off x="125413" y="2649538"/>
            <a:ext cx="6842125" cy="711200"/>
          </a:xfrm>
          <a:prstGeom prst="rect">
            <a:avLst/>
          </a:prstGeom>
          <a:noFill/>
          <a:ln w="9525">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bg2"/>
                </a:solidFill>
              </a14:hiddenLine>
            </a:ext>
          </a:extLst>
        </p:spPr>
        <p:txBody>
          <a:bodyPr vert="horz" wrap="square" lIns="142875" tIns="141288" rIns="0" bIns="142875" numCol="1" spcCol="0" rtlCol="0" anchor="ctr" anchorCtr="0">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defTabSz="914400">
              <a:buClr>
                <a:schemeClr val="bg1"/>
              </a:buClr>
            </a:pPr>
            <a:r>
              <a:rPr lang="en-US" altLang="en-US" sz="2800" dirty="0">
                <a:solidFill>
                  <a:schemeClr val="bg1"/>
                </a:solidFill>
              </a:rPr>
              <a:t>3. Distinctive team</a:t>
            </a:r>
            <a:endParaRPr lang="en-US" sz="2800" dirty="0">
              <a:solidFill>
                <a:schemeClr val="bg1"/>
              </a:solidFill>
              <a:latin typeface="Arial" charset="0"/>
              <a:sym typeface="+mn-lt"/>
            </a:endParaRPr>
          </a:p>
        </p:txBody>
      </p:sp>
      <p:sp>
        <p:nvSpPr>
          <p:cNvPr id="17" name="Text Placeholder 2">
            <a:hlinkClick r:id="rId16" action="ppaction://hlinksldjump"/>
            <a:extLst>
              <a:ext uri="{FF2B5EF4-FFF2-40B4-BE49-F238E27FC236}">
                <a16:creationId xmlns:a16="http://schemas.microsoft.com/office/drawing/2014/main" id="{94EBE69F-D65F-4D3C-B1BB-B26022D109B3}"/>
              </a:ext>
            </a:extLst>
          </p:cNvPr>
          <p:cNvSpPr>
            <a:spLocks noGrp="1"/>
          </p:cNvSpPr>
          <p:nvPr>
            <p:custDataLst>
              <p:tags r:id="rId7"/>
            </p:custDataLst>
          </p:nvPr>
        </p:nvSpPr>
        <p:spPr bwMode="black">
          <a:xfrm>
            <a:off x="125412" y="3360738"/>
            <a:ext cx="6842125" cy="711200"/>
          </a:xfrm>
          <a:prstGeom prst="rect">
            <a:avLst/>
          </a:prstGeom>
          <a:noFill/>
          <a:ln w="9525">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bg2"/>
                </a:solidFill>
              </a14:hiddenLine>
            </a:ext>
          </a:extLst>
        </p:spPr>
        <p:txBody>
          <a:bodyPr vert="horz" wrap="square" lIns="142875" tIns="142875" rIns="0" bIns="141288" numCol="1" spcCol="0" rtlCol="0" anchor="ctr" anchorCtr="0">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defTabSz="914400">
              <a:buClr>
                <a:schemeClr val="bg1"/>
              </a:buClr>
            </a:pPr>
            <a:r>
              <a:rPr lang="en-US" altLang="en-US" sz="2800" dirty="0">
                <a:solidFill>
                  <a:schemeClr val="bg1"/>
                </a:solidFill>
              </a:rPr>
              <a:t>4. Turnaround experience &amp; methodology</a:t>
            </a:r>
            <a:endParaRPr lang="en-US" sz="2800" dirty="0">
              <a:solidFill>
                <a:schemeClr val="bg1"/>
              </a:solidFill>
              <a:latin typeface="Arial" charset="0"/>
              <a:sym typeface="+mn-lt"/>
            </a:endParaRPr>
          </a:p>
        </p:txBody>
      </p:sp>
      <p:sp>
        <p:nvSpPr>
          <p:cNvPr id="16" name="Text Placeholder 2">
            <a:hlinkClick r:id="rId17" action="ppaction://hlinksldjump"/>
            <a:extLst>
              <a:ext uri="{FF2B5EF4-FFF2-40B4-BE49-F238E27FC236}">
                <a16:creationId xmlns:a16="http://schemas.microsoft.com/office/drawing/2014/main" id="{B92A4BE2-6AD6-47BE-8573-4B8465CD1314}"/>
              </a:ext>
            </a:extLst>
          </p:cNvPr>
          <p:cNvSpPr>
            <a:spLocks noGrp="1"/>
          </p:cNvSpPr>
          <p:nvPr>
            <p:custDataLst>
              <p:tags r:id="rId8"/>
            </p:custDataLst>
          </p:nvPr>
        </p:nvSpPr>
        <p:spPr bwMode="black">
          <a:xfrm>
            <a:off x="125412" y="4071938"/>
            <a:ext cx="6842125" cy="711200"/>
          </a:xfrm>
          <a:prstGeom prst="rect">
            <a:avLst/>
          </a:prstGeom>
          <a:noFill/>
          <a:ln w="9525">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bg2"/>
                </a:solidFill>
              </a14:hiddenLine>
            </a:ext>
          </a:extLst>
        </p:spPr>
        <p:txBody>
          <a:bodyPr vert="horz" wrap="square" lIns="142875" tIns="142875" rIns="0" bIns="141288" numCol="1" spcCol="0" rtlCol="0" anchor="ctr" anchorCtr="0">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defTabSz="914400">
              <a:buClr>
                <a:schemeClr val="bg1"/>
              </a:buClr>
            </a:pPr>
            <a:r>
              <a:rPr lang="en-US" altLang="en-US" sz="2800" dirty="0">
                <a:solidFill>
                  <a:schemeClr val="bg1"/>
                </a:solidFill>
              </a:rPr>
              <a:t>5. Functional depth</a:t>
            </a:r>
            <a:endParaRPr lang="en-US" sz="2800" dirty="0">
              <a:solidFill>
                <a:schemeClr val="bg1"/>
              </a:solidFill>
              <a:latin typeface="Arial" charset="0"/>
              <a:sym typeface="+mn-lt"/>
            </a:endParaRPr>
          </a:p>
        </p:txBody>
      </p:sp>
      <p:sp>
        <p:nvSpPr>
          <p:cNvPr id="20" name="Text Placeholder 2">
            <a:hlinkClick r:id="rId18" action="ppaction://hlinksldjump"/>
            <a:extLst>
              <a:ext uri="{FF2B5EF4-FFF2-40B4-BE49-F238E27FC236}">
                <a16:creationId xmlns:a16="http://schemas.microsoft.com/office/drawing/2014/main" id="{2687C0A8-05B9-4504-9943-F2975A18E636}"/>
              </a:ext>
            </a:extLst>
          </p:cNvPr>
          <p:cNvSpPr>
            <a:spLocks noGrp="1"/>
          </p:cNvSpPr>
          <p:nvPr>
            <p:custDataLst>
              <p:tags r:id="rId9"/>
            </p:custDataLst>
          </p:nvPr>
        </p:nvSpPr>
        <p:spPr bwMode="black">
          <a:xfrm>
            <a:off x="125412" y="4783138"/>
            <a:ext cx="6842125" cy="712788"/>
          </a:xfrm>
          <a:prstGeom prst="rect">
            <a:avLst/>
          </a:prstGeom>
          <a:noFill/>
          <a:ln w="9525">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bg2"/>
                </a:solidFill>
              </a14:hiddenLine>
            </a:ext>
          </a:extLst>
        </p:spPr>
        <p:txBody>
          <a:bodyPr vert="horz" wrap="square" lIns="142875" tIns="142875" rIns="0" bIns="142875" numCol="1" spcCol="0" rtlCol="0" anchor="ctr" anchorCtr="0">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defTabSz="914400">
              <a:buClr>
                <a:schemeClr val="bg1"/>
              </a:buClr>
            </a:pPr>
            <a:r>
              <a:rPr lang="en-US" altLang="en-US" sz="2800" dirty="0">
                <a:solidFill>
                  <a:schemeClr val="bg1"/>
                </a:solidFill>
              </a:rPr>
              <a:t>6. Industry expertise</a:t>
            </a:r>
            <a:endParaRPr lang="en-US" sz="2800" dirty="0">
              <a:solidFill>
                <a:schemeClr val="bg1"/>
              </a:solidFill>
              <a:latin typeface="Arial" charset="0"/>
              <a:sym typeface="+mn-lt"/>
            </a:endParaRPr>
          </a:p>
        </p:txBody>
      </p:sp>
    </p:spTree>
    <p:extLst>
      <p:ext uri="{BB962C8B-B14F-4D97-AF65-F5344CB8AC3E}">
        <p14:creationId xmlns:p14="http://schemas.microsoft.com/office/powerpoint/2010/main" val="272828650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6" name="Object 25"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66260" name="think-cell Slide" r:id="rId5" imgW="353" imgH="353" progId="TCLayout.ActiveDocument.1">
                  <p:embed/>
                </p:oleObj>
              </mc:Choice>
              <mc:Fallback>
                <p:oleObj name="think-cell Slide" r:id="rId5" imgW="353" imgH="353" progId="TCLayout.ActiveDocument.1">
                  <p:embed/>
                  <p:pic>
                    <p:nvPicPr>
                      <p:cNvPr id="26" name="Object 25"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7" name="Rectangle 46"/>
          <p:cNvSpPr>
            <a:spLocks/>
          </p:cNvSpPr>
          <p:nvPr/>
        </p:nvSpPr>
        <p:spPr>
          <a:xfrm>
            <a:off x="119063" y="653341"/>
            <a:ext cx="8618537" cy="5753590"/>
          </a:xfrm>
          <a:prstGeom prst="rect">
            <a:avLst/>
          </a:prstGeom>
          <a:solidFill>
            <a:schemeClr val="bg1"/>
          </a:solidFill>
          <a:ln w="19050">
            <a:solidFill>
              <a:schemeClr val="accent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6" name="Title 5">
            <a:extLst>
              <a:ext uri="{FF2B5EF4-FFF2-40B4-BE49-F238E27FC236}">
                <a16:creationId xmlns:a16="http://schemas.microsoft.com/office/drawing/2014/main" id="{5A91803C-0DD9-47BB-8CC8-61FB4C33BA45}"/>
              </a:ext>
            </a:extLst>
          </p:cNvPr>
          <p:cNvSpPr>
            <a:spLocks noGrp="1"/>
          </p:cNvSpPr>
          <p:nvPr>
            <p:ph type="title"/>
          </p:nvPr>
        </p:nvSpPr>
        <p:spPr>
          <a:xfrm>
            <a:off x="119063" y="230188"/>
            <a:ext cx="8618537" cy="307777"/>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r>
              <a:rPr lang="en-US" dirty="0"/>
              <a:t>We bring experience, knowledge, and capabilities to integrations</a:t>
            </a:r>
            <a:endParaRPr lang="en-GB" dirty="0"/>
          </a:p>
        </p:txBody>
      </p:sp>
      <p:sp>
        <p:nvSpPr>
          <p:cNvPr id="71" name="TextBox 70"/>
          <p:cNvSpPr txBox="1">
            <a:spLocks/>
          </p:cNvSpPr>
          <p:nvPr/>
        </p:nvSpPr>
        <p:spPr>
          <a:xfrm>
            <a:off x="203972" y="3244878"/>
            <a:ext cx="1918140" cy="637867"/>
          </a:xfrm>
          <a:prstGeom prst="rect">
            <a:avLst/>
          </a:prstGeom>
          <a:solidFill>
            <a:schemeClr val="accent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defPPr>
              <a:defRPr lang="en-US"/>
            </a:defPPr>
            <a:lvl1pPr algn="ctr">
              <a:defRPr sz="1400">
                <a:latin typeface="+mn-lt"/>
              </a:defRPr>
            </a:lvl1pPr>
            <a:lvl2pPr>
              <a:defRPr>
                <a:solidFill>
                  <a:schemeClr val="lt1"/>
                </a:solidFill>
                <a:latin typeface="+mn-lt"/>
              </a:defRPr>
            </a:lvl2pPr>
            <a:lvl3pPr>
              <a:defRPr>
                <a:solidFill>
                  <a:schemeClr val="lt1"/>
                </a:solidFill>
                <a:latin typeface="+mn-lt"/>
              </a:defRPr>
            </a:lvl3pPr>
            <a:lvl4pPr>
              <a:defRPr>
                <a:solidFill>
                  <a:schemeClr val="lt1"/>
                </a:solidFill>
                <a:latin typeface="+mn-lt"/>
              </a:defRPr>
            </a:lvl4pPr>
            <a:lvl5pPr>
              <a:defRPr>
                <a:solidFill>
                  <a:schemeClr val="lt1"/>
                </a:solidFill>
                <a:latin typeface="+mn-lt"/>
              </a:defRPr>
            </a:lvl5pPr>
            <a:lvl6pPr>
              <a:defRPr>
                <a:solidFill>
                  <a:schemeClr val="lt1"/>
                </a:solidFill>
                <a:latin typeface="+mn-lt"/>
              </a:defRPr>
            </a:lvl6pPr>
            <a:lvl7pPr>
              <a:defRPr>
                <a:solidFill>
                  <a:schemeClr val="lt1"/>
                </a:solidFill>
                <a:latin typeface="+mn-lt"/>
              </a:defRPr>
            </a:lvl7pPr>
            <a:lvl8pPr>
              <a:defRPr>
                <a:solidFill>
                  <a:schemeClr val="lt1"/>
                </a:solidFill>
                <a:latin typeface="+mn-lt"/>
              </a:defRPr>
            </a:lvl8pPr>
            <a:lvl9pPr>
              <a:defRPr>
                <a:solidFill>
                  <a:schemeClr val="lt1"/>
                </a:solidFill>
                <a:latin typeface="+mn-lt"/>
              </a:defRPr>
            </a:lvl9pPr>
          </a:lstStyle>
          <a:p>
            <a:pPr marL="407988" lvl="1"/>
            <a:r>
              <a:rPr lang="en-US" b="1" dirty="0">
                <a:solidFill>
                  <a:schemeClr val="accent3"/>
                </a:solidFill>
              </a:rPr>
              <a:t>Distinctive team</a:t>
            </a:r>
          </a:p>
        </p:txBody>
      </p:sp>
      <p:sp>
        <p:nvSpPr>
          <p:cNvPr id="75" name="TextBox 74"/>
          <p:cNvSpPr txBox="1">
            <a:spLocks/>
          </p:cNvSpPr>
          <p:nvPr/>
        </p:nvSpPr>
        <p:spPr>
          <a:xfrm>
            <a:off x="2197101" y="3244878"/>
            <a:ext cx="6455590" cy="637867"/>
          </a:xfrm>
          <a:prstGeom prst="rect">
            <a:avLst/>
          </a:prstGeom>
          <a:solidFill>
            <a:schemeClr val="bg1">
              <a:lumMod val="95000"/>
            </a:schemeClr>
          </a:solidFill>
          <a:ln>
            <a:noFill/>
          </a:ln>
        </p:spPr>
        <p:txBody>
          <a:bodyPr vert="horz" wrap="square" lIns="72009" tIns="72009" rIns="72009" bIns="72009" rtlCol="0" anchor="ctr" anchorCtr="0">
            <a:no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spcBef>
                <a:spcPct val="50000"/>
              </a:spcBef>
            </a:pPr>
            <a:r>
              <a:rPr lang="en-US" dirty="0"/>
              <a:t>We have an Integration Council, and merger management experts globally, who will support your integration</a:t>
            </a:r>
          </a:p>
        </p:txBody>
      </p:sp>
      <p:sp>
        <p:nvSpPr>
          <p:cNvPr id="84" name="TextBox 83"/>
          <p:cNvSpPr txBox="1">
            <a:spLocks/>
          </p:cNvSpPr>
          <p:nvPr/>
        </p:nvSpPr>
        <p:spPr>
          <a:xfrm>
            <a:off x="203972" y="5657943"/>
            <a:ext cx="1918140" cy="637867"/>
          </a:xfrm>
          <a:prstGeom prst="rect">
            <a:avLst/>
          </a:prstGeom>
          <a:solidFill>
            <a:schemeClr val="accent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defPPr>
              <a:defRPr lang="en-US"/>
            </a:defPPr>
            <a:lvl1pPr algn="ctr">
              <a:defRPr sz="1400">
                <a:latin typeface="+mn-lt"/>
              </a:defRPr>
            </a:lvl1pPr>
            <a:lvl2pPr>
              <a:defRPr>
                <a:solidFill>
                  <a:schemeClr val="lt1"/>
                </a:solidFill>
                <a:latin typeface="+mn-lt"/>
              </a:defRPr>
            </a:lvl2pPr>
            <a:lvl3pPr>
              <a:defRPr>
                <a:solidFill>
                  <a:schemeClr val="lt1"/>
                </a:solidFill>
                <a:latin typeface="+mn-lt"/>
              </a:defRPr>
            </a:lvl3pPr>
            <a:lvl4pPr>
              <a:defRPr>
                <a:solidFill>
                  <a:schemeClr val="lt1"/>
                </a:solidFill>
                <a:latin typeface="+mn-lt"/>
              </a:defRPr>
            </a:lvl4pPr>
            <a:lvl5pPr>
              <a:defRPr>
                <a:solidFill>
                  <a:schemeClr val="lt1"/>
                </a:solidFill>
                <a:latin typeface="+mn-lt"/>
              </a:defRPr>
            </a:lvl5pPr>
            <a:lvl6pPr>
              <a:defRPr>
                <a:solidFill>
                  <a:schemeClr val="lt1"/>
                </a:solidFill>
                <a:latin typeface="+mn-lt"/>
              </a:defRPr>
            </a:lvl6pPr>
            <a:lvl7pPr>
              <a:defRPr>
                <a:solidFill>
                  <a:schemeClr val="lt1"/>
                </a:solidFill>
                <a:latin typeface="+mn-lt"/>
              </a:defRPr>
            </a:lvl7pPr>
            <a:lvl8pPr>
              <a:defRPr>
                <a:solidFill>
                  <a:schemeClr val="lt1"/>
                </a:solidFill>
                <a:latin typeface="+mn-lt"/>
              </a:defRPr>
            </a:lvl8pPr>
            <a:lvl9pPr>
              <a:defRPr>
                <a:solidFill>
                  <a:schemeClr val="lt1"/>
                </a:solidFill>
                <a:latin typeface="+mn-lt"/>
              </a:defRPr>
            </a:lvl9pPr>
          </a:lstStyle>
          <a:p>
            <a:pPr marL="407988" algn="l"/>
            <a:r>
              <a:rPr lang="en-US" sz="1600" b="1" dirty="0">
                <a:solidFill>
                  <a:schemeClr val="accent3"/>
                </a:solidFill>
              </a:rPr>
              <a:t>Industry expertise</a:t>
            </a:r>
          </a:p>
        </p:txBody>
      </p:sp>
      <p:sp>
        <p:nvSpPr>
          <p:cNvPr id="85" name="TextBox 84"/>
          <p:cNvSpPr txBox="1">
            <a:spLocks/>
          </p:cNvSpPr>
          <p:nvPr/>
        </p:nvSpPr>
        <p:spPr>
          <a:xfrm>
            <a:off x="2197101" y="5657943"/>
            <a:ext cx="6455590" cy="637867"/>
          </a:xfrm>
          <a:prstGeom prst="rect">
            <a:avLst/>
          </a:prstGeom>
          <a:solidFill>
            <a:schemeClr val="bg1">
              <a:lumMod val="95000"/>
            </a:schemeClr>
          </a:solidFill>
          <a:ln>
            <a:noFill/>
          </a:ln>
        </p:spPr>
        <p:txBody>
          <a:bodyPr vert="horz" wrap="square" lIns="72009" tIns="72009" rIns="72009" bIns="72009" rtlCol="0" anchor="ctr" anchorCtr="0">
            <a:no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spcBef>
                <a:spcPct val="50000"/>
              </a:spcBef>
            </a:pPr>
            <a:r>
              <a:rPr lang="en-US" dirty="0"/>
              <a:t>We build on our deep experience in steel, and the metals &amp; mining space to serve your needs</a:t>
            </a:r>
          </a:p>
        </p:txBody>
      </p:sp>
      <p:sp>
        <p:nvSpPr>
          <p:cNvPr id="69" name="TextBox 68"/>
          <p:cNvSpPr txBox="1">
            <a:spLocks/>
          </p:cNvSpPr>
          <p:nvPr/>
        </p:nvSpPr>
        <p:spPr>
          <a:xfrm>
            <a:off x="203972" y="1084675"/>
            <a:ext cx="1918140" cy="637867"/>
          </a:xfrm>
          <a:prstGeom prst="rect">
            <a:avLst/>
          </a:prstGeom>
          <a:solidFill>
            <a:schemeClr val="accent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defPPr>
              <a:defRPr lang="en-US"/>
            </a:defPPr>
            <a:lvl1pPr algn="ctr">
              <a:defRPr sz="1400">
                <a:latin typeface="+mn-lt"/>
              </a:defRPr>
            </a:lvl1pPr>
            <a:lvl2pPr>
              <a:defRPr>
                <a:solidFill>
                  <a:schemeClr val="lt1"/>
                </a:solidFill>
                <a:latin typeface="+mn-lt"/>
              </a:defRPr>
            </a:lvl2pPr>
            <a:lvl3pPr>
              <a:defRPr>
                <a:solidFill>
                  <a:schemeClr val="lt1"/>
                </a:solidFill>
                <a:latin typeface="+mn-lt"/>
              </a:defRPr>
            </a:lvl3pPr>
            <a:lvl4pPr>
              <a:defRPr>
                <a:solidFill>
                  <a:schemeClr val="lt1"/>
                </a:solidFill>
                <a:latin typeface="+mn-lt"/>
              </a:defRPr>
            </a:lvl4pPr>
            <a:lvl5pPr>
              <a:defRPr>
                <a:solidFill>
                  <a:schemeClr val="lt1"/>
                </a:solidFill>
                <a:latin typeface="+mn-lt"/>
              </a:defRPr>
            </a:lvl5pPr>
            <a:lvl6pPr>
              <a:defRPr>
                <a:solidFill>
                  <a:schemeClr val="lt1"/>
                </a:solidFill>
                <a:latin typeface="+mn-lt"/>
              </a:defRPr>
            </a:lvl6pPr>
            <a:lvl7pPr>
              <a:defRPr>
                <a:solidFill>
                  <a:schemeClr val="lt1"/>
                </a:solidFill>
                <a:latin typeface="+mn-lt"/>
              </a:defRPr>
            </a:lvl7pPr>
            <a:lvl8pPr>
              <a:defRPr>
                <a:solidFill>
                  <a:schemeClr val="lt1"/>
                </a:solidFill>
                <a:latin typeface="+mn-lt"/>
              </a:defRPr>
            </a:lvl8pPr>
            <a:lvl9pPr>
              <a:defRPr>
                <a:solidFill>
                  <a:schemeClr val="lt1"/>
                </a:solidFill>
                <a:latin typeface="+mn-lt"/>
              </a:defRPr>
            </a:lvl9pPr>
          </a:lstStyle>
          <a:p>
            <a:pPr marL="407988" lvl="1"/>
            <a:r>
              <a:rPr lang="en-US" b="1" dirty="0">
                <a:solidFill>
                  <a:schemeClr val="accent3"/>
                </a:solidFill>
              </a:rPr>
              <a:t>Integration experience</a:t>
            </a:r>
          </a:p>
        </p:txBody>
      </p:sp>
      <p:sp>
        <p:nvSpPr>
          <p:cNvPr id="73" name="TextBox 72"/>
          <p:cNvSpPr txBox="1">
            <a:spLocks/>
          </p:cNvSpPr>
          <p:nvPr/>
        </p:nvSpPr>
        <p:spPr>
          <a:xfrm>
            <a:off x="2197101" y="1084675"/>
            <a:ext cx="6455590" cy="637867"/>
          </a:xfrm>
          <a:prstGeom prst="rect">
            <a:avLst/>
          </a:prstGeom>
          <a:solidFill>
            <a:schemeClr val="bg1">
              <a:lumMod val="95000"/>
            </a:schemeClr>
          </a:solidFill>
          <a:ln>
            <a:noFill/>
          </a:ln>
        </p:spPr>
        <p:txBody>
          <a:bodyPr vert="horz" wrap="square" lIns="72009" tIns="72009" rIns="72009" bIns="72009" rtlCol="0" anchor="ctr" anchorCtr="0">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spcBef>
                <a:spcPct val="50000"/>
              </a:spcBef>
            </a:pPr>
            <a:r>
              <a:rPr lang="en-US" dirty="0"/>
              <a:t>We support more large integrations than all other consultancies combined, driving a higher and more sustainable performance</a:t>
            </a:r>
          </a:p>
        </p:txBody>
      </p:sp>
      <p:sp>
        <p:nvSpPr>
          <p:cNvPr id="70" name="TextBox 69"/>
          <p:cNvSpPr txBox="1">
            <a:spLocks/>
          </p:cNvSpPr>
          <p:nvPr/>
        </p:nvSpPr>
        <p:spPr>
          <a:xfrm>
            <a:off x="203972" y="4935661"/>
            <a:ext cx="1918140" cy="637867"/>
          </a:xfrm>
          <a:prstGeom prst="rect">
            <a:avLst/>
          </a:prstGeom>
          <a:solidFill>
            <a:schemeClr val="accent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defPPr>
              <a:defRPr lang="en-US"/>
            </a:defPPr>
            <a:lvl1pPr algn="ctr">
              <a:defRPr sz="1400">
                <a:latin typeface="+mn-lt"/>
              </a:defRPr>
            </a:lvl1pPr>
            <a:lvl2pPr>
              <a:defRPr>
                <a:solidFill>
                  <a:schemeClr val="lt1"/>
                </a:solidFill>
                <a:latin typeface="+mn-lt"/>
              </a:defRPr>
            </a:lvl2pPr>
            <a:lvl3pPr>
              <a:defRPr>
                <a:solidFill>
                  <a:schemeClr val="lt1"/>
                </a:solidFill>
                <a:latin typeface="+mn-lt"/>
              </a:defRPr>
            </a:lvl3pPr>
            <a:lvl4pPr>
              <a:defRPr>
                <a:solidFill>
                  <a:schemeClr val="lt1"/>
                </a:solidFill>
                <a:latin typeface="+mn-lt"/>
              </a:defRPr>
            </a:lvl4pPr>
            <a:lvl5pPr>
              <a:defRPr>
                <a:solidFill>
                  <a:schemeClr val="lt1"/>
                </a:solidFill>
                <a:latin typeface="+mn-lt"/>
              </a:defRPr>
            </a:lvl5pPr>
            <a:lvl6pPr>
              <a:defRPr>
                <a:solidFill>
                  <a:schemeClr val="lt1"/>
                </a:solidFill>
                <a:latin typeface="+mn-lt"/>
              </a:defRPr>
            </a:lvl6pPr>
            <a:lvl7pPr>
              <a:defRPr>
                <a:solidFill>
                  <a:schemeClr val="lt1"/>
                </a:solidFill>
                <a:latin typeface="+mn-lt"/>
              </a:defRPr>
            </a:lvl7pPr>
            <a:lvl8pPr>
              <a:defRPr>
                <a:solidFill>
                  <a:schemeClr val="lt1"/>
                </a:solidFill>
                <a:latin typeface="+mn-lt"/>
              </a:defRPr>
            </a:lvl8pPr>
            <a:lvl9pPr>
              <a:defRPr>
                <a:solidFill>
                  <a:schemeClr val="lt1"/>
                </a:solidFill>
                <a:latin typeface="+mn-lt"/>
              </a:defRPr>
            </a:lvl9pPr>
          </a:lstStyle>
          <a:p>
            <a:pPr marL="407988" algn="l"/>
            <a:r>
              <a:rPr lang="en-US" sz="1600" b="1" dirty="0">
                <a:solidFill>
                  <a:schemeClr val="accent3"/>
                </a:solidFill>
              </a:rPr>
              <a:t>Functional depth</a:t>
            </a:r>
          </a:p>
        </p:txBody>
      </p:sp>
      <p:sp>
        <p:nvSpPr>
          <p:cNvPr id="74" name="TextBox 73"/>
          <p:cNvSpPr txBox="1">
            <a:spLocks/>
          </p:cNvSpPr>
          <p:nvPr/>
        </p:nvSpPr>
        <p:spPr>
          <a:xfrm>
            <a:off x="2197101" y="4935661"/>
            <a:ext cx="6455590" cy="637867"/>
          </a:xfrm>
          <a:prstGeom prst="rect">
            <a:avLst/>
          </a:prstGeom>
          <a:solidFill>
            <a:schemeClr val="bg1">
              <a:lumMod val="95000"/>
            </a:schemeClr>
          </a:solidFill>
          <a:ln>
            <a:noFill/>
          </a:ln>
        </p:spPr>
        <p:txBody>
          <a:bodyPr vert="horz" wrap="square" lIns="72009" tIns="72009" rIns="72009" bIns="72009" rtlCol="0" anchor="ctr" anchorCtr="0">
            <a:no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spcBef>
                <a:spcPct val="50000"/>
              </a:spcBef>
            </a:pPr>
            <a:r>
              <a:rPr lang="en-US" dirty="0"/>
              <a:t>We contribute with unparalleled functional expertise, especially on operations, sales &amp; marketing, and shared services</a:t>
            </a:r>
          </a:p>
        </p:txBody>
      </p:sp>
      <p:sp>
        <p:nvSpPr>
          <p:cNvPr id="25" name="TextBox 24">
            <a:extLst>
              <a:ext uri="{FF2B5EF4-FFF2-40B4-BE49-F238E27FC236}">
                <a16:creationId xmlns:a16="http://schemas.microsoft.com/office/drawing/2014/main" id="{0E24532B-0CBC-4782-9B85-0A08378C5D48}"/>
              </a:ext>
            </a:extLst>
          </p:cNvPr>
          <p:cNvSpPr txBox="1">
            <a:spLocks/>
          </p:cNvSpPr>
          <p:nvPr/>
        </p:nvSpPr>
        <p:spPr>
          <a:xfrm>
            <a:off x="203972" y="733985"/>
            <a:ext cx="8448718" cy="264688"/>
          </a:xfrm>
          <a:prstGeom prst="rect">
            <a:avLst/>
          </a:prstGeom>
        </p:spPr>
        <p:txBody>
          <a:bodyPr vert="horz" wrap="square" lIns="0" tIns="0" rIns="0" bIns="18288" rtlCol="0" anchor="b">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spcBef>
                <a:spcPct val="50000"/>
              </a:spcBef>
            </a:pPr>
            <a:r>
              <a:rPr lang="en-US" b="1" dirty="0">
                <a:solidFill>
                  <a:schemeClr val="accent3"/>
                </a:solidFill>
              </a:rPr>
              <a:t>We have extensive experience in integrations and merger management…</a:t>
            </a:r>
          </a:p>
        </p:txBody>
      </p:sp>
      <p:sp>
        <p:nvSpPr>
          <p:cNvPr id="33" name="TextBox 32">
            <a:extLst>
              <a:ext uri="{FF2B5EF4-FFF2-40B4-BE49-F238E27FC236}">
                <a16:creationId xmlns:a16="http://schemas.microsoft.com/office/drawing/2014/main" id="{1F1197EA-61CE-4576-863E-A7CE6073EA23}"/>
              </a:ext>
            </a:extLst>
          </p:cNvPr>
          <p:cNvSpPr txBox="1">
            <a:spLocks/>
          </p:cNvSpPr>
          <p:nvPr/>
        </p:nvSpPr>
        <p:spPr>
          <a:xfrm>
            <a:off x="203972" y="1813307"/>
            <a:ext cx="1918140" cy="637867"/>
          </a:xfrm>
          <a:prstGeom prst="rect">
            <a:avLst/>
          </a:prstGeom>
          <a:solidFill>
            <a:schemeClr val="accent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defPPr>
              <a:defRPr lang="en-US"/>
            </a:defPPr>
            <a:lvl1pPr algn="ctr">
              <a:defRPr sz="1400">
                <a:latin typeface="+mn-lt"/>
              </a:defRPr>
            </a:lvl1pPr>
            <a:lvl2pPr>
              <a:defRPr>
                <a:solidFill>
                  <a:schemeClr val="lt1"/>
                </a:solidFill>
                <a:latin typeface="+mn-lt"/>
              </a:defRPr>
            </a:lvl2pPr>
            <a:lvl3pPr>
              <a:defRPr>
                <a:solidFill>
                  <a:schemeClr val="lt1"/>
                </a:solidFill>
                <a:latin typeface="+mn-lt"/>
              </a:defRPr>
            </a:lvl3pPr>
            <a:lvl4pPr>
              <a:defRPr>
                <a:solidFill>
                  <a:schemeClr val="lt1"/>
                </a:solidFill>
                <a:latin typeface="+mn-lt"/>
              </a:defRPr>
            </a:lvl4pPr>
            <a:lvl5pPr>
              <a:defRPr>
                <a:solidFill>
                  <a:schemeClr val="lt1"/>
                </a:solidFill>
                <a:latin typeface="+mn-lt"/>
              </a:defRPr>
            </a:lvl5pPr>
            <a:lvl6pPr>
              <a:defRPr>
                <a:solidFill>
                  <a:schemeClr val="lt1"/>
                </a:solidFill>
                <a:latin typeface="+mn-lt"/>
              </a:defRPr>
            </a:lvl6pPr>
            <a:lvl7pPr>
              <a:defRPr>
                <a:solidFill>
                  <a:schemeClr val="lt1"/>
                </a:solidFill>
                <a:latin typeface="+mn-lt"/>
              </a:defRPr>
            </a:lvl7pPr>
            <a:lvl8pPr>
              <a:defRPr>
                <a:solidFill>
                  <a:schemeClr val="lt1"/>
                </a:solidFill>
                <a:latin typeface="+mn-lt"/>
              </a:defRPr>
            </a:lvl8pPr>
            <a:lvl9pPr>
              <a:defRPr>
                <a:solidFill>
                  <a:schemeClr val="lt1"/>
                </a:solidFill>
                <a:latin typeface="+mn-lt"/>
              </a:defRPr>
            </a:lvl9pPr>
          </a:lstStyle>
          <a:p>
            <a:pPr marL="407988" lvl="1"/>
            <a:r>
              <a:rPr lang="en-US" b="1" dirty="0">
                <a:solidFill>
                  <a:schemeClr val="accent3"/>
                </a:solidFill>
              </a:rPr>
              <a:t>Lessons &amp; tools</a:t>
            </a:r>
          </a:p>
        </p:txBody>
      </p:sp>
      <p:sp>
        <p:nvSpPr>
          <p:cNvPr id="39" name="TextBox 38">
            <a:extLst>
              <a:ext uri="{FF2B5EF4-FFF2-40B4-BE49-F238E27FC236}">
                <a16:creationId xmlns:a16="http://schemas.microsoft.com/office/drawing/2014/main" id="{D4FE4427-7E91-42E8-8BA7-D891CD4E6464}"/>
              </a:ext>
            </a:extLst>
          </p:cNvPr>
          <p:cNvSpPr txBox="1">
            <a:spLocks/>
          </p:cNvSpPr>
          <p:nvPr/>
        </p:nvSpPr>
        <p:spPr>
          <a:xfrm>
            <a:off x="2197101" y="1813307"/>
            <a:ext cx="6455590" cy="637867"/>
          </a:xfrm>
          <a:prstGeom prst="rect">
            <a:avLst/>
          </a:prstGeom>
          <a:solidFill>
            <a:schemeClr val="bg1">
              <a:lumMod val="95000"/>
            </a:schemeClr>
          </a:solidFill>
          <a:ln>
            <a:noFill/>
          </a:ln>
        </p:spPr>
        <p:txBody>
          <a:bodyPr vert="horz" wrap="square" lIns="72009" tIns="72009" rIns="72009" bIns="72009" rtlCol="0" anchor="ctr" anchorCtr="0">
            <a:no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spcBef>
                <a:spcPct val="50000"/>
              </a:spcBef>
            </a:pPr>
            <a:r>
              <a:rPr lang="en-US" dirty="0"/>
              <a:t>We have built a set of best practices and tools, based on our experience with integrations</a:t>
            </a:r>
          </a:p>
        </p:txBody>
      </p:sp>
      <p:sp>
        <p:nvSpPr>
          <p:cNvPr id="41" name="TextBox 40">
            <a:extLst>
              <a:ext uri="{FF2B5EF4-FFF2-40B4-BE49-F238E27FC236}">
                <a16:creationId xmlns:a16="http://schemas.microsoft.com/office/drawing/2014/main" id="{9FBDB495-044C-4F44-828C-D7F33B357BFB}"/>
              </a:ext>
            </a:extLst>
          </p:cNvPr>
          <p:cNvSpPr txBox="1">
            <a:spLocks/>
          </p:cNvSpPr>
          <p:nvPr/>
        </p:nvSpPr>
        <p:spPr>
          <a:xfrm>
            <a:off x="203972" y="3967159"/>
            <a:ext cx="1918140" cy="884088"/>
          </a:xfrm>
          <a:prstGeom prst="rect">
            <a:avLst/>
          </a:prstGeom>
          <a:solidFill>
            <a:schemeClr val="accent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defPPr>
              <a:defRPr lang="en-US"/>
            </a:defPPr>
            <a:lvl1pPr algn="ctr">
              <a:defRPr sz="1400">
                <a:latin typeface="+mn-lt"/>
              </a:defRPr>
            </a:lvl1pPr>
            <a:lvl2pPr>
              <a:defRPr>
                <a:solidFill>
                  <a:schemeClr val="lt1"/>
                </a:solidFill>
                <a:latin typeface="+mn-lt"/>
              </a:defRPr>
            </a:lvl2pPr>
            <a:lvl3pPr>
              <a:defRPr>
                <a:solidFill>
                  <a:schemeClr val="lt1"/>
                </a:solidFill>
                <a:latin typeface="+mn-lt"/>
              </a:defRPr>
            </a:lvl3pPr>
            <a:lvl4pPr>
              <a:defRPr>
                <a:solidFill>
                  <a:schemeClr val="lt1"/>
                </a:solidFill>
                <a:latin typeface="+mn-lt"/>
              </a:defRPr>
            </a:lvl4pPr>
            <a:lvl5pPr>
              <a:defRPr>
                <a:solidFill>
                  <a:schemeClr val="lt1"/>
                </a:solidFill>
                <a:latin typeface="+mn-lt"/>
              </a:defRPr>
            </a:lvl5pPr>
            <a:lvl6pPr>
              <a:defRPr>
                <a:solidFill>
                  <a:schemeClr val="lt1"/>
                </a:solidFill>
                <a:latin typeface="+mn-lt"/>
              </a:defRPr>
            </a:lvl6pPr>
            <a:lvl7pPr>
              <a:defRPr>
                <a:solidFill>
                  <a:schemeClr val="lt1"/>
                </a:solidFill>
                <a:latin typeface="+mn-lt"/>
              </a:defRPr>
            </a:lvl7pPr>
            <a:lvl8pPr>
              <a:defRPr>
                <a:solidFill>
                  <a:schemeClr val="lt1"/>
                </a:solidFill>
                <a:latin typeface="+mn-lt"/>
              </a:defRPr>
            </a:lvl8pPr>
            <a:lvl9pPr>
              <a:defRPr>
                <a:solidFill>
                  <a:schemeClr val="lt1"/>
                </a:solidFill>
                <a:latin typeface="+mn-lt"/>
              </a:defRPr>
            </a:lvl9pPr>
          </a:lstStyle>
          <a:p>
            <a:pPr marL="407988" lvl="1"/>
            <a:r>
              <a:rPr lang="en-US" b="1" dirty="0">
                <a:solidFill>
                  <a:schemeClr val="accent3"/>
                </a:solidFill>
              </a:rPr>
              <a:t>Turnaround experience &amp; methodology</a:t>
            </a:r>
          </a:p>
        </p:txBody>
      </p:sp>
      <p:sp>
        <p:nvSpPr>
          <p:cNvPr id="46" name="TextBox 45">
            <a:extLst>
              <a:ext uri="{FF2B5EF4-FFF2-40B4-BE49-F238E27FC236}">
                <a16:creationId xmlns:a16="http://schemas.microsoft.com/office/drawing/2014/main" id="{A85EECDB-16EB-4B27-8389-ED2A0A5F9DC7}"/>
              </a:ext>
            </a:extLst>
          </p:cNvPr>
          <p:cNvSpPr txBox="1">
            <a:spLocks/>
          </p:cNvSpPr>
          <p:nvPr/>
        </p:nvSpPr>
        <p:spPr>
          <a:xfrm>
            <a:off x="2197101" y="3967159"/>
            <a:ext cx="6455590" cy="884088"/>
          </a:xfrm>
          <a:prstGeom prst="rect">
            <a:avLst/>
          </a:prstGeom>
          <a:solidFill>
            <a:schemeClr val="bg1">
              <a:lumMod val="95000"/>
            </a:schemeClr>
          </a:solidFill>
          <a:ln>
            <a:noFill/>
          </a:ln>
        </p:spPr>
        <p:txBody>
          <a:bodyPr vert="horz" wrap="square" lIns="72009" tIns="72009" rIns="72009" bIns="72009" rtlCol="0" anchor="ctr" anchorCtr="0">
            <a:no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spcBef>
                <a:spcPct val="50000"/>
              </a:spcBef>
            </a:pPr>
            <a:r>
              <a:rPr lang="en-US" dirty="0"/>
              <a:t>We have experience in turnarounds (including with Tata Steel Europe), and proprietary capability, RTS (Recovery &amp; Transformation Services)</a:t>
            </a:r>
          </a:p>
        </p:txBody>
      </p:sp>
      <p:cxnSp>
        <p:nvCxnSpPr>
          <p:cNvPr id="7" name="Straight Connector 6">
            <a:extLst>
              <a:ext uri="{FF2B5EF4-FFF2-40B4-BE49-F238E27FC236}">
                <a16:creationId xmlns:a16="http://schemas.microsoft.com/office/drawing/2014/main" id="{6064D36B-D759-465E-BF7F-85CBD98B65C0}"/>
              </a:ext>
            </a:extLst>
          </p:cNvPr>
          <p:cNvCxnSpPr>
            <a:cxnSpLocks/>
          </p:cNvCxnSpPr>
          <p:nvPr/>
        </p:nvCxnSpPr>
        <p:spPr>
          <a:xfrm>
            <a:off x="203972" y="998673"/>
            <a:ext cx="8448718"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sp>
        <p:nvSpPr>
          <p:cNvPr id="27" name="TextBox 26">
            <a:extLst>
              <a:ext uri="{FF2B5EF4-FFF2-40B4-BE49-F238E27FC236}">
                <a16:creationId xmlns:a16="http://schemas.microsoft.com/office/drawing/2014/main" id="{E86DA4A4-44B0-4656-A551-56EBC0CC3F77}"/>
              </a:ext>
            </a:extLst>
          </p:cNvPr>
          <p:cNvSpPr txBox="1">
            <a:spLocks/>
          </p:cNvSpPr>
          <p:nvPr/>
        </p:nvSpPr>
        <p:spPr>
          <a:xfrm>
            <a:off x="203972" y="2652729"/>
            <a:ext cx="8448718" cy="510909"/>
          </a:xfrm>
          <a:prstGeom prst="rect">
            <a:avLst/>
          </a:prstGeom>
        </p:spPr>
        <p:txBody>
          <a:bodyPr vert="horz" wrap="square" lIns="0" tIns="0" rIns="0" bIns="18288" rtlCol="0" anchor="b">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spcBef>
                <a:spcPct val="50000"/>
              </a:spcBef>
            </a:pPr>
            <a:r>
              <a:rPr lang="en-US" b="1" dirty="0">
                <a:solidFill>
                  <a:schemeClr val="accent3"/>
                </a:solidFill>
              </a:rPr>
              <a:t>… which is supported by our distinctive team, turnaround methodology, functional depth, and industry expertise</a:t>
            </a:r>
          </a:p>
        </p:txBody>
      </p:sp>
      <p:cxnSp>
        <p:nvCxnSpPr>
          <p:cNvPr id="49" name="Straight Connector 48">
            <a:extLst>
              <a:ext uri="{FF2B5EF4-FFF2-40B4-BE49-F238E27FC236}">
                <a16:creationId xmlns:a16="http://schemas.microsoft.com/office/drawing/2014/main" id="{AA8BD7D8-C2B2-4D81-8695-D5A5F6F51BE4}"/>
              </a:ext>
            </a:extLst>
          </p:cNvPr>
          <p:cNvCxnSpPr>
            <a:cxnSpLocks/>
          </p:cNvCxnSpPr>
          <p:nvPr/>
        </p:nvCxnSpPr>
        <p:spPr>
          <a:xfrm>
            <a:off x="203972" y="2570514"/>
            <a:ext cx="8448718" cy="0"/>
          </a:xfrm>
          <a:prstGeom prst="line">
            <a:avLst/>
          </a:prstGeom>
          <a:ln>
            <a:solidFill>
              <a:schemeClr val="accent6"/>
            </a:solidFill>
            <a:prstDash val="sysDot"/>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7222B2BD-7516-41C8-A614-6409A9A25E31}"/>
              </a:ext>
            </a:extLst>
          </p:cNvPr>
          <p:cNvCxnSpPr>
            <a:cxnSpLocks/>
          </p:cNvCxnSpPr>
          <p:nvPr/>
        </p:nvCxnSpPr>
        <p:spPr>
          <a:xfrm>
            <a:off x="203972" y="3163638"/>
            <a:ext cx="8448718"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sp>
        <p:nvSpPr>
          <p:cNvPr id="31" name="TextBox 30"/>
          <p:cNvSpPr txBox="1">
            <a:spLocks/>
          </p:cNvSpPr>
          <p:nvPr/>
        </p:nvSpPr>
        <p:spPr>
          <a:xfrm>
            <a:off x="305116" y="1054180"/>
            <a:ext cx="326359" cy="692497"/>
          </a:xfrm>
          <a:prstGeom prst="rect">
            <a:avLst/>
          </a:prstGeom>
        </p:spPr>
        <p:txBody>
          <a:bodyPr vert="horz" wrap="square" lIns="0" tIns="0" rIns="0" bIns="0" rtlCol="0">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1587" marR="0" lvl="1" indent="0" algn="ctr" defTabSz="895350" eaLnBrk="1" fontAlgn="auto" latinLnBrk="0" hangingPunct="1">
              <a:lnSpc>
                <a:spcPct val="100000"/>
              </a:lnSpc>
              <a:spcBef>
                <a:spcPts val="600"/>
              </a:spcBef>
              <a:spcAft>
                <a:spcPts val="0"/>
              </a:spcAft>
              <a:buClr>
                <a:srgbClr val="002960"/>
              </a:buClr>
              <a:buSzPct val="100000"/>
              <a:buFont typeface="Arial" charset="0"/>
              <a:buNone/>
              <a:tabLst/>
              <a:defRPr/>
            </a:pPr>
            <a:r>
              <a:rPr kumimoji="0" lang="en-US" sz="4500" b="1" i="0" u="none" strike="noStrike" kern="0" cap="none" spc="0" normalizeH="0" baseline="0" dirty="0">
                <a:ln>
                  <a:noFill/>
                </a:ln>
                <a:solidFill>
                  <a:schemeClr val="accent3"/>
                </a:solidFill>
                <a:effectLst/>
                <a:uLnTx/>
                <a:uFillTx/>
              </a:rPr>
              <a:t>1</a:t>
            </a:r>
          </a:p>
        </p:txBody>
      </p:sp>
      <p:sp>
        <p:nvSpPr>
          <p:cNvPr id="35" name="TextBox 34"/>
          <p:cNvSpPr txBox="1">
            <a:spLocks/>
          </p:cNvSpPr>
          <p:nvPr/>
        </p:nvSpPr>
        <p:spPr>
          <a:xfrm>
            <a:off x="305116" y="3219031"/>
            <a:ext cx="326359" cy="692497"/>
          </a:xfrm>
          <a:prstGeom prst="rect">
            <a:avLst/>
          </a:prstGeom>
        </p:spPr>
        <p:txBody>
          <a:bodyPr vert="horz" wrap="square" lIns="0" tIns="0" rIns="0" bIns="0" rtlCol="0">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1587" marR="0" lvl="1" indent="0" algn="ctr" defTabSz="895350" eaLnBrk="1" fontAlgn="auto" latinLnBrk="0" hangingPunct="1">
              <a:lnSpc>
                <a:spcPct val="100000"/>
              </a:lnSpc>
              <a:spcBef>
                <a:spcPts val="600"/>
              </a:spcBef>
              <a:spcAft>
                <a:spcPts val="0"/>
              </a:spcAft>
              <a:buClr>
                <a:srgbClr val="002960"/>
              </a:buClr>
              <a:buSzPct val="100000"/>
              <a:buFont typeface="Arial" charset="0"/>
              <a:buNone/>
              <a:tabLst/>
              <a:defRPr/>
            </a:pPr>
            <a:r>
              <a:rPr kumimoji="0" lang="en-US" sz="4500" b="1" i="0" u="none" strike="noStrike" kern="0" cap="none" spc="0" normalizeH="0" baseline="0" dirty="0">
                <a:ln>
                  <a:noFill/>
                </a:ln>
                <a:solidFill>
                  <a:schemeClr val="accent3"/>
                </a:solidFill>
                <a:effectLst/>
                <a:uLnTx/>
                <a:uFillTx/>
              </a:rPr>
              <a:t>3</a:t>
            </a:r>
          </a:p>
        </p:txBody>
      </p:sp>
      <p:sp>
        <p:nvSpPr>
          <p:cNvPr id="36" name="TextBox 35"/>
          <p:cNvSpPr txBox="1">
            <a:spLocks/>
          </p:cNvSpPr>
          <p:nvPr/>
        </p:nvSpPr>
        <p:spPr>
          <a:xfrm>
            <a:off x="305116" y="4903194"/>
            <a:ext cx="326359" cy="692497"/>
          </a:xfrm>
          <a:prstGeom prst="rect">
            <a:avLst/>
          </a:prstGeom>
        </p:spPr>
        <p:txBody>
          <a:bodyPr vert="horz" wrap="square" lIns="0" tIns="0" rIns="0" bIns="0" rtlCol="0">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1587" marR="0" lvl="1" indent="0" algn="ctr" defTabSz="895350" eaLnBrk="1" fontAlgn="auto" latinLnBrk="0" hangingPunct="1">
              <a:lnSpc>
                <a:spcPct val="100000"/>
              </a:lnSpc>
              <a:spcBef>
                <a:spcPts val="600"/>
              </a:spcBef>
              <a:spcAft>
                <a:spcPts val="0"/>
              </a:spcAft>
              <a:buClr>
                <a:srgbClr val="002960"/>
              </a:buClr>
              <a:buSzPct val="100000"/>
              <a:buFont typeface="Arial" charset="0"/>
              <a:buNone/>
              <a:tabLst/>
              <a:defRPr/>
            </a:pPr>
            <a:r>
              <a:rPr kumimoji="0" lang="en-US" sz="4500" b="1" i="0" u="none" strike="noStrike" kern="0" cap="none" spc="0" normalizeH="0" baseline="0" dirty="0">
                <a:ln>
                  <a:noFill/>
                </a:ln>
                <a:solidFill>
                  <a:schemeClr val="accent3"/>
                </a:solidFill>
                <a:effectLst/>
                <a:uLnTx/>
                <a:uFillTx/>
              </a:rPr>
              <a:t>5</a:t>
            </a:r>
          </a:p>
        </p:txBody>
      </p:sp>
      <p:sp>
        <p:nvSpPr>
          <p:cNvPr id="37" name="TextBox 36"/>
          <p:cNvSpPr txBox="1">
            <a:spLocks/>
          </p:cNvSpPr>
          <p:nvPr/>
        </p:nvSpPr>
        <p:spPr>
          <a:xfrm>
            <a:off x="305116" y="5633791"/>
            <a:ext cx="326359" cy="692497"/>
          </a:xfrm>
          <a:prstGeom prst="rect">
            <a:avLst/>
          </a:prstGeom>
        </p:spPr>
        <p:txBody>
          <a:bodyPr vert="horz" wrap="square" lIns="0" tIns="0" rIns="0" bIns="0" rtlCol="0">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1587" marR="0" lvl="1" indent="0" algn="ctr" defTabSz="895350" eaLnBrk="1" fontAlgn="auto" latinLnBrk="0" hangingPunct="1">
              <a:lnSpc>
                <a:spcPct val="100000"/>
              </a:lnSpc>
              <a:spcBef>
                <a:spcPts val="600"/>
              </a:spcBef>
              <a:spcAft>
                <a:spcPts val="0"/>
              </a:spcAft>
              <a:buClr>
                <a:srgbClr val="002960"/>
              </a:buClr>
              <a:buSzPct val="100000"/>
              <a:buFont typeface="Arial" charset="0"/>
              <a:buNone/>
              <a:tabLst/>
              <a:defRPr/>
            </a:pPr>
            <a:r>
              <a:rPr kumimoji="0" lang="en-US" sz="4500" b="1" i="0" u="none" strike="noStrike" kern="0" cap="none" spc="0" normalizeH="0" baseline="0" dirty="0">
                <a:ln>
                  <a:noFill/>
                </a:ln>
                <a:solidFill>
                  <a:schemeClr val="accent3"/>
                </a:solidFill>
                <a:effectLst/>
                <a:uLnTx/>
                <a:uFillTx/>
              </a:rPr>
              <a:t>6</a:t>
            </a:r>
          </a:p>
        </p:txBody>
      </p:sp>
      <p:sp>
        <p:nvSpPr>
          <p:cNvPr id="38" name="TextBox 37">
            <a:extLst>
              <a:ext uri="{FF2B5EF4-FFF2-40B4-BE49-F238E27FC236}">
                <a16:creationId xmlns:a16="http://schemas.microsoft.com/office/drawing/2014/main" id="{24F61DB4-4113-45C0-A7C7-F5D080043767}"/>
              </a:ext>
            </a:extLst>
          </p:cNvPr>
          <p:cNvSpPr txBox="1">
            <a:spLocks/>
          </p:cNvSpPr>
          <p:nvPr/>
        </p:nvSpPr>
        <p:spPr>
          <a:xfrm>
            <a:off x="305116" y="1789781"/>
            <a:ext cx="326359" cy="692497"/>
          </a:xfrm>
          <a:prstGeom prst="rect">
            <a:avLst/>
          </a:prstGeom>
        </p:spPr>
        <p:txBody>
          <a:bodyPr vert="horz" wrap="square" lIns="0" tIns="0" rIns="0" bIns="0" rtlCol="0">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1587" marR="0" lvl="1" indent="0" algn="ctr" defTabSz="895350" eaLnBrk="1" fontAlgn="auto" latinLnBrk="0" hangingPunct="1">
              <a:lnSpc>
                <a:spcPct val="100000"/>
              </a:lnSpc>
              <a:spcBef>
                <a:spcPts val="600"/>
              </a:spcBef>
              <a:spcAft>
                <a:spcPts val="0"/>
              </a:spcAft>
              <a:buClr>
                <a:srgbClr val="002960"/>
              </a:buClr>
              <a:buSzPct val="100000"/>
              <a:buFont typeface="Arial" charset="0"/>
              <a:buNone/>
              <a:tabLst/>
              <a:defRPr/>
            </a:pPr>
            <a:r>
              <a:rPr kumimoji="0" lang="en-US" sz="4500" b="1" i="0" u="none" strike="noStrike" kern="0" cap="none" spc="0" normalizeH="0" baseline="0" dirty="0">
                <a:ln>
                  <a:noFill/>
                </a:ln>
                <a:solidFill>
                  <a:schemeClr val="accent3"/>
                </a:solidFill>
                <a:effectLst/>
                <a:uLnTx/>
                <a:uFillTx/>
              </a:rPr>
              <a:t>2</a:t>
            </a:r>
          </a:p>
        </p:txBody>
      </p:sp>
      <p:sp>
        <p:nvSpPr>
          <p:cNvPr id="42" name="TextBox 41">
            <a:extLst>
              <a:ext uri="{FF2B5EF4-FFF2-40B4-BE49-F238E27FC236}">
                <a16:creationId xmlns:a16="http://schemas.microsoft.com/office/drawing/2014/main" id="{4530E502-97F5-4122-8AEC-4E6B8A5A8F97}"/>
              </a:ext>
            </a:extLst>
          </p:cNvPr>
          <p:cNvSpPr txBox="1">
            <a:spLocks/>
          </p:cNvSpPr>
          <p:nvPr/>
        </p:nvSpPr>
        <p:spPr>
          <a:xfrm>
            <a:off x="305116" y="4062955"/>
            <a:ext cx="326359" cy="692497"/>
          </a:xfrm>
          <a:prstGeom prst="rect">
            <a:avLst/>
          </a:prstGeom>
        </p:spPr>
        <p:txBody>
          <a:bodyPr vert="horz" wrap="square" lIns="0" tIns="0" rIns="0" bIns="0" rtlCol="0">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1587" marR="0" lvl="1" indent="0" algn="ctr" defTabSz="895350" eaLnBrk="1" fontAlgn="auto" latinLnBrk="0" hangingPunct="1">
              <a:lnSpc>
                <a:spcPct val="100000"/>
              </a:lnSpc>
              <a:spcBef>
                <a:spcPts val="600"/>
              </a:spcBef>
              <a:spcAft>
                <a:spcPts val="0"/>
              </a:spcAft>
              <a:buClr>
                <a:srgbClr val="002960"/>
              </a:buClr>
              <a:buSzPct val="100000"/>
              <a:buFont typeface="Arial" charset="0"/>
              <a:buNone/>
              <a:tabLst/>
              <a:defRPr/>
            </a:pPr>
            <a:r>
              <a:rPr lang="en-US" sz="4500" b="1" kern="0" dirty="0">
                <a:solidFill>
                  <a:schemeClr val="accent3"/>
                </a:solidFill>
              </a:rPr>
              <a:t>4</a:t>
            </a:r>
            <a:endParaRPr kumimoji="0" lang="en-US" sz="4500" b="1" i="0" u="none" strike="noStrike" kern="0" cap="none" spc="0" normalizeH="0" baseline="0" dirty="0">
              <a:ln>
                <a:noFill/>
              </a:ln>
              <a:solidFill>
                <a:schemeClr val="accent3"/>
              </a:solidFill>
              <a:effectLst/>
              <a:uLnTx/>
              <a:uFillTx/>
            </a:endParaRPr>
          </a:p>
        </p:txBody>
      </p:sp>
    </p:spTree>
    <p:extLst>
      <p:ext uri="{BB962C8B-B14F-4D97-AF65-F5344CB8AC3E}">
        <p14:creationId xmlns:p14="http://schemas.microsoft.com/office/powerpoint/2010/main" val="265649615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graphicFrame>
        <p:nvGraphicFramePr>
          <p:cNvPr id="202757" name="Rectangle 2" hidden="1"/>
          <p:cNvGraphicFramePr>
            <a:graphicFrameLocks/>
          </p:cNvGraphicFramePr>
          <p:nvPr>
            <p:custDataLst>
              <p:tags r:id="rId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82644" name="think-cell Slide" r:id="rId7" imgW="0" imgH="0" progId="TCLayout.ActiveDocument.1">
                  <p:embed/>
                </p:oleObj>
              </mc:Choice>
              <mc:Fallback>
                <p:oleObj name="think-cell Slide" r:id="rId7" imgW="0" imgH="0" progId="TCLayout.ActiveDocument.1">
                  <p:embed/>
                  <p:pic>
                    <p:nvPicPr>
                      <p:cNvPr id="202757" name="Rectangle 2"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gray">
                      <a:xfrm>
                        <a:off x="0" y="0"/>
                        <a:ext cx="158750" cy="15875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pic>
        <p:nvPicPr>
          <p:cNvPr id="83" name="Picture 82"/>
          <p:cNvPicPr>
            <a:picLocks noChangeAspect="1"/>
          </p:cNvPicPr>
          <p:nvPr/>
        </p:nvPicPr>
        <p:blipFill>
          <a:blip r:embed="rId8"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1588" y="5360512"/>
            <a:ext cx="1413934" cy="942623"/>
          </a:xfrm>
          <a:prstGeom prst="rect">
            <a:avLst/>
          </a:prstGeom>
          <a:solidFill>
            <a:schemeClr val="accent1">
              <a:alpha val="40000"/>
            </a:schemeClr>
          </a:solidFill>
        </p:spPr>
      </p:pic>
      <p:sp>
        <p:nvSpPr>
          <p:cNvPr id="48" name="Rectangle 47"/>
          <p:cNvSpPr>
            <a:spLocks/>
          </p:cNvSpPr>
          <p:nvPr/>
        </p:nvSpPr>
        <p:spPr>
          <a:xfrm>
            <a:off x="1550762" y="1428288"/>
            <a:ext cx="6340262" cy="4863592"/>
          </a:xfrm>
          <a:prstGeom prst="rect">
            <a:avLst/>
          </a:prstGeom>
          <a:gradFill flip="none" rotWithShape="1">
            <a:gsLst>
              <a:gs pos="0">
                <a:schemeClr val="bg1"/>
              </a:gs>
              <a:gs pos="100000">
                <a:schemeClr val="bg1">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R" dirty="0"/>
          </a:p>
        </p:txBody>
      </p:sp>
      <p:sp>
        <p:nvSpPr>
          <p:cNvPr id="202818" name="Rectangle 66"/>
          <p:cNvSpPr>
            <a:spLocks noGrp="1" noChangeArrowheads="1"/>
          </p:cNvSpPr>
          <p:nvPr>
            <p:ph type="title"/>
            <p:custDataLst>
              <p:tags r:id="rId3"/>
            </p:custDataLst>
          </p:nvPr>
        </p:nvSpPr>
        <p:spPr>
          <a:xfrm>
            <a:off x="135732" y="230455"/>
            <a:ext cx="8618537" cy="615553"/>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r>
              <a:rPr lang="en-US" dirty="0"/>
              <a:t>In our experience, successful integrations adhere to 12 merger management best practices</a:t>
            </a:r>
          </a:p>
        </p:txBody>
      </p:sp>
      <p:sp>
        <p:nvSpPr>
          <p:cNvPr id="59" name="Rectangle 21"/>
          <p:cNvSpPr>
            <a:spLocks noChangeArrowheads="1"/>
          </p:cNvSpPr>
          <p:nvPr/>
        </p:nvSpPr>
        <p:spPr bwMode="gray">
          <a:xfrm>
            <a:off x="2192403" y="2825807"/>
            <a:ext cx="6171566" cy="4254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lvl1pPr defTabSz="895350" eaLnBrk="0" hangingPunct="0">
              <a:defRPr b="1">
                <a:solidFill>
                  <a:schemeClr val="tx1"/>
                </a:solidFill>
                <a:latin typeface="Arial" charset="0"/>
                <a:cs typeface="Arial" charset="0"/>
              </a:defRPr>
            </a:lvl1pPr>
            <a:lvl2pPr marL="742950" indent="-285750" defTabSz="895350" eaLnBrk="0" hangingPunct="0">
              <a:defRPr b="1">
                <a:solidFill>
                  <a:schemeClr val="tx1"/>
                </a:solidFill>
                <a:latin typeface="Arial" charset="0"/>
                <a:cs typeface="Arial" charset="0"/>
              </a:defRPr>
            </a:lvl2pPr>
            <a:lvl3pPr marL="1143000" indent="-228600" defTabSz="895350" eaLnBrk="0" hangingPunct="0">
              <a:defRPr b="1">
                <a:solidFill>
                  <a:schemeClr val="tx1"/>
                </a:solidFill>
                <a:latin typeface="Arial" charset="0"/>
                <a:cs typeface="Arial" charset="0"/>
              </a:defRPr>
            </a:lvl3pPr>
            <a:lvl4pPr marL="1600200" indent="-228600" defTabSz="895350" eaLnBrk="0" hangingPunct="0">
              <a:defRPr b="1">
                <a:solidFill>
                  <a:schemeClr val="tx1"/>
                </a:solidFill>
                <a:latin typeface="Arial" charset="0"/>
                <a:cs typeface="Arial" charset="0"/>
              </a:defRPr>
            </a:lvl4pPr>
            <a:lvl5pPr marL="2057400" indent="-228600" defTabSz="895350" eaLnBrk="0" hangingPunct="0">
              <a:defRPr b="1">
                <a:solidFill>
                  <a:schemeClr val="tx1"/>
                </a:solidFill>
                <a:latin typeface="Arial" charset="0"/>
                <a:cs typeface="Arial" charset="0"/>
              </a:defRPr>
            </a:lvl5pPr>
            <a:lvl6pPr marL="2514600" indent="-228600" defTabSz="895350" eaLnBrk="0" fontAlgn="base" hangingPunct="0">
              <a:spcBef>
                <a:spcPct val="0"/>
              </a:spcBef>
              <a:spcAft>
                <a:spcPct val="0"/>
              </a:spcAft>
              <a:defRPr b="1">
                <a:solidFill>
                  <a:schemeClr val="tx1"/>
                </a:solidFill>
                <a:latin typeface="Arial" charset="0"/>
                <a:cs typeface="Arial" charset="0"/>
              </a:defRPr>
            </a:lvl6pPr>
            <a:lvl7pPr marL="2971800" indent="-228600" defTabSz="895350" eaLnBrk="0" fontAlgn="base" hangingPunct="0">
              <a:spcBef>
                <a:spcPct val="0"/>
              </a:spcBef>
              <a:spcAft>
                <a:spcPct val="0"/>
              </a:spcAft>
              <a:defRPr b="1">
                <a:solidFill>
                  <a:schemeClr val="tx1"/>
                </a:solidFill>
                <a:latin typeface="Arial" charset="0"/>
                <a:cs typeface="Arial" charset="0"/>
              </a:defRPr>
            </a:lvl7pPr>
            <a:lvl8pPr marL="3429000" indent="-228600" defTabSz="895350" eaLnBrk="0" fontAlgn="base" hangingPunct="0">
              <a:spcBef>
                <a:spcPct val="0"/>
              </a:spcBef>
              <a:spcAft>
                <a:spcPct val="0"/>
              </a:spcAft>
              <a:defRPr b="1">
                <a:solidFill>
                  <a:schemeClr val="tx1"/>
                </a:solidFill>
                <a:latin typeface="Arial" charset="0"/>
                <a:cs typeface="Arial" charset="0"/>
              </a:defRPr>
            </a:lvl8pPr>
            <a:lvl9pPr marL="3886200" indent="-228600" defTabSz="895350" eaLnBrk="0" fontAlgn="base" hangingPunct="0">
              <a:spcBef>
                <a:spcPct val="0"/>
              </a:spcBef>
              <a:spcAft>
                <a:spcPct val="0"/>
              </a:spcAft>
              <a:defRPr b="1">
                <a:solidFill>
                  <a:schemeClr val="tx1"/>
                </a:solidFill>
                <a:latin typeface="Arial" charset="0"/>
                <a:cs typeface="Arial" charset="0"/>
              </a:defRPr>
            </a:lvl9pPr>
          </a:lstStyle>
          <a:p>
            <a:pPr eaLnBrk="1" hangingPunct="1">
              <a:spcBef>
                <a:spcPct val="50000"/>
              </a:spcBef>
              <a:buClr>
                <a:schemeClr val="tx2"/>
              </a:buClr>
            </a:pPr>
            <a:r>
              <a:rPr lang="en-US" sz="1400" b="0" dirty="0"/>
              <a:t>Empower a value-added Integration Management Office (IMO) that attracts top performers and line leaders</a:t>
            </a:r>
          </a:p>
        </p:txBody>
      </p:sp>
      <p:sp>
        <p:nvSpPr>
          <p:cNvPr id="60" name="Rectangle 22"/>
          <p:cNvSpPr>
            <a:spLocks noChangeArrowheads="1"/>
          </p:cNvSpPr>
          <p:nvPr/>
        </p:nvSpPr>
        <p:spPr bwMode="gray">
          <a:xfrm>
            <a:off x="2192403" y="3367071"/>
            <a:ext cx="6171566" cy="4254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lvl1pPr defTabSz="895350" eaLnBrk="0" hangingPunct="0">
              <a:defRPr b="1">
                <a:solidFill>
                  <a:schemeClr val="tx1"/>
                </a:solidFill>
                <a:latin typeface="Arial" charset="0"/>
                <a:cs typeface="Arial" charset="0"/>
              </a:defRPr>
            </a:lvl1pPr>
            <a:lvl2pPr marL="742950" indent="-285750" defTabSz="895350" eaLnBrk="0" hangingPunct="0">
              <a:defRPr b="1">
                <a:solidFill>
                  <a:schemeClr val="tx1"/>
                </a:solidFill>
                <a:latin typeface="Arial" charset="0"/>
                <a:cs typeface="Arial" charset="0"/>
              </a:defRPr>
            </a:lvl2pPr>
            <a:lvl3pPr marL="1143000" indent="-228600" defTabSz="895350" eaLnBrk="0" hangingPunct="0">
              <a:defRPr b="1">
                <a:solidFill>
                  <a:schemeClr val="tx1"/>
                </a:solidFill>
                <a:latin typeface="Arial" charset="0"/>
                <a:cs typeface="Arial" charset="0"/>
              </a:defRPr>
            </a:lvl3pPr>
            <a:lvl4pPr marL="1600200" indent="-228600" defTabSz="895350" eaLnBrk="0" hangingPunct="0">
              <a:defRPr b="1">
                <a:solidFill>
                  <a:schemeClr val="tx1"/>
                </a:solidFill>
                <a:latin typeface="Arial" charset="0"/>
                <a:cs typeface="Arial" charset="0"/>
              </a:defRPr>
            </a:lvl4pPr>
            <a:lvl5pPr marL="2057400" indent="-228600" defTabSz="895350" eaLnBrk="0" hangingPunct="0">
              <a:defRPr b="1">
                <a:solidFill>
                  <a:schemeClr val="tx1"/>
                </a:solidFill>
                <a:latin typeface="Arial" charset="0"/>
                <a:cs typeface="Arial" charset="0"/>
              </a:defRPr>
            </a:lvl5pPr>
            <a:lvl6pPr marL="2514600" indent="-228600" defTabSz="895350" eaLnBrk="0" fontAlgn="base" hangingPunct="0">
              <a:spcBef>
                <a:spcPct val="0"/>
              </a:spcBef>
              <a:spcAft>
                <a:spcPct val="0"/>
              </a:spcAft>
              <a:defRPr b="1">
                <a:solidFill>
                  <a:schemeClr val="tx1"/>
                </a:solidFill>
                <a:latin typeface="Arial" charset="0"/>
                <a:cs typeface="Arial" charset="0"/>
              </a:defRPr>
            </a:lvl6pPr>
            <a:lvl7pPr marL="2971800" indent="-228600" defTabSz="895350" eaLnBrk="0" fontAlgn="base" hangingPunct="0">
              <a:spcBef>
                <a:spcPct val="0"/>
              </a:spcBef>
              <a:spcAft>
                <a:spcPct val="0"/>
              </a:spcAft>
              <a:defRPr b="1">
                <a:solidFill>
                  <a:schemeClr val="tx1"/>
                </a:solidFill>
                <a:latin typeface="Arial" charset="0"/>
                <a:cs typeface="Arial" charset="0"/>
              </a:defRPr>
            </a:lvl7pPr>
            <a:lvl8pPr marL="3429000" indent="-228600" defTabSz="895350" eaLnBrk="0" fontAlgn="base" hangingPunct="0">
              <a:spcBef>
                <a:spcPct val="0"/>
              </a:spcBef>
              <a:spcAft>
                <a:spcPct val="0"/>
              </a:spcAft>
              <a:defRPr b="1">
                <a:solidFill>
                  <a:schemeClr val="tx1"/>
                </a:solidFill>
                <a:latin typeface="Arial" charset="0"/>
                <a:cs typeface="Arial" charset="0"/>
              </a:defRPr>
            </a:lvl8pPr>
            <a:lvl9pPr marL="3886200" indent="-228600" defTabSz="895350" eaLnBrk="0" fontAlgn="base" hangingPunct="0">
              <a:spcBef>
                <a:spcPct val="0"/>
              </a:spcBef>
              <a:spcAft>
                <a:spcPct val="0"/>
              </a:spcAft>
              <a:defRPr b="1">
                <a:solidFill>
                  <a:schemeClr val="tx1"/>
                </a:solidFill>
                <a:latin typeface="Arial" charset="0"/>
                <a:cs typeface="Arial" charset="0"/>
              </a:defRPr>
            </a:lvl9pPr>
          </a:lstStyle>
          <a:p>
            <a:pPr eaLnBrk="1" hangingPunct="1">
              <a:spcBef>
                <a:spcPct val="50000"/>
              </a:spcBef>
              <a:buClr>
                <a:schemeClr val="tx2"/>
              </a:buClr>
            </a:pPr>
            <a:r>
              <a:rPr lang="en-US" sz="1400" b="0" dirty="0"/>
              <a:t>Don’t underestimate culture; use scientific approach to identify issues and intervene as needed</a:t>
            </a:r>
          </a:p>
        </p:txBody>
      </p:sp>
      <p:sp>
        <p:nvSpPr>
          <p:cNvPr id="63" name="Rectangle 20"/>
          <p:cNvSpPr>
            <a:spLocks noChangeArrowheads="1"/>
          </p:cNvSpPr>
          <p:nvPr/>
        </p:nvSpPr>
        <p:spPr bwMode="gray">
          <a:xfrm>
            <a:off x="2192403" y="2494549"/>
            <a:ext cx="6171566" cy="2127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lvl1pPr defTabSz="895350" eaLnBrk="0" hangingPunct="0">
              <a:defRPr b="1">
                <a:solidFill>
                  <a:schemeClr val="tx1"/>
                </a:solidFill>
                <a:latin typeface="Arial" charset="0"/>
                <a:cs typeface="Arial" charset="0"/>
              </a:defRPr>
            </a:lvl1pPr>
            <a:lvl2pPr marL="742950" indent="-285750" defTabSz="895350" eaLnBrk="0" hangingPunct="0">
              <a:defRPr b="1">
                <a:solidFill>
                  <a:schemeClr val="tx1"/>
                </a:solidFill>
                <a:latin typeface="Arial" charset="0"/>
                <a:cs typeface="Arial" charset="0"/>
              </a:defRPr>
            </a:lvl2pPr>
            <a:lvl3pPr marL="1143000" indent="-228600" defTabSz="895350" eaLnBrk="0" hangingPunct="0">
              <a:defRPr b="1">
                <a:solidFill>
                  <a:schemeClr val="tx1"/>
                </a:solidFill>
                <a:latin typeface="Arial" charset="0"/>
                <a:cs typeface="Arial" charset="0"/>
              </a:defRPr>
            </a:lvl3pPr>
            <a:lvl4pPr marL="1600200" indent="-228600" defTabSz="895350" eaLnBrk="0" hangingPunct="0">
              <a:defRPr b="1">
                <a:solidFill>
                  <a:schemeClr val="tx1"/>
                </a:solidFill>
                <a:latin typeface="Arial" charset="0"/>
                <a:cs typeface="Arial" charset="0"/>
              </a:defRPr>
            </a:lvl4pPr>
            <a:lvl5pPr marL="2057400" indent="-228600" defTabSz="895350" eaLnBrk="0" hangingPunct="0">
              <a:defRPr b="1">
                <a:solidFill>
                  <a:schemeClr val="tx1"/>
                </a:solidFill>
                <a:latin typeface="Arial" charset="0"/>
                <a:cs typeface="Arial" charset="0"/>
              </a:defRPr>
            </a:lvl5pPr>
            <a:lvl6pPr marL="2514600" indent="-228600" defTabSz="895350" eaLnBrk="0" fontAlgn="base" hangingPunct="0">
              <a:spcBef>
                <a:spcPct val="0"/>
              </a:spcBef>
              <a:spcAft>
                <a:spcPct val="0"/>
              </a:spcAft>
              <a:defRPr b="1">
                <a:solidFill>
                  <a:schemeClr val="tx1"/>
                </a:solidFill>
                <a:latin typeface="Arial" charset="0"/>
                <a:cs typeface="Arial" charset="0"/>
              </a:defRPr>
            </a:lvl6pPr>
            <a:lvl7pPr marL="2971800" indent="-228600" defTabSz="895350" eaLnBrk="0" fontAlgn="base" hangingPunct="0">
              <a:spcBef>
                <a:spcPct val="0"/>
              </a:spcBef>
              <a:spcAft>
                <a:spcPct val="0"/>
              </a:spcAft>
              <a:defRPr b="1">
                <a:solidFill>
                  <a:schemeClr val="tx1"/>
                </a:solidFill>
                <a:latin typeface="Arial" charset="0"/>
                <a:cs typeface="Arial" charset="0"/>
              </a:defRPr>
            </a:lvl7pPr>
            <a:lvl8pPr marL="3429000" indent="-228600" defTabSz="895350" eaLnBrk="0" fontAlgn="base" hangingPunct="0">
              <a:spcBef>
                <a:spcPct val="0"/>
              </a:spcBef>
              <a:spcAft>
                <a:spcPct val="0"/>
              </a:spcAft>
              <a:defRPr b="1">
                <a:solidFill>
                  <a:schemeClr val="tx1"/>
                </a:solidFill>
                <a:latin typeface="Arial" charset="0"/>
                <a:cs typeface="Arial" charset="0"/>
              </a:defRPr>
            </a:lvl8pPr>
            <a:lvl9pPr marL="3886200" indent="-228600" defTabSz="895350" eaLnBrk="0" fontAlgn="base" hangingPunct="0">
              <a:spcBef>
                <a:spcPct val="0"/>
              </a:spcBef>
              <a:spcAft>
                <a:spcPct val="0"/>
              </a:spcAft>
              <a:defRPr b="1">
                <a:solidFill>
                  <a:schemeClr val="tx1"/>
                </a:solidFill>
                <a:latin typeface="Arial" charset="0"/>
                <a:cs typeface="Arial" charset="0"/>
              </a:defRPr>
            </a:lvl9pPr>
          </a:lstStyle>
          <a:p>
            <a:pPr eaLnBrk="1" hangingPunct="1">
              <a:spcBef>
                <a:spcPct val="50000"/>
              </a:spcBef>
              <a:buClr>
                <a:schemeClr val="tx2"/>
              </a:buClr>
            </a:pPr>
            <a:r>
              <a:rPr lang="en-US" sz="1400" b="0" dirty="0"/>
              <a:t>Define a comprehensive, tailored integration approach – and stick to it</a:t>
            </a:r>
          </a:p>
        </p:txBody>
      </p:sp>
      <p:sp>
        <p:nvSpPr>
          <p:cNvPr id="64" name="Rectangle 35"/>
          <p:cNvSpPr>
            <a:spLocks noChangeArrowheads="1"/>
          </p:cNvSpPr>
          <p:nvPr/>
        </p:nvSpPr>
        <p:spPr bwMode="gray">
          <a:xfrm>
            <a:off x="2192403" y="3908335"/>
            <a:ext cx="6171566" cy="4254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lvl1pPr defTabSz="895350" eaLnBrk="0" hangingPunct="0">
              <a:defRPr b="1">
                <a:solidFill>
                  <a:schemeClr val="tx1"/>
                </a:solidFill>
                <a:latin typeface="Arial" charset="0"/>
                <a:cs typeface="Arial" charset="0"/>
              </a:defRPr>
            </a:lvl1pPr>
            <a:lvl2pPr marL="742950" indent="-285750" defTabSz="895350" eaLnBrk="0" hangingPunct="0">
              <a:defRPr b="1">
                <a:solidFill>
                  <a:schemeClr val="tx1"/>
                </a:solidFill>
                <a:latin typeface="Arial" charset="0"/>
                <a:cs typeface="Arial" charset="0"/>
              </a:defRPr>
            </a:lvl2pPr>
            <a:lvl3pPr marL="1143000" indent="-228600" defTabSz="895350" eaLnBrk="0" hangingPunct="0">
              <a:defRPr b="1">
                <a:solidFill>
                  <a:schemeClr val="tx1"/>
                </a:solidFill>
                <a:latin typeface="Arial" charset="0"/>
                <a:cs typeface="Arial" charset="0"/>
              </a:defRPr>
            </a:lvl3pPr>
            <a:lvl4pPr marL="1600200" indent="-228600" defTabSz="895350" eaLnBrk="0" hangingPunct="0">
              <a:defRPr b="1">
                <a:solidFill>
                  <a:schemeClr val="tx1"/>
                </a:solidFill>
                <a:latin typeface="Arial" charset="0"/>
                <a:cs typeface="Arial" charset="0"/>
              </a:defRPr>
            </a:lvl4pPr>
            <a:lvl5pPr marL="2057400" indent="-228600" defTabSz="895350" eaLnBrk="0" hangingPunct="0">
              <a:defRPr b="1">
                <a:solidFill>
                  <a:schemeClr val="tx1"/>
                </a:solidFill>
                <a:latin typeface="Arial" charset="0"/>
                <a:cs typeface="Arial" charset="0"/>
              </a:defRPr>
            </a:lvl5pPr>
            <a:lvl6pPr marL="2514600" indent="-228600" defTabSz="895350" eaLnBrk="0" fontAlgn="base" hangingPunct="0">
              <a:spcBef>
                <a:spcPct val="0"/>
              </a:spcBef>
              <a:spcAft>
                <a:spcPct val="0"/>
              </a:spcAft>
              <a:defRPr b="1">
                <a:solidFill>
                  <a:schemeClr val="tx1"/>
                </a:solidFill>
                <a:latin typeface="Arial" charset="0"/>
                <a:cs typeface="Arial" charset="0"/>
              </a:defRPr>
            </a:lvl6pPr>
            <a:lvl7pPr marL="2971800" indent="-228600" defTabSz="895350" eaLnBrk="0" fontAlgn="base" hangingPunct="0">
              <a:spcBef>
                <a:spcPct val="0"/>
              </a:spcBef>
              <a:spcAft>
                <a:spcPct val="0"/>
              </a:spcAft>
              <a:defRPr b="1">
                <a:solidFill>
                  <a:schemeClr val="tx1"/>
                </a:solidFill>
                <a:latin typeface="Arial" charset="0"/>
                <a:cs typeface="Arial" charset="0"/>
              </a:defRPr>
            </a:lvl7pPr>
            <a:lvl8pPr marL="3429000" indent="-228600" defTabSz="895350" eaLnBrk="0" fontAlgn="base" hangingPunct="0">
              <a:spcBef>
                <a:spcPct val="0"/>
              </a:spcBef>
              <a:spcAft>
                <a:spcPct val="0"/>
              </a:spcAft>
              <a:defRPr b="1">
                <a:solidFill>
                  <a:schemeClr val="tx1"/>
                </a:solidFill>
                <a:latin typeface="Arial" charset="0"/>
                <a:cs typeface="Arial" charset="0"/>
              </a:defRPr>
            </a:lvl8pPr>
            <a:lvl9pPr marL="3886200" indent="-228600" defTabSz="895350" eaLnBrk="0" fontAlgn="base" hangingPunct="0">
              <a:spcBef>
                <a:spcPct val="0"/>
              </a:spcBef>
              <a:spcAft>
                <a:spcPct val="0"/>
              </a:spcAft>
              <a:defRPr b="1">
                <a:solidFill>
                  <a:schemeClr val="tx1"/>
                </a:solidFill>
                <a:latin typeface="Arial" charset="0"/>
                <a:cs typeface="Arial" charset="0"/>
              </a:defRPr>
            </a:lvl9pPr>
          </a:lstStyle>
          <a:p>
            <a:pPr eaLnBrk="1" hangingPunct="1">
              <a:spcBef>
                <a:spcPct val="50000"/>
              </a:spcBef>
              <a:buClr>
                <a:schemeClr val="tx2"/>
              </a:buClr>
            </a:pPr>
            <a:r>
              <a:rPr lang="en-US" sz="1400" b="0" dirty="0"/>
              <a:t>Build momentum by making critical decisions well before close and completing key activities within 100 days</a:t>
            </a:r>
          </a:p>
        </p:txBody>
      </p:sp>
      <p:sp>
        <p:nvSpPr>
          <p:cNvPr id="61" name="Rectangle 10"/>
          <p:cNvSpPr>
            <a:spLocks noChangeArrowheads="1"/>
          </p:cNvSpPr>
          <p:nvPr/>
        </p:nvSpPr>
        <p:spPr bwMode="gray">
          <a:xfrm>
            <a:off x="2192403" y="4780857"/>
            <a:ext cx="6171566" cy="430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eaLnBrk="0" hangingPunct="0">
              <a:defRPr b="1">
                <a:solidFill>
                  <a:schemeClr val="tx1"/>
                </a:solidFill>
                <a:latin typeface="Arial" charset="0"/>
                <a:cs typeface="Arial" charset="0"/>
              </a:defRPr>
            </a:lvl1pPr>
            <a:lvl2pPr marL="742950" indent="-285750" defTabSz="895350" eaLnBrk="0" hangingPunct="0">
              <a:defRPr b="1">
                <a:solidFill>
                  <a:schemeClr val="tx1"/>
                </a:solidFill>
                <a:latin typeface="Arial" charset="0"/>
                <a:cs typeface="Arial" charset="0"/>
              </a:defRPr>
            </a:lvl2pPr>
            <a:lvl3pPr marL="1143000" indent="-228600" defTabSz="895350" eaLnBrk="0" hangingPunct="0">
              <a:defRPr b="1">
                <a:solidFill>
                  <a:schemeClr val="tx1"/>
                </a:solidFill>
                <a:latin typeface="Arial" charset="0"/>
                <a:cs typeface="Arial" charset="0"/>
              </a:defRPr>
            </a:lvl3pPr>
            <a:lvl4pPr marL="1600200" indent="-228600" defTabSz="895350" eaLnBrk="0" hangingPunct="0">
              <a:defRPr b="1">
                <a:solidFill>
                  <a:schemeClr val="tx1"/>
                </a:solidFill>
                <a:latin typeface="Arial" charset="0"/>
                <a:cs typeface="Arial" charset="0"/>
              </a:defRPr>
            </a:lvl4pPr>
            <a:lvl5pPr marL="2057400" indent="-228600" defTabSz="895350" eaLnBrk="0" hangingPunct="0">
              <a:defRPr b="1">
                <a:solidFill>
                  <a:schemeClr val="tx1"/>
                </a:solidFill>
                <a:latin typeface="Arial" charset="0"/>
                <a:cs typeface="Arial" charset="0"/>
              </a:defRPr>
            </a:lvl5pPr>
            <a:lvl6pPr marL="2514600" indent="-228600" defTabSz="895350" eaLnBrk="0" fontAlgn="base" hangingPunct="0">
              <a:spcBef>
                <a:spcPct val="0"/>
              </a:spcBef>
              <a:spcAft>
                <a:spcPct val="0"/>
              </a:spcAft>
              <a:defRPr b="1">
                <a:solidFill>
                  <a:schemeClr val="tx1"/>
                </a:solidFill>
                <a:latin typeface="Arial" charset="0"/>
                <a:cs typeface="Arial" charset="0"/>
              </a:defRPr>
            </a:lvl6pPr>
            <a:lvl7pPr marL="2971800" indent="-228600" defTabSz="895350" eaLnBrk="0" fontAlgn="base" hangingPunct="0">
              <a:spcBef>
                <a:spcPct val="0"/>
              </a:spcBef>
              <a:spcAft>
                <a:spcPct val="0"/>
              </a:spcAft>
              <a:defRPr b="1">
                <a:solidFill>
                  <a:schemeClr val="tx1"/>
                </a:solidFill>
                <a:latin typeface="Arial" charset="0"/>
                <a:cs typeface="Arial" charset="0"/>
              </a:defRPr>
            </a:lvl7pPr>
            <a:lvl8pPr marL="3429000" indent="-228600" defTabSz="895350" eaLnBrk="0" fontAlgn="base" hangingPunct="0">
              <a:spcBef>
                <a:spcPct val="0"/>
              </a:spcBef>
              <a:spcAft>
                <a:spcPct val="0"/>
              </a:spcAft>
              <a:defRPr b="1">
                <a:solidFill>
                  <a:schemeClr val="tx1"/>
                </a:solidFill>
                <a:latin typeface="Arial" charset="0"/>
                <a:cs typeface="Arial" charset="0"/>
              </a:defRPr>
            </a:lvl8pPr>
            <a:lvl9pPr marL="3886200" indent="-228600" defTabSz="895350" eaLnBrk="0" fontAlgn="base" hangingPunct="0">
              <a:spcBef>
                <a:spcPct val="0"/>
              </a:spcBef>
              <a:spcAft>
                <a:spcPct val="0"/>
              </a:spcAft>
              <a:defRPr b="1">
                <a:solidFill>
                  <a:schemeClr val="tx1"/>
                </a:solidFill>
                <a:latin typeface="Arial" charset="0"/>
                <a:cs typeface="Arial" charset="0"/>
              </a:defRPr>
            </a:lvl9pPr>
          </a:lstStyle>
          <a:p>
            <a:pPr eaLnBrk="1" hangingPunct="1">
              <a:spcBef>
                <a:spcPct val="50000"/>
              </a:spcBef>
              <a:buClr>
                <a:schemeClr val="tx2"/>
              </a:buClr>
            </a:pPr>
            <a:r>
              <a:rPr lang="en-US" sz="1400" b="0" dirty="0"/>
              <a:t>Track activities and operating metrics in addition to traditional financial measures</a:t>
            </a:r>
          </a:p>
        </p:txBody>
      </p:sp>
      <p:sp>
        <p:nvSpPr>
          <p:cNvPr id="62" name="Rectangle 11"/>
          <p:cNvSpPr>
            <a:spLocks noChangeArrowheads="1"/>
          </p:cNvSpPr>
          <p:nvPr/>
        </p:nvSpPr>
        <p:spPr bwMode="gray">
          <a:xfrm>
            <a:off x="2192403" y="5327558"/>
            <a:ext cx="6171566" cy="2127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lvl1pPr defTabSz="895350" eaLnBrk="0" hangingPunct="0">
              <a:defRPr b="1">
                <a:solidFill>
                  <a:schemeClr val="tx1"/>
                </a:solidFill>
                <a:latin typeface="Arial" charset="0"/>
                <a:cs typeface="Arial" charset="0"/>
              </a:defRPr>
            </a:lvl1pPr>
            <a:lvl2pPr marL="742950" indent="-285750" defTabSz="895350" eaLnBrk="0" hangingPunct="0">
              <a:defRPr b="1">
                <a:solidFill>
                  <a:schemeClr val="tx1"/>
                </a:solidFill>
                <a:latin typeface="Arial" charset="0"/>
                <a:cs typeface="Arial" charset="0"/>
              </a:defRPr>
            </a:lvl2pPr>
            <a:lvl3pPr marL="1143000" indent="-228600" defTabSz="895350" eaLnBrk="0" hangingPunct="0">
              <a:defRPr b="1">
                <a:solidFill>
                  <a:schemeClr val="tx1"/>
                </a:solidFill>
                <a:latin typeface="Arial" charset="0"/>
                <a:cs typeface="Arial" charset="0"/>
              </a:defRPr>
            </a:lvl3pPr>
            <a:lvl4pPr marL="1600200" indent="-228600" defTabSz="895350" eaLnBrk="0" hangingPunct="0">
              <a:defRPr b="1">
                <a:solidFill>
                  <a:schemeClr val="tx1"/>
                </a:solidFill>
                <a:latin typeface="Arial" charset="0"/>
                <a:cs typeface="Arial" charset="0"/>
              </a:defRPr>
            </a:lvl4pPr>
            <a:lvl5pPr marL="2057400" indent="-228600" defTabSz="895350" eaLnBrk="0" hangingPunct="0">
              <a:defRPr b="1">
                <a:solidFill>
                  <a:schemeClr val="tx1"/>
                </a:solidFill>
                <a:latin typeface="Arial" charset="0"/>
                <a:cs typeface="Arial" charset="0"/>
              </a:defRPr>
            </a:lvl5pPr>
            <a:lvl6pPr marL="2514600" indent="-228600" defTabSz="895350" eaLnBrk="0" fontAlgn="base" hangingPunct="0">
              <a:spcBef>
                <a:spcPct val="0"/>
              </a:spcBef>
              <a:spcAft>
                <a:spcPct val="0"/>
              </a:spcAft>
              <a:defRPr b="1">
                <a:solidFill>
                  <a:schemeClr val="tx1"/>
                </a:solidFill>
                <a:latin typeface="Arial" charset="0"/>
                <a:cs typeface="Arial" charset="0"/>
              </a:defRPr>
            </a:lvl6pPr>
            <a:lvl7pPr marL="2971800" indent="-228600" defTabSz="895350" eaLnBrk="0" fontAlgn="base" hangingPunct="0">
              <a:spcBef>
                <a:spcPct val="0"/>
              </a:spcBef>
              <a:spcAft>
                <a:spcPct val="0"/>
              </a:spcAft>
              <a:defRPr b="1">
                <a:solidFill>
                  <a:schemeClr val="tx1"/>
                </a:solidFill>
                <a:latin typeface="Arial" charset="0"/>
                <a:cs typeface="Arial" charset="0"/>
              </a:defRPr>
            </a:lvl7pPr>
            <a:lvl8pPr marL="3429000" indent="-228600" defTabSz="895350" eaLnBrk="0" fontAlgn="base" hangingPunct="0">
              <a:spcBef>
                <a:spcPct val="0"/>
              </a:spcBef>
              <a:spcAft>
                <a:spcPct val="0"/>
              </a:spcAft>
              <a:defRPr b="1">
                <a:solidFill>
                  <a:schemeClr val="tx1"/>
                </a:solidFill>
                <a:latin typeface="Arial" charset="0"/>
                <a:cs typeface="Arial" charset="0"/>
              </a:defRPr>
            </a:lvl8pPr>
            <a:lvl9pPr marL="3886200" indent="-228600" defTabSz="895350" eaLnBrk="0" fontAlgn="base" hangingPunct="0">
              <a:spcBef>
                <a:spcPct val="0"/>
              </a:spcBef>
              <a:spcAft>
                <a:spcPct val="0"/>
              </a:spcAft>
              <a:defRPr b="1">
                <a:solidFill>
                  <a:schemeClr val="tx1"/>
                </a:solidFill>
                <a:latin typeface="Arial" charset="0"/>
                <a:cs typeface="Arial" charset="0"/>
              </a:defRPr>
            </a:lvl9pPr>
          </a:lstStyle>
          <a:p>
            <a:pPr eaLnBrk="1" hangingPunct="1">
              <a:spcBef>
                <a:spcPct val="50000"/>
              </a:spcBef>
              <a:buClr>
                <a:schemeClr val="tx2"/>
              </a:buClr>
            </a:pPr>
            <a:r>
              <a:rPr lang="en-US" sz="1400" b="0" dirty="0"/>
              <a:t>Over-communicate with messages tailored to every stakeholder group</a:t>
            </a:r>
          </a:p>
        </p:txBody>
      </p:sp>
      <p:sp>
        <p:nvSpPr>
          <p:cNvPr id="65" name="Rectangle 12"/>
          <p:cNvSpPr>
            <a:spLocks noChangeArrowheads="1"/>
          </p:cNvSpPr>
          <p:nvPr/>
        </p:nvSpPr>
        <p:spPr bwMode="gray">
          <a:xfrm>
            <a:off x="2192403" y="5658821"/>
            <a:ext cx="6171566" cy="2127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lvl1pPr marL="304800" indent="-304800" defTabSz="895350" eaLnBrk="0" hangingPunct="0">
              <a:defRPr b="1">
                <a:solidFill>
                  <a:schemeClr val="tx1"/>
                </a:solidFill>
                <a:latin typeface="Arial" charset="0"/>
                <a:cs typeface="Arial" charset="0"/>
              </a:defRPr>
            </a:lvl1pPr>
            <a:lvl2pPr marL="742950" indent="-285750" defTabSz="895350" eaLnBrk="0" hangingPunct="0">
              <a:defRPr b="1">
                <a:solidFill>
                  <a:schemeClr val="tx1"/>
                </a:solidFill>
                <a:latin typeface="Arial" charset="0"/>
                <a:cs typeface="Arial" charset="0"/>
              </a:defRPr>
            </a:lvl2pPr>
            <a:lvl3pPr marL="1143000" indent="-228600" defTabSz="895350" eaLnBrk="0" hangingPunct="0">
              <a:defRPr b="1">
                <a:solidFill>
                  <a:schemeClr val="tx1"/>
                </a:solidFill>
                <a:latin typeface="Arial" charset="0"/>
                <a:cs typeface="Arial" charset="0"/>
              </a:defRPr>
            </a:lvl3pPr>
            <a:lvl4pPr marL="1600200" indent="-228600" defTabSz="895350" eaLnBrk="0" hangingPunct="0">
              <a:defRPr b="1">
                <a:solidFill>
                  <a:schemeClr val="tx1"/>
                </a:solidFill>
                <a:latin typeface="Arial" charset="0"/>
                <a:cs typeface="Arial" charset="0"/>
              </a:defRPr>
            </a:lvl4pPr>
            <a:lvl5pPr marL="2057400" indent="-228600" defTabSz="895350" eaLnBrk="0" hangingPunct="0">
              <a:defRPr b="1">
                <a:solidFill>
                  <a:schemeClr val="tx1"/>
                </a:solidFill>
                <a:latin typeface="Arial" charset="0"/>
                <a:cs typeface="Arial" charset="0"/>
              </a:defRPr>
            </a:lvl5pPr>
            <a:lvl6pPr marL="2514600" indent="-228600" defTabSz="895350" eaLnBrk="0" fontAlgn="base" hangingPunct="0">
              <a:spcBef>
                <a:spcPct val="0"/>
              </a:spcBef>
              <a:spcAft>
                <a:spcPct val="0"/>
              </a:spcAft>
              <a:defRPr b="1">
                <a:solidFill>
                  <a:schemeClr val="tx1"/>
                </a:solidFill>
                <a:latin typeface="Arial" charset="0"/>
                <a:cs typeface="Arial" charset="0"/>
              </a:defRPr>
            </a:lvl6pPr>
            <a:lvl7pPr marL="2971800" indent="-228600" defTabSz="895350" eaLnBrk="0" fontAlgn="base" hangingPunct="0">
              <a:spcBef>
                <a:spcPct val="0"/>
              </a:spcBef>
              <a:spcAft>
                <a:spcPct val="0"/>
              </a:spcAft>
              <a:defRPr b="1">
                <a:solidFill>
                  <a:schemeClr val="tx1"/>
                </a:solidFill>
                <a:latin typeface="Arial" charset="0"/>
                <a:cs typeface="Arial" charset="0"/>
              </a:defRPr>
            </a:lvl7pPr>
            <a:lvl8pPr marL="3429000" indent="-228600" defTabSz="895350" eaLnBrk="0" fontAlgn="base" hangingPunct="0">
              <a:spcBef>
                <a:spcPct val="0"/>
              </a:spcBef>
              <a:spcAft>
                <a:spcPct val="0"/>
              </a:spcAft>
              <a:defRPr b="1">
                <a:solidFill>
                  <a:schemeClr val="tx1"/>
                </a:solidFill>
                <a:latin typeface="Arial" charset="0"/>
                <a:cs typeface="Arial" charset="0"/>
              </a:defRPr>
            </a:lvl8pPr>
            <a:lvl9pPr marL="3886200" indent="-228600" defTabSz="895350" eaLnBrk="0" fontAlgn="base" hangingPunct="0">
              <a:spcBef>
                <a:spcPct val="0"/>
              </a:spcBef>
              <a:spcAft>
                <a:spcPct val="0"/>
              </a:spcAft>
              <a:defRPr b="1">
                <a:solidFill>
                  <a:schemeClr val="tx1"/>
                </a:solidFill>
                <a:latin typeface="Arial" charset="0"/>
                <a:cs typeface="Arial" charset="0"/>
              </a:defRPr>
            </a:lvl9pPr>
          </a:lstStyle>
          <a:p>
            <a:pPr eaLnBrk="1" hangingPunct="1">
              <a:spcBef>
                <a:spcPct val="50000"/>
              </a:spcBef>
              <a:buClr>
                <a:schemeClr val="tx2"/>
              </a:buClr>
            </a:pPr>
            <a:r>
              <a:rPr lang="en-US" sz="1400" b="0" dirty="0"/>
              <a:t>Build capabilities for future deals</a:t>
            </a:r>
          </a:p>
        </p:txBody>
      </p:sp>
      <p:sp>
        <p:nvSpPr>
          <p:cNvPr id="66" name="Rectangle 50"/>
          <p:cNvSpPr>
            <a:spLocks noChangeArrowheads="1"/>
          </p:cNvSpPr>
          <p:nvPr/>
        </p:nvSpPr>
        <p:spPr bwMode="gray">
          <a:xfrm>
            <a:off x="2192403" y="4449599"/>
            <a:ext cx="6171566" cy="2127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lvl1pPr defTabSz="895350" eaLnBrk="0" hangingPunct="0">
              <a:defRPr b="1">
                <a:solidFill>
                  <a:schemeClr val="tx1"/>
                </a:solidFill>
                <a:latin typeface="Arial" charset="0"/>
                <a:cs typeface="Arial" charset="0"/>
              </a:defRPr>
            </a:lvl1pPr>
            <a:lvl2pPr marL="742950" indent="-285750" defTabSz="895350" eaLnBrk="0" hangingPunct="0">
              <a:defRPr b="1">
                <a:solidFill>
                  <a:schemeClr val="tx1"/>
                </a:solidFill>
                <a:latin typeface="Arial" charset="0"/>
                <a:cs typeface="Arial" charset="0"/>
              </a:defRPr>
            </a:lvl2pPr>
            <a:lvl3pPr marL="1143000" indent="-228600" defTabSz="895350" eaLnBrk="0" hangingPunct="0">
              <a:defRPr b="1">
                <a:solidFill>
                  <a:schemeClr val="tx1"/>
                </a:solidFill>
                <a:latin typeface="Arial" charset="0"/>
                <a:cs typeface="Arial" charset="0"/>
              </a:defRPr>
            </a:lvl3pPr>
            <a:lvl4pPr marL="1600200" indent="-228600" defTabSz="895350" eaLnBrk="0" hangingPunct="0">
              <a:defRPr b="1">
                <a:solidFill>
                  <a:schemeClr val="tx1"/>
                </a:solidFill>
                <a:latin typeface="Arial" charset="0"/>
                <a:cs typeface="Arial" charset="0"/>
              </a:defRPr>
            </a:lvl4pPr>
            <a:lvl5pPr marL="2057400" indent="-228600" defTabSz="895350" eaLnBrk="0" hangingPunct="0">
              <a:defRPr b="1">
                <a:solidFill>
                  <a:schemeClr val="tx1"/>
                </a:solidFill>
                <a:latin typeface="Arial" charset="0"/>
                <a:cs typeface="Arial" charset="0"/>
              </a:defRPr>
            </a:lvl5pPr>
            <a:lvl6pPr marL="2514600" indent="-228600" defTabSz="895350" eaLnBrk="0" fontAlgn="base" hangingPunct="0">
              <a:spcBef>
                <a:spcPct val="0"/>
              </a:spcBef>
              <a:spcAft>
                <a:spcPct val="0"/>
              </a:spcAft>
              <a:defRPr b="1">
                <a:solidFill>
                  <a:schemeClr val="tx1"/>
                </a:solidFill>
                <a:latin typeface="Arial" charset="0"/>
                <a:cs typeface="Arial" charset="0"/>
              </a:defRPr>
            </a:lvl6pPr>
            <a:lvl7pPr marL="2971800" indent="-228600" defTabSz="895350" eaLnBrk="0" fontAlgn="base" hangingPunct="0">
              <a:spcBef>
                <a:spcPct val="0"/>
              </a:spcBef>
              <a:spcAft>
                <a:spcPct val="0"/>
              </a:spcAft>
              <a:defRPr b="1">
                <a:solidFill>
                  <a:schemeClr val="tx1"/>
                </a:solidFill>
                <a:latin typeface="Arial" charset="0"/>
                <a:cs typeface="Arial" charset="0"/>
              </a:defRPr>
            </a:lvl7pPr>
            <a:lvl8pPr marL="3429000" indent="-228600" defTabSz="895350" eaLnBrk="0" fontAlgn="base" hangingPunct="0">
              <a:spcBef>
                <a:spcPct val="0"/>
              </a:spcBef>
              <a:spcAft>
                <a:spcPct val="0"/>
              </a:spcAft>
              <a:defRPr b="1">
                <a:solidFill>
                  <a:schemeClr val="tx1"/>
                </a:solidFill>
                <a:latin typeface="Arial" charset="0"/>
                <a:cs typeface="Arial" charset="0"/>
              </a:defRPr>
            </a:lvl8pPr>
            <a:lvl9pPr marL="3886200" indent="-228600" defTabSz="895350" eaLnBrk="0" fontAlgn="base" hangingPunct="0">
              <a:spcBef>
                <a:spcPct val="0"/>
              </a:spcBef>
              <a:spcAft>
                <a:spcPct val="0"/>
              </a:spcAft>
              <a:defRPr b="1">
                <a:solidFill>
                  <a:schemeClr val="tx1"/>
                </a:solidFill>
                <a:latin typeface="Arial" charset="0"/>
                <a:cs typeface="Arial" charset="0"/>
              </a:defRPr>
            </a:lvl9pPr>
          </a:lstStyle>
          <a:p>
            <a:pPr eaLnBrk="1" hangingPunct="1">
              <a:spcBef>
                <a:spcPct val="50000"/>
              </a:spcBef>
              <a:buClr>
                <a:schemeClr val="tx2"/>
              </a:buClr>
            </a:pPr>
            <a:r>
              <a:rPr lang="en-US" sz="1400" b="0" dirty="0"/>
              <a:t>Don’t make Day 1 bigger than it needs to be</a:t>
            </a:r>
          </a:p>
        </p:txBody>
      </p:sp>
      <p:sp>
        <p:nvSpPr>
          <p:cNvPr id="54" name="Rectangle 8"/>
          <p:cNvSpPr>
            <a:spLocks noChangeArrowheads="1"/>
          </p:cNvSpPr>
          <p:nvPr/>
        </p:nvSpPr>
        <p:spPr bwMode="gray">
          <a:xfrm>
            <a:off x="2192403" y="1500775"/>
            <a:ext cx="6171566"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eaLnBrk="0" hangingPunct="0">
              <a:defRPr b="1">
                <a:solidFill>
                  <a:schemeClr val="tx1"/>
                </a:solidFill>
                <a:latin typeface="Arial" charset="0"/>
                <a:cs typeface="Arial" charset="0"/>
              </a:defRPr>
            </a:lvl1pPr>
            <a:lvl2pPr marL="742950" indent="-285750" defTabSz="895350" eaLnBrk="0" hangingPunct="0">
              <a:defRPr b="1">
                <a:solidFill>
                  <a:schemeClr val="tx1"/>
                </a:solidFill>
                <a:latin typeface="Arial" charset="0"/>
                <a:cs typeface="Arial" charset="0"/>
              </a:defRPr>
            </a:lvl2pPr>
            <a:lvl3pPr marL="1143000" indent="-228600" defTabSz="895350" eaLnBrk="0" hangingPunct="0">
              <a:defRPr b="1">
                <a:solidFill>
                  <a:schemeClr val="tx1"/>
                </a:solidFill>
                <a:latin typeface="Arial" charset="0"/>
                <a:cs typeface="Arial" charset="0"/>
              </a:defRPr>
            </a:lvl3pPr>
            <a:lvl4pPr marL="1600200" indent="-228600" defTabSz="895350" eaLnBrk="0" hangingPunct="0">
              <a:defRPr b="1">
                <a:solidFill>
                  <a:schemeClr val="tx1"/>
                </a:solidFill>
                <a:latin typeface="Arial" charset="0"/>
                <a:cs typeface="Arial" charset="0"/>
              </a:defRPr>
            </a:lvl4pPr>
            <a:lvl5pPr marL="2057400" indent="-228600" defTabSz="895350" eaLnBrk="0" hangingPunct="0">
              <a:defRPr b="1">
                <a:solidFill>
                  <a:schemeClr val="tx1"/>
                </a:solidFill>
                <a:latin typeface="Arial" charset="0"/>
                <a:cs typeface="Arial" charset="0"/>
              </a:defRPr>
            </a:lvl5pPr>
            <a:lvl6pPr marL="2514600" indent="-228600" defTabSz="895350" eaLnBrk="0" fontAlgn="base" hangingPunct="0">
              <a:spcBef>
                <a:spcPct val="0"/>
              </a:spcBef>
              <a:spcAft>
                <a:spcPct val="0"/>
              </a:spcAft>
              <a:defRPr b="1">
                <a:solidFill>
                  <a:schemeClr val="tx1"/>
                </a:solidFill>
                <a:latin typeface="Arial" charset="0"/>
                <a:cs typeface="Arial" charset="0"/>
              </a:defRPr>
            </a:lvl6pPr>
            <a:lvl7pPr marL="2971800" indent="-228600" defTabSz="895350" eaLnBrk="0" fontAlgn="base" hangingPunct="0">
              <a:spcBef>
                <a:spcPct val="0"/>
              </a:spcBef>
              <a:spcAft>
                <a:spcPct val="0"/>
              </a:spcAft>
              <a:defRPr b="1">
                <a:solidFill>
                  <a:schemeClr val="tx1"/>
                </a:solidFill>
                <a:latin typeface="Arial" charset="0"/>
                <a:cs typeface="Arial" charset="0"/>
              </a:defRPr>
            </a:lvl7pPr>
            <a:lvl8pPr marL="3429000" indent="-228600" defTabSz="895350" eaLnBrk="0" fontAlgn="base" hangingPunct="0">
              <a:spcBef>
                <a:spcPct val="0"/>
              </a:spcBef>
              <a:spcAft>
                <a:spcPct val="0"/>
              </a:spcAft>
              <a:defRPr b="1">
                <a:solidFill>
                  <a:schemeClr val="tx1"/>
                </a:solidFill>
                <a:latin typeface="Arial" charset="0"/>
                <a:cs typeface="Arial" charset="0"/>
              </a:defRPr>
            </a:lvl8pPr>
            <a:lvl9pPr marL="3886200" indent="-228600" defTabSz="895350" eaLnBrk="0" fontAlgn="base" hangingPunct="0">
              <a:spcBef>
                <a:spcPct val="0"/>
              </a:spcBef>
              <a:spcAft>
                <a:spcPct val="0"/>
              </a:spcAft>
              <a:defRPr b="1">
                <a:solidFill>
                  <a:schemeClr val="tx1"/>
                </a:solidFill>
                <a:latin typeface="Arial" charset="0"/>
                <a:cs typeface="Arial" charset="0"/>
              </a:defRPr>
            </a:lvl9pPr>
          </a:lstStyle>
          <a:p>
            <a:pPr eaLnBrk="1" hangingPunct="1">
              <a:spcBef>
                <a:spcPct val="50000"/>
              </a:spcBef>
              <a:buClr>
                <a:schemeClr val="tx2"/>
              </a:buClr>
            </a:pPr>
            <a:r>
              <a:rPr lang="en-US" sz="1400" b="0" dirty="0"/>
              <a:t>Look beyond due diligence, open the aperture to exceed traditional synergies</a:t>
            </a:r>
          </a:p>
        </p:txBody>
      </p:sp>
      <p:sp>
        <p:nvSpPr>
          <p:cNvPr id="55" name="Rectangle 6"/>
          <p:cNvSpPr>
            <a:spLocks noChangeArrowheads="1"/>
          </p:cNvSpPr>
          <p:nvPr/>
        </p:nvSpPr>
        <p:spPr bwMode="gray">
          <a:xfrm>
            <a:off x="2192403" y="1832033"/>
            <a:ext cx="6171566" cy="2127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lvl1pPr defTabSz="895350" eaLnBrk="0" hangingPunct="0">
              <a:defRPr b="1">
                <a:solidFill>
                  <a:schemeClr val="tx1"/>
                </a:solidFill>
                <a:latin typeface="Arial" charset="0"/>
                <a:cs typeface="Arial" charset="0"/>
              </a:defRPr>
            </a:lvl1pPr>
            <a:lvl2pPr marL="742950" indent="-285750" defTabSz="895350" eaLnBrk="0" hangingPunct="0">
              <a:defRPr b="1">
                <a:solidFill>
                  <a:schemeClr val="tx1"/>
                </a:solidFill>
                <a:latin typeface="Arial" charset="0"/>
                <a:cs typeface="Arial" charset="0"/>
              </a:defRPr>
            </a:lvl2pPr>
            <a:lvl3pPr marL="1143000" indent="-228600" defTabSz="895350" eaLnBrk="0" hangingPunct="0">
              <a:defRPr b="1">
                <a:solidFill>
                  <a:schemeClr val="tx1"/>
                </a:solidFill>
                <a:latin typeface="Arial" charset="0"/>
                <a:cs typeface="Arial" charset="0"/>
              </a:defRPr>
            </a:lvl3pPr>
            <a:lvl4pPr marL="1600200" indent="-228600" defTabSz="895350" eaLnBrk="0" hangingPunct="0">
              <a:defRPr b="1">
                <a:solidFill>
                  <a:schemeClr val="tx1"/>
                </a:solidFill>
                <a:latin typeface="Arial" charset="0"/>
                <a:cs typeface="Arial" charset="0"/>
              </a:defRPr>
            </a:lvl4pPr>
            <a:lvl5pPr marL="2057400" indent="-228600" defTabSz="895350" eaLnBrk="0" hangingPunct="0">
              <a:defRPr b="1">
                <a:solidFill>
                  <a:schemeClr val="tx1"/>
                </a:solidFill>
                <a:latin typeface="Arial" charset="0"/>
                <a:cs typeface="Arial" charset="0"/>
              </a:defRPr>
            </a:lvl5pPr>
            <a:lvl6pPr marL="2514600" indent="-228600" defTabSz="895350" eaLnBrk="0" fontAlgn="base" hangingPunct="0">
              <a:spcBef>
                <a:spcPct val="0"/>
              </a:spcBef>
              <a:spcAft>
                <a:spcPct val="0"/>
              </a:spcAft>
              <a:defRPr b="1">
                <a:solidFill>
                  <a:schemeClr val="tx1"/>
                </a:solidFill>
                <a:latin typeface="Arial" charset="0"/>
                <a:cs typeface="Arial" charset="0"/>
              </a:defRPr>
            </a:lvl6pPr>
            <a:lvl7pPr marL="2971800" indent="-228600" defTabSz="895350" eaLnBrk="0" fontAlgn="base" hangingPunct="0">
              <a:spcBef>
                <a:spcPct val="0"/>
              </a:spcBef>
              <a:spcAft>
                <a:spcPct val="0"/>
              </a:spcAft>
              <a:defRPr b="1">
                <a:solidFill>
                  <a:schemeClr val="tx1"/>
                </a:solidFill>
                <a:latin typeface="Arial" charset="0"/>
                <a:cs typeface="Arial" charset="0"/>
              </a:defRPr>
            </a:lvl7pPr>
            <a:lvl8pPr marL="3429000" indent="-228600" defTabSz="895350" eaLnBrk="0" fontAlgn="base" hangingPunct="0">
              <a:spcBef>
                <a:spcPct val="0"/>
              </a:spcBef>
              <a:spcAft>
                <a:spcPct val="0"/>
              </a:spcAft>
              <a:defRPr b="1">
                <a:solidFill>
                  <a:schemeClr val="tx1"/>
                </a:solidFill>
                <a:latin typeface="Arial" charset="0"/>
                <a:cs typeface="Arial" charset="0"/>
              </a:defRPr>
            </a:lvl8pPr>
            <a:lvl9pPr marL="3886200" indent="-228600" defTabSz="895350" eaLnBrk="0" fontAlgn="base" hangingPunct="0">
              <a:spcBef>
                <a:spcPct val="0"/>
              </a:spcBef>
              <a:spcAft>
                <a:spcPct val="0"/>
              </a:spcAft>
              <a:defRPr b="1">
                <a:solidFill>
                  <a:schemeClr val="tx1"/>
                </a:solidFill>
                <a:latin typeface="Arial" charset="0"/>
                <a:cs typeface="Arial" charset="0"/>
              </a:defRPr>
            </a:lvl9pPr>
          </a:lstStyle>
          <a:p>
            <a:pPr eaLnBrk="1" hangingPunct="1">
              <a:spcBef>
                <a:spcPct val="50000"/>
              </a:spcBef>
              <a:buClr>
                <a:schemeClr val="tx2"/>
              </a:buClr>
            </a:pPr>
            <a:r>
              <a:rPr lang="en-US" sz="1400" b="0" dirty="0"/>
              <a:t>Selectively transform parts of the business</a:t>
            </a:r>
          </a:p>
        </p:txBody>
      </p:sp>
      <p:sp>
        <p:nvSpPr>
          <p:cNvPr id="56" name="Rectangle 15"/>
          <p:cNvSpPr>
            <a:spLocks noChangeArrowheads="1"/>
          </p:cNvSpPr>
          <p:nvPr/>
        </p:nvSpPr>
        <p:spPr bwMode="gray">
          <a:xfrm>
            <a:off x="2192403" y="1169517"/>
            <a:ext cx="6171566"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marL="304800" indent="-304800" defTabSz="895350" eaLnBrk="0" hangingPunct="0">
              <a:defRPr b="1">
                <a:solidFill>
                  <a:schemeClr val="tx1"/>
                </a:solidFill>
                <a:latin typeface="Arial" charset="0"/>
                <a:cs typeface="Arial" charset="0"/>
              </a:defRPr>
            </a:lvl1pPr>
            <a:lvl2pPr marL="742950" indent="-285750" defTabSz="895350" eaLnBrk="0" hangingPunct="0">
              <a:defRPr b="1">
                <a:solidFill>
                  <a:schemeClr val="tx1"/>
                </a:solidFill>
                <a:latin typeface="Arial" charset="0"/>
                <a:cs typeface="Arial" charset="0"/>
              </a:defRPr>
            </a:lvl2pPr>
            <a:lvl3pPr marL="1143000" indent="-228600" defTabSz="895350" eaLnBrk="0" hangingPunct="0">
              <a:defRPr b="1">
                <a:solidFill>
                  <a:schemeClr val="tx1"/>
                </a:solidFill>
                <a:latin typeface="Arial" charset="0"/>
                <a:cs typeface="Arial" charset="0"/>
              </a:defRPr>
            </a:lvl3pPr>
            <a:lvl4pPr marL="1600200" indent="-228600" defTabSz="895350" eaLnBrk="0" hangingPunct="0">
              <a:defRPr b="1">
                <a:solidFill>
                  <a:schemeClr val="tx1"/>
                </a:solidFill>
                <a:latin typeface="Arial" charset="0"/>
                <a:cs typeface="Arial" charset="0"/>
              </a:defRPr>
            </a:lvl4pPr>
            <a:lvl5pPr marL="2057400" indent="-228600" defTabSz="895350" eaLnBrk="0" hangingPunct="0">
              <a:defRPr b="1">
                <a:solidFill>
                  <a:schemeClr val="tx1"/>
                </a:solidFill>
                <a:latin typeface="Arial" charset="0"/>
                <a:cs typeface="Arial" charset="0"/>
              </a:defRPr>
            </a:lvl5pPr>
            <a:lvl6pPr marL="2514600" indent="-228600" defTabSz="895350" eaLnBrk="0" fontAlgn="base" hangingPunct="0">
              <a:spcBef>
                <a:spcPct val="0"/>
              </a:spcBef>
              <a:spcAft>
                <a:spcPct val="0"/>
              </a:spcAft>
              <a:defRPr b="1">
                <a:solidFill>
                  <a:schemeClr val="tx1"/>
                </a:solidFill>
                <a:latin typeface="Arial" charset="0"/>
                <a:cs typeface="Arial" charset="0"/>
              </a:defRPr>
            </a:lvl6pPr>
            <a:lvl7pPr marL="2971800" indent="-228600" defTabSz="895350" eaLnBrk="0" fontAlgn="base" hangingPunct="0">
              <a:spcBef>
                <a:spcPct val="0"/>
              </a:spcBef>
              <a:spcAft>
                <a:spcPct val="0"/>
              </a:spcAft>
              <a:defRPr b="1">
                <a:solidFill>
                  <a:schemeClr val="tx1"/>
                </a:solidFill>
                <a:latin typeface="Arial" charset="0"/>
                <a:cs typeface="Arial" charset="0"/>
              </a:defRPr>
            </a:lvl7pPr>
            <a:lvl8pPr marL="3429000" indent="-228600" defTabSz="895350" eaLnBrk="0" fontAlgn="base" hangingPunct="0">
              <a:spcBef>
                <a:spcPct val="0"/>
              </a:spcBef>
              <a:spcAft>
                <a:spcPct val="0"/>
              </a:spcAft>
              <a:defRPr b="1">
                <a:solidFill>
                  <a:schemeClr val="tx1"/>
                </a:solidFill>
                <a:latin typeface="Arial" charset="0"/>
                <a:cs typeface="Arial" charset="0"/>
              </a:defRPr>
            </a:lvl8pPr>
            <a:lvl9pPr marL="3886200" indent="-228600" defTabSz="895350" eaLnBrk="0" fontAlgn="base" hangingPunct="0">
              <a:spcBef>
                <a:spcPct val="0"/>
              </a:spcBef>
              <a:spcAft>
                <a:spcPct val="0"/>
              </a:spcAft>
              <a:defRPr b="1">
                <a:solidFill>
                  <a:schemeClr val="tx1"/>
                </a:solidFill>
                <a:latin typeface="Arial" charset="0"/>
                <a:cs typeface="Arial" charset="0"/>
              </a:defRPr>
            </a:lvl9pPr>
          </a:lstStyle>
          <a:p>
            <a:pPr eaLnBrk="1" hangingPunct="1">
              <a:spcBef>
                <a:spcPct val="50000"/>
              </a:spcBef>
              <a:buClr>
                <a:schemeClr val="tx2"/>
              </a:buClr>
            </a:pPr>
            <a:r>
              <a:rPr lang="en-US" sz="1400" b="0" dirty="0"/>
              <a:t>Anchor integration architecture in deal rationale</a:t>
            </a:r>
          </a:p>
        </p:txBody>
      </p:sp>
      <p:sp>
        <p:nvSpPr>
          <p:cNvPr id="57" name="Rectangle 7"/>
          <p:cNvSpPr>
            <a:spLocks noChangeArrowheads="1"/>
          </p:cNvSpPr>
          <p:nvPr/>
        </p:nvSpPr>
        <p:spPr bwMode="gray">
          <a:xfrm>
            <a:off x="2192403" y="2163291"/>
            <a:ext cx="6171566" cy="2127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lvl1pPr defTabSz="895350" eaLnBrk="0" hangingPunct="0">
              <a:defRPr b="1">
                <a:solidFill>
                  <a:schemeClr val="tx1"/>
                </a:solidFill>
                <a:latin typeface="Arial" charset="0"/>
                <a:cs typeface="Arial" charset="0"/>
              </a:defRPr>
            </a:lvl1pPr>
            <a:lvl2pPr marL="742950" indent="-285750" defTabSz="895350" eaLnBrk="0" hangingPunct="0">
              <a:defRPr b="1">
                <a:solidFill>
                  <a:schemeClr val="tx1"/>
                </a:solidFill>
                <a:latin typeface="Arial" charset="0"/>
                <a:cs typeface="Arial" charset="0"/>
              </a:defRPr>
            </a:lvl2pPr>
            <a:lvl3pPr marL="1143000" indent="-228600" defTabSz="895350" eaLnBrk="0" hangingPunct="0">
              <a:defRPr b="1">
                <a:solidFill>
                  <a:schemeClr val="tx1"/>
                </a:solidFill>
                <a:latin typeface="Arial" charset="0"/>
                <a:cs typeface="Arial" charset="0"/>
              </a:defRPr>
            </a:lvl3pPr>
            <a:lvl4pPr marL="1600200" indent="-228600" defTabSz="895350" eaLnBrk="0" hangingPunct="0">
              <a:defRPr b="1">
                <a:solidFill>
                  <a:schemeClr val="tx1"/>
                </a:solidFill>
                <a:latin typeface="Arial" charset="0"/>
                <a:cs typeface="Arial" charset="0"/>
              </a:defRPr>
            </a:lvl4pPr>
            <a:lvl5pPr marL="2057400" indent="-228600" defTabSz="895350" eaLnBrk="0" hangingPunct="0">
              <a:defRPr b="1">
                <a:solidFill>
                  <a:schemeClr val="tx1"/>
                </a:solidFill>
                <a:latin typeface="Arial" charset="0"/>
                <a:cs typeface="Arial" charset="0"/>
              </a:defRPr>
            </a:lvl5pPr>
            <a:lvl6pPr marL="2514600" indent="-228600" defTabSz="895350" eaLnBrk="0" fontAlgn="base" hangingPunct="0">
              <a:spcBef>
                <a:spcPct val="0"/>
              </a:spcBef>
              <a:spcAft>
                <a:spcPct val="0"/>
              </a:spcAft>
              <a:defRPr b="1">
                <a:solidFill>
                  <a:schemeClr val="tx1"/>
                </a:solidFill>
                <a:latin typeface="Arial" charset="0"/>
                <a:cs typeface="Arial" charset="0"/>
              </a:defRPr>
            </a:lvl6pPr>
            <a:lvl7pPr marL="2971800" indent="-228600" defTabSz="895350" eaLnBrk="0" fontAlgn="base" hangingPunct="0">
              <a:spcBef>
                <a:spcPct val="0"/>
              </a:spcBef>
              <a:spcAft>
                <a:spcPct val="0"/>
              </a:spcAft>
              <a:defRPr b="1">
                <a:solidFill>
                  <a:schemeClr val="tx1"/>
                </a:solidFill>
                <a:latin typeface="Arial" charset="0"/>
                <a:cs typeface="Arial" charset="0"/>
              </a:defRPr>
            </a:lvl7pPr>
            <a:lvl8pPr marL="3429000" indent="-228600" defTabSz="895350" eaLnBrk="0" fontAlgn="base" hangingPunct="0">
              <a:spcBef>
                <a:spcPct val="0"/>
              </a:spcBef>
              <a:spcAft>
                <a:spcPct val="0"/>
              </a:spcAft>
              <a:defRPr b="1">
                <a:solidFill>
                  <a:schemeClr val="tx1"/>
                </a:solidFill>
                <a:latin typeface="Arial" charset="0"/>
                <a:cs typeface="Arial" charset="0"/>
              </a:defRPr>
            </a:lvl8pPr>
            <a:lvl9pPr marL="3886200" indent="-228600" defTabSz="895350" eaLnBrk="0" fontAlgn="base" hangingPunct="0">
              <a:spcBef>
                <a:spcPct val="0"/>
              </a:spcBef>
              <a:spcAft>
                <a:spcPct val="0"/>
              </a:spcAft>
              <a:defRPr b="1">
                <a:solidFill>
                  <a:schemeClr val="tx1"/>
                </a:solidFill>
                <a:latin typeface="Arial" charset="0"/>
                <a:cs typeface="Arial" charset="0"/>
              </a:defRPr>
            </a:lvl9pPr>
          </a:lstStyle>
          <a:p>
            <a:pPr eaLnBrk="1" hangingPunct="1">
              <a:spcBef>
                <a:spcPct val="50000"/>
              </a:spcBef>
              <a:buClr>
                <a:schemeClr val="tx2"/>
              </a:buClr>
            </a:pPr>
            <a:r>
              <a:rPr lang="en-US" sz="1400" b="0" dirty="0"/>
              <a:t>Protect key talent and  business momentum to avoid typical loss of revenue</a:t>
            </a:r>
          </a:p>
        </p:txBody>
      </p:sp>
      <p:cxnSp>
        <p:nvCxnSpPr>
          <p:cNvPr id="21" name="Straight Connector 20"/>
          <p:cNvCxnSpPr>
            <a:cxnSpLocks/>
          </p:cNvCxnSpPr>
          <p:nvPr/>
        </p:nvCxnSpPr>
        <p:spPr>
          <a:xfrm>
            <a:off x="469900" y="2436642"/>
            <a:ext cx="7894069" cy="0"/>
          </a:xfrm>
          <a:prstGeom prst="line">
            <a:avLst/>
          </a:prstGeom>
          <a:ln w="9525">
            <a:solidFill>
              <a:schemeClr val="accent6"/>
            </a:solidFill>
            <a:prstDash val="sysDot"/>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a:cxnSpLocks/>
          </p:cNvCxnSpPr>
          <p:nvPr/>
        </p:nvCxnSpPr>
        <p:spPr>
          <a:xfrm flipV="1">
            <a:off x="469900" y="4391692"/>
            <a:ext cx="7894069" cy="0"/>
          </a:xfrm>
          <a:prstGeom prst="line">
            <a:avLst/>
          </a:prstGeom>
          <a:ln w="9525">
            <a:solidFill>
              <a:schemeClr val="accent6"/>
            </a:solidFill>
            <a:prstDash val="sysDot"/>
          </a:ln>
        </p:spPr>
        <p:style>
          <a:lnRef idx="1">
            <a:schemeClr val="accent1"/>
          </a:lnRef>
          <a:fillRef idx="0">
            <a:schemeClr val="accent1"/>
          </a:fillRef>
          <a:effectRef idx="0">
            <a:schemeClr val="accent1"/>
          </a:effectRef>
          <a:fontRef idx="minor">
            <a:schemeClr val="tx1"/>
          </a:fontRef>
        </p:style>
      </p:cxnSp>
      <p:sp>
        <p:nvSpPr>
          <p:cNvPr id="49" name="TextBox 48"/>
          <p:cNvSpPr txBox="1">
            <a:spLocks/>
          </p:cNvSpPr>
          <p:nvPr/>
        </p:nvSpPr>
        <p:spPr>
          <a:xfrm>
            <a:off x="469901" y="1380988"/>
            <a:ext cx="1139202" cy="738664"/>
          </a:xfrm>
          <a:prstGeom prst="rect">
            <a:avLst/>
          </a:prstGeom>
        </p:spPr>
        <p:txBody>
          <a:bodyPr vert="horz" wrap="square" lIns="0" tIns="0" rIns="0" bIns="0" rtlCol="0">
            <a:sp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sz="1600" dirty="0">
                <a:solidFill>
                  <a:schemeClr val="accent2"/>
                </a:solidFill>
              </a:rPr>
              <a:t>Focus on value creation</a:t>
            </a:r>
          </a:p>
        </p:txBody>
      </p:sp>
      <p:sp>
        <p:nvSpPr>
          <p:cNvPr id="50" name="TextBox 49"/>
          <p:cNvSpPr txBox="1">
            <a:spLocks/>
          </p:cNvSpPr>
          <p:nvPr/>
        </p:nvSpPr>
        <p:spPr>
          <a:xfrm>
            <a:off x="488313" y="3120849"/>
            <a:ext cx="987052" cy="492443"/>
          </a:xfrm>
          <a:prstGeom prst="rect">
            <a:avLst/>
          </a:prstGeom>
        </p:spPr>
        <p:txBody>
          <a:bodyPr vert="horz" wrap="square" lIns="0" tIns="0" rIns="0" bIns="0" rtlCol="0">
            <a:sp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sz="1600" dirty="0">
                <a:solidFill>
                  <a:schemeClr val="accent2"/>
                </a:solidFill>
              </a:rPr>
              <a:t>Prepare well</a:t>
            </a:r>
          </a:p>
        </p:txBody>
      </p:sp>
      <p:sp>
        <p:nvSpPr>
          <p:cNvPr id="51" name="TextBox 50"/>
          <p:cNvSpPr txBox="1">
            <a:spLocks/>
          </p:cNvSpPr>
          <p:nvPr/>
        </p:nvSpPr>
        <p:spPr>
          <a:xfrm>
            <a:off x="485117" y="4884596"/>
            <a:ext cx="1085889" cy="492443"/>
          </a:xfrm>
          <a:prstGeom prst="rect">
            <a:avLst/>
          </a:prstGeom>
        </p:spPr>
        <p:txBody>
          <a:bodyPr vert="horz" wrap="square" lIns="0" tIns="0" rIns="0" bIns="0" rtlCol="0">
            <a:sp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sz="1600" dirty="0">
                <a:solidFill>
                  <a:schemeClr val="accent2"/>
                </a:solidFill>
              </a:rPr>
              <a:t>Execute rigorously</a:t>
            </a:r>
          </a:p>
        </p:txBody>
      </p:sp>
      <p:cxnSp>
        <p:nvCxnSpPr>
          <p:cNvPr id="6" name="Straight Connector 5"/>
          <p:cNvCxnSpPr/>
          <p:nvPr/>
        </p:nvCxnSpPr>
        <p:spPr>
          <a:xfrm>
            <a:off x="1663700" y="1111929"/>
            <a:ext cx="0" cy="1274577"/>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663700" y="2486779"/>
            <a:ext cx="0" cy="1786771"/>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663700" y="4483207"/>
            <a:ext cx="0" cy="1454043"/>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sp>
        <p:nvSpPr>
          <p:cNvPr id="11" name="Oval 10"/>
          <p:cNvSpPr>
            <a:spLocks/>
          </p:cNvSpPr>
          <p:nvPr/>
        </p:nvSpPr>
        <p:spPr>
          <a:xfrm>
            <a:off x="1859393" y="1161747"/>
            <a:ext cx="232959" cy="230985"/>
          </a:xfrm>
          <a:prstGeom prst="ellipse">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r>
              <a:rPr lang="en-US" sz="1400" dirty="0"/>
              <a:t>1</a:t>
            </a:r>
            <a:endParaRPr lang="en-US" dirty="0"/>
          </a:p>
        </p:txBody>
      </p:sp>
      <p:sp>
        <p:nvSpPr>
          <p:cNvPr id="84" name="Oval 83"/>
          <p:cNvSpPr>
            <a:spLocks/>
          </p:cNvSpPr>
          <p:nvPr/>
        </p:nvSpPr>
        <p:spPr>
          <a:xfrm>
            <a:off x="1859393" y="1493005"/>
            <a:ext cx="232959" cy="230985"/>
          </a:xfrm>
          <a:prstGeom prst="ellipse">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r>
              <a:rPr lang="en-US" sz="1400" dirty="0"/>
              <a:t>2</a:t>
            </a:r>
            <a:endParaRPr lang="en-US" dirty="0"/>
          </a:p>
        </p:txBody>
      </p:sp>
      <p:sp>
        <p:nvSpPr>
          <p:cNvPr id="85" name="Oval 84"/>
          <p:cNvSpPr>
            <a:spLocks/>
          </p:cNvSpPr>
          <p:nvPr/>
        </p:nvSpPr>
        <p:spPr>
          <a:xfrm>
            <a:off x="1859393" y="1824263"/>
            <a:ext cx="232959" cy="230985"/>
          </a:xfrm>
          <a:prstGeom prst="ellipse">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r>
              <a:rPr lang="en-US" sz="1400" dirty="0"/>
              <a:t>3</a:t>
            </a:r>
          </a:p>
        </p:txBody>
      </p:sp>
      <p:sp>
        <p:nvSpPr>
          <p:cNvPr id="86" name="Oval 85"/>
          <p:cNvSpPr>
            <a:spLocks/>
          </p:cNvSpPr>
          <p:nvPr/>
        </p:nvSpPr>
        <p:spPr>
          <a:xfrm>
            <a:off x="1859393" y="2155521"/>
            <a:ext cx="232959" cy="230985"/>
          </a:xfrm>
          <a:prstGeom prst="ellipse">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r>
              <a:rPr lang="en-US" sz="1400" dirty="0"/>
              <a:t>4</a:t>
            </a:r>
          </a:p>
        </p:txBody>
      </p:sp>
      <p:sp>
        <p:nvSpPr>
          <p:cNvPr id="87" name="Oval 86"/>
          <p:cNvSpPr>
            <a:spLocks/>
          </p:cNvSpPr>
          <p:nvPr/>
        </p:nvSpPr>
        <p:spPr>
          <a:xfrm>
            <a:off x="1859393" y="2486779"/>
            <a:ext cx="232959" cy="230985"/>
          </a:xfrm>
          <a:prstGeom prst="ellipse">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r>
              <a:rPr lang="en-US" sz="1400" dirty="0"/>
              <a:t>5</a:t>
            </a:r>
          </a:p>
        </p:txBody>
      </p:sp>
      <p:sp>
        <p:nvSpPr>
          <p:cNvPr id="88" name="Oval 87"/>
          <p:cNvSpPr>
            <a:spLocks/>
          </p:cNvSpPr>
          <p:nvPr/>
        </p:nvSpPr>
        <p:spPr>
          <a:xfrm>
            <a:off x="1859393" y="2818037"/>
            <a:ext cx="232959" cy="230985"/>
          </a:xfrm>
          <a:prstGeom prst="ellipse">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r>
              <a:rPr lang="en-US" sz="1400" dirty="0"/>
              <a:t>6</a:t>
            </a:r>
          </a:p>
        </p:txBody>
      </p:sp>
      <p:sp>
        <p:nvSpPr>
          <p:cNvPr id="89" name="Oval 88"/>
          <p:cNvSpPr>
            <a:spLocks/>
          </p:cNvSpPr>
          <p:nvPr/>
        </p:nvSpPr>
        <p:spPr>
          <a:xfrm>
            <a:off x="1859393" y="3359301"/>
            <a:ext cx="232959" cy="230985"/>
          </a:xfrm>
          <a:prstGeom prst="ellipse">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r>
              <a:rPr lang="en-US" sz="1400" dirty="0"/>
              <a:t>7</a:t>
            </a:r>
            <a:endParaRPr lang="en-US" dirty="0"/>
          </a:p>
        </p:txBody>
      </p:sp>
      <p:sp>
        <p:nvSpPr>
          <p:cNvPr id="90" name="Oval 89"/>
          <p:cNvSpPr>
            <a:spLocks/>
          </p:cNvSpPr>
          <p:nvPr/>
        </p:nvSpPr>
        <p:spPr>
          <a:xfrm>
            <a:off x="1859393" y="3900565"/>
            <a:ext cx="232959" cy="230985"/>
          </a:xfrm>
          <a:prstGeom prst="ellipse">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r>
              <a:rPr lang="en-US" sz="1400" dirty="0"/>
              <a:t>8</a:t>
            </a:r>
          </a:p>
        </p:txBody>
      </p:sp>
      <p:sp>
        <p:nvSpPr>
          <p:cNvPr id="91" name="Oval 90"/>
          <p:cNvSpPr>
            <a:spLocks/>
          </p:cNvSpPr>
          <p:nvPr/>
        </p:nvSpPr>
        <p:spPr>
          <a:xfrm>
            <a:off x="1859393" y="4441829"/>
            <a:ext cx="232959" cy="230985"/>
          </a:xfrm>
          <a:prstGeom prst="ellipse">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r>
              <a:rPr lang="en-US" sz="1400" dirty="0"/>
              <a:t>9</a:t>
            </a:r>
          </a:p>
        </p:txBody>
      </p:sp>
      <p:sp>
        <p:nvSpPr>
          <p:cNvPr id="92" name="Oval 91"/>
          <p:cNvSpPr>
            <a:spLocks/>
          </p:cNvSpPr>
          <p:nvPr/>
        </p:nvSpPr>
        <p:spPr>
          <a:xfrm>
            <a:off x="1859393" y="5319788"/>
            <a:ext cx="232959" cy="230985"/>
          </a:xfrm>
          <a:prstGeom prst="ellipse">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dirty="0" err="1"/>
          </a:p>
        </p:txBody>
      </p:sp>
      <p:sp>
        <p:nvSpPr>
          <p:cNvPr id="93" name="Oval 92"/>
          <p:cNvSpPr>
            <a:spLocks/>
          </p:cNvSpPr>
          <p:nvPr/>
        </p:nvSpPr>
        <p:spPr>
          <a:xfrm>
            <a:off x="1859393" y="4773087"/>
            <a:ext cx="232959" cy="230985"/>
          </a:xfrm>
          <a:prstGeom prst="ellipse">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400" dirty="0"/>
          </a:p>
        </p:txBody>
      </p:sp>
      <p:sp>
        <p:nvSpPr>
          <p:cNvPr id="94" name="Oval 93"/>
          <p:cNvSpPr>
            <a:spLocks/>
          </p:cNvSpPr>
          <p:nvPr/>
        </p:nvSpPr>
        <p:spPr>
          <a:xfrm>
            <a:off x="1859393" y="5651051"/>
            <a:ext cx="232959" cy="230985"/>
          </a:xfrm>
          <a:prstGeom prst="ellipse">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dirty="0" err="1"/>
          </a:p>
        </p:txBody>
      </p:sp>
      <p:sp>
        <p:nvSpPr>
          <p:cNvPr id="12" name="TextBox 11"/>
          <p:cNvSpPr txBox="1"/>
          <p:nvPr/>
        </p:nvSpPr>
        <p:spPr>
          <a:xfrm>
            <a:off x="1875168" y="4775957"/>
            <a:ext cx="246549" cy="215444"/>
          </a:xfrm>
          <a:prstGeom prst="rect">
            <a:avLst/>
          </a:prstGeom>
        </p:spPr>
        <p:txBody>
          <a:bodyPr vert="horz" lIns="0" tIns="0" rIns="0" bIns="0" rtlCol="0">
            <a:sp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dirty="0">
                <a:solidFill>
                  <a:schemeClr val="bg1"/>
                </a:solidFill>
              </a:rPr>
              <a:t>10</a:t>
            </a:r>
          </a:p>
        </p:txBody>
      </p:sp>
      <p:sp>
        <p:nvSpPr>
          <p:cNvPr id="96" name="TextBox 95"/>
          <p:cNvSpPr txBox="1"/>
          <p:nvPr/>
        </p:nvSpPr>
        <p:spPr>
          <a:xfrm>
            <a:off x="1875168" y="5323383"/>
            <a:ext cx="246549" cy="215444"/>
          </a:xfrm>
          <a:prstGeom prst="rect">
            <a:avLst/>
          </a:prstGeom>
        </p:spPr>
        <p:txBody>
          <a:bodyPr vert="horz" lIns="0" tIns="0" rIns="0" bIns="0" rtlCol="0">
            <a:sp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dirty="0">
                <a:solidFill>
                  <a:schemeClr val="bg1"/>
                </a:solidFill>
              </a:rPr>
              <a:t>11</a:t>
            </a:r>
          </a:p>
        </p:txBody>
      </p:sp>
      <p:sp>
        <p:nvSpPr>
          <p:cNvPr id="97" name="TextBox 96"/>
          <p:cNvSpPr txBox="1"/>
          <p:nvPr/>
        </p:nvSpPr>
        <p:spPr>
          <a:xfrm>
            <a:off x="1875168" y="5660242"/>
            <a:ext cx="246549" cy="215444"/>
          </a:xfrm>
          <a:prstGeom prst="rect">
            <a:avLst/>
          </a:prstGeom>
        </p:spPr>
        <p:txBody>
          <a:bodyPr vert="horz" lIns="0" tIns="0" rIns="0" bIns="0" rtlCol="0">
            <a:sp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dirty="0">
                <a:solidFill>
                  <a:schemeClr val="bg1"/>
                </a:solidFill>
              </a:rPr>
              <a:t>12</a:t>
            </a:r>
          </a:p>
        </p:txBody>
      </p:sp>
      <p:sp>
        <p:nvSpPr>
          <p:cNvPr id="43" name="5. Source">
            <a:extLst>
              <a:ext uri="{FF2B5EF4-FFF2-40B4-BE49-F238E27FC236}">
                <a16:creationId xmlns:a16="http://schemas.microsoft.com/office/drawing/2014/main" id="{C8464D4D-74B3-4EC7-8E78-320B108490A7}"/>
              </a:ext>
            </a:extLst>
          </p:cNvPr>
          <p:cNvSpPr>
            <a:spLocks noChangeArrowheads="1"/>
          </p:cNvSpPr>
          <p:nvPr>
            <p:custDataLst>
              <p:tags r:id="rId4"/>
            </p:custDataLst>
          </p:nvPr>
        </p:nvSpPr>
        <p:spPr bwMode="gray">
          <a:xfrm>
            <a:off x="119063" y="6507558"/>
            <a:ext cx="7200000"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marL="609600" indent="-609600" defTabSz="895350">
              <a:tabLst>
                <a:tab pos="612775" algn="l"/>
              </a:tabLst>
            </a:pPr>
            <a:r>
              <a:rPr lang="en-US" altLang="zh-CN" sz="800" dirty="0">
                <a:solidFill>
                  <a:schemeClr val="accent6"/>
                </a:solidFill>
                <a:latin typeface="Arial" panose="020B0604020202020204" pitchFamily="34" charset="0"/>
              </a:rPr>
              <a:t>SOURCE: McKinsey Merger Management Practice</a:t>
            </a:r>
          </a:p>
        </p:txBody>
      </p:sp>
    </p:spTree>
    <p:extLst>
      <p:ext uri="{BB962C8B-B14F-4D97-AF65-F5344CB8AC3E}">
        <p14:creationId xmlns:p14="http://schemas.microsoft.com/office/powerpoint/2010/main" val="29761446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220" name="Rectangle 2" hidden="1"/>
          <p:cNvGraphicFramePr>
            <a:graphicFrameLocks/>
          </p:cNvGraphicFramePr>
          <p:nvPr>
            <p:extLst/>
          </p:nvPr>
        </p:nvGraphicFramePr>
        <p:xfrm>
          <a:off x="795" y="597"/>
          <a:ext cx="158721" cy="158721"/>
        </p:xfrm>
        <a:graphic>
          <a:graphicData uri="http://schemas.openxmlformats.org/presentationml/2006/ole">
            <mc:AlternateContent xmlns:mc="http://schemas.openxmlformats.org/markup-compatibility/2006">
              <mc:Choice xmlns:v="urn:schemas-microsoft-com:vml" Requires="v">
                <p:oleObj spid="_x0000_s283668" name="think-cell Slide" r:id="rId10" imgW="0" imgH="0" progId="TCLayout.ActiveDocument.1">
                  <p:embed/>
                </p:oleObj>
              </mc:Choice>
              <mc:Fallback>
                <p:oleObj name="think-cell Slide" r:id="rId10" imgW="0" imgH="0" progId="TCLayout.ActiveDocument.1">
                  <p:embed/>
                  <p:pic>
                    <p:nvPicPr>
                      <p:cNvPr id="9220" name="Rectangle 2"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795" y="597"/>
                        <a:ext cx="158721" cy="1587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pSp>
        <p:nvGrpSpPr>
          <p:cNvPr id="37" name="Group 36"/>
          <p:cNvGrpSpPr/>
          <p:nvPr/>
        </p:nvGrpSpPr>
        <p:grpSpPr>
          <a:xfrm>
            <a:off x="7732199" y="669877"/>
            <a:ext cx="1031266" cy="346826"/>
            <a:chOff x="7663053" y="631514"/>
            <a:chExt cx="1031266" cy="346826"/>
          </a:xfrm>
        </p:grpSpPr>
        <p:grpSp>
          <p:nvGrpSpPr>
            <p:cNvPr id="35" name="Group 34"/>
            <p:cNvGrpSpPr/>
            <p:nvPr/>
          </p:nvGrpSpPr>
          <p:grpSpPr>
            <a:xfrm>
              <a:off x="7663053" y="631514"/>
              <a:ext cx="790816" cy="139281"/>
              <a:chOff x="7663053" y="631514"/>
              <a:chExt cx="790816" cy="139281"/>
            </a:xfrm>
          </p:grpSpPr>
          <p:sp>
            <p:nvSpPr>
              <p:cNvPr id="229" name="Freeform 337"/>
              <p:cNvSpPr>
                <a:spLocks/>
              </p:cNvSpPr>
              <p:nvPr/>
            </p:nvSpPr>
            <p:spPr bwMode="auto">
              <a:xfrm rot="10800000" flipV="1">
                <a:off x="7663053" y="631514"/>
                <a:ext cx="139281" cy="139281"/>
              </a:xfrm>
              <a:custGeom>
                <a:avLst/>
                <a:gdLst>
                  <a:gd name="T0" fmla="*/ 0 w 2736"/>
                  <a:gd name="T1" fmla="*/ 3840 h 3840"/>
                  <a:gd name="T2" fmla="*/ 2736 w 2736"/>
                  <a:gd name="T3" fmla="*/ 3840 h 3840"/>
                  <a:gd name="T4" fmla="*/ 2736 w 2736"/>
                  <a:gd name="T5" fmla="*/ 0 h 3840"/>
                  <a:gd name="T6" fmla="*/ 0 w 2736"/>
                  <a:gd name="T7" fmla="*/ 0 h 3840"/>
                  <a:gd name="T8" fmla="*/ 0 w 2736"/>
                  <a:gd name="T9" fmla="*/ 3840 h 3840"/>
                </a:gdLst>
                <a:ahLst/>
                <a:cxnLst>
                  <a:cxn ang="0">
                    <a:pos x="T0" y="T1"/>
                  </a:cxn>
                  <a:cxn ang="0">
                    <a:pos x="T2" y="T3"/>
                  </a:cxn>
                  <a:cxn ang="0">
                    <a:pos x="T4" y="T5"/>
                  </a:cxn>
                  <a:cxn ang="0">
                    <a:pos x="T6" y="T7"/>
                  </a:cxn>
                  <a:cxn ang="0">
                    <a:pos x="T8" y="T9"/>
                  </a:cxn>
                </a:cxnLst>
                <a:rect l="0" t="0" r="r" b="b"/>
                <a:pathLst>
                  <a:path w="2736" h="3840">
                    <a:moveTo>
                      <a:pt x="0" y="3840"/>
                    </a:moveTo>
                    <a:lnTo>
                      <a:pt x="2736" y="3840"/>
                    </a:lnTo>
                    <a:lnTo>
                      <a:pt x="2736" y="0"/>
                    </a:lnTo>
                    <a:lnTo>
                      <a:pt x="0" y="0"/>
                    </a:lnTo>
                    <a:lnTo>
                      <a:pt x="0" y="3840"/>
                    </a:lnTo>
                    <a:close/>
                  </a:path>
                </a:pathLst>
              </a:custGeom>
              <a:solidFill>
                <a:schemeClr val="accent3">
                  <a:lumMod val="20000"/>
                  <a:lumOff val="80000"/>
                </a:schemeClr>
              </a:solidFill>
              <a:ln w="19050">
                <a:noFill/>
                <a:prstDash val="dash"/>
              </a:ln>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800" dirty="0">
                  <a:solidFill>
                    <a:srgbClr val="FFFFFF"/>
                  </a:solidFill>
                </a:endParaRPr>
              </a:p>
            </p:txBody>
          </p:sp>
          <p:sp>
            <p:nvSpPr>
              <p:cNvPr id="231" name="Rectangle 336"/>
              <p:cNvSpPr>
                <a:spLocks noChangeArrowheads="1"/>
              </p:cNvSpPr>
              <p:nvPr/>
            </p:nvSpPr>
            <p:spPr bwMode="black">
              <a:xfrm>
                <a:off x="7868772" y="639599"/>
                <a:ext cx="585097"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t" anchorCtr="0">
                <a:spAutoFit/>
              </a:bodyPr>
              <a:lstStyle/>
              <a:p>
                <a:pPr>
                  <a:spcAft>
                    <a:spcPts val="408"/>
                  </a:spcAft>
                  <a:buClr>
                    <a:srgbClr val="FFFFFF"/>
                  </a:buClr>
                </a:pPr>
                <a:r>
                  <a:rPr lang="en-US" sz="800" dirty="0">
                    <a:solidFill>
                      <a:srgbClr val="000000"/>
                    </a:solidFill>
                    <a:latin typeface="Arial"/>
                  </a:rPr>
                  <a:t>Full potential</a:t>
                </a:r>
              </a:p>
            </p:txBody>
          </p:sp>
        </p:grpSp>
        <p:grpSp>
          <p:nvGrpSpPr>
            <p:cNvPr id="36" name="Group 35"/>
            <p:cNvGrpSpPr/>
            <p:nvPr/>
          </p:nvGrpSpPr>
          <p:grpSpPr>
            <a:xfrm>
              <a:off x="7663053" y="839059"/>
              <a:ext cx="1031266" cy="139281"/>
              <a:chOff x="7663053" y="915259"/>
              <a:chExt cx="1031266" cy="139281"/>
            </a:xfrm>
          </p:grpSpPr>
          <p:sp>
            <p:nvSpPr>
              <p:cNvPr id="230" name="Freeform 338"/>
              <p:cNvSpPr>
                <a:spLocks/>
              </p:cNvSpPr>
              <p:nvPr/>
            </p:nvSpPr>
            <p:spPr bwMode="auto">
              <a:xfrm rot="10800000" flipV="1">
                <a:off x="7663053" y="915259"/>
                <a:ext cx="139281" cy="139281"/>
              </a:xfrm>
              <a:custGeom>
                <a:avLst/>
                <a:gdLst>
                  <a:gd name="T0" fmla="*/ 0 w 2736"/>
                  <a:gd name="T1" fmla="*/ 3840 h 3840"/>
                  <a:gd name="T2" fmla="*/ 2736 w 2736"/>
                  <a:gd name="T3" fmla="*/ 3840 h 3840"/>
                  <a:gd name="T4" fmla="*/ 2736 w 2736"/>
                  <a:gd name="T5" fmla="*/ 0 h 3840"/>
                  <a:gd name="T6" fmla="*/ 0 w 2736"/>
                  <a:gd name="T7" fmla="*/ 0 h 3840"/>
                  <a:gd name="T8" fmla="*/ 0 w 2736"/>
                  <a:gd name="T9" fmla="*/ 3840 h 3840"/>
                </a:gdLst>
                <a:ahLst/>
                <a:cxnLst>
                  <a:cxn ang="0">
                    <a:pos x="T0" y="T1"/>
                  </a:cxn>
                  <a:cxn ang="0">
                    <a:pos x="T2" y="T3"/>
                  </a:cxn>
                  <a:cxn ang="0">
                    <a:pos x="T4" y="T5"/>
                  </a:cxn>
                  <a:cxn ang="0">
                    <a:pos x="T6" y="T7"/>
                  </a:cxn>
                  <a:cxn ang="0">
                    <a:pos x="T8" y="T9"/>
                  </a:cxn>
                </a:cxnLst>
                <a:rect l="0" t="0" r="r" b="b"/>
                <a:pathLst>
                  <a:path w="2736" h="3840">
                    <a:moveTo>
                      <a:pt x="0" y="3840"/>
                    </a:moveTo>
                    <a:lnTo>
                      <a:pt x="2736" y="3840"/>
                    </a:lnTo>
                    <a:lnTo>
                      <a:pt x="2736" y="0"/>
                    </a:lnTo>
                    <a:lnTo>
                      <a:pt x="0" y="0"/>
                    </a:lnTo>
                    <a:lnTo>
                      <a:pt x="0" y="3840"/>
                    </a:lnTo>
                    <a:close/>
                  </a:path>
                </a:pathLst>
              </a:custGeom>
              <a:solidFill>
                <a:schemeClr val="accent2"/>
              </a:solidFill>
              <a:ln w="19050">
                <a:noFill/>
                <a:prstDash val="dash"/>
              </a:ln>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800" dirty="0">
                  <a:solidFill>
                    <a:srgbClr val="FFFFFF"/>
                  </a:solidFill>
                </a:endParaRPr>
              </a:p>
            </p:txBody>
          </p:sp>
          <p:sp>
            <p:nvSpPr>
              <p:cNvPr id="232" name="Rectangle 336"/>
              <p:cNvSpPr>
                <a:spLocks noChangeArrowheads="1"/>
              </p:cNvSpPr>
              <p:nvPr/>
            </p:nvSpPr>
            <p:spPr bwMode="black">
              <a:xfrm>
                <a:off x="7868772" y="923344"/>
                <a:ext cx="825547"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t" anchorCtr="0">
                <a:spAutoFit/>
              </a:bodyPr>
              <a:lstStyle/>
              <a:p>
                <a:pPr>
                  <a:spcAft>
                    <a:spcPts val="408"/>
                  </a:spcAft>
                  <a:buClr>
                    <a:srgbClr val="FFFFFF"/>
                  </a:buClr>
                </a:pPr>
                <a:r>
                  <a:rPr lang="en-US" sz="800" dirty="0">
                    <a:solidFill>
                      <a:srgbClr val="000000"/>
                    </a:solidFill>
                    <a:latin typeface="Arial"/>
                  </a:rPr>
                  <a:t>Typical deal focus</a:t>
                </a:r>
              </a:p>
            </p:txBody>
          </p:sp>
        </p:grpSp>
      </p:grpSp>
      <p:sp>
        <p:nvSpPr>
          <p:cNvPr id="109" name="4. Footnote"/>
          <p:cNvSpPr txBox="1">
            <a:spLocks noChangeArrowheads="1"/>
          </p:cNvSpPr>
          <p:nvPr>
            <p:custDataLst>
              <p:tags r:id="rId3"/>
            </p:custDataLst>
          </p:nvPr>
        </p:nvSpPr>
        <p:spPr bwMode="gray">
          <a:xfrm>
            <a:off x="119063" y="6305945"/>
            <a:ext cx="8618537" cy="123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defPPr>
              <a:defRPr lang="en-US"/>
            </a:defPPr>
            <a:lvl1pPr marL="104775" indent="-104775" defTabSz="895350">
              <a:defRPr sz="800">
                <a:solidFill>
                  <a:srgbClr val="808080"/>
                </a:solidFill>
                <a:latin typeface="Arial"/>
              </a:defRPr>
            </a:lvl1pPr>
            <a:lvl2pPr marL="1031875" defTabSz="895350">
              <a:defRPr sz="2400"/>
            </a:lvl2pPr>
            <a:lvl3pPr marL="1217613" defTabSz="895350">
              <a:defRPr sz="2400"/>
            </a:lvl3pPr>
            <a:lvl4pPr marL="1404938" defTabSz="895350">
              <a:defRPr sz="2400"/>
            </a:lvl4pPr>
            <a:lvl5pPr marL="1792288" defTabSz="895350">
              <a:defRPr sz="2400"/>
            </a:lvl5pPr>
            <a:lvl6pPr marL="2249488" defTabSz="895350" fontAlgn="base">
              <a:spcBef>
                <a:spcPct val="0"/>
              </a:spcBef>
              <a:spcAft>
                <a:spcPct val="0"/>
              </a:spcAft>
              <a:defRPr sz="2400"/>
            </a:lvl6pPr>
            <a:lvl7pPr marL="2706688" defTabSz="895350" fontAlgn="base">
              <a:spcBef>
                <a:spcPct val="0"/>
              </a:spcBef>
              <a:spcAft>
                <a:spcPct val="0"/>
              </a:spcAft>
              <a:defRPr sz="2400"/>
            </a:lvl7pPr>
            <a:lvl8pPr marL="3163888" defTabSz="895350" fontAlgn="base">
              <a:spcBef>
                <a:spcPct val="0"/>
              </a:spcBef>
              <a:spcAft>
                <a:spcPct val="0"/>
              </a:spcAft>
              <a:defRPr sz="2400"/>
            </a:lvl8pPr>
            <a:lvl9pPr marL="3621088" defTabSz="895350" fontAlgn="base">
              <a:spcBef>
                <a:spcPct val="0"/>
              </a:spcBef>
              <a:spcAft>
                <a:spcPct val="0"/>
              </a:spcAft>
              <a:defRPr sz="2400"/>
            </a:lvl9pPr>
          </a:lstStyle>
          <a:p>
            <a:r>
              <a:rPr lang="en-US" altLang="zh-CN" dirty="0"/>
              <a:t>1 Companies that forget to protect the base business have seen significant value destruction post-merger</a:t>
            </a:r>
          </a:p>
        </p:txBody>
      </p:sp>
      <p:grpSp>
        <p:nvGrpSpPr>
          <p:cNvPr id="19" name="sticker"/>
          <p:cNvGrpSpPr/>
          <p:nvPr/>
        </p:nvGrpSpPr>
        <p:grpSpPr>
          <a:xfrm>
            <a:off x="7988549" y="401671"/>
            <a:ext cx="749051" cy="150811"/>
            <a:chOff x="-2115060" y="401671"/>
            <a:chExt cx="10852666" cy="212366"/>
          </a:xfrm>
        </p:grpSpPr>
        <p:sp>
          <p:nvSpPr>
            <p:cNvPr id="124" name="StickerRectangle"/>
            <p:cNvSpPr>
              <a:spLocks noChangeArrowheads="1"/>
            </p:cNvSpPr>
            <p:nvPr/>
          </p:nvSpPr>
          <p:spPr bwMode="gray">
            <a:xfrm>
              <a:off x="-2115060" y="401671"/>
              <a:ext cx="10852666" cy="212366"/>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a:buClr>
                  <a:srgbClr val="002960"/>
                </a:buClr>
              </a:pPr>
              <a:r>
                <a:rPr lang="en-US" sz="800" dirty="0">
                  <a:solidFill>
                    <a:srgbClr val="808080"/>
                  </a:solidFill>
                  <a:latin typeface="Arial"/>
                </a:rPr>
                <a:t>ILLUSTRATIVE</a:t>
              </a:r>
            </a:p>
          </p:txBody>
        </p:sp>
        <p:cxnSp>
          <p:nvCxnSpPr>
            <p:cNvPr id="125" name="AutoShape 31"/>
            <p:cNvCxnSpPr>
              <a:cxnSpLocks noChangeShapeType="1"/>
              <a:stCxn id="124" idx="2"/>
              <a:endCxn id="124" idx="4"/>
            </p:cNvCxnSpPr>
            <p:nvPr/>
          </p:nvCxnSpPr>
          <p:spPr bwMode="gray">
            <a:xfrm>
              <a:off x="-2115060" y="401671"/>
              <a:ext cx="0" cy="212366"/>
            </a:xfrm>
            <a:prstGeom prst="straightConnector1">
              <a:avLst/>
            </a:prstGeom>
            <a:noFill/>
            <a:ln w="9525">
              <a:solidFill>
                <a:schemeClr val="accent6"/>
              </a:solidFill>
              <a:round/>
              <a:headEnd/>
              <a:tailEnd/>
            </a:ln>
            <a:extLst>
              <a:ext uri="{909E8E84-426E-40DD-AFC4-6F175D3DCCD1}">
                <a14:hiddenFill xmlns:a14="http://schemas.microsoft.com/office/drawing/2010/main">
                  <a:noFill/>
                </a14:hiddenFill>
              </a:ext>
            </a:extLst>
          </p:spPr>
        </p:cxnSp>
        <p:cxnSp>
          <p:nvCxnSpPr>
            <p:cNvPr id="126" name="AutoShape 32"/>
            <p:cNvCxnSpPr>
              <a:cxnSpLocks noChangeShapeType="1"/>
              <a:stCxn id="124" idx="4"/>
              <a:endCxn id="124" idx="6"/>
            </p:cNvCxnSpPr>
            <p:nvPr/>
          </p:nvCxnSpPr>
          <p:spPr bwMode="gray">
            <a:xfrm>
              <a:off x="-2115060" y="614037"/>
              <a:ext cx="10852666" cy="0"/>
            </a:xfrm>
            <a:prstGeom prst="straightConnector1">
              <a:avLst/>
            </a:prstGeom>
            <a:noFill/>
            <a:ln w="25400">
              <a:solidFill>
                <a:schemeClr val="accent6"/>
              </a:solidFill>
              <a:round/>
              <a:headEnd/>
              <a:tailEnd/>
            </a:ln>
            <a:extLst>
              <a:ext uri="{909E8E84-426E-40DD-AFC4-6F175D3DCCD1}">
                <a14:hiddenFill xmlns:a14="http://schemas.microsoft.com/office/drawing/2010/main">
                  <a:noFill/>
                </a14:hiddenFill>
              </a:ext>
            </a:extLst>
          </p:spPr>
        </p:cxnSp>
      </p:grpSp>
      <p:sp>
        <p:nvSpPr>
          <p:cNvPr id="119" name="5. Source"/>
          <p:cNvSpPr>
            <a:spLocks noChangeArrowheads="1"/>
          </p:cNvSpPr>
          <p:nvPr/>
        </p:nvSpPr>
        <p:spPr bwMode="gray">
          <a:xfrm>
            <a:off x="119063" y="6507558"/>
            <a:ext cx="7200000" cy="123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marL="609600" indent="-609600" defTabSz="895350">
              <a:tabLst>
                <a:tab pos="612775" algn="l"/>
              </a:tabLst>
            </a:pPr>
            <a:r>
              <a:rPr lang="en-US" sz="800" dirty="0">
                <a:solidFill>
                  <a:srgbClr val="808080"/>
                </a:solidFill>
                <a:latin typeface="Arial"/>
              </a:rPr>
              <a:t>SOURCE: McKinsey Merger Management Practice </a:t>
            </a:r>
          </a:p>
        </p:txBody>
      </p:sp>
      <p:sp>
        <p:nvSpPr>
          <p:cNvPr id="97" name="Rectangle 96"/>
          <p:cNvSpPr>
            <a:spLocks/>
          </p:cNvSpPr>
          <p:nvPr/>
        </p:nvSpPr>
        <p:spPr>
          <a:xfrm>
            <a:off x="119063" y="1189527"/>
            <a:ext cx="8618537" cy="4865632"/>
          </a:xfrm>
          <a:prstGeom prst="rect">
            <a:avLst/>
          </a:prstGeom>
          <a:solidFill>
            <a:schemeClr val="bg1"/>
          </a:solidFill>
          <a:ln w="19050">
            <a:solidFill>
              <a:schemeClr val="accent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000" dirty="0"/>
          </a:p>
        </p:txBody>
      </p:sp>
      <p:sp>
        <p:nvSpPr>
          <p:cNvPr id="139" name="Rectangle 7"/>
          <p:cNvSpPr>
            <a:spLocks noChangeArrowheads="1"/>
          </p:cNvSpPr>
          <p:nvPr/>
        </p:nvSpPr>
        <p:spPr bwMode="gray">
          <a:xfrm>
            <a:off x="1876309" y="1493050"/>
            <a:ext cx="2226027" cy="1463712"/>
          </a:xfrm>
          <a:prstGeom prst="rect">
            <a:avLst/>
          </a:prstGeom>
          <a:solidFill>
            <a:schemeClr val="accent3">
              <a:lumMod val="20000"/>
              <a:lumOff val="80000"/>
            </a:schemeClr>
          </a:solidFill>
          <a:ln w="9525">
            <a:solidFill>
              <a:schemeClr val="bg2"/>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solidFill>
                <a:srgbClr val="FFFFFF"/>
              </a:solidFill>
            </a:endParaRPr>
          </a:p>
        </p:txBody>
      </p:sp>
      <p:sp>
        <p:nvSpPr>
          <p:cNvPr id="140" name="Rectangle 7"/>
          <p:cNvSpPr>
            <a:spLocks noChangeArrowheads="1"/>
          </p:cNvSpPr>
          <p:nvPr/>
        </p:nvSpPr>
        <p:spPr bwMode="gray">
          <a:xfrm>
            <a:off x="4154131" y="1493050"/>
            <a:ext cx="2226027" cy="1463712"/>
          </a:xfrm>
          <a:prstGeom prst="rect">
            <a:avLst/>
          </a:prstGeom>
          <a:solidFill>
            <a:schemeClr val="accent3">
              <a:lumMod val="20000"/>
              <a:lumOff val="80000"/>
            </a:schemeClr>
          </a:solidFill>
          <a:ln w="9525">
            <a:solidFill>
              <a:schemeClr val="bg2"/>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solidFill>
                <a:srgbClr val="FFFFFF"/>
              </a:solidFill>
            </a:endParaRPr>
          </a:p>
        </p:txBody>
      </p:sp>
      <p:sp>
        <p:nvSpPr>
          <p:cNvPr id="141" name="Rectangle 7"/>
          <p:cNvSpPr>
            <a:spLocks noChangeArrowheads="1"/>
          </p:cNvSpPr>
          <p:nvPr/>
        </p:nvSpPr>
        <p:spPr bwMode="gray">
          <a:xfrm>
            <a:off x="6431955" y="1493050"/>
            <a:ext cx="2226027" cy="1463712"/>
          </a:xfrm>
          <a:prstGeom prst="rect">
            <a:avLst/>
          </a:prstGeom>
          <a:solidFill>
            <a:schemeClr val="accent3">
              <a:lumMod val="20000"/>
              <a:lumOff val="80000"/>
            </a:schemeClr>
          </a:solidFill>
          <a:ln w="9525">
            <a:solidFill>
              <a:schemeClr val="bg2"/>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solidFill>
                <a:srgbClr val="FFFFFF"/>
              </a:solidFill>
            </a:endParaRPr>
          </a:p>
        </p:txBody>
      </p:sp>
      <p:sp>
        <p:nvSpPr>
          <p:cNvPr id="148" name="Rectangle 28"/>
          <p:cNvSpPr>
            <a:spLocks noChangeArrowheads="1"/>
          </p:cNvSpPr>
          <p:nvPr/>
        </p:nvSpPr>
        <p:spPr bwMode="gray">
          <a:xfrm>
            <a:off x="198680" y="1493050"/>
            <a:ext cx="1619656" cy="1463712"/>
          </a:xfrm>
          <a:prstGeom prst="rect">
            <a:avLst/>
          </a:prstGeom>
          <a:solidFill>
            <a:schemeClr val="accent1"/>
          </a:solidFill>
          <a:ln w="9525">
            <a:noFill/>
            <a:miter lim="800000"/>
            <a:headEnd/>
            <a:tailEnd/>
          </a:ln>
          <a:effectLst/>
        </p:spPr>
        <p:txBody>
          <a:bodyPr wrap="square" lIns="73152" tIns="72005" rIns="72005" bIns="72005" anchor="ctr" anchorCtr="0">
            <a:noAutofit/>
          </a:bodyPr>
          <a:lstStyle/>
          <a:p>
            <a:pPr>
              <a:buClr>
                <a:srgbClr val="002960"/>
              </a:buClr>
            </a:pPr>
            <a:r>
              <a:rPr lang="en-US" sz="1000" b="1" dirty="0">
                <a:solidFill>
                  <a:schemeClr val="accent3"/>
                </a:solidFill>
                <a:latin typeface="+mn-lt"/>
              </a:rPr>
              <a:t>Transformational </a:t>
            </a:r>
            <a:br>
              <a:rPr lang="en-US" sz="1000" b="1" dirty="0">
                <a:solidFill>
                  <a:schemeClr val="accent3"/>
                </a:solidFill>
                <a:latin typeface="+mn-lt"/>
              </a:rPr>
            </a:br>
            <a:r>
              <a:rPr lang="en-US" sz="1000" b="1" dirty="0">
                <a:solidFill>
                  <a:schemeClr val="accent3"/>
                </a:solidFill>
                <a:latin typeface="+mn-lt"/>
              </a:rPr>
              <a:t>opportunities</a:t>
            </a:r>
          </a:p>
        </p:txBody>
      </p:sp>
      <p:sp>
        <p:nvSpPr>
          <p:cNvPr id="16" name="TextBox 15"/>
          <p:cNvSpPr txBox="1">
            <a:spLocks/>
          </p:cNvSpPr>
          <p:nvPr/>
        </p:nvSpPr>
        <p:spPr>
          <a:xfrm>
            <a:off x="6476073" y="1578252"/>
            <a:ext cx="2129572" cy="784830"/>
          </a:xfrm>
          <a:prstGeom prst="rect">
            <a:avLst/>
          </a:prstGeom>
        </p:spPr>
        <p:txBody>
          <a:bodyPr vert="horz" wrap="square" lIns="0" tIns="0" rIns="0" bIns="0" rtlCol="0" anchor="t" anchorCtr="0">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114300" lvl="1" indent="-112713">
              <a:spcBef>
                <a:spcPct val="10000"/>
              </a:spcBef>
              <a:buClr>
                <a:srgbClr val="002960"/>
              </a:buClr>
            </a:pPr>
            <a:r>
              <a:rPr lang="en-US" sz="1000" dirty="0">
                <a:solidFill>
                  <a:srgbClr val="000000"/>
                </a:solidFill>
              </a:rPr>
              <a:t>New go to market models </a:t>
            </a:r>
          </a:p>
          <a:p>
            <a:pPr marL="114300" lvl="1" indent="-112713">
              <a:spcBef>
                <a:spcPct val="10000"/>
              </a:spcBef>
              <a:buClr>
                <a:srgbClr val="002960"/>
              </a:buClr>
            </a:pPr>
            <a:r>
              <a:rPr lang="en-US" sz="1000" dirty="0">
                <a:solidFill>
                  <a:srgbClr val="000000"/>
                </a:solidFill>
              </a:rPr>
              <a:t>New (disruptive) business models with new products/services – potentially supported by digital and advanced analytics</a:t>
            </a:r>
          </a:p>
        </p:txBody>
      </p:sp>
      <p:sp>
        <p:nvSpPr>
          <p:cNvPr id="142" name="Rectangle 7"/>
          <p:cNvSpPr>
            <a:spLocks noChangeArrowheads="1"/>
          </p:cNvSpPr>
          <p:nvPr/>
        </p:nvSpPr>
        <p:spPr bwMode="gray">
          <a:xfrm>
            <a:off x="1876309" y="3013789"/>
            <a:ext cx="2226027" cy="1463712"/>
          </a:xfrm>
          <a:prstGeom prst="rect">
            <a:avLst/>
          </a:prstGeom>
          <a:solidFill>
            <a:schemeClr val="accent2"/>
          </a:solidFill>
          <a:ln w="9525">
            <a:solidFill>
              <a:schemeClr val="bg2"/>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solidFill>
                <a:srgbClr val="FFFFFF"/>
              </a:solidFill>
            </a:endParaRPr>
          </a:p>
        </p:txBody>
      </p:sp>
      <p:sp>
        <p:nvSpPr>
          <p:cNvPr id="143" name="Rectangle 7"/>
          <p:cNvSpPr>
            <a:spLocks noChangeArrowheads="1"/>
          </p:cNvSpPr>
          <p:nvPr/>
        </p:nvSpPr>
        <p:spPr bwMode="gray">
          <a:xfrm>
            <a:off x="4154131" y="3013789"/>
            <a:ext cx="2226027" cy="1463712"/>
          </a:xfrm>
          <a:prstGeom prst="rect">
            <a:avLst/>
          </a:prstGeom>
          <a:solidFill>
            <a:schemeClr val="accent2"/>
          </a:solidFill>
          <a:ln w="9525">
            <a:solidFill>
              <a:schemeClr val="bg2"/>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solidFill>
                <a:srgbClr val="FFFFFF"/>
              </a:solidFill>
            </a:endParaRPr>
          </a:p>
        </p:txBody>
      </p:sp>
      <p:sp>
        <p:nvSpPr>
          <p:cNvPr id="144" name="Rectangle 7"/>
          <p:cNvSpPr>
            <a:spLocks noChangeArrowheads="1"/>
          </p:cNvSpPr>
          <p:nvPr/>
        </p:nvSpPr>
        <p:spPr bwMode="gray">
          <a:xfrm>
            <a:off x="6431955" y="3013789"/>
            <a:ext cx="2226027" cy="1463712"/>
          </a:xfrm>
          <a:prstGeom prst="rect">
            <a:avLst/>
          </a:prstGeom>
          <a:solidFill>
            <a:schemeClr val="accent3">
              <a:lumMod val="20000"/>
              <a:lumOff val="80000"/>
            </a:schemeClr>
          </a:solidFill>
          <a:ln w="9525">
            <a:solidFill>
              <a:schemeClr val="bg2"/>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solidFill>
                <a:srgbClr val="FFFFFF"/>
              </a:solidFill>
            </a:endParaRPr>
          </a:p>
        </p:txBody>
      </p:sp>
      <p:sp>
        <p:nvSpPr>
          <p:cNvPr id="149" name="Rectangle 29"/>
          <p:cNvSpPr>
            <a:spLocks noChangeArrowheads="1"/>
          </p:cNvSpPr>
          <p:nvPr/>
        </p:nvSpPr>
        <p:spPr bwMode="gray">
          <a:xfrm>
            <a:off x="198680" y="3013789"/>
            <a:ext cx="1619656" cy="1463712"/>
          </a:xfrm>
          <a:prstGeom prst="rect">
            <a:avLst/>
          </a:prstGeom>
          <a:solidFill>
            <a:schemeClr val="accent1"/>
          </a:solidFill>
          <a:ln w="9525">
            <a:noFill/>
            <a:miter lim="800000"/>
            <a:headEnd/>
            <a:tailEnd/>
          </a:ln>
          <a:effectLst/>
        </p:spPr>
        <p:txBody>
          <a:bodyPr wrap="square" lIns="73152" tIns="72005" rIns="72005" bIns="72005" anchor="ctr" anchorCtr="0">
            <a:noAutofit/>
          </a:bodyPr>
          <a:lstStyle/>
          <a:p>
            <a:pPr>
              <a:buClr>
                <a:srgbClr val="002960"/>
              </a:buClr>
            </a:pPr>
            <a:r>
              <a:rPr lang="en-US" sz="1000" b="1" dirty="0">
                <a:solidFill>
                  <a:schemeClr val="accent3"/>
                </a:solidFill>
                <a:latin typeface="+mn-lt"/>
              </a:rPr>
              <a:t>Combinational synergies</a:t>
            </a:r>
          </a:p>
        </p:txBody>
      </p:sp>
      <p:sp>
        <p:nvSpPr>
          <p:cNvPr id="145" name="Rectangle 7"/>
          <p:cNvSpPr>
            <a:spLocks noChangeArrowheads="1"/>
          </p:cNvSpPr>
          <p:nvPr/>
        </p:nvSpPr>
        <p:spPr bwMode="gray">
          <a:xfrm>
            <a:off x="1876309" y="4534526"/>
            <a:ext cx="6781673" cy="1463712"/>
          </a:xfrm>
          <a:prstGeom prst="rect">
            <a:avLst/>
          </a:prstGeom>
          <a:solidFill>
            <a:schemeClr val="accent2"/>
          </a:solidFill>
          <a:ln w="9525">
            <a:solidFill>
              <a:schemeClr val="bg2"/>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solidFill>
                <a:srgbClr val="FFFFFF"/>
              </a:solidFill>
            </a:endParaRPr>
          </a:p>
        </p:txBody>
      </p:sp>
      <p:sp>
        <p:nvSpPr>
          <p:cNvPr id="147" name="Rectangle 30"/>
          <p:cNvSpPr>
            <a:spLocks noChangeArrowheads="1"/>
          </p:cNvSpPr>
          <p:nvPr/>
        </p:nvSpPr>
        <p:spPr bwMode="gray">
          <a:xfrm>
            <a:off x="198680" y="4534526"/>
            <a:ext cx="1619656" cy="1463712"/>
          </a:xfrm>
          <a:prstGeom prst="rect">
            <a:avLst/>
          </a:prstGeom>
          <a:solidFill>
            <a:schemeClr val="accent1"/>
          </a:solidFill>
          <a:ln w="9525">
            <a:noFill/>
            <a:miter lim="800000"/>
            <a:headEnd/>
            <a:tailEnd/>
          </a:ln>
          <a:effectLst/>
        </p:spPr>
        <p:txBody>
          <a:bodyPr wrap="square" lIns="73152" tIns="72005" rIns="72005" bIns="72005" anchor="ctr" anchorCtr="0">
            <a:noAutofit/>
          </a:bodyPr>
          <a:lstStyle/>
          <a:p>
            <a:pPr>
              <a:buClr>
                <a:srgbClr val="002960"/>
              </a:buClr>
            </a:pPr>
            <a:r>
              <a:rPr lang="en-US" altLang="zh-CN" sz="1000" b="1" dirty="0">
                <a:solidFill>
                  <a:schemeClr val="accent3"/>
                </a:solidFill>
                <a:latin typeface="+mn-lt"/>
              </a:rPr>
              <a:t>Protect base business</a:t>
            </a:r>
            <a:r>
              <a:rPr lang="en-US" altLang="zh-CN" sz="1000" b="1" baseline="30000" dirty="0">
                <a:solidFill>
                  <a:schemeClr val="accent3"/>
                </a:solidFill>
                <a:latin typeface="+mn-lt"/>
              </a:rPr>
              <a:t>1</a:t>
            </a:r>
            <a:r>
              <a:rPr lang="en-US" altLang="zh-CN" sz="1000" b="1" dirty="0">
                <a:solidFill>
                  <a:schemeClr val="accent3"/>
                </a:solidFill>
                <a:latin typeface="+mn-lt"/>
              </a:rPr>
              <a:t> </a:t>
            </a:r>
          </a:p>
        </p:txBody>
      </p:sp>
      <p:sp>
        <p:nvSpPr>
          <p:cNvPr id="120" name="AutoShape 33"/>
          <p:cNvSpPr>
            <a:spLocks noChangeArrowheads="1"/>
          </p:cNvSpPr>
          <p:nvPr>
            <p:custDataLst>
              <p:tags r:id="rId4"/>
            </p:custDataLst>
          </p:nvPr>
        </p:nvSpPr>
        <p:spPr bwMode="gray">
          <a:xfrm rot="5400000">
            <a:off x="5998144" y="3660888"/>
            <a:ext cx="575007" cy="1005859"/>
          </a:xfrm>
          <a:prstGeom prst="upArrow">
            <a:avLst>
              <a:gd name="adj1" fmla="val 70000"/>
              <a:gd name="adj2" fmla="val 37678"/>
            </a:avLst>
          </a:prstGeom>
          <a:solidFill>
            <a:schemeClr val="accent2"/>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rot="10800000" vert="eaVert" lIns="0" tIns="0" rIns="0" bIns="0" anchor="ctr"/>
          <a:lstStyle>
            <a:lvl1pPr defTabSz="895350" eaLnBrk="0" hangingPunct="0">
              <a:defRPr sz="1600" baseline="30000">
                <a:solidFill>
                  <a:schemeClr val="tx1"/>
                </a:solidFill>
                <a:latin typeface="Arial" charset="0"/>
                <a:cs typeface="Arial" charset="0"/>
              </a:defRPr>
            </a:lvl1pPr>
            <a:lvl2pPr marL="742950" indent="-285750" defTabSz="895350" eaLnBrk="0" hangingPunct="0">
              <a:defRPr sz="1600" baseline="30000">
                <a:solidFill>
                  <a:schemeClr val="tx1"/>
                </a:solidFill>
                <a:latin typeface="Arial" charset="0"/>
                <a:cs typeface="Arial" charset="0"/>
              </a:defRPr>
            </a:lvl2pPr>
            <a:lvl3pPr marL="1143000" indent="-228600" defTabSz="895350" eaLnBrk="0" hangingPunct="0">
              <a:defRPr sz="1600" baseline="30000">
                <a:solidFill>
                  <a:schemeClr val="tx1"/>
                </a:solidFill>
                <a:latin typeface="Arial" charset="0"/>
                <a:cs typeface="Arial" charset="0"/>
              </a:defRPr>
            </a:lvl3pPr>
            <a:lvl4pPr marL="1600200" indent="-228600" defTabSz="895350" eaLnBrk="0" hangingPunct="0">
              <a:defRPr sz="1600" baseline="30000">
                <a:solidFill>
                  <a:schemeClr val="tx1"/>
                </a:solidFill>
                <a:latin typeface="Arial" charset="0"/>
                <a:cs typeface="Arial" charset="0"/>
              </a:defRPr>
            </a:lvl4pPr>
            <a:lvl5pPr marL="2057400" indent="-228600" defTabSz="895350" eaLnBrk="0" hangingPunct="0">
              <a:defRPr sz="1600" baseline="30000">
                <a:solidFill>
                  <a:schemeClr val="tx1"/>
                </a:solidFill>
                <a:latin typeface="Arial" charset="0"/>
                <a:cs typeface="Arial" charset="0"/>
              </a:defRPr>
            </a:lvl5pPr>
            <a:lvl6pPr marL="2514600" indent="-228600" defTabSz="895350" eaLnBrk="0" fontAlgn="base" hangingPunct="0">
              <a:spcBef>
                <a:spcPct val="0"/>
              </a:spcBef>
              <a:spcAft>
                <a:spcPct val="0"/>
              </a:spcAft>
              <a:defRPr sz="1600" baseline="30000">
                <a:solidFill>
                  <a:schemeClr val="tx1"/>
                </a:solidFill>
                <a:latin typeface="Arial" charset="0"/>
                <a:cs typeface="Arial" charset="0"/>
              </a:defRPr>
            </a:lvl6pPr>
            <a:lvl7pPr marL="2971800" indent="-228600" defTabSz="895350" eaLnBrk="0" fontAlgn="base" hangingPunct="0">
              <a:spcBef>
                <a:spcPct val="0"/>
              </a:spcBef>
              <a:spcAft>
                <a:spcPct val="0"/>
              </a:spcAft>
              <a:defRPr sz="1600" baseline="30000">
                <a:solidFill>
                  <a:schemeClr val="tx1"/>
                </a:solidFill>
                <a:latin typeface="Arial" charset="0"/>
                <a:cs typeface="Arial" charset="0"/>
              </a:defRPr>
            </a:lvl7pPr>
            <a:lvl8pPr marL="3429000" indent="-228600" defTabSz="895350" eaLnBrk="0" fontAlgn="base" hangingPunct="0">
              <a:spcBef>
                <a:spcPct val="0"/>
              </a:spcBef>
              <a:spcAft>
                <a:spcPct val="0"/>
              </a:spcAft>
              <a:defRPr sz="1600" baseline="30000">
                <a:solidFill>
                  <a:schemeClr val="tx1"/>
                </a:solidFill>
                <a:latin typeface="Arial" charset="0"/>
                <a:cs typeface="Arial" charset="0"/>
              </a:defRPr>
            </a:lvl8pPr>
            <a:lvl9pPr marL="3886200" indent="-228600" defTabSz="895350" eaLnBrk="0" fontAlgn="base" hangingPunct="0">
              <a:spcBef>
                <a:spcPct val="0"/>
              </a:spcBef>
              <a:spcAft>
                <a:spcPct val="0"/>
              </a:spcAft>
              <a:defRPr sz="1600" baseline="30000">
                <a:solidFill>
                  <a:schemeClr val="tx1"/>
                </a:solidFill>
                <a:latin typeface="Arial" charset="0"/>
                <a:cs typeface="Arial" charset="0"/>
              </a:defRPr>
            </a:lvl9pPr>
          </a:lstStyle>
          <a:p>
            <a:pPr algn="ctr" eaLnBrk="1" hangingPunct="1">
              <a:buClr>
                <a:srgbClr val="002960"/>
              </a:buClr>
            </a:pPr>
            <a:endParaRPr lang="en-US" sz="1000" b="1" baseline="0" dirty="0">
              <a:solidFill>
                <a:srgbClr val="FFFFFF"/>
              </a:solidFill>
              <a:latin typeface="+mn-lt"/>
            </a:endParaRPr>
          </a:p>
        </p:txBody>
      </p:sp>
      <p:sp>
        <p:nvSpPr>
          <p:cNvPr id="122" name="AutoShape 35"/>
          <p:cNvSpPr>
            <a:spLocks noChangeArrowheads="1"/>
          </p:cNvSpPr>
          <p:nvPr>
            <p:custDataLst>
              <p:tags r:id="rId5"/>
            </p:custDataLst>
          </p:nvPr>
        </p:nvSpPr>
        <p:spPr bwMode="gray">
          <a:xfrm>
            <a:off x="2688455" y="2514760"/>
            <a:ext cx="491835" cy="535370"/>
          </a:xfrm>
          <a:prstGeom prst="upArrow">
            <a:avLst>
              <a:gd name="adj1" fmla="val 70000"/>
              <a:gd name="adj2" fmla="val 37676"/>
            </a:avLst>
          </a:prstGeom>
          <a:solidFill>
            <a:schemeClr val="accent2"/>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nchor="ctr"/>
          <a:lstStyle>
            <a:lvl1pPr eaLnBrk="0" hangingPunct="0">
              <a:defRPr sz="1600" baseline="30000">
                <a:solidFill>
                  <a:schemeClr val="tx1"/>
                </a:solidFill>
                <a:latin typeface="Arial" charset="0"/>
                <a:cs typeface="Arial" charset="0"/>
              </a:defRPr>
            </a:lvl1pPr>
            <a:lvl2pPr marL="742950" indent="-285750" eaLnBrk="0" hangingPunct="0">
              <a:defRPr sz="1600" baseline="30000">
                <a:solidFill>
                  <a:schemeClr val="tx1"/>
                </a:solidFill>
                <a:latin typeface="Arial" charset="0"/>
                <a:cs typeface="Arial" charset="0"/>
              </a:defRPr>
            </a:lvl2pPr>
            <a:lvl3pPr marL="1143000" indent="-228600" eaLnBrk="0" hangingPunct="0">
              <a:defRPr sz="1600" baseline="30000">
                <a:solidFill>
                  <a:schemeClr val="tx1"/>
                </a:solidFill>
                <a:latin typeface="Arial" charset="0"/>
                <a:cs typeface="Arial" charset="0"/>
              </a:defRPr>
            </a:lvl3pPr>
            <a:lvl4pPr marL="1600200" indent="-228600" eaLnBrk="0" hangingPunct="0">
              <a:defRPr sz="1600" baseline="30000">
                <a:solidFill>
                  <a:schemeClr val="tx1"/>
                </a:solidFill>
                <a:latin typeface="Arial" charset="0"/>
                <a:cs typeface="Arial" charset="0"/>
              </a:defRPr>
            </a:lvl4pPr>
            <a:lvl5pPr marL="2057400" indent="-228600" eaLnBrk="0" hangingPunct="0">
              <a:defRPr sz="1600" baseline="30000">
                <a:solidFill>
                  <a:schemeClr val="tx1"/>
                </a:solidFill>
                <a:latin typeface="Arial" charset="0"/>
                <a:cs typeface="Arial" charset="0"/>
              </a:defRPr>
            </a:lvl5pPr>
            <a:lvl6pPr marL="2514600" indent="-228600" eaLnBrk="0" fontAlgn="base" hangingPunct="0">
              <a:spcBef>
                <a:spcPct val="0"/>
              </a:spcBef>
              <a:spcAft>
                <a:spcPct val="0"/>
              </a:spcAft>
              <a:defRPr sz="1600" baseline="30000">
                <a:solidFill>
                  <a:schemeClr val="tx1"/>
                </a:solidFill>
                <a:latin typeface="Arial" charset="0"/>
                <a:cs typeface="Arial" charset="0"/>
              </a:defRPr>
            </a:lvl6pPr>
            <a:lvl7pPr marL="2971800" indent="-228600" eaLnBrk="0" fontAlgn="base" hangingPunct="0">
              <a:spcBef>
                <a:spcPct val="0"/>
              </a:spcBef>
              <a:spcAft>
                <a:spcPct val="0"/>
              </a:spcAft>
              <a:defRPr sz="1600" baseline="30000">
                <a:solidFill>
                  <a:schemeClr val="tx1"/>
                </a:solidFill>
                <a:latin typeface="Arial" charset="0"/>
                <a:cs typeface="Arial" charset="0"/>
              </a:defRPr>
            </a:lvl7pPr>
            <a:lvl8pPr marL="3429000" indent="-228600" eaLnBrk="0" fontAlgn="base" hangingPunct="0">
              <a:spcBef>
                <a:spcPct val="0"/>
              </a:spcBef>
              <a:spcAft>
                <a:spcPct val="0"/>
              </a:spcAft>
              <a:defRPr sz="1600" baseline="30000">
                <a:solidFill>
                  <a:schemeClr val="tx1"/>
                </a:solidFill>
                <a:latin typeface="Arial" charset="0"/>
                <a:cs typeface="Arial" charset="0"/>
              </a:defRPr>
            </a:lvl8pPr>
            <a:lvl9pPr marL="3886200" indent="-228600" eaLnBrk="0" fontAlgn="base" hangingPunct="0">
              <a:spcBef>
                <a:spcPct val="0"/>
              </a:spcBef>
              <a:spcAft>
                <a:spcPct val="0"/>
              </a:spcAft>
              <a:defRPr sz="1600" baseline="30000">
                <a:solidFill>
                  <a:schemeClr val="tx1"/>
                </a:solidFill>
                <a:latin typeface="Arial" charset="0"/>
                <a:cs typeface="Arial" charset="0"/>
              </a:defRPr>
            </a:lvl9pPr>
          </a:lstStyle>
          <a:p>
            <a:pPr eaLnBrk="1" hangingPunct="1"/>
            <a:endParaRPr lang="en-US" sz="1000" b="1" baseline="0" dirty="0">
              <a:solidFill>
                <a:srgbClr val="000000"/>
              </a:solidFill>
              <a:latin typeface="+mn-lt"/>
            </a:endParaRPr>
          </a:p>
        </p:txBody>
      </p:sp>
      <p:sp>
        <p:nvSpPr>
          <p:cNvPr id="123" name="AutoShape 36"/>
          <p:cNvSpPr>
            <a:spLocks noChangeArrowheads="1"/>
          </p:cNvSpPr>
          <p:nvPr>
            <p:custDataLst>
              <p:tags r:id="rId6"/>
            </p:custDataLst>
          </p:nvPr>
        </p:nvSpPr>
        <p:spPr bwMode="gray">
          <a:xfrm>
            <a:off x="4854578" y="2514760"/>
            <a:ext cx="491835" cy="535370"/>
          </a:xfrm>
          <a:prstGeom prst="upArrow">
            <a:avLst>
              <a:gd name="adj1" fmla="val 70000"/>
              <a:gd name="adj2" fmla="val 37676"/>
            </a:avLst>
          </a:prstGeom>
          <a:solidFill>
            <a:schemeClr val="accent2"/>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nchor="ctr">
            <a:noAutofit/>
          </a:bodyPr>
          <a:lstStyle>
            <a:lvl1pPr eaLnBrk="0" hangingPunct="0">
              <a:defRPr sz="1600" baseline="30000">
                <a:solidFill>
                  <a:schemeClr val="tx1"/>
                </a:solidFill>
                <a:latin typeface="Arial" charset="0"/>
                <a:cs typeface="Arial" charset="0"/>
              </a:defRPr>
            </a:lvl1pPr>
            <a:lvl2pPr marL="742950" indent="-285750" eaLnBrk="0" hangingPunct="0">
              <a:defRPr sz="1600" baseline="30000">
                <a:solidFill>
                  <a:schemeClr val="tx1"/>
                </a:solidFill>
                <a:latin typeface="Arial" charset="0"/>
                <a:cs typeface="Arial" charset="0"/>
              </a:defRPr>
            </a:lvl2pPr>
            <a:lvl3pPr marL="1143000" indent="-228600" eaLnBrk="0" hangingPunct="0">
              <a:defRPr sz="1600" baseline="30000">
                <a:solidFill>
                  <a:schemeClr val="tx1"/>
                </a:solidFill>
                <a:latin typeface="Arial" charset="0"/>
                <a:cs typeface="Arial" charset="0"/>
              </a:defRPr>
            </a:lvl3pPr>
            <a:lvl4pPr marL="1600200" indent="-228600" eaLnBrk="0" hangingPunct="0">
              <a:defRPr sz="1600" baseline="30000">
                <a:solidFill>
                  <a:schemeClr val="tx1"/>
                </a:solidFill>
                <a:latin typeface="Arial" charset="0"/>
                <a:cs typeface="Arial" charset="0"/>
              </a:defRPr>
            </a:lvl4pPr>
            <a:lvl5pPr marL="2057400" indent="-228600" eaLnBrk="0" hangingPunct="0">
              <a:defRPr sz="1600" baseline="30000">
                <a:solidFill>
                  <a:schemeClr val="tx1"/>
                </a:solidFill>
                <a:latin typeface="Arial" charset="0"/>
                <a:cs typeface="Arial" charset="0"/>
              </a:defRPr>
            </a:lvl5pPr>
            <a:lvl6pPr marL="2514600" indent="-228600" eaLnBrk="0" fontAlgn="base" hangingPunct="0">
              <a:spcBef>
                <a:spcPct val="0"/>
              </a:spcBef>
              <a:spcAft>
                <a:spcPct val="0"/>
              </a:spcAft>
              <a:defRPr sz="1600" baseline="30000">
                <a:solidFill>
                  <a:schemeClr val="tx1"/>
                </a:solidFill>
                <a:latin typeface="Arial" charset="0"/>
                <a:cs typeface="Arial" charset="0"/>
              </a:defRPr>
            </a:lvl6pPr>
            <a:lvl7pPr marL="2971800" indent="-228600" eaLnBrk="0" fontAlgn="base" hangingPunct="0">
              <a:spcBef>
                <a:spcPct val="0"/>
              </a:spcBef>
              <a:spcAft>
                <a:spcPct val="0"/>
              </a:spcAft>
              <a:defRPr sz="1600" baseline="30000">
                <a:solidFill>
                  <a:schemeClr val="tx1"/>
                </a:solidFill>
                <a:latin typeface="Arial" charset="0"/>
                <a:cs typeface="Arial" charset="0"/>
              </a:defRPr>
            </a:lvl7pPr>
            <a:lvl8pPr marL="3429000" indent="-228600" eaLnBrk="0" fontAlgn="base" hangingPunct="0">
              <a:spcBef>
                <a:spcPct val="0"/>
              </a:spcBef>
              <a:spcAft>
                <a:spcPct val="0"/>
              </a:spcAft>
              <a:defRPr sz="1600" baseline="30000">
                <a:solidFill>
                  <a:schemeClr val="tx1"/>
                </a:solidFill>
                <a:latin typeface="Arial" charset="0"/>
                <a:cs typeface="Arial" charset="0"/>
              </a:defRPr>
            </a:lvl8pPr>
            <a:lvl9pPr marL="3886200" indent="-228600" eaLnBrk="0" fontAlgn="base" hangingPunct="0">
              <a:spcBef>
                <a:spcPct val="0"/>
              </a:spcBef>
              <a:spcAft>
                <a:spcPct val="0"/>
              </a:spcAft>
              <a:defRPr sz="1600" baseline="30000">
                <a:solidFill>
                  <a:schemeClr val="tx1"/>
                </a:solidFill>
                <a:latin typeface="Arial" charset="0"/>
                <a:cs typeface="Arial" charset="0"/>
              </a:defRPr>
            </a:lvl9pPr>
          </a:lstStyle>
          <a:p>
            <a:pPr eaLnBrk="1" hangingPunct="1"/>
            <a:endParaRPr lang="en-US" sz="1000" b="1" baseline="0" dirty="0">
              <a:solidFill>
                <a:srgbClr val="000000"/>
              </a:solidFill>
              <a:latin typeface="+mn-lt"/>
            </a:endParaRPr>
          </a:p>
        </p:txBody>
      </p:sp>
      <p:sp>
        <p:nvSpPr>
          <p:cNvPr id="121" name="AutoShape 34"/>
          <p:cNvSpPr>
            <a:spLocks noChangeArrowheads="1"/>
          </p:cNvSpPr>
          <p:nvPr>
            <p:custDataLst>
              <p:tags r:id="rId7"/>
            </p:custDataLst>
          </p:nvPr>
        </p:nvSpPr>
        <p:spPr bwMode="gray">
          <a:xfrm rot="3178439">
            <a:off x="6176345" y="2454656"/>
            <a:ext cx="575007" cy="903327"/>
          </a:xfrm>
          <a:prstGeom prst="upArrow">
            <a:avLst>
              <a:gd name="adj1" fmla="val 70000"/>
              <a:gd name="adj2" fmla="val 37677"/>
            </a:avLst>
          </a:prstGeom>
          <a:solidFill>
            <a:schemeClr val="accent2"/>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rot="10800000" vert="eaVert" lIns="0" tIns="0" rIns="0" bIns="0" anchor="ctr"/>
          <a:lstStyle>
            <a:lvl1pPr defTabSz="895350" eaLnBrk="0" hangingPunct="0">
              <a:defRPr sz="1600" baseline="30000">
                <a:solidFill>
                  <a:schemeClr val="tx1"/>
                </a:solidFill>
                <a:latin typeface="Arial" charset="0"/>
                <a:cs typeface="Arial" charset="0"/>
              </a:defRPr>
            </a:lvl1pPr>
            <a:lvl2pPr marL="742950" indent="-285750" defTabSz="895350" eaLnBrk="0" hangingPunct="0">
              <a:defRPr sz="1600" baseline="30000">
                <a:solidFill>
                  <a:schemeClr val="tx1"/>
                </a:solidFill>
                <a:latin typeface="Arial" charset="0"/>
                <a:cs typeface="Arial" charset="0"/>
              </a:defRPr>
            </a:lvl2pPr>
            <a:lvl3pPr marL="1143000" indent="-228600" defTabSz="895350" eaLnBrk="0" hangingPunct="0">
              <a:defRPr sz="1600" baseline="30000">
                <a:solidFill>
                  <a:schemeClr val="tx1"/>
                </a:solidFill>
                <a:latin typeface="Arial" charset="0"/>
                <a:cs typeface="Arial" charset="0"/>
              </a:defRPr>
            </a:lvl3pPr>
            <a:lvl4pPr marL="1600200" indent="-228600" defTabSz="895350" eaLnBrk="0" hangingPunct="0">
              <a:defRPr sz="1600" baseline="30000">
                <a:solidFill>
                  <a:schemeClr val="tx1"/>
                </a:solidFill>
                <a:latin typeface="Arial" charset="0"/>
                <a:cs typeface="Arial" charset="0"/>
              </a:defRPr>
            </a:lvl4pPr>
            <a:lvl5pPr marL="2057400" indent="-228600" defTabSz="895350" eaLnBrk="0" hangingPunct="0">
              <a:defRPr sz="1600" baseline="30000">
                <a:solidFill>
                  <a:schemeClr val="tx1"/>
                </a:solidFill>
                <a:latin typeface="Arial" charset="0"/>
                <a:cs typeface="Arial" charset="0"/>
              </a:defRPr>
            </a:lvl5pPr>
            <a:lvl6pPr marL="2514600" indent="-228600" defTabSz="895350" eaLnBrk="0" fontAlgn="base" hangingPunct="0">
              <a:spcBef>
                <a:spcPct val="0"/>
              </a:spcBef>
              <a:spcAft>
                <a:spcPct val="0"/>
              </a:spcAft>
              <a:defRPr sz="1600" baseline="30000">
                <a:solidFill>
                  <a:schemeClr val="tx1"/>
                </a:solidFill>
                <a:latin typeface="Arial" charset="0"/>
                <a:cs typeface="Arial" charset="0"/>
              </a:defRPr>
            </a:lvl6pPr>
            <a:lvl7pPr marL="2971800" indent="-228600" defTabSz="895350" eaLnBrk="0" fontAlgn="base" hangingPunct="0">
              <a:spcBef>
                <a:spcPct val="0"/>
              </a:spcBef>
              <a:spcAft>
                <a:spcPct val="0"/>
              </a:spcAft>
              <a:defRPr sz="1600" baseline="30000">
                <a:solidFill>
                  <a:schemeClr val="tx1"/>
                </a:solidFill>
                <a:latin typeface="Arial" charset="0"/>
                <a:cs typeface="Arial" charset="0"/>
              </a:defRPr>
            </a:lvl7pPr>
            <a:lvl8pPr marL="3429000" indent="-228600" defTabSz="895350" eaLnBrk="0" fontAlgn="base" hangingPunct="0">
              <a:spcBef>
                <a:spcPct val="0"/>
              </a:spcBef>
              <a:spcAft>
                <a:spcPct val="0"/>
              </a:spcAft>
              <a:defRPr sz="1600" baseline="30000">
                <a:solidFill>
                  <a:schemeClr val="tx1"/>
                </a:solidFill>
                <a:latin typeface="Arial" charset="0"/>
                <a:cs typeface="Arial" charset="0"/>
              </a:defRPr>
            </a:lvl8pPr>
            <a:lvl9pPr marL="3886200" indent="-228600" defTabSz="895350" eaLnBrk="0" fontAlgn="base" hangingPunct="0">
              <a:spcBef>
                <a:spcPct val="0"/>
              </a:spcBef>
              <a:spcAft>
                <a:spcPct val="0"/>
              </a:spcAft>
              <a:defRPr sz="1600" baseline="30000">
                <a:solidFill>
                  <a:schemeClr val="tx1"/>
                </a:solidFill>
                <a:latin typeface="Arial" charset="0"/>
                <a:cs typeface="Arial" charset="0"/>
              </a:defRPr>
            </a:lvl9pPr>
          </a:lstStyle>
          <a:p>
            <a:pPr algn="ctr" eaLnBrk="1" hangingPunct="1">
              <a:buClr>
                <a:srgbClr val="002960"/>
              </a:buClr>
            </a:pPr>
            <a:endParaRPr lang="en-US" sz="1000" b="1" baseline="0" dirty="0">
              <a:solidFill>
                <a:srgbClr val="FFFFFF"/>
              </a:solidFill>
              <a:latin typeface="+mn-lt"/>
            </a:endParaRPr>
          </a:p>
        </p:txBody>
      </p:sp>
      <p:sp>
        <p:nvSpPr>
          <p:cNvPr id="7" name="TextBox 6"/>
          <p:cNvSpPr txBox="1"/>
          <p:nvPr/>
        </p:nvSpPr>
        <p:spPr>
          <a:xfrm>
            <a:off x="6547114" y="3134159"/>
            <a:ext cx="2129572" cy="477054"/>
          </a:xfrm>
          <a:prstGeom prst="rect">
            <a:avLst/>
          </a:prstGeom>
        </p:spPr>
        <p:txBody>
          <a:bodyPr vert="horz" wrap="square" lIns="0" tIns="0" rIns="0" bIns="0" rtlCol="0" anchor="t" anchorCtr="0">
            <a:spAutoFit/>
          </a:bodyPr>
          <a:lstStyle>
            <a:lvl1pPr marL="0" lvl="0" indent="0" defTabSz="895350" eaLnBrk="1" latinLnBrk="0" hangingPunct="1">
              <a:buClr>
                <a:schemeClr val="tx2"/>
              </a:buClr>
              <a:buSzPct val="100000"/>
              <a:defRPr lang="x-none" sz="1400" baseline="0">
                <a:latin typeface="+mn-lt"/>
              </a:defRPr>
            </a:lvl1pPr>
            <a:lvl2pPr marL="193675" lvl="1" indent="-192088" defTabSz="895350" eaLnBrk="1" latinLnBrk="0" hangingPunct="1">
              <a:buClr>
                <a:schemeClr val="tx2"/>
              </a:buClr>
              <a:buSzPct val="125000"/>
              <a:buFont typeface="Arial" charset="0"/>
              <a:buChar char="▪"/>
              <a:defRPr lang="x-none" sz="1400" baseline="0">
                <a:latin typeface="+mn-lt"/>
              </a:defRPr>
            </a:lvl2pPr>
            <a:lvl3pPr marL="457200" lvl="2" indent="-261938" defTabSz="895350" eaLnBrk="1" latinLnBrk="0" hangingPunct="1">
              <a:buClr>
                <a:schemeClr val="tx2"/>
              </a:buClr>
              <a:buSzPct val="120000"/>
              <a:buFont typeface="Arial" charset="0"/>
              <a:buChar char="–"/>
              <a:defRPr lang="x-none" sz="1400" baseline="0">
                <a:latin typeface="+mn-lt"/>
              </a:defRPr>
            </a:lvl3pPr>
            <a:lvl4pPr marL="614363" lvl="3" indent="-155575" defTabSz="895350" eaLnBrk="1" latinLnBrk="0" hangingPunct="1">
              <a:buClr>
                <a:schemeClr val="tx2"/>
              </a:buClr>
              <a:buSzPct val="120000"/>
              <a:buFont typeface="Arial" charset="0"/>
              <a:buChar char="▫"/>
              <a:defRPr lang="x-none" sz="1400" baseline="0">
                <a:latin typeface="+mn-lt"/>
              </a:defRPr>
            </a:lvl4pPr>
            <a:lvl5pPr marL="749808" lvl="4" indent="-130175" defTabSz="895350" eaLnBrk="1" latinLnBrk="0" hangingPunct="1">
              <a:buClr>
                <a:schemeClr val="tx2"/>
              </a:buClr>
              <a:buSzPct val="89000"/>
              <a:buFont typeface="Arial" charset="0"/>
              <a:buChar char="-"/>
              <a:defRPr lang="x-none" sz="1400" baseline="0">
                <a:latin typeface="+mn-lt"/>
              </a:defRPr>
            </a:lvl5pPr>
            <a:lvl6pPr marL="749808" indent="-130175" defTabSz="895350" fontAlgn="base">
              <a:spcBef>
                <a:spcPct val="0"/>
              </a:spcBef>
              <a:spcAft>
                <a:spcPct val="0"/>
              </a:spcAft>
              <a:buClr>
                <a:schemeClr val="tx2"/>
              </a:buClr>
              <a:buSzPct val="89000"/>
              <a:buFont typeface="Arial" charset="0"/>
              <a:buChar char="-"/>
              <a:defRPr lang="x-none" baseline="0">
                <a:latin typeface="+mn-lt"/>
              </a:defRPr>
            </a:lvl6pPr>
            <a:lvl7pPr marL="749808" indent="-130175" defTabSz="895350" fontAlgn="base">
              <a:spcBef>
                <a:spcPct val="0"/>
              </a:spcBef>
              <a:spcAft>
                <a:spcPct val="0"/>
              </a:spcAft>
              <a:buClr>
                <a:schemeClr val="tx2"/>
              </a:buClr>
              <a:buSzPct val="89000"/>
              <a:buFont typeface="Arial" charset="0"/>
              <a:buChar char="-"/>
              <a:defRPr lang="x-none" baseline="0">
                <a:latin typeface="+mn-lt"/>
              </a:defRPr>
            </a:lvl7pPr>
            <a:lvl8pPr marL="749808" indent="-130175" defTabSz="895350" fontAlgn="base">
              <a:spcBef>
                <a:spcPct val="0"/>
              </a:spcBef>
              <a:spcAft>
                <a:spcPct val="0"/>
              </a:spcAft>
              <a:buClr>
                <a:schemeClr val="tx2"/>
              </a:buClr>
              <a:buSzPct val="89000"/>
              <a:buFont typeface="Arial" charset="0"/>
              <a:buChar char="-"/>
              <a:defRPr lang="x-none" baseline="0">
                <a:latin typeface="+mn-lt"/>
              </a:defRPr>
            </a:lvl8pPr>
            <a:lvl9pPr marL="749808" indent="-130175" defTabSz="895350" fontAlgn="base">
              <a:spcBef>
                <a:spcPct val="0"/>
              </a:spcBef>
              <a:spcAft>
                <a:spcPct val="0"/>
              </a:spcAft>
              <a:buClr>
                <a:schemeClr val="tx2"/>
              </a:buClr>
              <a:buSzPct val="89000"/>
              <a:buFont typeface="Arial" charset="0"/>
              <a:buChar char="-"/>
              <a:defRPr lang="x-none" baseline="0">
                <a:latin typeface="+mn-lt"/>
              </a:defRPr>
            </a:lvl9pPr>
          </a:lstStyle>
          <a:p>
            <a:pPr marL="114300" lvl="1" indent="-112713">
              <a:spcBef>
                <a:spcPct val="10000"/>
              </a:spcBef>
            </a:pPr>
            <a:r>
              <a:rPr lang="en-US" sz="1000" dirty="0"/>
              <a:t>Cross-fertilization of products, geographies, channels</a:t>
            </a:r>
          </a:p>
          <a:p>
            <a:pPr marL="114300" lvl="1" indent="-112713">
              <a:spcBef>
                <a:spcPct val="10000"/>
              </a:spcBef>
            </a:pPr>
            <a:r>
              <a:rPr lang="en-US" sz="1000" dirty="0">
                <a:ea typeface="Arial Unicode MS" panose="020B0604020202020204" pitchFamily="34" charset="-128"/>
                <a:cs typeface="Arial Unicode MS" panose="020B0604020202020204" pitchFamily="34" charset="-128"/>
              </a:rPr>
              <a:t>Contract type optimization</a:t>
            </a:r>
          </a:p>
        </p:txBody>
      </p:sp>
      <p:sp>
        <p:nvSpPr>
          <p:cNvPr id="13" name="TextBox 12"/>
          <p:cNvSpPr txBox="1"/>
          <p:nvPr/>
        </p:nvSpPr>
        <p:spPr>
          <a:xfrm>
            <a:off x="4219936" y="3151743"/>
            <a:ext cx="2129572" cy="969496"/>
          </a:xfrm>
          <a:prstGeom prst="rect">
            <a:avLst/>
          </a:prstGeom>
        </p:spPr>
        <p:txBody>
          <a:bodyPr vert="horz" wrap="square" lIns="0" tIns="0" rIns="0" bIns="0" rtlCol="0" anchor="t" anchorCtr="0">
            <a:spAutoFit/>
          </a:bodyPr>
          <a:lstStyle>
            <a:lvl1pPr marL="0" lvl="0" indent="0" defTabSz="895350" eaLnBrk="1" latinLnBrk="0" hangingPunct="1">
              <a:buClr>
                <a:schemeClr val="tx2"/>
              </a:buClr>
              <a:buSzPct val="100000"/>
              <a:defRPr lang="x-none" sz="1400" baseline="0">
                <a:latin typeface="+mn-lt"/>
              </a:defRPr>
            </a:lvl1pPr>
            <a:lvl2pPr marL="193675" lvl="1" indent="-192088" defTabSz="895350" eaLnBrk="1" latinLnBrk="0" hangingPunct="1">
              <a:buClr>
                <a:schemeClr val="tx2"/>
              </a:buClr>
              <a:buSzPct val="125000"/>
              <a:buFont typeface="Arial" charset="0"/>
              <a:buChar char="▪"/>
              <a:defRPr lang="x-none" sz="1400" baseline="0">
                <a:latin typeface="+mn-lt"/>
              </a:defRPr>
            </a:lvl2pPr>
            <a:lvl3pPr marL="457200" lvl="2" indent="-261938" defTabSz="895350" eaLnBrk="1" latinLnBrk="0" hangingPunct="1">
              <a:buClr>
                <a:schemeClr val="tx2"/>
              </a:buClr>
              <a:buSzPct val="120000"/>
              <a:buFont typeface="Arial" charset="0"/>
              <a:buChar char="–"/>
              <a:defRPr lang="x-none" sz="1400" baseline="0">
                <a:latin typeface="+mn-lt"/>
              </a:defRPr>
            </a:lvl3pPr>
            <a:lvl4pPr marL="614363" lvl="3" indent="-155575" defTabSz="895350" eaLnBrk="1" latinLnBrk="0" hangingPunct="1">
              <a:buClr>
                <a:schemeClr val="tx2"/>
              </a:buClr>
              <a:buSzPct val="120000"/>
              <a:buFont typeface="Arial" charset="0"/>
              <a:buChar char="▫"/>
              <a:defRPr lang="x-none" sz="1400" baseline="0">
                <a:latin typeface="+mn-lt"/>
              </a:defRPr>
            </a:lvl4pPr>
            <a:lvl5pPr marL="749808" lvl="4" indent="-130175" defTabSz="895350" eaLnBrk="1" latinLnBrk="0" hangingPunct="1">
              <a:buClr>
                <a:schemeClr val="tx2"/>
              </a:buClr>
              <a:buSzPct val="89000"/>
              <a:buFont typeface="Arial" charset="0"/>
              <a:buChar char="-"/>
              <a:defRPr lang="x-none" sz="1400" baseline="0">
                <a:latin typeface="+mn-lt"/>
              </a:defRPr>
            </a:lvl5pPr>
            <a:lvl6pPr marL="749808" indent="-130175" defTabSz="895350" fontAlgn="base">
              <a:spcBef>
                <a:spcPct val="0"/>
              </a:spcBef>
              <a:spcAft>
                <a:spcPct val="0"/>
              </a:spcAft>
              <a:buClr>
                <a:schemeClr val="tx2"/>
              </a:buClr>
              <a:buSzPct val="89000"/>
              <a:buFont typeface="Arial" charset="0"/>
              <a:buChar char="-"/>
              <a:defRPr lang="x-none" baseline="0">
                <a:latin typeface="+mn-lt"/>
              </a:defRPr>
            </a:lvl6pPr>
            <a:lvl7pPr marL="749808" indent="-130175" defTabSz="895350" fontAlgn="base">
              <a:spcBef>
                <a:spcPct val="0"/>
              </a:spcBef>
              <a:spcAft>
                <a:spcPct val="0"/>
              </a:spcAft>
              <a:buClr>
                <a:schemeClr val="tx2"/>
              </a:buClr>
              <a:buSzPct val="89000"/>
              <a:buFont typeface="Arial" charset="0"/>
              <a:buChar char="-"/>
              <a:defRPr lang="x-none" baseline="0">
                <a:latin typeface="+mn-lt"/>
              </a:defRPr>
            </a:lvl7pPr>
            <a:lvl8pPr marL="749808" indent="-130175" defTabSz="895350" fontAlgn="base">
              <a:spcBef>
                <a:spcPct val="0"/>
              </a:spcBef>
              <a:spcAft>
                <a:spcPct val="0"/>
              </a:spcAft>
              <a:buClr>
                <a:schemeClr val="tx2"/>
              </a:buClr>
              <a:buSzPct val="89000"/>
              <a:buFont typeface="Arial" charset="0"/>
              <a:buChar char="-"/>
              <a:defRPr lang="x-none" baseline="0">
                <a:latin typeface="+mn-lt"/>
              </a:defRPr>
            </a:lvl8pPr>
            <a:lvl9pPr marL="749808" indent="-130175" defTabSz="895350" fontAlgn="base">
              <a:spcBef>
                <a:spcPct val="0"/>
              </a:spcBef>
              <a:spcAft>
                <a:spcPct val="0"/>
              </a:spcAft>
              <a:buClr>
                <a:schemeClr val="tx2"/>
              </a:buClr>
              <a:buSzPct val="89000"/>
              <a:buFont typeface="Arial" charset="0"/>
              <a:buChar char="-"/>
              <a:defRPr lang="x-none" baseline="0">
                <a:latin typeface="+mn-lt"/>
              </a:defRPr>
            </a:lvl9pPr>
          </a:lstStyle>
          <a:p>
            <a:pPr marL="114300" lvl="1" indent="-112713">
              <a:spcBef>
                <a:spcPct val="10000"/>
              </a:spcBef>
              <a:buClr>
                <a:schemeClr val="bg1"/>
              </a:buClr>
            </a:pPr>
            <a:r>
              <a:rPr lang="en-US" sz="1000" dirty="0">
                <a:solidFill>
                  <a:schemeClr val="bg1"/>
                </a:solidFill>
              </a:rPr>
              <a:t>Capex efficiency (incl. maintenance, new capacity)</a:t>
            </a:r>
          </a:p>
          <a:p>
            <a:pPr marL="114300" lvl="1" indent="-112713">
              <a:spcBef>
                <a:spcPct val="10000"/>
              </a:spcBef>
              <a:buClr>
                <a:schemeClr val="bg1"/>
              </a:buClr>
            </a:pPr>
            <a:r>
              <a:rPr lang="en-US" sz="1000" dirty="0">
                <a:solidFill>
                  <a:schemeClr val="bg1"/>
                </a:solidFill>
              </a:rPr>
              <a:t>Working capital savings via inventory consolidation</a:t>
            </a:r>
          </a:p>
          <a:p>
            <a:pPr marL="114300" lvl="1" indent="-112713">
              <a:spcBef>
                <a:spcPct val="10000"/>
              </a:spcBef>
              <a:buClr>
                <a:schemeClr val="bg1"/>
              </a:buClr>
            </a:pPr>
            <a:r>
              <a:rPr lang="en-US" sz="1000" dirty="0">
                <a:solidFill>
                  <a:schemeClr val="bg1"/>
                </a:solidFill>
              </a:rPr>
              <a:t>Financial synergies</a:t>
            </a:r>
          </a:p>
          <a:p>
            <a:pPr marL="114300" lvl="1" indent="-112713">
              <a:spcBef>
                <a:spcPct val="10000"/>
              </a:spcBef>
              <a:buClr>
                <a:schemeClr val="bg1"/>
              </a:buClr>
            </a:pPr>
            <a:r>
              <a:rPr lang="en-US" sz="1000" dirty="0">
                <a:solidFill>
                  <a:schemeClr val="bg1"/>
                </a:solidFill>
              </a:rPr>
              <a:t>Capacity planning</a:t>
            </a:r>
          </a:p>
        </p:txBody>
      </p:sp>
      <p:sp>
        <p:nvSpPr>
          <p:cNvPr id="17" name="TextBox 16"/>
          <p:cNvSpPr txBox="1"/>
          <p:nvPr/>
        </p:nvSpPr>
        <p:spPr>
          <a:xfrm>
            <a:off x="1926998" y="3169326"/>
            <a:ext cx="2129572" cy="1046440"/>
          </a:xfrm>
          <a:prstGeom prst="rect">
            <a:avLst/>
          </a:prstGeom>
        </p:spPr>
        <p:txBody>
          <a:bodyPr vert="horz" wrap="square" lIns="0" tIns="0" rIns="0" bIns="0" rtlCol="0" anchor="t" anchorCtr="0">
            <a:spAutoFit/>
          </a:bodyPr>
          <a:lstStyle>
            <a:lvl1pPr marL="0" lvl="0" indent="0" defTabSz="895350" eaLnBrk="1" latinLnBrk="0" hangingPunct="1">
              <a:buClr>
                <a:schemeClr val="tx2"/>
              </a:buClr>
              <a:buSzPct val="100000"/>
              <a:defRPr lang="x-none" sz="1400" baseline="0">
                <a:latin typeface="+mn-lt"/>
              </a:defRPr>
            </a:lvl1pPr>
            <a:lvl2pPr marL="193675" lvl="1" indent="-192088" defTabSz="895350" eaLnBrk="1" latinLnBrk="0" hangingPunct="1">
              <a:buClr>
                <a:schemeClr val="tx2"/>
              </a:buClr>
              <a:buSzPct val="125000"/>
              <a:buFont typeface="Arial" charset="0"/>
              <a:buChar char="▪"/>
              <a:defRPr lang="x-none" sz="1400" baseline="0">
                <a:latin typeface="+mn-lt"/>
              </a:defRPr>
            </a:lvl2pPr>
            <a:lvl3pPr marL="457200" lvl="2" indent="-261938" defTabSz="895350" eaLnBrk="1" latinLnBrk="0" hangingPunct="1">
              <a:buClr>
                <a:schemeClr val="tx2"/>
              </a:buClr>
              <a:buSzPct val="120000"/>
              <a:buFont typeface="Arial" charset="0"/>
              <a:buChar char="–"/>
              <a:defRPr lang="x-none" sz="1400" baseline="0">
                <a:latin typeface="+mn-lt"/>
              </a:defRPr>
            </a:lvl3pPr>
            <a:lvl4pPr marL="614363" lvl="3" indent="-155575" defTabSz="895350" eaLnBrk="1" latinLnBrk="0" hangingPunct="1">
              <a:buClr>
                <a:schemeClr val="tx2"/>
              </a:buClr>
              <a:buSzPct val="120000"/>
              <a:buFont typeface="Arial" charset="0"/>
              <a:buChar char="▫"/>
              <a:defRPr lang="x-none" sz="1400" baseline="0">
                <a:latin typeface="+mn-lt"/>
              </a:defRPr>
            </a:lvl4pPr>
            <a:lvl5pPr marL="749808" lvl="4" indent="-130175" defTabSz="895350" eaLnBrk="1" latinLnBrk="0" hangingPunct="1">
              <a:buClr>
                <a:schemeClr val="tx2"/>
              </a:buClr>
              <a:buSzPct val="89000"/>
              <a:buFont typeface="Arial" charset="0"/>
              <a:buChar char="-"/>
              <a:defRPr lang="x-none" sz="1400" baseline="0">
                <a:latin typeface="+mn-lt"/>
              </a:defRPr>
            </a:lvl5pPr>
            <a:lvl6pPr marL="749808" indent="-130175" defTabSz="895350" fontAlgn="base">
              <a:spcBef>
                <a:spcPct val="0"/>
              </a:spcBef>
              <a:spcAft>
                <a:spcPct val="0"/>
              </a:spcAft>
              <a:buClr>
                <a:schemeClr val="tx2"/>
              </a:buClr>
              <a:buSzPct val="89000"/>
              <a:buFont typeface="Arial" charset="0"/>
              <a:buChar char="-"/>
              <a:defRPr lang="x-none" baseline="0">
                <a:latin typeface="+mn-lt"/>
              </a:defRPr>
            </a:lvl6pPr>
            <a:lvl7pPr marL="749808" indent="-130175" defTabSz="895350" fontAlgn="base">
              <a:spcBef>
                <a:spcPct val="0"/>
              </a:spcBef>
              <a:spcAft>
                <a:spcPct val="0"/>
              </a:spcAft>
              <a:buClr>
                <a:schemeClr val="tx2"/>
              </a:buClr>
              <a:buSzPct val="89000"/>
              <a:buFont typeface="Arial" charset="0"/>
              <a:buChar char="-"/>
              <a:defRPr lang="x-none" baseline="0">
                <a:latin typeface="+mn-lt"/>
              </a:defRPr>
            </a:lvl7pPr>
            <a:lvl8pPr marL="749808" indent="-130175" defTabSz="895350" fontAlgn="base">
              <a:spcBef>
                <a:spcPct val="0"/>
              </a:spcBef>
              <a:spcAft>
                <a:spcPct val="0"/>
              </a:spcAft>
              <a:buClr>
                <a:schemeClr val="tx2"/>
              </a:buClr>
              <a:buSzPct val="89000"/>
              <a:buFont typeface="Arial" charset="0"/>
              <a:buChar char="-"/>
              <a:defRPr lang="x-none" baseline="0">
                <a:latin typeface="+mn-lt"/>
              </a:defRPr>
            </a:lvl8pPr>
            <a:lvl9pPr marL="749808" indent="-130175" defTabSz="895350" fontAlgn="base">
              <a:spcBef>
                <a:spcPct val="0"/>
              </a:spcBef>
              <a:spcAft>
                <a:spcPct val="0"/>
              </a:spcAft>
              <a:buClr>
                <a:schemeClr val="tx2"/>
              </a:buClr>
              <a:buSzPct val="89000"/>
              <a:buFont typeface="Arial" charset="0"/>
              <a:buChar char="-"/>
              <a:defRPr lang="x-none" baseline="0">
                <a:latin typeface="+mn-lt"/>
              </a:defRPr>
            </a:lvl9pPr>
          </a:lstStyle>
          <a:p>
            <a:pPr marL="114300" lvl="1" indent="-112713">
              <a:spcBef>
                <a:spcPct val="10000"/>
              </a:spcBef>
              <a:buClr>
                <a:schemeClr val="bg1"/>
              </a:buClr>
            </a:pPr>
            <a:r>
              <a:rPr lang="en-US" sz="1000" dirty="0">
                <a:solidFill>
                  <a:schemeClr val="bg1"/>
                </a:solidFill>
                <a:ea typeface="Arial Unicode MS" panose="020B0604020202020204" pitchFamily="34" charset="-128"/>
                <a:cs typeface="Arial Unicode MS" panose="020B0604020202020204" pitchFamily="34" charset="-128"/>
              </a:rPr>
              <a:t>G&amp;A reduction </a:t>
            </a:r>
          </a:p>
          <a:p>
            <a:pPr marL="114300" lvl="1" indent="-112713">
              <a:spcBef>
                <a:spcPct val="10000"/>
              </a:spcBef>
              <a:buClr>
                <a:schemeClr val="bg1"/>
              </a:buClr>
            </a:pPr>
            <a:r>
              <a:rPr lang="en-US" sz="1000" dirty="0">
                <a:solidFill>
                  <a:schemeClr val="bg1"/>
                </a:solidFill>
                <a:ea typeface="Arial Unicode MS" panose="020B0604020202020204" pitchFamily="34" charset="-128"/>
                <a:cs typeface="Arial Unicode MS" panose="020B0604020202020204" pitchFamily="34" charset="-128"/>
              </a:rPr>
              <a:t>Operations/network optimization</a:t>
            </a:r>
          </a:p>
          <a:p>
            <a:pPr marL="114300" lvl="1" indent="-112713">
              <a:spcBef>
                <a:spcPct val="10000"/>
              </a:spcBef>
              <a:buClr>
                <a:schemeClr val="bg1"/>
              </a:buClr>
            </a:pPr>
            <a:r>
              <a:rPr lang="en-US" sz="1000" dirty="0">
                <a:solidFill>
                  <a:schemeClr val="bg1"/>
                </a:solidFill>
                <a:ea typeface="Arial Unicode MS" panose="020B0604020202020204" pitchFamily="34" charset="-128"/>
                <a:cs typeface="Arial Unicode MS" panose="020B0604020202020204" pitchFamily="34" charset="-128"/>
              </a:rPr>
              <a:t>Procurement </a:t>
            </a:r>
          </a:p>
          <a:p>
            <a:pPr marL="114300" lvl="1" indent="-112713">
              <a:spcBef>
                <a:spcPct val="10000"/>
              </a:spcBef>
              <a:buClr>
                <a:schemeClr val="bg1"/>
              </a:buClr>
            </a:pPr>
            <a:r>
              <a:rPr lang="en-US" sz="1000" dirty="0">
                <a:solidFill>
                  <a:schemeClr val="bg1"/>
                </a:solidFill>
                <a:ea typeface="Arial Unicode MS" panose="020B0604020202020204" pitchFamily="34" charset="-128"/>
                <a:cs typeface="Arial Unicode MS" panose="020B0604020202020204" pitchFamily="34" charset="-128"/>
              </a:rPr>
              <a:t>R&amp;D and portfolio optimization</a:t>
            </a:r>
          </a:p>
          <a:p>
            <a:pPr marL="114300" lvl="1" indent="-112713">
              <a:spcBef>
                <a:spcPct val="10000"/>
              </a:spcBef>
              <a:buClr>
                <a:schemeClr val="bg1"/>
              </a:buClr>
            </a:pPr>
            <a:r>
              <a:rPr lang="en-US" sz="1000" dirty="0">
                <a:solidFill>
                  <a:schemeClr val="bg1"/>
                </a:solidFill>
                <a:ea typeface="Arial Unicode MS" panose="020B0604020202020204" pitchFamily="34" charset="-128"/>
                <a:cs typeface="Arial Unicode MS" panose="020B0604020202020204" pitchFamily="34" charset="-128"/>
              </a:rPr>
              <a:t>Sales force/front line </a:t>
            </a:r>
          </a:p>
          <a:p>
            <a:pPr marL="114300" indent="-112713">
              <a:buClr>
                <a:schemeClr val="bg1"/>
              </a:buClr>
            </a:pPr>
            <a:endParaRPr lang="en-US" dirty="0">
              <a:solidFill>
                <a:schemeClr val="bg1"/>
              </a:solidFill>
            </a:endParaRPr>
          </a:p>
        </p:txBody>
      </p:sp>
      <p:sp>
        <p:nvSpPr>
          <p:cNvPr id="24" name="TextBox 23"/>
          <p:cNvSpPr txBox="1"/>
          <p:nvPr/>
        </p:nvSpPr>
        <p:spPr>
          <a:xfrm>
            <a:off x="1924536" y="1578252"/>
            <a:ext cx="2129572" cy="954107"/>
          </a:xfrm>
          <a:prstGeom prst="rect">
            <a:avLst/>
          </a:prstGeom>
        </p:spPr>
        <p:txBody>
          <a:bodyPr vert="horz" wrap="square" lIns="0" tIns="0" rIns="0" bIns="0" rtlCol="0" anchor="t" anchorCtr="0">
            <a:spAutoFit/>
          </a:bodyPr>
          <a:lstStyle>
            <a:lvl1pPr marL="0" lvl="0" indent="0" defTabSz="895350" eaLnBrk="1" latinLnBrk="0" hangingPunct="1">
              <a:buClr>
                <a:schemeClr val="tx2"/>
              </a:buClr>
              <a:buSzPct val="100000"/>
              <a:defRPr lang="x-none" sz="1400" baseline="0">
                <a:latin typeface="+mn-lt"/>
              </a:defRPr>
            </a:lvl1pPr>
            <a:lvl2pPr marL="193675" lvl="1" indent="-192088" defTabSz="895350" eaLnBrk="1" latinLnBrk="0" hangingPunct="1">
              <a:buClr>
                <a:schemeClr val="tx2"/>
              </a:buClr>
              <a:buSzPct val="125000"/>
              <a:buFont typeface="Arial" charset="0"/>
              <a:buChar char="▪"/>
              <a:defRPr lang="x-none" sz="1400" baseline="0">
                <a:latin typeface="+mn-lt"/>
              </a:defRPr>
            </a:lvl2pPr>
            <a:lvl3pPr marL="457200" lvl="2" indent="-261938" defTabSz="895350" eaLnBrk="1" latinLnBrk="0" hangingPunct="1">
              <a:buClr>
                <a:schemeClr val="tx2"/>
              </a:buClr>
              <a:buSzPct val="120000"/>
              <a:buFont typeface="Arial" charset="0"/>
              <a:buChar char="–"/>
              <a:defRPr lang="x-none" sz="1400" baseline="0">
                <a:latin typeface="+mn-lt"/>
              </a:defRPr>
            </a:lvl3pPr>
            <a:lvl4pPr marL="614363" lvl="3" indent="-155575" defTabSz="895350" eaLnBrk="1" latinLnBrk="0" hangingPunct="1">
              <a:buClr>
                <a:schemeClr val="tx2"/>
              </a:buClr>
              <a:buSzPct val="120000"/>
              <a:buFont typeface="Arial" charset="0"/>
              <a:buChar char="▫"/>
              <a:defRPr lang="x-none" sz="1400" baseline="0">
                <a:latin typeface="+mn-lt"/>
              </a:defRPr>
            </a:lvl4pPr>
            <a:lvl5pPr marL="749808" lvl="4" indent="-130175" defTabSz="895350" eaLnBrk="1" latinLnBrk="0" hangingPunct="1">
              <a:buClr>
                <a:schemeClr val="tx2"/>
              </a:buClr>
              <a:buSzPct val="89000"/>
              <a:buFont typeface="Arial" charset="0"/>
              <a:buChar char="-"/>
              <a:defRPr lang="x-none" sz="1400" baseline="0">
                <a:latin typeface="+mn-lt"/>
              </a:defRPr>
            </a:lvl5pPr>
            <a:lvl6pPr marL="749808" indent="-130175" defTabSz="895350" fontAlgn="base">
              <a:spcBef>
                <a:spcPct val="0"/>
              </a:spcBef>
              <a:spcAft>
                <a:spcPct val="0"/>
              </a:spcAft>
              <a:buClr>
                <a:schemeClr val="tx2"/>
              </a:buClr>
              <a:buSzPct val="89000"/>
              <a:buFont typeface="Arial" charset="0"/>
              <a:buChar char="-"/>
              <a:defRPr lang="x-none" baseline="0">
                <a:latin typeface="+mn-lt"/>
              </a:defRPr>
            </a:lvl6pPr>
            <a:lvl7pPr marL="749808" indent="-130175" defTabSz="895350" fontAlgn="base">
              <a:spcBef>
                <a:spcPct val="0"/>
              </a:spcBef>
              <a:spcAft>
                <a:spcPct val="0"/>
              </a:spcAft>
              <a:buClr>
                <a:schemeClr val="tx2"/>
              </a:buClr>
              <a:buSzPct val="89000"/>
              <a:buFont typeface="Arial" charset="0"/>
              <a:buChar char="-"/>
              <a:defRPr lang="x-none" baseline="0">
                <a:latin typeface="+mn-lt"/>
              </a:defRPr>
            </a:lvl7pPr>
            <a:lvl8pPr marL="749808" indent="-130175" defTabSz="895350" fontAlgn="base">
              <a:spcBef>
                <a:spcPct val="0"/>
              </a:spcBef>
              <a:spcAft>
                <a:spcPct val="0"/>
              </a:spcAft>
              <a:buClr>
                <a:schemeClr val="tx2"/>
              </a:buClr>
              <a:buSzPct val="89000"/>
              <a:buFont typeface="Arial" charset="0"/>
              <a:buChar char="-"/>
              <a:defRPr lang="x-none" baseline="0">
                <a:latin typeface="+mn-lt"/>
              </a:defRPr>
            </a:lvl8pPr>
            <a:lvl9pPr marL="749808" indent="-130175" defTabSz="895350" fontAlgn="base">
              <a:spcBef>
                <a:spcPct val="0"/>
              </a:spcBef>
              <a:spcAft>
                <a:spcPct val="0"/>
              </a:spcAft>
              <a:buClr>
                <a:schemeClr val="tx2"/>
              </a:buClr>
              <a:buSzPct val="89000"/>
              <a:buFont typeface="Arial" charset="0"/>
              <a:buChar char="-"/>
              <a:defRPr lang="x-none" baseline="0">
                <a:latin typeface="+mn-lt"/>
              </a:defRPr>
            </a:lvl9pPr>
          </a:lstStyle>
          <a:p>
            <a:pPr marL="114300" lvl="1" indent="-112713">
              <a:spcBef>
                <a:spcPct val="10000"/>
              </a:spcBef>
            </a:pPr>
            <a:r>
              <a:rPr lang="en-US" sz="1000" dirty="0">
                <a:ea typeface="Arial Unicode MS" panose="020B0604020202020204" pitchFamily="34" charset="-128"/>
                <a:cs typeface="Arial Unicode MS" panose="020B0604020202020204" pitchFamily="34" charset="-128"/>
              </a:rPr>
              <a:t>Shared service platforms</a:t>
            </a:r>
          </a:p>
          <a:p>
            <a:pPr marL="114300" lvl="1" indent="-112713">
              <a:spcBef>
                <a:spcPct val="10000"/>
              </a:spcBef>
            </a:pPr>
            <a:r>
              <a:rPr lang="en-US" sz="1000" dirty="0">
                <a:ea typeface="Arial Unicode MS" panose="020B0604020202020204" pitchFamily="34" charset="-128"/>
                <a:cs typeface="Arial Unicode MS" panose="020B0604020202020204" pitchFamily="34" charset="-128"/>
              </a:rPr>
              <a:t>Focused effort on excellence, e.g., in procurement and operations </a:t>
            </a:r>
          </a:p>
          <a:p>
            <a:pPr marL="114300" lvl="1" indent="-112713">
              <a:spcBef>
                <a:spcPct val="10000"/>
              </a:spcBef>
            </a:pPr>
            <a:r>
              <a:rPr lang="en-US" sz="1000" dirty="0">
                <a:ea typeface="Arial Unicode MS" panose="020B0604020202020204" pitchFamily="34" charset="-128"/>
                <a:cs typeface="Arial Unicode MS" panose="020B0604020202020204" pitchFamily="34" charset="-128"/>
              </a:rPr>
              <a:t>Step-change improvements (e.g., assets, R&amp;D) – also enabled through digital/ advanced analytics</a:t>
            </a:r>
          </a:p>
        </p:txBody>
      </p:sp>
      <p:sp>
        <p:nvSpPr>
          <p:cNvPr id="26" name="TextBox 25"/>
          <p:cNvSpPr txBox="1"/>
          <p:nvPr/>
        </p:nvSpPr>
        <p:spPr>
          <a:xfrm>
            <a:off x="4219936" y="1578253"/>
            <a:ext cx="2129572" cy="307777"/>
          </a:xfrm>
          <a:prstGeom prst="rect">
            <a:avLst/>
          </a:prstGeom>
        </p:spPr>
        <p:txBody>
          <a:bodyPr vert="horz" wrap="square" lIns="0" tIns="0" rIns="0" bIns="0" rtlCol="0" anchor="t" anchorCtr="0">
            <a:spAutoFit/>
          </a:bodyPr>
          <a:lstStyle>
            <a:lvl1pPr marL="0" lvl="0" indent="0" defTabSz="895350" eaLnBrk="1" latinLnBrk="0" hangingPunct="1">
              <a:buClr>
                <a:schemeClr val="tx2"/>
              </a:buClr>
              <a:buSzPct val="100000"/>
              <a:defRPr lang="x-none" sz="1400" baseline="0">
                <a:latin typeface="+mn-lt"/>
              </a:defRPr>
            </a:lvl1pPr>
            <a:lvl2pPr marL="193675" lvl="1" indent="-192088" defTabSz="895350" eaLnBrk="1" latinLnBrk="0" hangingPunct="1">
              <a:buClr>
                <a:schemeClr val="tx2"/>
              </a:buClr>
              <a:buSzPct val="125000"/>
              <a:buFont typeface="Arial" charset="0"/>
              <a:buChar char="▪"/>
              <a:defRPr lang="x-none" sz="1400" baseline="0">
                <a:latin typeface="+mn-lt"/>
              </a:defRPr>
            </a:lvl2pPr>
            <a:lvl3pPr marL="457200" lvl="2" indent="-261938" defTabSz="895350" eaLnBrk="1" latinLnBrk="0" hangingPunct="1">
              <a:buClr>
                <a:schemeClr val="tx2"/>
              </a:buClr>
              <a:buSzPct val="120000"/>
              <a:buFont typeface="Arial" charset="0"/>
              <a:buChar char="–"/>
              <a:defRPr lang="x-none" sz="1400" baseline="0">
                <a:latin typeface="+mn-lt"/>
              </a:defRPr>
            </a:lvl3pPr>
            <a:lvl4pPr marL="614363" lvl="3" indent="-155575" defTabSz="895350" eaLnBrk="1" latinLnBrk="0" hangingPunct="1">
              <a:buClr>
                <a:schemeClr val="tx2"/>
              </a:buClr>
              <a:buSzPct val="120000"/>
              <a:buFont typeface="Arial" charset="0"/>
              <a:buChar char="▫"/>
              <a:defRPr lang="x-none" sz="1400" baseline="0">
                <a:latin typeface="+mn-lt"/>
              </a:defRPr>
            </a:lvl4pPr>
            <a:lvl5pPr marL="749808" lvl="4" indent="-130175" defTabSz="895350" eaLnBrk="1" latinLnBrk="0" hangingPunct="1">
              <a:buClr>
                <a:schemeClr val="tx2"/>
              </a:buClr>
              <a:buSzPct val="89000"/>
              <a:buFont typeface="Arial" charset="0"/>
              <a:buChar char="-"/>
              <a:defRPr lang="x-none" sz="1400" baseline="0">
                <a:latin typeface="+mn-lt"/>
              </a:defRPr>
            </a:lvl5pPr>
            <a:lvl6pPr marL="749808" indent="-130175" defTabSz="895350" fontAlgn="base">
              <a:spcBef>
                <a:spcPct val="0"/>
              </a:spcBef>
              <a:spcAft>
                <a:spcPct val="0"/>
              </a:spcAft>
              <a:buClr>
                <a:schemeClr val="tx2"/>
              </a:buClr>
              <a:buSzPct val="89000"/>
              <a:buFont typeface="Arial" charset="0"/>
              <a:buChar char="-"/>
              <a:defRPr lang="x-none" baseline="0">
                <a:latin typeface="+mn-lt"/>
              </a:defRPr>
            </a:lvl6pPr>
            <a:lvl7pPr marL="749808" indent="-130175" defTabSz="895350" fontAlgn="base">
              <a:spcBef>
                <a:spcPct val="0"/>
              </a:spcBef>
              <a:spcAft>
                <a:spcPct val="0"/>
              </a:spcAft>
              <a:buClr>
                <a:schemeClr val="tx2"/>
              </a:buClr>
              <a:buSzPct val="89000"/>
              <a:buFont typeface="Arial" charset="0"/>
              <a:buChar char="-"/>
              <a:defRPr lang="x-none" baseline="0">
                <a:latin typeface="+mn-lt"/>
              </a:defRPr>
            </a:lvl7pPr>
            <a:lvl8pPr marL="749808" indent="-130175" defTabSz="895350" fontAlgn="base">
              <a:spcBef>
                <a:spcPct val="0"/>
              </a:spcBef>
              <a:spcAft>
                <a:spcPct val="0"/>
              </a:spcAft>
              <a:buClr>
                <a:schemeClr val="tx2"/>
              </a:buClr>
              <a:buSzPct val="89000"/>
              <a:buFont typeface="Arial" charset="0"/>
              <a:buChar char="-"/>
              <a:defRPr lang="x-none" baseline="0">
                <a:latin typeface="+mn-lt"/>
              </a:defRPr>
            </a:lvl8pPr>
            <a:lvl9pPr marL="749808" indent="-130175" defTabSz="895350" fontAlgn="base">
              <a:spcBef>
                <a:spcPct val="0"/>
              </a:spcBef>
              <a:spcAft>
                <a:spcPct val="0"/>
              </a:spcAft>
              <a:buClr>
                <a:schemeClr val="tx2"/>
              </a:buClr>
              <a:buSzPct val="89000"/>
              <a:buFont typeface="Arial" charset="0"/>
              <a:buChar char="-"/>
              <a:defRPr lang="x-none" baseline="0">
                <a:latin typeface="+mn-lt"/>
              </a:defRPr>
            </a:lvl9pPr>
          </a:lstStyle>
          <a:p>
            <a:pPr marL="114300" lvl="1" indent="-112713">
              <a:spcBef>
                <a:spcPct val="10000"/>
              </a:spcBef>
            </a:pPr>
            <a:r>
              <a:rPr lang="en-US" sz="1000" dirty="0"/>
              <a:t>Improved portfolio/ capital allocation process</a:t>
            </a:r>
          </a:p>
        </p:txBody>
      </p:sp>
      <p:sp>
        <p:nvSpPr>
          <p:cNvPr id="32" name="TextBox 31"/>
          <p:cNvSpPr txBox="1"/>
          <p:nvPr/>
        </p:nvSpPr>
        <p:spPr>
          <a:xfrm>
            <a:off x="1937126" y="4654898"/>
            <a:ext cx="6225505" cy="1169551"/>
          </a:xfrm>
          <a:prstGeom prst="rect">
            <a:avLst/>
          </a:prstGeom>
        </p:spPr>
        <p:txBody>
          <a:bodyPr vert="horz" wrap="square" lIns="0" tIns="0" rIns="0" bIns="0" rtlCol="0" anchor="t" anchorCtr="0">
            <a:spAutoFit/>
          </a:bodyPr>
          <a:lstStyle>
            <a:lvl1pPr marL="0" lvl="0" indent="0" defTabSz="895350" eaLnBrk="1" latinLnBrk="0" hangingPunct="1">
              <a:buClr>
                <a:schemeClr val="tx2"/>
              </a:buClr>
              <a:buSzPct val="100000"/>
              <a:defRPr lang="x-none" sz="1400" baseline="0">
                <a:latin typeface="+mn-lt"/>
              </a:defRPr>
            </a:lvl1pPr>
            <a:lvl2pPr marL="193675" lvl="1" indent="-192088" defTabSz="895350" eaLnBrk="1" latinLnBrk="0" hangingPunct="1">
              <a:buClr>
                <a:schemeClr val="tx2"/>
              </a:buClr>
              <a:buSzPct val="125000"/>
              <a:buFont typeface="Arial" charset="0"/>
              <a:buChar char="▪"/>
              <a:defRPr lang="x-none" sz="1400" baseline="0">
                <a:latin typeface="+mn-lt"/>
              </a:defRPr>
            </a:lvl2pPr>
            <a:lvl3pPr marL="457200" lvl="2" indent="-261938" defTabSz="895350" eaLnBrk="1" latinLnBrk="0" hangingPunct="1">
              <a:buClr>
                <a:schemeClr val="tx2"/>
              </a:buClr>
              <a:buSzPct val="120000"/>
              <a:buFont typeface="Arial" charset="0"/>
              <a:buChar char="–"/>
              <a:defRPr lang="x-none" sz="1400" baseline="0">
                <a:latin typeface="+mn-lt"/>
              </a:defRPr>
            </a:lvl3pPr>
            <a:lvl4pPr marL="614363" lvl="3" indent="-155575" defTabSz="895350" eaLnBrk="1" latinLnBrk="0" hangingPunct="1">
              <a:buClr>
                <a:schemeClr val="tx2"/>
              </a:buClr>
              <a:buSzPct val="120000"/>
              <a:buFont typeface="Arial" charset="0"/>
              <a:buChar char="▫"/>
              <a:defRPr lang="x-none" sz="1400" baseline="0">
                <a:latin typeface="+mn-lt"/>
              </a:defRPr>
            </a:lvl4pPr>
            <a:lvl5pPr marL="749808" lvl="4" indent="-130175" defTabSz="895350" eaLnBrk="1" latinLnBrk="0" hangingPunct="1">
              <a:buClr>
                <a:schemeClr val="tx2"/>
              </a:buClr>
              <a:buSzPct val="89000"/>
              <a:buFont typeface="Arial" charset="0"/>
              <a:buChar char="-"/>
              <a:defRPr lang="x-none" sz="1400" baseline="0">
                <a:latin typeface="+mn-lt"/>
              </a:defRPr>
            </a:lvl5pPr>
            <a:lvl6pPr marL="749808" indent="-130175" defTabSz="895350" fontAlgn="base">
              <a:spcBef>
                <a:spcPct val="0"/>
              </a:spcBef>
              <a:spcAft>
                <a:spcPct val="0"/>
              </a:spcAft>
              <a:buClr>
                <a:schemeClr val="tx2"/>
              </a:buClr>
              <a:buSzPct val="89000"/>
              <a:buFont typeface="Arial" charset="0"/>
              <a:buChar char="-"/>
              <a:defRPr lang="x-none" baseline="0">
                <a:latin typeface="+mn-lt"/>
              </a:defRPr>
            </a:lvl6pPr>
            <a:lvl7pPr marL="749808" indent="-130175" defTabSz="895350" fontAlgn="base">
              <a:spcBef>
                <a:spcPct val="0"/>
              </a:spcBef>
              <a:spcAft>
                <a:spcPct val="0"/>
              </a:spcAft>
              <a:buClr>
                <a:schemeClr val="tx2"/>
              </a:buClr>
              <a:buSzPct val="89000"/>
              <a:buFont typeface="Arial" charset="0"/>
              <a:buChar char="-"/>
              <a:defRPr lang="x-none" baseline="0">
                <a:latin typeface="+mn-lt"/>
              </a:defRPr>
            </a:lvl7pPr>
            <a:lvl8pPr marL="749808" indent="-130175" defTabSz="895350" fontAlgn="base">
              <a:spcBef>
                <a:spcPct val="0"/>
              </a:spcBef>
              <a:spcAft>
                <a:spcPct val="0"/>
              </a:spcAft>
              <a:buClr>
                <a:schemeClr val="tx2"/>
              </a:buClr>
              <a:buSzPct val="89000"/>
              <a:buFont typeface="Arial" charset="0"/>
              <a:buChar char="-"/>
              <a:defRPr lang="x-none" baseline="0">
                <a:latin typeface="+mn-lt"/>
              </a:defRPr>
            </a:lvl8pPr>
            <a:lvl9pPr marL="749808" indent="-130175" defTabSz="895350" fontAlgn="base">
              <a:spcBef>
                <a:spcPct val="0"/>
              </a:spcBef>
              <a:spcAft>
                <a:spcPct val="0"/>
              </a:spcAft>
              <a:buClr>
                <a:schemeClr val="tx2"/>
              </a:buClr>
              <a:buSzPct val="89000"/>
              <a:buFont typeface="Arial" charset="0"/>
              <a:buChar char="-"/>
              <a:defRPr lang="x-none" baseline="0">
                <a:latin typeface="+mn-lt"/>
              </a:defRPr>
            </a:lvl9pPr>
          </a:lstStyle>
          <a:p>
            <a:pPr marL="114300" lvl="1" indent="-112713">
              <a:spcBef>
                <a:spcPct val="10000"/>
              </a:spcBef>
              <a:buClr>
                <a:schemeClr val="bg1"/>
              </a:buClr>
            </a:pPr>
            <a:r>
              <a:rPr lang="en-US" sz="1000" dirty="0">
                <a:solidFill>
                  <a:schemeClr val="bg2"/>
                </a:solidFill>
              </a:rPr>
              <a:t>Protection of current customer accounts and sales volume (especially where business overlap)</a:t>
            </a:r>
          </a:p>
          <a:p>
            <a:pPr marL="114300" lvl="1" indent="-112713">
              <a:spcBef>
                <a:spcPct val="10000"/>
              </a:spcBef>
              <a:buClr>
                <a:schemeClr val="bg1"/>
              </a:buClr>
            </a:pPr>
            <a:r>
              <a:rPr lang="en-US" sz="1000" dirty="0">
                <a:solidFill>
                  <a:schemeClr val="bg2"/>
                </a:solidFill>
              </a:rPr>
              <a:t>Talent retention around the globe</a:t>
            </a:r>
          </a:p>
          <a:p>
            <a:pPr marL="114300" lvl="1" indent="-112713">
              <a:spcBef>
                <a:spcPct val="10000"/>
              </a:spcBef>
              <a:buClr>
                <a:schemeClr val="bg1"/>
              </a:buClr>
            </a:pPr>
            <a:r>
              <a:rPr lang="en-US" sz="1000" dirty="0">
                <a:solidFill>
                  <a:schemeClr val="bg2"/>
                </a:solidFill>
              </a:rPr>
              <a:t>Continued performance focus and delivery of on-going improvement programs</a:t>
            </a:r>
          </a:p>
          <a:p>
            <a:pPr marL="114300" lvl="1" indent="-112713">
              <a:spcBef>
                <a:spcPct val="10000"/>
              </a:spcBef>
              <a:buClr>
                <a:schemeClr val="bg1"/>
              </a:buClr>
            </a:pPr>
            <a:r>
              <a:rPr lang="en-US" sz="1000" dirty="0">
                <a:solidFill>
                  <a:schemeClr val="bg2"/>
                </a:solidFill>
              </a:rPr>
              <a:t>Avoidance of creep from contract harmonization</a:t>
            </a:r>
          </a:p>
          <a:p>
            <a:pPr marL="114300" lvl="1" indent="-112713">
              <a:spcBef>
                <a:spcPct val="10000"/>
              </a:spcBef>
              <a:buClr>
                <a:schemeClr val="bg1"/>
              </a:buClr>
            </a:pPr>
            <a:endParaRPr lang="en-US" sz="1000" dirty="0">
              <a:solidFill>
                <a:schemeClr val="bg2"/>
              </a:solidFill>
            </a:endParaRPr>
          </a:p>
          <a:p>
            <a:pPr marL="114300" lvl="1" indent="-112713">
              <a:spcBef>
                <a:spcPct val="10000"/>
              </a:spcBef>
              <a:buClr>
                <a:schemeClr val="bg1"/>
              </a:buClr>
            </a:pPr>
            <a:endParaRPr lang="en-US" sz="1000" dirty="0">
              <a:solidFill>
                <a:schemeClr val="bg2"/>
              </a:solidFill>
            </a:endParaRPr>
          </a:p>
          <a:p>
            <a:pPr marL="114300" lvl="1" indent="-112713">
              <a:spcBef>
                <a:spcPct val="10000"/>
              </a:spcBef>
              <a:buClr>
                <a:schemeClr val="bg1"/>
              </a:buClr>
            </a:pPr>
            <a:endParaRPr lang="en-US" sz="1000" dirty="0">
              <a:solidFill>
                <a:schemeClr val="bg2"/>
              </a:solidFill>
            </a:endParaRPr>
          </a:p>
        </p:txBody>
      </p:sp>
      <p:sp>
        <p:nvSpPr>
          <p:cNvPr id="152" name="Freeform 6"/>
          <p:cNvSpPr>
            <a:spLocks noEditPoints="1"/>
          </p:cNvSpPr>
          <p:nvPr/>
        </p:nvSpPr>
        <p:spPr bwMode="gray">
          <a:xfrm>
            <a:off x="1307772" y="4024085"/>
            <a:ext cx="403121" cy="387245"/>
          </a:xfrm>
          <a:custGeom>
            <a:avLst/>
            <a:gdLst>
              <a:gd name="T0" fmla="*/ 349 w 425"/>
              <a:gd name="T1" fmla="*/ 205 h 425"/>
              <a:gd name="T2" fmla="*/ 242 w 425"/>
              <a:gd name="T3" fmla="*/ 206 h 425"/>
              <a:gd name="T4" fmla="*/ 242 w 425"/>
              <a:gd name="T5" fmla="*/ 129 h 425"/>
              <a:gd name="T6" fmla="*/ 167 w 425"/>
              <a:gd name="T7" fmla="*/ 22 h 425"/>
              <a:gd name="T8" fmla="*/ 60 w 425"/>
              <a:gd name="T9" fmla="*/ 22 h 425"/>
              <a:gd name="T10" fmla="*/ 0 w 425"/>
              <a:gd name="T11" fmla="*/ 113 h 425"/>
              <a:gd name="T12" fmla="*/ 76 w 425"/>
              <a:gd name="T13" fmla="*/ 220 h 425"/>
              <a:gd name="T14" fmla="*/ 184 w 425"/>
              <a:gd name="T15" fmla="*/ 219 h 425"/>
              <a:gd name="T16" fmla="*/ 184 w 425"/>
              <a:gd name="T17" fmla="*/ 296 h 425"/>
              <a:gd name="T18" fmla="*/ 259 w 425"/>
              <a:gd name="T19" fmla="*/ 403 h 425"/>
              <a:gd name="T20" fmla="*/ 365 w 425"/>
              <a:gd name="T21" fmla="*/ 404 h 425"/>
              <a:gd name="T22" fmla="*/ 425 w 425"/>
              <a:gd name="T23" fmla="*/ 313 h 425"/>
              <a:gd name="T24" fmla="*/ 184 w 425"/>
              <a:gd name="T25" fmla="*/ 148 h 425"/>
              <a:gd name="T26" fmla="*/ 173 w 425"/>
              <a:gd name="T27" fmla="*/ 138 h 425"/>
              <a:gd name="T28" fmla="*/ 162 w 425"/>
              <a:gd name="T29" fmla="*/ 130 h 425"/>
              <a:gd name="T30" fmla="*/ 137 w 425"/>
              <a:gd name="T31" fmla="*/ 137 h 425"/>
              <a:gd name="T32" fmla="*/ 130 w 425"/>
              <a:gd name="T33" fmla="*/ 162 h 425"/>
              <a:gd name="T34" fmla="*/ 138 w 425"/>
              <a:gd name="T35" fmla="*/ 173 h 425"/>
              <a:gd name="T36" fmla="*/ 148 w 425"/>
              <a:gd name="T37" fmla="*/ 184 h 425"/>
              <a:gd name="T38" fmla="*/ 112 w 425"/>
              <a:gd name="T39" fmla="*/ 185 h 425"/>
              <a:gd name="T40" fmla="*/ 50 w 425"/>
              <a:gd name="T41" fmla="*/ 113 h 425"/>
              <a:gd name="T42" fmla="*/ 96 w 425"/>
              <a:gd name="T43" fmla="*/ 57 h 425"/>
              <a:gd name="T44" fmla="*/ 131 w 425"/>
              <a:gd name="T45" fmla="*/ 57 h 425"/>
              <a:gd name="T46" fmla="*/ 192 w 425"/>
              <a:gd name="T47" fmla="*/ 129 h 425"/>
              <a:gd name="T48" fmla="*/ 368 w 425"/>
              <a:gd name="T49" fmla="*/ 330 h 425"/>
              <a:gd name="T50" fmla="*/ 312 w 425"/>
              <a:gd name="T51" fmla="*/ 375 h 425"/>
              <a:gd name="T52" fmla="*/ 241 w 425"/>
              <a:gd name="T53" fmla="*/ 314 h 425"/>
              <a:gd name="T54" fmla="*/ 242 w 425"/>
              <a:gd name="T55" fmla="*/ 277 h 425"/>
              <a:gd name="T56" fmla="*/ 252 w 425"/>
              <a:gd name="T57" fmla="*/ 288 h 425"/>
              <a:gd name="T58" fmla="*/ 264 w 425"/>
              <a:gd name="T59" fmla="*/ 295 h 425"/>
              <a:gd name="T60" fmla="*/ 289 w 425"/>
              <a:gd name="T61" fmla="*/ 289 h 425"/>
              <a:gd name="T62" fmla="*/ 295 w 425"/>
              <a:gd name="T63" fmla="*/ 264 h 425"/>
              <a:gd name="T64" fmla="*/ 288 w 425"/>
              <a:gd name="T65" fmla="*/ 252 h 425"/>
              <a:gd name="T66" fmla="*/ 277 w 425"/>
              <a:gd name="T67" fmla="*/ 242 h 425"/>
              <a:gd name="T68" fmla="*/ 314 w 425"/>
              <a:gd name="T69" fmla="*/ 241 h 425"/>
              <a:gd name="T70" fmla="*/ 375 w 425"/>
              <a:gd name="T71" fmla="*/ 313 h 425"/>
              <a:gd name="T72" fmla="*/ 368 w 425"/>
              <a:gd name="T73" fmla="*/ 330 h 4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25" h="425">
                <a:moveTo>
                  <a:pt x="404" y="260"/>
                </a:moveTo>
                <a:cubicBezTo>
                  <a:pt x="349" y="205"/>
                  <a:pt x="349" y="205"/>
                  <a:pt x="349" y="205"/>
                </a:cubicBezTo>
                <a:cubicBezTo>
                  <a:pt x="335" y="191"/>
                  <a:pt x="317" y="184"/>
                  <a:pt x="296" y="184"/>
                </a:cubicBezTo>
                <a:cubicBezTo>
                  <a:pt x="275" y="184"/>
                  <a:pt x="257" y="191"/>
                  <a:pt x="242" y="206"/>
                </a:cubicBezTo>
                <a:cubicBezTo>
                  <a:pt x="219" y="184"/>
                  <a:pt x="219" y="184"/>
                  <a:pt x="219" y="184"/>
                </a:cubicBezTo>
                <a:cubicBezTo>
                  <a:pt x="234" y="169"/>
                  <a:pt x="242" y="150"/>
                  <a:pt x="242" y="129"/>
                </a:cubicBezTo>
                <a:cubicBezTo>
                  <a:pt x="242" y="108"/>
                  <a:pt x="235" y="91"/>
                  <a:pt x="220" y="76"/>
                </a:cubicBezTo>
                <a:cubicBezTo>
                  <a:pt x="167" y="22"/>
                  <a:pt x="167" y="22"/>
                  <a:pt x="167" y="22"/>
                </a:cubicBezTo>
                <a:cubicBezTo>
                  <a:pt x="152" y="7"/>
                  <a:pt x="134" y="0"/>
                  <a:pt x="113" y="0"/>
                </a:cubicBezTo>
                <a:cubicBezTo>
                  <a:pt x="93" y="0"/>
                  <a:pt x="75" y="7"/>
                  <a:pt x="60" y="22"/>
                </a:cubicBezTo>
                <a:cubicBezTo>
                  <a:pt x="22" y="60"/>
                  <a:pt x="22" y="60"/>
                  <a:pt x="22" y="60"/>
                </a:cubicBezTo>
                <a:cubicBezTo>
                  <a:pt x="7" y="74"/>
                  <a:pt x="0" y="92"/>
                  <a:pt x="0" y="113"/>
                </a:cubicBezTo>
                <a:cubicBezTo>
                  <a:pt x="0" y="133"/>
                  <a:pt x="7" y="151"/>
                  <a:pt x="22" y="166"/>
                </a:cubicBezTo>
                <a:cubicBezTo>
                  <a:pt x="76" y="220"/>
                  <a:pt x="76" y="220"/>
                  <a:pt x="76" y="220"/>
                </a:cubicBezTo>
                <a:cubicBezTo>
                  <a:pt x="91" y="235"/>
                  <a:pt x="108" y="242"/>
                  <a:pt x="129" y="242"/>
                </a:cubicBezTo>
                <a:cubicBezTo>
                  <a:pt x="151" y="242"/>
                  <a:pt x="169" y="234"/>
                  <a:pt x="184" y="219"/>
                </a:cubicBezTo>
                <a:cubicBezTo>
                  <a:pt x="206" y="242"/>
                  <a:pt x="206" y="242"/>
                  <a:pt x="206" y="242"/>
                </a:cubicBezTo>
                <a:cubicBezTo>
                  <a:pt x="191" y="257"/>
                  <a:pt x="184" y="275"/>
                  <a:pt x="184" y="296"/>
                </a:cubicBezTo>
                <a:cubicBezTo>
                  <a:pt x="184" y="317"/>
                  <a:pt x="191" y="335"/>
                  <a:pt x="205" y="349"/>
                </a:cubicBezTo>
                <a:cubicBezTo>
                  <a:pt x="259" y="403"/>
                  <a:pt x="259" y="403"/>
                  <a:pt x="259" y="403"/>
                </a:cubicBezTo>
                <a:cubicBezTo>
                  <a:pt x="273" y="418"/>
                  <a:pt x="291" y="425"/>
                  <a:pt x="312" y="425"/>
                </a:cubicBezTo>
                <a:cubicBezTo>
                  <a:pt x="333" y="425"/>
                  <a:pt x="351" y="418"/>
                  <a:pt x="365" y="404"/>
                </a:cubicBezTo>
                <a:cubicBezTo>
                  <a:pt x="403" y="366"/>
                  <a:pt x="403" y="366"/>
                  <a:pt x="403" y="366"/>
                </a:cubicBezTo>
                <a:cubicBezTo>
                  <a:pt x="418" y="351"/>
                  <a:pt x="425" y="334"/>
                  <a:pt x="425" y="313"/>
                </a:cubicBezTo>
                <a:cubicBezTo>
                  <a:pt x="425" y="292"/>
                  <a:pt x="418" y="274"/>
                  <a:pt x="404" y="260"/>
                </a:cubicBezTo>
                <a:close/>
                <a:moveTo>
                  <a:pt x="184" y="148"/>
                </a:moveTo>
                <a:cubicBezTo>
                  <a:pt x="183" y="148"/>
                  <a:pt x="181" y="146"/>
                  <a:pt x="179" y="143"/>
                </a:cubicBezTo>
                <a:cubicBezTo>
                  <a:pt x="176" y="140"/>
                  <a:pt x="174" y="138"/>
                  <a:pt x="173" y="138"/>
                </a:cubicBezTo>
                <a:cubicBezTo>
                  <a:pt x="172" y="137"/>
                  <a:pt x="170" y="135"/>
                  <a:pt x="168" y="134"/>
                </a:cubicBezTo>
                <a:cubicBezTo>
                  <a:pt x="166" y="132"/>
                  <a:pt x="164" y="131"/>
                  <a:pt x="162" y="130"/>
                </a:cubicBezTo>
                <a:cubicBezTo>
                  <a:pt x="159" y="130"/>
                  <a:pt x="157" y="129"/>
                  <a:pt x="154" y="129"/>
                </a:cubicBezTo>
                <a:cubicBezTo>
                  <a:pt x="147" y="129"/>
                  <a:pt x="141" y="132"/>
                  <a:pt x="137" y="137"/>
                </a:cubicBezTo>
                <a:cubicBezTo>
                  <a:pt x="132" y="141"/>
                  <a:pt x="129" y="147"/>
                  <a:pt x="129" y="154"/>
                </a:cubicBezTo>
                <a:cubicBezTo>
                  <a:pt x="129" y="157"/>
                  <a:pt x="130" y="159"/>
                  <a:pt x="130" y="162"/>
                </a:cubicBezTo>
                <a:cubicBezTo>
                  <a:pt x="131" y="164"/>
                  <a:pt x="132" y="166"/>
                  <a:pt x="134" y="168"/>
                </a:cubicBezTo>
                <a:cubicBezTo>
                  <a:pt x="135" y="170"/>
                  <a:pt x="137" y="172"/>
                  <a:pt x="138" y="173"/>
                </a:cubicBezTo>
                <a:cubicBezTo>
                  <a:pt x="138" y="174"/>
                  <a:pt x="140" y="176"/>
                  <a:pt x="143" y="179"/>
                </a:cubicBezTo>
                <a:cubicBezTo>
                  <a:pt x="146" y="181"/>
                  <a:pt x="148" y="183"/>
                  <a:pt x="148" y="184"/>
                </a:cubicBezTo>
                <a:cubicBezTo>
                  <a:pt x="143" y="189"/>
                  <a:pt x="137" y="192"/>
                  <a:pt x="129" y="192"/>
                </a:cubicBezTo>
                <a:cubicBezTo>
                  <a:pt x="122" y="192"/>
                  <a:pt x="116" y="189"/>
                  <a:pt x="112" y="185"/>
                </a:cubicBezTo>
                <a:cubicBezTo>
                  <a:pt x="57" y="130"/>
                  <a:pt x="57" y="130"/>
                  <a:pt x="57" y="130"/>
                </a:cubicBezTo>
                <a:cubicBezTo>
                  <a:pt x="53" y="125"/>
                  <a:pt x="50" y="120"/>
                  <a:pt x="50" y="113"/>
                </a:cubicBezTo>
                <a:cubicBezTo>
                  <a:pt x="50" y="106"/>
                  <a:pt x="52" y="100"/>
                  <a:pt x="57" y="95"/>
                </a:cubicBezTo>
                <a:cubicBezTo>
                  <a:pt x="96" y="57"/>
                  <a:pt x="96" y="57"/>
                  <a:pt x="96" y="57"/>
                </a:cubicBezTo>
                <a:cubicBezTo>
                  <a:pt x="101" y="52"/>
                  <a:pt x="107" y="50"/>
                  <a:pt x="113" y="50"/>
                </a:cubicBezTo>
                <a:cubicBezTo>
                  <a:pt x="120" y="50"/>
                  <a:pt x="126" y="52"/>
                  <a:pt x="131" y="57"/>
                </a:cubicBezTo>
                <a:cubicBezTo>
                  <a:pt x="185" y="111"/>
                  <a:pt x="185" y="111"/>
                  <a:pt x="185" y="111"/>
                </a:cubicBezTo>
                <a:cubicBezTo>
                  <a:pt x="190" y="116"/>
                  <a:pt x="192" y="122"/>
                  <a:pt x="192" y="129"/>
                </a:cubicBezTo>
                <a:cubicBezTo>
                  <a:pt x="192" y="136"/>
                  <a:pt x="189" y="143"/>
                  <a:pt x="184" y="148"/>
                </a:cubicBezTo>
                <a:close/>
                <a:moveTo>
                  <a:pt x="368" y="330"/>
                </a:moveTo>
                <a:cubicBezTo>
                  <a:pt x="330" y="368"/>
                  <a:pt x="330" y="368"/>
                  <a:pt x="330" y="368"/>
                </a:cubicBezTo>
                <a:cubicBezTo>
                  <a:pt x="325" y="373"/>
                  <a:pt x="319" y="375"/>
                  <a:pt x="312" y="375"/>
                </a:cubicBezTo>
                <a:cubicBezTo>
                  <a:pt x="305" y="375"/>
                  <a:pt x="299" y="373"/>
                  <a:pt x="294" y="368"/>
                </a:cubicBezTo>
                <a:cubicBezTo>
                  <a:pt x="241" y="314"/>
                  <a:pt x="241" y="314"/>
                  <a:pt x="241" y="314"/>
                </a:cubicBezTo>
                <a:cubicBezTo>
                  <a:pt x="236" y="309"/>
                  <a:pt x="233" y="303"/>
                  <a:pt x="233" y="296"/>
                </a:cubicBezTo>
                <a:cubicBezTo>
                  <a:pt x="233" y="289"/>
                  <a:pt x="236" y="283"/>
                  <a:pt x="242" y="277"/>
                </a:cubicBezTo>
                <a:cubicBezTo>
                  <a:pt x="242" y="278"/>
                  <a:pt x="244" y="280"/>
                  <a:pt x="247" y="282"/>
                </a:cubicBezTo>
                <a:cubicBezTo>
                  <a:pt x="249" y="285"/>
                  <a:pt x="251" y="287"/>
                  <a:pt x="252" y="288"/>
                </a:cubicBezTo>
                <a:cubicBezTo>
                  <a:pt x="253" y="289"/>
                  <a:pt x="255" y="290"/>
                  <a:pt x="257" y="292"/>
                </a:cubicBezTo>
                <a:cubicBezTo>
                  <a:pt x="260" y="294"/>
                  <a:pt x="262" y="295"/>
                  <a:pt x="264" y="295"/>
                </a:cubicBezTo>
                <a:cubicBezTo>
                  <a:pt x="266" y="296"/>
                  <a:pt x="269" y="296"/>
                  <a:pt x="271" y="296"/>
                </a:cubicBezTo>
                <a:cubicBezTo>
                  <a:pt x="278" y="296"/>
                  <a:pt x="284" y="294"/>
                  <a:pt x="289" y="289"/>
                </a:cubicBezTo>
                <a:cubicBezTo>
                  <a:pt x="294" y="284"/>
                  <a:pt x="296" y="278"/>
                  <a:pt x="296" y="271"/>
                </a:cubicBezTo>
                <a:cubicBezTo>
                  <a:pt x="296" y="269"/>
                  <a:pt x="296" y="266"/>
                  <a:pt x="295" y="264"/>
                </a:cubicBezTo>
                <a:cubicBezTo>
                  <a:pt x="295" y="262"/>
                  <a:pt x="294" y="260"/>
                  <a:pt x="292" y="257"/>
                </a:cubicBezTo>
                <a:cubicBezTo>
                  <a:pt x="290" y="255"/>
                  <a:pt x="289" y="253"/>
                  <a:pt x="288" y="252"/>
                </a:cubicBezTo>
                <a:cubicBezTo>
                  <a:pt x="287" y="251"/>
                  <a:pt x="285" y="249"/>
                  <a:pt x="282" y="247"/>
                </a:cubicBezTo>
                <a:cubicBezTo>
                  <a:pt x="280" y="244"/>
                  <a:pt x="278" y="242"/>
                  <a:pt x="277" y="242"/>
                </a:cubicBezTo>
                <a:cubicBezTo>
                  <a:pt x="283" y="236"/>
                  <a:pt x="289" y="234"/>
                  <a:pt x="296" y="234"/>
                </a:cubicBezTo>
                <a:cubicBezTo>
                  <a:pt x="303" y="234"/>
                  <a:pt x="309" y="236"/>
                  <a:pt x="314" y="241"/>
                </a:cubicBezTo>
                <a:cubicBezTo>
                  <a:pt x="368" y="295"/>
                  <a:pt x="368" y="295"/>
                  <a:pt x="368" y="295"/>
                </a:cubicBezTo>
                <a:cubicBezTo>
                  <a:pt x="373" y="300"/>
                  <a:pt x="375" y="306"/>
                  <a:pt x="375" y="313"/>
                </a:cubicBezTo>
                <a:cubicBezTo>
                  <a:pt x="375" y="320"/>
                  <a:pt x="373" y="325"/>
                  <a:pt x="368" y="330"/>
                </a:cubicBezTo>
                <a:close/>
                <a:moveTo>
                  <a:pt x="368" y="330"/>
                </a:moveTo>
                <a:cubicBezTo>
                  <a:pt x="368" y="330"/>
                  <a:pt x="368" y="330"/>
                  <a:pt x="368" y="330"/>
                </a:cubicBezTo>
              </a:path>
            </a:pathLst>
          </a:custGeom>
          <a:solidFill>
            <a:schemeClr val="accent3"/>
          </a:solidFill>
          <a:ln>
            <a:solidFill>
              <a:schemeClr val="bg1"/>
            </a:solidFill>
          </a:ln>
        </p:spPr>
        <p:txBody>
          <a:bodyPr vert="horz" wrap="square" lIns="89603" tIns="44801" rIns="89603" bIns="44801" numCol="1" anchor="t" anchorCtr="0" compatLnSpc="1">
            <a:prstTxWarp prst="textNoShape">
              <a:avLst/>
            </a:prstTxWarp>
            <a:noAutofit/>
          </a:bodyPr>
          <a:lstStyle/>
          <a:p>
            <a:pPr>
              <a:buClr>
                <a:srgbClr val="FFFFFF"/>
              </a:buClr>
            </a:pPr>
            <a:endParaRPr lang="en-US" sz="1000" b="1" dirty="0">
              <a:solidFill>
                <a:srgbClr val="FFFFFF"/>
              </a:solidFill>
              <a:latin typeface="+mn-lt"/>
            </a:endParaRPr>
          </a:p>
        </p:txBody>
      </p:sp>
      <p:sp>
        <p:nvSpPr>
          <p:cNvPr id="163" name="Oval 162"/>
          <p:cNvSpPr/>
          <p:nvPr/>
        </p:nvSpPr>
        <p:spPr>
          <a:xfrm>
            <a:off x="1397375" y="5721781"/>
            <a:ext cx="223917" cy="206784"/>
          </a:xfrm>
          <a:prstGeom prst="ellipse">
            <a:avLst/>
          </a:prstGeom>
          <a:solidFill>
            <a:schemeClr val="accent3"/>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solidFill>
                <a:srgbClr val="000000"/>
              </a:solidFill>
            </a:endParaRPr>
          </a:p>
        </p:txBody>
      </p:sp>
      <p:grpSp>
        <p:nvGrpSpPr>
          <p:cNvPr id="11" name="Group 10"/>
          <p:cNvGrpSpPr/>
          <p:nvPr/>
        </p:nvGrpSpPr>
        <p:grpSpPr>
          <a:xfrm>
            <a:off x="1269607" y="5482303"/>
            <a:ext cx="479453" cy="461507"/>
            <a:chOff x="1286825" y="5057278"/>
            <a:chExt cx="479652" cy="466315"/>
          </a:xfrm>
          <a:solidFill>
            <a:schemeClr val="accent3"/>
          </a:solidFill>
        </p:grpSpPr>
        <p:sp>
          <p:nvSpPr>
            <p:cNvPr id="162" name="Freeform 161"/>
            <p:cNvSpPr>
              <a:spLocks/>
            </p:cNvSpPr>
            <p:nvPr/>
          </p:nvSpPr>
          <p:spPr>
            <a:xfrm>
              <a:off x="1286825" y="5057278"/>
              <a:ext cx="434098" cy="447101"/>
            </a:xfrm>
            <a:custGeom>
              <a:avLst/>
              <a:gdLst/>
              <a:ahLst/>
              <a:cxnLst/>
              <a:rect l="l" t="t" r="r" b="b"/>
              <a:pathLst>
                <a:path w="541159" h="532085">
                  <a:moveTo>
                    <a:pt x="203352" y="255126"/>
                  </a:moveTo>
                  <a:lnTo>
                    <a:pt x="203352" y="288810"/>
                  </a:lnTo>
                  <a:cubicBezTo>
                    <a:pt x="172163" y="353684"/>
                    <a:pt x="223313" y="455984"/>
                    <a:pt x="240779" y="479687"/>
                  </a:cubicBezTo>
                  <a:lnTo>
                    <a:pt x="242215" y="466285"/>
                  </a:lnTo>
                  <a:cubicBezTo>
                    <a:pt x="242601" y="463691"/>
                    <a:pt x="241608" y="461687"/>
                    <a:pt x="240498" y="459726"/>
                  </a:cubicBezTo>
                  <a:lnTo>
                    <a:pt x="249230" y="376140"/>
                  </a:lnTo>
                  <a:lnTo>
                    <a:pt x="236755" y="359921"/>
                  </a:lnTo>
                  <a:cubicBezTo>
                    <a:pt x="230725" y="354307"/>
                    <a:pt x="230933" y="344951"/>
                    <a:pt x="235507" y="341208"/>
                  </a:cubicBezTo>
                  <a:lnTo>
                    <a:pt x="260458" y="319999"/>
                  </a:lnTo>
                  <a:cubicBezTo>
                    <a:pt x="263852" y="318433"/>
                    <a:pt x="267245" y="317113"/>
                    <a:pt x="270580" y="318065"/>
                  </a:cubicBezTo>
                  <a:cubicBezTo>
                    <a:pt x="273914" y="317113"/>
                    <a:pt x="277307" y="318433"/>
                    <a:pt x="280701" y="319999"/>
                  </a:cubicBezTo>
                  <a:lnTo>
                    <a:pt x="305652" y="341208"/>
                  </a:lnTo>
                  <a:cubicBezTo>
                    <a:pt x="310226" y="344951"/>
                    <a:pt x="310434" y="354307"/>
                    <a:pt x="304404" y="359921"/>
                  </a:cubicBezTo>
                  <a:lnTo>
                    <a:pt x="291929" y="376140"/>
                  </a:lnTo>
                  <a:lnTo>
                    <a:pt x="300662" y="459726"/>
                  </a:lnTo>
                  <a:lnTo>
                    <a:pt x="298944" y="466285"/>
                  </a:lnTo>
                  <a:lnTo>
                    <a:pt x="300380" y="479687"/>
                  </a:lnTo>
                  <a:cubicBezTo>
                    <a:pt x="308569" y="468574"/>
                    <a:pt x="324162" y="440185"/>
                    <a:pt x="334734" y="406323"/>
                  </a:cubicBezTo>
                  <a:lnTo>
                    <a:pt x="339901" y="385417"/>
                  </a:lnTo>
                  <a:cubicBezTo>
                    <a:pt x="349337" y="352739"/>
                    <a:pt x="351452" y="317192"/>
                    <a:pt x="337807" y="288810"/>
                  </a:cubicBezTo>
                  <a:lnTo>
                    <a:pt x="337807" y="255126"/>
                  </a:lnTo>
                  <a:lnTo>
                    <a:pt x="340583" y="256836"/>
                  </a:lnTo>
                  <a:lnTo>
                    <a:pt x="340583" y="255126"/>
                  </a:lnTo>
                  <a:cubicBezTo>
                    <a:pt x="358434" y="265505"/>
                    <a:pt x="373799" y="272153"/>
                    <a:pt x="384795" y="289978"/>
                  </a:cubicBezTo>
                  <a:lnTo>
                    <a:pt x="385107" y="290058"/>
                  </a:lnTo>
                  <a:lnTo>
                    <a:pt x="396100" y="290058"/>
                  </a:lnTo>
                  <a:lnTo>
                    <a:pt x="396564" y="292985"/>
                  </a:lnTo>
                  <a:cubicBezTo>
                    <a:pt x="428640" y="300132"/>
                    <a:pt x="462556" y="308710"/>
                    <a:pt x="493752" y="329980"/>
                  </a:cubicBezTo>
                  <a:cubicBezTo>
                    <a:pt x="515792" y="363664"/>
                    <a:pt x="539080" y="452241"/>
                    <a:pt x="541159" y="532085"/>
                  </a:cubicBezTo>
                  <a:lnTo>
                    <a:pt x="290681" y="532085"/>
                  </a:lnTo>
                  <a:lnTo>
                    <a:pt x="250478" y="532085"/>
                  </a:lnTo>
                  <a:lnTo>
                    <a:pt x="0" y="532085"/>
                  </a:lnTo>
                  <a:cubicBezTo>
                    <a:pt x="2079" y="452241"/>
                    <a:pt x="25367" y="363664"/>
                    <a:pt x="47407" y="329980"/>
                  </a:cubicBezTo>
                  <a:cubicBezTo>
                    <a:pt x="84002" y="305029"/>
                    <a:pt x="124340" y="297543"/>
                    <a:pt x="160935" y="288810"/>
                  </a:cubicBezTo>
                  <a:cubicBezTo>
                    <a:pt x="175074" y="271345"/>
                    <a:pt x="182975" y="266354"/>
                    <a:pt x="203352" y="255126"/>
                  </a:cubicBezTo>
                  <a:close/>
                  <a:moveTo>
                    <a:pt x="275710" y="0"/>
                  </a:moveTo>
                  <a:cubicBezTo>
                    <a:pt x="385495" y="2703"/>
                    <a:pt x="421051" y="135152"/>
                    <a:pt x="365534" y="189629"/>
                  </a:cubicBezTo>
                  <a:cubicBezTo>
                    <a:pt x="368653" y="160311"/>
                    <a:pt x="368653" y="135984"/>
                    <a:pt x="352435" y="112904"/>
                  </a:cubicBezTo>
                  <a:cubicBezTo>
                    <a:pt x="314384" y="137440"/>
                    <a:pt x="280700" y="124548"/>
                    <a:pt x="236412" y="109785"/>
                  </a:cubicBezTo>
                  <a:cubicBezTo>
                    <a:pt x="198361" y="97517"/>
                    <a:pt x="170291" y="122677"/>
                    <a:pt x="180272" y="192748"/>
                  </a:cubicBezTo>
                  <a:cubicBezTo>
                    <a:pt x="114151" y="110409"/>
                    <a:pt x="179024" y="1248"/>
                    <a:pt x="275710" y="0"/>
                  </a:cubicBezTo>
                  <a:close/>
                </a:path>
              </a:pathLst>
            </a:custGeom>
            <a:grp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000" dirty="0">
                <a:solidFill>
                  <a:srgbClr val="000000"/>
                </a:solidFill>
              </a:endParaRPr>
            </a:p>
          </p:txBody>
        </p:sp>
        <p:grpSp>
          <p:nvGrpSpPr>
            <p:cNvPr id="164" name="Group 969"/>
            <p:cNvGrpSpPr>
              <a:grpSpLocks noChangeAspect="1"/>
            </p:cNvGrpSpPr>
            <p:nvPr/>
          </p:nvGrpSpPr>
          <p:grpSpPr bwMode="auto">
            <a:xfrm>
              <a:off x="1670570" y="5395551"/>
              <a:ext cx="95907" cy="128042"/>
              <a:chOff x="1384" y="1185"/>
              <a:chExt cx="201" cy="291"/>
            </a:xfrm>
            <a:grpFill/>
          </p:grpSpPr>
          <p:sp>
            <p:nvSpPr>
              <p:cNvPr id="165" name="Freeform 970"/>
              <p:cNvSpPr>
                <a:spLocks noChangeAspect="1"/>
              </p:cNvSpPr>
              <p:nvPr/>
            </p:nvSpPr>
            <p:spPr bwMode="gray">
              <a:xfrm>
                <a:off x="1406" y="1185"/>
                <a:ext cx="158" cy="132"/>
              </a:xfrm>
              <a:custGeom>
                <a:avLst/>
                <a:gdLst/>
                <a:ahLst/>
                <a:cxnLst>
                  <a:cxn ang="0">
                    <a:pos x="82" y="0"/>
                  </a:cxn>
                  <a:cxn ang="0">
                    <a:pos x="0" y="82"/>
                  </a:cxn>
                  <a:cxn ang="0">
                    <a:pos x="0" y="137"/>
                  </a:cxn>
                  <a:cxn ang="0">
                    <a:pos x="25" y="137"/>
                  </a:cxn>
                  <a:cxn ang="0">
                    <a:pos x="25" y="82"/>
                  </a:cxn>
                  <a:cxn ang="0">
                    <a:pos x="82" y="26"/>
                  </a:cxn>
                  <a:cxn ang="0">
                    <a:pos x="138" y="82"/>
                  </a:cxn>
                  <a:cxn ang="0">
                    <a:pos x="138" y="137"/>
                  </a:cxn>
                  <a:cxn ang="0">
                    <a:pos x="163" y="137"/>
                  </a:cxn>
                  <a:cxn ang="0">
                    <a:pos x="163" y="82"/>
                  </a:cxn>
                  <a:cxn ang="0">
                    <a:pos x="82" y="0"/>
                  </a:cxn>
                </a:cxnLst>
                <a:rect l="0" t="0" r="r" b="b"/>
                <a:pathLst>
                  <a:path w="163" h="137">
                    <a:moveTo>
                      <a:pt x="82" y="0"/>
                    </a:moveTo>
                    <a:cubicBezTo>
                      <a:pt x="37" y="0"/>
                      <a:pt x="0" y="37"/>
                      <a:pt x="0" y="82"/>
                    </a:cubicBezTo>
                    <a:cubicBezTo>
                      <a:pt x="0" y="137"/>
                      <a:pt x="0" y="137"/>
                      <a:pt x="0" y="137"/>
                    </a:cubicBezTo>
                    <a:cubicBezTo>
                      <a:pt x="25" y="137"/>
                      <a:pt x="25" y="137"/>
                      <a:pt x="25" y="137"/>
                    </a:cubicBezTo>
                    <a:cubicBezTo>
                      <a:pt x="25" y="82"/>
                      <a:pt x="25" y="82"/>
                      <a:pt x="25" y="82"/>
                    </a:cubicBezTo>
                    <a:cubicBezTo>
                      <a:pt x="25" y="51"/>
                      <a:pt x="51" y="26"/>
                      <a:pt x="82" y="26"/>
                    </a:cubicBezTo>
                    <a:cubicBezTo>
                      <a:pt x="112" y="26"/>
                      <a:pt x="138" y="51"/>
                      <a:pt x="138" y="82"/>
                    </a:cubicBezTo>
                    <a:cubicBezTo>
                      <a:pt x="138" y="137"/>
                      <a:pt x="138" y="137"/>
                      <a:pt x="138" y="137"/>
                    </a:cubicBezTo>
                    <a:cubicBezTo>
                      <a:pt x="163" y="137"/>
                      <a:pt x="163" y="137"/>
                      <a:pt x="163" y="137"/>
                    </a:cubicBezTo>
                    <a:cubicBezTo>
                      <a:pt x="163" y="82"/>
                      <a:pt x="163" y="82"/>
                      <a:pt x="163" y="82"/>
                    </a:cubicBezTo>
                    <a:cubicBezTo>
                      <a:pt x="163" y="37"/>
                      <a:pt x="126" y="0"/>
                      <a:pt x="82" y="0"/>
                    </a:cubicBezTo>
                    <a:close/>
                  </a:path>
                </a:pathLst>
              </a:custGeom>
              <a:grpFill/>
              <a:ln w="9525">
                <a:solidFill>
                  <a:schemeClr val="bg1"/>
                </a:solidFill>
                <a:round/>
                <a:headEnd/>
                <a:tailEnd/>
              </a:ln>
            </p:spPr>
            <p:txBody>
              <a:bodyPr/>
              <a:lstStyle/>
              <a:p>
                <a:pPr fontAlgn="auto">
                  <a:spcBef>
                    <a:spcPts val="0"/>
                  </a:spcBef>
                  <a:spcAft>
                    <a:spcPts val="0"/>
                  </a:spcAft>
                  <a:defRPr/>
                </a:pPr>
                <a:endParaRPr lang="en-US" sz="1000" kern="0" dirty="0">
                  <a:solidFill>
                    <a:srgbClr val="233746"/>
                  </a:solidFill>
                  <a:latin typeface="+mn-lt"/>
                </a:endParaRPr>
              </a:p>
            </p:txBody>
          </p:sp>
          <p:sp>
            <p:nvSpPr>
              <p:cNvPr id="166" name="Freeform 971"/>
              <p:cNvSpPr>
                <a:spLocks noChangeAspect="1"/>
              </p:cNvSpPr>
              <p:nvPr/>
            </p:nvSpPr>
            <p:spPr bwMode="gray">
              <a:xfrm>
                <a:off x="1384" y="1314"/>
                <a:ext cx="201" cy="162"/>
              </a:xfrm>
              <a:custGeom>
                <a:avLst/>
                <a:gdLst/>
                <a:ahLst/>
                <a:cxnLst>
                  <a:cxn ang="0">
                    <a:pos x="203" y="0"/>
                  </a:cxn>
                  <a:cxn ang="0">
                    <a:pos x="7" y="0"/>
                  </a:cxn>
                  <a:cxn ang="0">
                    <a:pos x="0" y="6"/>
                  </a:cxn>
                  <a:cxn ang="0">
                    <a:pos x="0" y="160"/>
                  </a:cxn>
                  <a:cxn ang="0">
                    <a:pos x="7" y="167"/>
                  </a:cxn>
                  <a:cxn ang="0">
                    <a:pos x="203" y="167"/>
                  </a:cxn>
                  <a:cxn ang="0">
                    <a:pos x="209" y="160"/>
                  </a:cxn>
                  <a:cxn ang="0">
                    <a:pos x="209" y="6"/>
                  </a:cxn>
                  <a:cxn ang="0">
                    <a:pos x="203" y="0"/>
                  </a:cxn>
                </a:cxnLst>
                <a:rect l="0" t="0" r="r" b="b"/>
                <a:pathLst>
                  <a:path w="209" h="167">
                    <a:moveTo>
                      <a:pt x="203" y="0"/>
                    </a:moveTo>
                    <a:cubicBezTo>
                      <a:pt x="7" y="0"/>
                      <a:pt x="7" y="0"/>
                      <a:pt x="7" y="0"/>
                    </a:cubicBezTo>
                    <a:cubicBezTo>
                      <a:pt x="3" y="0"/>
                      <a:pt x="0" y="3"/>
                      <a:pt x="0" y="6"/>
                    </a:cubicBezTo>
                    <a:cubicBezTo>
                      <a:pt x="0" y="160"/>
                      <a:pt x="0" y="160"/>
                      <a:pt x="0" y="160"/>
                    </a:cubicBezTo>
                    <a:cubicBezTo>
                      <a:pt x="0" y="164"/>
                      <a:pt x="3" y="167"/>
                      <a:pt x="7" y="167"/>
                    </a:cubicBezTo>
                    <a:cubicBezTo>
                      <a:pt x="203" y="167"/>
                      <a:pt x="203" y="167"/>
                      <a:pt x="203" y="167"/>
                    </a:cubicBezTo>
                    <a:cubicBezTo>
                      <a:pt x="206" y="167"/>
                      <a:pt x="209" y="164"/>
                      <a:pt x="209" y="160"/>
                    </a:cubicBezTo>
                    <a:cubicBezTo>
                      <a:pt x="209" y="6"/>
                      <a:pt x="209" y="6"/>
                      <a:pt x="209" y="6"/>
                    </a:cubicBezTo>
                    <a:cubicBezTo>
                      <a:pt x="209" y="3"/>
                      <a:pt x="206" y="0"/>
                      <a:pt x="203" y="0"/>
                    </a:cubicBezTo>
                    <a:close/>
                  </a:path>
                </a:pathLst>
              </a:custGeom>
              <a:grpFill/>
              <a:ln w="9525">
                <a:solidFill>
                  <a:schemeClr val="bg1"/>
                </a:solidFill>
                <a:round/>
                <a:headEnd/>
                <a:tailEnd/>
              </a:ln>
            </p:spPr>
            <p:txBody>
              <a:bodyPr/>
              <a:lstStyle/>
              <a:p>
                <a:pPr fontAlgn="auto">
                  <a:spcBef>
                    <a:spcPts val="0"/>
                  </a:spcBef>
                  <a:spcAft>
                    <a:spcPts val="0"/>
                  </a:spcAft>
                  <a:defRPr/>
                </a:pPr>
                <a:endParaRPr lang="en-US" sz="1000" kern="0" dirty="0">
                  <a:solidFill>
                    <a:srgbClr val="233746"/>
                  </a:solidFill>
                  <a:latin typeface="+mn-lt"/>
                </a:endParaRPr>
              </a:p>
            </p:txBody>
          </p:sp>
          <p:sp>
            <p:nvSpPr>
              <p:cNvPr id="167" name="Freeform 972"/>
              <p:cNvSpPr>
                <a:spLocks noChangeAspect="1"/>
              </p:cNvSpPr>
              <p:nvPr/>
            </p:nvSpPr>
            <p:spPr bwMode="gray">
              <a:xfrm>
                <a:off x="1426" y="1348"/>
                <a:ext cx="118" cy="32"/>
              </a:xfrm>
              <a:custGeom>
                <a:avLst/>
                <a:gdLst/>
                <a:ahLst/>
                <a:cxnLst>
                  <a:cxn ang="0">
                    <a:pos x="109" y="0"/>
                  </a:cxn>
                  <a:cxn ang="0">
                    <a:pos x="13" y="0"/>
                  </a:cxn>
                  <a:cxn ang="0">
                    <a:pos x="0" y="13"/>
                  </a:cxn>
                  <a:cxn ang="0">
                    <a:pos x="0" y="19"/>
                  </a:cxn>
                  <a:cxn ang="0">
                    <a:pos x="13" y="32"/>
                  </a:cxn>
                  <a:cxn ang="0">
                    <a:pos x="109" y="32"/>
                  </a:cxn>
                  <a:cxn ang="0">
                    <a:pos x="122" y="19"/>
                  </a:cxn>
                  <a:cxn ang="0">
                    <a:pos x="122" y="13"/>
                  </a:cxn>
                  <a:cxn ang="0">
                    <a:pos x="109" y="0"/>
                  </a:cxn>
                </a:cxnLst>
                <a:rect l="0" t="0" r="r" b="b"/>
                <a:pathLst>
                  <a:path w="122" h="32">
                    <a:moveTo>
                      <a:pt x="109" y="0"/>
                    </a:moveTo>
                    <a:cubicBezTo>
                      <a:pt x="13" y="0"/>
                      <a:pt x="13" y="0"/>
                      <a:pt x="13" y="0"/>
                    </a:cubicBezTo>
                    <a:cubicBezTo>
                      <a:pt x="6" y="0"/>
                      <a:pt x="0" y="6"/>
                      <a:pt x="0" y="13"/>
                    </a:cubicBezTo>
                    <a:cubicBezTo>
                      <a:pt x="0" y="19"/>
                      <a:pt x="0" y="19"/>
                      <a:pt x="0" y="19"/>
                    </a:cubicBezTo>
                    <a:cubicBezTo>
                      <a:pt x="0" y="26"/>
                      <a:pt x="6" y="32"/>
                      <a:pt x="13" y="32"/>
                    </a:cubicBezTo>
                    <a:cubicBezTo>
                      <a:pt x="109" y="32"/>
                      <a:pt x="109" y="32"/>
                      <a:pt x="109" y="32"/>
                    </a:cubicBezTo>
                    <a:cubicBezTo>
                      <a:pt x="116" y="32"/>
                      <a:pt x="122" y="26"/>
                      <a:pt x="122" y="19"/>
                    </a:cubicBezTo>
                    <a:cubicBezTo>
                      <a:pt x="122" y="13"/>
                      <a:pt x="122" y="13"/>
                      <a:pt x="122" y="13"/>
                    </a:cubicBezTo>
                    <a:cubicBezTo>
                      <a:pt x="122" y="6"/>
                      <a:pt x="116" y="0"/>
                      <a:pt x="109" y="0"/>
                    </a:cubicBezTo>
                    <a:close/>
                  </a:path>
                </a:pathLst>
              </a:custGeom>
              <a:grpFill/>
              <a:ln w="9525">
                <a:solidFill>
                  <a:schemeClr val="bg1"/>
                </a:solidFill>
                <a:round/>
                <a:headEnd/>
                <a:tailEnd/>
              </a:ln>
            </p:spPr>
            <p:txBody>
              <a:bodyPr/>
              <a:lstStyle/>
              <a:p>
                <a:pPr fontAlgn="auto">
                  <a:spcBef>
                    <a:spcPts val="0"/>
                  </a:spcBef>
                  <a:spcAft>
                    <a:spcPts val="0"/>
                  </a:spcAft>
                  <a:defRPr/>
                </a:pPr>
                <a:endParaRPr lang="en-US" sz="1000" kern="0" dirty="0">
                  <a:solidFill>
                    <a:srgbClr val="233746"/>
                  </a:solidFill>
                  <a:latin typeface="+mn-lt"/>
                </a:endParaRPr>
              </a:p>
            </p:txBody>
          </p:sp>
          <p:sp>
            <p:nvSpPr>
              <p:cNvPr id="168" name="Freeform 973"/>
              <p:cNvSpPr>
                <a:spLocks noChangeAspect="1"/>
              </p:cNvSpPr>
              <p:nvPr/>
            </p:nvSpPr>
            <p:spPr bwMode="gray">
              <a:xfrm>
                <a:off x="1426" y="1410"/>
                <a:ext cx="118" cy="29"/>
              </a:xfrm>
              <a:custGeom>
                <a:avLst/>
                <a:gdLst/>
                <a:ahLst/>
                <a:cxnLst>
                  <a:cxn ang="0">
                    <a:pos x="109" y="0"/>
                  </a:cxn>
                  <a:cxn ang="0">
                    <a:pos x="13" y="0"/>
                  </a:cxn>
                  <a:cxn ang="0">
                    <a:pos x="0" y="12"/>
                  </a:cxn>
                  <a:cxn ang="0">
                    <a:pos x="0" y="19"/>
                  </a:cxn>
                  <a:cxn ang="0">
                    <a:pos x="13" y="31"/>
                  </a:cxn>
                  <a:cxn ang="0">
                    <a:pos x="109" y="31"/>
                  </a:cxn>
                  <a:cxn ang="0">
                    <a:pos x="122" y="19"/>
                  </a:cxn>
                  <a:cxn ang="0">
                    <a:pos x="122" y="12"/>
                  </a:cxn>
                  <a:cxn ang="0">
                    <a:pos x="109" y="0"/>
                  </a:cxn>
                </a:cxnLst>
                <a:rect l="0" t="0" r="r" b="b"/>
                <a:pathLst>
                  <a:path w="122" h="31">
                    <a:moveTo>
                      <a:pt x="109" y="0"/>
                    </a:moveTo>
                    <a:cubicBezTo>
                      <a:pt x="13" y="0"/>
                      <a:pt x="13" y="0"/>
                      <a:pt x="13" y="0"/>
                    </a:cubicBezTo>
                    <a:cubicBezTo>
                      <a:pt x="6" y="0"/>
                      <a:pt x="0" y="5"/>
                      <a:pt x="0" y="12"/>
                    </a:cubicBezTo>
                    <a:cubicBezTo>
                      <a:pt x="0" y="19"/>
                      <a:pt x="0" y="19"/>
                      <a:pt x="0" y="19"/>
                    </a:cubicBezTo>
                    <a:cubicBezTo>
                      <a:pt x="0" y="26"/>
                      <a:pt x="6" y="31"/>
                      <a:pt x="13" y="31"/>
                    </a:cubicBezTo>
                    <a:cubicBezTo>
                      <a:pt x="109" y="31"/>
                      <a:pt x="109" y="31"/>
                      <a:pt x="109" y="31"/>
                    </a:cubicBezTo>
                    <a:cubicBezTo>
                      <a:pt x="116" y="31"/>
                      <a:pt x="122" y="26"/>
                      <a:pt x="122" y="19"/>
                    </a:cubicBezTo>
                    <a:cubicBezTo>
                      <a:pt x="122" y="12"/>
                      <a:pt x="122" y="12"/>
                      <a:pt x="122" y="12"/>
                    </a:cubicBezTo>
                    <a:cubicBezTo>
                      <a:pt x="122" y="5"/>
                      <a:pt x="116" y="0"/>
                      <a:pt x="109" y="0"/>
                    </a:cubicBezTo>
                    <a:close/>
                  </a:path>
                </a:pathLst>
              </a:custGeom>
              <a:grpFill/>
              <a:ln w="9525">
                <a:solidFill>
                  <a:schemeClr val="bg1"/>
                </a:solidFill>
                <a:round/>
                <a:headEnd/>
                <a:tailEnd/>
              </a:ln>
            </p:spPr>
            <p:txBody>
              <a:bodyPr/>
              <a:lstStyle/>
              <a:p>
                <a:pPr fontAlgn="auto">
                  <a:spcBef>
                    <a:spcPts val="0"/>
                  </a:spcBef>
                  <a:spcAft>
                    <a:spcPts val="0"/>
                  </a:spcAft>
                  <a:defRPr/>
                </a:pPr>
                <a:endParaRPr lang="en-US" sz="1000" kern="0" dirty="0">
                  <a:solidFill>
                    <a:srgbClr val="233746"/>
                  </a:solidFill>
                  <a:latin typeface="+mn-lt"/>
                </a:endParaRPr>
              </a:p>
            </p:txBody>
          </p:sp>
        </p:grpSp>
      </p:grpSp>
      <p:sp>
        <p:nvSpPr>
          <p:cNvPr id="136" name="Rectangle 32"/>
          <p:cNvSpPr>
            <a:spLocks noChangeArrowheads="1"/>
          </p:cNvSpPr>
          <p:nvPr/>
        </p:nvSpPr>
        <p:spPr bwMode="gray">
          <a:xfrm>
            <a:off x="1876309" y="1251205"/>
            <a:ext cx="2226027" cy="172355"/>
          </a:xfrm>
          <a:prstGeom prst="rect">
            <a:avLst/>
          </a:prstGeom>
          <a:noFill/>
          <a:ln w="19050">
            <a:noFill/>
            <a:miter lim="800000"/>
            <a:headEnd/>
            <a:tailEnd/>
          </a:ln>
        </p:spPr>
        <p:txBody>
          <a:bodyPr wrap="square" lIns="0" tIns="0" rIns="0" bIns="18288" anchor="b">
            <a:spAutoFit/>
          </a:bodyPr>
          <a:lstStyle>
            <a:lvl1pPr defTabSz="895350" eaLnBrk="0" hangingPunct="0">
              <a:defRPr sz="1600" baseline="30000">
                <a:solidFill>
                  <a:schemeClr val="tx1"/>
                </a:solidFill>
                <a:latin typeface="Arial" charset="0"/>
                <a:cs typeface="Arial" charset="0"/>
              </a:defRPr>
            </a:lvl1pPr>
            <a:lvl2pPr marL="742950" indent="-285750" defTabSz="895350" eaLnBrk="0" hangingPunct="0">
              <a:defRPr sz="1600" baseline="30000">
                <a:solidFill>
                  <a:schemeClr val="tx1"/>
                </a:solidFill>
                <a:latin typeface="Arial" charset="0"/>
                <a:cs typeface="Arial" charset="0"/>
              </a:defRPr>
            </a:lvl2pPr>
            <a:lvl3pPr marL="1143000" indent="-228600" defTabSz="895350" eaLnBrk="0" hangingPunct="0">
              <a:defRPr sz="1600" baseline="30000">
                <a:solidFill>
                  <a:schemeClr val="tx1"/>
                </a:solidFill>
                <a:latin typeface="Arial" charset="0"/>
                <a:cs typeface="Arial" charset="0"/>
              </a:defRPr>
            </a:lvl3pPr>
            <a:lvl4pPr marL="1600200" indent="-228600" defTabSz="895350" eaLnBrk="0" hangingPunct="0">
              <a:defRPr sz="1600" baseline="30000">
                <a:solidFill>
                  <a:schemeClr val="tx1"/>
                </a:solidFill>
                <a:latin typeface="Arial" charset="0"/>
                <a:cs typeface="Arial" charset="0"/>
              </a:defRPr>
            </a:lvl4pPr>
            <a:lvl5pPr marL="2057400" indent="-228600" defTabSz="895350" eaLnBrk="0" hangingPunct="0">
              <a:defRPr sz="1600" baseline="30000">
                <a:solidFill>
                  <a:schemeClr val="tx1"/>
                </a:solidFill>
                <a:latin typeface="Arial" charset="0"/>
                <a:cs typeface="Arial" charset="0"/>
              </a:defRPr>
            </a:lvl5pPr>
            <a:lvl6pPr marL="2514600" indent="-228600" defTabSz="895350" eaLnBrk="0" fontAlgn="base" hangingPunct="0">
              <a:spcBef>
                <a:spcPct val="0"/>
              </a:spcBef>
              <a:spcAft>
                <a:spcPct val="0"/>
              </a:spcAft>
              <a:defRPr sz="1600" baseline="30000">
                <a:solidFill>
                  <a:schemeClr val="tx1"/>
                </a:solidFill>
                <a:latin typeface="Arial" charset="0"/>
                <a:cs typeface="Arial" charset="0"/>
              </a:defRPr>
            </a:lvl6pPr>
            <a:lvl7pPr marL="2971800" indent="-228600" defTabSz="895350" eaLnBrk="0" fontAlgn="base" hangingPunct="0">
              <a:spcBef>
                <a:spcPct val="0"/>
              </a:spcBef>
              <a:spcAft>
                <a:spcPct val="0"/>
              </a:spcAft>
              <a:defRPr sz="1600" baseline="30000">
                <a:solidFill>
                  <a:schemeClr val="tx1"/>
                </a:solidFill>
                <a:latin typeface="Arial" charset="0"/>
                <a:cs typeface="Arial" charset="0"/>
              </a:defRPr>
            </a:lvl7pPr>
            <a:lvl8pPr marL="3429000" indent="-228600" defTabSz="895350" eaLnBrk="0" fontAlgn="base" hangingPunct="0">
              <a:spcBef>
                <a:spcPct val="0"/>
              </a:spcBef>
              <a:spcAft>
                <a:spcPct val="0"/>
              </a:spcAft>
              <a:defRPr sz="1600" baseline="30000">
                <a:solidFill>
                  <a:schemeClr val="tx1"/>
                </a:solidFill>
                <a:latin typeface="Arial" charset="0"/>
                <a:cs typeface="Arial" charset="0"/>
              </a:defRPr>
            </a:lvl8pPr>
            <a:lvl9pPr marL="3886200" indent="-228600" defTabSz="895350" eaLnBrk="0" fontAlgn="base" hangingPunct="0">
              <a:spcBef>
                <a:spcPct val="0"/>
              </a:spcBef>
              <a:spcAft>
                <a:spcPct val="0"/>
              </a:spcAft>
              <a:defRPr sz="1600" baseline="30000">
                <a:solidFill>
                  <a:schemeClr val="tx1"/>
                </a:solidFill>
                <a:latin typeface="Arial" charset="0"/>
                <a:cs typeface="Arial" charset="0"/>
              </a:defRPr>
            </a:lvl9pPr>
          </a:lstStyle>
          <a:p>
            <a:pPr>
              <a:buClr>
                <a:srgbClr val="002960"/>
              </a:buClr>
            </a:pPr>
            <a:r>
              <a:rPr lang="en-US" sz="1000" b="1" baseline="0" dirty="0">
                <a:solidFill>
                  <a:schemeClr val="accent3"/>
                </a:solidFill>
                <a:latin typeface="+mn-lt"/>
              </a:rPr>
              <a:t>Cut cost</a:t>
            </a:r>
          </a:p>
        </p:txBody>
      </p:sp>
      <p:sp>
        <p:nvSpPr>
          <p:cNvPr id="135" name="Rectangle 31"/>
          <p:cNvSpPr>
            <a:spLocks noChangeArrowheads="1"/>
          </p:cNvSpPr>
          <p:nvPr/>
        </p:nvSpPr>
        <p:spPr bwMode="gray">
          <a:xfrm>
            <a:off x="4154131" y="1251205"/>
            <a:ext cx="2226027" cy="172355"/>
          </a:xfrm>
          <a:prstGeom prst="rect">
            <a:avLst/>
          </a:prstGeom>
          <a:noFill/>
          <a:ln w="19050">
            <a:noFill/>
            <a:miter lim="800000"/>
            <a:headEnd/>
            <a:tailEnd/>
          </a:ln>
        </p:spPr>
        <p:txBody>
          <a:bodyPr wrap="square" lIns="0" tIns="0" rIns="0" bIns="18288" anchor="b">
            <a:spAutoFit/>
          </a:bodyPr>
          <a:lstStyle>
            <a:lvl1pPr defTabSz="895350" eaLnBrk="0" hangingPunct="0">
              <a:defRPr sz="1600" baseline="30000">
                <a:solidFill>
                  <a:schemeClr val="tx1"/>
                </a:solidFill>
                <a:latin typeface="Arial" charset="0"/>
                <a:cs typeface="Arial" charset="0"/>
              </a:defRPr>
            </a:lvl1pPr>
            <a:lvl2pPr marL="742950" indent="-285750" defTabSz="895350" eaLnBrk="0" hangingPunct="0">
              <a:defRPr sz="1600" baseline="30000">
                <a:solidFill>
                  <a:schemeClr val="tx1"/>
                </a:solidFill>
                <a:latin typeface="Arial" charset="0"/>
                <a:cs typeface="Arial" charset="0"/>
              </a:defRPr>
            </a:lvl2pPr>
            <a:lvl3pPr marL="1143000" indent="-228600" defTabSz="895350" eaLnBrk="0" hangingPunct="0">
              <a:defRPr sz="1600" baseline="30000">
                <a:solidFill>
                  <a:schemeClr val="tx1"/>
                </a:solidFill>
                <a:latin typeface="Arial" charset="0"/>
                <a:cs typeface="Arial" charset="0"/>
              </a:defRPr>
            </a:lvl3pPr>
            <a:lvl4pPr marL="1600200" indent="-228600" defTabSz="895350" eaLnBrk="0" hangingPunct="0">
              <a:defRPr sz="1600" baseline="30000">
                <a:solidFill>
                  <a:schemeClr val="tx1"/>
                </a:solidFill>
                <a:latin typeface="Arial" charset="0"/>
                <a:cs typeface="Arial" charset="0"/>
              </a:defRPr>
            </a:lvl4pPr>
            <a:lvl5pPr marL="2057400" indent="-228600" defTabSz="895350" eaLnBrk="0" hangingPunct="0">
              <a:defRPr sz="1600" baseline="30000">
                <a:solidFill>
                  <a:schemeClr val="tx1"/>
                </a:solidFill>
                <a:latin typeface="Arial" charset="0"/>
                <a:cs typeface="Arial" charset="0"/>
              </a:defRPr>
            </a:lvl5pPr>
            <a:lvl6pPr marL="2514600" indent="-228600" defTabSz="895350" eaLnBrk="0" fontAlgn="base" hangingPunct="0">
              <a:spcBef>
                <a:spcPct val="0"/>
              </a:spcBef>
              <a:spcAft>
                <a:spcPct val="0"/>
              </a:spcAft>
              <a:defRPr sz="1600" baseline="30000">
                <a:solidFill>
                  <a:schemeClr val="tx1"/>
                </a:solidFill>
                <a:latin typeface="Arial" charset="0"/>
                <a:cs typeface="Arial" charset="0"/>
              </a:defRPr>
            </a:lvl6pPr>
            <a:lvl7pPr marL="2971800" indent="-228600" defTabSz="895350" eaLnBrk="0" fontAlgn="base" hangingPunct="0">
              <a:spcBef>
                <a:spcPct val="0"/>
              </a:spcBef>
              <a:spcAft>
                <a:spcPct val="0"/>
              </a:spcAft>
              <a:defRPr sz="1600" baseline="30000">
                <a:solidFill>
                  <a:schemeClr val="tx1"/>
                </a:solidFill>
                <a:latin typeface="Arial" charset="0"/>
                <a:cs typeface="Arial" charset="0"/>
              </a:defRPr>
            </a:lvl7pPr>
            <a:lvl8pPr marL="3429000" indent="-228600" defTabSz="895350" eaLnBrk="0" fontAlgn="base" hangingPunct="0">
              <a:spcBef>
                <a:spcPct val="0"/>
              </a:spcBef>
              <a:spcAft>
                <a:spcPct val="0"/>
              </a:spcAft>
              <a:defRPr sz="1600" baseline="30000">
                <a:solidFill>
                  <a:schemeClr val="tx1"/>
                </a:solidFill>
                <a:latin typeface="Arial" charset="0"/>
                <a:cs typeface="Arial" charset="0"/>
              </a:defRPr>
            </a:lvl8pPr>
            <a:lvl9pPr marL="3886200" indent="-228600" defTabSz="895350" eaLnBrk="0" fontAlgn="base" hangingPunct="0">
              <a:spcBef>
                <a:spcPct val="0"/>
              </a:spcBef>
              <a:spcAft>
                <a:spcPct val="0"/>
              </a:spcAft>
              <a:defRPr sz="1600" baseline="30000">
                <a:solidFill>
                  <a:schemeClr val="tx1"/>
                </a:solidFill>
                <a:latin typeface="Arial" charset="0"/>
                <a:cs typeface="Arial" charset="0"/>
              </a:defRPr>
            </a:lvl9pPr>
          </a:lstStyle>
          <a:p>
            <a:pPr>
              <a:buClr>
                <a:srgbClr val="002960"/>
              </a:buClr>
            </a:pPr>
            <a:r>
              <a:rPr lang="en-US" sz="1000" b="1" baseline="0" dirty="0">
                <a:solidFill>
                  <a:schemeClr val="accent3"/>
                </a:solidFill>
                <a:latin typeface="+mn-lt"/>
              </a:rPr>
              <a:t>Optimize capital</a:t>
            </a:r>
          </a:p>
        </p:txBody>
      </p:sp>
      <p:sp>
        <p:nvSpPr>
          <p:cNvPr id="137" name="Rectangle 47"/>
          <p:cNvSpPr>
            <a:spLocks noChangeArrowheads="1"/>
          </p:cNvSpPr>
          <p:nvPr/>
        </p:nvSpPr>
        <p:spPr bwMode="gray">
          <a:xfrm>
            <a:off x="6431955" y="1251205"/>
            <a:ext cx="2226027" cy="172355"/>
          </a:xfrm>
          <a:prstGeom prst="rect">
            <a:avLst/>
          </a:prstGeom>
          <a:noFill/>
          <a:ln w="19050">
            <a:noFill/>
            <a:miter lim="800000"/>
            <a:headEnd/>
            <a:tailEnd/>
          </a:ln>
        </p:spPr>
        <p:txBody>
          <a:bodyPr wrap="square" lIns="0" tIns="0" rIns="0" bIns="18288" anchor="b">
            <a:spAutoFit/>
          </a:bodyPr>
          <a:lstStyle>
            <a:lvl1pPr defTabSz="895350" eaLnBrk="0" hangingPunct="0">
              <a:defRPr sz="1600" baseline="30000">
                <a:solidFill>
                  <a:schemeClr val="tx1"/>
                </a:solidFill>
                <a:latin typeface="Arial" charset="0"/>
                <a:cs typeface="Arial" charset="0"/>
              </a:defRPr>
            </a:lvl1pPr>
            <a:lvl2pPr marL="742950" indent="-285750" defTabSz="895350" eaLnBrk="0" hangingPunct="0">
              <a:defRPr sz="1600" baseline="30000">
                <a:solidFill>
                  <a:schemeClr val="tx1"/>
                </a:solidFill>
                <a:latin typeface="Arial" charset="0"/>
                <a:cs typeface="Arial" charset="0"/>
              </a:defRPr>
            </a:lvl2pPr>
            <a:lvl3pPr marL="1143000" indent="-228600" defTabSz="895350" eaLnBrk="0" hangingPunct="0">
              <a:defRPr sz="1600" baseline="30000">
                <a:solidFill>
                  <a:schemeClr val="tx1"/>
                </a:solidFill>
                <a:latin typeface="Arial" charset="0"/>
                <a:cs typeface="Arial" charset="0"/>
              </a:defRPr>
            </a:lvl3pPr>
            <a:lvl4pPr marL="1600200" indent="-228600" defTabSz="895350" eaLnBrk="0" hangingPunct="0">
              <a:defRPr sz="1600" baseline="30000">
                <a:solidFill>
                  <a:schemeClr val="tx1"/>
                </a:solidFill>
                <a:latin typeface="Arial" charset="0"/>
                <a:cs typeface="Arial" charset="0"/>
              </a:defRPr>
            </a:lvl4pPr>
            <a:lvl5pPr marL="2057400" indent="-228600" defTabSz="895350" eaLnBrk="0" hangingPunct="0">
              <a:defRPr sz="1600" baseline="30000">
                <a:solidFill>
                  <a:schemeClr val="tx1"/>
                </a:solidFill>
                <a:latin typeface="Arial" charset="0"/>
                <a:cs typeface="Arial" charset="0"/>
              </a:defRPr>
            </a:lvl5pPr>
            <a:lvl6pPr marL="2514600" indent="-228600" defTabSz="895350" eaLnBrk="0" fontAlgn="base" hangingPunct="0">
              <a:spcBef>
                <a:spcPct val="0"/>
              </a:spcBef>
              <a:spcAft>
                <a:spcPct val="0"/>
              </a:spcAft>
              <a:defRPr sz="1600" baseline="30000">
                <a:solidFill>
                  <a:schemeClr val="tx1"/>
                </a:solidFill>
                <a:latin typeface="Arial" charset="0"/>
                <a:cs typeface="Arial" charset="0"/>
              </a:defRPr>
            </a:lvl6pPr>
            <a:lvl7pPr marL="2971800" indent="-228600" defTabSz="895350" eaLnBrk="0" fontAlgn="base" hangingPunct="0">
              <a:spcBef>
                <a:spcPct val="0"/>
              </a:spcBef>
              <a:spcAft>
                <a:spcPct val="0"/>
              </a:spcAft>
              <a:defRPr sz="1600" baseline="30000">
                <a:solidFill>
                  <a:schemeClr val="tx1"/>
                </a:solidFill>
                <a:latin typeface="Arial" charset="0"/>
                <a:cs typeface="Arial" charset="0"/>
              </a:defRPr>
            </a:lvl7pPr>
            <a:lvl8pPr marL="3429000" indent="-228600" defTabSz="895350" eaLnBrk="0" fontAlgn="base" hangingPunct="0">
              <a:spcBef>
                <a:spcPct val="0"/>
              </a:spcBef>
              <a:spcAft>
                <a:spcPct val="0"/>
              </a:spcAft>
              <a:defRPr sz="1600" baseline="30000">
                <a:solidFill>
                  <a:schemeClr val="tx1"/>
                </a:solidFill>
                <a:latin typeface="Arial" charset="0"/>
                <a:cs typeface="Arial" charset="0"/>
              </a:defRPr>
            </a:lvl8pPr>
            <a:lvl9pPr marL="3886200" indent="-228600" defTabSz="895350" eaLnBrk="0" fontAlgn="base" hangingPunct="0">
              <a:spcBef>
                <a:spcPct val="0"/>
              </a:spcBef>
              <a:spcAft>
                <a:spcPct val="0"/>
              </a:spcAft>
              <a:defRPr sz="1600" baseline="30000">
                <a:solidFill>
                  <a:schemeClr val="tx1"/>
                </a:solidFill>
                <a:latin typeface="Arial" charset="0"/>
                <a:cs typeface="Arial" charset="0"/>
              </a:defRPr>
            </a:lvl9pPr>
          </a:lstStyle>
          <a:p>
            <a:pPr>
              <a:buClr>
                <a:srgbClr val="002960"/>
              </a:buClr>
            </a:pPr>
            <a:r>
              <a:rPr lang="en-US" sz="1000" b="1" baseline="0" dirty="0">
                <a:solidFill>
                  <a:schemeClr val="accent3"/>
                </a:solidFill>
                <a:latin typeface="+mn-lt"/>
              </a:rPr>
              <a:t>Grow revenue</a:t>
            </a:r>
          </a:p>
        </p:txBody>
      </p:sp>
      <p:sp>
        <p:nvSpPr>
          <p:cNvPr id="127" name="Freeform 84"/>
          <p:cNvSpPr>
            <a:spLocks/>
          </p:cNvSpPr>
          <p:nvPr/>
        </p:nvSpPr>
        <p:spPr bwMode="auto">
          <a:xfrm>
            <a:off x="1352236" y="2459584"/>
            <a:ext cx="314195" cy="410065"/>
          </a:xfrm>
          <a:custGeom>
            <a:avLst/>
            <a:gdLst>
              <a:gd name="T0" fmla="*/ 134 w 134"/>
              <a:gd name="T1" fmla="*/ 78 h 176"/>
              <a:gd name="T2" fmla="*/ 92 w 134"/>
              <a:gd name="T3" fmla="*/ 78 h 176"/>
              <a:gd name="T4" fmla="*/ 90 w 134"/>
              <a:gd name="T5" fmla="*/ 81 h 176"/>
              <a:gd name="T6" fmla="*/ 97 w 134"/>
              <a:gd name="T7" fmla="*/ 90 h 176"/>
              <a:gd name="T8" fmla="*/ 98 w 134"/>
              <a:gd name="T9" fmla="*/ 91 h 176"/>
              <a:gd name="T10" fmla="*/ 79 w 134"/>
              <a:gd name="T11" fmla="*/ 112 h 176"/>
              <a:gd name="T12" fmla="*/ 86 w 134"/>
              <a:gd name="T13" fmla="*/ 36 h 176"/>
              <a:gd name="T14" fmla="*/ 87 w 134"/>
              <a:gd name="T15" fmla="*/ 36 h 176"/>
              <a:gd name="T16" fmla="*/ 98 w 134"/>
              <a:gd name="T17" fmla="*/ 36 h 176"/>
              <a:gd name="T18" fmla="*/ 100 w 134"/>
              <a:gd name="T19" fmla="*/ 32 h 176"/>
              <a:gd name="T20" fmla="*/ 73 w 134"/>
              <a:gd name="T21" fmla="*/ 0 h 176"/>
              <a:gd name="T22" fmla="*/ 46 w 134"/>
              <a:gd name="T23" fmla="*/ 32 h 176"/>
              <a:gd name="T24" fmla="*/ 48 w 134"/>
              <a:gd name="T25" fmla="*/ 36 h 176"/>
              <a:gd name="T26" fmla="*/ 59 w 134"/>
              <a:gd name="T27" fmla="*/ 36 h 176"/>
              <a:gd name="T28" fmla="*/ 61 w 134"/>
              <a:gd name="T29" fmla="*/ 36 h 176"/>
              <a:gd name="T30" fmla="*/ 64 w 134"/>
              <a:gd name="T31" fmla="*/ 91 h 176"/>
              <a:gd name="T32" fmla="*/ 36 w 134"/>
              <a:gd name="T33" fmla="*/ 60 h 176"/>
              <a:gd name="T34" fmla="*/ 37 w 134"/>
              <a:gd name="T35" fmla="*/ 59 h 176"/>
              <a:gd name="T36" fmla="*/ 44 w 134"/>
              <a:gd name="T37" fmla="*/ 50 h 176"/>
              <a:gd name="T38" fmla="*/ 42 w 134"/>
              <a:gd name="T39" fmla="*/ 46 h 176"/>
              <a:gd name="T40" fmla="*/ 0 w 134"/>
              <a:gd name="T41" fmla="*/ 47 h 176"/>
              <a:gd name="T42" fmla="*/ 8 w 134"/>
              <a:gd name="T43" fmla="*/ 88 h 176"/>
              <a:gd name="T44" fmla="*/ 12 w 134"/>
              <a:gd name="T45" fmla="*/ 89 h 176"/>
              <a:gd name="T46" fmla="*/ 19 w 134"/>
              <a:gd name="T47" fmla="*/ 80 h 176"/>
              <a:gd name="T48" fmla="*/ 20 w 134"/>
              <a:gd name="T49" fmla="*/ 79 h 176"/>
              <a:gd name="T50" fmla="*/ 67 w 134"/>
              <a:gd name="T51" fmla="*/ 134 h 176"/>
              <a:gd name="T52" fmla="*/ 67 w 134"/>
              <a:gd name="T53" fmla="*/ 137 h 176"/>
              <a:gd name="T54" fmla="*/ 53 w 134"/>
              <a:gd name="T55" fmla="*/ 156 h 176"/>
              <a:gd name="T56" fmla="*/ 73 w 134"/>
              <a:gd name="T57" fmla="*/ 176 h 176"/>
              <a:gd name="T58" fmla="*/ 93 w 134"/>
              <a:gd name="T59" fmla="*/ 156 h 176"/>
              <a:gd name="T60" fmla="*/ 79 w 134"/>
              <a:gd name="T61" fmla="*/ 137 h 176"/>
              <a:gd name="T62" fmla="*/ 114 w 134"/>
              <a:gd name="T63" fmla="*/ 110 h 176"/>
              <a:gd name="T64" fmla="*/ 115 w 134"/>
              <a:gd name="T65" fmla="*/ 112 h 176"/>
              <a:gd name="T66" fmla="*/ 122 w 134"/>
              <a:gd name="T67" fmla="*/ 120 h 176"/>
              <a:gd name="T68" fmla="*/ 126 w 134"/>
              <a:gd name="T69" fmla="*/ 119 h 176"/>
              <a:gd name="T70" fmla="*/ 134 w 134"/>
              <a:gd name="T71" fmla="*/ 78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34" h="176">
                <a:moveTo>
                  <a:pt x="134" y="78"/>
                </a:moveTo>
                <a:cubicBezTo>
                  <a:pt x="133" y="78"/>
                  <a:pt x="92" y="78"/>
                  <a:pt x="92" y="78"/>
                </a:cubicBezTo>
                <a:cubicBezTo>
                  <a:pt x="89" y="77"/>
                  <a:pt x="88" y="79"/>
                  <a:pt x="90" y="81"/>
                </a:cubicBezTo>
                <a:cubicBezTo>
                  <a:pt x="97" y="90"/>
                  <a:pt x="97" y="90"/>
                  <a:pt x="97" y="90"/>
                </a:cubicBezTo>
                <a:cubicBezTo>
                  <a:pt x="98" y="91"/>
                  <a:pt x="98" y="91"/>
                  <a:pt x="98" y="91"/>
                </a:cubicBezTo>
                <a:cubicBezTo>
                  <a:pt x="92" y="96"/>
                  <a:pt x="83" y="104"/>
                  <a:pt x="79" y="112"/>
                </a:cubicBezTo>
                <a:cubicBezTo>
                  <a:pt x="86" y="36"/>
                  <a:pt x="86" y="36"/>
                  <a:pt x="86" y="36"/>
                </a:cubicBezTo>
                <a:cubicBezTo>
                  <a:pt x="87" y="36"/>
                  <a:pt x="87" y="36"/>
                  <a:pt x="87" y="36"/>
                </a:cubicBezTo>
                <a:cubicBezTo>
                  <a:pt x="98" y="36"/>
                  <a:pt x="98" y="36"/>
                  <a:pt x="98" y="36"/>
                </a:cubicBezTo>
                <a:cubicBezTo>
                  <a:pt x="101" y="36"/>
                  <a:pt x="102" y="34"/>
                  <a:pt x="100" y="32"/>
                </a:cubicBezTo>
                <a:cubicBezTo>
                  <a:pt x="100" y="32"/>
                  <a:pt x="74" y="0"/>
                  <a:pt x="73" y="0"/>
                </a:cubicBezTo>
                <a:cubicBezTo>
                  <a:pt x="72" y="0"/>
                  <a:pt x="46" y="32"/>
                  <a:pt x="46" y="32"/>
                </a:cubicBezTo>
                <a:cubicBezTo>
                  <a:pt x="44" y="34"/>
                  <a:pt x="45" y="36"/>
                  <a:pt x="48" y="36"/>
                </a:cubicBezTo>
                <a:cubicBezTo>
                  <a:pt x="59" y="36"/>
                  <a:pt x="59" y="36"/>
                  <a:pt x="59" y="36"/>
                </a:cubicBezTo>
                <a:cubicBezTo>
                  <a:pt x="61" y="36"/>
                  <a:pt x="61" y="36"/>
                  <a:pt x="61" y="36"/>
                </a:cubicBezTo>
                <a:cubicBezTo>
                  <a:pt x="64" y="91"/>
                  <a:pt x="64" y="91"/>
                  <a:pt x="64" y="91"/>
                </a:cubicBezTo>
                <a:cubicBezTo>
                  <a:pt x="60" y="81"/>
                  <a:pt x="42" y="65"/>
                  <a:pt x="36" y="60"/>
                </a:cubicBezTo>
                <a:cubicBezTo>
                  <a:pt x="37" y="59"/>
                  <a:pt x="37" y="59"/>
                  <a:pt x="37" y="59"/>
                </a:cubicBezTo>
                <a:cubicBezTo>
                  <a:pt x="44" y="50"/>
                  <a:pt x="44" y="50"/>
                  <a:pt x="44" y="50"/>
                </a:cubicBezTo>
                <a:cubicBezTo>
                  <a:pt x="46" y="48"/>
                  <a:pt x="45" y="46"/>
                  <a:pt x="42" y="46"/>
                </a:cubicBezTo>
                <a:cubicBezTo>
                  <a:pt x="42" y="46"/>
                  <a:pt x="1" y="46"/>
                  <a:pt x="0" y="47"/>
                </a:cubicBezTo>
                <a:cubicBezTo>
                  <a:pt x="0" y="48"/>
                  <a:pt x="8" y="88"/>
                  <a:pt x="8" y="88"/>
                </a:cubicBezTo>
                <a:cubicBezTo>
                  <a:pt x="8" y="91"/>
                  <a:pt x="10" y="91"/>
                  <a:pt x="12" y="89"/>
                </a:cubicBezTo>
                <a:cubicBezTo>
                  <a:pt x="19" y="80"/>
                  <a:pt x="19" y="80"/>
                  <a:pt x="19" y="80"/>
                </a:cubicBezTo>
                <a:cubicBezTo>
                  <a:pt x="20" y="79"/>
                  <a:pt x="20" y="79"/>
                  <a:pt x="20" y="79"/>
                </a:cubicBezTo>
                <a:cubicBezTo>
                  <a:pt x="36" y="90"/>
                  <a:pt x="61" y="109"/>
                  <a:pt x="67" y="134"/>
                </a:cubicBezTo>
                <a:cubicBezTo>
                  <a:pt x="67" y="137"/>
                  <a:pt x="67" y="137"/>
                  <a:pt x="67" y="137"/>
                </a:cubicBezTo>
                <a:cubicBezTo>
                  <a:pt x="59" y="140"/>
                  <a:pt x="53" y="147"/>
                  <a:pt x="53" y="156"/>
                </a:cubicBezTo>
                <a:cubicBezTo>
                  <a:pt x="53" y="167"/>
                  <a:pt x="62" y="176"/>
                  <a:pt x="73" y="176"/>
                </a:cubicBezTo>
                <a:cubicBezTo>
                  <a:pt x="84" y="176"/>
                  <a:pt x="93" y="167"/>
                  <a:pt x="93" y="156"/>
                </a:cubicBezTo>
                <a:cubicBezTo>
                  <a:pt x="93" y="147"/>
                  <a:pt x="87" y="140"/>
                  <a:pt x="79" y="137"/>
                </a:cubicBezTo>
                <a:cubicBezTo>
                  <a:pt x="87" y="124"/>
                  <a:pt x="100" y="114"/>
                  <a:pt x="114" y="110"/>
                </a:cubicBezTo>
                <a:cubicBezTo>
                  <a:pt x="115" y="112"/>
                  <a:pt x="115" y="112"/>
                  <a:pt x="115" y="112"/>
                </a:cubicBezTo>
                <a:cubicBezTo>
                  <a:pt x="122" y="120"/>
                  <a:pt x="122" y="120"/>
                  <a:pt x="122" y="120"/>
                </a:cubicBezTo>
                <a:cubicBezTo>
                  <a:pt x="124" y="122"/>
                  <a:pt x="126" y="122"/>
                  <a:pt x="126" y="119"/>
                </a:cubicBezTo>
                <a:cubicBezTo>
                  <a:pt x="126" y="119"/>
                  <a:pt x="134" y="79"/>
                  <a:pt x="134" y="78"/>
                </a:cubicBezTo>
                <a:close/>
              </a:path>
            </a:pathLst>
          </a:custGeom>
          <a:solidFill>
            <a:schemeClr val="accent3"/>
          </a:solidFill>
          <a:ln>
            <a:noFill/>
          </a:ln>
          <a:extLst/>
        </p:spPr>
        <p:txBody>
          <a:bodyPr vert="horz" wrap="square" lIns="91440" tIns="45720" rIns="91440" bIns="45720" numCol="1" anchor="t" anchorCtr="0" compatLnSpc="1">
            <a:prstTxWarp prst="textNoShape">
              <a:avLst/>
            </a:prstTxWarp>
          </a:bodyPr>
          <a:lstStyle/>
          <a:p>
            <a:endParaRPr lang="en-US" sz="1000" dirty="0">
              <a:solidFill>
                <a:srgbClr val="000000"/>
              </a:solidFill>
              <a:latin typeface="+mn-lt"/>
            </a:endParaRPr>
          </a:p>
        </p:txBody>
      </p:sp>
      <p:cxnSp>
        <p:nvCxnSpPr>
          <p:cNvPr id="85" name="AutoShape 249"/>
          <p:cNvCxnSpPr>
            <a:cxnSpLocks noChangeShapeType="1"/>
          </p:cNvCxnSpPr>
          <p:nvPr/>
        </p:nvCxnSpPr>
        <p:spPr bwMode="gray">
          <a:xfrm>
            <a:off x="1876309" y="1423560"/>
            <a:ext cx="2226027" cy="0"/>
          </a:xfrm>
          <a:prstGeom prst="straightConnector1">
            <a:avLst/>
          </a:prstGeom>
          <a:noFill/>
          <a:ln w="952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86" name="AutoShape 249"/>
          <p:cNvCxnSpPr>
            <a:cxnSpLocks noChangeShapeType="1"/>
          </p:cNvCxnSpPr>
          <p:nvPr/>
        </p:nvCxnSpPr>
        <p:spPr bwMode="gray">
          <a:xfrm>
            <a:off x="4154131" y="1423560"/>
            <a:ext cx="2226027" cy="0"/>
          </a:xfrm>
          <a:prstGeom prst="straightConnector1">
            <a:avLst/>
          </a:prstGeom>
          <a:noFill/>
          <a:ln w="952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87" name="AutoShape 249"/>
          <p:cNvCxnSpPr>
            <a:cxnSpLocks noChangeShapeType="1"/>
          </p:cNvCxnSpPr>
          <p:nvPr/>
        </p:nvCxnSpPr>
        <p:spPr bwMode="gray">
          <a:xfrm>
            <a:off x="6431955" y="1423560"/>
            <a:ext cx="2226027" cy="0"/>
          </a:xfrm>
          <a:prstGeom prst="straightConnector1">
            <a:avLst/>
          </a:prstGeom>
          <a:noFill/>
          <a:ln w="952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5" name="Title 4">
            <a:extLst>
              <a:ext uri="{FF2B5EF4-FFF2-40B4-BE49-F238E27FC236}">
                <a16:creationId xmlns:a16="http://schemas.microsoft.com/office/drawing/2014/main" id="{BF09A463-801B-42F3-A3E5-179E8D7CC45C}"/>
              </a:ext>
            </a:extLst>
          </p:cNvPr>
          <p:cNvSpPr>
            <a:spLocks noGrp="1"/>
          </p:cNvSpPr>
          <p:nvPr>
            <p:ph type="title"/>
          </p:nvPr>
        </p:nvSpPr>
        <p:spPr>
          <a:xfrm>
            <a:off x="119063" y="230188"/>
            <a:ext cx="8618537" cy="615553"/>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marL="465138"/>
            <a:r>
              <a:rPr lang="en-US" dirty="0"/>
              <a:t>The merger can serve as a catalyst for transformation,</a:t>
            </a:r>
            <a:br>
              <a:rPr lang="en-US" dirty="0"/>
            </a:br>
            <a:r>
              <a:rPr lang="en-US" dirty="0"/>
              <a:t>unlocking sources of value beyond typical deal focus</a:t>
            </a:r>
            <a:endParaRPr lang="en-GB" dirty="0"/>
          </a:p>
        </p:txBody>
      </p:sp>
      <p:sp>
        <p:nvSpPr>
          <p:cNvPr id="72" name="Title Tracker Circle">
            <a:extLst>
              <a:ext uri="{FF2B5EF4-FFF2-40B4-BE49-F238E27FC236}">
                <a16:creationId xmlns:a16="http://schemas.microsoft.com/office/drawing/2014/main" id="{226DA79B-F72A-432B-8B9D-307D294CF1B1}"/>
              </a:ext>
            </a:extLst>
          </p:cNvPr>
          <p:cNvSpPr/>
          <p:nvPr/>
        </p:nvSpPr>
        <p:spPr>
          <a:xfrm>
            <a:off x="119063" y="166736"/>
            <a:ext cx="418798" cy="418798"/>
          </a:xfrm>
          <a:prstGeom prst="ellipse">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p>
            <a:pPr algn="ctr"/>
            <a:r>
              <a:rPr lang="en-US" sz="2000" dirty="0">
                <a:solidFill>
                  <a:schemeClr val="tx2"/>
                </a:solidFill>
                <a:latin typeface="+mj-lt"/>
              </a:rPr>
              <a:t>2</a:t>
            </a:r>
          </a:p>
        </p:txBody>
      </p:sp>
    </p:spTree>
    <p:custDataLst>
      <p:tags r:id="rId2"/>
    </p:custDataLst>
    <p:extLst>
      <p:ext uri="{BB962C8B-B14F-4D97-AF65-F5344CB8AC3E}">
        <p14:creationId xmlns:p14="http://schemas.microsoft.com/office/powerpoint/2010/main" val="214170054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9" name="Object 78"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84692" name="think-cell Slide" r:id="rId5" imgW="530" imgH="531" progId="TCLayout.ActiveDocument.1">
                  <p:embed/>
                </p:oleObj>
              </mc:Choice>
              <mc:Fallback>
                <p:oleObj name="think-cell Slide" r:id="rId5" imgW="530" imgH="531" progId="TCLayout.ActiveDocument.1">
                  <p:embed/>
                  <p:pic>
                    <p:nvPicPr>
                      <p:cNvPr id="79" name="Object 78"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2" name="Rectangle 3"/>
          <p:cNvSpPr>
            <a:spLocks noChangeArrowheads="1"/>
          </p:cNvSpPr>
          <p:nvPr/>
        </p:nvSpPr>
        <p:spPr bwMode="gray">
          <a:xfrm>
            <a:off x="119063" y="1068638"/>
            <a:ext cx="8618537" cy="5001962"/>
          </a:xfrm>
          <a:prstGeom prst="rect">
            <a:avLst/>
          </a:prstGeom>
          <a:solidFill>
            <a:schemeClr val="bg1"/>
          </a:solidFill>
          <a:ln w="19050">
            <a:solidFill>
              <a:schemeClr val="accent1"/>
            </a:solidFill>
          </a:ln>
          <a:effectLst>
            <a:outerShdw blurRad="50800" dist="38100" dir="2700000" algn="tl" rotWithShape="0">
              <a:prstClr val="black">
                <a:alpha val="40000"/>
              </a:prstClr>
            </a:outerShdw>
          </a:effectLst>
          <a:ex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400" dirty="0">
              <a:latin typeface="+mn-lt"/>
            </a:endParaRPr>
          </a:p>
        </p:txBody>
      </p:sp>
      <p:cxnSp>
        <p:nvCxnSpPr>
          <p:cNvPr id="7" name="Straight Connector 6"/>
          <p:cNvCxnSpPr>
            <a:cxnSpLocks/>
          </p:cNvCxnSpPr>
          <p:nvPr/>
        </p:nvCxnSpPr>
        <p:spPr>
          <a:xfrm>
            <a:off x="1382537" y="4883197"/>
            <a:ext cx="7296728" cy="0"/>
          </a:xfrm>
          <a:prstGeom prst="line">
            <a:avLst/>
          </a:prstGeom>
          <a:ln w="12700">
            <a:solidFill>
              <a:schemeClr val="accent6"/>
            </a:solidFill>
            <a:prstDash val="sysDot"/>
          </a:ln>
        </p:spPr>
        <p:style>
          <a:lnRef idx="1">
            <a:schemeClr val="accent1"/>
          </a:lnRef>
          <a:fillRef idx="0">
            <a:schemeClr val="accent1"/>
          </a:fillRef>
          <a:effectRef idx="0">
            <a:schemeClr val="accent1"/>
          </a:effectRef>
          <a:fontRef idx="minor">
            <a:schemeClr val="tx1"/>
          </a:fontRef>
        </p:style>
      </p:cxnSp>
      <p:cxnSp>
        <p:nvCxnSpPr>
          <p:cNvPr id="9" name="Straight Connector 8"/>
          <p:cNvCxnSpPr>
            <a:cxnSpLocks/>
          </p:cNvCxnSpPr>
          <p:nvPr/>
        </p:nvCxnSpPr>
        <p:spPr>
          <a:xfrm>
            <a:off x="1382537" y="3446788"/>
            <a:ext cx="7296728" cy="0"/>
          </a:xfrm>
          <a:prstGeom prst="line">
            <a:avLst/>
          </a:prstGeom>
          <a:ln w="12700">
            <a:solidFill>
              <a:schemeClr val="accent6"/>
            </a:solidFill>
            <a:prstDash val="sysDot"/>
          </a:ln>
        </p:spPr>
        <p:style>
          <a:lnRef idx="1">
            <a:schemeClr val="accent1"/>
          </a:lnRef>
          <a:fillRef idx="0">
            <a:schemeClr val="accent1"/>
          </a:fillRef>
          <a:effectRef idx="0">
            <a:schemeClr val="accent1"/>
          </a:effectRef>
          <a:fontRef idx="minor">
            <a:schemeClr val="tx1"/>
          </a:fontRef>
        </p:style>
      </p:cxnSp>
      <p:grpSp>
        <p:nvGrpSpPr>
          <p:cNvPr id="34" name="ACET"/>
          <p:cNvGrpSpPr>
            <a:grpSpLocks/>
          </p:cNvGrpSpPr>
          <p:nvPr/>
        </p:nvGrpSpPr>
        <p:grpSpPr bwMode="gray">
          <a:xfrm>
            <a:off x="1382537" y="1302844"/>
            <a:ext cx="7296728" cy="233363"/>
            <a:chOff x="915" y="883"/>
            <a:chExt cx="2686" cy="147"/>
          </a:xfrm>
        </p:grpSpPr>
        <p:cxnSp>
          <p:nvCxnSpPr>
            <p:cNvPr id="35" name="AutoShape 249"/>
            <p:cNvCxnSpPr>
              <a:cxnSpLocks noChangeShapeType="1"/>
              <a:stCxn id="36" idx="4"/>
              <a:endCxn id="36" idx="6"/>
            </p:cNvCxnSpPr>
            <p:nvPr/>
          </p:nvCxnSpPr>
          <p:spPr bwMode="gray">
            <a:xfrm>
              <a:off x="915" y="1030"/>
              <a:ext cx="2686" cy="0"/>
            </a:xfrm>
            <a:prstGeom prst="straightConnector1">
              <a:avLst/>
            </a:prstGeom>
            <a:noFill/>
            <a:ln w="952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36" name="AutoShape 250"/>
            <p:cNvSpPr>
              <a:spLocks noChangeArrowheads="1"/>
            </p:cNvSpPr>
            <p:nvPr/>
          </p:nvSpPr>
          <p:spPr bwMode="gray">
            <a:xfrm>
              <a:off x="915" y="883"/>
              <a:ext cx="2686" cy="147"/>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US" sz="1400" b="1" dirty="0">
                  <a:solidFill>
                    <a:schemeClr val="accent3"/>
                  </a:solidFill>
                  <a:latin typeface="+mn-lt"/>
                </a:rPr>
                <a:t>Example priorities</a:t>
              </a:r>
            </a:p>
          </p:txBody>
        </p:sp>
      </p:grpSp>
      <p:sp>
        <p:nvSpPr>
          <p:cNvPr id="16" name="TextBox 15"/>
          <p:cNvSpPr txBox="1">
            <a:spLocks/>
          </p:cNvSpPr>
          <p:nvPr/>
        </p:nvSpPr>
        <p:spPr>
          <a:xfrm>
            <a:off x="242777" y="1105320"/>
            <a:ext cx="1082671" cy="430887"/>
          </a:xfrm>
          <a:prstGeom prst="rect">
            <a:avLst/>
          </a:prstGeom>
        </p:spPr>
        <p:txBody>
          <a:bodyPr vert="horz" wrap="square" lIns="0" tIns="0" rIns="0" bIns="0" rtlCol="0" anchor="b" anchorCtr="0">
            <a:spAutoFit/>
          </a:bodyPr>
          <a:lstStyle>
            <a:lvl1pPr marL="0" lvl="0" indent="0" defTabSz="895350" eaLnBrk="1" latinLnBrk="0" hangingPunct="1">
              <a:buClr>
                <a:schemeClr val="tx2"/>
              </a:buClr>
              <a:buSzPct val="100000"/>
              <a:defRPr lang="x-none" sz="1400" baseline="0">
                <a:latin typeface="+mn-lt"/>
              </a:defRPr>
            </a:lvl1pPr>
            <a:lvl2pPr marL="193675" lvl="1" indent="-192088" defTabSz="895350" eaLnBrk="1" latinLnBrk="0" hangingPunct="1">
              <a:buClr>
                <a:schemeClr val="tx2"/>
              </a:buClr>
              <a:buSzPct val="125000"/>
              <a:buFont typeface="Arial" charset="0"/>
              <a:buChar char="▪"/>
              <a:defRPr lang="x-none" sz="1400" baseline="0">
                <a:latin typeface="+mn-lt"/>
              </a:defRPr>
            </a:lvl2pPr>
            <a:lvl3pPr marL="457200" lvl="2" indent="-261938" defTabSz="895350" eaLnBrk="1" latinLnBrk="0" hangingPunct="1">
              <a:buClr>
                <a:schemeClr val="tx2"/>
              </a:buClr>
              <a:buSzPct val="120000"/>
              <a:buFont typeface="Arial" charset="0"/>
              <a:buChar char="–"/>
              <a:defRPr lang="x-none" sz="1400" baseline="0">
                <a:latin typeface="+mn-lt"/>
              </a:defRPr>
            </a:lvl3pPr>
            <a:lvl4pPr marL="614363" lvl="3" indent="-155575" defTabSz="895350" eaLnBrk="1" latinLnBrk="0" hangingPunct="1">
              <a:buClr>
                <a:schemeClr val="tx2"/>
              </a:buClr>
              <a:buSzPct val="120000"/>
              <a:buFont typeface="Arial" charset="0"/>
              <a:buChar char="▫"/>
              <a:defRPr lang="x-none" sz="1400" baseline="0">
                <a:latin typeface="+mn-lt"/>
              </a:defRPr>
            </a:lvl4pPr>
            <a:lvl5pPr marL="749808" lvl="4" indent="-130175" defTabSz="895350" eaLnBrk="1" latinLnBrk="0" hangingPunct="1">
              <a:buClr>
                <a:schemeClr val="tx2"/>
              </a:buClr>
              <a:buSzPct val="89000"/>
              <a:buFont typeface="Arial" charset="0"/>
              <a:buChar char="-"/>
              <a:defRPr lang="x-none" sz="1400" baseline="0">
                <a:latin typeface="+mn-lt"/>
              </a:defRPr>
            </a:lvl5pPr>
            <a:lvl6pPr marL="749808" indent="-130175" defTabSz="895350" fontAlgn="base">
              <a:spcBef>
                <a:spcPct val="0"/>
              </a:spcBef>
              <a:spcAft>
                <a:spcPct val="0"/>
              </a:spcAft>
              <a:buClr>
                <a:schemeClr val="tx2"/>
              </a:buClr>
              <a:buSzPct val="89000"/>
              <a:buFont typeface="Arial" charset="0"/>
              <a:buChar char="-"/>
              <a:defRPr lang="x-none" baseline="0">
                <a:latin typeface="+mn-lt"/>
              </a:defRPr>
            </a:lvl6pPr>
            <a:lvl7pPr marL="749808" indent="-130175" defTabSz="895350" fontAlgn="base">
              <a:spcBef>
                <a:spcPct val="0"/>
              </a:spcBef>
              <a:spcAft>
                <a:spcPct val="0"/>
              </a:spcAft>
              <a:buClr>
                <a:schemeClr val="tx2"/>
              </a:buClr>
              <a:buSzPct val="89000"/>
              <a:buFont typeface="Arial" charset="0"/>
              <a:buChar char="-"/>
              <a:defRPr lang="x-none" baseline="0">
                <a:latin typeface="+mn-lt"/>
              </a:defRPr>
            </a:lvl7pPr>
            <a:lvl8pPr marL="749808" indent="-130175" defTabSz="895350" fontAlgn="base">
              <a:spcBef>
                <a:spcPct val="0"/>
              </a:spcBef>
              <a:spcAft>
                <a:spcPct val="0"/>
              </a:spcAft>
              <a:buClr>
                <a:schemeClr val="tx2"/>
              </a:buClr>
              <a:buSzPct val="89000"/>
              <a:buFont typeface="Arial" charset="0"/>
              <a:buChar char="-"/>
              <a:defRPr lang="x-none" baseline="0">
                <a:latin typeface="+mn-lt"/>
              </a:defRPr>
            </a:lvl8pPr>
            <a:lvl9pPr marL="749808" indent="-130175" defTabSz="895350" fontAlgn="base">
              <a:spcBef>
                <a:spcPct val="0"/>
              </a:spcBef>
              <a:spcAft>
                <a:spcPct val="0"/>
              </a:spcAft>
              <a:buClr>
                <a:schemeClr val="tx2"/>
              </a:buClr>
              <a:buSzPct val="89000"/>
              <a:buFont typeface="Arial" charset="0"/>
              <a:buChar char="-"/>
              <a:defRPr lang="x-none" baseline="0">
                <a:latin typeface="+mn-lt"/>
              </a:defRPr>
            </a:lvl9pPr>
          </a:lstStyle>
          <a:p>
            <a:r>
              <a:rPr lang="en-US" b="1" dirty="0">
                <a:solidFill>
                  <a:schemeClr val="accent3"/>
                </a:solidFill>
              </a:rPr>
              <a:t>Integration objectives</a:t>
            </a:r>
          </a:p>
        </p:txBody>
      </p:sp>
      <p:sp>
        <p:nvSpPr>
          <p:cNvPr id="4" name="TextBox 3"/>
          <p:cNvSpPr txBox="1">
            <a:spLocks/>
          </p:cNvSpPr>
          <p:nvPr/>
        </p:nvSpPr>
        <p:spPr>
          <a:xfrm>
            <a:off x="1382537" y="1597505"/>
            <a:ext cx="7296728" cy="1766637"/>
          </a:xfrm>
          <a:prstGeom prst="rect">
            <a:avLst/>
          </a:prstGeom>
        </p:spPr>
        <p:txBody>
          <a:bodyPr vert="horz" wrap="square" lIns="0" tIns="0" rIns="0" bIns="0" rtlCol="0" anchor="t" anchorCtr="0">
            <a:spAutoFit/>
          </a:bodyPr>
          <a:lstStyle>
            <a:lvl1pPr marL="0" lvl="0" indent="0" defTabSz="895350" eaLnBrk="1" latinLnBrk="0" hangingPunct="1">
              <a:buClr>
                <a:schemeClr val="tx2"/>
              </a:buClr>
              <a:buSzPct val="100000"/>
              <a:defRPr lang="x-none" sz="1400" baseline="0">
                <a:latin typeface="+mn-lt"/>
              </a:defRPr>
            </a:lvl1pPr>
            <a:lvl2pPr marL="193675" lvl="1" indent="-192088" defTabSz="895350" eaLnBrk="1" latinLnBrk="0" hangingPunct="1">
              <a:buClr>
                <a:schemeClr val="tx2"/>
              </a:buClr>
              <a:buSzPct val="125000"/>
              <a:buFont typeface="Arial" charset="0"/>
              <a:buChar char="▪"/>
              <a:defRPr lang="x-none" sz="1400" baseline="0">
                <a:latin typeface="+mn-lt"/>
              </a:defRPr>
            </a:lvl2pPr>
            <a:lvl3pPr marL="457200" lvl="2" indent="-261938" defTabSz="895350" eaLnBrk="1" latinLnBrk="0" hangingPunct="1">
              <a:buClr>
                <a:schemeClr val="tx2"/>
              </a:buClr>
              <a:buSzPct val="120000"/>
              <a:buFont typeface="Arial" charset="0"/>
              <a:buChar char="–"/>
              <a:defRPr lang="x-none" sz="1400" baseline="0">
                <a:latin typeface="+mn-lt"/>
              </a:defRPr>
            </a:lvl3pPr>
            <a:lvl4pPr marL="614363" lvl="3" indent="-155575" defTabSz="895350" eaLnBrk="1" latinLnBrk="0" hangingPunct="1">
              <a:buClr>
                <a:schemeClr val="tx2"/>
              </a:buClr>
              <a:buSzPct val="120000"/>
              <a:buFont typeface="Arial" charset="0"/>
              <a:buChar char="▫"/>
              <a:defRPr lang="x-none" sz="1400" baseline="0">
                <a:latin typeface="+mn-lt"/>
              </a:defRPr>
            </a:lvl4pPr>
            <a:lvl5pPr marL="749808" lvl="4" indent="-130175" defTabSz="895350" eaLnBrk="1" latinLnBrk="0" hangingPunct="1">
              <a:buClr>
                <a:schemeClr val="tx2"/>
              </a:buClr>
              <a:buSzPct val="89000"/>
              <a:buFont typeface="Arial" charset="0"/>
              <a:buChar char="-"/>
              <a:defRPr lang="x-none" sz="1400" baseline="0">
                <a:latin typeface="+mn-lt"/>
              </a:defRPr>
            </a:lvl5pPr>
            <a:lvl6pPr marL="749808" indent="-130175" defTabSz="895350" fontAlgn="base">
              <a:spcBef>
                <a:spcPct val="0"/>
              </a:spcBef>
              <a:spcAft>
                <a:spcPct val="0"/>
              </a:spcAft>
              <a:buClr>
                <a:schemeClr val="tx2"/>
              </a:buClr>
              <a:buSzPct val="89000"/>
              <a:buFont typeface="Arial" charset="0"/>
              <a:buChar char="-"/>
              <a:defRPr lang="x-none" baseline="0">
                <a:latin typeface="+mn-lt"/>
              </a:defRPr>
            </a:lvl6pPr>
            <a:lvl7pPr marL="749808" indent="-130175" defTabSz="895350" fontAlgn="base">
              <a:spcBef>
                <a:spcPct val="0"/>
              </a:spcBef>
              <a:spcAft>
                <a:spcPct val="0"/>
              </a:spcAft>
              <a:buClr>
                <a:schemeClr val="tx2"/>
              </a:buClr>
              <a:buSzPct val="89000"/>
              <a:buFont typeface="Arial" charset="0"/>
              <a:buChar char="-"/>
              <a:defRPr lang="x-none" baseline="0">
                <a:latin typeface="+mn-lt"/>
              </a:defRPr>
            </a:lvl7pPr>
            <a:lvl8pPr marL="749808" indent="-130175" defTabSz="895350" fontAlgn="base">
              <a:spcBef>
                <a:spcPct val="0"/>
              </a:spcBef>
              <a:spcAft>
                <a:spcPct val="0"/>
              </a:spcAft>
              <a:buClr>
                <a:schemeClr val="tx2"/>
              </a:buClr>
              <a:buSzPct val="89000"/>
              <a:buFont typeface="Arial" charset="0"/>
              <a:buChar char="-"/>
              <a:defRPr lang="x-none" baseline="0">
                <a:latin typeface="+mn-lt"/>
              </a:defRPr>
            </a:lvl8pPr>
            <a:lvl9pPr marL="749808" indent="-130175" defTabSz="895350" fontAlgn="base">
              <a:spcBef>
                <a:spcPct val="0"/>
              </a:spcBef>
              <a:spcAft>
                <a:spcPct val="0"/>
              </a:spcAft>
              <a:buClr>
                <a:schemeClr val="tx2"/>
              </a:buClr>
              <a:buSzPct val="89000"/>
              <a:buFont typeface="Arial" charset="0"/>
              <a:buChar char="-"/>
              <a:defRPr lang="x-none" baseline="0">
                <a:latin typeface="+mn-lt"/>
              </a:defRPr>
            </a:lvl9pPr>
          </a:lstStyle>
          <a:p>
            <a:pPr lvl="1">
              <a:spcBef>
                <a:spcPct val="30000"/>
              </a:spcBef>
            </a:pPr>
            <a:r>
              <a:rPr lang="en-US" dirty="0"/>
              <a:t>Work with both companies to create combined spend and revenue baselines and define value capture targets by function, geography, and business</a:t>
            </a:r>
          </a:p>
          <a:p>
            <a:pPr lvl="1">
              <a:spcBef>
                <a:spcPct val="30000"/>
              </a:spcBef>
            </a:pPr>
            <a:r>
              <a:rPr lang="en-US" dirty="0"/>
              <a:t>Prioritize functions that drive majority of value capture (e.g., Corporate G&amp;A, procurement)</a:t>
            </a:r>
          </a:p>
          <a:p>
            <a:pPr lvl="1">
              <a:spcBef>
                <a:spcPct val="30000"/>
              </a:spcBef>
            </a:pPr>
            <a:r>
              <a:rPr lang="en-US" dirty="0"/>
              <a:t>Optimize working capital and management liquidity of the combined company</a:t>
            </a:r>
          </a:p>
          <a:p>
            <a:pPr lvl="1">
              <a:spcBef>
                <a:spcPct val="30000"/>
              </a:spcBef>
            </a:pPr>
            <a:r>
              <a:rPr lang="en-US" dirty="0"/>
              <a:t>Push teams to think expansively about value capture – both cost and revenue – to hit external target</a:t>
            </a:r>
          </a:p>
          <a:p>
            <a:pPr lvl="1">
              <a:spcBef>
                <a:spcPct val="30000"/>
              </a:spcBef>
            </a:pPr>
            <a:r>
              <a:rPr lang="en-US" dirty="0"/>
              <a:t>Set up and implement value capture tracking and reporting processes</a:t>
            </a:r>
          </a:p>
        </p:txBody>
      </p:sp>
      <p:sp>
        <p:nvSpPr>
          <p:cNvPr id="32" name="TextBox 31"/>
          <p:cNvSpPr txBox="1">
            <a:spLocks/>
          </p:cNvSpPr>
          <p:nvPr/>
        </p:nvSpPr>
        <p:spPr>
          <a:xfrm>
            <a:off x="242777" y="1597505"/>
            <a:ext cx="1082671" cy="1766637"/>
          </a:xfrm>
          <a:prstGeom prst="rect">
            <a:avLst/>
          </a:prstGeom>
          <a:solidFill>
            <a:schemeClr val="accent1"/>
          </a:solidFill>
          <a:ln>
            <a:noFill/>
          </a:ln>
        </p:spPr>
        <p:txBody>
          <a:bodyPr vert="horz" wrap="square" lIns="180000" tIns="72009" rIns="72009" bIns="72009" rtlCol="0" anchor="ctr" anchorCtr="0">
            <a:noAutofit/>
          </a:bodyPr>
          <a:lstStyle>
            <a:lvl1pPr marL="0" lvl="0" indent="0" defTabSz="895350" eaLnBrk="1" latinLnBrk="0" hangingPunct="1">
              <a:buClr>
                <a:schemeClr val="tx2"/>
              </a:buClr>
              <a:buSzPct val="100000"/>
              <a:defRPr lang="x-none" sz="1400" baseline="0">
                <a:latin typeface="+mn-lt"/>
              </a:defRPr>
            </a:lvl1pPr>
            <a:lvl2pPr marL="193675" lvl="1" indent="-192088" defTabSz="895350" eaLnBrk="1" latinLnBrk="0" hangingPunct="1">
              <a:buClr>
                <a:schemeClr val="tx2"/>
              </a:buClr>
              <a:buSzPct val="125000"/>
              <a:buFont typeface="Arial" charset="0"/>
              <a:buChar char="▪"/>
              <a:defRPr lang="x-none" sz="1400" baseline="0">
                <a:latin typeface="+mn-lt"/>
              </a:defRPr>
            </a:lvl2pPr>
            <a:lvl3pPr marL="457200" lvl="2" indent="-261938" defTabSz="895350" eaLnBrk="1" latinLnBrk="0" hangingPunct="1">
              <a:buClr>
                <a:schemeClr val="tx2"/>
              </a:buClr>
              <a:buSzPct val="120000"/>
              <a:buFont typeface="Arial" charset="0"/>
              <a:buChar char="–"/>
              <a:defRPr lang="x-none" sz="1400" baseline="0">
                <a:latin typeface="+mn-lt"/>
              </a:defRPr>
            </a:lvl3pPr>
            <a:lvl4pPr marL="614363" lvl="3" indent="-155575" defTabSz="895350" eaLnBrk="1" latinLnBrk="0" hangingPunct="1">
              <a:buClr>
                <a:schemeClr val="tx2"/>
              </a:buClr>
              <a:buSzPct val="120000"/>
              <a:buFont typeface="Arial" charset="0"/>
              <a:buChar char="▫"/>
              <a:defRPr lang="x-none" sz="1400" baseline="0">
                <a:latin typeface="+mn-lt"/>
              </a:defRPr>
            </a:lvl4pPr>
            <a:lvl5pPr marL="749808" lvl="4" indent="-130175" defTabSz="895350" eaLnBrk="1" latinLnBrk="0" hangingPunct="1">
              <a:buClr>
                <a:schemeClr val="tx2"/>
              </a:buClr>
              <a:buSzPct val="89000"/>
              <a:buFont typeface="Arial" charset="0"/>
              <a:buChar char="-"/>
              <a:defRPr lang="x-none" sz="1400" baseline="0">
                <a:latin typeface="+mn-lt"/>
              </a:defRPr>
            </a:lvl5pPr>
            <a:lvl6pPr marL="749808" indent="-130175" defTabSz="895350" fontAlgn="base">
              <a:spcBef>
                <a:spcPct val="0"/>
              </a:spcBef>
              <a:spcAft>
                <a:spcPct val="0"/>
              </a:spcAft>
              <a:buClr>
                <a:schemeClr val="tx2"/>
              </a:buClr>
              <a:buSzPct val="89000"/>
              <a:buFont typeface="Arial" charset="0"/>
              <a:buChar char="-"/>
              <a:defRPr lang="x-none" baseline="0">
                <a:latin typeface="+mn-lt"/>
              </a:defRPr>
            </a:lvl6pPr>
            <a:lvl7pPr marL="749808" indent="-130175" defTabSz="895350" fontAlgn="base">
              <a:spcBef>
                <a:spcPct val="0"/>
              </a:spcBef>
              <a:spcAft>
                <a:spcPct val="0"/>
              </a:spcAft>
              <a:buClr>
                <a:schemeClr val="tx2"/>
              </a:buClr>
              <a:buSzPct val="89000"/>
              <a:buFont typeface="Arial" charset="0"/>
              <a:buChar char="-"/>
              <a:defRPr lang="x-none" baseline="0">
                <a:latin typeface="+mn-lt"/>
              </a:defRPr>
            </a:lvl7pPr>
            <a:lvl8pPr marL="749808" indent="-130175" defTabSz="895350" fontAlgn="base">
              <a:spcBef>
                <a:spcPct val="0"/>
              </a:spcBef>
              <a:spcAft>
                <a:spcPct val="0"/>
              </a:spcAft>
              <a:buClr>
                <a:schemeClr val="tx2"/>
              </a:buClr>
              <a:buSzPct val="89000"/>
              <a:buFont typeface="Arial" charset="0"/>
              <a:buChar char="-"/>
              <a:defRPr lang="x-none" baseline="0">
                <a:latin typeface="+mn-lt"/>
              </a:defRPr>
            </a:lvl8pPr>
            <a:lvl9pPr marL="749808" indent="-130175" defTabSz="895350" fontAlgn="base">
              <a:spcBef>
                <a:spcPct val="0"/>
              </a:spcBef>
              <a:spcAft>
                <a:spcPct val="0"/>
              </a:spcAft>
              <a:buClr>
                <a:schemeClr val="tx2"/>
              </a:buClr>
              <a:buSzPct val="89000"/>
              <a:buFont typeface="Arial" charset="0"/>
              <a:buChar char="-"/>
              <a:defRPr lang="x-none" baseline="0">
                <a:latin typeface="+mn-lt"/>
              </a:defRPr>
            </a:lvl9pPr>
          </a:lstStyle>
          <a:p>
            <a:r>
              <a:rPr lang="en-US" b="1" dirty="0">
                <a:solidFill>
                  <a:schemeClr val="accent3"/>
                </a:solidFill>
              </a:rPr>
              <a:t>Deliver value capture</a:t>
            </a:r>
          </a:p>
        </p:txBody>
      </p:sp>
      <p:sp>
        <p:nvSpPr>
          <p:cNvPr id="6" name="TextBox 5"/>
          <p:cNvSpPr txBox="1">
            <a:spLocks/>
          </p:cNvSpPr>
          <p:nvPr/>
        </p:nvSpPr>
        <p:spPr>
          <a:xfrm>
            <a:off x="1382537" y="3529434"/>
            <a:ext cx="7296728" cy="1271117"/>
          </a:xfrm>
          <a:prstGeom prst="rect">
            <a:avLst/>
          </a:prstGeom>
        </p:spPr>
        <p:txBody>
          <a:bodyPr vert="horz" wrap="square" lIns="0" tIns="0" rIns="0" bIns="0" rtlCol="0" anchor="t" anchorCtr="0">
            <a:spAutoFit/>
          </a:bodyPr>
          <a:lstStyle>
            <a:lvl1pPr marL="0" lvl="0" indent="0" defTabSz="895350" eaLnBrk="1" latinLnBrk="0" hangingPunct="1">
              <a:buClr>
                <a:schemeClr val="tx2"/>
              </a:buClr>
              <a:buSzPct val="100000"/>
              <a:defRPr lang="x-none" sz="1400" baseline="0">
                <a:latin typeface="+mn-lt"/>
              </a:defRPr>
            </a:lvl1pPr>
            <a:lvl2pPr marL="193675" lvl="1" indent="-192088" defTabSz="895350" eaLnBrk="1" latinLnBrk="0" hangingPunct="1">
              <a:buClr>
                <a:schemeClr val="tx2"/>
              </a:buClr>
              <a:buSzPct val="125000"/>
              <a:buFont typeface="Arial" charset="0"/>
              <a:buChar char="▪"/>
              <a:defRPr lang="x-none" sz="1400" baseline="0">
                <a:latin typeface="+mn-lt"/>
              </a:defRPr>
            </a:lvl2pPr>
            <a:lvl3pPr marL="457200" lvl="2" indent="-261938" defTabSz="895350" eaLnBrk="1" latinLnBrk="0" hangingPunct="1">
              <a:buClr>
                <a:schemeClr val="tx2"/>
              </a:buClr>
              <a:buSzPct val="120000"/>
              <a:buFont typeface="Arial" charset="0"/>
              <a:buChar char="–"/>
              <a:defRPr lang="x-none" sz="1400" baseline="0">
                <a:latin typeface="+mn-lt"/>
              </a:defRPr>
            </a:lvl3pPr>
            <a:lvl4pPr marL="614363" lvl="3" indent="-155575" defTabSz="895350" eaLnBrk="1" latinLnBrk="0" hangingPunct="1">
              <a:buClr>
                <a:schemeClr val="tx2"/>
              </a:buClr>
              <a:buSzPct val="120000"/>
              <a:buFont typeface="Arial" charset="0"/>
              <a:buChar char="▫"/>
              <a:defRPr lang="x-none" sz="1400" baseline="0">
                <a:latin typeface="+mn-lt"/>
              </a:defRPr>
            </a:lvl4pPr>
            <a:lvl5pPr marL="749808" lvl="4" indent="-130175" defTabSz="895350" eaLnBrk="1" latinLnBrk="0" hangingPunct="1">
              <a:buClr>
                <a:schemeClr val="tx2"/>
              </a:buClr>
              <a:buSzPct val="89000"/>
              <a:buFont typeface="Arial" charset="0"/>
              <a:buChar char="-"/>
              <a:defRPr lang="x-none" sz="1400" baseline="0">
                <a:latin typeface="+mn-lt"/>
              </a:defRPr>
            </a:lvl5pPr>
            <a:lvl6pPr marL="749808" indent="-130175" defTabSz="895350" fontAlgn="base">
              <a:spcBef>
                <a:spcPct val="0"/>
              </a:spcBef>
              <a:spcAft>
                <a:spcPct val="0"/>
              </a:spcAft>
              <a:buClr>
                <a:schemeClr val="tx2"/>
              </a:buClr>
              <a:buSzPct val="89000"/>
              <a:buFont typeface="Arial" charset="0"/>
              <a:buChar char="-"/>
              <a:defRPr lang="x-none" baseline="0">
                <a:latin typeface="+mn-lt"/>
              </a:defRPr>
            </a:lvl6pPr>
            <a:lvl7pPr marL="749808" indent="-130175" defTabSz="895350" fontAlgn="base">
              <a:spcBef>
                <a:spcPct val="0"/>
              </a:spcBef>
              <a:spcAft>
                <a:spcPct val="0"/>
              </a:spcAft>
              <a:buClr>
                <a:schemeClr val="tx2"/>
              </a:buClr>
              <a:buSzPct val="89000"/>
              <a:buFont typeface="Arial" charset="0"/>
              <a:buChar char="-"/>
              <a:defRPr lang="x-none" baseline="0">
                <a:latin typeface="+mn-lt"/>
              </a:defRPr>
            </a:lvl7pPr>
            <a:lvl8pPr marL="749808" indent="-130175" defTabSz="895350" fontAlgn="base">
              <a:spcBef>
                <a:spcPct val="0"/>
              </a:spcBef>
              <a:spcAft>
                <a:spcPct val="0"/>
              </a:spcAft>
              <a:buClr>
                <a:schemeClr val="tx2"/>
              </a:buClr>
              <a:buSzPct val="89000"/>
              <a:buFont typeface="Arial" charset="0"/>
              <a:buChar char="-"/>
              <a:defRPr lang="x-none" baseline="0">
                <a:latin typeface="+mn-lt"/>
              </a:defRPr>
            </a:lvl8pPr>
            <a:lvl9pPr marL="749808" indent="-130175" defTabSz="895350" fontAlgn="base">
              <a:spcBef>
                <a:spcPct val="0"/>
              </a:spcBef>
              <a:spcAft>
                <a:spcPct val="0"/>
              </a:spcAft>
              <a:buClr>
                <a:schemeClr val="tx2"/>
              </a:buClr>
              <a:buSzPct val="89000"/>
              <a:buFont typeface="Arial" charset="0"/>
              <a:buChar char="-"/>
              <a:defRPr lang="x-none" baseline="0">
                <a:latin typeface="+mn-lt"/>
              </a:defRPr>
            </a:lvl9pPr>
          </a:lstStyle>
          <a:p>
            <a:pPr lvl="1">
              <a:spcBef>
                <a:spcPct val="30000"/>
              </a:spcBef>
            </a:pPr>
            <a:r>
              <a:rPr lang="en-US" dirty="0"/>
              <a:t>Oversee planning to ensure uninterrupted operations and protect the base business</a:t>
            </a:r>
          </a:p>
          <a:p>
            <a:pPr lvl="1">
              <a:spcBef>
                <a:spcPct val="30000"/>
              </a:spcBef>
            </a:pPr>
            <a:r>
              <a:rPr lang="en-US" dirty="0"/>
              <a:t>Create Day 1, Day 100 and Day 365 plans across the organization</a:t>
            </a:r>
          </a:p>
          <a:p>
            <a:pPr lvl="1">
              <a:spcBef>
                <a:spcPct val="30000"/>
              </a:spcBef>
            </a:pPr>
            <a:r>
              <a:rPr lang="en-US" dirty="0"/>
              <a:t>Stay agile and "roll with the regulatory punches"– stand teams up and down based on work flow and minimize busy work</a:t>
            </a:r>
          </a:p>
          <a:p>
            <a:pPr lvl="1">
              <a:spcBef>
                <a:spcPct val="30000"/>
              </a:spcBef>
            </a:pPr>
            <a:r>
              <a:rPr lang="en-US" dirty="0"/>
              <a:t>Minimize distraction to on-going operations by creating clear, standardized execution plans</a:t>
            </a:r>
          </a:p>
        </p:txBody>
      </p:sp>
      <p:sp>
        <p:nvSpPr>
          <p:cNvPr id="30" name="TextBox 29"/>
          <p:cNvSpPr txBox="1">
            <a:spLocks/>
          </p:cNvSpPr>
          <p:nvPr/>
        </p:nvSpPr>
        <p:spPr>
          <a:xfrm>
            <a:off x="242776" y="3529434"/>
            <a:ext cx="1082671" cy="1271117"/>
          </a:xfrm>
          <a:prstGeom prst="rect">
            <a:avLst/>
          </a:prstGeom>
          <a:solidFill>
            <a:schemeClr val="accent1"/>
          </a:solidFill>
          <a:ln>
            <a:noFill/>
          </a:ln>
        </p:spPr>
        <p:txBody>
          <a:bodyPr vert="horz" wrap="square" lIns="180000" tIns="72009" rIns="72009" bIns="72009" rtlCol="0" anchor="ctr" anchorCtr="0">
            <a:noAutofit/>
          </a:bodyPr>
          <a:lstStyle>
            <a:lvl1pPr marL="0" lvl="0" indent="0" defTabSz="895350" eaLnBrk="1" latinLnBrk="0" hangingPunct="1">
              <a:buClr>
                <a:schemeClr val="tx2"/>
              </a:buClr>
              <a:buSzPct val="100000"/>
              <a:defRPr lang="x-none" sz="1400" baseline="0">
                <a:latin typeface="+mn-lt"/>
              </a:defRPr>
            </a:lvl1pPr>
            <a:lvl2pPr marL="193675" lvl="1" indent="-192088" defTabSz="895350" eaLnBrk="1" latinLnBrk="0" hangingPunct="1">
              <a:buClr>
                <a:schemeClr val="tx2"/>
              </a:buClr>
              <a:buSzPct val="125000"/>
              <a:buFont typeface="Arial" charset="0"/>
              <a:buChar char="▪"/>
              <a:defRPr lang="x-none" sz="1400" baseline="0">
                <a:latin typeface="+mn-lt"/>
              </a:defRPr>
            </a:lvl2pPr>
            <a:lvl3pPr marL="457200" lvl="2" indent="-261938" defTabSz="895350" eaLnBrk="1" latinLnBrk="0" hangingPunct="1">
              <a:buClr>
                <a:schemeClr val="tx2"/>
              </a:buClr>
              <a:buSzPct val="120000"/>
              <a:buFont typeface="Arial" charset="0"/>
              <a:buChar char="–"/>
              <a:defRPr lang="x-none" sz="1400" baseline="0">
                <a:latin typeface="+mn-lt"/>
              </a:defRPr>
            </a:lvl3pPr>
            <a:lvl4pPr marL="614363" lvl="3" indent="-155575" defTabSz="895350" eaLnBrk="1" latinLnBrk="0" hangingPunct="1">
              <a:buClr>
                <a:schemeClr val="tx2"/>
              </a:buClr>
              <a:buSzPct val="120000"/>
              <a:buFont typeface="Arial" charset="0"/>
              <a:buChar char="▫"/>
              <a:defRPr lang="x-none" sz="1400" baseline="0">
                <a:latin typeface="+mn-lt"/>
              </a:defRPr>
            </a:lvl4pPr>
            <a:lvl5pPr marL="749808" lvl="4" indent="-130175" defTabSz="895350" eaLnBrk="1" latinLnBrk="0" hangingPunct="1">
              <a:buClr>
                <a:schemeClr val="tx2"/>
              </a:buClr>
              <a:buSzPct val="89000"/>
              <a:buFont typeface="Arial" charset="0"/>
              <a:buChar char="-"/>
              <a:defRPr lang="x-none" sz="1400" baseline="0">
                <a:latin typeface="+mn-lt"/>
              </a:defRPr>
            </a:lvl5pPr>
            <a:lvl6pPr marL="749808" indent="-130175" defTabSz="895350" fontAlgn="base">
              <a:spcBef>
                <a:spcPct val="0"/>
              </a:spcBef>
              <a:spcAft>
                <a:spcPct val="0"/>
              </a:spcAft>
              <a:buClr>
                <a:schemeClr val="tx2"/>
              </a:buClr>
              <a:buSzPct val="89000"/>
              <a:buFont typeface="Arial" charset="0"/>
              <a:buChar char="-"/>
              <a:defRPr lang="x-none" baseline="0">
                <a:latin typeface="+mn-lt"/>
              </a:defRPr>
            </a:lvl6pPr>
            <a:lvl7pPr marL="749808" indent="-130175" defTabSz="895350" fontAlgn="base">
              <a:spcBef>
                <a:spcPct val="0"/>
              </a:spcBef>
              <a:spcAft>
                <a:spcPct val="0"/>
              </a:spcAft>
              <a:buClr>
                <a:schemeClr val="tx2"/>
              </a:buClr>
              <a:buSzPct val="89000"/>
              <a:buFont typeface="Arial" charset="0"/>
              <a:buChar char="-"/>
              <a:defRPr lang="x-none" baseline="0">
                <a:latin typeface="+mn-lt"/>
              </a:defRPr>
            </a:lvl7pPr>
            <a:lvl8pPr marL="749808" indent="-130175" defTabSz="895350" fontAlgn="base">
              <a:spcBef>
                <a:spcPct val="0"/>
              </a:spcBef>
              <a:spcAft>
                <a:spcPct val="0"/>
              </a:spcAft>
              <a:buClr>
                <a:schemeClr val="tx2"/>
              </a:buClr>
              <a:buSzPct val="89000"/>
              <a:buFont typeface="Arial" charset="0"/>
              <a:buChar char="-"/>
              <a:defRPr lang="x-none" baseline="0">
                <a:latin typeface="+mn-lt"/>
              </a:defRPr>
            </a:lvl8pPr>
            <a:lvl9pPr marL="749808" indent="-130175" defTabSz="895350" fontAlgn="base">
              <a:spcBef>
                <a:spcPct val="0"/>
              </a:spcBef>
              <a:spcAft>
                <a:spcPct val="0"/>
              </a:spcAft>
              <a:buClr>
                <a:schemeClr val="tx2"/>
              </a:buClr>
              <a:buSzPct val="89000"/>
              <a:buFont typeface="Arial" charset="0"/>
              <a:buChar char="-"/>
              <a:defRPr lang="x-none" baseline="0">
                <a:latin typeface="+mn-lt"/>
              </a:defRPr>
            </a:lvl9pPr>
          </a:lstStyle>
          <a:p>
            <a:r>
              <a:rPr lang="en-US" b="1" dirty="0">
                <a:solidFill>
                  <a:schemeClr val="accent3"/>
                </a:solidFill>
              </a:rPr>
              <a:t>Execute a flawless </a:t>
            </a:r>
            <a:br>
              <a:rPr lang="en-US" b="1" dirty="0">
                <a:solidFill>
                  <a:schemeClr val="accent3"/>
                </a:solidFill>
              </a:rPr>
            </a:br>
            <a:r>
              <a:rPr lang="en-US" b="1" dirty="0">
                <a:solidFill>
                  <a:schemeClr val="accent3"/>
                </a:solidFill>
              </a:rPr>
              <a:t>Day 1</a:t>
            </a:r>
          </a:p>
        </p:txBody>
      </p:sp>
      <p:sp>
        <p:nvSpPr>
          <p:cNvPr id="13" name="TextBox 12"/>
          <p:cNvSpPr txBox="1">
            <a:spLocks/>
          </p:cNvSpPr>
          <p:nvPr/>
        </p:nvSpPr>
        <p:spPr>
          <a:xfrm>
            <a:off x="1382537" y="4965844"/>
            <a:ext cx="7296728" cy="991041"/>
          </a:xfrm>
          <a:prstGeom prst="rect">
            <a:avLst/>
          </a:prstGeom>
        </p:spPr>
        <p:txBody>
          <a:bodyPr vert="horz" wrap="square" lIns="0" tIns="0" rIns="0" bIns="0" rtlCol="0" anchor="t" anchorCtr="0">
            <a:spAutoFit/>
          </a:bodyPr>
          <a:lstStyle>
            <a:lvl1pPr marL="0" lvl="0" indent="0" defTabSz="895350" eaLnBrk="1" latinLnBrk="0" hangingPunct="1">
              <a:buClr>
                <a:schemeClr val="tx2"/>
              </a:buClr>
              <a:buSzPct val="100000"/>
              <a:defRPr lang="x-none" sz="1400" baseline="0">
                <a:latin typeface="+mn-lt"/>
              </a:defRPr>
            </a:lvl1pPr>
            <a:lvl2pPr marL="193675" lvl="1" indent="-192088" defTabSz="895350" eaLnBrk="1" latinLnBrk="0" hangingPunct="1">
              <a:buClr>
                <a:schemeClr val="tx2"/>
              </a:buClr>
              <a:buSzPct val="125000"/>
              <a:buFont typeface="Arial" charset="0"/>
              <a:buChar char="▪"/>
              <a:defRPr lang="x-none" sz="1400" baseline="0">
                <a:latin typeface="+mn-lt"/>
              </a:defRPr>
            </a:lvl2pPr>
            <a:lvl3pPr marL="457200" lvl="2" indent="-261938" defTabSz="895350" eaLnBrk="1" latinLnBrk="0" hangingPunct="1">
              <a:buClr>
                <a:schemeClr val="tx2"/>
              </a:buClr>
              <a:buSzPct val="120000"/>
              <a:buFont typeface="Arial" charset="0"/>
              <a:buChar char="–"/>
              <a:defRPr lang="x-none" sz="1400" baseline="0">
                <a:latin typeface="+mn-lt"/>
              </a:defRPr>
            </a:lvl3pPr>
            <a:lvl4pPr marL="614363" lvl="3" indent="-155575" defTabSz="895350" eaLnBrk="1" latinLnBrk="0" hangingPunct="1">
              <a:buClr>
                <a:schemeClr val="tx2"/>
              </a:buClr>
              <a:buSzPct val="120000"/>
              <a:buFont typeface="Arial" charset="0"/>
              <a:buChar char="▫"/>
              <a:defRPr lang="x-none" sz="1400" baseline="0">
                <a:latin typeface="+mn-lt"/>
              </a:defRPr>
            </a:lvl4pPr>
            <a:lvl5pPr marL="749808" lvl="4" indent="-130175" defTabSz="895350" eaLnBrk="1" latinLnBrk="0" hangingPunct="1">
              <a:buClr>
                <a:schemeClr val="tx2"/>
              </a:buClr>
              <a:buSzPct val="89000"/>
              <a:buFont typeface="Arial" charset="0"/>
              <a:buChar char="-"/>
              <a:defRPr lang="x-none" sz="1400" baseline="0">
                <a:latin typeface="+mn-lt"/>
              </a:defRPr>
            </a:lvl5pPr>
            <a:lvl6pPr marL="749808" indent="-130175" defTabSz="895350" fontAlgn="base">
              <a:spcBef>
                <a:spcPct val="0"/>
              </a:spcBef>
              <a:spcAft>
                <a:spcPct val="0"/>
              </a:spcAft>
              <a:buClr>
                <a:schemeClr val="tx2"/>
              </a:buClr>
              <a:buSzPct val="89000"/>
              <a:buFont typeface="Arial" charset="0"/>
              <a:buChar char="-"/>
              <a:defRPr lang="x-none" baseline="0">
                <a:latin typeface="+mn-lt"/>
              </a:defRPr>
            </a:lvl6pPr>
            <a:lvl7pPr marL="749808" indent="-130175" defTabSz="895350" fontAlgn="base">
              <a:spcBef>
                <a:spcPct val="0"/>
              </a:spcBef>
              <a:spcAft>
                <a:spcPct val="0"/>
              </a:spcAft>
              <a:buClr>
                <a:schemeClr val="tx2"/>
              </a:buClr>
              <a:buSzPct val="89000"/>
              <a:buFont typeface="Arial" charset="0"/>
              <a:buChar char="-"/>
              <a:defRPr lang="x-none" baseline="0">
                <a:latin typeface="+mn-lt"/>
              </a:defRPr>
            </a:lvl7pPr>
            <a:lvl8pPr marL="749808" indent="-130175" defTabSz="895350" fontAlgn="base">
              <a:spcBef>
                <a:spcPct val="0"/>
              </a:spcBef>
              <a:spcAft>
                <a:spcPct val="0"/>
              </a:spcAft>
              <a:buClr>
                <a:schemeClr val="tx2"/>
              </a:buClr>
              <a:buSzPct val="89000"/>
              <a:buFont typeface="Arial" charset="0"/>
              <a:buChar char="-"/>
              <a:defRPr lang="x-none" baseline="0">
                <a:latin typeface="+mn-lt"/>
              </a:defRPr>
            </a:lvl8pPr>
            <a:lvl9pPr marL="749808" indent="-130175" defTabSz="895350" fontAlgn="base">
              <a:spcBef>
                <a:spcPct val="0"/>
              </a:spcBef>
              <a:spcAft>
                <a:spcPct val="0"/>
              </a:spcAft>
              <a:buClr>
                <a:schemeClr val="tx2"/>
              </a:buClr>
              <a:buSzPct val="89000"/>
              <a:buFont typeface="Arial" charset="0"/>
              <a:buChar char="-"/>
              <a:defRPr lang="x-none" baseline="0">
                <a:latin typeface="+mn-lt"/>
              </a:defRPr>
            </a:lvl9pPr>
          </a:lstStyle>
          <a:p>
            <a:pPr lvl="1">
              <a:spcBef>
                <a:spcPct val="30000"/>
              </a:spcBef>
            </a:pPr>
            <a:r>
              <a:rPr lang="en-US" dirty="0"/>
              <a:t>Build FTE baseline, develop overarching operating model, and design org structure in line with strategy and corporate guardrails</a:t>
            </a:r>
          </a:p>
          <a:p>
            <a:pPr lvl="1">
              <a:spcBef>
                <a:spcPct val="30000"/>
              </a:spcBef>
            </a:pPr>
            <a:r>
              <a:rPr lang="en-US" dirty="0"/>
              <a:t>Design and ensure implementation of talent selection and retention plans</a:t>
            </a:r>
          </a:p>
          <a:p>
            <a:pPr lvl="1">
              <a:spcBef>
                <a:spcPct val="30000"/>
              </a:spcBef>
            </a:pPr>
            <a:r>
              <a:rPr lang="en-US" dirty="0"/>
              <a:t>Diagnose major culture similarities/gaps; build change management into integration plans</a:t>
            </a:r>
          </a:p>
        </p:txBody>
      </p:sp>
      <p:sp>
        <p:nvSpPr>
          <p:cNvPr id="28" name="TextBox 27"/>
          <p:cNvSpPr txBox="1"/>
          <p:nvPr/>
        </p:nvSpPr>
        <p:spPr>
          <a:xfrm>
            <a:off x="242776" y="4965844"/>
            <a:ext cx="1082671" cy="1007199"/>
          </a:xfrm>
          <a:prstGeom prst="rect">
            <a:avLst/>
          </a:prstGeom>
          <a:solidFill>
            <a:schemeClr val="accent1"/>
          </a:solidFill>
          <a:ln>
            <a:noFill/>
          </a:ln>
        </p:spPr>
        <p:txBody>
          <a:bodyPr vert="horz" wrap="square" lIns="180000" tIns="72009" rIns="72009" bIns="72009" rtlCol="0" anchor="ctr" anchorCtr="0">
            <a:spAutoFit/>
          </a:bodyPr>
          <a:lstStyle>
            <a:lvl1pPr marL="0" lvl="0" indent="0" defTabSz="895350" eaLnBrk="1" latinLnBrk="0" hangingPunct="1">
              <a:buClr>
                <a:schemeClr val="tx2"/>
              </a:buClr>
              <a:buSzPct val="100000"/>
              <a:defRPr lang="x-none" sz="1400" baseline="0">
                <a:latin typeface="+mn-lt"/>
              </a:defRPr>
            </a:lvl1pPr>
            <a:lvl2pPr marL="193675" lvl="1" indent="-192088" defTabSz="895350" eaLnBrk="1" latinLnBrk="0" hangingPunct="1">
              <a:buClr>
                <a:schemeClr val="tx2"/>
              </a:buClr>
              <a:buSzPct val="125000"/>
              <a:buFont typeface="Arial" charset="0"/>
              <a:buChar char="▪"/>
              <a:defRPr lang="x-none" sz="1400" baseline="0">
                <a:latin typeface="+mn-lt"/>
              </a:defRPr>
            </a:lvl2pPr>
            <a:lvl3pPr marL="457200" lvl="2" indent="-261938" defTabSz="895350" eaLnBrk="1" latinLnBrk="0" hangingPunct="1">
              <a:buClr>
                <a:schemeClr val="tx2"/>
              </a:buClr>
              <a:buSzPct val="120000"/>
              <a:buFont typeface="Arial" charset="0"/>
              <a:buChar char="–"/>
              <a:defRPr lang="x-none" sz="1400" baseline="0">
                <a:latin typeface="+mn-lt"/>
              </a:defRPr>
            </a:lvl3pPr>
            <a:lvl4pPr marL="614363" lvl="3" indent="-155575" defTabSz="895350" eaLnBrk="1" latinLnBrk="0" hangingPunct="1">
              <a:buClr>
                <a:schemeClr val="tx2"/>
              </a:buClr>
              <a:buSzPct val="120000"/>
              <a:buFont typeface="Arial" charset="0"/>
              <a:buChar char="▫"/>
              <a:defRPr lang="x-none" sz="1400" baseline="0">
                <a:latin typeface="+mn-lt"/>
              </a:defRPr>
            </a:lvl4pPr>
            <a:lvl5pPr marL="749808" lvl="4" indent="-130175" defTabSz="895350" eaLnBrk="1" latinLnBrk="0" hangingPunct="1">
              <a:buClr>
                <a:schemeClr val="tx2"/>
              </a:buClr>
              <a:buSzPct val="89000"/>
              <a:buFont typeface="Arial" charset="0"/>
              <a:buChar char="-"/>
              <a:defRPr lang="x-none" sz="1400" baseline="0">
                <a:latin typeface="+mn-lt"/>
              </a:defRPr>
            </a:lvl5pPr>
            <a:lvl6pPr marL="749808" indent="-130175" defTabSz="895350" fontAlgn="base">
              <a:spcBef>
                <a:spcPct val="0"/>
              </a:spcBef>
              <a:spcAft>
                <a:spcPct val="0"/>
              </a:spcAft>
              <a:buClr>
                <a:schemeClr val="tx2"/>
              </a:buClr>
              <a:buSzPct val="89000"/>
              <a:buFont typeface="Arial" charset="0"/>
              <a:buChar char="-"/>
              <a:defRPr lang="x-none" baseline="0">
                <a:latin typeface="+mn-lt"/>
              </a:defRPr>
            </a:lvl6pPr>
            <a:lvl7pPr marL="749808" indent="-130175" defTabSz="895350" fontAlgn="base">
              <a:spcBef>
                <a:spcPct val="0"/>
              </a:spcBef>
              <a:spcAft>
                <a:spcPct val="0"/>
              </a:spcAft>
              <a:buClr>
                <a:schemeClr val="tx2"/>
              </a:buClr>
              <a:buSzPct val="89000"/>
              <a:buFont typeface="Arial" charset="0"/>
              <a:buChar char="-"/>
              <a:defRPr lang="x-none" baseline="0">
                <a:latin typeface="+mn-lt"/>
              </a:defRPr>
            </a:lvl7pPr>
            <a:lvl8pPr marL="749808" indent="-130175" defTabSz="895350" fontAlgn="base">
              <a:spcBef>
                <a:spcPct val="0"/>
              </a:spcBef>
              <a:spcAft>
                <a:spcPct val="0"/>
              </a:spcAft>
              <a:buClr>
                <a:schemeClr val="tx2"/>
              </a:buClr>
              <a:buSzPct val="89000"/>
              <a:buFont typeface="Arial" charset="0"/>
              <a:buChar char="-"/>
              <a:defRPr lang="x-none" baseline="0">
                <a:latin typeface="+mn-lt"/>
              </a:defRPr>
            </a:lvl8pPr>
            <a:lvl9pPr marL="749808" indent="-130175" defTabSz="895350" fontAlgn="base">
              <a:spcBef>
                <a:spcPct val="0"/>
              </a:spcBef>
              <a:spcAft>
                <a:spcPct val="0"/>
              </a:spcAft>
              <a:buClr>
                <a:schemeClr val="tx2"/>
              </a:buClr>
              <a:buSzPct val="89000"/>
              <a:buFont typeface="Arial" charset="0"/>
              <a:buChar char="-"/>
              <a:defRPr lang="x-none" baseline="0">
                <a:latin typeface="+mn-lt"/>
              </a:defRPr>
            </a:lvl9pPr>
          </a:lstStyle>
          <a:p>
            <a:r>
              <a:rPr lang="en-US" b="1" dirty="0">
                <a:solidFill>
                  <a:schemeClr val="accent3"/>
                </a:solidFill>
              </a:rPr>
              <a:t>Build a world class NewCo</a:t>
            </a:r>
          </a:p>
        </p:txBody>
      </p:sp>
      <p:sp>
        <p:nvSpPr>
          <p:cNvPr id="23" name="5. Source"/>
          <p:cNvSpPr>
            <a:spLocks noChangeArrowheads="1"/>
          </p:cNvSpPr>
          <p:nvPr/>
        </p:nvSpPr>
        <p:spPr bwMode="gray">
          <a:xfrm>
            <a:off x="119063" y="6507558"/>
            <a:ext cx="7200000" cy="123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marL="609600" indent="-609600" defTabSz="895350">
              <a:tabLst>
                <a:tab pos="612775" algn="l"/>
              </a:tabLst>
            </a:pPr>
            <a:r>
              <a:rPr lang="en-US" sz="800" dirty="0">
                <a:solidFill>
                  <a:srgbClr val="808080"/>
                </a:solidFill>
                <a:latin typeface="Arial"/>
              </a:rPr>
              <a:t>SOURCE: McKinsey Merger Management Practice</a:t>
            </a:r>
          </a:p>
        </p:txBody>
      </p:sp>
      <p:sp>
        <p:nvSpPr>
          <p:cNvPr id="10" name="Title 9">
            <a:extLst>
              <a:ext uri="{FF2B5EF4-FFF2-40B4-BE49-F238E27FC236}">
                <a16:creationId xmlns:a16="http://schemas.microsoft.com/office/drawing/2014/main" id="{B537D095-D93D-4359-B36A-30AE90637DA0}"/>
              </a:ext>
            </a:extLst>
          </p:cNvPr>
          <p:cNvSpPr>
            <a:spLocks noGrp="1"/>
          </p:cNvSpPr>
          <p:nvPr>
            <p:ph type="title"/>
          </p:nvPr>
        </p:nvSpPr>
        <p:spPr>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marL="465138"/>
            <a:r>
              <a:rPr lang="en-US" dirty="0"/>
              <a:t>Integration Management Office (IMO) should support 3 key objectives</a:t>
            </a:r>
            <a:endParaRPr lang="en-GB" dirty="0"/>
          </a:p>
        </p:txBody>
      </p:sp>
      <p:sp>
        <p:nvSpPr>
          <p:cNvPr id="27" name="Title Tracker Circle">
            <a:extLst>
              <a:ext uri="{FF2B5EF4-FFF2-40B4-BE49-F238E27FC236}">
                <a16:creationId xmlns:a16="http://schemas.microsoft.com/office/drawing/2014/main" id="{9D03CBEA-9605-4779-8692-BA0AF1F010E7}"/>
              </a:ext>
            </a:extLst>
          </p:cNvPr>
          <p:cNvSpPr/>
          <p:nvPr/>
        </p:nvSpPr>
        <p:spPr>
          <a:xfrm>
            <a:off x="119063" y="166736"/>
            <a:ext cx="418798" cy="418798"/>
          </a:xfrm>
          <a:prstGeom prst="ellipse">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p>
            <a:pPr algn="ctr"/>
            <a:r>
              <a:rPr lang="en-US" sz="2000" dirty="0">
                <a:solidFill>
                  <a:schemeClr val="tx2"/>
                </a:solidFill>
                <a:latin typeface="+mj-lt"/>
              </a:rPr>
              <a:t>6</a:t>
            </a:r>
          </a:p>
        </p:txBody>
      </p:sp>
    </p:spTree>
    <p:extLst>
      <p:ext uri="{BB962C8B-B14F-4D97-AF65-F5344CB8AC3E}">
        <p14:creationId xmlns:p14="http://schemas.microsoft.com/office/powerpoint/2010/main" val="40974451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85716" name="think-cell Slide" r:id="rId5" imgW="359" imgH="360" progId="TCLayout.ActiveDocument.1">
                  <p:embed/>
                </p:oleObj>
              </mc:Choice>
              <mc:Fallback>
                <p:oleObj name="think-cell Slide" r:id="rId5" imgW="359" imgH="36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3" name="Rectangle 22"/>
          <p:cNvSpPr>
            <a:spLocks/>
          </p:cNvSpPr>
          <p:nvPr/>
        </p:nvSpPr>
        <p:spPr>
          <a:xfrm>
            <a:off x="579595" y="1316851"/>
            <a:ext cx="7802249" cy="4660154"/>
          </a:xfrm>
          <a:prstGeom prst="rect">
            <a:avLst/>
          </a:prstGeom>
          <a:solidFill>
            <a:schemeClr val="bg1"/>
          </a:solidFill>
          <a:ln w="19050">
            <a:solidFill>
              <a:schemeClr val="accent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400" dirty="0">
              <a:solidFill>
                <a:schemeClr val="tx1"/>
              </a:solidFill>
            </a:endParaRPr>
          </a:p>
        </p:txBody>
      </p:sp>
      <p:sp>
        <p:nvSpPr>
          <p:cNvPr id="11" name="TextBox 10"/>
          <p:cNvSpPr txBox="1">
            <a:spLocks/>
          </p:cNvSpPr>
          <p:nvPr/>
        </p:nvSpPr>
        <p:spPr>
          <a:xfrm>
            <a:off x="710419" y="1448022"/>
            <a:ext cx="1353100" cy="1661993"/>
          </a:xfrm>
          <a:prstGeom prst="rect">
            <a:avLst/>
          </a:prstGeom>
          <a:solidFill>
            <a:schemeClr val="accent1"/>
          </a:solidFill>
          <a:ln>
            <a:noFill/>
          </a:ln>
        </p:spPr>
        <p:txBody>
          <a:bodyPr vert="horz" wrap="square" lIns="72009" tIns="72009" rIns="72009" bIns="72009" rtlCol="0" anchor="ctr" anchorCtr="0">
            <a:no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sz="1600" b="1" dirty="0">
                <a:solidFill>
                  <a:schemeClr val="accent3"/>
                </a:solidFill>
              </a:rPr>
              <a:t>Manages the moving parts</a:t>
            </a:r>
          </a:p>
        </p:txBody>
      </p:sp>
      <p:sp>
        <p:nvSpPr>
          <p:cNvPr id="18" name="TextBox 17"/>
          <p:cNvSpPr txBox="1">
            <a:spLocks/>
          </p:cNvSpPr>
          <p:nvPr/>
        </p:nvSpPr>
        <p:spPr>
          <a:xfrm>
            <a:off x="2159635" y="1448022"/>
            <a:ext cx="6091384" cy="1661993"/>
          </a:xfrm>
          <a:prstGeom prst="rect">
            <a:avLst/>
          </a:prstGeom>
        </p:spPr>
        <p:txBody>
          <a:bodyPr vert="horz" wrap="square" lIns="0" tIns="0" rIns="0" bIns="0" rtlCol="0">
            <a:sp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spcBef>
                <a:spcPct val="50000"/>
              </a:spcBef>
            </a:pPr>
            <a:r>
              <a:rPr lang="en-US" sz="1600" b="1" dirty="0">
                <a:solidFill>
                  <a:schemeClr val="accent3"/>
                </a:solidFill>
              </a:rPr>
              <a:t>Building plane while flying </a:t>
            </a:r>
          </a:p>
          <a:p>
            <a:pPr lvl="1">
              <a:spcBef>
                <a:spcPct val="25000"/>
              </a:spcBef>
            </a:pPr>
            <a:r>
              <a:rPr lang="en-US" sz="1600" dirty="0"/>
              <a:t>Ensures program consistency and simplicity </a:t>
            </a:r>
          </a:p>
          <a:p>
            <a:pPr lvl="1">
              <a:spcBef>
                <a:spcPct val="25000"/>
              </a:spcBef>
            </a:pPr>
            <a:r>
              <a:rPr lang="en-US" sz="1600" dirty="0"/>
              <a:t>Reduces complexity with appropriate level of process to manage critical interdependencies </a:t>
            </a:r>
          </a:p>
          <a:p>
            <a:pPr lvl="1">
              <a:spcBef>
                <a:spcPct val="25000"/>
              </a:spcBef>
            </a:pPr>
            <a:r>
              <a:rPr lang="en-US" sz="1600" dirty="0"/>
              <a:t>Provides "line of sight" to integration team leads and senior management team </a:t>
            </a:r>
          </a:p>
        </p:txBody>
      </p:sp>
      <p:sp>
        <p:nvSpPr>
          <p:cNvPr id="12" name="TextBox 11"/>
          <p:cNvSpPr txBox="1">
            <a:spLocks/>
          </p:cNvSpPr>
          <p:nvPr/>
        </p:nvSpPr>
        <p:spPr>
          <a:xfrm>
            <a:off x="710419" y="3216041"/>
            <a:ext cx="1353100" cy="1415772"/>
          </a:xfrm>
          <a:prstGeom prst="rect">
            <a:avLst/>
          </a:prstGeom>
          <a:solidFill>
            <a:schemeClr val="accent1"/>
          </a:solidFill>
          <a:ln>
            <a:noFill/>
          </a:ln>
        </p:spPr>
        <p:txBody>
          <a:bodyPr vert="horz" wrap="square" lIns="72009" tIns="72009" rIns="72009" bIns="72009" rtlCol="0" anchor="ctr" anchorCtr="0">
            <a:no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sz="1600" b="1" dirty="0">
                <a:solidFill>
                  <a:schemeClr val="accent3"/>
                </a:solidFill>
              </a:rPr>
              <a:t>Focuses program on value</a:t>
            </a:r>
          </a:p>
        </p:txBody>
      </p:sp>
      <p:sp>
        <p:nvSpPr>
          <p:cNvPr id="19" name="TextBox 18"/>
          <p:cNvSpPr txBox="1">
            <a:spLocks/>
          </p:cNvSpPr>
          <p:nvPr/>
        </p:nvSpPr>
        <p:spPr>
          <a:xfrm>
            <a:off x="2159635" y="3216041"/>
            <a:ext cx="6091384" cy="1415772"/>
          </a:xfrm>
          <a:prstGeom prst="rect">
            <a:avLst/>
          </a:prstGeom>
        </p:spPr>
        <p:txBody>
          <a:bodyPr vert="horz" wrap="square" lIns="0" tIns="0" rIns="0" bIns="0" rtlCol="0">
            <a:sp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spcBef>
                <a:spcPct val="50000"/>
              </a:spcBef>
            </a:pPr>
            <a:r>
              <a:rPr lang="en-US" sz="1600" b="1" dirty="0">
                <a:solidFill>
                  <a:schemeClr val="accent3"/>
                </a:solidFill>
              </a:rPr>
              <a:t>Delivers the dollars </a:t>
            </a:r>
          </a:p>
          <a:p>
            <a:pPr lvl="1">
              <a:spcBef>
                <a:spcPct val="25000"/>
              </a:spcBef>
            </a:pPr>
            <a:r>
              <a:rPr lang="en-US" sz="1600" dirty="0"/>
              <a:t>Focuses teams and activities on delivering synergies and value </a:t>
            </a:r>
          </a:p>
          <a:p>
            <a:pPr lvl="1">
              <a:spcBef>
                <a:spcPct val="25000"/>
              </a:spcBef>
            </a:pPr>
            <a:r>
              <a:rPr lang="en-US" sz="1600" dirty="0"/>
              <a:t>Enforces accountability while ensuring required executive support </a:t>
            </a:r>
          </a:p>
          <a:p>
            <a:pPr lvl="1">
              <a:spcBef>
                <a:spcPct val="25000"/>
              </a:spcBef>
            </a:pPr>
            <a:r>
              <a:rPr lang="en-US" sz="1600" dirty="0"/>
              <a:t>Drives major cross-cutting initiatives (e.g., Org design, retention programs) </a:t>
            </a:r>
          </a:p>
        </p:txBody>
      </p:sp>
      <p:sp>
        <p:nvSpPr>
          <p:cNvPr id="13" name="TextBox 12"/>
          <p:cNvSpPr txBox="1">
            <a:spLocks/>
          </p:cNvSpPr>
          <p:nvPr/>
        </p:nvSpPr>
        <p:spPr>
          <a:xfrm>
            <a:off x="710419" y="4737839"/>
            <a:ext cx="1353100" cy="1107996"/>
          </a:xfrm>
          <a:prstGeom prst="rect">
            <a:avLst/>
          </a:prstGeom>
          <a:solidFill>
            <a:schemeClr val="accent1"/>
          </a:solidFill>
          <a:ln>
            <a:noFill/>
          </a:ln>
        </p:spPr>
        <p:txBody>
          <a:bodyPr vert="horz" wrap="square" lIns="72009" tIns="72009" rIns="72009" bIns="72009" rtlCol="0" anchor="ctr" anchorCtr="0">
            <a:no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sz="1600" b="1" dirty="0">
                <a:solidFill>
                  <a:schemeClr val="accent3"/>
                </a:solidFill>
              </a:rPr>
              <a:t>Manages organization</a:t>
            </a:r>
          </a:p>
        </p:txBody>
      </p:sp>
      <p:sp>
        <p:nvSpPr>
          <p:cNvPr id="20" name="TextBox 19"/>
          <p:cNvSpPr txBox="1">
            <a:spLocks/>
          </p:cNvSpPr>
          <p:nvPr/>
        </p:nvSpPr>
        <p:spPr>
          <a:xfrm>
            <a:off x="2159635" y="4737839"/>
            <a:ext cx="6091384" cy="1107996"/>
          </a:xfrm>
          <a:prstGeom prst="rect">
            <a:avLst/>
          </a:prstGeom>
        </p:spPr>
        <p:txBody>
          <a:bodyPr vert="horz" wrap="square" lIns="0" tIns="0" rIns="0" bIns="0" rtlCol="0">
            <a:sp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spcBef>
                <a:spcPct val="50000"/>
              </a:spcBef>
            </a:pPr>
            <a:r>
              <a:rPr lang="en-US" sz="1600" b="1" dirty="0">
                <a:solidFill>
                  <a:schemeClr val="accent3"/>
                </a:solidFill>
              </a:rPr>
              <a:t>Vehicle of change </a:t>
            </a:r>
          </a:p>
          <a:p>
            <a:pPr lvl="1">
              <a:spcBef>
                <a:spcPct val="25000"/>
              </a:spcBef>
            </a:pPr>
            <a:r>
              <a:rPr lang="en-US" sz="1600" dirty="0"/>
              <a:t>Embeds and role models new culture into integration </a:t>
            </a:r>
          </a:p>
          <a:p>
            <a:pPr lvl="1">
              <a:spcBef>
                <a:spcPct val="25000"/>
              </a:spcBef>
            </a:pPr>
            <a:r>
              <a:rPr lang="en-US" sz="1600" dirty="0"/>
              <a:t>Maintains energy and momentum needed during complex and potentially lengthy integration </a:t>
            </a:r>
          </a:p>
        </p:txBody>
      </p:sp>
      <p:cxnSp>
        <p:nvCxnSpPr>
          <p:cNvPr id="26" name="Straight Connector 25"/>
          <p:cNvCxnSpPr>
            <a:cxnSpLocks/>
          </p:cNvCxnSpPr>
          <p:nvPr/>
        </p:nvCxnSpPr>
        <p:spPr>
          <a:xfrm>
            <a:off x="2159635" y="3163028"/>
            <a:ext cx="6091384" cy="0"/>
          </a:xfrm>
          <a:prstGeom prst="line">
            <a:avLst/>
          </a:prstGeom>
          <a:ln w="12700">
            <a:solidFill>
              <a:schemeClr val="accent6"/>
            </a:solidFill>
            <a:prstDash val="sysDot"/>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a:cxnSpLocks/>
          </p:cNvCxnSpPr>
          <p:nvPr/>
        </p:nvCxnSpPr>
        <p:spPr>
          <a:xfrm>
            <a:off x="2159635" y="4684826"/>
            <a:ext cx="6091384" cy="0"/>
          </a:xfrm>
          <a:prstGeom prst="line">
            <a:avLst/>
          </a:prstGeom>
          <a:ln w="12700">
            <a:solidFill>
              <a:schemeClr val="accent6"/>
            </a:solidFill>
            <a:prstDash val="sysDot"/>
          </a:ln>
        </p:spPr>
        <p:style>
          <a:lnRef idx="1">
            <a:schemeClr val="accent1"/>
          </a:lnRef>
          <a:fillRef idx="0">
            <a:schemeClr val="accent1"/>
          </a:fillRef>
          <a:effectRef idx="0">
            <a:schemeClr val="accent1"/>
          </a:effectRef>
          <a:fontRef idx="minor">
            <a:schemeClr val="tx1"/>
          </a:fontRef>
        </p:style>
      </p:cxnSp>
      <p:sp>
        <p:nvSpPr>
          <p:cNvPr id="24" name="5. Source"/>
          <p:cNvSpPr>
            <a:spLocks noChangeArrowheads="1"/>
          </p:cNvSpPr>
          <p:nvPr/>
        </p:nvSpPr>
        <p:spPr bwMode="gray">
          <a:xfrm>
            <a:off x="119063" y="6507558"/>
            <a:ext cx="7200000" cy="123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marL="609600" indent="-609600" defTabSz="895350">
              <a:tabLst>
                <a:tab pos="612775" algn="l"/>
              </a:tabLst>
            </a:pPr>
            <a:r>
              <a:rPr lang="en-US" sz="800" dirty="0">
                <a:solidFill>
                  <a:srgbClr val="808080"/>
                </a:solidFill>
                <a:latin typeface="Arial"/>
              </a:rPr>
              <a:t>SOURCE: McKinsey Merger Management Practice</a:t>
            </a:r>
          </a:p>
        </p:txBody>
      </p:sp>
      <p:sp>
        <p:nvSpPr>
          <p:cNvPr id="6" name="Title 5">
            <a:extLst>
              <a:ext uri="{FF2B5EF4-FFF2-40B4-BE49-F238E27FC236}">
                <a16:creationId xmlns:a16="http://schemas.microsoft.com/office/drawing/2014/main" id="{26A842F5-C810-4F3E-8929-3EEEDAEF962D}"/>
              </a:ext>
            </a:extLst>
          </p:cNvPr>
          <p:cNvSpPr>
            <a:spLocks noGrp="1"/>
          </p:cNvSpPr>
          <p:nvPr>
            <p:ph type="title"/>
          </p:nvPr>
        </p:nvSpPr>
        <p:spPr>
          <a:xfrm>
            <a:off x="119063" y="230188"/>
            <a:ext cx="8618537" cy="615553"/>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marL="465138"/>
            <a:r>
              <a:rPr lang="en-US" dirty="0"/>
              <a:t>Empower an integration management office (IMO) that can make </a:t>
            </a:r>
            <a:br>
              <a:rPr lang="en-US" dirty="0"/>
            </a:br>
            <a:r>
              <a:rPr lang="en-US" dirty="0"/>
              <a:t>decisions that stick with CEO support</a:t>
            </a:r>
            <a:endParaRPr lang="en-GB" dirty="0"/>
          </a:p>
        </p:txBody>
      </p:sp>
      <p:sp>
        <p:nvSpPr>
          <p:cNvPr id="22" name="Title Tracker Circle">
            <a:extLst>
              <a:ext uri="{FF2B5EF4-FFF2-40B4-BE49-F238E27FC236}">
                <a16:creationId xmlns:a16="http://schemas.microsoft.com/office/drawing/2014/main" id="{FA7B6393-4018-4DBB-BF46-A6EBEAA03D50}"/>
              </a:ext>
            </a:extLst>
          </p:cNvPr>
          <p:cNvSpPr/>
          <p:nvPr/>
        </p:nvSpPr>
        <p:spPr>
          <a:xfrm>
            <a:off x="119063" y="166736"/>
            <a:ext cx="418798" cy="418798"/>
          </a:xfrm>
          <a:prstGeom prst="ellipse">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p>
            <a:pPr algn="ctr"/>
            <a:r>
              <a:rPr lang="en-US" sz="2000" dirty="0">
                <a:solidFill>
                  <a:schemeClr val="tx2"/>
                </a:solidFill>
                <a:latin typeface="+mj-lt"/>
              </a:rPr>
              <a:t>6</a:t>
            </a:r>
          </a:p>
        </p:txBody>
      </p:sp>
    </p:spTree>
    <p:extLst>
      <p:ext uri="{BB962C8B-B14F-4D97-AF65-F5344CB8AC3E}">
        <p14:creationId xmlns:p14="http://schemas.microsoft.com/office/powerpoint/2010/main" val="337854127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916261" name="Rectangle 37" hidden="1"/>
          <p:cNvGraphicFramePr>
            <a:graphicFrameLocks/>
          </p:cNvGraphicFramePr>
          <p:nvPr>
            <p:custDataLst>
              <p:tags r:id="rId3"/>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86797" name="think-cell Slide" r:id="rId47" imgW="0" imgH="0" progId="TCLayout.ActiveDocument.1">
                  <p:embed/>
                </p:oleObj>
              </mc:Choice>
              <mc:Fallback>
                <p:oleObj name="think-cell Slide" r:id="rId47" imgW="0" imgH="0" progId="TCLayout.ActiveDocument.1">
                  <p:embed/>
                  <p:pic>
                    <p:nvPicPr>
                      <p:cNvPr id="4916261" name="Rectangle 37"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gray">
                      <a:xfrm>
                        <a:off x="0" y="0"/>
                        <a:ext cx="158750" cy="15875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4916262" name="Rectangle 38" hidden="1"/>
          <p:cNvSpPr>
            <a:spLocks noChangeArrowheads="1"/>
          </p:cNvSpPr>
          <p:nvPr>
            <p:custDataLst>
              <p:tags r:id="rId4"/>
            </p:custDataLst>
          </p:nvPr>
        </p:nvSpPr>
        <p:spPr bwMode="gray">
          <a:xfrm>
            <a:off x="0" y="0"/>
            <a:ext cx="158750" cy="158750"/>
          </a:xfrm>
          <a:prstGeom prst="rect">
            <a:avLst/>
          </a:prstGeom>
          <a:solidFill>
            <a:srgbClr val="FFFF00"/>
          </a:solidFill>
          <a:ln w="9525" algn="ctr">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a:noAutofit/>
          </a:bodyPr>
          <a:lstStyle/>
          <a:p>
            <a:endParaRPr lang="en-US" sz="1200" dirty="0">
              <a:latin typeface="Arial" panose="020B0604020202020204" pitchFamily="34" charset="0"/>
              <a:cs typeface="Arial" panose="020B0604020202020204" pitchFamily="34" charset="0"/>
              <a:sym typeface="Arial" panose="020B0604020202020204" pitchFamily="34" charset="0"/>
            </a:endParaRPr>
          </a:p>
        </p:txBody>
      </p:sp>
      <p:sp>
        <p:nvSpPr>
          <p:cNvPr id="71" name="5. Source"/>
          <p:cNvSpPr>
            <a:spLocks noChangeArrowheads="1"/>
          </p:cNvSpPr>
          <p:nvPr/>
        </p:nvSpPr>
        <p:spPr bwMode="auto">
          <a:xfrm>
            <a:off x="119063" y="6507558"/>
            <a:ext cx="7200000" cy="123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marL="609600" indent="-609600" defTabSz="895350">
              <a:tabLst>
                <a:tab pos="612775" algn="l"/>
              </a:tabLst>
            </a:pPr>
            <a:r>
              <a:rPr lang="en-US" sz="800" dirty="0">
                <a:solidFill>
                  <a:srgbClr val="808080"/>
                </a:solidFill>
                <a:latin typeface="Arial"/>
              </a:rPr>
              <a:t>SOURCE: McKinsey Organization Practice; McKinsey and Company, War for Talent Executive Survey (n=5,679), Survey of Conference Board PMI registrants</a:t>
            </a:r>
          </a:p>
        </p:txBody>
      </p:sp>
      <p:sp>
        <p:nvSpPr>
          <p:cNvPr id="72" name="4. Footnote"/>
          <p:cNvSpPr txBox="1">
            <a:spLocks noChangeArrowheads="1"/>
          </p:cNvSpPr>
          <p:nvPr/>
        </p:nvSpPr>
        <p:spPr bwMode="auto">
          <a:xfrm>
            <a:off x="119063" y="6183549"/>
            <a:ext cx="8618537"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defPPr>
              <a:defRPr lang="en-US"/>
            </a:defPPr>
            <a:lvl1pPr marL="104775" indent="-104775" defTabSz="895350">
              <a:defRPr sz="800">
                <a:solidFill>
                  <a:srgbClr val="808080"/>
                </a:solidFill>
                <a:latin typeface="Arial"/>
              </a:defRPr>
            </a:lvl1pPr>
            <a:lvl2pPr marL="1031875" defTabSz="895350">
              <a:defRPr sz="2400"/>
            </a:lvl2pPr>
            <a:lvl3pPr marL="1217613" defTabSz="895350">
              <a:defRPr sz="2400"/>
            </a:lvl3pPr>
            <a:lvl4pPr marL="1404938" defTabSz="895350">
              <a:defRPr sz="2400"/>
            </a:lvl4pPr>
            <a:lvl5pPr marL="1792288" defTabSz="895350">
              <a:defRPr sz="2400"/>
            </a:lvl5pPr>
            <a:lvl6pPr marL="2249488" defTabSz="895350" fontAlgn="base">
              <a:spcBef>
                <a:spcPct val="0"/>
              </a:spcBef>
              <a:spcAft>
                <a:spcPct val="0"/>
              </a:spcAft>
              <a:defRPr sz="2400"/>
            </a:lvl6pPr>
            <a:lvl7pPr marL="2706688" defTabSz="895350" fontAlgn="base">
              <a:spcBef>
                <a:spcPct val="0"/>
              </a:spcBef>
              <a:spcAft>
                <a:spcPct val="0"/>
              </a:spcAft>
              <a:defRPr sz="2400"/>
            </a:lvl7pPr>
            <a:lvl8pPr marL="3163888" defTabSz="895350" fontAlgn="base">
              <a:spcBef>
                <a:spcPct val="0"/>
              </a:spcBef>
              <a:spcAft>
                <a:spcPct val="0"/>
              </a:spcAft>
              <a:defRPr sz="2400"/>
            </a:lvl8pPr>
            <a:lvl9pPr marL="3621088" defTabSz="895350" fontAlgn="base">
              <a:spcBef>
                <a:spcPct val="0"/>
              </a:spcBef>
              <a:spcAft>
                <a:spcPct val="0"/>
              </a:spcAft>
              <a:defRPr sz="2400"/>
            </a:lvl9pPr>
          </a:lstStyle>
          <a:p>
            <a:r>
              <a:rPr lang="en-US" dirty="0"/>
              <a:t>1	Health as measured in </a:t>
            </a:r>
            <a:r>
              <a:rPr lang="en-US" dirty="0" err="1"/>
              <a:t>OHI</a:t>
            </a:r>
            <a:r>
              <a:rPr lang="en-US" dirty="0"/>
              <a:t>.  Represents 9 year average Total Return to Shareholders (</a:t>
            </a:r>
            <a:r>
              <a:rPr lang="en-US" dirty="0" err="1"/>
              <a:t>TRS</a:t>
            </a:r>
            <a:r>
              <a:rPr lang="en-US" dirty="0"/>
              <a:t>) for health vs unhealthy companies in McKinsey’s database. Cultural health measured by McKinsey’s Organizational Health Index (</a:t>
            </a:r>
            <a:r>
              <a:rPr lang="en-US" dirty="0" err="1"/>
              <a:t>OHI</a:t>
            </a:r>
            <a:r>
              <a:rPr lang="en-US" dirty="0"/>
              <a:t>) which contains survey data on more than 400 organizations.  Financial performance as measured by EBITDA margin</a:t>
            </a:r>
          </a:p>
        </p:txBody>
      </p:sp>
      <p:sp>
        <p:nvSpPr>
          <p:cNvPr id="73" name="TextBox 72"/>
          <p:cNvSpPr txBox="1">
            <a:spLocks/>
          </p:cNvSpPr>
          <p:nvPr/>
        </p:nvSpPr>
        <p:spPr>
          <a:xfrm>
            <a:off x="120964" y="1034473"/>
            <a:ext cx="2944625" cy="5044037"/>
          </a:xfrm>
          <a:prstGeom prst="rect">
            <a:avLst/>
          </a:prstGeom>
          <a:solidFill>
            <a:schemeClr val="bg1"/>
          </a:solidFill>
          <a:ln w="19050">
            <a:solidFill>
              <a:schemeClr val="accent1"/>
            </a:solidFill>
            <a:miter lim="800000"/>
            <a:headEnd/>
            <a:tailEnd/>
          </a:ln>
          <a:effectLst>
            <a:outerShdw blurRad="50800" dist="38100" dir="2700000" algn="tl" rotWithShape="0">
              <a:prstClr val="black">
                <a:alpha val="40000"/>
              </a:prstClr>
            </a:outerShdw>
          </a:effectLst>
        </p:spPr>
        <p:txBody>
          <a:bodyPr wrap="none" anchor="ctr">
            <a:noAutofit/>
          </a:bodyPr>
          <a:lstStyle>
            <a:defPPr>
              <a:defRPr lang="en-US"/>
            </a:defPPr>
            <a:lvl1pPr>
              <a:defRPr sz="1200">
                <a:latin typeface="+mn-lt"/>
              </a:defRPr>
            </a:lvl1pPr>
          </a:lstStyle>
          <a:p>
            <a:endParaRPr lang="en-US" dirty="0">
              <a:latin typeface="+mj-lt"/>
            </a:endParaRPr>
          </a:p>
        </p:txBody>
      </p:sp>
      <p:sp>
        <p:nvSpPr>
          <p:cNvPr id="74" name="TextBox 73"/>
          <p:cNvSpPr txBox="1">
            <a:spLocks/>
          </p:cNvSpPr>
          <p:nvPr/>
        </p:nvSpPr>
        <p:spPr>
          <a:xfrm>
            <a:off x="120964" y="1034474"/>
            <a:ext cx="2944625" cy="514756"/>
          </a:xfrm>
          <a:prstGeom prst="rect">
            <a:avLst/>
          </a:prstGeom>
          <a:solidFill>
            <a:schemeClr val="accent1"/>
          </a:solidFill>
          <a:ln>
            <a:noFill/>
          </a:ln>
        </p:spPr>
        <p:txBody>
          <a:bodyPr vert="horz" wrap="square" lIns="72009" tIns="72009" rIns="72009" bIns="72009" rtlCol="0" anchor="ctr" anchorCtr="0">
            <a:spAutoFit/>
          </a:bodyPr>
          <a:lstStyle>
            <a:defPPr>
              <a:defRPr lang="en-US"/>
            </a:defPPr>
            <a:lvl1pPr marL="0" lvl="0" indent="0" defTabSz="895350" eaLnBrk="1" latinLnBrk="0" hangingPunct="1">
              <a:buClr>
                <a:schemeClr val="tx2"/>
              </a:buClr>
              <a:buSzPct val="100000"/>
              <a:defRPr sz="1200" b="1" baseline="0">
                <a:solidFill>
                  <a:schemeClr val="tx2"/>
                </a:solidFill>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dirty="0">
                <a:solidFill>
                  <a:schemeClr val="accent3"/>
                </a:solidFill>
                <a:latin typeface="+mj-lt"/>
              </a:rPr>
              <a:t>Culture is an essential driver of performance…</a:t>
            </a:r>
          </a:p>
        </p:txBody>
      </p:sp>
      <p:sp>
        <p:nvSpPr>
          <p:cNvPr id="75" name="Rectangle 20"/>
          <p:cNvSpPr>
            <a:spLocks noChangeArrowheads="1"/>
          </p:cNvSpPr>
          <p:nvPr/>
        </p:nvSpPr>
        <p:spPr bwMode="auto">
          <a:xfrm>
            <a:off x="209274" y="1588187"/>
            <a:ext cx="2762526" cy="5539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algn="l" defTabSz="895350">
              <a:buClr>
                <a:schemeClr val="tx2"/>
              </a:buClr>
              <a:defRPr sz="1600">
                <a:solidFill>
                  <a:schemeClr val="tx1"/>
                </a:solidFill>
                <a:latin typeface="Arial" charset="0"/>
              </a:defRPr>
            </a:lvl1pPr>
            <a:lvl2pPr marL="193675" indent="-192088" algn="l" defTabSz="895350">
              <a:buClr>
                <a:schemeClr val="tx2"/>
              </a:buClr>
              <a:buSzPct val="125000"/>
              <a:buFont typeface="Arial" charset="0"/>
              <a:buChar char="▪"/>
              <a:defRPr sz="1600">
                <a:solidFill>
                  <a:schemeClr val="tx1"/>
                </a:solidFill>
                <a:latin typeface="Arial" charset="0"/>
              </a:defRPr>
            </a:lvl2pPr>
            <a:lvl3pPr marL="457200" indent="-261938" algn="l" defTabSz="895350">
              <a:buClr>
                <a:schemeClr val="tx2"/>
              </a:buClr>
              <a:buSzPct val="120000"/>
              <a:buFont typeface="Arial" charset="0"/>
              <a:buChar char="–"/>
              <a:defRPr sz="1600">
                <a:solidFill>
                  <a:schemeClr val="tx1"/>
                </a:solidFill>
                <a:latin typeface="Arial" charset="0"/>
              </a:defRPr>
            </a:lvl3pPr>
            <a:lvl4pPr marL="614363" indent="-155575" algn="l" defTabSz="895350">
              <a:buClr>
                <a:schemeClr val="tx2"/>
              </a:buClr>
              <a:buSzPct val="120000"/>
              <a:buFont typeface="Arial" charset="0"/>
              <a:buChar char="▫"/>
              <a:defRPr sz="1600">
                <a:solidFill>
                  <a:schemeClr val="tx1"/>
                </a:solidFill>
                <a:latin typeface="Arial" charset="0"/>
              </a:defRPr>
            </a:lvl4pPr>
            <a:lvl5pPr marL="746125" indent="-130175" algn="l" defTabSz="895350">
              <a:buClr>
                <a:schemeClr val="tx2"/>
              </a:buClr>
              <a:buSzPct val="89000"/>
              <a:buFont typeface="Arial" charset="0"/>
              <a:buChar char="-"/>
              <a:defRPr sz="1600">
                <a:solidFill>
                  <a:schemeClr val="tx1"/>
                </a:solidFill>
                <a:latin typeface="Arial" charset="0"/>
              </a:defRPr>
            </a:lvl5pPr>
            <a:lvl6pPr marL="12033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6pPr>
            <a:lvl7pPr marL="16605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7pPr>
            <a:lvl8pPr marL="21177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8pPr>
            <a:lvl9pPr marL="25749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9pPr>
          </a:lstStyle>
          <a:p>
            <a:r>
              <a:rPr lang="en-US" sz="1200" b="0" dirty="0">
                <a:solidFill>
                  <a:srgbClr val="808080"/>
                </a:solidFill>
                <a:latin typeface="+mj-lt"/>
              </a:rPr>
              <a:t>Likelihood of above-median financial performance in relation to cultural performance</a:t>
            </a:r>
            <a:r>
              <a:rPr lang="en-US" sz="1200" b="0" baseline="30000" dirty="0">
                <a:solidFill>
                  <a:srgbClr val="808080"/>
                </a:solidFill>
                <a:latin typeface="+mj-lt"/>
              </a:rPr>
              <a:t>1</a:t>
            </a:r>
          </a:p>
        </p:txBody>
      </p:sp>
      <p:sp>
        <p:nvSpPr>
          <p:cNvPr id="88" name="TextBox 87"/>
          <p:cNvSpPr txBox="1">
            <a:spLocks/>
          </p:cNvSpPr>
          <p:nvPr/>
        </p:nvSpPr>
        <p:spPr>
          <a:xfrm>
            <a:off x="3284538" y="1034473"/>
            <a:ext cx="4908876" cy="5044037"/>
          </a:xfrm>
          <a:prstGeom prst="rect">
            <a:avLst/>
          </a:prstGeom>
          <a:solidFill>
            <a:schemeClr val="bg1"/>
          </a:solidFill>
          <a:ln w="19050">
            <a:solidFill>
              <a:schemeClr val="accent1"/>
            </a:solidFill>
            <a:miter lim="800000"/>
            <a:headEnd/>
            <a:tailEnd/>
          </a:ln>
          <a:effectLst>
            <a:outerShdw blurRad="50800" dist="38100" dir="2700000" algn="tl" rotWithShape="0">
              <a:prstClr val="black">
                <a:alpha val="40000"/>
              </a:prstClr>
            </a:outerShdw>
          </a:effectLst>
        </p:spPr>
        <p:txBody>
          <a:bodyPr wrap="none" anchor="ctr">
            <a:noAutofit/>
          </a:bodyPr>
          <a:lstStyle>
            <a:defPPr>
              <a:defRPr lang="en-US"/>
            </a:defPPr>
            <a:lvl1pPr>
              <a:defRPr sz="1200">
                <a:latin typeface="+mn-lt"/>
              </a:defRPr>
            </a:lvl1pPr>
          </a:lstStyle>
          <a:p>
            <a:endParaRPr lang="en-US" dirty="0">
              <a:latin typeface="+mj-lt"/>
            </a:endParaRPr>
          </a:p>
        </p:txBody>
      </p:sp>
      <p:sp>
        <p:nvSpPr>
          <p:cNvPr id="90" name="TextBox 89"/>
          <p:cNvSpPr txBox="1">
            <a:spLocks/>
          </p:cNvSpPr>
          <p:nvPr/>
        </p:nvSpPr>
        <p:spPr>
          <a:xfrm>
            <a:off x="3284538" y="1039735"/>
            <a:ext cx="4908876" cy="506608"/>
          </a:xfrm>
          <a:prstGeom prst="rect">
            <a:avLst/>
          </a:prstGeom>
          <a:solidFill>
            <a:schemeClr val="accent1"/>
          </a:solidFill>
          <a:ln>
            <a:noFill/>
          </a:ln>
        </p:spPr>
        <p:txBody>
          <a:bodyPr vert="horz" wrap="square" lIns="72009" tIns="72009" rIns="72009" bIns="72009" rtlCol="0" anchor="ctr" anchorCtr="0">
            <a:noAutofit/>
          </a:bodyPr>
          <a:lstStyle>
            <a:defPPr>
              <a:defRPr lang="en-US"/>
            </a:defPPr>
            <a:lvl1pPr marL="0" lvl="0" indent="0" defTabSz="895350" eaLnBrk="1" latinLnBrk="0" hangingPunct="1">
              <a:buClr>
                <a:schemeClr val="tx2"/>
              </a:buClr>
              <a:buSzPct val="100000"/>
              <a:defRPr sz="1200" b="1" baseline="0">
                <a:solidFill>
                  <a:schemeClr val="tx2"/>
                </a:solidFill>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dirty="0">
                <a:solidFill>
                  <a:schemeClr val="accent3"/>
                </a:solidFill>
                <a:latin typeface="+mj-lt"/>
              </a:rPr>
              <a:t>…and is a make-or-break factor in integration success</a:t>
            </a:r>
          </a:p>
        </p:txBody>
      </p:sp>
      <p:sp>
        <p:nvSpPr>
          <p:cNvPr id="91" name="Rectangle 20"/>
          <p:cNvSpPr>
            <a:spLocks noChangeArrowheads="1"/>
          </p:cNvSpPr>
          <p:nvPr/>
        </p:nvSpPr>
        <p:spPr bwMode="auto">
          <a:xfrm>
            <a:off x="3354457" y="1588187"/>
            <a:ext cx="4415627" cy="5539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algn="l" defTabSz="895350">
              <a:buClr>
                <a:schemeClr val="tx2"/>
              </a:buClr>
              <a:defRPr sz="1600">
                <a:solidFill>
                  <a:schemeClr val="tx1"/>
                </a:solidFill>
                <a:latin typeface="Arial" charset="0"/>
              </a:defRPr>
            </a:lvl1pPr>
            <a:lvl2pPr marL="193675" indent="-192088" algn="l" defTabSz="895350">
              <a:buClr>
                <a:schemeClr val="tx2"/>
              </a:buClr>
              <a:buSzPct val="125000"/>
              <a:buFont typeface="Arial" charset="0"/>
              <a:buChar char="▪"/>
              <a:defRPr sz="1600">
                <a:solidFill>
                  <a:schemeClr val="tx1"/>
                </a:solidFill>
                <a:latin typeface="Arial" charset="0"/>
              </a:defRPr>
            </a:lvl2pPr>
            <a:lvl3pPr marL="457200" indent="-261938" algn="l" defTabSz="895350">
              <a:buClr>
                <a:schemeClr val="tx2"/>
              </a:buClr>
              <a:buSzPct val="120000"/>
              <a:buFont typeface="Arial" charset="0"/>
              <a:buChar char="–"/>
              <a:defRPr sz="1600">
                <a:solidFill>
                  <a:schemeClr val="tx1"/>
                </a:solidFill>
                <a:latin typeface="Arial" charset="0"/>
              </a:defRPr>
            </a:lvl3pPr>
            <a:lvl4pPr marL="614363" indent="-155575" algn="l" defTabSz="895350">
              <a:buClr>
                <a:schemeClr val="tx2"/>
              </a:buClr>
              <a:buSzPct val="120000"/>
              <a:buFont typeface="Arial" charset="0"/>
              <a:buChar char="▫"/>
              <a:defRPr sz="1600">
                <a:solidFill>
                  <a:schemeClr val="tx1"/>
                </a:solidFill>
                <a:latin typeface="Arial" charset="0"/>
              </a:defRPr>
            </a:lvl4pPr>
            <a:lvl5pPr marL="746125" indent="-130175" algn="l" defTabSz="895350">
              <a:buClr>
                <a:schemeClr val="tx2"/>
              </a:buClr>
              <a:buSzPct val="89000"/>
              <a:buFont typeface="Arial" charset="0"/>
              <a:buChar char="-"/>
              <a:defRPr sz="1600">
                <a:solidFill>
                  <a:schemeClr val="tx1"/>
                </a:solidFill>
                <a:latin typeface="Arial" charset="0"/>
              </a:defRPr>
            </a:lvl5pPr>
            <a:lvl6pPr marL="12033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6pPr>
            <a:lvl7pPr marL="16605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7pPr>
            <a:lvl8pPr marL="21177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8pPr>
            <a:lvl9pPr marL="25749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9pPr>
          </a:lstStyle>
          <a:p>
            <a:r>
              <a:rPr lang="en-US" sz="1200" b="0" dirty="0">
                <a:solidFill>
                  <a:srgbClr val="808080"/>
                </a:solidFill>
                <a:latin typeface="+mj-lt"/>
              </a:rPr>
              <a:t>Extent to which employees were able to co-create the companies change initiatives</a:t>
            </a:r>
          </a:p>
          <a:p>
            <a:r>
              <a:rPr lang="en-US" sz="1200" dirty="0">
                <a:solidFill>
                  <a:srgbClr val="808080"/>
                </a:solidFill>
                <a:latin typeface="+mj-lt"/>
              </a:rPr>
              <a:t>%, N = 1,397</a:t>
            </a:r>
            <a:endParaRPr lang="en-US" sz="1200" b="0" dirty="0">
              <a:solidFill>
                <a:srgbClr val="808080"/>
              </a:solidFill>
              <a:latin typeface="+mj-lt"/>
            </a:endParaRPr>
          </a:p>
        </p:txBody>
      </p:sp>
      <p:graphicFrame>
        <p:nvGraphicFramePr>
          <p:cNvPr id="92" name="Object 19"/>
          <p:cNvGraphicFramePr>
            <a:graphicFrameLocks/>
          </p:cNvGraphicFramePr>
          <p:nvPr>
            <p:custDataLst>
              <p:tags r:id="rId5"/>
            </p:custDataLst>
            <p:extLst/>
          </p:nvPr>
        </p:nvGraphicFramePr>
        <p:xfrm>
          <a:off x="4140200" y="2247900"/>
          <a:ext cx="2489266" cy="1568669"/>
        </p:xfrm>
        <a:graphic>
          <a:graphicData uri="http://schemas.openxmlformats.org/presentationml/2006/ole">
            <mc:AlternateContent xmlns:mc="http://schemas.openxmlformats.org/markup-compatibility/2006">
              <mc:Choice xmlns:v="urn:schemas-microsoft-com:vml" Requires="v">
                <p:oleObj spid="_x0000_s286798" name="Chart" r:id="rId48" imgW="2490877" imgH="1566698" progId="MSGraph.Chart.8">
                  <p:embed followColorScheme="full"/>
                </p:oleObj>
              </mc:Choice>
              <mc:Fallback>
                <p:oleObj name="Chart" r:id="rId48" imgW="2490877" imgH="1566698" progId="MSGraph.Chart.8">
                  <p:embed followColorScheme="full"/>
                  <p:pic>
                    <p:nvPicPr>
                      <p:cNvPr id="92" name="Object 19"/>
                      <p:cNvPicPr>
                        <a:picLocks noChangeArrowheads="1"/>
                      </p:cNvPicPr>
                      <p:nvPr/>
                    </p:nvPicPr>
                    <p:blipFill>
                      <a:blip r:embed="rId49"/>
                      <a:srcRect/>
                      <a:stretch>
                        <a:fillRect/>
                      </a:stretch>
                    </p:blipFill>
                    <p:spPr bwMode="gray">
                      <a:xfrm>
                        <a:off x="4140200" y="2247900"/>
                        <a:ext cx="2489266" cy="1568669"/>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cxnSp>
        <p:nvCxnSpPr>
          <p:cNvPr id="95" name="Straight Connector 94"/>
          <p:cNvCxnSpPr/>
          <p:nvPr>
            <p:custDataLst>
              <p:tags r:id="rId6"/>
            </p:custDataLst>
          </p:nvPr>
        </p:nvCxnSpPr>
        <p:spPr bwMode="gray">
          <a:xfrm>
            <a:off x="5740400" y="3671888"/>
            <a:ext cx="0" cy="106363"/>
          </a:xfrm>
          <a:prstGeom prst="line">
            <a:avLst/>
          </a:prstGeom>
          <a:ln w="3175">
            <a:solidFill>
              <a:srgbClr val="808080"/>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sp>
        <p:nvSpPr>
          <p:cNvPr id="93" name="Line 42"/>
          <p:cNvSpPr>
            <a:spLocks noChangeShapeType="1"/>
          </p:cNvSpPr>
          <p:nvPr>
            <p:custDataLst>
              <p:tags r:id="rId7"/>
            </p:custDataLst>
          </p:nvPr>
        </p:nvSpPr>
        <p:spPr bwMode="gray">
          <a:xfrm>
            <a:off x="5737225" y="3721100"/>
            <a:ext cx="793750" cy="0"/>
          </a:xfrm>
          <a:prstGeom prst="line">
            <a:avLst/>
          </a:prstGeom>
          <a:noFill/>
          <a:ln w="38100">
            <a:solidFill>
              <a:schemeClr val="accent5"/>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cxnSp>
        <p:nvCxnSpPr>
          <p:cNvPr id="94" name="Straight Connector 93"/>
          <p:cNvCxnSpPr/>
          <p:nvPr>
            <p:custDataLst>
              <p:tags r:id="rId8"/>
            </p:custDataLst>
          </p:nvPr>
        </p:nvCxnSpPr>
        <p:spPr bwMode="gray">
          <a:xfrm>
            <a:off x="6527800" y="2643188"/>
            <a:ext cx="0" cy="1135063"/>
          </a:xfrm>
          <a:prstGeom prst="line">
            <a:avLst/>
          </a:prstGeom>
          <a:ln w="3175">
            <a:solidFill>
              <a:srgbClr val="808080"/>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sp>
        <p:nvSpPr>
          <p:cNvPr id="103" name="Oval 43"/>
          <p:cNvSpPr>
            <a:spLocks noChangeArrowheads="1"/>
          </p:cNvSpPr>
          <p:nvPr>
            <p:custDataLst>
              <p:tags r:id="rId9"/>
            </p:custDataLst>
          </p:nvPr>
        </p:nvSpPr>
        <p:spPr bwMode="auto">
          <a:xfrm>
            <a:off x="5843588" y="3603625"/>
            <a:ext cx="466725" cy="234950"/>
          </a:xfrm>
          <a:prstGeom prst="ellipse">
            <a:avLst/>
          </a:prstGeom>
          <a:solidFill>
            <a:schemeClr val="bg2"/>
          </a:solidFill>
          <a:ln w="9525">
            <a:solidFill>
              <a:schemeClr val="accent5"/>
            </a:solidFill>
            <a:round/>
            <a:headEnd/>
            <a:tailEnd/>
          </a:ln>
          <a:effectLst/>
          <a:extLst/>
        </p:spPr>
        <p:txBody>
          <a:bodyPr wrap="none" lIns="0" tIns="0" rIns="0" bIns="0" anchor="ctr"/>
          <a:lstStyle>
            <a:lvl1pPr defTabSz="895350">
              <a:buClr>
                <a:schemeClr val="tx2"/>
              </a:buClr>
              <a:defRPr sz="1600">
                <a:solidFill>
                  <a:schemeClr val="tx1"/>
                </a:solidFill>
                <a:latin typeface="Arial" charset="0"/>
                <a:cs typeface="Arial" charset="0"/>
              </a:defRPr>
            </a:lvl1pPr>
            <a:lvl2pPr marL="193675" indent="-192088" defTabSz="895350">
              <a:buClr>
                <a:schemeClr val="tx2"/>
              </a:buClr>
              <a:buSzPct val="125000"/>
              <a:buFont typeface="Arial" charset="0"/>
              <a:buChar char="▪"/>
              <a:defRPr sz="1600">
                <a:solidFill>
                  <a:schemeClr val="tx1"/>
                </a:solidFill>
                <a:latin typeface="Arial" charset="0"/>
                <a:cs typeface="Arial" charset="0"/>
              </a:defRPr>
            </a:lvl2pPr>
            <a:lvl3pPr marL="457200" indent="-261938" defTabSz="895350">
              <a:buClr>
                <a:schemeClr val="tx2"/>
              </a:buClr>
              <a:buSzPct val="120000"/>
              <a:buFont typeface="Arial" charset="0"/>
              <a:buChar char="–"/>
              <a:defRPr sz="1600">
                <a:solidFill>
                  <a:schemeClr val="tx1"/>
                </a:solidFill>
                <a:latin typeface="Arial" charset="0"/>
                <a:cs typeface="Arial" charset="0"/>
              </a:defRPr>
            </a:lvl3pPr>
            <a:lvl4pPr marL="614363" indent="-155575" defTabSz="895350">
              <a:buClr>
                <a:schemeClr val="tx2"/>
              </a:buClr>
              <a:buSzPct val="120000"/>
              <a:buFont typeface="Arial" charset="0"/>
              <a:buChar char="▫"/>
              <a:defRPr sz="1600">
                <a:solidFill>
                  <a:schemeClr val="tx1"/>
                </a:solidFill>
                <a:latin typeface="Arial" charset="0"/>
                <a:cs typeface="Arial" charset="0"/>
              </a:defRPr>
            </a:lvl4pPr>
            <a:lvl5pPr marL="746125" indent="-130175" defTabSz="895350">
              <a:buClr>
                <a:schemeClr val="tx2"/>
              </a:buClr>
              <a:buSzPct val="89000"/>
              <a:buFont typeface="Arial" charset="0"/>
              <a:buChar char="-"/>
              <a:defRPr sz="1600">
                <a:solidFill>
                  <a:schemeClr val="tx1"/>
                </a:solidFill>
                <a:latin typeface="Arial" charset="0"/>
                <a:cs typeface="Arial" charset="0"/>
              </a:defRPr>
            </a:lvl5pPr>
            <a:lvl6pPr marL="12033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cs typeface="Arial" charset="0"/>
              </a:defRPr>
            </a:lvl6pPr>
            <a:lvl7pPr marL="16605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cs typeface="Arial" charset="0"/>
              </a:defRPr>
            </a:lvl7pPr>
            <a:lvl8pPr marL="21177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cs typeface="Arial" charset="0"/>
              </a:defRPr>
            </a:lvl8pPr>
            <a:lvl9pPr marL="25749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cs typeface="Arial" charset="0"/>
              </a:defRPr>
            </a:lvl9pPr>
          </a:lstStyle>
          <a:p>
            <a:pPr algn="ctr">
              <a:lnSpc>
                <a:spcPct val="90000"/>
              </a:lnSpc>
            </a:pPr>
            <a:r>
              <a:rPr lang="en-US" sz="1200" dirty="0">
                <a:solidFill>
                  <a:schemeClr val="accent5"/>
                </a:solidFill>
                <a:latin typeface="Arial"/>
                <a:cs typeface="Arial"/>
                <a:sym typeface="Arial"/>
              </a:rPr>
              <a:t>x 3.4</a:t>
            </a:r>
          </a:p>
        </p:txBody>
      </p:sp>
      <p:sp>
        <p:nvSpPr>
          <p:cNvPr id="102" name="Rectangle 20"/>
          <p:cNvSpPr>
            <a:spLocks noChangeArrowheads="1"/>
          </p:cNvSpPr>
          <p:nvPr>
            <p:custDataLst>
              <p:tags r:id="rId10"/>
            </p:custDataLst>
          </p:nvPr>
        </p:nvSpPr>
        <p:spPr bwMode="gray">
          <a:xfrm>
            <a:off x="3417888" y="3455988"/>
            <a:ext cx="600075" cy="1825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lvl1pPr defTabSz="895350">
              <a:buClr>
                <a:schemeClr val="tx2"/>
              </a:buClr>
              <a:defRPr sz="1600">
                <a:solidFill>
                  <a:schemeClr val="tx1"/>
                </a:solidFill>
                <a:latin typeface="Arial" charset="0"/>
                <a:cs typeface="Arial" charset="0"/>
              </a:defRPr>
            </a:lvl1pPr>
            <a:lvl2pPr marL="193675" indent="-192088" defTabSz="895350">
              <a:buClr>
                <a:schemeClr val="tx2"/>
              </a:buClr>
              <a:buSzPct val="125000"/>
              <a:buFont typeface="Arial" charset="0"/>
              <a:buChar char="▪"/>
              <a:defRPr sz="1600">
                <a:solidFill>
                  <a:schemeClr val="tx1"/>
                </a:solidFill>
                <a:latin typeface="Arial" charset="0"/>
                <a:cs typeface="Arial" charset="0"/>
              </a:defRPr>
            </a:lvl2pPr>
            <a:lvl3pPr marL="457200" indent="-261938" defTabSz="895350">
              <a:buClr>
                <a:schemeClr val="tx2"/>
              </a:buClr>
              <a:buSzPct val="120000"/>
              <a:buFont typeface="Arial" charset="0"/>
              <a:buChar char="–"/>
              <a:defRPr sz="1600">
                <a:solidFill>
                  <a:schemeClr val="tx1"/>
                </a:solidFill>
                <a:latin typeface="Arial" charset="0"/>
                <a:cs typeface="Arial" charset="0"/>
              </a:defRPr>
            </a:lvl3pPr>
            <a:lvl4pPr marL="614363" indent="-155575" defTabSz="895350">
              <a:buClr>
                <a:schemeClr val="tx2"/>
              </a:buClr>
              <a:buSzPct val="120000"/>
              <a:buFont typeface="Arial" charset="0"/>
              <a:buChar char="▫"/>
              <a:defRPr sz="1600">
                <a:solidFill>
                  <a:schemeClr val="tx1"/>
                </a:solidFill>
                <a:latin typeface="Arial" charset="0"/>
                <a:cs typeface="Arial" charset="0"/>
              </a:defRPr>
            </a:lvl4pPr>
            <a:lvl5pPr marL="746125" indent="-130175" defTabSz="895350">
              <a:buClr>
                <a:schemeClr val="tx2"/>
              </a:buClr>
              <a:buSzPct val="89000"/>
              <a:buFont typeface="Arial" charset="0"/>
              <a:buChar char="-"/>
              <a:defRPr sz="1600">
                <a:solidFill>
                  <a:schemeClr val="tx1"/>
                </a:solidFill>
                <a:latin typeface="Arial" charset="0"/>
                <a:cs typeface="Arial" charset="0"/>
              </a:defRPr>
            </a:lvl5pPr>
            <a:lvl6pPr marL="12033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cs typeface="Arial" charset="0"/>
              </a:defRPr>
            </a:lvl6pPr>
            <a:lvl7pPr marL="16605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cs typeface="Arial" charset="0"/>
              </a:defRPr>
            </a:lvl7pPr>
            <a:lvl8pPr marL="21177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cs typeface="Arial" charset="0"/>
              </a:defRPr>
            </a:lvl8pPr>
            <a:lvl9pPr marL="25749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cs typeface="Arial" charset="0"/>
              </a:defRPr>
            </a:lvl9pPr>
          </a:lstStyle>
          <a:p>
            <a:r>
              <a:rPr lang="en-US" sz="1200" b="0">
                <a:latin typeface="Arial"/>
                <a:cs typeface="Arial"/>
                <a:sym typeface="Arial"/>
              </a:rPr>
              <a:t>Not at all</a:t>
            </a:r>
          </a:p>
        </p:txBody>
      </p:sp>
      <p:sp>
        <p:nvSpPr>
          <p:cNvPr id="100" name="Rectangle 21"/>
          <p:cNvSpPr>
            <a:spLocks noChangeArrowheads="1"/>
          </p:cNvSpPr>
          <p:nvPr>
            <p:custDataLst>
              <p:tags r:id="rId11"/>
            </p:custDataLst>
          </p:nvPr>
        </p:nvSpPr>
        <p:spPr bwMode="gray">
          <a:xfrm>
            <a:off x="4224338" y="3455988"/>
            <a:ext cx="206375" cy="182563"/>
          </a:xfrm>
          <a:prstGeom prst="rect">
            <a:avLst/>
          </a:prstGeom>
          <a:solidFill>
            <a:schemeClr val="accent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9050" tIns="0" rIns="19050" bIns="0" anchor="ctr"/>
          <a:lstStyle>
            <a:lvl1pPr defTabSz="895350">
              <a:buClr>
                <a:schemeClr val="tx2"/>
              </a:buClr>
              <a:defRPr sz="1600">
                <a:solidFill>
                  <a:schemeClr val="tx1"/>
                </a:solidFill>
                <a:latin typeface="Arial" charset="0"/>
                <a:cs typeface="Arial" charset="0"/>
              </a:defRPr>
            </a:lvl1pPr>
            <a:lvl2pPr marL="193675" indent="-192088" defTabSz="895350">
              <a:buClr>
                <a:schemeClr val="tx2"/>
              </a:buClr>
              <a:buSzPct val="125000"/>
              <a:buFont typeface="Arial" charset="0"/>
              <a:buChar char="▪"/>
              <a:defRPr sz="1600">
                <a:solidFill>
                  <a:schemeClr val="tx1"/>
                </a:solidFill>
                <a:latin typeface="Arial" charset="0"/>
                <a:cs typeface="Arial" charset="0"/>
              </a:defRPr>
            </a:lvl2pPr>
            <a:lvl3pPr marL="457200" indent="-261938" defTabSz="895350">
              <a:buClr>
                <a:schemeClr val="tx2"/>
              </a:buClr>
              <a:buSzPct val="120000"/>
              <a:buFont typeface="Arial" charset="0"/>
              <a:buChar char="–"/>
              <a:defRPr sz="1600">
                <a:solidFill>
                  <a:schemeClr val="tx1"/>
                </a:solidFill>
                <a:latin typeface="Arial" charset="0"/>
                <a:cs typeface="Arial" charset="0"/>
              </a:defRPr>
            </a:lvl3pPr>
            <a:lvl4pPr marL="614363" indent="-155575" defTabSz="895350">
              <a:buClr>
                <a:schemeClr val="tx2"/>
              </a:buClr>
              <a:buSzPct val="120000"/>
              <a:buFont typeface="Arial" charset="0"/>
              <a:buChar char="▫"/>
              <a:defRPr sz="1600">
                <a:solidFill>
                  <a:schemeClr val="tx1"/>
                </a:solidFill>
                <a:latin typeface="Arial" charset="0"/>
                <a:cs typeface="Arial" charset="0"/>
              </a:defRPr>
            </a:lvl4pPr>
            <a:lvl5pPr marL="746125" indent="-130175" defTabSz="895350">
              <a:buClr>
                <a:schemeClr val="tx2"/>
              </a:buClr>
              <a:buSzPct val="89000"/>
              <a:buFont typeface="Arial" charset="0"/>
              <a:buChar char="-"/>
              <a:defRPr sz="1600">
                <a:solidFill>
                  <a:schemeClr val="tx1"/>
                </a:solidFill>
                <a:latin typeface="Arial" charset="0"/>
                <a:cs typeface="Arial" charset="0"/>
              </a:defRPr>
            </a:lvl5pPr>
            <a:lvl6pPr marL="12033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cs typeface="Arial" charset="0"/>
              </a:defRPr>
            </a:lvl6pPr>
            <a:lvl7pPr marL="16605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cs typeface="Arial" charset="0"/>
              </a:defRPr>
            </a:lvl7pPr>
            <a:lvl8pPr marL="21177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cs typeface="Arial" charset="0"/>
              </a:defRPr>
            </a:lvl8pPr>
            <a:lvl9pPr marL="25749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cs typeface="Arial" charset="0"/>
              </a:defRPr>
            </a:lvl9pPr>
          </a:lstStyle>
          <a:p>
            <a:pPr algn="ctr"/>
            <a:r>
              <a:rPr lang="en-US" sz="1200" b="0">
                <a:latin typeface="Arial"/>
                <a:cs typeface="Arial"/>
                <a:sym typeface="Arial"/>
              </a:rPr>
              <a:t>10</a:t>
            </a:r>
          </a:p>
        </p:txBody>
      </p:sp>
      <p:sp>
        <p:nvSpPr>
          <p:cNvPr id="101" name="Rectangle 22"/>
          <p:cNvSpPr>
            <a:spLocks noChangeArrowheads="1"/>
          </p:cNvSpPr>
          <p:nvPr>
            <p:custDataLst>
              <p:tags r:id="rId12"/>
            </p:custDataLst>
          </p:nvPr>
        </p:nvSpPr>
        <p:spPr bwMode="gray">
          <a:xfrm>
            <a:off x="4802188" y="3455988"/>
            <a:ext cx="206375" cy="1825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9050" tIns="0" rIns="19050" bIns="0" anchor="ctr"/>
          <a:lstStyle>
            <a:lvl1pPr defTabSz="895350">
              <a:buClr>
                <a:schemeClr val="tx2"/>
              </a:buClr>
              <a:defRPr sz="1600">
                <a:solidFill>
                  <a:schemeClr val="tx1"/>
                </a:solidFill>
                <a:latin typeface="Arial" charset="0"/>
                <a:cs typeface="Arial" charset="0"/>
              </a:defRPr>
            </a:lvl1pPr>
            <a:lvl2pPr marL="193675" indent="-192088" defTabSz="895350">
              <a:buClr>
                <a:schemeClr val="tx2"/>
              </a:buClr>
              <a:buSzPct val="125000"/>
              <a:buFont typeface="Arial" charset="0"/>
              <a:buChar char="▪"/>
              <a:defRPr sz="1600">
                <a:solidFill>
                  <a:schemeClr val="tx1"/>
                </a:solidFill>
                <a:latin typeface="Arial" charset="0"/>
                <a:cs typeface="Arial" charset="0"/>
              </a:defRPr>
            </a:lvl2pPr>
            <a:lvl3pPr marL="457200" indent="-261938" defTabSz="895350">
              <a:buClr>
                <a:schemeClr val="tx2"/>
              </a:buClr>
              <a:buSzPct val="120000"/>
              <a:buFont typeface="Arial" charset="0"/>
              <a:buChar char="–"/>
              <a:defRPr sz="1600">
                <a:solidFill>
                  <a:schemeClr val="tx1"/>
                </a:solidFill>
                <a:latin typeface="Arial" charset="0"/>
                <a:cs typeface="Arial" charset="0"/>
              </a:defRPr>
            </a:lvl3pPr>
            <a:lvl4pPr marL="614363" indent="-155575" defTabSz="895350">
              <a:buClr>
                <a:schemeClr val="tx2"/>
              </a:buClr>
              <a:buSzPct val="120000"/>
              <a:buFont typeface="Arial" charset="0"/>
              <a:buChar char="▫"/>
              <a:defRPr sz="1600">
                <a:solidFill>
                  <a:schemeClr val="tx1"/>
                </a:solidFill>
                <a:latin typeface="Arial" charset="0"/>
                <a:cs typeface="Arial" charset="0"/>
              </a:defRPr>
            </a:lvl4pPr>
            <a:lvl5pPr marL="746125" indent="-130175" defTabSz="895350">
              <a:buClr>
                <a:schemeClr val="tx2"/>
              </a:buClr>
              <a:buSzPct val="89000"/>
              <a:buFont typeface="Arial" charset="0"/>
              <a:buChar char="-"/>
              <a:defRPr sz="1600">
                <a:solidFill>
                  <a:schemeClr val="tx1"/>
                </a:solidFill>
                <a:latin typeface="Arial" charset="0"/>
                <a:cs typeface="Arial" charset="0"/>
              </a:defRPr>
            </a:lvl5pPr>
            <a:lvl6pPr marL="12033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cs typeface="Arial" charset="0"/>
              </a:defRPr>
            </a:lvl6pPr>
            <a:lvl7pPr marL="16605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cs typeface="Arial" charset="0"/>
              </a:defRPr>
            </a:lvl7pPr>
            <a:lvl8pPr marL="21177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cs typeface="Arial" charset="0"/>
              </a:defRPr>
            </a:lvl8pPr>
            <a:lvl9pPr marL="25749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cs typeface="Arial" charset="0"/>
              </a:defRPr>
            </a:lvl9pPr>
          </a:lstStyle>
          <a:p>
            <a:pPr algn="ctr"/>
            <a:r>
              <a:rPr lang="en-US" sz="1200" b="0">
                <a:solidFill>
                  <a:schemeClr val="bg1"/>
                </a:solidFill>
                <a:latin typeface="Arial"/>
                <a:cs typeface="Arial"/>
                <a:sym typeface="Arial"/>
              </a:rPr>
              <a:t>68</a:t>
            </a:r>
          </a:p>
        </p:txBody>
      </p:sp>
      <p:sp>
        <p:nvSpPr>
          <p:cNvPr id="159" name="Text Placeholder 2"/>
          <p:cNvSpPr>
            <a:spLocks noGrp="1"/>
          </p:cNvSpPr>
          <p:nvPr>
            <p:custDataLst>
              <p:tags r:id="rId13"/>
            </p:custDataLst>
          </p:nvPr>
        </p:nvSpPr>
        <p:spPr bwMode="gray">
          <a:xfrm>
            <a:off x="6054725" y="2770188"/>
            <a:ext cx="122238" cy="182563"/>
          </a:xfrm>
          <a:prstGeom prst="rect">
            <a:avLst/>
          </a:prstGeom>
          <a:solidFill>
            <a:schemeClr val="tx2"/>
          </a:solidFill>
        </p:spPr>
        <p:txBody>
          <a:bodyPr vert="horz" wrap="none" lIns="19050" tIns="0" rIns="19050" bIns="0" numCol="1" spcCol="0" rtlCol="0" anchor="ctr" anchorCtr="0">
            <a:noAutofit/>
          </a:bodyPr>
          <a:lstStyle>
            <a:lvl1pPr marL="0" indent="0" algn="l" defTabSz="895350" rtl="0" eaLnBrk="1" fontAlgn="base" hangingPunct="1">
              <a:spcBef>
                <a:spcPct val="0"/>
              </a:spcBef>
              <a:spcAft>
                <a:spcPct val="0"/>
              </a:spcAft>
              <a:buClr>
                <a:schemeClr val="tx2"/>
              </a:buClr>
              <a:buSzPct val="100000"/>
              <a:defRPr lang="x-none" sz="14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lang="x-none" sz="14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lang="x-none" sz="14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lang="x-none" sz="14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lang="x-none" sz="14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9pPr>
          </a:lstStyle>
          <a:p>
            <a:pPr algn="ctr"/>
            <a:fld id="{8A00468C-EF68-45D9-92E2-F77E7176CF70}" type="datetime'''''''''6'''''''''''''''''''">
              <a:rPr lang="en-US" altLang="en-US" sz="1200">
                <a:solidFill>
                  <a:schemeClr val="bg1"/>
                </a:solidFill>
                <a:latin typeface="Arial" panose="020B0604020202020204" pitchFamily="34" charset="0"/>
                <a:cs typeface="Arial" panose="020B0604020202020204" pitchFamily="34" charset="0"/>
                <a:sym typeface="Arial" panose="020B0604020202020204" pitchFamily="34" charset="0"/>
              </a:rPr>
              <a:pPr algn="ctr"/>
              <a:t>6</a:t>
            </a:fld>
            <a:endParaRPr lang="en-US" sz="1200" dirty="0">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96" name="Rectangle 37"/>
          <p:cNvSpPr>
            <a:spLocks noChangeArrowheads="1"/>
          </p:cNvSpPr>
          <p:nvPr>
            <p:custDataLst>
              <p:tags r:id="rId14"/>
            </p:custDataLst>
          </p:nvPr>
        </p:nvSpPr>
        <p:spPr bwMode="gray">
          <a:xfrm>
            <a:off x="5129213" y="2427288"/>
            <a:ext cx="206375" cy="1825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9050" tIns="0" rIns="19050" bIns="0" anchor="ctr"/>
          <a:lstStyle>
            <a:lvl1pPr defTabSz="895350">
              <a:buClr>
                <a:schemeClr val="tx2"/>
              </a:buClr>
              <a:defRPr sz="1600">
                <a:solidFill>
                  <a:schemeClr val="tx1"/>
                </a:solidFill>
                <a:latin typeface="Arial" charset="0"/>
                <a:cs typeface="Arial" charset="0"/>
              </a:defRPr>
            </a:lvl1pPr>
            <a:lvl2pPr marL="193675" indent="-192088" defTabSz="895350">
              <a:buClr>
                <a:schemeClr val="tx2"/>
              </a:buClr>
              <a:buSzPct val="125000"/>
              <a:buFont typeface="Arial" charset="0"/>
              <a:buChar char="▪"/>
              <a:defRPr sz="1600">
                <a:solidFill>
                  <a:schemeClr val="tx1"/>
                </a:solidFill>
                <a:latin typeface="Arial" charset="0"/>
                <a:cs typeface="Arial" charset="0"/>
              </a:defRPr>
            </a:lvl2pPr>
            <a:lvl3pPr marL="457200" indent="-261938" defTabSz="895350">
              <a:buClr>
                <a:schemeClr val="tx2"/>
              </a:buClr>
              <a:buSzPct val="120000"/>
              <a:buFont typeface="Arial" charset="0"/>
              <a:buChar char="–"/>
              <a:defRPr sz="1600">
                <a:solidFill>
                  <a:schemeClr val="tx1"/>
                </a:solidFill>
                <a:latin typeface="Arial" charset="0"/>
                <a:cs typeface="Arial" charset="0"/>
              </a:defRPr>
            </a:lvl3pPr>
            <a:lvl4pPr marL="614363" indent="-155575" defTabSz="895350">
              <a:buClr>
                <a:schemeClr val="tx2"/>
              </a:buClr>
              <a:buSzPct val="120000"/>
              <a:buFont typeface="Arial" charset="0"/>
              <a:buChar char="▫"/>
              <a:defRPr sz="1600">
                <a:solidFill>
                  <a:schemeClr val="tx1"/>
                </a:solidFill>
                <a:latin typeface="Arial" charset="0"/>
                <a:cs typeface="Arial" charset="0"/>
              </a:defRPr>
            </a:lvl4pPr>
            <a:lvl5pPr marL="746125" indent="-130175" defTabSz="895350">
              <a:buClr>
                <a:schemeClr val="tx2"/>
              </a:buClr>
              <a:buSzPct val="89000"/>
              <a:buFont typeface="Arial" charset="0"/>
              <a:buChar char="-"/>
              <a:defRPr sz="1600">
                <a:solidFill>
                  <a:schemeClr val="tx1"/>
                </a:solidFill>
                <a:latin typeface="Arial" charset="0"/>
                <a:cs typeface="Arial" charset="0"/>
              </a:defRPr>
            </a:lvl5pPr>
            <a:lvl6pPr marL="12033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cs typeface="Arial" charset="0"/>
              </a:defRPr>
            </a:lvl6pPr>
            <a:lvl7pPr marL="16605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cs typeface="Arial" charset="0"/>
              </a:defRPr>
            </a:lvl7pPr>
            <a:lvl8pPr marL="21177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cs typeface="Arial" charset="0"/>
              </a:defRPr>
            </a:lvl8pPr>
            <a:lvl9pPr marL="25749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cs typeface="Arial" charset="0"/>
              </a:defRPr>
            </a:lvl9pPr>
          </a:lstStyle>
          <a:p>
            <a:pPr algn="ctr"/>
            <a:r>
              <a:rPr lang="en-US" sz="1200" b="0">
                <a:solidFill>
                  <a:schemeClr val="bg1"/>
                </a:solidFill>
                <a:latin typeface="Arial"/>
                <a:cs typeface="Arial"/>
                <a:sym typeface="Arial"/>
              </a:rPr>
              <a:t>24</a:t>
            </a:r>
          </a:p>
        </p:txBody>
      </p:sp>
      <p:sp>
        <p:nvSpPr>
          <p:cNvPr id="107" name="Rectangle 35"/>
          <p:cNvSpPr>
            <a:spLocks noChangeArrowheads="1"/>
          </p:cNvSpPr>
          <p:nvPr>
            <p:custDataLst>
              <p:tags r:id="rId15"/>
            </p:custDataLst>
          </p:nvPr>
        </p:nvSpPr>
        <p:spPr bwMode="gray">
          <a:xfrm>
            <a:off x="3417888" y="2427288"/>
            <a:ext cx="506413" cy="1825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lvl1pPr defTabSz="895350">
              <a:buClr>
                <a:schemeClr val="tx2"/>
              </a:buClr>
              <a:defRPr sz="1600">
                <a:solidFill>
                  <a:schemeClr val="tx1"/>
                </a:solidFill>
                <a:latin typeface="Arial" charset="0"/>
                <a:cs typeface="Arial" charset="0"/>
              </a:defRPr>
            </a:lvl1pPr>
            <a:lvl2pPr marL="193675" indent="-192088" defTabSz="895350">
              <a:buClr>
                <a:schemeClr val="tx2"/>
              </a:buClr>
              <a:buSzPct val="125000"/>
              <a:buFont typeface="Arial" charset="0"/>
              <a:buChar char="▪"/>
              <a:defRPr sz="1600">
                <a:solidFill>
                  <a:schemeClr val="tx1"/>
                </a:solidFill>
                <a:latin typeface="Arial" charset="0"/>
                <a:cs typeface="Arial" charset="0"/>
              </a:defRPr>
            </a:lvl2pPr>
            <a:lvl3pPr marL="457200" indent="-261938" defTabSz="895350">
              <a:buClr>
                <a:schemeClr val="tx2"/>
              </a:buClr>
              <a:buSzPct val="120000"/>
              <a:buFont typeface="Arial" charset="0"/>
              <a:buChar char="–"/>
              <a:defRPr sz="1600">
                <a:solidFill>
                  <a:schemeClr val="tx1"/>
                </a:solidFill>
                <a:latin typeface="Arial" charset="0"/>
                <a:cs typeface="Arial" charset="0"/>
              </a:defRPr>
            </a:lvl3pPr>
            <a:lvl4pPr marL="614363" indent="-155575" defTabSz="895350">
              <a:buClr>
                <a:schemeClr val="tx2"/>
              </a:buClr>
              <a:buSzPct val="120000"/>
              <a:buFont typeface="Arial" charset="0"/>
              <a:buChar char="▫"/>
              <a:defRPr sz="1600">
                <a:solidFill>
                  <a:schemeClr val="tx1"/>
                </a:solidFill>
                <a:latin typeface="Arial" charset="0"/>
                <a:cs typeface="Arial" charset="0"/>
              </a:defRPr>
            </a:lvl4pPr>
            <a:lvl5pPr marL="746125" indent="-130175" defTabSz="895350">
              <a:buClr>
                <a:schemeClr val="tx2"/>
              </a:buClr>
              <a:buSzPct val="89000"/>
              <a:buFont typeface="Arial" charset="0"/>
              <a:buChar char="-"/>
              <a:defRPr sz="1600">
                <a:solidFill>
                  <a:schemeClr val="tx1"/>
                </a:solidFill>
                <a:latin typeface="Arial" charset="0"/>
                <a:cs typeface="Arial" charset="0"/>
              </a:defRPr>
            </a:lvl5pPr>
            <a:lvl6pPr marL="12033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cs typeface="Arial" charset="0"/>
              </a:defRPr>
            </a:lvl6pPr>
            <a:lvl7pPr marL="16605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cs typeface="Arial" charset="0"/>
              </a:defRPr>
            </a:lvl7pPr>
            <a:lvl8pPr marL="21177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cs typeface="Arial" charset="0"/>
              </a:defRPr>
            </a:lvl8pPr>
            <a:lvl9pPr marL="25749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cs typeface="Arial" charset="0"/>
              </a:defRPr>
            </a:lvl9pPr>
          </a:lstStyle>
          <a:p>
            <a:r>
              <a:rPr lang="en-US" sz="1200" b="0">
                <a:latin typeface="Arial"/>
                <a:cs typeface="Arial"/>
                <a:sym typeface="Arial"/>
              </a:rPr>
              <a:t>Entirely</a:t>
            </a:r>
          </a:p>
        </p:txBody>
      </p:sp>
      <p:sp>
        <p:nvSpPr>
          <p:cNvPr id="98" name="Rectangle 36"/>
          <p:cNvSpPr>
            <a:spLocks noChangeArrowheads="1"/>
          </p:cNvSpPr>
          <p:nvPr>
            <p:custDataLst>
              <p:tags r:id="rId16"/>
            </p:custDataLst>
          </p:nvPr>
        </p:nvSpPr>
        <p:spPr bwMode="gray">
          <a:xfrm>
            <a:off x="4987925" y="2427288"/>
            <a:ext cx="122238" cy="182563"/>
          </a:xfrm>
          <a:prstGeom prst="rect">
            <a:avLst/>
          </a:prstGeom>
          <a:solidFill>
            <a:schemeClr val="accent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9050" tIns="0" rIns="19050" bIns="0" anchor="ctr"/>
          <a:lstStyle>
            <a:lvl1pPr defTabSz="895350">
              <a:buClr>
                <a:schemeClr val="tx2"/>
              </a:buClr>
              <a:defRPr sz="1600">
                <a:solidFill>
                  <a:schemeClr val="tx1"/>
                </a:solidFill>
                <a:latin typeface="Arial" charset="0"/>
                <a:cs typeface="Arial" charset="0"/>
              </a:defRPr>
            </a:lvl1pPr>
            <a:lvl2pPr marL="193675" indent="-192088" defTabSz="895350">
              <a:buClr>
                <a:schemeClr val="tx2"/>
              </a:buClr>
              <a:buSzPct val="125000"/>
              <a:buFont typeface="Arial" charset="0"/>
              <a:buChar char="▪"/>
              <a:defRPr sz="1600">
                <a:solidFill>
                  <a:schemeClr val="tx1"/>
                </a:solidFill>
                <a:latin typeface="Arial" charset="0"/>
                <a:cs typeface="Arial" charset="0"/>
              </a:defRPr>
            </a:lvl2pPr>
            <a:lvl3pPr marL="457200" indent="-261938" defTabSz="895350">
              <a:buClr>
                <a:schemeClr val="tx2"/>
              </a:buClr>
              <a:buSzPct val="120000"/>
              <a:buFont typeface="Arial" charset="0"/>
              <a:buChar char="–"/>
              <a:defRPr sz="1600">
                <a:solidFill>
                  <a:schemeClr val="tx1"/>
                </a:solidFill>
                <a:latin typeface="Arial" charset="0"/>
                <a:cs typeface="Arial" charset="0"/>
              </a:defRPr>
            </a:lvl3pPr>
            <a:lvl4pPr marL="614363" indent="-155575" defTabSz="895350">
              <a:buClr>
                <a:schemeClr val="tx2"/>
              </a:buClr>
              <a:buSzPct val="120000"/>
              <a:buFont typeface="Arial" charset="0"/>
              <a:buChar char="▫"/>
              <a:defRPr sz="1600">
                <a:solidFill>
                  <a:schemeClr val="tx1"/>
                </a:solidFill>
                <a:latin typeface="Arial" charset="0"/>
                <a:cs typeface="Arial" charset="0"/>
              </a:defRPr>
            </a:lvl4pPr>
            <a:lvl5pPr marL="746125" indent="-130175" defTabSz="895350">
              <a:buClr>
                <a:schemeClr val="tx2"/>
              </a:buClr>
              <a:buSzPct val="89000"/>
              <a:buFont typeface="Arial" charset="0"/>
              <a:buChar char="-"/>
              <a:defRPr sz="1600">
                <a:solidFill>
                  <a:schemeClr val="tx1"/>
                </a:solidFill>
                <a:latin typeface="Arial" charset="0"/>
                <a:cs typeface="Arial" charset="0"/>
              </a:defRPr>
            </a:lvl5pPr>
            <a:lvl6pPr marL="12033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cs typeface="Arial" charset="0"/>
              </a:defRPr>
            </a:lvl6pPr>
            <a:lvl7pPr marL="16605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cs typeface="Arial" charset="0"/>
              </a:defRPr>
            </a:lvl7pPr>
            <a:lvl8pPr marL="21177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cs typeface="Arial" charset="0"/>
              </a:defRPr>
            </a:lvl8pPr>
            <a:lvl9pPr marL="25749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cs typeface="Arial" charset="0"/>
              </a:defRPr>
            </a:lvl9pPr>
          </a:lstStyle>
          <a:p>
            <a:pPr algn="ctr"/>
            <a:r>
              <a:rPr lang="en-US" sz="1200" b="0">
                <a:latin typeface="Arial"/>
                <a:cs typeface="Arial"/>
                <a:sym typeface="Arial"/>
              </a:rPr>
              <a:t>1</a:t>
            </a:r>
          </a:p>
        </p:txBody>
      </p:sp>
      <p:sp>
        <p:nvSpPr>
          <p:cNvPr id="109" name="Rectangle 27"/>
          <p:cNvSpPr>
            <a:spLocks noChangeArrowheads="1"/>
          </p:cNvSpPr>
          <p:nvPr>
            <p:custDataLst>
              <p:tags r:id="rId17"/>
            </p:custDataLst>
          </p:nvPr>
        </p:nvSpPr>
        <p:spPr bwMode="gray">
          <a:xfrm>
            <a:off x="4878388" y="3113088"/>
            <a:ext cx="206375" cy="1825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9050" tIns="0" rIns="19050" bIns="0" anchor="ctr"/>
          <a:lstStyle>
            <a:lvl1pPr defTabSz="895350">
              <a:buClr>
                <a:schemeClr val="tx2"/>
              </a:buClr>
              <a:defRPr sz="1600">
                <a:solidFill>
                  <a:schemeClr val="tx1"/>
                </a:solidFill>
                <a:latin typeface="Arial" charset="0"/>
                <a:cs typeface="Arial" charset="0"/>
              </a:defRPr>
            </a:lvl1pPr>
            <a:lvl2pPr marL="193675" indent="-192088" defTabSz="895350">
              <a:buClr>
                <a:schemeClr val="tx2"/>
              </a:buClr>
              <a:buSzPct val="125000"/>
              <a:buFont typeface="Arial" charset="0"/>
              <a:buChar char="▪"/>
              <a:defRPr sz="1600">
                <a:solidFill>
                  <a:schemeClr val="tx1"/>
                </a:solidFill>
                <a:latin typeface="Arial" charset="0"/>
                <a:cs typeface="Arial" charset="0"/>
              </a:defRPr>
            </a:lvl2pPr>
            <a:lvl3pPr marL="457200" indent="-261938" defTabSz="895350">
              <a:buClr>
                <a:schemeClr val="tx2"/>
              </a:buClr>
              <a:buSzPct val="120000"/>
              <a:buFont typeface="Arial" charset="0"/>
              <a:buChar char="–"/>
              <a:defRPr sz="1600">
                <a:solidFill>
                  <a:schemeClr val="tx1"/>
                </a:solidFill>
                <a:latin typeface="Arial" charset="0"/>
                <a:cs typeface="Arial" charset="0"/>
              </a:defRPr>
            </a:lvl3pPr>
            <a:lvl4pPr marL="614363" indent="-155575" defTabSz="895350">
              <a:buClr>
                <a:schemeClr val="tx2"/>
              </a:buClr>
              <a:buSzPct val="120000"/>
              <a:buFont typeface="Arial" charset="0"/>
              <a:buChar char="▫"/>
              <a:defRPr sz="1600">
                <a:solidFill>
                  <a:schemeClr val="tx1"/>
                </a:solidFill>
                <a:latin typeface="Arial" charset="0"/>
                <a:cs typeface="Arial" charset="0"/>
              </a:defRPr>
            </a:lvl4pPr>
            <a:lvl5pPr marL="746125" indent="-130175" defTabSz="895350">
              <a:buClr>
                <a:schemeClr val="tx2"/>
              </a:buClr>
              <a:buSzPct val="89000"/>
              <a:buFont typeface="Arial" charset="0"/>
              <a:buChar char="-"/>
              <a:defRPr sz="1600">
                <a:solidFill>
                  <a:schemeClr val="tx1"/>
                </a:solidFill>
                <a:latin typeface="Arial" charset="0"/>
                <a:cs typeface="Arial" charset="0"/>
              </a:defRPr>
            </a:lvl5pPr>
            <a:lvl6pPr marL="12033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cs typeface="Arial" charset="0"/>
              </a:defRPr>
            </a:lvl6pPr>
            <a:lvl7pPr marL="16605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cs typeface="Arial" charset="0"/>
              </a:defRPr>
            </a:lvl7pPr>
            <a:lvl8pPr marL="21177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cs typeface="Arial" charset="0"/>
              </a:defRPr>
            </a:lvl8pPr>
            <a:lvl9pPr marL="25749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cs typeface="Arial" charset="0"/>
              </a:defRPr>
            </a:lvl9pPr>
          </a:lstStyle>
          <a:p>
            <a:pPr algn="ctr"/>
            <a:r>
              <a:rPr lang="en-US" sz="1200" b="0">
                <a:solidFill>
                  <a:schemeClr val="bg1"/>
                </a:solidFill>
                <a:latin typeface="Arial"/>
                <a:cs typeface="Arial"/>
                <a:sym typeface="Arial"/>
              </a:rPr>
              <a:t>58</a:t>
            </a:r>
          </a:p>
        </p:txBody>
      </p:sp>
      <p:sp>
        <p:nvSpPr>
          <p:cNvPr id="111" name="Rectangle 31"/>
          <p:cNvSpPr>
            <a:spLocks noChangeArrowheads="1"/>
          </p:cNvSpPr>
          <p:nvPr>
            <p:custDataLst>
              <p:tags r:id="rId18"/>
            </p:custDataLst>
          </p:nvPr>
        </p:nvSpPr>
        <p:spPr bwMode="gray">
          <a:xfrm>
            <a:off x="4616450" y="2770188"/>
            <a:ext cx="122238" cy="182563"/>
          </a:xfrm>
          <a:prstGeom prst="rect">
            <a:avLst/>
          </a:prstGeom>
          <a:solidFill>
            <a:schemeClr val="accent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9050" tIns="0" rIns="19050" bIns="0" anchor="ctr"/>
          <a:lstStyle>
            <a:lvl1pPr defTabSz="895350">
              <a:buClr>
                <a:schemeClr val="tx2"/>
              </a:buClr>
              <a:defRPr sz="1600">
                <a:solidFill>
                  <a:schemeClr val="tx1"/>
                </a:solidFill>
                <a:latin typeface="Arial" charset="0"/>
                <a:cs typeface="Arial" charset="0"/>
              </a:defRPr>
            </a:lvl1pPr>
            <a:lvl2pPr marL="193675" indent="-192088" defTabSz="895350">
              <a:buClr>
                <a:schemeClr val="tx2"/>
              </a:buClr>
              <a:buSzPct val="125000"/>
              <a:buFont typeface="Arial" charset="0"/>
              <a:buChar char="▪"/>
              <a:defRPr sz="1600">
                <a:solidFill>
                  <a:schemeClr val="tx1"/>
                </a:solidFill>
                <a:latin typeface="Arial" charset="0"/>
                <a:cs typeface="Arial" charset="0"/>
              </a:defRPr>
            </a:lvl2pPr>
            <a:lvl3pPr marL="457200" indent="-261938" defTabSz="895350">
              <a:buClr>
                <a:schemeClr val="tx2"/>
              </a:buClr>
              <a:buSzPct val="120000"/>
              <a:buFont typeface="Arial" charset="0"/>
              <a:buChar char="–"/>
              <a:defRPr sz="1600">
                <a:solidFill>
                  <a:schemeClr val="tx1"/>
                </a:solidFill>
                <a:latin typeface="Arial" charset="0"/>
                <a:cs typeface="Arial" charset="0"/>
              </a:defRPr>
            </a:lvl3pPr>
            <a:lvl4pPr marL="614363" indent="-155575" defTabSz="895350">
              <a:buClr>
                <a:schemeClr val="tx2"/>
              </a:buClr>
              <a:buSzPct val="120000"/>
              <a:buFont typeface="Arial" charset="0"/>
              <a:buChar char="▫"/>
              <a:defRPr sz="1600">
                <a:solidFill>
                  <a:schemeClr val="tx1"/>
                </a:solidFill>
                <a:latin typeface="Arial" charset="0"/>
                <a:cs typeface="Arial" charset="0"/>
              </a:defRPr>
            </a:lvl4pPr>
            <a:lvl5pPr marL="746125" indent="-130175" defTabSz="895350">
              <a:buClr>
                <a:schemeClr val="tx2"/>
              </a:buClr>
              <a:buSzPct val="89000"/>
              <a:buFont typeface="Arial" charset="0"/>
              <a:buChar char="-"/>
              <a:defRPr sz="1600">
                <a:solidFill>
                  <a:schemeClr val="tx1"/>
                </a:solidFill>
                <a:latin typeface="Arial" charset="0"/>
                <a:cs typeface="Arial" charset="0"/>
              </a:defRPr>
            </a:lvl5pPr>
            <a:lvl6pPr marL="12033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cs typeface="Arial" charset="0"/>
              </a:defRPr>
            </a:lvl6pPr>
            <a:lvl7pPr marL="16605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cs typeface="Arial" charset="0"/>
              </a:defRPr>
            </a:lvl7pPr>
            <a:lvl8pPr marL="21177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cs typeface="Arial" charset="0"/>
              </a:defRPr>
            </a:lvl8pPr>
            <a:lvl9pPr marL="25749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cs typeface="Arial" charset="0"/>
              </a:defRPr>
            </a:lvl9pPr>
          </a:lstStyle>
          <a:p>
            <a:pPr algn="ctr"/>
            <a:r>
              <a:rPr lang="en-US" sz="1200" b="0">
                <a:latin typeface="Arial"/>
                <a:cs typeface="Arial"/>
                <a:sym typeface="Arial"/>
              </a:rPr>
              <a:t>1</a:t>
            </a:r>
          </a:p>
        </p:txBody>
      </p:sp>
      <p:sp>
        <p:nvSpPr>
          <p:cNvPr id="110" name="Text Placeholder 3"/>
          <p:cNvSpPr>
            <a:spLocks noGrp="1"/>
          </p:cNvSpPr>
          <p:nvPr>
            <p:custDataLst>
              <p:tags r:id="rId19"/>
            </p:custDataLst>
          </p:nvPr>
        </p:nvSpPr>
        <p:spPr bwMode="gray">
          <a:xfrm>
            <a:off x="5911850" y="3113088"/>
            <a:ext cx="122238" cy="182563"/>
          </a:xfrm>
          <a:prstGeom prst="rect">
            <a:avLst/>
          </a:prstGeom>
          <a:solidFill>
            <a:schemeClr val="tx2"/>
          </a:solid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9050" tIns="0" rIns="19050" bIns="0" numCol="1" anchor="ctr" anchorCtr="0" compatLnSpc="1">
            <a:prstTxWarp prst="textNoShape">
              <a:avLst/>
            </a:prstTxWarp>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Arial Unicode MS" pitchFamily="34" charset="-128"/>
                <a:cs typeface="Arial Unicode MS" pitchFamily="34" charset="-128"/>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ea typeface="Arial Unicode MS" pitchFamily="34" charset="-128"/>
                <a:cs typeface="Arial Unicode MS" pitchFamily="34" charset="-128"/>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ea typeface="Arial Unicode MS" pitchFamily="34" charset="-128"/>
                <a:cs typeface="Arial Unicode MS" pitchFamily="34" charset="-128"/>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ctr"/>
            <a:fld id="{952822BA-38F8-4EA6-ACC4-AE6B3821BFE3}" type="datetime'''''''''''''''''''''''3'''''''''''''''''''''''''''">
              <a:rPr lang="en-US" altLang="en-US" sz="1200">
                <a:solidFill>
                  <a:schemeClr val="bg1"/>
                </a:solidFill>
                <a:cs typeface="Arial" panose="020B0604020202020204" pitchFamily="34" charset="0"/>
              </a:rPr>
              <a:pPr/>
              <a:t>3</a:t>
            </a:fld>
            <a:endParaRPr lang="en-US" sz="1200">
              <a:solidFill>
                <a:schemeClr val="bg1"/>
              </a:solidFill>
              <a:latin typeface="Arial"/>
              <a:cs typeface="Arial" panose="020B0604020202020204" pitchFamily="34" charset="0"/>
              <a:sym typeface="Arial"/>
            </a:endParaRPr>
          </a:p>
        </p:txBody>
      </p:sp>
      <p:sp>
        <p:nvSpPr>
          <p:cNvPr id="105" name="Rectangle 32"/>
          <p:cNvSpPr>
            <a:spLocks noChangeArrowheads="1"/>
          </p:cNvSpPr>
          <p:nvPr>
            <p:custDataLst>
              <p:tags r:id="rId20"/>
            </p:custDataLst>
          </p:nvPr>
        </p:nvSpPr>
        <p:spPr bwMode="gray">
          <a:xfrm>
            <a:off x="4941888" y="2770188"/>
            <a:ext cx="206375" cy="1825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9050" tIns="0" rIns="19050" bIns="0" anchor="ctr"/>
          <a:lstStyle>
            <a:lvl1pPr defTabSz="895350">
              <a:buClr>
                <a:schemeClr val="tx2"/>
              </a:buClr>
              <a:defRPr sz="1600">
                <a:solidFill>
                  <a:schemeClr val="tx1"/>
                </a:solidFill>
                <a:latin typeface="Arial" charset="0"/>
                <a:cs typeface="Arial" charset="0"/>
              </a:defRPr>
            </a:lvl1pPr>
            <a:lvl2pPr marL="193675" indent="-192088" defTabSz="895350">
              <a:buClr>
                <a:schemeClr val="tx2"/>
              </a:buClr>
              <a:buSzPct val="125000"/>
              <a:buFont typeface="Arial" charset="0"/>
              <a:buChar char="▪"/>
              <a:defRPr sz="1600">
                <a:solidFill>
                  <a:schemeClr val="tx1"/>
                </a:solidFill>
                <a:latin typeface="Arial" charset="0"/>
                <a:cs typeface="Arial" charset="0"/>
              </a:defRPr>
            </a:lvl2pPr>
            <a:lvl3pPr marL="457200" indent="-261938" defTabSz="895350">
              <a:buClr>
                <a:schemeClr val="tx2"/>
              </a:buClr>
              <a:buSzPct val="120000"/>
              <a:buFont typeface="Arial" charset="0"/>
              <a:buChar char="–"/>
              <a:defRPr sz="1600">
                <a:solidFill>
                  <a:schemeClr val="tx1"/>
                </a:solidFill>
                <a:latin typeface="Arial" charset="0"/>
                <a:cs typeface="Arial" charset="0"/>
              </a:defRPr>
            </a:lvl3pPr>
            <a:lvl4pPr marL="614363" indent="-155575" defTabSz="895350">
              <a:buClr>
                <a:schemeClr val="tx2"/>
              </a:buClr>
              <a:buSzPct val="120000"/>
              <a:buFont typeface="Arial" charset="0"/>
              <a:buChar char="▫"/>
              <a:defRPr sz="1600">
                <a:solidFill>
                  <a:schemeClr val="tx1"/>
                </a:solidFill>
                <a:latin typeface="Arial" charset="0"/>
                <a:cs typeface="Arial" charset="0"/>
              </a:defRPr>
            </a:lvl4pPr>
            <a:lvl5pPr marL="746125" indent="-130175" defTabSz="895350">
              <a:buClr>
                <a:schemeClr val="tx2"/>
              </a:buClr>
              <a:buSzPct val="89000"/>
              <a:buFont typeface="Arial" charset="0"/>
              <a:buChar char="-"/>
              <a:defRPr sz="1600">
                <a:solidFill>
                  <a:schemeClr val="tx1"/>
                </a:solidFill>
                <a:latin typeface="Arial" charset="0"/>
                <a:cs typeface="Arial" charset="0"/>
              </a:defRPr>
            </a:lvl5pPr>
            <a:lvl6pPr marL="12033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cs typeface="Arial" charset="0"/>
              </a:defRPr>
            </a:lvl6pPr>
            <a:lvl7pPr marL="16605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cs typeface="Arial" charset="0"/>
              </a:defRPr>
            </a:lvl7pPr>
            <a:lvl8pPr marL="21177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cs typeface="Arial" charset="0"/>
              </a:defRPr>
            </a:lvl8pPr>
            <a:lvl9pPr marL="25749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cs typeface="Arial" charset="0"/>
              </a:defRPr>
            </a:lvl9pPr>
          </a:lstStyle>
          <a:p>
            <a:pPr algn="ctr"/>
            <a:r>
              <a:rPr lang="en-US" sz="1200" b="0">
                <a:solidFill>
                  <a:schemeClr val="bg1"/>
                </a:solidFill>
                <a:latin typeface="Arial"/>
                <a:cs typeface="Arial"/>
                <a:sym typeface="Arial"/>
              </a:rPr>
              <a:t>49</a:t>
            </a:r>
          </a:p>
        </p:txBody>
      </p:sp>
      <p:sp>
        <p:nvSpPr>
          <p:cNvPr id="99" name="Rectangle 24"/>
          <p:cNvSpPr>
            <a:spLocks noChangeArrowheads="1"/>
          </p:cNvSpPr>
          <p:nvPr>
            <p:custDataLst>
              <p:tags r:id="rId21"/>
            </p:custDataLst>
          </p:nvPr>
        </p:nvSpPr>
        <p:spPr bwMode="gray">
          <a:xfrm>
            <a:off x="5676900" y="3455988"/>
            <a:ext cx="122238" cy="182563"/>
          </a:xfrm>
          <a:prstGeom prst="rect">
            <a:avLst/>
          </a:prstGeom>
          <a:solidFill>
            <a:schemeClr val="tx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9050" tIns="0" rIns="19050" bIns="0" anchor="ctr"/>
          <a:lstStyle>
            <a:lvl1pPr defTabSz="895350">
              <a:buClr>
                <a:schemeClr val="tx2"/>
              </a:buClr>
              <a:defRPr sz="1600">
                <a:solidFill>
                  <a:schemeClr val="tx1"/>
                </a:solidFill>
                <a:latin typeface="Arial" charset="0"/>
                <a:cs typeface="Arial" charset="0"/>
              </a:defRPr>
            </a:lvl1pPr>
            <a:lvl2pPr marL="193675" indent="-192088" defTabSz="895350">
              <a:buClr>
                <a:schemeClr val="tx2"/>
              </a:buClr>
              <a:buSzPct val="125000"/>
              <a:buFont typeface="Arial" charset="0"/>
              <a:buChar char="▪"/>
              <a:defRPr sz="1600">
                <a:solidFill>
                  <a:schemeClr val="tx1"/>
                </a:solidFill>
                <a:latin typeface="Arial" charset="0"/>
                <a:cs typeface="Arial" charset="0"/>
              </a:defRPr>
            </a:lvl2pPr>
            <a:lvl3pPr marL="457200" indent="-261938" defTabSz="895350">
              <a:buClr>
                <a:schemeClr val="tx2"/>
              </a:buClr>
              <a:buSzPct val="120000"/>
              <a:buFont typeface="Arial" charset="0"/>
              <a:buChar char="–"/>
              <a:defRPr sz="1600">
                <a:solidFill>
                  <a:schemeClr val="tx1"/>
                </a:solidFill>
                <a:latin typeface="Arial" charset="0"/>
                <a:cs typeface="Arial" charset="0"/>
              </a:defRPr>
            </a:lvl3pPr>
            <a:lvl4pPr marL="614363" indent="-155575" defTabSz="895350">
              <a:buClr>
                <a:schemeClr val="tx2"/>
              </a:buClr>
              <a:buSzPct val="120000"/>
              <a:buFont typeface="Arial" charset="0"/>
              <a:buChar char="▫"/>
              <a:defRPr sz="1600">
                <a:solidFill>
                  <a:schemeClr val="tx1"/>
                </a:solidFill>
                <a:latin typeface="Arial" charset="0"/>
                <a:cs typeface="Arial" charset="0"/>
              </a:defRPr>
            </a:lvl4pPr>
            <a:lvl5pPr marL="746125" indent="-130175" defTabSz="895350">
              <a:buClr>
                <a:schemeClr val="tx2"/>
              </a:buClr>
              <a:buSzPct val="89000"/>
              <a:buFont typeface="Arial" charset="0"/>
              <a:buChar char="-"/>
              <a:defRPr sz="1600">
                <a:solidFill>
                  <a:schemeClr val="tx1"/>
                </a:solidFill>
                <a:latin typeface="Arial" charset="0"/>
                <a:cs typeface="Arial" charset="0"/>
              </a:defRPr>
            </a:lvl5pPr>
            <a:lvl6pPr marL="12033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cs typeface="Arial" charset="0"/>
              </a:defRPr>
            </a:lvl6pPr>
            <a:lvl7pPr marL="16605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cs typeface="Arial" charset="0"/>
              </a:defRPr>
            </a:lvl7pPr>
            <a:lvl8pPr marL="21177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cs typeface="Arial" charset="0"/>
              </a:defRPr>
            </a:lvl8pPr>
            <a:lvl9pPr marL="25749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cs typeface="Arial" charset="0"/>
              </a:defRPr>
            </a:lvl9pPr>
          </a:lstStyle>
          <a:p>
            <a:pPr algn="ctr"/>
            <a:fld id="{611051FC-15B6-41A6-87D1-87D4E1D27437}" type="datetime'''''''''''''''''''''''''''''''''''''''''''''1'''''''''''''">
              <a:rPr lang="en-US" altLang="en-US" sz="1200">
                <a:solidFill>
                  <a:schemeClr val="bg1"/>
                </a:solidFill>
              </a:rPr>
              <a:pPr/>
              <a:t>1</a:t>
            </a:fld>
            <a:endParaRPr lang="en-US" sz="1200">
              <a:solidFill>
                <a:schemeClr val="bg1"/>
              </a:solidFill>
              <a:latin typeface="Arial"/>
              <a:cs typeface="Arial"/>
              <a:sym typeface="Arial"/>
            </a:endParaRPr>
          </a:p>
        </p:txBody>
      </p:sp>
      <p:sp>
        <p:nvSpPr>
          <p:cNvPr id="108" name="Rectangle 25"/>
          <p:cNvSpPr>
            <a:spLocks noChangeArrowheads="1"/>
          </p:cNvSpPr>
          <p:nvPr>
            <p:custDataLst>
              <p:tags r:id="rId22"/>
            </p:custDataLst>
          </p:nvPr>
        </p:nvSpPr>
        <p:spPr bwMode="gray">
          <a:xfrm>
            <a:off x="3417888" y="3113088"/>
            <a:ext cx="717550" cy="1825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lvl1pPr defTabSz="895350">
              <a:buClr>
                <a:schemeClr val="tx2"/>
              </a:buClr>
              <a:defRPr sz="1600">
                <a:solidFill>
                  <a:schemeClr val="tx1"/>
                </a:solidFill>
                <a:latin typeface="Arial" charset="0"/>
                <a:cs typeface="Arial" charset="0"/>
              </a:defRPr>
            </a:lvl1pPr>
            <a:lvl2pPr marL="193675" indent="-192088" defTabSz="895350">
              <a:buClr>
                <a:schemeClr val="tx2"/>
              </a:buClr>
              <a:buSzPct val="125000"/>
              <a:buFont typeface="Arial" charset="0"/>
              <a:buChar char="▪"/>
              <a:defRPr sz="1600">
                <a:solidFill>
                  <a:schemeClr val="tx1"/>
                </a:solidFill>
                <a:latin typeface="Arial" charset="0"/>
                <a:cs typeface="Arial" charset="0"/>
              </a:defRPr>
            </a:lvl2pPr>
            <a:lvl3pPr marL="457200" indent="-261938" defTabSz="895350">
              <a:buClr>
                <a:schemeClr val="tx2"/>
              </a:buClr>
              <a:buSzPct val="120000"/>
              <a:buFont typeface="Arial" charset="0"/>
              <a:buChar char="–"/>
              <a:defRPr sz="1600">
                <a:solidFill>
                  <a:schemeClr val="tx1"/>
                </a:solidFill>
                <a:latin typeface="Arial" charset="0"/>
                <a:cs typeface="Arial" charset="0"/>
              </a:defRPr>
            </a:lvl3pPr>
            <a:lvl4pPr marL="614363" indent="-155575" defTabSz="895350">
              <a:buClr>
                <a:schemeClr val="tx2"/>
              </a:buClr>
              <a:buSzPct val="120000"/>
              <a:buFont typeface="Arial" charset="0"/>
              <a:buChar char="▫"/>
              <a:defRPr sz="1600">
                <a:solidFill>
                  <a:schemeClr val="tx1"/>
                </a:solidFill>
                <a:latin typeface="Arial" charset="0"/>
                <a:cs typeface="Arial" charset="0"/>
              </a:defRPr>
            </a:lvl4pPr>
            <a:lvl5pPr marL="746125" indent="-130175" defTabSz="895350">
              <a:buClr>
                <a:schemeClr val="tx2"/>
              </a:buClr>
              <a:buSzPct val="89000"/>
              <a:buFont typeface="Arial" charset="0"/>
              <a:buChar char="-"/>
              <a:defRPr sz="1600">
                <a:solidFill>
                  <a:schemeClr val="tx1"/>
                </a:solidFill>
                <a:latin typeface="Arial" charset="0"/>
                <a:cs typeface="Arial" charset="0"/>
              </a:defRPr>
            </a:lvl5pPr>
            <a:lvl6pPr marL="12033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cs typeface="Arial" charset="0"/>
              </a:defRPr>
            </a:lvl6pPr>
            <a:lvl7pPr marL="16605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cs typeface="Arial" charset="0"/>
              </a:defRPr>
            </a:lvl7pPr>
            <a:lvl8pPr marL="21177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cs typeface="Arial" charset="0"/>
              </a:defRPr>
            </a:lvl8pPr>
            <a:lvl9pPr marL="25749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cs typeface="Arial" charset="0"/>
              </a:defRPr>
            </a:lvl9pPr>
          </a:lstStyle>
          <a:p>
            <a:r>
              <a:rPr lang="en-US" sz="1200" b="0">
                <a:latin typeface="Arial"/>
                <a:cs typeface="Arial"/>
                <a:sym typeface="Arial"/>
              </a:rPr>
              <a:t>Somewhat</a:t>
            </a:r>
          </a:p>
        </p:txBody>
      </p:sp>
      <p:sp>
        <p:nvSpPr>
          <p:cNvPr id="106" name="Rectangle 26"/>
          <p:cNvSpPr>
            <a:spLocks noChangeArrowheads="1"/>
          </p:cNvSpPr>
          <p:nvPr>
            <p:custDataLst>
              <p:tags r:id="rId23"/>
            </p:custDataLst>
          </p:nvPr>
        </p:nvSpPr>
        <p:spPr bwMode="gray">
          <a:xfrm>
            <a:off x="4467225" y="3113088"/>
            <a:ext cx="122238" cy="182563"/>
          </a:xfrm>
          <a:prstGeom prst="rect">
            <a:avLst/>
          </a:prstGeom>
          <a:solidFill>
            <a:schemeClr val="accent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9050" tIns="0" rIns="19050" bIns="0" anchor="ctr"/>
          <a:lstStyle>
            <a:lvl1pPr defTabSz="895350">
              <a:buClr>
                <a:schemeClr val="tx2"/>
              </a:buClr>
              <a:defRPr sz="1600">
                <a:solidFill>
                  <a:schemeClr val="tx1"/>
                </a:solidFill>
                <a:latin typeface="Arial" charset="0"/>
                <a:cs typeface="Arial" charset="0"/>
              </a:defRPr>
            </a:lvl1pPr>
            <a:lvl2pPr marL="193675" indent="-192088" defTabSz="895350">
              <a:buClr>
                <a:schemeClr val="tx2"/>
              </a:buClr>
              <a:buSzPct val="125000"/>
              <a:buFont typeface="Arial" charset="0"/>
              <a:buChar char="▪"/>
              <a:defRPr sz="1600">
                <a:solidFill>
                  <a:schemeClr val="tx1"/>
                </a:solidFill>
                <a:latin typeface="Arial" charset="0"/>
                <a:cs typeface="Arial" charset="0"/>
              </a:defRPr>
            </a:lvl2pPr>
            <a:lvl3pPr marL="457200" indent="-261938" defTabSz="895350">
              <a:buClr>
                <a:schemeClr val="tx2"/>
              </a:buClr>
              <a:buSzPct val="120000"/>
              <a:buFont typeface="Arial" charset="0"/>
              <a:buChar char="–"/>
              <a:defRPr sz="1600">
                <a:solidFill>
                  <a:schemeClr val="tx1"/>
                </a:solidFill>
                <a:latin typeface="Arial" charset="0"/>
                <a:cs typeface="Arial" charset="0"/>
              </a:defRPr>
            </a:lvl3pPr>
            <a:lvl4pPr marL="614363" indent="-155575" defTabSz="895350">
              <a:buClr>
                <a:schemeClr val="tx2"/>
              </a:buClr>
              <a:buSzPct val="120000"/>
              <a:buFont typeface="Arial" charset="0"/>
              <a:buChar char="▫"/>
              <a:defRPr sz="1600">
                <a:solidFill>
                  <a:schemeClr val="tx1"/>
                </a:solidFill>
                <a:latin typeface="Arial" charset="0"/>
                <a:cs typeface="Arial" charset="0"/>
              </a:defRPr>
            </a:lvl4pPr>
            <a:lvl5pPr marL="746125" indent="-130175" defTabSz="895350">
              <a:buClr>
                <a:schemeClr val="tx2"/>
              </a:buClr>
              <a:buSzPct val="89000"/>
              <a:buFont typeface="Arial" charset="0"/>
              <a:buChar char="-"/>
              <a:defRPr sz="1600">
                <a:solidFill>
                  <a:schemeClr val="tx1"/>
                </a:solidFill>
                <a:latin typeface="Arial" charset="0"/>
                <a:cs typeface="Arial" charset="0"/>
              </a:defRPr>
            </a:lvl5pPr>
            <a:lvl6pPr marL="12033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cs typeface="Arial" charset="0"/>
              </a:defRPr>
            </a:lvl6pPr>
            <a:lvl7pPr marL="16605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cs typeface="Arial" charset="0"/>
              </a:defRPr>
            </a:lvl7pPr>
            <a:lvl8pPr marL="21177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cs typeface="Arial" charset="0"/>
              </a:defRPr>
            </a:lvl8pPr>
            <a:lvl9pPr marL="25749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cs typeface="Arial" charset="0"/>
              </a:defRPr>
            </a:lvl9pPr>
          </a:lstStyle>
          <a:p>
            <a:pPr algn="ctr"/>
            <a:r>
              <a:rPr lang="en-US" sz="1200" b="0">
                <a:latin typeface="Arial"/>
                <a:cs typeface="Arial"/>
                <a:sym typeface="Arial"/>
              </a:rPr>
              <a:t>3</a:t>
            </a:r>
          </a:p>
        </p:txBody>
      </p:sp>
      <p:sp>
        <p:nvSpPr>
          <p:cNvPr id="104" name="Rectangle 30"/>
          <p:cNvSpPr>
            <a:spLocks noChangeArrowheads="1"/>
          </p:cNvSpPr>
          <p:nvPr>
            <p:custDataLst>
              <p:tags r:id="rId24"/>
            </p:custDataLst>
          </p:nvPr>
        </p:nvSpPr>
        <p:spPr bwMode="gray">
          <a:xfrm>
            <a:off x="3417888" y="2770188"/>
            <a:ext cx="304800" cy="1825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lvl1pPr defTabSz="895350">
              <a:buClr>
                <a:schemeClr val="tx2"/>
              </a:buClr>
              <a:defRPr sz="1600">
                <a:solidFill>
                  <a:schemeClr val="tx1"/>
                </a:solidFill>
                <a:latin typeface="Arial" charset="0"/>
                <a:cs typeface="Arial" charset="0"/>
              </a:defRPr>
            </a:lvl1pPr>
            <a:lvl2pPr marL="193675" indent="-192088" defTabSz="895350">
              <a:buClr>
                <a:schemeClr val="tx2"/>
              </a:buClr>
              <a:buSzPct val="125000"/>
              <a:buFont typeface="Arial" charset="0"/>
              <a:buChar char="▪"/>
              <a:defRPr sz="1600">
                <a:solidFill>
                  <a:schemeClr val="tx1"/>
                </a:solidFill>
                <a:latin typeface="Arial" charset="0"/>
                <a:cs typeface="Arial" charset="0"/>
              </a:defRPr>
            </a:lvl2pPr>
            <a:lvl3pPr marL="457200" indent="-261938" defTabSz="895350">
              <a:buClr>
                <a:schemeClr val="tx2"/>
              </a:buClr>
              <a:buSzPct val="120000"/>
              <a:buFont typeface="Arial" charset="0"/>
              <a:buChar char="–"/>
              <a:defRPr sz="1600">
                <a:solidFill>
                  <a:schemeClr val="tx1"/>
                </a:solidFill>
                <a:latin typeface="Arial" charset="0"/>
                <a:cs typeface="Arial" charset="0"/>
              </a:defRPr>
            </a:lvl3pPr>
            <a:lvl4pPr marL="614363" indent="-155575" defTabSz="895350">
              <a:buClr>
                <a:schemeClr val="tx2"/>
              </a:buClr>
              <a:buSzPct val="120000"/>
              <a:buFont typeface="Arial" charset="0"/>
              <a:buChar char="▫"/>
              <a:defRPr sz="1600">
                <a:solidFill>
                  <a:schemeClr val="tx1"/>
                </a:solidFill>
                <a:latin typeface="Arial" charset="0"/>
                <a:cs typeface="Arial" charset="0"/>
              </a:defRPr>
            </a:lvl4pPr>
            <a:lvl5pPr marL="746125" indent="-130175" defTabSz="895350">
              <a:buClr>
                <a:schemeClr val="tx2"/>
              </a:buClr>
              <a:buSzPct val="89000"/>
              <a:buFont typeface="Arial" charset="0"/>
              <a:buChar char="-"/>
              <a:defRPr sz="1600">
                <a:solidFill>
                  <a:schemeClr val="tx1"/>
                </a:solidFill>
                <a:latin typeface="Arial" charset="0"/>
                <a:cs typeface="Arial" charset="0"/>
              </a:defRPr>
            </a:lvl5pPr>
            <a:lvl6pPr marL="12033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cs typeface="Arial" charset="0"/>
              </a:defRPr>
            </a:lvl6pPr>
            <a:lvl7pPr marL="16605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cs typeface="Arial" charset="0"/>
              </a:defRPr>
            </a:lvl7pPr>
            <a:lvl8pPr marL="21177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cs typeface="Arial" charset="0"/>
              </a:defRPr>
            </a:lvl8pPr>
            <a:lvl9pPr marL="25749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cs typeface="Arial" charset="0"/>
              </a:defRPr>
            </a:lvl9pPr>
          </a:lstStyle>
          <a:p>
            <a:r>
              <a:rPr lang="en-US" sz="1200" b="0">
                <a:latin typeface="Arial"/>
                <a:cs typeface="Arial"/>
                <a:sym typeface="Arial"/>
              </a:rPr>
              <a:t>Very</a:t>
            </a:r>
          </a:p>
        </p:txBody>
      </p:sp>
      <p:sp>
        <p:nvSpPr>
          <p:cNvPr id="117" name="Rectangle 44"/>
          <p:cNvSpPr>
            <a:spLocks noChangeArrowheads="1"/>
          </p:cNvSpPr>
          <p:nvPr/>
        </p:nvSpPr>
        <p:spPr bwMode="gray">
          <a:xfrm>
            <a:off x="5809861" y="1770235"/>
            <a:ext cx="2093533"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buClr>
                <a:schemeClr val="tx2"/>
              </a:buClr>
              <a:defRPr sz="1600">
                <a:solidFill>
                  <a:schemeClr val="tx1"/>
                </a:solidFill>
                <a:latin typeface="Arial" charset="0"/>
                <a:cs typeface="Arial" charset="0"/>
              </a:defRPr>
            </a:lvl1pPr>
            <a:lvl2pPr marL="193675" indent="-192088" defTabSz="895350">
              <a:buClr>
                <a:schemeClr val="tx2"/>
              </a:buClr>
              <a:buSzPct val="125000"/>
              <a:buFont typeface="Arial" charset="0"/>
              <a:buChar char="▪"/>
              <a:defRPr sz="1600">
                <a:solidFill>
                  <a:schemeClr val="tx1"/>
                </a:solidFill>
                <a:latin typeface="Arial" charset="0"/>
                <a:cs typeface="Arial" charset="0"/>
              </a:defRPr>
            </a:lvl2pPr>
            <a:lvl3pPr marL="457200" indent="-261938" defTabSz="895350">
              <a:buClr>
                <a:schemeClr val="tx2"/>
              </a:buClr>
              <a:buSzPct val="120000"/>
              <a:buFont typeface="Arial" charset="0"/>
              <a:buChar char="–"/>
              <a:defRPr sz="1600">
                <a:solidFill>
                  <a:schemeClr val="tx1"/>
                </a:solidFill>
                <a:latin typeface="Arial" charset="0"/>
                <a:cs typeface="Arial" charset="0"/>
              </a:defRPr>
            </a:lvl3pPr>
            <a:lvl4pPr marL="614363" indent="-155575" defTabSz="895350">
              <a:buClr>
                <a:schemeClr val="tx2"/>
              </a:buClr>
              <a:buSzPct val="120000"/>
              <a:buFont typeface="Arial" charset="0"/>
              <a:buChar char="▫"/>
              <a:defRPr sz="1600">
                <a:solidFill>
                  <a:schemeClr val="tx1"/>
                </a:solidFill>
                <a:latin typeface="Arial" charset="0"/>
                <a:cs typeface="Arial" charset="0"/>
              </a:defRPr>
            </a:lvl4pPr>
            <a:lvl5pPr marL="746125" indent="-130175" defTabSz="895350">
              <a:buClr>
                <a:schemeClr val="tx2"/>
              </a:buClr>
              <a:buSzPct val="89000"/>
              <a:buFont typeface="Arial" charset="0"/>
              <a:buChar char="-"/>
              <a:defRPr sz="1600">
                <a:solidFill>
                  <a:schemeClr val="tx1"/>
                </a:solidFill>
                <a:latin typeface="Arial" charset="0"/>
                <a:cs typeface="Arial" charset="0"/>
              </a:defRPr>
            </a:lvl5pPr>
            <a:lvl6pPr marL="12033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cs typeface="Arial" charset="0"/>
              </a:defRPr>
            </a:lvl6pPr>
            <a:lvl7pPr marL="16605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cs typeface="Arial" charset="0"/>
              </a:defRPr>
            </a:lvl7pPr>
            <a:lvl8pPr marL="21177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cs typeface="Arial" charset="0"/>
              </a:defRPr>
            </a:lvl8pPr>
            <a:lvl9pPr marL="25749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cs typeface="Arial" charset="0"/>
              </a:defRPr>
            </a:lvl9pPr>
          </a:lstStyle>
          <a:p>
            <a:r>
              <a:rPr lang="en-US" sz="1000" b="1" dirty="0">
                <a:solidFill>
                  <a:schemeClr val="accent3"/>
                </a:solidFill>
              </a:rPr>
              <a:t>Degree of transformation success</a:t>
            </a:r>
          </a:p>
        </p:txBody>
      </p:sp>
      <p:grpSp>
        <p:nvGrpSpPr>
          <p:cNvPr id="5" name="Group 4"/>
          <p:cNvGrpSpPr/>
          <p:nvPr/>
        </p:nvGrpSpPr>
        <p:grpSpPr>
          <a:xfrm>
            <a:off x="6251321" y="1953031"/>
            <a:ext cx="1652073" cy="335996"/>
            <a:chOff x="5773306" y="1953031"/>
            <a:chExt cx="1652073" cy="335996"/>
          </a:xfrm>
        </p:grpSpPr>
        <p:sp>
          <p:nvSpPr>
            <p:cNvPr id="119" name="Rectangle 48"/>
            <p:cNvSpPr>
              <a:spLocks noChangeArrowheads="1"/>
            </p:cNvSpPr>
            <p:nvPr/>
          </p:nvSpPr>
          <p:spPr bwMode="gray">
            <a:xfrm>
              <a:off x="5773306" y="1965967"/>
              <a:ext cx="130810" cy="128016"/>
            </a:xfrm>
            <a:prstGeom prst="rect">
              <a:avLst/>
            </a:prstGeom>
            <a:solidFill>
              <a:schemeClr val="tx2"/>
            </a:solid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000"/>
            </a:p>
          </p:txBody>
        </p:sp>
        <p:sp>
          <p:nvSpPr>
            <p:cNvPr id="120" name="Rectangle 49"/>
            <p:cNvSpPr>
              <a:spLocks noChangeArrowheads="1"/>
            </p:cNvSpPr>
            <p:nvPr/>
          </p:nvSpPr>
          <p:spPr bwMode="gray">
            <a:xfrm>
              <a:off x="5773306" y="2148075"/>
              <a:ext cx="130810" cy="128016"/>
            </a:xfrm>
            <a:prstGeom prst="rect">
              <a:avLst/>
            </a:prstGeom>
            <a:solidFill>
              <a:schemeClr val="hlink"/>
            </a:solid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000"/>
            </a:p>
          </p:txBody>
        </p:sp>
        <p:sp>
          <p:nvSpPr>
            <p:cNvPr id="121" name="Rectangle 51"/>
            <p:cNvSpPr>
              <a:spLocks noChangeArrowheads="1"/>
            </p:cNvSpPr>
            <p:nvPr/>
          </p:nvSpPr>
          <p:spPr bwMode="gray">
            <a:xfrm>
              <a:off x="5989053" y="1953031"/>
              <a:ext cx="570349"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lvl1pPr defTabSz="895350">
                <a:buClr>
                  <a:schemeClr val="tx2"/>
                </a:buClr>
                <a:defRPr sz="1600">
                  <a:solidFill>
                    <a:schemeClr val="tx1"/>
                  </a:solidFill>
                  <a:latin typeface="Arial" charset="0"/>
                  <a:cs typeface="Arial" charset="0"/>
                </a:defRPr>
              </a:lvl1pPr>
              <a:lvl2pPr marL="193675" indent="-192088" defTabSz="895350">
                <a:buClr>
                  <a:schemeClr val="tx2"/>
                </a:buClr>
                <a:buSzPct val="125000"/>
                <a:buFont typeface="Arial" charset="0"/>
                <a:buChar char="▪"/>
                <a:defRPr sz="1600">
                  <a:solidFill>
                    <a:schemeClr val="tx1"/>
                  </a:solidFill>
                  <a:latin typeface="Arial" charset="0"/>
                  <a:cs typeface="Arial" charset="0"/>
                </a:defRPr>
              </a:lvl2pPr>
              <a:lvl3pPr marL="457200" indent="-261938" defTabSz="895350">
                <a:buClr>
                  <a:schemeClr val="tx2"/>
                </a:buClr>
                <a:buSzPct val="120000"/>
                <a:buFont typeface="Arial" charset="0"/>
                <a:buChar char="–"/>
                <a:defRPr sz="1600">
                  <a:solidFill>
                    <a:schemeClr val="tx1"/>
                  </a:solidFill>
                  <a:latin typeface="Arial" charset="0"/>
                  <a:cs typeface="Arial" charset="0"/>
                </a:defRPr>
              </a:lvl3pPr>
              <a:lvl4pPr marL="614363" indent="-155575" defTabSz="895350">
                <a:buClr>
                  <a:schemeClr val="tx2"/>
                </a:buClr>
                <a:buSzPct val="120000"/>
                <a:buFont typeface="Arial" charset="0"/>
                <a:buChar char="▫"/>
                <a:defRPr sz="1600">
                  <a:solidFill>
                    <a:schemeClr val="tx1"/>
                  </a:solidFill>
                  <a:latin typeface="Arial" charset="0"/>
                  <a:cs typeface="Arial" charset="0"/>
                </a:defRPr>
              </a:lvl4pPr>
              <a:lvl5pPr marL="746125" indent="-130175" defTabSz="895350">
                <a:buClr>
                  <a:schemeClr val="tx2"/>
                </a:buClr>
                <a:buSzPct val="89000"/>
                <a:buFont typeface="Arial" charset="0"/>
                <a:buChar char="-"/>
                <a:defRPr sz="1600">
                  <a:solidFill>
                    <a:schemeClr val="tx1"/>
                  </a:solidFill>
                  <a:latin typeface="Arial" charset="0"/>
                  <a:cs typeface="Arial" charset="0"/>
                </a:defRPr>
              </a:lvl5pPr>
              <a:lvl6pPr marL="12033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cs typeface="Arial" charset="0"/>
                </a:defRPr>
              </a:lvl6pPr>
              <a:lvl7pPr marL="16605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cs typeface="Arial" charset="0"/>
                </a:defRPr>
              </a:lvl7pPr>
              <a:lvl8pPr marL="21177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cs typeface="Arial" charset="0"/>
                </a:defRPr>
              </a:lvl8pPr>
              <a:lvl9pPr marL="25749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cs typeface="Arial" charset="0"/>
                </a:defRPr>
              </a:lvl9pPr>
            </a:lstStyle>
            <a:p>
              <a:pPr lvl="1">
                <a:buFont typeface="Arial" charset="0"/>
                <a:buNone/>
              </a:pPr>
              <a:r>
                <a:rPr lang="en-US" sz="1000" b="0" dirty="0"/>
                <a:t>Extremely</a:t>
              </a:r>
            </a:p>
          </p:txBody>
        </p:sp>
        <p:sp>
          <p:nvSpPr>
            <p:cNvPr id="122" name="Rectangle 52"/>
            <p:cNvSpPr>
              <a:spLocks noChangeArrowheads="1"/>
            </p:cNvSpPr>
            <p:nvPr/>
          </p:nvSpPr>
          <p:spPr bwMode="gray">
            <a:xfrm>
              <a:off x="5989053" y="2135139"/>
              <a:ext cx="262892"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lvl1pPr defTabSz="895350">
                <a:buClr>
                  <a:schemeClr val="tx2"/>
                </a:buClr>
                <a:defRPr sz="1600">
                  <a:solidFill>
                    <a:schemeClr val="tx1"/>
                  </a:solidFill>
                  <a:latin typeface="Arial" charset="0"/>
                  <a:cs typeface="Arial" charset="0"/>
                </a:defRPr>
              </a:lvl1pPr>
              <a:lvl2pPr marL="193675" indent="-192088" defTabSz="895350">
                <a:buClr>
                  <a:schemeClr val="tx2"/>
                </a:buClr>
                <a:buSzPct val="125000"/>
                <a:buFont typeface="Arial" charset="0"/>
                <a:buChar char="▪"/>
                <a:defRPr sz="1600">
                  <a:solidFill>
                    <a:schemeClr val="tx1"/>
                  </a:solidFill>
                  <a:latin typeface="Arial" charset="0"/>
                  <a:cs typeface="Arial" charset="0"/>
                </a:defRPr>
              </a:lvl2pPr>
              <a:lvl3pPr marL="457200" indent="-261938" defTabSz="895350">
                <a:buClr>
                  <a:schemeClr val="tx2"/>
                </a:buClr>
                <a:buSzPct val="120000"/>
                <a:buFont typeface="Arial" charset="0"/>
                <a:buChar char="–"/>
                <a:defRPr sz="1600">
                  <a:solidFill>
                    <a:schemeClr val="tx1"/>
                  </a:solidFill>
                  <a:latin typeface="Arial" charset="0"/>
                  <a:cs typeface="Arial" charset="0"/>
                </a:defRPr>
              </a:lvl3pPr>
              <a:lvl4pPr marL="614363" indent="-155575" defTabSz="895350">
                <a:buClr>
                  <a:schemeClr val="tx2"/>
                </a:buClr>
                <a:buSzPct val="120000"/>
                <a:buFont typeface="Arial" charset="0"/>
                <a:buChar char="▫"/>
                <a:defRPr sz="1600">
                  <a:solidFill>
                    <a:schemeClr val="tx1"/>
                  </a:solidFill>
                  <a:latin typeface="Arial" charset="0"/>
                  <a:cs typeface="Arial" charset="0"/>
                </a:defRPr>
              </a:lvl4pPr>
              <a:lvl5pPr marL="746125" indent="-130175" defTabSz="895350">
                <a:buClr>
                  <a:schemeClr val="tx2"/>
                </a:buClr>
                <a:buSzPct val="89000"/>
                <a:buFont typeface="Arial" charset="0"/>
                <a:buChar char="-"/>
                <a:defRPr sz="1600">
                  <a:solidFill>
                    <a:schemeClr val="tx1"/>
                  </a:solidFill>
                  <a:latin typeface="Arial" charset="0"/>
                  <a:cs typeface="Arial" charset="0"/>
                </a:defRPr>
              </a:lvl5pPr>
              <a:lvl6pPr marL="12033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cs typeface="Arial" charset="0"/>
                </a:defRPr>
              </a:lvl6pPr>
              <a:lvl7pPr marL="16605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cs typeface="Arial" charset="0"/>
                </a:defRPr>
              </a:lvl7pPr>
              <a:lvl8pPr marL="21177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cs typeface="Arial" charset="0"/>
                </a:defRPr>
              </a:lvl8pPr>
              <a:lvl9pPr marL="25749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cs typeface="Arial" charset="0"/>
                </a:defRPr>
              </a:lvl9pPr>
            </a:lstStyle>
            <a:p>
              <a:r>
                <a:rPr lang="en-US" sz="1000" b="0" dirty="0"/>
                <a:t>Very</a:t>
              </a:r>
            </a:p>
          </p:txBody>
        </p:sp>
        <p:sp>
          <p:nvSpPr>
            <p:cNvPr id="123" name="Rectangle 46"/>
            <p:cNvSpPr>
              <a:spLocks noChangeArrowheads="1"/>
            </p:cNvSpPr>
            <p:nvPr/>
          </p:nvSpPr>
          <p:spPr bwMode="gray">
            <a:xfrm>
              <a:off x="6606903" y="1965967"/>
              <a:ext cx="130810" cy="128016"/>
            </a:xfrm>
            <a:prstGeom prst="rect">
              <a:avLst/>
            </a:prstGeom>
            <a:solidFill>
              <a:schemeClr val="accent2"/>
            </a:solid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000"/>
            </a:p>
          </p:txBody>
        </p:sp>
        <p:sp>
          <p:nvSpPr>
            <p:cNvPr id="124" name="Rectangle 47"/>
            <p:cNvSpPr>
              <a:spLocks noChangeArrowheads="1"/>
            </p:cNvSpPr>
            <p:nvPr/>
          </p:nvSpPr>
          <p:spPr bwMode="gray">
            <a:xfrm>
              <a:off x="6606902" y="2148075"/>
              <a:ext cx="130810" cy="128016"/>
            </a:xfrm>
            <a:prstGeom prst="rect">
              <a:avLst/>
            </a:prstGeom>
            <a:solidFill>
              <a:schemeClr val="accent1"/>
            </a:solid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000"/>
            </a:p>
          </p:txBody>
        </p:sp>
        <p:sp>
          <p:nvSpPr>
            <p:cNvPr id="125" name="Rectangle 50"/>
            <p:cNvSpPr>
              <a:spLocks noChangeArrowheads="1"/>
            </p:cNvSpPr>
            <p:nvPr/>
          </p:nvSpPr>
          <p:spPr bwMode="gray">
            <a:xfrm>
              <a:off x="6822650" y="1953031"/>
              <a:ext cx="602729"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lvl1pPr defTabSz="895350">
                <a:buClr>
                  <a:schemeClr val="tx2"/>
                </a:buClr>
                <a:defRPr sz="1600">
                  <a:solidFill>
                    <a:schemeClr val="tx1"/>
                  </a:solidFill>
                  <a:latin typeface="Arial" charset="0"/>
                  <a:cs typeface="Arial" charset="0"/>
                </a:defRPr>
              </a:lvl1pPr>
              <a:lvl2pPr marL="193675" indent="-192088" defTabSz="895350">
                <a:buClr>
                  <a:schemeClr val="tx2"/>
                </a:buClr>
                <a:buSzPct val="125000"/>
                <a:buFont typeface="Arial" charset="0"/>
                <a:buChar char="▪"/>
                <a:defRPr sz="1600">
                  <a:solidFill>
                    <a:schemeClr val="tx1"/>
                  </a:solidFill>
                  <a:latin typeface="Arial" charset="0"/>
                  <a:cs typeface="Arial" charset="0"/>
                </a:defRPr>
              </a:lvl2pPr>
              <a:lvl3pPr marL="457200" indent="-261938" defTabSz="895350">
                <a:buClr>
                  <a:schemeClr val="tx2"/>
                </a:buClr>
                <a:buSzPct val="120000"/>
                <a:buFont typeface="Arial" charset="0"/>
                <a:buChar char="–"/>
                <a:defRPr sz="1600">
                  <a:solidFill>
                    <a:schemeClr val="tx1"/>
                  </a:solidFill>
                  <a:latin typeface="Arial" charset="0"/>
                  <a:cs typeface="Arial" charset="0"/>
                </a:defRPr>
              </a:lvl3pPr>
              <a:lvl4pPr marL="614363" indent="-155575" defTabSz="895350">
                <a:buClr>
                  <a:schemeClr val="tx2"/>
                </a:buClr>
                <a:buSzPct val="120000"/>
                <a:buFont typeface="Arial" charset="0"/>
                <a:buChar char="▫"/>
                <a:defRPr sz="1600">
                  <a:solidFill>
                    <a:schemeClr val="tx1"/>
                  </a:solidFill>
                  <a:latin typeface="Arial" charset="0"/>
                  <a:cs typeface="Arial" charset="0"/>
                </a:defRPr>
              </a:lvl4pPr>
              <a:lvl5pPr marL="746125" indent="-130175" defTabSz="895350">
                <a:buClr>
                  <a:schemeClr val="tx2"/>
                </a:buClr>
                <a:buSzPct val="89000"/>
                <a:buFont typeface="Arial" charset="0"/>
                <a:buChar char="-"/>
                <a:defRPr sz="1600">
                  <a:solidFill>
                    <a:schemeClr val="tx1"/>
                  </a:solidFill>
                  <a:latin typeface="Arial" charset="0"/>
                  <a:cs typeface="Arial" charset="0"/>
                </a:defRPr>
              </a:lvl5pPr>
              <a:lvl6pPr marL="12033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cs typeface="Arial" charset="0"/>
                </a:defRPr>
              </a:lvl6pPr>
              <a:lvl7pPr marL="16605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cs typeface="Arial" charset="0"/>
                </a:defRPr>
              </a:lvl7pPr>
              <a:lvl8pPr marL="21177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cs typeface="Arial" charset="0"/>
                </a:defRPr>
              </a:lvl8pPr>
              <a:lvl9pPr marL="25749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cs typeface="Arial" charset="0"/>
                </a:defRPr>
              </a:lvl9pPr>
            </a:lstStyle>
            <a:p>
              <a:r>
                <a:rPr lang="en-US" sz="1000" b="0" dirty="0"/>
                <a:t>Somewhat</a:t>
              </a:r>
            </a:p>
          </p:txBody>
        </p:sp>
        <p:sp>
          <p:nvSpPr>
            <p:cNvPr id="126" name="Rectangle 53"/>
            <p:cNvSpPr>
              <a:spLocks noChangeArrowheads="1"/>
            </p:cNvSpPr>
            <p:nvPr/>
          </p:nvSpPr>
          <p:spPr bwMode="gray">
            <a:xfrm>
              <a:off x="6822649" y="2135139"/>
              <a:ext cx="503343"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lvl1pPr defTabSz="895350">
                <a:buClr>
                  <a:schemeClr val="tx2"/>
                </a:buClr>
                <a:defRPr sz="1600">
                  <a:solidFill>
                    <a:schemeClr val="tx1"/>
                  </a:solidFill>
                  <a:latin typeface="Arial" charset="0"/>
                  <a:cs typeface="Arial" charset="0"/>
                </a:defRPr>
              </a:lvl1pPr>
              <a:lvl2pPr marL="193675" indent="-192088" defTabSz="895350">
                <a:buClr>
                  <a:schemeClr val="tx2"/>
                </a:buClr>
                <a:buSzPct val="125000"/>
                <a:buFont typeface="Arial" charset="0"/>
                <a:buChar char="▪"/>
                <a:defRPr sz="1600">
                  <a:solidFill>
                    <a:schemeClr val="tx1"/>
                  </a:solidFill>
                  <a:latin typeface="Arial" charset="0"/>
                  <a:cs typeface="Arial" charset="0"/>
                </a:defRPr>
              </a:lvl2pPr>
              <a:lvl3pPr marL="457200" indent="-261938" defTabSz="895350">
                <a:buClr>
                  <a:schemeClr val="tx2"/>
                </a:buClr>
                <a:buSzPct val="120000"/>
                <a:buFont typeface="Arial" charset="0"/>
                <a:buChar char="–"/>
                <a:defRPr sz="1600">
                  <a:solidFill>
                    <a:schemeClr val="tx1"/>
                  </a:solidFill>
                  <a:latin typeface="Arial" charset="0"/>
                  <a:cs typeface="Arial" charset="0"/>
                </a:defRPr>
              </a:lvl3pPr>
              <a:lvl4pPr marL="614363" indent="-155575" defTabSz="895350">
                <a:buClr>
                  <a:schemeClr val="tx2"/>
                </a:buClr>
                <a:buSzPct val="120000"/>
                <a:buFont typeface="Arial" charset="0"/>
                <a:buChar char="▫"/>
                <a:defRPr sz="1600">
                  <a:solidFill>
                    <a:schemeClr val="tx1"/>
                  </a:solidFill>
                  <a:latin typeface="Arial" charset="0"/>
                  <a:cs typeface="Arial" charset="0"/>
                </a:defRPr>
              </a:lvl4pPr>
              <a:lvl5pPr marL="746125" indent="-130175" defTabSz="895350">
                <a:buClr>
                  <a:schemeClr val="tx2"/>
                </a:buClr>
                <a:buSzPct val="89000"/>
                <a:buFont typeface="Arial" charset="0"/>
                <a:buChar char="-"/>
                <a:defRPr sz="1600">
                  <a:solidFill>
                    <a:schemeClr val="tx1"/>
                  </a:solidFill>
                  <a:latin typeface="Arial" charset="0"/>
                  <a:cs typeface="Arial" charset="0"/>
                </a:defRPr>
              </a:lvl5pPr>
              <a:lvl6pPr marL="12033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cs typeface="Arial" charset="0"/>
                </a:defRPr>
              </a:lvl6pPr>
              <a:lvl7pPr marL="16605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cs typeface="Arial" charset="0"/>
                </a:defRPr>
              </a:lvl7pPr>
              <a:lvl8pPr marL="21177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cs typeface="Arial" charset="0"/>
                </a:defRPr>
              </a:lvl8pPr>
              <a:lvl9pPr marL="25749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cs typeface="Arial" charset="0"/>
                </a:defRPr>
              </a:lvl9pPr>
            </a:lstStyle>
            <a:p>
              <a:r>
                <a:rPr lang="en-US" sz="1000" b="0" dirty="0"/>
                <a:t>Not at all</a:t>
              </a:r>
            </a:p>
          </p:txBody>
        </p:sp>
      </p:grpSp>
      <p:sp>
        <p:nvSpPr>
          <p:cNvPr id="127" name="Rectangle 20"/>
          <p:cNvSpPr>
            <a:spLocks noChangeArrowheads="1"/>
          </p:cNvSpPr>
          <p:nvPr/>
        </p:nvSpPr>
        <p:spPr bwMode="auto">
          <a:xfrm>
            <a:off x="209550" y="5738625"/>
            <a:ext cx="2323788"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algn="l" defTabSz="895350">
              <a:buClr>
                <a:schemeClr val="tx2"/>
              </a:buClr>
              <a:defRPr sz="1600">
                <a:solidFill>
                  <a:schemeClr val="tx1"/>
                </a:solidFill>
                <a:latin typeface="Arial" charset="0"/>
              </a:defRPr>
            </a:lvl1pPr>
            <a:lvl2pPr marL="193675" indent="-192088" algn="l" defTabSz="895350">
              <a:buClr>
                <a:schemeClr val="tx2"/>
              </a:buClr>
              <a:buSzPct val="125000"/>
              <a:buFont typeface="Arial" charset="0"/>
              <a:buChar char="▪"/>
              <a:defRPr sz="1600">
                <a:solidFill>
                  <a:schemeClr val="tx1"/>
                </a:solidFill>
                <a:latin typeface="Arial" charset="0"/>
              </a:defRPr>
            </a:lvl2pPr>
            <a:lvl3pPr marL="457200" indent="-261938" algn="l" defTabSz="895350">
              <a:buClr>
                <a:schemeClr val="tx2"/>
              </a:buClr>
              <a:buSzPct val="120000"/>
              <a:buFont typeface="Arial" charset="0"/>
              <a:buChar char="–"/>
              <a:defRPr sz="1600">
                <a:solidFill>
                  <a:schemeClr val="tx1"/>
                </a:solidFill>
                <a:latin typeface="Arial" charset="0"/>
              </a:defRPr>
            </a:lvl3pPr>
            <a:lvl4pPr marL="614363" indent="-155575" algn="l" defTabSz="895350">
              <a:buClr>
                <a:schemeClr val="tx2"/>
              </a:buClr>
              <a:buSzPct val="120000"/>
              <a:buFont typeface="Arial" charset="0"/>
              <a:buChar char="▫"/>
              <a:defRPr sz="1600">
                <a:solidFill>
                  <a:schemeClr val="tx1"/>
                </a:solidFill>
                <a:latin typeface="Arial" charset="0"/>
              </a:defRPr>
            </a:lvl4pPr>
            <a:lvl5pPr marL="746125" indent="-130175" algn="l" defTabSz="895350">
              <a:buClr>
                <a:schemeClr val="tx2"/>
              </a:buClr>
              <a:buSzPct val="89000"/>
              <a:buFont typeface="Arial" charset="0"/>
              <a:buChar char="-"/>
              <a:defRPr sz="1600">
                <a:solidFill>
                  <a:schemeClr val="tx1"/>
                </a:solidFill>
                <a:latin typeface="Arial" charset="0"/>
              </a:defRPr>
            </a:lvl5pPr>
            <a:lvl6pPr marL="12033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6pPr>
            <a:lvl7pPr marL="16605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7pPr>
            <a:lvl8pPr marL="21177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8pPr>
            <a:lvl9pPr marL="25749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9pPr>
          </a:lstStyle>
          <a:p>
            <a:pPr algn="ctr"/>
            <a:r>
              <a:rPr lang="en-US" sz="1200" b="1" dirty="0">
                <a:solidFill>
                  <a:schemeClr val="accent3"/>
                </a:solidFill>
                <a:latin typeface="+mj-lt"/>
              </a:rPr>
              <a:t>Cultural performance</a:t>
            </a:r>
            <a:endParaRPr lang="en-US" sz="1200" b="1" baseline="30000" dirty="0">
              <a:solidFill>
                <a:schemeClr val="accent3"/>
              </a:solidFill>
              <a:latin typeface="+mj-lt"/>
            </a:endParaRPr>
          </a:p>
        </p:txBody>
      </p:sp>
      <p:sp>
        <p:nvSpPr>
          <p:cNvPr id="128" name="Rectangle 6"/>
          <p:cNvSpPr txBox="1">
            <a:spLocks/>
          </p:cNvSpPr>
          <p:nvPr/>
        </p:nvSpPr>
        <p:spPr>
          <a:xfrm>
            <a:off x="3386138" y="3957549"/>
            <a:ext cx="3835987" cy="184666"/>
          </a:xfrm>
          <a:prstGeom prst="rect">
            <a:avLst/>
          </a:prstGeom>
        </p:spPr>
        <p:txBody>
          <a:bodyPr vert="horz" wrap="none" lIns="0" tIns="0" rIns="0" bIns="0" rtlCol="0">
            <a:spAutoFit/>
          </a:bodyPr>
          <a:lstStyle>
            <a:lvl1pPr lvl="0" eaLnBrk="1" hangingPunct="1">
              <a:lnSpc>
                <a:spcPct val="100000"/>
              </a:lnSpc>
              <a:spcBef>
                <a:spcPts val="800"/>
              </a:spcBef>
              <a:buClr>
                <a:srgbClr val="4367C5"/>
              </a:buClr>
              <a:buFont typeface="Wingdings" pitchFamily="2" charset="2"/>
              <a:defRPr sz="1400">
                <a:latin typeface="Arial" pitchFamily="34" charset="0"/>
                <a:cs typeface="Arial" pitchFamily="34" charset="0"/>
              </a:defRPr>
            </a:lvl1pPr>
            <a:lvl2pPr marL="215976" lvl="1" indent="-215976" eaLnBrk="1" hangingPunct="1">
              <a:lnSpc>
                <a:spcPct val="100000"/>
              </a:lnSpc>
              <a:spcBef>
                <a:spcPts val="840"/>
              </a:spcBef>
              <a:buClr>
                <a:schemeClr val="tx2"/>
              </a:buClr>
              <a:buSzPct val="85000"/>
              <a:buFont typeface="Wingdings" pitchFamily="2" charset="2"/>
              <a:buChar char="n"/>
              <a:defRPr sz="1400">
                <a:latin typeface="Arial" pitchFamily="34" charset="0"/>
                <a:cs typeface="Arial" pitchFamily="34" charset="0"/>
              </a:defRPr>
            </a:lvl2pPr>
            <a:lvl3pPr marL="431951" lvl="2" indent="-215976" eaLnBrk="1" hangingPunct="1">
              <a:lnSpc>
                <a:spcPct val="100000"/>
              </a:lnSpc>
              <a:spcBef>
                <a:spcPts val="800"/>
              </a:spcBef>
              <a:buClr>
                <a:schemeClr val="tx2"/>
              </a:buClr>
              <a:buSzPct val="100000"/>
              <a:buFont typeface="Arial" pitchFamily="34" charset="0"/>
              <a:buChar char="–"/>
              <a:defRPr sz="1400">
                <a:latin typeface="Arial" pitchFamily="34" charset="0"/>
                <a:cs typeface="Arial" pitchFamily="34" charset="0"/>
              </a:defRPr>
            </a:lvl3pPr>
            <a:lvl4pPr marL="648000" lvl="3" indent="-216000" eaLnBrk="1" hangingPunct="1">
              <a:lnSpc>
                <a:spcPct val="100000"/>
              </a:lnSpc>
              <a:spcBef>
                <a:spcPts val="800"/>
              </a:spcBef>
              <a:buClr>
                <a:schemeClr val="tx2"/>
              </a:buClr>
              <a:buSzPct val="100000"/>
              <a:buFont typeface="Arial" pitchFamily="34" charset="0"/>
              <a:buChar char="–"/>
              <a:defRPr sz="1400">
                <a:latin typeface="Arial" pitchFamily="34" charset="0"/>
                <a:cs typeface="Arial" pitchFamily="34" charset="0"/>
              </a:defRPr>
            </a:lvl4pPr>
            <a:lvl5pPr marL="864000" lvl="4" indent="-216000" eaLnBrk="1" hangingPunct="1">
              <a:lnSpc>
                <a:spcPct val="100000"/>
              </a:lnSpc>
              <a:spcBef>
                <a:spcPts val="800"/>
              </a:spcBef>
              <a:buClr>
                <a:schemeClr val="tx2"/>
              </a:buClr>
              <a:buFont typeface="Arial" pitchFamily="34" charset="0"/>
              <a:buChar char="–"/>
              <a:defRPr sz="1400">
                <a:latin typeface="Arial" pitchFamily="34" charset="0"/>
                <a:cs typeface="Arial" pitchFamily="34" charset="0"/>
              </a:defRPr>
            </a:lvl5pPr>
            <a:lvl6pPr marL="1609542" indent="-226987" fontAlgn="base">
              <a:lnSpc>
                <a:spcPct val="95000"/>
              </a:lnSpc>
              <a:spcBef>
                <a:spcPct val="50000"/>
              </a:spcBef>
              <a:spcAft>
                <a:spcPct val="0"/>
              </a:spcAft>
              <a:buClr>
                <a:srgbClr val="4367C5"/>
              </a:buClr>
              <a:buFont typeface="Arial" charset="0"/>
              <a:buChar char="●"/>
              <a:defRPr sz="1200">
                <a:solidFill>
                  <a:srgbClr val="000000"/>
                </a:solidFill>
                <a:latin typeface="+mn-lt"/>
              </a:defRPr>
            </a:lvl6pPr>
            <a:lvl7pPr marL="2066690" indent="-226987" fontAlgn="base">
              <a:lnSpc>
                <a:spcPct val="95000"/>
              </a:lnSpc>
              <a:spcBef>
                <a:spcPct val="50000"/>
              </a:spcBef>
              <a:spcAft>
                <a:spcPct val="0"/>
              </a:spcAft>
              <a:buClr>
                <a:srgbClr val="4367C5"/>
              </a:buClr>
              <a:buFont typeface="Arial" charset="0"/>
              <a:buChar char="●"/>
              <a:defRPr sz="1200">
                <a:solidFill>
                  <a:srgbClr val="000000"/>
                </a:solidFill>
                <a:latin typeface="+mn-lt"/>
              </a:defRPr>
            </a:lvl7pPr>
            <a:lvl8pPr marL="2523838" indent="-226987" fontAlgn="base">
              <a:lnSpc>
                <a:spcPct val="95000"/>
              </a:lnSpc>
              <a:spcBef>
                <a:spcPct val="50000"/>
              </a:spcBef>
              <a:spcAft>
                <a:spcPct val="0"/>
              </a:spcAft>
              <a:buClr>
                <a:srgbClr val="4367C5"/>
              </a:buClr>
              <a:buFont typeface="Arial" charset="0"/>
              <a:buChar char="●"/>
              <a:defRPr sz="1200">
                <a:solidFill>
                  <a:srgbClr val="000000"/>
                </a:solidFill>
                <a:latin typeface="+mn-lt"/>
              </a:defRPr>
            </a:lvl8pPr>
            <a:lvl9pPr marL="2980986" indent="-226987" fontAlgn="base">
              <a:lnSpc>
                <a:spcPct val="95000"/>
              </a:lnSpc>
              <a:spcBef>
                <a:spcPct val="50000"/>
              </a:spcBef>
              <a:spcAft>
                <a:spcPct val="0"/>
              </a:spcAft>
              <a:buClr>
                <a:srgbClr val="4367C5"/>
              </a:buClr>
              <a:buFont typeface="Arial" charset="0"/>
              <a:buChar char="●"/>
              <a:defRPr sz="1200">
                <a:solidFill>
                  <a:srgbClr val="000000"/>
                </a:solidFill>
                <a:latin typeface="+mn-lt"/>
              </a:defRPr>
            </a:lvl9pPr>
          </a:lstStyle>
          <a:p>
            <a:r>
              <a:rPr lang="en-US" sz="1200" b="1" dirty="0">
                <a:solidFill>
                  <a:schemeClr val="accent3"/>
                </a:solidFill>
                <a:latin typeface="+mn-lt"/>
              </a:rPr>
              <a:t>What is the most likely reason why integrations fail?</a:t>
            </a:r>
          </a:p>
        </p:txBody>
      </p:sp>
      <p:graphicFrame>
        <p:nvGraphicFramePr>
          <p:cNvPr id="129" name="Object 9"/>
          <p:cNvGraphicFramePr>
            <a:graphicFrameLocks/>
          </p:cNvGraphicFramePr>
          <p:nvPr>
            <p:custDataLst>
              <p:tags r:id="rId25"/>
            </p:custDataLst>
            <p:extLst/>
          </p:nvPr>
        </p:nvGraphicFramePr>
        <p:xfrm>
          <a:off x="4787900" y="4622800"/>
          <a:ext cx="1378089" cy="1124081"/>
        </p:xfrm>
        <a:graphic>
          <a:graphicData uri="http://schemas.openxmlformats.org/presentationml/2006/ole">
            <mc:AlternateContent xmlns:mc="http://schemas.openxmlformats.org/markup-compatibility/2006">
              <mc:Choice xmlns:v="urn:schemas-microsoft-com:vml" Requires="v">
                <p:oleObj spid="_x0000_s286799" name="Chart" r:id="rId50" imgW="1376236" imgH="1124081" progId="MSGraph.Chart.8">
                  <p:embed followColorScheme="full"/>
                </p:oleObj>
              </mc:Choice>
              <mc:Fallback>
                <p:oleObj name="Chart" r:id="rId50" imgW="1376236" imgH="1124081" progId="MSGraph.Chart.8">
                  <p:embed followColorScheme="full"/>
                  <p:pic>
                    <p:nvPicPr>
                      <p:cNvPr id="129" name="Object 9"/>
                      <p:cNvPicPr>
                        <a:picLocks noChangeArrowheads="1"/>
                      </p:cNvPicPr>
                      <p:nvPr/>
                    </p:nvPicPr>
                    <p:blipFill>
                      <a:blip r:embed="rId51"/>
                      <a:srcRect/>
                      <a:stretch>
                        <a:fillRect/>
                      </a:stretch>
                    </p:blipFill>
                    <p:spPr bwMode="auto">
                      <a:xfrm>
                        <a:off x="4787900" y="4622800"/>
                        <a:ext cx="1378089" cy="1124081"/>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138" name="Text Placeholder 2"/>
          <p:cNvSpPr>
            <a:spLocks noGrp="1"/>
          </p:cNvSpPr>
          <p:nvPr>
            <p:custDataLst>
              <p:tags r:id="rId26"/>
            </p:custDataLst>
          </p:nvPr>
        </p:nvSpPr>
        <p:spPr bwMode="gray">
          <a:xfrm>
            <a:off x="5511800" y="4940300"/>
            <a:ext cx="206375"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9050" tIns="0" rIns="19050" bIns="0" rtlCol="0" anchor="ctr" anchorCtr="0">
            <a:noAutofit/>
          </a:bodyPr>
          <a:lstStyle>
            <a:lvl1pPr algn="l" rtl="0" eaLnBrk="1" fontAlgn="base" hangingPunct="1">
              <a:lnSpc>
                <a:spcPct val="100000"/>
              </a:lnSpc>
              <a:spcBef>
                <a:spcPts val="800"/>
              </a:spcBef>
              <a:spcAft>
                <a:spcPct val="0"/>
              </a:spcAft>
              <a:buClr>
                <a:srgbClr val="4367C5"/>
              </a:buClr>
              <a:buFont typeface="Wingdings" pitchFamily="2" charset="2"/>
              <a:defRPr sz="1400">
                <a:solidFill>
                  <a:schemeClr val="tx1"/>
                </a:solidFill>
                <a:latin typeface="Arial" pitchFamily="34" charset="0"/>
                <a:ea typeface="+mn-ea"/>
                <a:cs typeface="Arial" pitchFamily="34" charset="0"/>
              </a:defRPr>
            </a:lvl1pPr>
            <a:lvl2pPr marL="215976" indent="-215976" algn="l" rtl="0" eaLnBrk="1" fontAlgn="base" hangingPunct="1">
              <a:lnSpc>
                <a:spcPct val="100000"/>
              </a:lnSpc>
              <a:spcBef>
                <a:spcPts val="840"/>
              </a:spcBef>
              <a:spcAft>
                <a:spcPct val="0"/>
              </a:spcAft>
              <a:buClr>
                <a:schemeClr val="tx2"/>
              </a:buClr>
              <a:buSzPct val="85000"/>
              <a:buFont typeface="Wingdings" pitchFamily="2" charset="2"/>
              <a:buChar char="n"/>
              <a:defRPr sz="1400">
                <a:solidFill>
                  <a:schemeClr val="tx1"/>
                </a:solidFill>
                <a:latin typeface="Arial" pitchFamily="34" charset="0"/>
                <a:cs typeface="Arial" pitchFamily="34" charset="0"/>
              </a:defRPr>
            </a:lvl2pPr>
            <a:lvl3pPr marL="431951" indent="-215976" algn="l" rtl="0" eaLnBrk="1" fontAlgn="base" hangingPunct="1">
              <a:lnSpc>
                <a:spcPct val="100000"/>
              </a:lnSpc>
              <a:spcBef>
                <a:spcPts val="800"/>
              </a:spcBef>
              <a:spcAft>
                <a:spcPct val="0"/>
              </a:spcAft>
              <a:buClr>
                <a:schemeClr val="tx2"/>
              </a:buClr>
              <a:buSzPct val="100000"/>
              <a:buFont typeface="Arial" pitchFamily="34" charset="0"/>
              <a:buChar char="–"/>
              <a:defRPr sz="1400">
                <a:solidFill>
                  <a:schemeClr val="tx1"/>
                </a:solidFill>
                <a:latin typeface="Arial" pitchFamily="34" charset="0"/>
                <a:cs typeface="Arial" pitchFamily="34" charset="0"/>
              </a:defRPr>
            </a:lvl3pPr>
            <a:lvl4pPr marL="648000" indent="-216000" algn="l" rtl="0" eaLnBrk="1" fontAlgn="base" hangingPunct="1">
              <a:lnSpc>
                <a:spcPct val="100000"/>
              </a:lnSpc>
              <a:spcBef>
                <a:spcPts val="800"/>
              </a:spcBef>
              <a:spcAft>
                <a:spcPct val="0"/>
              </a:spcAft>
              <a:buClr>
                <a:schemeClr val="tx2"/>
              </a:buClr>
              <a:buSzPct val="100000"/>
              <a:buFont typeface="Arial" pitchFamily="34" charset="0"/>
              <a:buChar char="–"/>
              <a:defRPr sz="1400">
                <a:solidFill>
                  <a:schemeClr val="tx1"/>
                </a:solidFill>
                <a:latin typeface="Arial" pitchFamily="34" charset="0"/>
                <a:cs typeface="Arial" pitchFamily="34" charset="0"/>
              </a:defRPr>
            </a:lvl4pPr>
            <a:lvl5pPr marL="864000" indent="-216000" algn="l" rtl="0" eaLnBrk="1" fontAlgn="base" hangingPunct="1">
              <a:lnSpc>
                <a:spcPct val="100000"/>
              </a:lnSpc>
              <a:spcBef>
                <a:spcPts val="800"/>
              </a:spcBef>
              <a:spcAft>
                <a:spcPct val="0"/>
              </a:spcAft>
              <a:buClr>
                <a:schemeClr val="tx2"/>
              </a:buClr>
              <a:buFont typeface="Arial" pitchFamily="34" charset="0"/>
              <a:buChar char="–"/>
              <a:defRPr sz="1400">
                <a:solidFill>
                  <a:schemeClr val="tx1"/>
                </a:solidFill>
                <a:latin typeface="Arial" pitchFamily="34" charset="0"/>
                <a:cs typeface="Arial" pitchFamily="34" charset="0"/>
              </a:defRPr>
            </a:lvl5pPr>
            <a:lvl6pPr marL="1609542" indent="-226987" algn="l" rtl="0" eaLnBrk="1" fontAlgn="base" hangingPunct="1">
              <a:lnSpc>
                <a:spcPct val="95000"/>
              </a:lnSpc>
              <a:spcBef>
                <a:spcPct val="50000"/>
              </a:spcBef>
              <a:spcAft>
                <a:spcPct val="0"/>
              </a:spcAft>
              <a:buClr>
                <a:srgbClr val="4367C5"/>
              </a:buClr>
              <a:buFont typeface="Arial" charset="0"/>
              <a:buChar char="●"/>
              <a:defRPr sz="1200">
                <a:solidFill>
                  <a:srgbClr val="000000"/>
                </a:solidFill>
                <a:latin typeface="+mn-lt"/>
              </a:defRPr>
            </a:lvl6pPr>
            <a:lvl7pPr marL="2066690" indent="-226987" algn="l" rtl="0" eaLnBrk="1" fontAlgn="base" hangingPunct="1">
              <a:lnSpc>
                <a:spcPct val="95000"/>
              </a:lnSpc>
              <a:spcBef>
                <a:spcPct val="50000"/>
              </a:spcBef>
              <a:spcAft>
                <a:spcPct val="0"/>
              </a:spcAft>
              <a:buClr>
                <a:srgbClr val="4367C5"/>
              </a:buClr>
              <a:buFont typeface="Arial" charset="0"/>
              <a:buChar char="●"/>
              <a:defRPr sz="1200">
                <a:solidFill>
                  <a:srgbClr val="000000"/>
                </a:solidFill>
                <a:latin typeface="+mn-lt"/>
              </a:defRPr>
            </a:lvl7pPr>
            <a:lvl8pPr marL="2523838" indent="-226987" algn="l" rtl="0" eaLnBrk="1" fontAlgn="base" hangingPunct="1">
              <a:lnSpc>
                <a:spcPct val="95000"/>
              </a:lnSpc>
              <a:spcBef>
                <a:spcPct val="50000"/>
              </a:spcBef>
              <a:spcAft>
                <a:spcPct val="0"/>
              </a:spcAft>
              <a:buClr>
                <a:srgbClr val="4367C5"/>
              </a:buClr>
              <a:buFont typeface="Arial" charset="0"/>
              <a:buChar char="●"/>
              <a:defRPr sz="1200">
                <a:solidFill>
                  <a:srgbClr val="000000"/>
                </a:solidFill>
                <a:latin typeface="+mn-lt"/>
              </a:defRPr>
            </a:lvl8pPr>
            <a:lvl9pPr marL="2980986" indent="-226987" algn="l" rtl="0" eaLnBrk="1" fontAlgn="base" hangingPunct="1">
              <a:lnSpc>
                <a:spcPct val="95000"/>
              </a:lnSpc>
              <a:spcBef>
                <a:spcPct val="50000"/>
              </a:spcBef>
              <a:spcAft>
                <a:spcPct val="0"/>
              </a:spcAft>
              <a:buClr>
                <a:srgbClr val="4367C5"/>
              </a:buClr>
              <a:buFont typeface="Arial" charset="0"/>
              <a:buChar char="●"/>
              <a:defRPr sz="1200">
                <a:solidFill>
                  <a:srgbClr val="000000"/>
                </a:solidFill>
                <a:latin typeface="+mn-lt"/>
              </a:defRPr>
            </a:lvl9pPr>
          </a:lstStyle>
          <a:p>
            <a:pPr algn="ctr">
              <a:spcBef>
                <a:spcPct val="0"/>
              </a:spcBef>
            </a:pPr>
            <a:fld id="{32EC4645-9F49-482C-A2CF-4C69E411057E}" type="datetime'''''''''''''''''''''''3''3'''''''''''''''''">
              <a:rPr lang="en-US" altLang="en-US" sz="1200" b="1">
                <a:solidFill>
                  <a:schemeClr val="bg1"/>
                </a:solidFill>
              </a:rPr>
              <a:pPr/>
              <a:t>33</a:t>
            </a:fld>
            <a:endParaRPr lang="en-US" sz="1200" b="1">
              <a:solidFill>
                <a:schemeClr val="bg1"/>
              </a:solidFill>
              <a:latin typeface="Arial"/>
              <a:cs typeface="Arial"/>
              <a:sym typeface="Arial"/>
            </a:endParaRPr>
          </a:p>
        </p:txBody>
      </p:sp>
      <p:sp>
        <p:nvSpPr>
          <p:cNvPr id="146" name="Rectangle 10"/>
          <p:cNvSpPr txBox="1">
            <a:spLocks noChangeArrowheads="1"/>
          </p:cNvSpPr>
          <p:nvPr>
            <p:custDataLst>
              <p:tags r:id="rId27"/>
            </p:custDataLst>
          </p:nvPr>
        </p:nvSpPr>
        <p:spPr bwMode="gray">
          <a:xfrm>
            <a:off x="4989513" y="4341813"/>
            <a:ext cx="1401763" cy="365125"/>
          </a:xfrm>
          <a:prstGeom prst="rect">
            <a:avLst/>
          </a:prstGeom>
          <a:noFill/>
          <a:ln/>
        </p:spPr>
        <p:txBody>
          <a:bodyPr vert="horz" wrap="none" lIns="0" tIns="0" rIns="0" bIns="0" rtlCol="0" anchor="ctr">
            <a:noAutofit/>
          </a:bodyPr>
          <a:lstStyle>
            <a:lvl1pPr algn="l" rtl="0" eaLnBrk="1" fontAlgn="base" hangingPunct="1">
              <a:lnSpc>
                <a:spcPct val="100000"/>
              </a:lnSpc>
              <a:spcBef>
                <a:spcPts val="800"/>
              </a:spcBef>
              <a:spcAft>
                <a:spcPct val="0"/>
              </a:spcAft>
              <a:buClr>
                <a:srgbClr val="4367C5"/>
              </a:buClr>
              <a:buFont typeface="Wingdings" pitchFamily="2" charset="2"/>
              <a:defRPr sz="1400">
                <a:solidFill>
                  <a:schemeClr val="tx1"/>
                </a:solidFill>
                <a:latin typeface="Arial" pitchFamily="34" charset="0"/>
                <a:ea typeface="+mn-ea"/>
                <a:cs typeface="Arial" pitchFamily="34" charset="0"/>
              </a:defRPr>
            </a:lvl1pPr>
            <a:lvl2pPr marL="215976" indent="-215976" algn="l" rtl="0" eaLnBrk="1" fontAlgn="base" hangingPunct="1">
              <a:lnSpc>
                <a:spcPct val="100000"/>
              </a:lnSpc>
              <a:spcBef>
                <a:spcPts val="840"/>
              </a:spcBef>
              <a:spcAft>
                <a:spcPct val="0"/>
              </a:spcAft>
              <a:buClr>
                <a:schemeClr val="tx2"/>
              </a:buClr>
              <a:buSzPct val="85000"/>
              <a:buFont typeface="Wingdings" pitchFamily="2" charset="2"/>
              <a:buChar char="n"/>
              <a:defRPr sz="1400">
                <a:solidFill>
                  <a:schemeClr val="tx1"/>
                </a:solidFill>
                <a:latin typeface="Arial" pitchFamily="34" charset="0"/>
                <a:cs typeface="Arial" pitchFamily="34" charset="0"/>
              </a:defRPr>
            </a:lvl2pPr>
            <a:lvl3pPr marL="431951" indent="-215976" algn="l" rtl="0" eaLnBrk="1" fontAlgn="base" hangingPunct="1">
              <a:lnSpc>
                <a:spcPct val="100000"/>
              </a:lnSpc>
              <a:spcBef>
                <a:spcPts val="800"/>
              </a:spcBef>
              <a:spcAft>
                <a:spcPct val="0"/>
              </a:spcAft>
              <a:buClr>
                <a:schemeClr val="tx2"/>
              </a:buClr>
              <a:buSzPct val="100000"/>
              <a:buFont typeface="Arial" pitchFamily="34" charset="0"/>
              <a:buChar char="–"/>
              <a:defRPr sz="1400">
                <a:solidFill>
                  <a:schemeClr val="tx1"/>
                </a:solidFill>
                <a:latin typeface="Arial" pitchFamily="34" charset="0"/>
                <a:cs typeface="Arial" pitchFamily="34" charset="0"/>
              </a:defRPr>
            </a:lvl3pPr>
            <a:lvl4pPr marL="648000" indent="-216000" algn="l" rtl="0" eaLnBrk="1" fontAlgn="base" hangingPunct="1">
              <a:lnSpc>
                <a:spcPct val="100000"/>
              </a:lnSpc>
              <a:spcBef>
                <a:spcPts val="800"/>
              </a:spcBef>
              <a:spcAft>
                <a:spcPct val="0"/>
              </a:spcAft>
              <a:buClr>
                <a:schemeClr val="tx2"/>
              </a:buClr>
              <a:buSzPct val="100000"/>
              <a:buFont typeface="Arial" pitchFamily="34" charset="0"/>
              <a:buChar char="–"/>
              <a:defRPr sz="1400">
                <a:solidFill>
                  <a:schemeClr val="tx1"/>
                </a:solidFill>
                <a:latin typeface="Arial" pitchFamily="34" charset="0"/>
                <a:cs typeface="Arial" pitchFamily="34" charset="0"/>
              </a:defRPr>
            </a:lvl4pPr>
            <a:lvl5pPr marL="864000" indent="-216000" algn="l" rtl="0" eaLnBrk="1" fontAlgn="base" hangingPunct="1">
              <a:lnSpc>
                <a:spcPct val="100000"/>
              </a:lnSpc>
              <a:spcBef>
                <a:spcPts val="800"/>
              </a:spcBef>
              <a:spcAft>
                <a:spcPct val="0"/>
              </a:spcAft>
              <a:buClr>
                <a:schemeClr val="tx2"/>
              </a:buClr>
              <a:buFont typeface="Arial" pitchFamily="34" charset="0"/>
              <a:buChar char="–"/>
              <a:defRPr sz="1400">
                <a:solidFill>
                  <a:schemeClr val="tx1"/>
                </a:solidFill>
                <a:latin typeface="Arial" pitchFamily="34" charset="0"/>
                <a:cs typeface="Arial" pitchFamily="34" charset="0"/>
              </a:defRPr>
            </a:lvl5pPr>
            <a:lvl6pPr marL="1609542" indent="-226987" algn="l" rtl="0" eaLnBrk="1" fontAlgn="base" hangingPunct="1">
              <a:lnSpc>
                <a:spcPct val="95000"/>
              </a:lnSpc>
              <a:spcBef>
                <a:spcPct val="50000"/>
              </a:spcBef>
              <a:spcAft>
                <a:spcPct val="0"/>
              </a:spcAft>
              <a:buClr>
                <a:srgbClr val="4367C5"/>
              </a:buClr>
              <a:buFont typeface="Arial" charset="0"/>
              <a:buChar char="●"/>
              <a:defRPr sz="1200">
                <a:solidFill>
                  <a:srgbClr val="000000"/>
                </a:solidFill>
                <a:latin typeface="+mn-lt"/>
              </a:defRPr>
            </a:lvl6pPr>
            <a:lvl7pPr marL="2066690" indent="-226987" algn="l" rtl="0" eaLnBrk="1" fontAlgn="base" hangingPunct="1">
              <a:lnSpc>
                <a:spcPct val="95000"/>
              </a:lnSpc>
              <a:spcBef>
                <a:spcPct val="50000"/>
              </a:spcBef>
              <a:spcAft>
                <a:spcPct val="0"/>
              </a:spcAft>
              <a:buClr>
                <a:srgbClr val="4367C5"/>
              </a:buClr>
              <a:buFont typeface="Arial" charset="0"/>
              <a:buChar char="●"/>
              <a:defRPr sz="1200">
                <a:solidFill>
                  <a:srgbClr val="000000"/>
                </a:solidFill>
                <a:latin typeface="+mn-lt"/>
              </a:defRPr>
            </a:lvl7pPr>
            <a:lvl8pPr marL="2523838" indent="-226987" algn="l" rtl="0" eaLnBrk="1" fontAlgn="base" hangingPunct="1">
              <a:lnSpc>
                <a:spcPct val="95000"/>
              </a:lnSpc>
              <a:spcBef>
                <a:spcPct val="50000"/>
              </a:spcBef>
              <a:spcAft>
                <a:spcPct val="0"/>
              </a:spcAft>
              <a:buClr>
                <a:srgbClr val="4367C5"/>
              </a:buClr>
              <a:buFont typeface="Arial" charset="0"/>
              <a:buChar char="●"/>
              <a:defRPr sz="1200">
                <a:solidFill>
                  <a:srgbClr val="000000"/>
                </a:solidFill>
                <a:latin typeface="+mn-lt"/>
              </a:defRPr>
            </a:lvl8pPr>
            <a:lvl9pPr marL="2980986" indent="-226987" algn="l" rtl="0" eaLnBrk="1" fontAlgn="base" hangingPunct="1">
              <a:lnSpc>
                <a:spcPct val="95000"/>
              </a:lnSpc>
              <a:spcBef>
                <a:spcPct val="50000"/>
              </a:spcBef>
              <a:spcAft>
                <a:spcPct val="0"/>
              </a:spcAft>
              <a:buClr>
                <a:srgbClr val="4367C5"/>
              </a:buClr>
              <a:buFont typeface="Arial" charset="0"/>
              <a:buChar char="●"/>
              <a:defRPr sz="1200">
                <a:solidFill>
                  <a:srgbClr val="000000"/>
                </a:solidFill>
                <a:latin typeface="+mn-lt"/>
              </a:defRPr>
            </a:lvl9pPr>
          </a:lstStyle>
          <a:p>
            <a:r>
              <a:rPr lang="en-US" sz="1200" dirty="0">
                <a:latin typeface="Arial"/>
                <a:cs typeface="Arial"/>
                <a:sym typeface="Arial"/>
              </a:rPr>
              <a:t>Inability to maintain </a:t>
            </a:r>
            <a:br>
              <a:rPr lang="en-US" sz="1200" dirty="0">
                <a:latin typeface="Arial"/>
                <a:cs typeface="Arial"/>
                <a:sym typeface="Arial"/>
              </a:rPr>
            </a:br>
            <a:r>
              <a:rPr lang="en-US" sz="1200" dirty="0">
                <a:latin typeface="Arial"/>
                <a:cs typeface="Arial"/>
                <a:sym typeface="Arial"/>
              </a:rPr>
              <a:t>business momentum</a:t>
            </a:r>
          </a:p>
        </p:txBody>
      </p:sp>
      <p:sp>
        <p:nvSpPr>
          <p:cNvPr id="144" name="Text Placeholder 4"/>
          <p:cNvSpPr>
            <a:spLocks noGrp="1"/>
          </p:cNvSpPr>
          <p:nvPr>
            <p:custDataLst>
              <p:tags r:id="rId28"/>
            </p:custDataLst>
          </p:nvPr>
        </p:nvSpPr>
        <p:spPr bwMode="gray">
          <a:xfrm>
            <a:off x="4946650" y="5227638"/>
            <a:ext cx="206375"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9050" tIns="0" rIns="19050" bIns="0" rtlCol="0" anchor="ctr" anchorCtr="0">
            <a:noAutofit/>
          </a:bodyPr>
          <a:lstStyle>
            <a:lvl1pPr algn="l" rtl="0" eaLnBrk="1" fontAlgn="base" hangingPunct="1">
              <a:lnSpc>
                <a:spcPct val="100000"/>
              </a:lnSpc>
              <a:spcBef>
                <a:spcPts val="800"/>
              </a:spcBef>
              <a:spcAft>
                <a:spcPct val="0"/>
              </a:spcAft>
              <a:buClr>
                <a:srgbClr val="4367C5"/>
              </a:buClr>
              <a:buFont typeface="Wingdings" pitchFamily="2" charset="2"/>
              <a:defRPr sz="1400">
                <a:solidFill>
                  <a:schemeClr val="tx1"/>
                </a:solidFill>
                <a:latin typeface="Arial" pitchFamily="34" charset="0"/>
                <a:ea typeface="+mn-ea"/>
                <a:cs typeface="Arial" pitchFamily="34" charset="0"/>
              </a:defRPr>
            </a:lvl1pPr>
            <a:lvl2pPr marL="215976" indent="-215976" algn="l" rtl="0" eaLnBrk="1" fontAlgn="base" hangingPunct="1">
              <a:lnSpc>
                <a:spcPct val="100000"/>
              </a:lnSpc>
              <a:spcBef>
                <a:spcPts val="840"/>
              </a:spcBef>
              <a:spcAft>
                <a:spcPct val="0"/>
              </a:spcAft>
              <a:buClr>
                <a:schemeClr val="tx2"/>
              </a:buClr>
              <a:buSzPct val="85000"/>
              <a:buFont typeface="Wingdings" pitchFamily="2" charset="2"/>
              <a:buChar char="n"/>
              <a:defRPr sz="1400">
                <a:solidFill>
                  <a:schemeClr val="tx1"/>
                </a:solidFill>
                <a:latin typeface="Arial" pitchFamily="34" charset="0"/>
                <a:cs typeface="Arial" pitchFamily="34" charset="0"/>
              </a:defRPr>
            </a:lvl2pPr>
            <a:lvl3pPr marL="431951" indent="-215976" algn="l" rtl="0" eaLnBrk="1" fontAlgn="base" hangingPunct="1">
              <a:lnSpc>
                <a:spcPct val="100000"/>
              </a:lnSpc>
              <a:spcBef>
                <a:spcPts val="800"/>
              </a:spcBef>
              <a:spcAft>
                <a:spcPct val="0"/>
              </a:spcAft>
              <a:buClr>
                <a:schemeClr val="tx2"/>
              </a:buClr>
              <a:buSzPct val="100000"/>
              <a:buFont typeface="Arial" pitchFamily="34" charset="0"/>
              <a:buChar char="–"/>
              <a:defRPr sz="1400">
                <a:solidFill>
                  <a:schemeClr val="tx1"/>
                </a:solidFill>
                <a:latin typeface="Arial" pitchFamily="34" charset="0"/>
                <a:cs typeface="Arial" pitchFamily="34" charset="0"/>
              </a:defRPr>
            </a:lvl3pPr>
            <a:lvl4pPr marL="648000" indent="-216000" algn="l" rtl="0" eaLnBrk="1" fontAlgn="base" hangingPunct="1">
              <a:lnSpc>
                <a:spcPct val="100000"/>
              </a:lnSpc>
              <a:spcBef>
                <a:spcPts val="800"/>
              </a:spcBef>
              <a:spcAft>
                <a:spcPct val="0"/>
              </a:spcAft>
              <a:buClr>
                <a:schemeClr val="tx2"/>
              </a:buClr>
              <a:buSzPct val="100000"/>
              <a:buFont typeface="Arial" pitchFamily="34" charset="0"/>
              <a:buChar char="–"/>
              <a:defRPr sz="1400">
                <a:solidFill>
                  <a:schemeClr val="tx1"/>
                </a:solidFill>
                <a:latin typeface="Arial" pitchFamily="34" charset="0"/>
                <a:cs typeface="Arial" pitchFamily="34" charset="0"/>
              </a:defRPr>
            </a:lvl4pPr>
            <a:lvl5pPr marL="864000" indent="-216000" algn="l" rtl="0" eaLnBrk="1" fontAlgn="base" hangingPunct="1">
              <a:lnSpc>
                <a:spcPct val="100000"/>
              </a:lnSpc>
              <a:spcBef>
                <a:spcPts val="800"/>
              </a:spcBef>
              <a:spcAft>
                <a:spcPct val="0"/>
              </a:spcAft>
              <a:buClr>
                <a:schemeClr val="tx2"/>
              </a:buClr>
              <a:buFont typeface="Arial" pitchFamily="34" charset="0"/>
              <a:buChar char="–"/>
              <a:defRPr sz="1400">
                <a:solidFill>
                  <a:schemeClr val="tx1"/>
                </a:solidFill>
                <a:latin typeface="Arial" pitchFamily="34" charset="0"/>
                <a:cs typeface="Arial" pitchFamily="34" charset="0"/>
              </a:defRPr>
            </a:lvl5pPr>
            <a:lvl6pPr marL="1609542" indent="-226987" algn="l" rtl="0" eaLnBrk="1" fontAlgn="base" hangingPunct="1">
              <a:lnSpc>
                <a:spcPct val="95000"/>
              </a:lnSpc>
              <a:spcBef>
                <a:spcPct val="50000"/>
              </a:spcBef>
              <a:spcAft>
                <a:spcPct val="0"/>
              </a:spcAft>
              <a:buClr>
                <a:srgbClr val="4367C5"/>
              </a:buClr>
              <a:buFont typeface="Arial" charset="0"/>
              <a:buChar char="●"/>
              <a:defRPr sz="1200">
                <a:solidFill>
                  <a:srgbClr val="000000"/>
                </a:solidFill>
                <a:latin typeface="+mn-lt"/>
              </a:defRPr>
            </a:lvl6pPr>
            <a:lvl7pPr marL="2066690" indent="-226987" algn="l" rtl="0" eaLnBrk="1" fontAlgn="base" hangingPunct="1">
              <a:lnSpc>
                <a:spcPct val="95000"/>
              </a:lnSpc>
              <a:spcBef>
                <a:spcPct val="50000"/>
              </a:spcBef>
              <a:spcAft>
                <a:spcPct val="0"/>
              </a:spcAft>
              <a:buClr>
                <a:srgbClr val="4367C5"/>
              </a:buClr>
              <a:buFont typeface="Arial" charset="0"/>
              <a:buChar char="●"/>
              <a:defRPr sz="1200">
                <a:solidFill>
                  <a:srgbClr val="000000"/>
                </a:solidFill>
                <a:latin typeface="+mn-lt"/>
              </a:defRPr>
            </a:lvl7pPr>
            <a:lvl8pPr marL="2523838" indent="-226987" algn="l" rtl="0" eaLnBrk="1" fontAlgn="base" hangingPunct="1">
              <a:lnSpc>
                <a:spcPct val="95000"/>
              </a:lnSpc>
              <a:spcBef>
                <a:spcPct val="50000"/>
              </a:spcBef>
              <a:spcAft>
                <a:spcPct val="0"/>
              </a:spcAft>
              <a:buClr>
                <a:srgbClr val="4367C5"/>
              </a:buClr>
              <a:buFont typeface="Arial" charset="0"/>
              <a:buChar char="●"/>
              <a:defRPr sz="1200">
                <a:solidFill>
                  <a:srgbClr val="000000"/>
                </a:solidFill>
                <a:latin typeface="+mn-lt"/>
              </a:defRPr>
            </a:lvl8pPr>
            <a:lvl9pPr marL="2980986" indent="-226987" algn="l" rtl="0" eaLnBrk="1" fontAlgn="base" hangingPunct="1">
              <a:lnSpc>
                <a:spcPct val="95000"/>
              </a:lnSpc>
              <a:spcBef>
                <a:spcPct val="50000"/>
              </a:spcBef>
              <a:spcAft>
                <a:spcPct val="0"/>
              </a:spcAft>
              <a:buClr>
                <a:srgbClr val="4367C5"/>
              </a:buClr>
              <a:buFont typeface="Arial" charset="0"/>
              <a:buChar char="●"/>
              <a:defRPr sz="1200">
                <a:solidFill>
                  <a:srgbClr val="000000"/>
                </a:solidFill>
                <a:latin typeface="+mn-lt"/>
              </a:defRPr>
            </a:lvl9pPr>
          </a:lstStyle>
          <a:p>
            <a:pPr algn="ctr">
              <a:spcBef>
                <a:spcPct val="0"/>
              </a:spcBef>
            </a:pPr>
            <a:fld id="{90F7BF65-6DCC-49F4-9A09-BF917D17EC64}" type="datetime'2''''''1'''''''''''''''''''''''''''''''">
              <a:rPr lang="en-US" altLang="en-US" sz="1200"/>
              <a:pPr/>
              <a:t>21</a:t>
            </a:fld>
            <a:endParaRPr lang="en-US" sz="1200">
              <a:latin typeface="Arial"/>
              <a:cs typeface="Arial"/>
              <a:sym typeface="Arial"/>
            </a:endParaRPr>
          </a:p>
        </p:txBody>
      </p:sp>
      <p:sp>
        <p:nvSpPr>
          <p:cNvPr id="141" name="Text Placeholder 5"/>
          <p:cNvSpPr>
            <a:spLocks noGrp="1"/>
          </p:cNvSpPr>
          <p:nvPr>
            <p:custDataLst>
              <p:tags r:id="rId29"/>
            </p:custDataLst>
          </p:nvPr>
        </p:nvSpPr>
        <p:spPr bwMode="gray">
          <a:xfrm>
            <a:off x="4999038" y="4900613"/>
            <a:ext cx="206375"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9050" tIns="0" rIns="19050" bIns="0" rtlCol="0" anchor="ctr" anchorCtr="0">
            <a:noAutofit/>
          </a:bodyPr>
          <a:lstStyle>
            <a:lvl1pPr algn="l" rtl="0" eaLnBrk="1" fontAlgn="base" hangingPunct="1">
              <a:lnSpc>
                <a:spcPct val="100000"/>
              </a:lnSpc>
              <a:spcBef>
                <a:spcPts val="800"/>
              </a:spcBef>
              <a:spcAft>
                <a:spcPct val="0"/>
              </a:spcAft>
              <a:buClr>
                <a:srgbClr val="4367C5"/>
              </a:buClr>
              <a:buFont typeface="Wingdings" pitchFamily="2" charset="2"/>
              <a:defRPr sz="1400">
                <a:solidFill>
                  <a:schemeClr val="tx1"/>
                </a:solidFill>
                <a:latin typeface="Arial" pitchFamily="34" charset="0"/>
                <a:ea typeface="+mn-ea"/>
                <a:cs typeface="Arial" pitchFamily="34" charset="0"/>
              </a:defRPr>
            </a:lvl1pPr>
            <a:lvl2pPr marL="215976" indent="-215976" algn="l" rtl="0" eaLnBrk="1" fontAlgn="base" hangingPunct="1">
              <a:lnSpc>
                <a:spcPct val="100000"/>
              </a:lnSpc>
              <a:spcBef>
                <a:spcPts val="840"/>
              </a:spcBef>
              <a:spcAft>
                <a:spcPct val="0"/>
              </a:spcAft>
              <a:buClr>
                <a:schemeClr val="tx2"/>
              </a:buClr>
              <a:buSzPct val="85000"/>
              <a:buFont typeface="Wingdings" pitchFamily="2" charset="2"/>
              <a:buChar char="n"/>
              <a:defRPr sz="1400">
                <a:solidFill>
                  <a:schemeClr val="tx1"/>
                </a:solidFill>
                <a:latin typeface="Arial" pitchFamily="34" charset="0"/>
                <a:cs typeface="Arial" pitchFamily="34" charset="0"/>
              </a:defRPr>
            </a:lvl2pPr>
            <a:lvl3pPr marL="431951" indent="-215976" algn="l" rtl="0" eaLnBrk="1" fontAlgn="base" hangingPunct="1">
              <a:lnSpc>
                <a:spcPct val="100000"/>
              </a:lnSpc>
              <a:spcBef>
                <a:spcPts val="800"/>
              </a:spcBef>
              <a:spcAft>
                <a:spcPct val="0"/>
              </a:spcAft>
              <a:buClr>
                <a:schemeClr val="tx2"/>
              </a:buClr>
              <a:buSzPct val="100000"/>
              <a:buFont typeface="Arial" pitchFamily="34" charset="0"/>
              <a:buChar char="–"/>
              <a:defRPr sz="1400">
                <a:solidFill>
                  <a:schemeClr val="tx1"/>
                </a:solidFill>
                <a:latin typeface="Arial" pitchFamily="34" charset="0"/>
                <a:cs typeface="Arial" pitchFamily="34" charset="0"/>
              </a:defRPr>
            </a:lvl3pPr>
            <a:lvl4pPr marL="648000" indent="-216000" algn="l" rtl="0" eaLnBrk="1" fontAlgn="base" hangingPunct="1">
              <a:lnSpc>
                <a:spcPct val="100000"/>
              </a:lnSpc>
              <a:spcBef>
                <a:spcPts val="800"/>
              </a:spcBef>
              <a:spcAft>
                <a:spcPct val="0"/>
              </a:spcAft>
              <a:buClr>
                <a:schemeClr val="tx2"/>
              </a:buClr>
              <a:buSzPct val="100000"/>
              <a:buFont typeface="Arial" pitchFamily="34" charset="0"/>
              <a:buChar char="–"/>
              <a:defRPr sz="1400">
                <a:solidFill>
                  <a:schemeClr val="tx1"/>
                </a:solidFill>
                <a:latin typeface="Arial" pitchFamily="34" charset="0"/>
                <a:cs typeface="Arial" pitchFamily="34" charset="0"/>
              </a:defRPr>
            </a:lvl4pPr>
            <a:lvl5pPr marL="864000" indent="-216000" algn="l" rtl="0" eaLnBrk="1" fontAlgn="base" hangingPunct="1">
              <a:lnSpc>
                <a:spcPct val="100000"/>
              </a:lnSpc>
              <a:spcBef>
                <a:spcPts val="800"/>
              </a:spcBef>
              <a:spcAft>
                <a:spcPct val="0"/>
              </a:spcAft>
              <a:buClr>
                <a:schemeClr val="tx2"/>
              </a:buClr>
              <a:buFont typeface="Arial" pitchFamily="34" charset="0"/>
              <a:buChar char="–"/>
              <a:defRPr sz="1400">
                <a:solidFill>
                  <a:schemeClr val="tx1"/>
                </a:solidFill>
                <a:latin typeface="Arial" pitchFamily="34" charset="0"/>
                <a:cs typeface="Arial" pitchFamily="34" charset="0"/>
              </a:defRPr>
            </a:lvl5pPr>
            <a:lvl6pPr marL="1609542" indent="-226987" algn="l" rtl="0" eaLnBrk="1" fontAlgn="base" hangingPunct="1">
              <a:lnSpc>
                <a:spcPct val="95000"/>
              </a:lnSpc>
              <a:spcBef>
                <a:spcPct val="50000"/>
              </a:spcBef>
              <a:spcAft>
                <a:spcPct val="0"/>
              </a:spcAft>
              <a:buClr>
                <a:srgbClr val="4367C5"/>
              </a:buClr>
              <a:buFont typeface="Arial" charset="0"/>
              <a:buChar char="●"/>
              <a:defRPr sz="1200">
                <a:solidFill>
                  <a:srgbClr val="000000"/>
                </a:solidFill>
                <a:latin typeface="+mn-lt"/>
              </a:defRPr>
            </a:lvl6pPr>
            <a:lvl7pPr marL="2066690" indent="-226987" algn="l" rtl="0" eaLnBrk="1" fontAlgn="base" hangingPunct="1">
              <a:lnSpc>
                <a:spcPct val="95000"/>
              </a:lnSpc>
              <a:spcBef>
                <a:spcPct val="50000"/>
              </a:spcBef>
              <a:spcAft>
                <a:spcPct val="0"/>
              </a:spcAft>
              <a:buClr>
                <a:srgbClr val="4367C5"/>
              </a:buClr>
              <a:buFont typeface="Arial" charset="0"/>
              <a:buChar char="●"/>
              <a:defRPr sz="1200">
                <a:solidFill>
                  <a:srgbClr val="000000"/>
                </a:solidFill>
                <a:latin typeface="+mn-lt"/>
              </a:defRPr>
            </a:lvl7pPr>
            <a:lvl8pPr marL="2523838" indent="-226987" algn="l" rtl="0" eaLnBrk="1" fontAlgn="base" hangingPunct="1">
              <a:lnSpc>
                <a:spcPct val="95000"/>
              </a:lnSpc>
              <a:spcBef>
                <a:spcPct val="50000"/>
              </a:spcBef>
              <a:spcAft>
                <a:spcPct val="0"/>
              </a:spcAft>
              <a:buClr>
                <a:srgbClr val="4367C5"/>
              </a:buClr>
              <a:buFont typeface="Arial" charset="0"/>
              <a:buChar char="●"/>
              <a:defRPr sz="1200">
                <a:solidFill>
                  <a:srgbClr val="000000"/>
                </a:solidFill>
                <a:latin typeface="+mn-lt"/>
              </a:defRPr>
            </a:lvl8pPr>
            <a:lvl9pPr marL="2980986" indent="-226987" algn="l" rtl="0" eaLnBrk="1" fontAlgn="base" hangingPunct="1">
              <a:lnSpc>
                <a:spcPct val="95000"/>
              </a:lnSpc>
              <a:spcBef>
                <a:spcPct val="50000"/>
              </a:spcBef>
              <a:spcAft>
                <a:spcPct val="0"/>
              </a:spcAft>
              <a:buClr>
                <a:srgbClr val="4367C5"/>
              </a:buClr>
              <a:buFont typeface="Arial" charset="0"/>
              <a:buChar char="●"/>
              <a:defRPr sz="1200">
                <a:solidFill>
                  <a:srgbClr val="000000"/>
                </a:solidFill>
                <a:latin typeface="+mn-lt"/>
              </a:defRPr>
            </a:lvl9pPr>
          </a:lstStyle>
          <a:p>
            <a:pPr algn="ctr">
              <a:spcBef>
                <a:spcPct val="0"/>
              </a:spcBef>
            </a:pPr>
            <a:fld id="{6838E8F9-B8BC-4F00-AF17-8088268F9BDE}" type="datetime'''''1''''''''''''''''''4'''''''''''''''''''''''''''''''''">
              <a:rPr lang="en-US" altLang="en-US" sz="1200"/>
              <a:pPr/>
              <a:t>14</a:t>
            </a:fld>
            <a:endParaRPr lang="en-US" sz="1200">
              <a:latin typeface="Arial"/>
              <a:cs typeface="Arial"/>
              <a:sym typeface="Arial"/>
            </a:endParaRPr>
          </a:p>
        </p:txBody>
      </p:sp>
      <p:sp>
        <p:nvSpPr>
          <p:cNvPr id="140" name="Text Placeholder 6"/>
          <p:cNvSpPr>
            <a:spLocks noGrp="1"/>
          </p:cNvSpPr>
          <p:nvPr>
            <p:custDataLst>
              <p:tags r:id="rId30"/>
            </p:custDataLst>
          </p:nvPr>
        </p:nvSpPr>
        <p:spPr bwMode="gray">
          <a:xfrm>
            <a:off x="5210175" y="4772025"/>
            <a:ext cx="122238"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9050" tIns="0" rIns="19050" bIns="0" rtlCol="0" anchor="ctr" anchorCtr="0">
            <a:noAutofit/>
          </a:bodyPr>
          <a:lstStyle>
            <a:lvl1pPr algn="l" rtl="0" eaLnBrk="1" fontAlgn="base" hangingPunct="1">
              <a:lnSpc>
                <a:spcPct val="100000"/>
              </a:lnSpc>
              <a:spcBef>
                <a:spcPts val="800"/>
              </a:spcBef>
              <a:spcAft>
                <a:spcPct val="0"/>
              </a:spcAft>
              <a:buClr>
                <a:srgbClr val="4367C5"/>
              </a:buClr>
              <a:buFont typeface="Wingdings" pitchFamily="2" charset="2"/>
              <a:defRPr sz="1400">
                <a:solidFill>
                  <a:schemeClr val="tx1"/>
                </a:solidFill>
                <a:latin typeface="Arial" pitchFamily="34" charset="0"/>
                <a:ea typeface="+mn-ea"/>
                <a:cs typeface="Arial" pitchFamily="34" charset="0"/>
              </a:defRPr>
            </a:lvl1pPr>
            <a:lvl2pPr marL="215976" indent="-215976" algn="l" rtl="0" eaLnBrk="1" fontAlgn="base" hangingPunct="1">
              <a:lnSpc>
                <a:spcPct val="100000"/>
              </a:lnSpc>
              <a:spcBef>
                <a:spcPts val="840"/>
              </a:spcBef>
              <a:spcAft>
                <a:spcPct val="0"/>
              </a:spcAft>
              <a:buClr>
                <a:schemeClr val="tx2"/>
              </a:buClr>
              <a:buSzPct val="85000"/>
              <a:buFont typeface="Wingdings" pitchFamily="2" charset="2"/>
              <a:buChar char="n"/>
              <a:defRPr sz="1400">
                <a:solidFill>
                  <a:schemeClr val="tx1"/>
                </a:solidFill>
                <a:latin typeface="Arial" pitchFamily="34" charset="0"/>
                <a:cs typeface="Arial" pitchFamily="34" charset="0"/>
              </a:defRPr>
            </a:lvl2pPr>
            <a:lvl3pPr marL="431951" indent="-215976" algn="l" rtl="0" eaLnBrk="1" fontAlgn="base" hangingPunct="1">
              <a:lnSpc>
                <a:spcPct val="100000"/>
              </a:lnSpc>
              <a:spcBef>
                <a:spcPts val="800"/>
              </a:spcBef>
              <a:spcAft>
                <a:spcPct val="0"/>
              </a:spcAft>
              <a:buClr>
                <a:schemeClr val="tx2"/>
              </a:buClr>
              <a:buSzPct val="100000"/>
              <a:buFont typeface="Arial" pitchFamily="34" charset="0"/>
              <a:buChar char="–"/>
              <a:defRPr sz="1400">
                <a:solidFill>
                  <a:schemeClr val="tx1"/>
                </a:solidFill>
                <a:latin typeface="Arial" pitchFamily="34" charset="0"/>
                <a:cs typeface="Arial" pitchFamily="34" charset="0"/>
              </a:defRPr>
            </a:lvl3pPr>
            <a:lvl4pPr marL="648000" indent="-216000" algn="l" rtl="0" eaLnBrk="1" fontAlgn="base" hangingPunct="1">
              <a:lnSpc>
                <a:spcPct val="100000"/>
              </a:lnSpc>
              <a:spcBef>
                <a:spcPts val="800"/>
              </a:spcBef>
              <a:spcAft>
                <a:spcPct val="0"/>
              </a:spcAft>
              <a:buClr>
                <a:schemeClr val="tx2"/>
              </a:buClr>
              <a:buSzPct val="100000"/>
              <a:buFont typeface="Arial" pitchFamily="34" charset="0"/>
              <a:buChar char="–"/>
              <a:defRPr sz="1400">
                <a:solidFill>
                  <a:schemeClr val="tx1"/>
                </a:solidFill>
                <a:latin typeface="Arial" pitchFamily="34" charset="0"/>
                <a:cs typeface="Arial" pitchFamily="34" charset="0"/>
              </a:defRPr>
            </a:lvl4pPr>
            <a:lvl5pPr marL="864000" indent="-216000" algn="l" rtl="0" eaLnBrk="1" fontAlgn="base" hangingPunct="1">
              <a:lnSpc>
                <a:spcPct val="100000"/>
              </a:lnSpc>
              <a:spcBef>
                <a:spcPts val="800"/>
              </a:spcBef>
              <a:spcAft>
                <a:spcPct val="0"/>
              </a:spcAft>
              <a:buClr>
                <a:schemeClr val="tx2"/>
              </a:buClr>
              <a:buFont typeface="Arial" pitchFamily="34" charset="0"/>
              <a:buChar char="–"/>
              <a:defRPr sz="1400">
                <a:solidFill>
                  <a:schemeClr val="tx1"/>
                </a:solidFill>
                <a:latin typeface="Arial" pitchFamily="34" charset="0"/>
                <a:cs typeface="Arial" pitchFamily="34" charset="0"/>
              </a:defRPr>
            </a:lvl5pPr>
            <a:lvl6pPr marL="1609542" indent="-226987" algn="l" rtl="0" eaLnBrk="1" fontAlgn="base" hangingPunct="1">
              <a:lnSpc>
                <a:spcPct val="95000"/>
              </a:lnSpc>
              <a:spcBef>
                <a:spcPct val="50000"/>
              </a:spcBef>
              <a:spcAft>
                <a:spcPct val="0"/>
              </a:spcAft>
              <a:buClr>
                <a:srgbClr val="4367C5"/>
              </a:buClr>
              <a:buFont typeface="Arial" charset="0"/>
              <a:buChar char="●"/>
              <a:defRPr sz="1200">
                <a:solidFill>
                  <a:srgbClr val="000000"/>
                </a:solidFill>
                <a:latin typeface="+mn-lt"/>
              </a:defRPr>
            </a:lvl6pPr>
            <a:lvl7pPr marL="2066690" indent="-226987" algn="l" rtl="0" eaLnBrk="1" fontAlgn="base" hangingPunct="1">
              <a:lnSpc>
                <a:spcPct val="95000"/>
              </a:lnSpc>
              <a:spcBef>
                <a:spcPct val="50000"/>
              </a:spcBef>
              <a:spcAft>
                <a:spcPct val="0"/>
              </a:spcAft>
              <a:buClr>
                <a:srgbClr val="4367C5"/>
              </a:buClr>
              <a:buFont typeface="Arial" charset="0"/>
              <a:buChar char="●"/>
              <a:defRPr sz="1200">
                <a:solidFill>
                  <a:srgbClr val="000000"/>
                </a:solidFill>
                <a:latin typeface="+mn-lt"/>
              </a:defRPr>
            </a:lvl7pPr>
            <a:lvl8pPr marL="2523838" indent="-226987" algn="l" rtl="0" eaLnBrk="1" fontAlgn="base" hangingPunct="1">
              <a:lnSpc>
                <a:spcPct val="95000"/>
              </a:lnSpc>
              <a:spcBef>
                <a:spcPct val="50000"/>
              </a:spcBef>
              <a:spcAft>
                <a:spcPct val="0"/>
              </a:spcAft>
              <a:buClr>
                <a:srgbClr val="4367C5"/>
              </a:buClr>
              <a:buFont typeface="Arial" charset="0"/>
              <a:buChar char="●"/>
              <a:defRPr sz="1200">
                <a:solidFill>
                  <a:srgbClr val="000000"/>
                </a:solidFill>
                <a:latin typeface="+mn-lt"/>
              </a:defRPr>
            </a:lvl8pPr>
            <a:lvl9pPr marL="2980986" indent="-226987" algn="l" rtl="0" eaLnBrk="1" fontAlgn="base" hangingPunct="1">
              <a:lnSpc>
                <a:spcPct val="95000"/>
              </a:lnSpc>
              <a:spcBef>
                <a:spcPct val="50000"/>
              </a:spcBef>
              <a:spcAft>
                <a:spcPct val="0"/>
              </a:spcAft>
              <a:buClr>
                <a:srgbClr val="4367C5"/>
              </a:buClr>
              <a:buFont typeface="Arial" charset="0"/>
              <a:buChar char="●"/>
              <a:defRPr sz="1200">
                <a:solidFill>
                  <a:srgbClr val="000000"/>
                </a:solidFill>
                <a:latin typeface="+mn-lt"/>
              </a:defRPr>
            </a:lvl9pPr>
          </a:lstStyle>
          <a:p>
            <a:pPr algn="ctr">
              <a:spcBef>
                <a:spcPct val="0"/>
              </a:spcBef>
            </a:pPr>
            <a:fld id="{566E8488-B21C-43C0-8BAF-834B18053B3A}" type="datetime'''''''''''7'''''''''''''''''''">
              <a:rPr lang="en-US" altLang="en-US" sz="1200"/>
              <a:pPr/>
              <a:t>7</a:t>
            </a:fld>
            <a:endParaRPr lang="en-US" sz="1200">
              <a:latin typeface="Arial"/>
              <a:cs typeface="Arial"/>
              <a:sym typeface="Arial"/>
            </a:endParaRPr>
          </a:p>
        </p:txBody>
      </p:sp>
      <p:sp>
        <p:nvSpPr>
          <p:cNvPr id="143" name="Rectangle 12"/>
          <p:cNvSpPr txBox="1">
            <a:spLocks noChangeArrowheads="1"/>
          </p:cNvSpPr>
          <p:nvPr>
            <p:custDataLst>
              <p:tags r:id="rId31"/>
            </p:custDataLst>
          </p:nvPr>
        </p:nvSpPr>
        <p:spPr bwMode="gray">
          <a:xfrm>
            <a:off x="4040188" y="5421313"/>
            <a:ext cx="862013" cy="365125"/>
          </a:xfrm>
          <a:prstGeom prst="rect">
            <a:avLst/>
          </a:prstGeom>
          <a:noFill/>
          <a:ln/>
        </p:spPr>
        <p:txBody>
          <a:bodyPr vert="horz" wrap="none" lIns="0" tIns="0" rIns="0" bIns="0" rtlCol="0" anchor="ctr">
            <a:noAutofit/>
          </a:bodyPr>
          <a:lstStyle>
            <a:lvl1pPr algn="l" rtl="0" eaLnBrk="1" fontAlgn="base" hangingPunct="1">
              <a:lnSpc>
                <a:spcPct val="100000"/>
              </a:lnSpc>
              <a:spcBef>
                <a:spcPts val="800"/>
              </a:spcBef>
              <a:spcAft>
                <a:spcPct val="0"/>
              </a:spcAft>
              <a:buClr>
                <a:srgbClr val="4367C5"/>
              </a:buClr>
              <a:buFont typeface="Wingdings" pitchFamily="2" charset="2"/>
              <a:defRPr sz="1400">
                <a:solidFill>
                  <a:schemeClr val="tx1"/>
                </a:solidFill>
                <a:latin typeface="Arial" pitchFamily="34" charset="0"/>
                <a:ea typeface="+mn-ea"/>
                <a:cs typeface="Arial" pitchFamily="34" charset="0"/>
              </a:defRPr>
            </a:lvl1pPr>
            <a:lvl2pPr marL="215976" indent="-215976" algn="l" rtl="0" eaLnBrk="1" fontAlgn="base" hangingPunct="1">
              <a:lnSpc>
                <a:spcPct val="100000"/>
              </a:lnSpc>
              <a:spcBef>
                <a:spcPts val="840"/>
              </a:spcBef>
              <a:spcAft>
                <a:spcPct val="0"/>
              </a:spcAft>
              <a:buClr>
                <a:schemeClr val="tx2"/>
              </a:buClr>
              <a:buSzPct val="85000"/>
              <a:buFont typeface="Wingdings" pitchFamily="2" charset="2"/>
              <a:buChar char="n"/>
              <a:defRPr sz="1400">
                <a:solidFill>
                  <a:schemeClr val="tx1"/>
                </a:solidFill>
                <a:latin typeface="Arial" pitchFamily="34" charset="0"/>
                <a:cs typeface="Arial" pitchFamily="34" charset="0"/>
              </a:defRPr>
            </a:lvl2pPr>
            <a:lvl3pPr marL="431951" indent="-215976" algn="l" rtl="0" eaLnBrk="1" fontAlgn="base" hangingPunct="1">
              <a:lnSpc>
                <a:spcPct val="100000"/>
              </a:lnSpc>
              <a:spcBef>
                <a:spcPts val="800"/>
              </a:spcBef>
              <a:spcAft>
                <a:spcPct val="0"/>
              </a:spcAft>
              <a:buClr>
                <a:schemeClr val="tx2"/>
              </a:buClr>
              <a:buSzPct val="100000"/>
              <a:buFont typeface="Arial" pitchFamily="34" charset="0"/>
              <a:buChar char="–"/>
              <a:defRPr sz="1400">
                <a:solidFill>
                  <a:schemeClr val="tx1"/>
                </a:solidFill>
                <a:latin typeface="Arial" pitchFamily="34" charset="0"/>
                <a:cs typeface="Arial" pitchFamily="34" charset="0"/>
              </a:defRPr>
            </a:lvl3pPr>
            <a:lvl4pPr marL="648000" indent="-216000" algn="l" rtl="0" eaLnBrk="1" fontAlgn="base" hangingPunct="1">
              <a:lnSpc>
                <a:spcPct val="100000"/>
              </a:lnSpc>
              <a:spcBef>
                <a:spcPts val="800"/>
              </a:spcBef>
              <a:spcAft>
                <a:spcPct val="0"/>
              </a:spcAft>
              <a:buClr>
                <a:schemeClr val="tx2"/>
              </a:buClr>
              <a:buSzPct val="100000"/>
              <a:buFont typeface="Arial" pitchFamily="34" charset="0"/>
              <a:buChar char="–"/>
              <a:defRPr sz="1400">
                <a:solidFill>
                  <a:schemeClr val="tx1"/>
                </a:solidFill>
                <a:latin typeface="Arial" pitchFamily="34" charset="0"/>
                <a:cs typeface="Arial" pitchFamily="34" charset="0"/>
              </a:defRPr>
            </a:lvl4pPr>
            <a:lvl5pPr marL="864000" indent="-216000" algn="l" rtl="0" eaLnBrk="1" fontAlgn="base" hangingPunct="1">
              <a:lnSpc>
                <a:spcPct val="100000"/>
              </a:lnSpc>
              <a:spcBef>
                <a:spcPts val="800"/>
              </a:spcBef>
              <a:spcAft>
                <a:spcPct val="0"/>
              </a:spcAft>
              <a:buClr>
                <a:schemeClr val="tx2"/>
              </a:buClr>
              <a:buFont typeface="Arial" pitchFamily="34" charset="0"/>
              <a:buChar char="–"/>
              <a:defRPr sz="1400">
                <a:solidFill>
                  <a:schemeClr val="tx1"/>
                </a:solidFill>
                <a:latin typeface="Arial" pitchFamily="34" charset="0"/>
                <a:cs typeface="Arial" pitchFamily="34" charset="0"/>
              </a:defRPr>
            </a:lvl5pPr>
            <a:lvl6pPr marL="1609542" indent="-226987" algn="l" rtl="0" eaLnBrk="1" fontAlgn="base" hangingPunct="1">
              <a:lnSpc>
                <a:spcPct val="95000"/>
              </a:lnSpc>
              <a:spcBef>
                <a:spcPct val="50000"/>
              </a:spcBef>
              <a:spcAft>
                <a:spcPct val="0"/>
              </a:spcAft>
              <a:buClr>
                <a:srgbClr val="4367C5"/>
              </a:buClr>
              <a:buFont typeface="Arial" charset="0"/>
              <a:buChar char="●"/>
              <a:defRPr sz="1200">
                <a:solidFill>
                  <a:srgbClr val="000000"/>
                </a:solidFill>
                <a:latin typeface="+mn-lt"/>
              </a:defRPr>
            </a:lvl6pPr>
            <a:lvl7pPr marL="2066690" indent="-226987" algn="l" rtl="0" eaLnBrk="1" fontAlgn="base" hangingPunct="1">
              <a:lnSpc>
                <a:spcPct val="95000"/>
              </a:lnSpc>
              <a:spcBef>
                <a:spcPct val="50000"/>
              </a:spcBef>
              <a:spcAft>
                <a:spcPct val="0"/>
              </a:spcAft>
              <a:buClr>
                <a:srgbClr val="4367C5"/>
              </a:buClr>
              <a:buFont typeface="Arial" charset="0"/>
              <a:buChar char="●"/>
              <a:defRPr sz="1200">
                <a:solidFill>
                  <a:srgbClr val="000000"/>
                </a:solidFill>
                <a:latin typeface="+mn-lt"/>
              </a:defRPr>
            </a:lvl7pPr>
            <a:lvl8pPr marL="2523838" indent="-226987" algn="l" rtl="0" eaLnBrk="1" fontAlgn="base" hangingPunct="1">
              <a:lnSpc>
                <a:spcPct val="95000"/>
              </a:lnSpc>
              <a:spcBef>
                <a:spcPct val="50000"/>
              </a:spcBef>
              <a:spcAft>
                <a:spcPct val="0"/>
              </a:spcAft>
              <a:buClr>
                <a:srgbClr val="4367C5"/>
              </a:buClr>
              <a:buFont typeface="Arial" charset="0"/>
              <a:buChar char="●"/>
              <a:defRPr sz="1200">
                <a:solidFill>
                  <a:srgbClr val="000000"/>
                </a:solidFill>
                <a:latin typeface="+mn-lt"/>
              </a:defRPr>
            </a:lvl8pPr>
            <a:lvl9pPr marL="2980986" indent="-226987" algn="l" rtl="0" eaLnBrk="1" fontAlgn="base" hangingPunct="1">
              <a:lnSpc>
                <a:spcPct val="95000"/>
              </a:lnSpc>
              <a:spcBef>
                <a:spcPct val="50000"/>
              </a:spcBef>
              <a:spcAft>
                <a:spcPct val="0"/>
              </a:spcAft>
              <a:buClr>
                <a:srgbClr val="4367C5"/>
              </a:buClr>
              <a:buFont typeface="Arial" charset="0"/>
              <a:buChar char="●"/>
              <a:defRPr sz="1200">
                <a:solidFill>
                  <a:srgbClr val="000000"/>
                </a:solidFill>
                <a:latin typeface="+mn-lt"/>
              </a:defRPr>
            </a:lvl9pPr>
          </a:lstStyle>
          <a:p>
            <a:r>
              <a:rPr lang="en-US" sz="1200" dirty="0">
                <a:latin typeface="Arial"/>
                <a:cs typeface="Arial"/>
                <a:sym typeface="Arial"/>
              </a:rPr>
              <a:t>Poor project </a:t>
            </a:r>
            <a:br>
              <a:rPr lang="en-US" sz="1200" dirty="0">
                <a:latin typeface="Arial"/>
                <a:cs typeface="Arial"/>
                <a:sym typeface="Arial"/>
              </a:rPr>
            </a:br>
            <a:r>
              <a:rPr lang="en-US" sz="1200" dirty="0">
                <a:latin typeface="Arial"/>
                <a:cs typeface="Arial"/>
                <a:sym typeface="Arial"/>
              </a:rPr>
              <a:t>execution</a:t>
            </a:r>
          </a:p>
        </p:txBody>
      </p:sp>
      <p:sp>
        <p:nvSpPr>
          <p:cNvPr id="142" name="Rectangle 11"/>
          <p:cNvSpPr txBox="1">
            <a:spLocks noChangeArrowheads="1"/>
          </p:cNvSpPr>
          <p:nvPr>
            <p:custDataLst>
              <p:tags r:id="rId32"/>
            </p:custDataLst>
          </p:nvPr>
        </p:nvSpPr>
        <p:spPr bwMode="gray">
          <a:xfrm>
            <a:off x="3376613" y="4362450"/>
            <a:ext cx="1562100" cy="547688"/>
          </a:xfrm>
          <a:prstGeom prst="rect">
            <a:avLst/>
          </a:prstGeom>
          <a:noFill/>
          <a:ln/>
        </p:spPr>
        <p:txBody>
          <a:bodyPr vert="horz" wrap="none" lIns="0" tIns="0" rIns="0" bIns="0" rtlCol="0" anchor="ctr">
            <a:noAutofit/>
          </a:bodyPr>
          <a:lstStyle>
            <a:lvl1pPr algn="l" rtl="0" eaLnBrk="1" fontAlgn="base" hangingPunct="1">
              <a:lnSpc>
                <a:spcPct val="100000"/>
              </a:lnSpc>
              <a:spcBef>
                <a:spcPts val="800"/>
              </a:spcBef>
              <a:spcAft>
                <a:spcPct val="0"/>
              </a:spcAft>
              <a:buClr>
                <a:srgbClr val="4367C5"/>
              </a:buClr>
              <a:buFont typeface="Wingdings" pitchFamily="2" charset="2"/>
              <a:defRPr sz="1400">
                <a:solidFill>
                  <a:schemeClr val="tx1"/>
                </a:solidFill>
                <a:latin typeface="Arial" pitchFamily="34" charset="0"/>
                <a:ea typeface="+mn-ea"/>
                <a:cs typeface="Arial" pitchFamily="34" charset="0"/>
              </a:defRPr>
            </a:lvl1pPr>
            <a:lvl2pPr marL="215976" indent="-215976" algn="l" rtl="0" eaLnBrk="1" fontAlgn="base" hangingPunct="1">
              <a:lnSpc>
                <a:spcPct val="100000"/>
              </a:lnSpc>
              <a:spcBef>
                <a:spcPts val="840"/>
              </a:spcBef>
              <a:spcAft>
                <a:spcPct val="0"/>
              </a:spcAft>
              <a:buClr>
                <a:schemeClr val="tx2"/>
              </a:buClr>
              <a:buSzPct val="85000"/>
              <a:buFont typeface="Wingdings" pitchFamily="2" charset="2"/>
              <a:buChar char="n"/>
              <a:defRPr sz="1400">
                <a:solidFill>
                  <a:schemeClr val="tx1"/>
                </a:solidFill>
                <a:latin typeface="Arial" pitchFamily="34" charset="0"/>
                <a:cs typeface="Arial" pitchFamily="34" charset="0"/>
              </a:defRPr>
            </a:lvl2pPr>
            <a:lvl3pPr marL="431951" indent="-215976" algn="l" rtl="0" eaLnBrk="1" fontAlgn="base" hangingPunct="1">
              <a:lnSpc>
                <a:spcPct val="100000"/>
              </a:lnSpc>
              <a:spcBef>
                <a:spcPts val="800"/>
              </a:spcBef>
              <a:spcAft>
                <a:spcPct val="0"/>
              </a:spcAft>
              <a:buClr>
                <a:schemeClr val="tx2"/>
              </a:buClr>
              <a:buSzPct val="100000"/>
              <a:buFont typeface="Arial" pitchFamily="34" charset="0"/>
              <a:buChar char="–"/>
              <a:defRPr sz="1400">
                <a:solidFill>
                  <a:schemeClr val="tx1"/>
                </a:solidFill>
                <a:latin typeface="Arial" pitchFamily="34" charset="0"/>
                <a:cs typeface="Arial" pitchFamily="34" charset="0"/>
              </a:defRPr>
            </a:lvl3pPr>
            <a:lvl4pPr marL="648000" indent="-216000" algn="l" rtl="0" eaLnBrk="1" fontAlgn="base" hangingPunct="1">
              <a:lnSpc>
                <a:spcPct val="100000"/>
              </a:lnSpc>
              <a:spcBef>
                <a:spcPts val="800"/>
              </a:spcBef>
              <a:spcAft>
                <a:spcPct val="0"/>
              </a:spcAft>
              <a:buClr>
                <a:schemeClr val="tx2"/>
              </a:buClr>
              <a:buSzPct val="100000"/>
              <a:buFont typeface="Arial" pitchFamily="34" charset="0"/>
              <a:buChar char="–"/>
              <a:defRPr sz="1400">
                <a:solidFill>
                  <a:schemeClr val="tx1"/>
                </a:solidFill>
                <a:latin typeface="Arial" pitchFamily="34" charset="0"/>
                <a:cs typeface="Arial" pitchFamily="34" charset="0"/>
              </a:defRPr>
            </a:lvl4pPr>
            <a:lvl5pPr marL="864000" indent="-216000" algn="l" rtl="0" eaLnBrk="1" fontAlgn="base" hangingPunct="1">
              <a:lnSpc>
                <a:spcPct val="100000"/>
              </a:lnSpc>
              <a:spcBef>
                <a:spcPts val="800"/>
              </a:spcBef>
              <a:spcAft>
                <a:spcPct val="0"/>
              </a:spcAft>
              <a:buClr>
                <a:schemeClr val="tx2"/>
              </a:buClr>
              <a:buFont typeface="Arial" pitchFamily="34" charset="0"/>
              <a:buChar char="–"/>
              <a:defRPr sz="1400">
                <a:solidFill>
                  <a:schemeClr val="tx1"/>
                </a:solidFill>
                <a:latin typeface="Arial" pitchFamily="34" charset="0"/>
                <a:cs typeface="Arial" pitchFamily="34" charset="0"/>
              </a:defRPr>
            </a:lvl5pPr>
            <a:lvl6pPr marL="1609542" indent="-226987" algn="l" rtl="0" eaLnBrk="1" fontAlgn="base" hangingPunct="1">
              <a:lnSpc>
                <a:spcPct val="95000"/>
              </a:lnSpc>
              <a:spcBef>
                <a:spcPct val="50000"/>
              </a:spcBef>
              <a:spcAft>
                <a:spcPct val="0"/>
              </a:spcAft>
              <a:buClr>
                <a:srgbClr val="4367C5"/>
              </a:buClr>
              <a:buFont typeface="Arial" charset="0"/>
              <a:buChar char="●"/>
              <a:defRPr sz="1200">
                <a:solidFill>
                  <a:srgbClr val="000000"/>
                </a:solidFill>
                <a:latin typeface="+mn-lt"/>
              </a:defRPr>
            </a:lvl6pPr>
            <a:lvl7pPr marL="2066690" indent="-226987" algn="l" rtl="0" eaLnBrk="1" fontAlgn="base" hangingPunct="1">
              <a:lnSpc>
                <a:spcPct val="95000"/>
              </a:lnSpc>
              <a:spcBef>
                <a:spcPct val="50000"/>
              </a:spcBef>
              <a:spcAft>
                <a:spcPct val="0"/>
              </a:spcAft>
              <a:buClr>
                <a:srgbClr val="4367C5"/>
              </a:buClr>
              <a:buFont typeface="Arial" charset="0"/>
              <a:buChar char="●"/>
              <a:defRPr sz="1200">
                <a:solidFill>
                  <a:srgbClr val="000000"/>
                </a:solidFill>
                <a:latin typeface="+mn-lt"/>
              </a:defRPr>
            </a:lvl7pPr>
            <a:lvl8pPr marL="2523838" indent="-226987" algn="l" rtl="0" eaLnBrk="1" fontAlgn="base" hangingPunct="1">
              <a:lnSpc>
                <a:spcPct val="95000"/>
              </a:lnSpc>
              <a:spcBef>
                <a:spcPct val="50000"/>
              </a:spcBef>
              <a:spcAft>
                <a:spcPct val="0"/>
              </a:spcAft>
              <a:buClr>
                <a:srgbClr val="4367C5"/>
              </a:buClr>
              <a:buFont typeface="Arial" charset="0"/>
              <a:buChar char="●"/>
              <a:defRPr sz="1200">
                <a:solidFill>
                  <a:srgbClr val="000000"/>
                </a:solidFill>
                <a:latin typeface="+mn-lt"/>
              </a:defRPr>
            </a:lvl8pPr>
            <a:lvl9pPr marL="2980986" indent="-226987" algn="l" rtl="0" eaLnBrk="1" fontAlgn="base" hangingPunct="1">
              <a:lnSpc>
                <a:spcPct val="95000"/>
              </a:lnSpc>
              <a:spcBef>
                <a:spcPct val="50000"/>
              </a:spcBef>
              <a:spcAft>
                <a:spcPct val="0"/>
              </a:spcAft>
              <a:buClr>
                <a:srgbClr val="4367C5"/>
              </a:buClr>
              <a:buFont typeface="Arial" charset="0"/>
              <a:buChar char="●"/>
              <a:defRPr sz="1200">
                <a:solidFill>
                  <a:srgbClr val="000000"/>
                </a:solidFill>
                <a:latin typeface="+mn-lt"/>
              </a:defRPr>
            </a:lvl9pPr>
          </a:lstStyle>
          <a:p>
            <a:r>
              <a:rPr lang="en-US" sz="1200" dirty="0">
                <a:latin typeface="Arial"/>
                <a:cs typeface="Arial"/>
                <a:sym typeface="Arial"/>
              </a:rPr>
              <a:t>Inability to design </a:t>
            </a:r>
            <a:br>
              <a:rPr lang="en-US" sz="1200" dirty="0">
                <a:latin typeface="Arial"/>
                <a:cs typeface="Arial"/>
                <a:sym typeface="Arial"/>
              </a:rPr>
            </a:br>
            <a:r>
              <a:rPr lang="en-US" sz="1200" dirty="0">
                <a:latin typeface="Arial"/>
                <a:cs typeface="Arial"/>
                <a:sym typeface="Arial"/>
              </a:rPr>
              <a:t>successful operating </a:t>
            </a:r>
            <a:br>
              <a:rPr lang="en-US" sz="1200" dirty="0">
                <a:latin typeface="Arial"/>
                <a:cs typeface="Arial"/>
                <a:sym typeface="Arial"/>
              </a:rPr>
            </a:br>
            <a:r>
              <a:rPr lang="en-US" sz="1200" dirty="0">
                <a:latin typeface="Arial"/>
                <a:cs typeface="Arial"/>
                <a:sym typeface="Arial"/>
              </a:rPr>
              <a:t>model of new company</a:t>
            </a:r>
          </a:p>
        </p:txBody>
      </p:sp>
      <p:sp>
        <p:nvSpPr>
          <p:cNvPr id="145" name="Rectangle 15"/>
          <p:cNvSpPr txBox="1">
            <a:spLocks noChangeArrowheads="1"/>
          </p:cNvSpPr>
          <p:nvPr>
            <p:custDataLst>
              <p:tags r:id="rId33"/>
            </p:custDataLst>
          </p:nvPr>
        </p:nvSpPr>
        <p:spPr bwMode="gray">
          <a:xfrm>
            <a:off x="5354638" y="5675313"/>
            <a:ext cx="1062038" cy="365125"/>
          </a:xfrm>
          <a:prstGeom prst="rect">
            <a:avLst/>
          </a:prstGeom>
          <a:noFill/>
          <a:ln/>
        </p:spPr>
        <p:txBody>
          <a:bodyPr vert="horz" wrap="none" lIns="0" tIns="0" rIns="0" bIns="0" rtlCol="0" anchor="ctr">
            <a:noAutofit/>
          </a:bodyPr>
          <a:lstStyle>
            <a:lvl1pPr algn="l" rtl="0" eaLnBrk="1" fontAlgn="base" hangingPunct="1">
              <a:lnSpc>
                <a:spcPct val="100000"/>
              </a:lnSpc>
              <a:spcBef>
                <a:spcPts val="800"/>
              </a:spcBef>
              <a:spcAft>
                <a:spcPct val="0"/>
              </a:spcAft>
              <a:buClr>
                <a:srgbClr val="4367C5"/>
              </a:buClr>
              <a:buFont typeface="Wingdings" pitchFamily="2" charset="2"/>
              <a:defRPr sz="1400">
                <a:solidFill>
                  <a:schemeClr val="tx1"/>
                </a:solidFill>
                <a:latin typeface="Arial" pitchFamily="34" charset="0"/>
                <a:ea typeface="+mn-ea"/>
                <a:cs typeface="Arial" pitchFamily="34" charset="0"/>
              </a:defRPr>
            </a:lvl1pPr>
            <a:lvl2pPr marL="215976" indent="-215976" algn="l" rtl="0" eaLnBrk="1" fontAlgn="base" hangingPunct="1">
              <a:lnSpc>
                <a:spcPct val="100000"/>
              </a:lnSpc>
              <a:spcBef>
                <a:spcPts val="840"/>
              </a:spcBef>
              <a:spcAft>
                <a:spcPct val="0"/>
              </a:spcAft>
              <a:buClr>
                <a:schemeClr val="tx2"/>
              </a:buClr>
              <a:buSzPct val="85000"/>
              <a:buFont typeface="Wingdings" pitchFamily="2" charset="2"/>
              <a:buChar char="n"/>
              <a:defRPr sz="1400">
                <a:solidFill>
                  <a:schemeClr val="tx1"/>
                </a:solidFill>
                <a:latin typeface="Arial" pitchFamily="34" charset="0"/>
                <a:cs typeface="Arial" pitchFamily="34" charset="0"/>
              </a:defRPr>
            </a:lvl2pPr>
            <a:lvl3pPr marL="431951" indent="-215976" algn="l" rtl="0" eaLnBrk="1" fontAlgn="base" hangingPunct="1">
              <a:lnSpc>
                <a:spcPct val="100000"/>
              </a:lnSpc>
              <a:spcBef>
                <a:spcPts val="800"/>
              </a:spcBef>
              <a:spcAft>
                <a:spcPct val="0"/>
              </a:spcAft>
              <a:buClr>
                <a:schemeClr val="tx2"/>
              </a:buClr>
              <a:buSzPct val="100000"/>
              <a:buFont typeface="Arial" pitchFamily="34" charset="0"/>
              <a:buChar char="–"/>
              <a:defRPr sz="1400">
                <a:solidFill>
                  <a:schemeClr val="tx1"/>
                </a:solidFill>
                <a:latin typeface="Arial" pitchFamily="34" charset="0"/>
                <a:cs typeface="Arial" pitchFamily="34" charset="0"/>
              </a:defRPr>
            </a:lvl3pPr>
            <a:lvl4pPr marL="648000" indent="-216000" algn="l" rtl="0" eaLnBrk="1" fontAlgn="base" hangingPunct="1">
              <a:lnSpc>
                <a:spcPct val="100000"/>
              </a:lnSpc>
              <a:spcBef>
                <a:spcPts val="800"/>
              </a:spcBef>
              <a:spcAft>
                <a:spcPct val="0"/>
              </a:spcAft>
              <a:buClr>
                <a:schemeClr val="tx2"/>
              </a:buClr>
              <a:buSzPct val="100000"/>
              <a:buFont typeface="Arial" pitchFamily="34" charset="0"/>
              <a:buChar char="–"/>
              <a:defRPr sz="1400">
                <a:solidFill>
                  <a:schemeClr val="tx1"/>
                </a:solidFill>
                <a:latin typeface="Arial" pitchFamily="34" charset="0"/>
                <a:cs typeface="Arial" pitchFamily="34" charset="0"/>
              </a:defRPr>
            </a:lvl4pPr>
            <a:lvl5pPr marL="864000" indent="-216000" algn="l" rtl="0" eaLnBrk="1" fontAlgn="base" hangingPunct="1">
              <a:lnSpc>
                <a:spcPct val="100000"/>
              </a:lnSpc>
              <a:spcBef>
                <a:spcPts val="800"/>
              </a:spcBef>
              <a:spcAft>
                <a:spcPct val="0"/>
              </a:spcAft>
              <a:buClr>
                <a:schemeClr val="tx2"/>
              </a:buClr>
              <a:buFont typeface="Arial" pitchFamily="34" charset="0"/>
              <a:buChar char="–"/>
              <a:defRPr sz="1400">
                <a:solidFill>
                  <a:schemeClr val="tx1"/>
                </a:solidFill>
                <a:latin typeface="Arial" pitchFamily="34" charset="0"/>
                <a:cs typeface="Arial" pitchFamily="34" charset="0"/>
              </a:defRPr>
            </a:lvl5pPr>
            <a:lvl6pPr marL="1609542" indent="-226987" algn="l" rtl="0" eaLnBrk="1" fontAlgn="base" hangingPunct="1">
              <a:lnSpc>
                <a:spcPct val="95000"/>
              </a:lnSpc>
              <a:spcBef>
                <a:spcPct val="50000"/>
              </a:spcBef>
              <a:spcAft>
                <a:spcPct val="0"/>
              </a:spcAft>
              <a:buClr>
                <a:srgbClr val="4367C5"/>
              </a:buClr>
              <a:buFont typeface="Arial" charset="0"/>
              <a:buChar char="●"/>
              <a:defRPr sz="1200">
                <a:solidFill>
                  <a:srgbClr val="000000"/>
                </a:solidFill>
                <a:latin typeface="+mn-lt"/>
              </a:defRPr>
            </a:lvl6pPr>
            <a:lvl7pPr marL="2066690" indent="-226987" algn="l" rtl="0" eaLnBrk="1" fontAlgn="base" hangingPunct="1">
              <a:lnSpc>
                <a:spcPct val="95000"/>
              </a:lnSpc>
              <a:spcBef>
                <a:spcPct val="50000"/>
              </a:spcBef>
              <a:spcAft>
                <a:spcPct val="0"/>
              </a:spcAft>
              <a:buClr>
                <a:srgbClr val="4367C5"/>
              </a:buClr>
              <a:buFont typeface="Arial" charset="0"/>
              <a:buChar char="●"/>
              <a:defRPr sz="1200">
                <a:solidFill>
                  <a:srgbClr val="000000"/>
                </a:solidFill>
                <a:latin typeface="+mn-lt"/>
              </a:defRPr>
            </a:lvl7pPr>
            <a:lvl8pPr marL="2523838" indent="-226987" algn="l" rtl="0" eaLnBrk="1" fontAlgn="base" hangingPunct="1">
              <a:lnSpc>
                <a:spcPct val="95000"/>
              </a:lnSpc>
              <a:spcBef>
                <a:spcPct val="50000"/>
              </a:spcBef>
              <a:spcAft>
                <a:spcPct val="0"/>
              </a:spcAft>
              <a:buClr>
                <a:srgbClr val="4367C5"/>
              </a:buClr>
              <a:buFont typeface="Arial" charset="0"/>
              <a:buChar char="●"/>
              <a:defRPr sz="1200">
                <a:solidFill>
                  <a:srgbClr val="000000"/>
                </a:solidFill>
                <a:latin typeface="+mn-lt"/>
              </a:defRPr>
            </a:lvl8pPr>
            <a:lvl9pPr marL="2980986" indent="-226987" algn="l" rtl="0" eaLnBrk="1" fontAlgn="base" hangingPunct="1">
              <a:lnSpc>
                <a:spcPct val="95000"/>
              </a:lnSpc>
              <a:spcBef>
                <a:spcPct val="50000"/>
              </a:spcBef>
              <a:spcAft>
                <a:spcPct val="0"/>
              </a:spcAft>
              <a:buClr>
                <a:srgbClr val="4367C5"/>
              </a:buClr>
              <a:buFont typeface="Arial" charset="0"/>
              <a:buChar char="●"/>
              <a:defRPr sz="1200">
                <a:solidFill>
                  <a:srgbClr val="000000"/>
                </a:solidFill>
                <a:latin typeface="+mn-lt"/>
              </a:defRPr>
            </a:lvl9pPr>
          </a:lstStyle>
          <a:p>
            <a:r>
              <a:rPr lang="en-US" sz="1200" dirty="0">
                <a:latin typeface="Arial"/>
                <a:cs typeface="Arial"/>
                <a:sym typeface="Arial"/>
              </a:rPr>
              <a:t>Poor leadership</a:t>
            </a:r>
            <a:br>
              <a:rPr lang="en-US" sz="1200" dirty="0">
                <a:latin typeface="Arial"/>
                <a:cs typeface="Arial"/>
                <a:sym typeface="Arial"/>
              </a:rPr>
            </a:br>
            <a:r>
              <a:rPr lang="en-US" sz="1200" dirty="0">
                <a:latin typeface="Arial"/>
                <a:cs typeface="Arial"/>
                <a:sym typeface="Arial"/>
              </a:rPr>
              <a:t>of integration</a:t>
            </a:r>
          </a:p>
        </p:txBody>
      </p:sp>
      <p:sp>
        <p:nvSpPr>
          <p:cNvPr id="139" name="Text Placeholder 3"/>
          <p:cNvSpPr>
            <a:spLocks noGrp="1"/>
          </p:cNvSpPr>
          <p:nvPr>
            <p:custDataLst>
              <p:tags r:id="rId34"/>
            </p:custDataLst>
          </p:nvPr>
        </p:nvSpPr>
        <p:spPr bwMode="gray">
          <a:xfrm>
            <a:off x="5330825" y="5410200"/>
            <a:ext cx="206375"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9050" tIns="0" rIns="19050" bIns="0" rtlCol="0" anchor="ctr" anchorCtr="0">
            <a:noAutofit/>
          </a:bodyPr>
          <a:lstStyle>
            <a:lvl1pPr algn="l" rtl="0" eaLnBrk="1" fontAlgn="base" hangingPunct="1">
              <a:lnSpc>
                <a:spcPct val="100000"/>
              </a:lnSpc>
              <a:spcBef>
                <a:spcPts val="800"/>
              </a:spcBef>
              <a:spcAft>
                <a:spcPct val="0"/>
              </a:spcAft>
              <a:buClr>
                <a:srgbClr val="4367C5"/>
              </a:buClr>
              <a:buFont typeface="Wingdings" pitchFamily="2" charset="2"/>
              <a:defRPr sz="1400">
                <a:solidFill>
                  <a:schemeClr val="tx1"/>
                </a:solidFill>
                <a:latin typeface="Arial" pitchFamily="34" charset="0"/>
                <a:ea typeface="+mn-ea"/>
                <a:cs typeface="Arial" pitchFamily="34" charset="0"/>
              </a:defRPr>
            </a:lvl1pPr>
            <a:lvl2pPr marL="215976" indent="-215976" algn="l" rtl="0" eaLnBrk="1" fontAlgn="base" hangingPunct="1">
              <a:lnSpc>
                <a:spcPct val="100000"/>
              </a:lnSpc>
              <a:spcBef>
                <a:spcPts val="840"/>
              </a:spcBef>
              <a:spcAft>
                <a:spcPct val="0"/>
              </a:spcAft>
              <a:buClr>
                <a:schemeClr val="tx2"/>
              </a:buClr>
              <a:buSzPct val="85000"/>
              <a:buFont typeface="Wingdings" pitchFamily="2" charset="2"/>
              <a:buChar char="n"/>
              <a:defRPr sz="1400">
                <a:solidFill>
                  <a:schemeClr val="tx1"/>
                </a:solidFill>
                <a:latin typeface="Arial" pitchFamily="34" charset="0"/>
                <a:cs typeface="Arial" pitchFamily="34" charset="0"/>
              </a:defRPr>
            </a:lvl2pPr>
            <a:lvl3pPr marL="431951" indent="-215976" algn="l" rtl="0" eaLnBrk="1" fontAlgn="base" hangingPunct="1">
              <a:lnSpc>
                <a:spcPct val="100000"/>
              </a:lnSpc>
              <a:spcBef>
                <a:spcPts val="800"/>
              </a:spcBef>
              <a:spcAft>
                <a:spcPct val="0"/>
              </a:spcAft>
              <a:buClr>
                <a:schemeClr val="tx2"/>
              </a:buClr>
              <a:buSzPct val="100000"/>
              <a:buFont typeface="Arial" pitchFamily="34" charset="0"/>
              <a:buChar char="–"/>
              <a:defRPr sz="1400">
                <a:solidFill>
                  <a:schemeClr val="tx1"/>
                </a:solidFill>
                <a:latin typeface="Arial" pitchFamily="34" charset="0"/>
                <a:cs typeface="Arial" pitchFamily="34" charset="0"/>
              </a:defRPr>
            </a:lvl3pPr>
            <a:lvl4pPr marL="648000" indent="-216000" algn="l" rtl="0" eaLnBrk="1" fontAlgn="base" hangingPunct="1">
              <a:lnSpc>
                <a:spcPct val="100000"/>
              </a:lnSpc>
              <a:spcBef>
                <a:spcPts val="800"/>
              </a:spcBef>
              <a:spcAft>
                <a:spcPct val="0"/>
              </a:spcAft>
              <a:buClr>
                <a:schemeClr val="tx2"/>
              </a:buClr>
              <a:buSzPct val="100000"/>
              <a:buFont typeface="Arial" pitchFamily="34" charset="0"/>
              <a:buChar char="–"/>
              <a:defRPr sz="1400">
                <a:solidFill>
                  <a:schemeClr val="tx1"/>
                </a:solidFill>
                <a:latin typeface="Arial" pitchFamily="34" charset="0"/>
                <a:cs typeface="Arial" pitchFamily="34" charset="0"/>
              </a:defRPr>
            </a:lvl4pPr>
            <a:lvl5pPr marL="864000" indent="-216000" algn="l" rtl="0" eaLnBrk="1" fontAlgn="base" hangingPunct="1">
              <a:lnSpc>
                <a:spcPct val="100000"/>
              </a:lnSpc>
              <a:spcBef>
                <a:spcPts val="800"/>
              </a:spcBef>
              <a:spcAft>
                <a:spcPct val="0"/>
              </a:spcAft>
              <a:buClr>
                <a:schemeClr val="tx2"/>
              </a:buClr>
              <a:buFont typeface="Arial" pitchFamily="34" charset="0"/>
              <a:buChar char="–"/>
              <a:defRPr sz="1400">
                <a:solidFill>
                  <a:schemeClr val="tx1"/>
                </a:solidFill>
                <a:latin typeface="Arial" pitchFamily="34" charset="0"/>
                <a:cs typeface="Arial" pitchFamily="34" charset="0"/>
              </a:defRPr>
            </a:lvl5pPr>
            <a:lvl6pPr marL="1609542" indent="-226987" algn="l" rtl="0" eaLnBrk="1" fontAlgn="base" hangingPunct="1">
              <a:lnSpc>
                <a:spcPct val="95000"/>
              </a:lnSpc>
              <a:spcBef>
                <a:spcPct val="50000"/>
              </a:spcBef>
              <a:spcAft>
                <a:spcPct val="0"/>
              </a:spcAft>
              <a:buClr>
                <a:srgbClr val="4367C5"/>
              </a:buClr>
              <a:buFont typeface="Arial" charset="0"/>
              <a:buChar char="●"/>
              <a:defRPr sz="1200">
                <a:solidFill>
                  <a:srgbClr val="000000"/>
                </a:solidFill>
                <a:latin typeface="+mn-lt"/>
              </a:defRPr>
            </a:lvl6pPr>
            <a:lvl7pPr marL="2066690" indent="-226987" algn="l" rtl="0" eaLnBrk="1" fontAlgn="base" hangingPunct="1">
              <a:lnSpc>
                <a:spcPct val="95000"/>
              </a:lnSpc>
              <a:spcBef>
                <a:spcPct val="50000"/>
              </a:spcBef>
              <a:spcAft>
                <a:spcPct val="0"/>
              </a:spcAft>
              <a:buClr>
                <a:srgbClr val="4367C5"/>
              </a:buClr>
              <a:buFont typeface="Arial" charset="0"/>
              <a:buChar char="●"/>
              <a:defRPr sz="1200">
                <a:solidFill>
                  <a:srgbClr val="000000"/>
                </a:solidFill>
                <a:latin typeface="+mn-lt"/>
              </a:defRPr>
            </a:lvl7pPr>
            <a:lvl8pPr marL="2523838" indent="-226987" algn="l" rtl="0" eaLnBrk="1" fontAlgn="base" hangingPunct="1">
              <a:lnSpc>
                <a:spcPct val="95000"/>
              </a:lnSpc>
              <a:spcBef>
                <a:spcPct val="50000"/>
              </a:spcBef>
              <a:spcAft>
                <a:spcPct val="0"/>
              </a:spcAft>
              <a:buClr>
                <a:srgbClr val="4367C5"/>
              </a:buClr>
              <a:buFont typeface="Arial" charset="0"/>
              <a:buChar char="●"/>
              <a:defRPr sz="1200">
                <a:solidFill>
                  <a:srgbClr val="000000"/>
                </a:solidFill>
                <a:latin typeface="+mn-lt"/>
              </a:defRPr>
            </a:lvl8pPr>
            <a:lvl9pPr marL="2980986" indent="-226987" algn="l" rtl="0" eaLnBrk="1" fontAlgn="base" hangingPunct="1">
              <a:lnSpc>
                <a:spcPct val="95000"/>
              </a:lnSpc>
              <a:spcBef>
                <a:spcPct val="50000"/>
              </a:spcBef>
              <a:spcAft>
                <a:spcPct val="0"/>
              </a:spcAft>
              <a:buClr>
                <a:srgbClr val="4367C5"/>
              </a:buClr>
              <a:buFont typeface="Arial" charset="0"/>
              <a:buChar char="●"/>
              <a:defRPr sz="1200">
                <a:solidFill>
                  <a:srgbClr val="000000"/>
                </a:solidFill>
                <a:latin typeface="+mn-lt"/>
              </a:defRPr>
            </a:lvl9pPr>
          </a:lstStyle>
          <a:p>
            <a:pPr algn="ctr">
              <a:spcBef>
                <a:spcPct val="0"/>
              </a:spcBef>
            </a:pPr>
            <a:fld id="{C9CFA41E-303A-412C-8828-861C65124AE9}" type="datetime'''''''''''''''''''''''''''''''''''''''25'''''">
              <a:rPr lang="en-US" altLang="en-US" sz="1200"/>
              <a:pPr/>
              <a:t>25</a:t>
            </a:fld>
            <a:endParaRPr lang="en-US" sz="1200">
              <a:latin typeface="Arial"/>
              <a:cs typeface="Arial"/>
              <a:sym typeface="Arial"/>
            </a:endParaRPr>
          </a:p>
        </p:txBody>
      </p:sp>
      <p:sp>
        <p:nvSpPr>
          <p:cNvPr id="134" name="Rectangle 13"/>
          <p:cNvSpPr txBox="1">
            <a:spLocks noChangeArrowheads="1"/>
          </p:cNvSpPr>
          <p:nvPr>
            <p:custDataLst>
              <p:tags r:id="rId35"/>
            </p:custDataLst>
          </p:nvPr>
        </p:nvSpPr>
        <p:spPr bwMode="gray">
          <a:xfrm>
            <a:off x="5848350" y="4976813"/>
            <a:ext cx="1443038" cy="365125"/>
          </a:xfrm>
          <a:prstGeom prst="rect">
            <a:avLst/>
          </a:prstGeom>
          <a:noFill/>
          <a:ln/>
        </p:spPr>
        <p:txBody>
          <a:bodyPr vert="horz" wrap="none" lIns="0" tIns="0" rIns="0" bIns="0" rtlCol="0" anchor="ctr">
            <a:noAutofit/>
          </a:bodyPr>
          <a:lstStyle>
            <a:lvl1pPr algn="l" rtl="0" eaLnBrk="1" fontAlgn="base" hangingPunct="1">
              <a:lnSpc>
                <a:spcPct val="100000"/>
              </a:lnSpc>
              <a:spcBef>
                <a:spcPts val="800"/>
              </a:spcBef>
              <a:spcAft>
                <a:spcPct val="0"/>
              </a:spcAft>
              <a:buClr>
                <a:srgbClr val="4367C5"/>
              </a:buClr>
              <a:buFont typeface="Wingdings" pitchFamily="2" charset="2"/>
              <a:defRPr sz="1400">
                <a:solidFill>
                  <a:schemeClr val="tx1"/>
                </a:solidFill>
                <a:latin typeface="Arial" pitchFamily="34" charset="0"/>
                <a:ea typeface="+mn-ea"/>
                <a:cs typeface="Arial" pitchFamily="34" charset="0"/>
              </a:defRPr>
            </a:lvl1pPr>
            <a:lvl2pPr marL="215976" indent="-215976" algn="l" rtl="0" eaLnBrk="1" fontAlgn="base" hangingPunct="1">
              <a:lnSpc>
                <a:spcPct val="100000"/>
              </a:lnSpc>
              <a:spcBef>
                <a:spcPts val="840"/>
              </a:spcBef>
              <a:spcAft>
                <a:spcPct val="0"/>
              </a:spcAft>
              <a:buClr>
                <a:schemeClr val="tx2"/>
              </a:buClr>
              <a:buSzPct val="85000"/>
              <a:buFont typeface="Wingdings" pitchFamily="2" charset="2"/>
              <a:buChar char="n"/>
              <a:defRPr sz="1400">
                <a:solidFill>
                  <a:schemeClr val="tx1"/>
                </a:solidFill>
                <a:latin typeface="Arial" pitchFamily="34" charset="0"/>
                <a:cs typeface="Arial" pitchFamily="34" charset="0"/>
              </a:defRPr>
            </a:lvl2pPr>
            <a:lvl3pPr marL="431951" indent="-215976" algn="l" rtl="0" eaLnBrk="1" fontAlgn="base" hangingPunct="1">
              <a:lnSpc>
                <a:spcPct val="100000"/>
              </a:lnSpc>
              <a:spcBef>
                <a:spcPts val="800"/>
              </a:spcBef>
              <a:spcAft>
                <a:spcPct val="0"/>
              </a:spcAft>
              <a:buClr>
                <a:schemeClr val="tx2"/>
              </a:buClr>
              <a:buSzPct val="100000"/>
              <a:buFont typeface="Arial" pitchFamily="34" charset="0"/>
              <a:buChar char="–"/>
              <a:defRPr sz="1400">
                <a:solidFill>
                  <a:schemeClr val="tx1"/>
                </a:solidFill>
                <a:latin typeface="Arial" pitchFamily="34" charset="0"/>
                <a:cs typeface="Arial" pitchFamily="34" charset="0"/>
              </a:defRPr>
            </a:lvl3pPr>
            <a:lvl4pPr marL="648000" indent="-216000" algn="l" rtl="0" eaLnBrk="1" fontAlgn="base" hangingPunct="1">
              <a:lnSpc>
                <a:spcPct val="100000"/>
              </a:lnSpc>
              <a:spcBef>
                <a:spcPts val="800"/>
              </a:spcBef>
              <a:spcAft>
                <a:spcPct val="0"/>
              </a:spcAft>
              <a:buClr>
                <a:schemeClr val="tx2"/>
              </a:buClr>
              <a:buSzPct val="100000"/>
              <a:buFont typeface="Arial" pitchFamily="34" charset="0"/>
              <a:buChar char="–"/>
              <a:defRPr sz="1400">
                <a:solidFill>
                  <a:schemeClr val="tx1"/>
                </a:solidFill>
                <a:latin typeface="Arial" pitchFamily="34" charset="0"/>
                <a:cs typeface="Arial" pitchFamily="34" charset="0"/>
              </a:defRPr>
            </a:lvl4pPr>
            <a:lvl5pPr marL="864000" indent="-216000" algn="l" rtl="0" eaLnBrk="1" fontAlgn="base" hangingPunct="1">
              <a:lnSpc>
                <a:spcPct val="100000"/>
              </a:lnSpc>
              <a:spcBef>
                <a:spcPts val="800"/>
              </a:spcBef>
              <a:spcAft>
                <a:spcPct val="0"/>
              </a:spcAft>
              <a:buClr>
                <a:schemeClr val="tx2"/>
              </a:buClr>
              <a:buFont typeface="Arial" pitchFamily="34" charset="0"/>
              <a:buChar char="–"/>
              <a:defRPr sz="1400">
                <a:solidFill>
                  <a:schemeClr val="tx1"/>
                </a:solidFill>
                <a:latin typeface="Arial" pitchFamily="34" charset="0"/>
                <a:cs typeface="Arial" pitchFamily="34" charset="0"/>
              </a:defRPr>
            </a:lvl5pPr>
            <a:lvl6pPr marL="1609542" indent="-226987" algn="l" rtl="0" eaLnBrk="1" fontAlgn="base" hangingPunct="1">
              <a:lnSpc>
                <a:spcPct val="95000"/>
              </a:lnSpc>
              <a:spcBef>
                <a:spcPct val="50000"/>
              </a:spcBef>
              <a:spcAft>
                <a:spcPct val="0"/>
              </a:spcAft>
              <a:buClr>
                <a:srgbClr val="4367C5"/>
              </a:buClr>
              <a:buFont typeface="Arial" charset="0"/>
              <a:buChar char="●"/>
              <a:defRPr sz="1200">
                <a:solidFill>
                  <a:srgbClr val="000000"/>
                </a:solidFill>
                <a:latin typeface="+mn-lt"/>
              </a:defRPr>
            </a:lvl6pPr>
            <a:lvl7pPr marL="2066690" indent="-226987" algn="l" rtl="0" eaLnBrk="1" fontAlgn="base" hangingPunct="1">
              <a:lnSpc>
                <a:spcPct val="95000"/>
              </a:lnSpc>
              <a:spcBef>
                <a:spcPct val="50000"/>
              </a:spcBef>
              <a:spcAft>
                <a:spcPct val="0"/>
              </a:spcAft>
              <a:buClr>
                <a:srgbClr val="4367C5"/>
              </a:buClr>
              <a:buFont typeface="Arial" charset="0"/>
              <a:buChar char="●"/>
              <a:defRPr sz="1200">
                <a:solidFill>
                  <a:srgbClr val="000000"/>
                </a:solidFill>
                <a:latin typeface="+mn-lt"/>
              </a:defRPr>
            </a:lvl7pPr>
            <a:lvl8pPr marL="2523838" indent="-226987" algn="l" rtl="0" eaLnBrk="1" fontAlgn="base" hangingPunct="1">
              <a:lnSpc>
                <a:spcPct val="95000"/>
              </a:lnSpc>
              <a:spcBef>
                <a:spcPct val="50000"/>
              </a:spcBef>
              <a:spcAft>
                <a:spcPct val="0"/>
              </a:spcAft>
              <a:buClr>
                <a:srgbClr val="4367C5"/>
              </a:buClr>
              <a:buFont typeface="Arial" charset="0"/>
              <a:buChar char="●"/>
              <a:defRPr sz="1200">
                <a:solidFill>
                  <a:srgbClr val="000000"/>
                </a:solidFill>
                <a:latin typeface="+mn-lt"/>
              </a:defRPr>
            </a:lvl8pPr>
            <a:lvl9pPr marL="2980986" indent="-226987" algn="l" rtl="0" eaLnBrk="1" fontAlgn="base" hangingPunct="1">
              <a:lnSpc>
                <a:spcPct val="95000"/>
              </a:lnSpc>
              <a:spcBef>
                <a:spcPct val="50000"/>
              </a:spcBef>
              <a:spcAft>
                <a:spcPct val="0"/>
              </a:spcAft>
              <a:buClr>
                <a:srgbClr val="4367C5"/>
              </a:buClr>
              <a:buFont typeface="Arial" charset="0"/>
              <a:buChar char="●"/>
              <a:defRPr sz="1200">
                <a:solidFill>
                  <a:srgbClr val="000000"/>
                </a:solidFill>
                <a:latin typeface="+mn-lt"/>
              </a:defRPr>
            </a:lvl9pPr>
          </a:lstStyle>
          <a:p>
            <a:r>
              <a:rPr lang="en-US" sz="1200" b="1" dirty="0">
                <a:solidFill>
                  <a:schemeClr val="accent3"/>
                </a:solidFill>
                <a:latin typeface="Arial"/>
                <a:cs typeface="Arial"/>
                <a:sym typeface="Arial"/>
              </a:rPr>
              <a:t>Inability to align</a:t>
            </a:r>
            <a:br>
              <a:rPr lang="en-US" sz="1200" b="1" dirty="0">
                <a:solidFill>
                  <a:schemeClr val="accent3"/>
                </a:solidFill>
                <a:latin typeface="Arial"/>
                <a:cs typeface="Arial"/>
                <a:sym typeface="Arial"/>
              </a:rPr>
            </a:br>
            <a:r>
              <a:rPr lang="en-US" sz="1200" b="1" dirty="0">
                <a:solidFill>
                  <a:schemeClr val="accent3"/>
                </a:solidFill>
                <a:latin typeface="Arial"/>
                <a:cs typeface="Arial"/>
                <a:sym typeface="Arial"/>
              </a:rPr>
              <a:t>mgmt. philosophies</a:t>
            </a:r>
          </a:p>
        </p:txBody>
      </p:sp>
      <p:sp>
        <p:nvSpPr>
          <p:cNvPr id="4" name="Rectangle 3"/>
          <p:cNvSpPr/>
          <p:nvPr/>
        </p:nvSpPr>
        <p:spPr>
          <a:xfrm>
            <a:off x="7458681" y="2406865"/>
            <a:ext cx="1417264" cy="2747100"/>
          </a:xfrm>
          <a:prstGeom prst="rect">
            <a:avLst/>
          </a:prstGeom>
          <a:solidFill>
            <a:schemeClr val="bg1"/>
          </a:solidFill>
          <a:ln w="19050">
            <a:solidFill>
              <a:schemeClr val="accent3"/>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dirty="0">
                <a:solidFill>
                  <a:schemeClr val="tx1"/>
                </a:solidFill>
              </a:rPr>
              <a:t>Integrations where people co-create the change initiatives are ~3.5 times more likely to be successful</a:t>
            </a:r>
          </a:p>
          <a:p>
            <a:endParaRPr lang="en-US" sz="1200" dirty="0">
              <a:solidFill>
                <a:schemeClr val="tx1"/>
              </a:solidFill>
            </a:endParaRPr>
          </a:p>
          <a:p>
            <a:r>
              <a:rPr lang="en-US" sz="1200" dirty="0">
                <a:solidFill>
                  <a:schemeClr val="tx1"/>
                </a:solidFill>
              </a:rPr>
              <a:t>Inability to align management philosophies is seen as biggest risk to integration</a:t>
            </a:r>
          </a:p>
        </p:txBody>
      </p:sp>
      <p:sp>
        <p:nvSpPr>
          <p:cNvPr id="147" name="Measure"/>
          <p:cNvSpPr txBox="1">
            <a:spLocks noChangeArrowheads="1"/>
          </p:cNvSpPr>
          <p:nvPr>
            <p:custDataLst>
              <p:tags r:id="rId36"/>
            </p:custDataLst>
          </p:nvPr>
        </p:nvSpPr>
        <p:spPr bwMode="gray">
          <a:xfrm>
            <a:off x="3386138" y="4150614"/>
            <a:ext cx="1104470"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b">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buClrTx/>
            </a:pPr>
            <a:r>
              <a:rPr lang="en-US" sz="1200" dirty="0">
                <a:solidFill>
                  <a:srgbClr val="808080"/>
                </a:solidFill>
                <a:latin typeface="+mn-lt"/>
              </a:rPr>
              <a:t>Percent, n = 79</a:t>
            </a:r>
            <a:r>
              <a:rPr lang="en-US" sz="1200" baseline="30000" dirty="0">
                <a:solidFill>
                  <a:srgbClr val="808080"/>
                </a:solidFill>
                <a:latin typeface="+mn-lt"/>
              </a:rPr>
              <a:t>2</a:t>
            </a:r>
            <a:endParaRPr lang="en-US" sz="1200" dirty="0">
              <a:solidFill>
                <a:srgbClr val="808080"/>
              </a:solidFill>
              <a:latin typeface="+mn-lt"/>
            </a:endParaRPr>
          </a:p>
        </p:txBody>
      </p:sp>
      <p:graphicFrame>
        <p:nvGraphicFramePr>
          <p:cNvPr id="6" name="Object 5"/>
          <p:cNvGraphicFramePr>
            <a:graphicFrameLocks/>
          </p:cNvGraphicFramePr>
          <p:nvPr>
            <p:custDataLst>
              <p:tags r:id="rId37"/>
            </p:custDataLst>
            <p:extLst/>
          </p:nvPr>
        </p:nvGraphicFramePr>
        <p:xfrm>
          <a:off x="0" y="2171700"/>
          <a:ext cx="2695538" cy="3133725"/>
        </p:xfrm>
        <a:graphic>
          <a:graphicData uri="http://schemas.openxmlformats.org/presentationml/2006/ole">
            <mc:AlternateContent xmlns:mc="http://schemas.openxmlformats.org/markup-compatibility/2006">
              <mc:Choice xmlns:v="urn:schemas-microsoft-com:vml" Requires="v">
                <p:oleObj spid="_x0000_s286800" name="Chart" r:id="rId52" imgW="2695655" imgH="3133791" progId="MSGraph.Chart.8">
                  <p:embed followColorScheme="full"/>
                </p:oleObj>
              </mc:Choice>
              <mc:Fallback>
                <p:oleObj name="Chart" r:id="rId52" imgW="2695655" imgH="3133791" progId="MSGraph.Chart.8">
                  <p:embed followColorScheme="full"/>
                  <p:pic>
                    <p:nvPicPr>
                      <p:cNvPr id="6" name="Object 5"/>
                      <p:cNvPicPr/>
                      <p:nvPr/>
                    </p:nvPicPr>
                    <p:blipFill>
                      <a:blip r:embed="rId53"/>
                      <a:stretch>
                        <a:fillRect/>
                      </a:stretch>
                    </p:blipFill>
                    <p:spPr>
                      <a:xfrm>
                        <a:off x="0" y="2171700"/>
                        <a:ext cx="2695538" cy="3133725"/>
                      </a:xfrm>
                      <a:prstGeom prst="rect">
                        <a:avLst/>
                      </a:prstGeom>
                    </p:spPr>
                  </p:pic>
                </p:oleObj>
              </mc:Fallback>
            </mc:AlternateContent>
          </a:graphicData>
        </a:graphic>
      </p:graphicFrame>
      <p:cxnSp>
        <p:nvCxnSpPr>
          <p:cNvPr id="10" name="Straight Connector 9"/>
          <p:cNvCxnSpPr/>
          <p:nvPr>
            <p:custDataLst>
              <p:tags r:id="rId38"/>
            </p:custDataLst>
          </p:nvPr>
        </p:nvCxnSpPr>
        <p:spPr bwMode="gray">
          <a:xfrm flipV="1">
            <a:off x="2695575" y="2911475"/>
            <a:ext cx="0" cy="815975"/>
          </a:xfrm>
          <a:prstGeom prst="line">
            <a:avLst/>
          </a:prstGeom>
          <a:ln w="38100">
            <a:solidFill>
              <a:schemeClr val="accent5"/>
            </a:solidFill>
            <a:headEnd type="none"/>
            <a:tailEnd type="triangle" w="med" len="med"/>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p:custDataLst>
              <p:tags r:id="rId39"/>
            </p:custDataLst>
          </p:nvPr>
        </p:nvCxnSpPr>
        <p:spPr bwMode="gray">
          <a:xfrm>
            <a:off x="1639888" y="2914650"/>
            <a:ext cx="1112838" cy="0"/>
          </a:xfrm>
          <a:prstGeom prst="line">
            <a:avLst/>
          </a:prstGeom>
          <a:ln w="3175">
            <a:solidFill>
              <a:schemeClr val="accent6"/>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p:custDataLst>
              <p:tags r:id="rId40"/>
            </p:custDataLst>
          </p:nvPr>
        </p:nvCxnSpPr>
        <p:spPr bwMode="gray">
          <a:xfrm>
            <a:off x="868364" y="3724275"/>
            <a:ext cx="1884363" cy="0"/>
          </a:xfrm>
          <a:prstGeom prst="line">
            <a:avLst/>
          </a:prstGeom>
          <a:ln w="3175">
            <a:solidFill>
              <a:schemeClr val="accent6"/>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sp>
        <p:nvSpPr>
          <p:cNvPr id="157" name="Text Placeholder 2"/>
          <p:cNvSpPr>
            <a:spLocks noGrp="1"/>
          </p:cNvSpPr>
          <p:nvPr>
            <p:custDataLst>
              <p:tags r:id="rId41"/>
            </p:custDataLst>
          </p:nvPr>
        </p:nvSpPr>
        <p:spPr bwMode="auto">
          <a:xfrm>
            <a:off x="2486025" y="3259138"/>
            <a:ext cx="419100" cy="234950"/>
          </a:xfrm>
          <a:prstGeom prst="ellipse">
            <a:avLst/>
          </a:prstGeom>
          <a:solidFill>
            <a:schemeClr val="bg1"/>
          </a:solidFill>
          <a:ln w="9525">
            <a:solidFill>
              <a:schemeClr val="accent5"/>
            </a:solidFill>
          </a:ln>
        </p:spPr>
        <p:txBody>
          <a:bodyPr vert="horz" wrap="none" lIns="0" tIns="0" rIns="0" bIns="0" numCol="1" spcCol="0" rtlCol="0" anchor="ctr" anchorCtr="0">
            <a:noAutofit/>
          </a:bodyPr>
          <a:lstStyle>
            <a:lvl1pPr marL="0" indent="0" algn="l" defTabSz="895350" rtl="0" eaLnBrk="1" fontAlgn="base" hangingPunct="1">
              <a:spcBef>
                <a:spcPct val="0"/>
              </a:spcBef>
              <a:spcAft>
                <a:spcPct val="0"/>
              </a:spcAft>
              <a:buClr>
                <a:schemeClr val="tx2"/>
              </a:buClr>
              <a:buSzPct val="100000"/>
              <a:defRPr lang="x-none" sz="14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lang="x-none" sz="14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lang="x-none" sz="14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lang="x-none" sz="14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lang="x-none" sz="14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9pPr>
          </a:lstStyle>
          <a:p>
            <a:pPr algn="ctr">
              <a:lnSpc>
                <a:spcPct val="90000"/>
              </a:lnSpc>
            </a:pPr>
            <a:r>
              <a:rPr lang="en-US" altLang="en-US" sz="1200" b="1" dirty="0">
                <a:solidFill>
                  <a:schemeClr val="accent5"/>
                </a:solidFill>
              </a:rPr>
              <a:t>1.8x</a:t>
            </a:r>
            <a:endParaRPr lang="en-US" sz="1200" b="1" dirty="0">
              <a:solidFill>
                <a:schemeClr val="accent5"/>
              </a:solidFill>
              <a:sym typeface="+mn-lt"/>
            </a:endParaRPr>
          </a:p>
        </p:txBody>
      </p:sp>
      <p:sp>
        <p:nvSpPr>
          <p:cNvPr id="133" name="Text Placeholder 2"/>
          <p:cNvSpPr>
            <a:spLocks noGrp="1"/>
          </p:cNvSpPr>
          <p:nvPr>
            <p:custDataLst>
              <p:tags r:id="rId42"/>
            </p:custDataLst>
          </p:nvPr>
        </p:nvSpPr>
        <p:spPr bwMode="auto">
          <a:xfrm>
            <a:off x="314325" y="5232400"/>
            <a:ext cx="544513" cy="365125"/>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895350" rtl="0" eaLnBrk="1" fontAlgn="base" hangingPunct="1">
              <a:spcBef>
                <a:spcPct val="0"/>
              </a:spcBef>
              <a:spcAft>
                <a:spcPct val="0"/>
              </a:spcAft>
              <a:buClr>
                <a:schemeClr val="tx2"/>
              </a:buClr>
              <a:buSzPct val="100000"/>
              <a:defRPr lang="x-none" sz="14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lang="x-none" sz="14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lang="x-none" sz="14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lang="x-none" sz="14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lang="x-none" sz="14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9pPr>
          </a:lstStyle>
          <a:p>
            <a:r>
              <a:rPr lang="en-US" altLang="en-US" sz="1200" dirty="0">
                <a:sym typeface="+mn-lt"/>
              </a:rPr>
              <a:t>Bottom Quartile</a:t>
            </a:r>
          </a:p>
        </p:txBody>
      </p:sp>
      <p:sp>
        <p:nvSpPr>
          <p:cNvPr id="135" name="Text Placeholder 2"/>
          <p:cNvSpPr>
            <a:spLocks noGrp="1"/>
          </p:cNvSpPr>
          <p:nvPr>
            <p:custDataLst>
              <p:tags r:id="rId43"/>
            </p:custDataLst>
          </p:nvPr>
        </p:nvSpPr>
        <p:spPr bwMode="auto">
          <a:xfrm>
            <a:off x="1085850" y="5232400"/>
            <a:ext cx="544513" cy="365125"/>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895350" rtl="0" eaLnBrk="1" fontAlgn="base" hangingPunct="1">
              <a:spcBef>
                <a:spcPct val="0"/>
              </a:spcBef>
              <a:spcAft>
                <a:spcPct val="0"/>
              </a:spcAft>
              <a:buClr>
                <a:schemeClr val="tx2"/>
              </a:buClr>
              <a:buSzPct val="100000"/>
              <a:defRPr lang="x-none" sz="14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lang="x-none" sz="14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lang="x-none" sz="14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lang="x-none" sz="14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lang="x-none" sz="14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9pPr>
          </a:lstStyle>
          <a:p>
            <a:r>
              <a:rPr lang="en-US" altLang="en-US" sz="1200" dirty="0">
                <a:sym typeface="+mn-lt"/>
              </a:rPr>
              <a:t>Middle Quartile</a:t>
            </a:r>
          </a:p>
        </p:txBody>
      </p:sp>
      <p:sp>
        <p:nvSpPr>
          <p:cNvPr id="136" name="Text Placeholder 2"/>
          <p:cNvSpPr>
            <a:spLocks noGrp="1"/>
          </p:cNvSpPr>
          <p:nvPr>
            <p:custDataLst>
              <p:tags r:id="rId44"/>
            </p:custDataLst>
          </p:nvPr>
        </p:nvSpPr>
        <p:spPr bwMode="auto">
          <a:xfrm>
            <a:off x="1857375" y="5232400"/>
            <a:ext cx="544513" cy="365125"/>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895350" rtl="0" eaLnBrk="1" fontAlgn="base" hangingPunct="1">
              <a:spcBef>
                <a:spcPct val="0"/>
              </a:spcBef>
              <a:spcAft>
                <a:spcPct val="0"/>
              </a:spcAft>
              <a:buClr>
                <a:schemeClr val="tx2"/>
              </a:buClr>
              <a:buSzPct val="100000"/>
              <a:defRPr lang="x-none" sz="14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lang="x-none" sz="14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lang="x-none" sz="14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lang="x-none" sz="14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lang="x-none" sz="14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9pPr>
          </a:lstStyle>
          <a:p>
            <a:r>
              <a:rPr lang="en-US" altLang="en-US" sz="1200" dirty="0">
                <a:sym typeface="+mn-lt"/>
              </a:rPr>
              <a:t>Top</a:t>
            </a:r>
            <a:br>
              <a:rPr lang="en-US" altLang="en-US" sz="1200" dirty="0">
                <a:sym typeface="+mn-lt"/>
              </a:rPr>
            </a:br>
            <a:r>
              <a:rPr lang="en-US" altLang="en-US" sz="1200" dirty="0">
                <a:sym typeface="+mn-lt"/>
              </a:rPr>
              <a:t>Quartile</a:t>
            </a:r>
          </a:p>
        </p:txBody>
      </p:sp>
      <p:cxnSp>
        <p:nvCxnSpPr>
          <p:cNvPr id="3" name="Straight Connector 2"/>
          <p:cNvCxnSpPr/>
          <p:nvPr/>
        </p:nvCxnSpPr>
        <p:spPr>
          <a:xfrm>
            <a:off x="3414713" y="3900169"/>
            <a:ext cx="3769674" cy="0"/>
          </a:xfrm>
          <a:prstGeom prst="line">
            <a:avLst/>
          </a:prstGeom>
          <a:ln>
            <a:solidFill>
              <a:schemeClr val="accent6"/>
            </a:solidFill>
            <a:prstDash val="dash"/>
          </a:ln>
        </p:spPr>
        <p:style>
          <a:lnRef idx="1">
            <a:schemeClr val="accent1"/>
          </a:lnRef>
          <a:fillRef idx="0">
            <a:schemeClr val="accent1"/>
          </a:fillRef>
          <a:effectRef idx="0">
            <a:schemeClr val="accent1"/>
          </a:effectRef>
          <a:fontRef idx="minor">
            <a:schemeClr val="tx1"/>
          </a:fontRef>
        </p:style>
      </p:cxnSp>
      <p:sp>
        <p:nvSpPr>
          <p:cNvPr id="7" name="Title 6">
            <a:extLst>
              <a:ext uri="{FF2B5EF4-FFF2-40B4-BE49-F238E27FC236}">
                <a16:creationId xmlns:a16="http://schemas.microsoft.com/office/drawing/2014/main" id="{F1FC3BBD-323E-4B30-A524-8175F2F51A7B}"/>
              </a:ext>
            </a:extLst>
          </p:cNvPr>
          <p:cNvSpPr>
            <a:spLocks noGrp="1"/>
          </p:cNvSpPr>
          <p:nvPr>
            <p:ph type="title"/>
          </p:nvPr>
        </p:nvSpPr>
        <p:spPr>
          <a:xfrm>
            <a:off x="119064" y="230188"/>
            <a:ext cx="7394030" cy="615553"/>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marL="465138"/>
            <a:r>
              <a:rPr lang="en-US" dirty="0"/>
              <a:t>Culture is </a:t>
            </a:r>
            <a:r>
              <a:rPr lang="en-US"/>
              <a:t>a critical </a:t>
            </a:r>
            <a:r>
              <a:rPr lang="en-US" dirty="0"/>
              <a:t>enabler for retaining and capturing value during a merger</a:t>
            </a:r>
            <a:endParaRPr lang="en-GB" dirty="0"/>
          </a:p>
        </p:txBody>
      </p:sp>
      <p:sp>
        <p:nvSpPr>
          <p:cNvPr id="76" name="Title Tracker Circle">
            <a:extLst>
              <a:ext uri="{FF2B5EF4-FFF2-40B4-BE49-F238E27FC236}">
                <a16:creationId xmlns:a16="http://schemas.microsoft.com/office/drawing/2014/main" id="{B27B12CB-92B6-4F71-9B26-7CF59395636C}"/>
              </a:ext>
            </a:extLst>
          </p:cNvPr>
          <p:cNvSpPr/>
          <p:nvPr/>
        </p:nvSpPr>
        <p:spPr>
          <a:xfrm>
            <a:off x="119063" y="166736"/>
            <a:ext cx="418798" cy="418798"/>
          </a:xfrm>
          <a:prstGeom prst="ellipse">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p>
            <a:pPr algn="ctr"/>
            <a:r>
              <a:rPr lang="en-US" sz="2000" dirty="0">
                <a:solidFill>
                  <a:schemeClr val="tx2"/>
                </a:solidFill>
                <a:latin typeface="+mj-lt"/>
              </a:rPr>
              <a:t>7</a:t>
            </a:r>
          </a:p>
        </p:txBody>
      </p:sp>
    </p:spTree>
    <p:custDataLst>
      <p:tags r:id="rId2"/>
    </p:custDataLst>
    <p:extLst>
      <p:ext uri="{BB962C8B-B14F-4D97-AF65-F5344CB8AC3E}">
        <p14:creationId xmlns:p14="http://schemas.microsoft.com/office/powerpoint/2010/main" val="2667432317"/>
      </p:ext>
    </p:extLst>
  </p:cSld>
  <p:clrMapOvr>
    <a:masterClrMapping/>
  </p:clrMapOvr>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06531" name="Rectangle 3" hidden="1"/>
          <p:cNvGraphicFramePr>
            <a:graphicFrameLocks/>
          </p:cNvGraphicFramePr>
          <p:nvPr>
            <p:custDataLst>
              <p:tags r:id="rId3"/>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87764" name="think-cell Slide" r:id="rId8" imgW="0" imgH="0" progId="TCLayout.ActiveDocument.1">
                  <p:embed/>
                </p:oleObj>
              </mc:Choice>
              <mc:Fallback>
                <p:oleObj name="think-cell Slide" r:id="rId8" imgW="0" imgH="0" progId="TCLayout.ActiveDocument.1">
                  <p:embed/>
                  <p:pic>
                    <p:nvPicPr>
                      <p:cNvPr id="406531" name="Rectangle 3"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gray">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06532" name="Rectangle 4" hidden="1"/>
          <p:cNvSpPr>
            <a:spLocks noChangeArrowheads="1"/>
          </p:cNvSpPr>
          <p:nvPr>
            <p:custDataLst>
              <p:tags r:id="rId4"/>
            </p:custDataLst>
          </p:nvPr>
        </p:nvSpPr>
        <p:spPr bwMode="gray">
          <a:xfrm>
            <a:off x="0" y="0"/>
            <a:ext cx="158750" cy="158750"/>
          </a:xfrm>
          <a:prstGeom prst="rect">
            <a:avLst/>
          </a:prstGeom>
          <a:solidFill>
            <a:schemeClr val="accent1"/>
          </a:solidFill>
          <a:ln w="9525" algn="ctr">
            <a:solidFill>
              <a:schemeClr val="tx1"/>
            </a:solidFill>
            <a:miter lim="800000"/>
            <a:headEnd/>
            <a:tailEnd/>
          </a:ln>
          <a:effectLst/>
        </p:spPr>
        <p:txBody>
          <a:bodyPr wrap="none" lIns="15875" tIns="0" rIns="15875" bIns="0" anchor="ctr"/>
          <a:lstStyle/>
          <a:p>
            <a:pPr algn="ctr">
              <a:buSzPct val="120000"/>
            </a:pPr>
            <a:r>
              <a:rPr lang="en-US" sz="1000">
                <a:solidFill>
                  <a:srgbClr val="000000"/>
                </a:solidFill>
                <a:cs typeface="Arial" charset="0"/>
              </a:rPr>
              <a:t>64</a:t>
            </a:r>
          </a:p>
        </p:txBody>
      </p:sp>
      <p:sp>
        <p:nvSpPr>
          <p:cNvPr id="24" name="5. Source"/>
          <p:cNvSpPr>
            <a:spLocks noChangeArrowheads="1"/>
          </p:cNvSpPr>
          <p:nvPr>
            <p:custDataLst>
              <p:tags r:id="rId5"/>
            </p:custDataLst>
          </p:nvPr>
        </p:nvSpPr>
        <p:spPr bwMode="gray">
          <a:xfrm>
            <a:off x="119063" y="6507558"/>
            <a:ext cx="6862762"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609600" indent="-609600" defTabSz="895350">
              <a:tabLst>
                <a:tab pos="612775" algn="l"/>
              </a:tabLst>
            </a:pPr>
            <a:r>
              <a:rPr lang="en-US" sz="800" dirty="0">
                <a:solidFill>
                  <a:schemeClr val="accent6"/>
                </a:solidFill>
                <a:latin typeface="Arial" panose="020B0604020202020204" pitchFamily="34" charset="0"/>
              </a:rPr>
              <a:t>SOURCE: McKinsey Merger Management</a:t>
            </a:r>
          </a:p>
        </p:txBody>
      </p:sp>
      <p:sp>
        <p:nvSpPr>
          <p:cNvPr id="406567" name="AutoShape 39"/>
          <p:cNvSpPr>
            <a:spLocks noChangeArrowheads="1"/>
          </p:cNvSpPr>
          <p:nvPr/>
        </p:nvSpPr>
        <p:spPr bwMode="gray">
          <a:xfrm>
            <a:off x="3336992" y="1285287"/>
            <a:ext cx="1917717" cy="1087812"/>
          </a:xfrm>
          <a:prstGeom prst="rect">
            <a:avLst/>
          </a:prstGeom>
          <a:solidFill>
            <a:schemeClr val="bg1"/>
          </a:solidFill>
          <a:ln w="9525" algn="ctr">
            <a:solidFill>
              <a:schemeClr val="accent1"/>
            </a:solidFill>
            <a:round/>
            <a:headEnd/>
            <a:tailEnd/>
          </a:ln>
          <a:effectLst/>
        </p:spPr>
        <p:txBody>
          <a:bodyPr anchor="ctr"/>
          <a:lstStyle/>
          <a:p>
            <a:endParaRPr lang="en-US" sz="1000">
              <a:solidFill>
                <a:srgbClr val="000000"/>
              </a:solidFill>
              <a:latin typeface="Arial"/>
            </a:endParaRPr>
          </a:p>
        </p:txBody>
      </p:sp>
      <p:sp>
        <p:nvSpPr>
          <p:cNvPr id="406566" name="AutoShape 38"/>
          <p:cNvSpPr>
            <a:spLocks noChangeArrowheads="1"/>
          </p:cNvSpPr>
          <p:nvPr/>
        </p:nvSpPr>
        <p:spPr bwMode="gray">
          <a:xfrm>
            <a:off x="314323" y="3039468"/>
            <a:ext cx="1428887" cy="881262"/>
          </a:xfrm>
          <a:prstGeom prst="rect">
            <a:avLst/>
          </a:prstGeom>
          <a:solidFill>
            <a:schemeClr val="bg1"/>
          </a:solidFill>
          <a:ln w="9525" algn="ctr">
            <a:solidFill>
              <a:schemeClr val="accent1"/>
            </a:solidFill>
            <a:round/>
            <a:headEnd/>
            <a:tailEnd/>
          </a:ln>
          <a:effectLst/>
        </p:spPr>
        <p:txBody>
          <a:bodyPr anchor="ctr"/>
          <a:lstStyle/>
          <a:p>
            <a:endParaRPr lang="en-US" sz="1000">
              <a:solidFill>
                <a:srgbClr val="000000"/>
              </a:solidFill>
              <a:latin typeface="Arial"/>
            </a:endParaRPr>
          </a:p>
        </p:txBody>
      </p:sp>
      <p:sp>
        <p:nvSpPr>
          <p:cNvPr id="406536" name="Rectangle 8"/>
          <p:cNvSpPr>
            <a:spLocks noChangeArrowheads="1"/>
          </p:cNvSpPr>
          <p:nvPr/>
        </p:nvSpPr>
        <p:spPr bwMode="gray">
          <a:xfrm>
            <a:off x="157229" y="1639189"/>
            <a:ext cx="945772" cy="323165"/>
          </a:xfrm>
          <a:prstGeom prst="rect">
            <a:avLst/>
          </a:prstGeom>
          <a:noFill/>
          <a:ln w="9525">
            <a:noFill/>
            <a:miter lim="800000"/>
            <a:headEnd/>
            <a:tailEnd/>
          </a:ln>
          <a:effectLst/>
        </p:spPr>
        <p:txBody>
          <a:bodyPr wrap="square" lIns="0" tIns="0" rIns="0" bIns="0">
            <a:spAutoFit/>
          </a:bodyPr>
          <a:lstStyle/>
          <a:p>
            <a:pPr defTabSz="895350">
              <a:buClr>
                <a:srgbClr val="002960"/>
              </a:buClr>
            </a:pPr>
            <a:r>
              <a:rPr lang="en-US" sz="1050" dirty="0">
                <a:solidFill>
                  <a:schemeClr val="accent2"/>
                </a:solidFill>
                <a:latin typeface="Arial"/>
              </a:rPr>
              <a:t>Intensity of</a:t>
            </a:r>
            <a:br>
              <a:rPr lang="en-US" sz="1050" dirty="0">
                <a:solidFill>
                  <a:schemeClr val="accent2"/>
                </a:solidFill>
                <a:latin typeface="Arial"/>
              </a:rPr>
            </a:br>
            <a:r>
              <a:rPr lang="en-US" sz="1050" dirty="0">
                <a:solidFill>
                  <a:schemeClr val="accent2"/>
                </a:solidFill>
                <a:latin typeface="Arial"/>
              </a:rPr>
              <a:t>communication</a:t>
            </a:r>
          </a:p>
        </p:txBody>
      </p:sp>
      <p:sp>
        <p:nvSpPr>
          <p:cNvPr id="406540" name="Rectangle 12"/>
          <p:cNvSpPr>
            <a:spLocks noChangeArrowheads="1"/>
          </p:cNvSpPr>
          <p:nvPr/>
        </p:nvSpPr>
        <p:spPr bwMode="gray">
          <a:xfrm>
            <a:off x="7843706" y="4204001"/>
            <a:ext cx="299762" cy="161583"/>
          </a:xfrm>
          <a:prstGeom prst="rect">
            <a:avLst/>
          </a:prstGeom>
          <a:noFill/>
          <a:ln w="9525">
            <a:noFill/>
            <a:miter lim="800000"/>
            <a:headEnd/>
            <a:tailEnd/>
          </a:ln>
          <a:effectLst/>
        </p:spPr>
        <p:txBody>
          <a:bodyPr wrap="none" lIns="0" tIns="0" rIns="0" bIns="0">
            <a:spAutoFit/>
          </a:bodyPr>
          <a:lstStyle/>
          <a:p>
            <a:pPr defTabSz="895350">
              <a:buClr>
                <a:srgbClr val="002960"/>
              </a:buClr>
            </a:pPr>
            <a:r>
              <a:rPr lang="en-US" sz="1050" dirty="0">
                <a:solidFill>
                  <a:schemeClr val="accent2"/>
                </a:solidFill>
                <a:latin typeface="Arial"/>
              </a:rPr>
              <a:t>Time</a:t>
            </a:r>
          </a:p>
        </p:txBody>
      </p:sp>
      <p:sp>
        <p:nvSpPr>
          <p:cNvPr id="406541" name="Freeform 13"/>
          <p:cNvSpPr>
            <a:spLocks/>
          </p:cNvSpPr>
          <p:nvPr/>
        </p:nvSpPr>
        <p:spPr bwMode="gray">
          <a:xfrm>
            <a:off x="157229" y="1941251"/>
            <a:ext cx="7631113" cy="2346804"/>
          </a:xfrm>
          <a:custGeom>
            <a:avLst/>
            <a:gdLst/>
            <a:ahLst/>
            <a:cxnLst>
              <a:cxn ang="0">
                <a:pos x="0" y="0"/>
              </a:cxn>
              <a:cxn ang="0">
                <a:pos x="0" y="1756"/>
              </a:cxn>
              <a:cxn ang="0">
                <a:pos x="5395" y="1756"/>
              </a:cxn>
            </a:cxnLst>
            <a:rect l="0" t="0" r="r" b="b"/>
            <a:pathLst>
              <a:path w="5395" h="1756">
                <a:moveTo>
                  <a:pt x="0" y="0"/>
                </a:moveTo>
                <a:lnTo>
                  <a:pt x="0" y="1756"/>
                </a:lnTo>
                <a:lnTo>
                  <a:pt x="5395" y="1756"/>
                </a:lnTo>
              </a:path>
            </a:pathLst>
          </a:custGeom>
          <a:noFill/>
          <a:ln w="19050" cap="flat" cmpd="sng">
            <a:solidFill>
              <a:schemeClr val="accent6"/>
            </a:solidFill>
            <a:prstDash val="solid"/>
            <a:round/>
            <a:headEnd type="triangle" w="med" len="med"/>
            <a:tailEnd type="triangle" w="med" len="med"/>
          </a:ln>
          <a:effectLst/>
        </p:spPr>
        <p:txBody>
          <a:bodyPr wrap="none" anchor="ctr"/>
          <a:lstStyle/>
          <a:p>
            <a:endParaRPr lang="en-US" sz="1000">
              <a:solidFill>
                <a:srgbClr val="000000"/>
              </a:solidFill>
              <a:latin typeface="Arial"/>
            </a:endParaRPr>
          </a:p>
        </p:txBody>
      </p:sp>
      <p:sp>
        <p:nvSpPr>
          <p:cNvPr id="406544" name="Freeform 16"/>
          <p:cNvSpPr>
            <a:spLocks/>
          </p:cNvSpPr>
          <p:nvPr/>
        </p:nvSpPr>
        <p:spPr bwMode="gray">
          <a:xfrm>
            <a:off x="157229" y="2254291"/>
            <a:ext cx="7631113" cy="1949711"/>
          </a:xfrm>
          <a:custGeom>
            <a:avLst/>
            <a:gdLst/>
            <a:ahLst/>
            <a:cxnLst>
              <a:cxn ang="0">
                <a:pos x="0" y="1527"/>
              </a:cxn>
              <a:cxn ang="0">
                <a:pos x="2002" y="1527"/>
              </a:cxn>
              <a:cxn ang="0">
                <a:pos x="2002" y="212"/>
              </a:cxn>
              <a:cxn ang="0">
                <a:pos x="2185" y="212"/>
              </a:cxn>
              <a:cxn ang="0">
                <a:pos x="2182" y="978"/>
              </a:cxn>
              <a:cxn ang="0">
                <a:pos x="3152" y="669"/>
              </a:cxn>
              <a:cxn ang="0">
                <a:pos x="4043" y="17"/>
              </a:cxn>
              <a:cxn ang="0">
                <a:pos x="4280" y="772"/>
              </a:cxn>
              <a:cxn ang="0">
                <a:pos x="5357" y="849"/>
              </a:cxn>
            </a:cxnLst>
            <a:rect l="0" t="0" r="r" b="b"/>
            <a:pathLst>
              <a:path w="5357" h="1527">
                <a:moveTo>
                  <a:pt x="0" y="1527"/>
                </a:moveTo>
                <a:lnTo>
                  <a:pt x="2002" y="1527"/>
                </a:lnTo>
                <a:lnTo>
                  <a:pt x="2002" y="212"/>
                </a:lnTo>
                <a:lnTo>
                  <a:pt x="2185" y="212"/>
                </a:lnTo>
                <a:lnTo>
                  <a:pt x="2182" y="978"/>
                </a:lnTo>
                <a:cubicBezTo>
                  <a:pt x="2343" y="1054"/>
                  <a:pt x="2842" y="829"/>
                  <a:pt x="3152" y="669"/>
                </a:cubicBezTo>
                <a:cubicBezTo>
                  <a:pt x="3443" y="508"/>
                  <a:pt x="3855" y="0"/>
                  <a:pt x="4043" y="17"/>
                </a:cubicBezTo>
                <a:cubicBezTo>
                  <a:pt x="4231" y="34"/>
                  <a:pt x="4042" y="632"/>
                  <a:pt x="4280" y="772"/>
                </a:cubicBezTo>
                <a:cubicBezTo>
                  <a:pt x="4518" y="912"/>
                  <a:pt x="5178" y="836"/>
                  <a:pt x="5357" y="849"/>
                </a:cubicBezTo>
              </a:path>
            </a:pathLst>
          </a:custGeom>
          <a:noFill/>
          <a:ln w="38100" cap="flat" cmpd="sng">
            <a:solidFill>
              <a:schemeClr val="accent4"/>
            </a:solidFill>
            <a:prstDash val="solid"/>
            <a:round/>
            <a:headEnd type="none" w="med" len="med"/>
            <a:tailEnd type="none" w="med" len="med"/>
          </a:ln>
          <a:effectLst/>
        </p:spPr>
        <p:txBody>
          <a:bodyPr/>
          <a:lstStyle/>
          <a:p>
            <a:endParaRPr lang="en-US" sz="1000">
              <a:solidFill>
                <a:srgbClr val="000000"/>
              </a:solidFill>
              <a:latin typeface="Arial"/>
            </a:endParaRPr>
          </a:p>
        </p:txBody>
      </p:sp>
      <p:sp>
        <p:nvSpPr>
          <p:cNvPr id="18" name="Rectangle 18"/>
          <p:cNvSpPr txBox="1">
            <a:spLocks/>
          </p:cNvSpPr>
          <p:nvPr/>
        </p:nvSpPr>
        <p:spPr>
          <a:xfrm>
            <a:off x="371692" y="3091793"/>
            <a:ext cx="1314149" cy="16158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spcAft>
                <a:spcPts val="300"/>
              </a:spcAft>
              <a:buClr>
                <a:srgbClr val="002960"/>
              </a:buClr>
            </a:pPr>
            <a:r>
              <a:rPr lang="en-US" sz="1050" dirty="0">
                <a:solidFill>
                  <a:schemeClr val="accent2"/>
                </a:solidFill>
              </a:rPr>
              <a:t>Pre-announcement</a:t>
            </a:r>
          </a:p>
        </p:txBody>
      </p:sp>
      <p:sp>
        <p:nvSpPr>
          <p:cNvPr id="31" name="Line 14"/>
          <p:cNvSpPr>
            <a:spLocks noChangeShapeType="1"/>
          </p:cNvSpPr>
          <p:nvPr/>
        </p:nvSpPr>
        <p:spPr bwMode="gray">
          <a:xfrm flipV="1">
            <a:off x="2754380" y="2534605"/>
            <a:ext cx="247649" cy="0"/>
          </a:xfrm>
          <a:prstGeom prst="line">
            <a:avLst/>
          </a:prstGeom>
          <a:noFill/>
          <a:ln w="19050">
            <a:solidFill>
              <a:schemeClr val="accent6"/>
            </a:solidFill>
            <a:round/>
            <a:headEnd/>
            <a:tailEnd type="oval" w="med" len="med"/>
          </a:ln>
          <a:effectLst/>
        </p:spPr>
        <p:txBody>
          <a:bodyPr/>
          <a:lstStyle/>
          <a:p>
            <a:endParaRPr lang="en-US" sz="1000">
              <a:solidFill>
                <a:srgbClr val="000000"/>
              </a:solidFill>
              <a:latin typeface="Arial"/>
            </a:endParaRPr>
          </a:p>
        </p:txBody>
      </p:sp>
      <p:sp>
        <p:nvSpPr>
          <p:cNvPr id="32" name="Line 14"/>
          <p:cNvSpPr>
            <a:spLocks noChangeShapeType="1"/>
          </p:cNvSpPr>
          <p:nvPr/>
        </p:nvSpPr>
        <p:spPr bwMode="gray">
          <a:xfrm flipH="1">
            <a:off x="5927316" y="2056505"/>
            <a:ext cx="0" cy="197787"/>
          </a:xfrm>
          <a:prstGeom prst="line">
            <a:avLst/>
          </a:prstGeom>
          <a:noFill/>
          <a:ln w="12700">
            <a:solidFill>
              <a:schemeClr val="accent1"/>
            </a:solidFill>
            <a:round/>
            <a:headEnd/>
            <a:tailEnd type="oval" w="med" len="med"/>
          </a:ln>
          <a:effectLst/>
        </p:spPr>
        <p:txBody>
          <a:bodyPr/>
          <a:lstStyle/>
          <a:p>
            <a:endParaRPr lang="en-US" sz="1000">
              <a:solidFill>
                <a:srgbClr val="000000"/>
              </a:solidFill>
              <a:latin typeface="Arial"/>
            </a:endParaRPr>
          </a:p>
        </p:txBody>
      </p:sp>
      <p:sp>
        <p:nvSpPr>
          <p:cNvPr id="33" name="Rectangle 8"/>
          <p:cNvSpPr>
            <a:spLocks noChangeArrowheads="1"/>
          </p:cNvSpPr>
          <p:nvPr/>
        </p:nvSpPr>
        <p:spPr bwMode="gray">
          <a:xfrm>
            <a:off x="157229" y="4328414"/>
            <a:ext cx="352425" cy="1674654"/>
          </a:xfrm>
          <a:prstGeom prst="rect">
            <a:avLst/>
          </a:prstGeom>
          <a:solidFill>
            <a:schemeClr val="accent2"/>
          </a:solidFill>
          <a:ln w="12700" algn="ctr">
            <a:solidFill>
              <a:schemeClr val="bg1"/>
            </a:solidFill>
            <a:miter lim="800000"/>
            <a:headEnd/>
            <a:tailEnd/>
          </a:ln>
          <a:effectLst/>
          <a:extLst/>
        </p:spPr>
        <p:txBody>
          <a:bodyPr lIns="73152" rIns="73152" anchor="ctr"/>
          <a:lstStyle/>
          <a:p>
            <a:endParaRPr lang="en-US" sz="1000">
              <a:solidFill>
                <a:schemeClr val="bg1"/>
              </a:solidFill>
              <a:latin typeface="Arial"/>
            </a:endParaRPr>
          </a:p>
        </p:txBody>
      </p:sp>
      <p:sp>
        <p:nvSpPr>
          <p:cNvPr id="34" name="Rectangle 9"/>
          <p:cNvSpPr>
            <a:spLocks noChangeArrowheads="1"/>
          </p:cNvSpPr>
          <p:nvPr/>
        </p:nvSpPr>
        <p:spPr bwMode="gray">
          <a:xfrm rot="16200000">
            <a:off x="-25761" y="5088797"/>
            <a:ext cx="718405"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wrap="none" lIns="0" tIns="0" rIns="0" bIns="0">
            <a:noAutofit/>
          </a:bodyPr>
          <a:lstStyle>
            <a:lvl1pPr algn="l" defTabSz="895350">
              <a:buClr>
                <a:schemeClr val="tx2"/>
              </a:buClr>
              <a:defRPr sz="1600">
                <a:solidFill>
                  <a:schemeClr val="tx1"/>
                </a:solidFill>
                <a:latin typeface="Trebuchet MS" pitchFamily="34" charset="0"/>
                <a:ea typeface="MS UI Gothic" pitchFamily="34" charset="-128"/>
              </a:defRPr>
            </a:lvl1pPr>
            <a:lvl2pPr marL="215900" indent="-214313" algn="l" defTabSz="895350">
              <a:buClr>
                <a:schemeClr val="tx2"/>
              </a:buClr>
              <a:buFont typeface="Wingdings" pitchFamily="2" charset="2"/>
              <a:buChar char="n"/>
              <a:defRPr sz="1600">
                <a:solidFill>
                  <a:schemeClr val="tx1"/>
                </a:solidFill>
                <a:latin typeface="Trebuchet MS" pitchFamily="34" charset="0"/>
                <a:ea typeface="MS UI Gothic" pitchFamily="34" charset="-128"/>
              </a:defRPr>
            </a:lvl2pPr>
            <a:lvl3pPr marL="431800" indent="-214313" algn="l" defTabSz="895350">
              <a:buClr>
                <a:srgbClr val="0174B7"/>
              </a:buClr>
              <a:buSzPct val="80000"/>
              <a:buFont typeface="Wingdings" pitchFamily="2" charset="2"/>
              <a:buChar char="u"/>
              <a:defRPr sz="1600">
                <a:solidFill>
                  <a:schemeClr val="tx1"/>
                </a:solidFill>
                <a:latin typeface="Trebuchet MS" pitchFamily="34" charset="0"/>
                <a:ea typeface="MS UI Gothic" pitchFamily="34" charset="-128"/>
              </a:defRPr>
            </a:lvl3pPr>
            <a:lvl4pPr marL="636588" indent="-192088" algn="l" defTabSz="895350">
              <a:buClr>
                <a:srgbClr val="0174B7"/>
              </a:buClr>
              <a:buSzPct val="70000"/>
              <a:buFont typeface="Wingdings" pitchFamily="2" charset="2"/>
              <a:buChar char="p"/>
              <a:defRPr sz="1600">
                <a:solidFill>
                  <a:schemeClr val="tx1"/>
                </a:solidFill>
                <a:latin typeface="Trebuchet MS" pitchFamily="34" charset="0"/>
                <a:ea typeface="MS UI Gothic" pitchFamily="34" charset="-128"/>
              </a:defRPr>
            </a:lvl4pPr>
            <a:lvl5pPr marL="768350" indent="-130175" algn="l" defTabSz="895350">
              <a:buClr>
                <a:srgbClr val="5EC4D8"/>
              </a:buClr>
              <a:buSzPct val="60000"/>
              <a:buFont typeface="Wingdings" pitchFamily="2" charset="2"/>
              <a:buChar char="l"/>
              <a:defRPr sz="1600">
                <a:solidFill>
                  <a:schemeClr val="tx1"/>
                </a:solidFill>
                <a:latin typeface="Trebuchet MS" pitchFamily="34" charset="0"/>
                <a:ea typeface="MS UI Gothic" pitchFamily="34" charset="-128"/>
              </a:defRPr>
            </a:lvl5pPr>
            <a:lvl6pPr marL="1225550" indent="-130175" defTabSz="895350" fontAlgn="base">
              <a:spcBef>
                <a:spcPct val="0"/>
              </a:spcBef>
              <a:spcAft>
                <a:spcPct val="0"/>
              </a:spcAft>
              <a:buClr>
                <a:srgbClr val="5EC4D8"/>
              </a:buClr>
              <a:buSzPct val="60000"/>
              <a:buFont typeface="Wingdings" pitchFamily="2" charset="2"/>
              <a:buChar char="l"/>
              <a:defRPr sz="1600">
                <a:solidFill>
                  <a:schemeClr val="tx1"/>
                </a:solidFill>
                <a:latin typeface="Trebuchet MS" pitchFamily="34" charset="0"/>
                <a:ea typeface="MS UI Gothic" pitchFamily="34" charset="-128"/>
              </a:defRPr>
            </a:lvl6pPr>
            <a:lvl7pPr marL="1682750" indent="-130175" defTabSz="895350" fontAlgn="base">
              <a:spcBef>
                <a:spcPct val="0"/>
              </a:spcBef>
              <a:spcAft>
                <a:spcPct val="0"/>
              </a:spcAft>
              <a:buClr>
                <a:srgbClr val="5EC4D8"/>
              </a:buClr>
              <a:buSzPct val="60000"/>
              <a:buFont typeface="Wingdings" pitchFamily="2" charset="2"/>
              <a:buChar char="l"/>
              <a:defRPr sz="1600">
                <a:solidFill>
                  <a:schemeClr val="tx1"/>
                </a:solidFill>
                <a:latin typeface="Trebuchet MS" pitchFamily="34" charset="0"/>
                <a:ea typeface="MS UI Gothic" pitchFamily="34" charset="-128"/>
              </a:defRPr>
            </a:lvl7pPr>
            <a:lvl8pPr marL="2139950" indent="-130175" defTabSz="895350" fontAlgn="base">
              <a:spcBef>
                <a:spcPct val="0"/>
              </a:spcBef>
              <a:spcAft>
                <a:spcPct val="0"/>
              </a:spcAft>
              <a:buClr>
                <a:srgbClr val="5EC4D8"/>
              </a:buClr>
              <a:buSzPct val="60000"/>
              <a:buFont typeface="Wingdings" pitchFamily="2" charset="2"/>
              <a:buChar char="l"/>
              <a:defRPr sz="1600">
                <a:solidFill>
                  <a:schemeClr val="tx1"/>
                </a:solidFill>
                <a:latin typeface="Trebuchet MS" pitchFamily="34" charset="0"/>
                <a:ea typeface="MS UI Gothic" pitchFamily="34" charset="-128"/>
              </a:defRPr>
            </a:lvl8pPr>
            <a:lvl9pPr marL="2597150" indent="-130175" defTabSz="895350" fontAlgn="base">
              <a:spcBef>
                <a:spcPct val="0"/>
              </a:spcBef>
              <a:spcAft>
                <a:spcPct val="0"/>
              </a:spcAft>
              <a:buClr>
                <a:srgbClr val="5EC4D8"/>
              </a:buClr>
              <a:buSzPct val="60000"/>
              <a:buFont typeface="Wingdings" pitchFamily="2" charset="2"/>
              <a:buChar char="l"/>
              <a:defRPr sz="1600">
                <a:solidFill>
                  <a:schemeClr val="tx1"/>
                </a:solidFill>
                <a:latin typeface="Trebuchet MS" pitchFamily="34" charset="0"/>
                <a:ea typeface="MS UI Gothic" pitchFamily="34" charset="-128"/>
              </a:defRPr>
            </a:lvl9pPr>
          </a:lstStyle>
          <a:p>
            <a:pPr algn="ctr">
              <a:buClr>
                <a:srgbClr val="002960"/>
              </a:buClr>
            </a:pPr>
            <a:r>
              <a:rPr lang="en-US" altLang="ko-KR" sz="1000" dirty="0">
                <a:solidFill>
                  <a:schemeClr val="bg1"/>
                </a:solidFill>
                <a:latin typeface="Arial"/>
                <a:ea typeface="Gulim" pitchFamily="34" charset="-127"/>
              </a:rPr>
              <a:t>Stakeholders</a:t>
            </a:r>
          </a:p>
        </p:txBody>
      </p:sp>
      <p:sp>
        <p:nvSpPr>
          <p:cNvPr id="44" name="Line 22"/>
          <p:cNvSpPr>
            <a:spLocks noChangeShapeType="1"/>
          </p:cNvSpPr>
          <p:nvPr/>
        </p:nvSpPr>
        <p:spPr bwMode="gray">
          <a:xfrm flipH="1">
            <a:off x="2960753" y="4336565"/>
            <a:ext cx="3175" cy="1853023"/>
          </a:xfrm>
          <a:prstGeom prst="line">
            <a:avLst/>
          </a:prstGeom>
          <a:ln w="6350">
            <a:solidFill>
              <a:schemeClr val="accent1"/>
            </a:solidFill>
            <a:prstDash val="solid"/>
          </a:ln>
          <a:extLst/>
        </p:spPr>
        <p:style>
          <a:lnRef idx="1">
            <a:schemeClr val="accent1"/>
          </a:lnRef>
          <a:fillRef idx="0">
            <a:schemeClr val="accent1"/>
          </a:fillRef>
          <a:effectRef idx="0">
            <a:schemeClr val="accent1"/>
          </a:effectRef>
          <a:fontRef idx="minor">
            <a:schemeClr val="tx1"/>
          </a:fontRef>
        </p:style>
        <p:txBody>
          <a:bodyPr/>
          <a:lstStyle/>
          <a:p>
            <a:endParaRPr lang="en-US">
              <a:solidFill>
                <a:srgbClr val="000000"/>
              </a:solidFill>
              <a:latin typeface="+mn-lt"/>
              <a:cs typeface="Arial" charset="0"/>
            </a:endParaRPr>
          </a:p>
        </p:txBody>
      </p:sp>
      <p:sp>
        <p:nvSpPr>
          <p:cNvPr id="45" name="Line 22"/>
          <p:cNvSpPr>
            <a:spLocks noChangeShapeType="1"/>
          </p:cNvSpPr>
          <p:nvPr/>
        </p:nvSpPr>
        <p:spPr bwMode="gray">
          <a:xfrm flipH="1">
            <a:off x="4999102" y="4336565"/>
            <a:ext cx="3175" cy="1853023"/>
          </a:xfrm>
          <a:prstGeom prst="line">
            <a:avLst/>
          </a:prstGeom>
          <a:ln w="6350">
            <a:solidFill>
              <a:schemeClr val="accent1"/>
            </a:solidFill>
            <a:prstDash val="solid"/>
          </a:ln>
          <a:extLst/>
        </p:spPr>
        <p:style>
          <a:lnRef idx="1">
            <a:schemeClr val="accent1"/>
          </a:lnRef>
          <a:fillRef idx="0">
            <a:schemeClr val="accent1"/>
          </a:fillRef>
          <a:effectRef idx="0">
            <a:schemeClr val="accent1"/>
          </a:effectRef>
          <a:fontRef idx="minor">
            <a:schemeClr val="tx1"/>
          </a:fontRef>
        </p:style>
        <p:txBody>
          <a:bodyPr/>
          <a:lstStyle/>
          <a:p>
            <a:endParaRPr lang="en-US">
              <a:solidFill>
                <a:srgbClr val="000000"/>
              </a:solidFill>
              <a:latin typeface="+mn-lt"/>
              <a:cs typeface="Arial" charset="0"/>
            </a:endParaRPr>
          </a:p>
        </p:txBody>
      </p:sp>
      <p:sp>
        <p:nvSpPr>
          <p:cNvPr id="46" name="Line 22"/>
          <p:cNvSpPr>
            <a:spLocks noChangeShapeType="1"/>
          </p:cNvSpPr>
          <p:nvPr/>
        </p:nvSpPr>
        <p:spPr bwMode="gray">
          <a:xfrm flipH="1">
            <a:off x="7075553" y="4336565"/>
            <a:ext cx="3175" cy="1853023"/>
          </a:xfrm>
          <a:prstGeom prst="line">
            <a:avLst/>
          </a:prstGeom>
          <a:ln w="6350">
            <a:solidFill>
              <a:schemeClr val="accent1"/>
            </a:solidFill>
            <a:prstDash val="solid"/>
          </a:ln>
          <a:extLst/>
        </p:spPr>
        <p:style>
          <a:lnRef idx="1">
            <a:schemeClr val="accent1"/>
          </a:lnRef>
          <a:fillRef idx="0">
            <a:schemeClr val="accent1"/>
          </a:fillRef>
          <a:effectRef idx="0">
            <a:schemeClr val="accent1"/>
          </a:effectRef>
          <a:fontRef idx="minor">
            <a:schemeClr val="tx1"/>
          </a:fontRef>
        </p:style>
        <p:txBody>
          <a:bodyPr/>
          <a:lstStyle/>
          <a:p>
            <a:endParaRPr lang="en-US">
              <a:solidFill>
                <a:srgbClr val="000000"/>
              </a:solidFill>
              <a:latin typeface="+mn-lt"/>
              <a:cs typeface="Arial" charset="0"/>
            </a:endParaRPr>
          </a:p>
        </p:txBody>
      </p:sp>
      <p:sp>
        <p:nvSpPr>
          <p:cNvPr id="50" name="Rectangle 28"/>
          <p:cNvSpPr>
            <a:spLocks noChangeArrowheads="1"/>
          </p:cNvSpPr>
          <p:nvPr/>
        </p:nvSpPr>
        <p:spPr bwMode="gray">
          <a:xfrm>
            <a:off x="3294313" y="4334753"/>
            <a:ext cx="1663700" cy="16158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spAutoFit/>
          </a:bodyPr>
          <a:lstStyle>
            <a:lvl1pPr algn="l" defTabSz="895350">
              <a:buClr>
                <a:schemeClr val="tx2"/>
              </a:buClr>
              <a:defRPr sz="1600">
                <a:solidFill>
                  <a:schemeClr val="tx1"/>
                </a:solidFill>
                <a:latin typeface="Trebuchet MS" pitchFamily="34" charset="0"/>
                <a:ea typeface="MS UI Gothic" pitchFamily="34" charset="-128"/>
              </a:defRPr>
            </a:lvl1pPr>
            <a:lvl2pPr marL="114300" indent="-112713" algn="l" defTabSz="895350">
              <a:buClr>
                <a:schemeClr val="tx2"/>
              </a:buClr>
              <a:buFont typeface="Wingdings" pitchFamily="2" charset="2"/>
              <a:buChar char="n"/>
              <a:defRPr sz="1600">
                <a:solidFill>
                  <a:schemeClr val="tx1"/>
                </a:solidFill>
                <a:latin typeface="Trebuchet MS" pitchFamily="34" charset="0"/>
                <a:ea typeface="MS UI Gothic" pitchFamily="34" charset="-128"/>
              </a:defRPr>
            </a:lvl2pPr>
            <a:lvl3pPr marL="438150" indent="-149225" algn="l" defTabSz="895350">
              <a:buClr>
                <a:srgbClr val="0174B7"/>
              </a:buClr>
              <a:buSzPct val="80000"/>
              <a:buFont typeface="Wingdings" pitchFamily="2" charset="2"/>
              <a:buChar char="u"/>
              <a:defRPr sz="1600">
                <a:solidFill>
                  <a:schemeClr val="tx1"/>
                </a:solidFill>
                <a:latin typeface="Trebuchet MS" pitchFamily="34" charset="0"/>
                <a:ea typeface="MS UI Gothic" pitchFamily="34" charset="-128"/>
              </a:defRPr>
            </a:lvl3pPr>
            <a:lvl4pPr marL="687388" indent="-134938" algn="l" defTabSz="895350">
              <a:buClr>
                <a:srgbClr val="0174B7"/>
              </a:buClr>
              <a:buSzPct val="70000"/>
              <a:buFont typeface="Wingdings" pitchFamily="2" charset="2"/>
              <a:buChar char="p"/>
              <a:defRPr sz="1600">
                <a:solidFill>
                  <a:schemeClr val="tx1"/>
                </a:solidFill>
                <a:latin typeface="Trebuchet MS" pitchFamily="34" charset="0"/>
                <a:ea typeface="MS UI Gothic" pitchFamily="34" charset="-128"/>
              </a:defRPr>
            </a:lvl4pPr>
            <a:lvl5pPr marL="950913" indent="-149225" algn="l" defTabSz="895350">
              <a:buClr>
                <a:srgbClr val="5EC4D8"/>
              </a:buClr>
              <a:buSzPct val="60000"/>
              <a:buFont typeface="Wingdings" pitchFamily="2" charset="2"/>
              <a:buChar char="l"/>
              <a:defRPr sz="1600">
                <a:solidFill>
                  <a:schemeClr val="tx1"/>
                </a:solidFill>
                <a:latin typeface="Trebuchet MS" pitchFamily="34" charset="0"/>
                <a:ea typeface="MS UI Gothic" pitchFamily="34" charset="-128"/>
              </a:defRPr>
            </a:lvl5pPr>
            <a:lvl6pPr marL="1408113" indent="-149225" defTabSz="895350" fontAlgn="base">
              <a:spcBef>
                <a:spcPct val="0"/>
              </a:spcBef>
              <a:spcAft>
                <a:spcPct val="0"/>
              </a:spcAft>
              <a:buClr>
                <a:srgbClr val="5EC4D8"/>
              </a:buClr>
              <a:buSzPct val="60000"/>
              <a:buFont typeface="Wingdings" pitchFamily="2" charset="2"/>
              <a:buChar char="l"/>
              <a:defRPr sz="1600">
                <a:solidFill>
                  <a:schemeClr val="tx1"/>
                </a:solidFill>
                <a:latin typeface="Trebuchet MS" pitchFamily="34" charset="0"/>
                <a:ea typeface="MS UI Gothic" pitchFamily="34" charset="-128"/>
              </a:defRPr>
            </a:lvl6pPr>
            <a:lvl7pPr marL="1865313" indent="-149225" defTabSz="895350" fontAlgn="base">
              <a:spcBef>
                <a:spcPct val="0"/>
              </a:spcBef>
              <a:spcAft>
                <a:spcPct val="0"/>
              </a:spcAft>
              <a:buClr>
                <a:srgbClr val="5EC4D8"/>
              </a:buClr>
              <a:buSzPct val="60000"/>
              <a:buFont typeface="Wingdings" pitchFamily="2" charset="2"/>
              <a:buChar char="l"/>
              <a:defRPr sz="1600">
                <a:solidFill>
                  <a:schemeClr val="tx1"/>
                </a:solidFill>
                <a:latin typeface="Trebuchet MS" pitchFamily="34" charset="0"/>
                <a:ea typeface="MS UI Gothic" pitchFamily="34" charset="-128"/>
              </a:defRPr>
            </a:lvl7pPr>
            <a:lvl8pPr marL="2322513" indent="-149225" defTabSz="895350" fontAlgn="base">
              <a:spcBef>
                <a:spcPct val="0"/>
              </a:spcBef>
              <a:spcAft>
                <a:spcPct val="0"/>
              </a:spcAft>
              <a:buClr>
                <a:srgbClr val="5EC4D8"/>
              </a:buClr>
              <a:buSzPct val="60000"/>
              <a:buFont typeface="Wingdings" pitchFamily="2" charset="2"/>
              <a:buChar char="l"/>
              <a:defRPr sz="1600">
                <a:solidFill>
                  <a:schemeClr val="tx1"/>
                </a:solidFill>
                <a:latin typeface="Trebuchet MS" pitchFamily="34" charset="0"/>
                <a:ea typeface="MS UI Gothic" pitchFamily="34" charset="-128"/>
              </a:defRPr>
            </a:lvl8pPr>
            <a:lvl9pPr marL="2779713" indent="-149225" defTabSz="895350" fontAlgn="base">
              <a:spcBef>
                <a:spcPct val="0"/>
              </a:spcBef>
              <a:spcAft>
                <a:spcPct val="0"/>
              </a:spcAft>
              <a:buClr>
                <a:srgbClr val="5EC4D8"/>
              </a:buClr>
              <a:buSzPct val="60000"/>
              <a:buFont typeface="Wingdings" pitchFamily="2" charset="2"/>
              <a:buChar char="l"/>
              <a:defRPr sz="1600">
                <a:solidFill>
                  <a:schemeClr val="tx1"/>
                </a:solidFill>
                <a:latin typeface="Trebuchet MS" pitchFamily="34" charset="0"/>
                <a:ea typeface="MS UI Gothic" pitchFamily="34" charset="-128"/>
              </a:defRPr>
            </a:lvl9pPr>
          </a:lstStyle>
          <a:p>
            <a:pPr>
              <a:buClr>
                <a:srgbClr val="002960"/>
              </a:buClr>
            </a:pPr>
            <a:r>
              <a:rPr lang="en-US" altLang="ko-KR" sz="1050" dirty="0">
                <a:solidFill>
                  <a:schemeClr val="accent2"/>
                </a:solidFill>
                <a:latin typeface="Arial"/>
                <a:ea typeface="Gulim" pitchFamily="34" charset="-127"/>
              </a:rPr>
              <a:t>Pre Close</a:t>
            </a:r>
          </a:p>
        </p:txBody>
      </p:sp>
      <p:sp>
        <p:nvSpPr>
          <p:cNvPr id="53" name="Rectangle 33"/>
          <p:cNvSpPr>
            <a:spLocks noChangeArrowheads="1"/>
          </p:cNvSpPr>
          <p:nvPr/>
        </p:nvSpPr>
        <p:spPr bwMode="gray">
          <a:xfrm>
            <a:off x="7337358" y="4334753"/>
            <a:ext cx="1362075"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spAutoFit/>
          </a:bodyPr>
          <a:lstStyle>
            <a:lvl1pPr algn="l" defTabSz="895350">
              <a:buClr>
                <a:schemeClr val="tx2"/>
              </a:buClr>
              <a:defRPr sz="1600">
                <a:solidFill>
                  <a:schemeClr val="tx1"/>
                </a:solidFill>
                <a:latin typeface="Trebuchet MS" pitchFamily="34" charset="0"/>
                <a:ea typeface="MS UI Gothic" pitchFamily="34" charset="-128"/>
              </a:defRPr>
            </a:lvl1pPr>
            <a:lvl2pPr marL="114300" indent="-112713" algn="l" defTabSz="895350">
              <a:buClr>
                <a:schemeClr val="tx2"/>
              </a:buClr>
              <a:buFont typeface="Wingdings" pitchFamily="2" charset="2"/>
              <a:buChar char="n"/>
              <a:defRPr sz="1600">
                <a:solidFill>
                  <a:schemeClr val="tx1"/>
                </a:solidFill>
                <a:latin typeface="Trebuchet MS" pitchFamily="34" charset="0"/>
                <a:ea typeface="MS UI Gothic" pitchFamily="34" charset="-128"/>
              </a:defRPr>
            </a:lvl2pPr>
            <a:lvl3pPr marL="438150" indent="-149225" algn="l" defTabSz="895350">
              <a:buClr>
                <a:srgbClr val="0174B7"/>
              </a:buClr>
              <a:buSzPct val="80000"/>
              <a:buFont typeface="Wingdings" pitchFamily="2" charset="2"/>
              <a:buChar char="u"/>
              <a:defRPr sz="1600">
                <a:solidFill>
                  <a:schemeClr val="tx1"/>
                </a:solidFill>
                <a:latin typeface="Trebuchet MS" pitchFamily="34" charset="0"/>
                <a:ea typeface="MS UI Gothic" pitchFamily="34" charset="-128"/>
              </a:defRPr>
            </a:lvl3pPr>
            <a:lvl4pPr marL="687388" indent="-134938" algn="l" defTabSz="895350">
              <a:buClr>
                <a:srgbClr val="0174B7"/>
              </a:buClr>
              <a:buSzPct val="70000"/>
              <a:buFont typeface="Wingdings" pitchFamily="2" charset="2"/>
              <a:buChar char="p"/>
              <a:defRPr sz="1600">
                <a:solidFill>
                  <a:schemeClr val="tx1"/>
                </a:solidFill>
                <a:latin typeface="Trebuchet MS" pitchFamily="34" charset="0"/>
                <a:ea typeface="MS UI Gothic" pitchFamily="34" charset="-128"/>
              </a:defRPr>
            </a:lvl4pPr>
            <a:lvl5pPr marL="950913" indent="-149225" algn="l" defTabSz="895350">
              <a:buClr>
                <a:srgbClr val="5EC4D8"/>
              </a:buClr>
              <a:buSzPct val="60000"/>
              <a:buFont typeface="Wingdings" pitchFamily="2" charset="2"/>
              <a:buChar char="l"/>
              <a:defRPr sz="1600">
                <a:solidFill>
                  <a:schemeClr val="tx1"/>
                </a:solidFill>
                <a:latin typeface="Trebuchet MS" pitchFamily="34" charset="0"/>
                <a:ea typeface="MS UI Gothic" pitchFamily="34" charset="-128"/>
              </a:defRPr>
            </a:lvl5pPr>
            <a:lvl6pPr marL="1408113" indent="-149225" defTabSz="895350" fontAlgn="base">
              <a:spcBef>
                <a:spcPct val="0"/>
              </a:spcBef>
              <a:spcAft>
                <a:spcPct val="0"/>
              </a:spcAft>
              <a:buClr>
                <a:srgbClr val="5EC4D8"/>
              </a:buClr>
              <a:buSzPct val="60000"/>
              <a:buFont typeface="Wingdings" pitchFamily="2" charset="2"/>
              <a:buChar char="l"/>
              <a:defRPr sz="1600">
                <a:solidFill>
                  <a:schemeClr val="tx1"/>
                </a:solidFill>
                <a:latin typeface="Trebuchet MS" pitchFamily="34" charset="0"/>
                <a:ea typeface="MS UI Gothic" pitchFamily="34" charset="-128"/>
              </a:defRPr>
            </a:lvl6pPr>
            <a:lvl7pPr marL="1865313" indent="-149225" defTabSz="895350" fontAlgn="base">
              <a:spcBef>
                <a:spcPct val="0"/>
              </a:spcBef>
              <a:spcAft>
                <a:spcPct val="0"/>
              </a:spcAft>
              <a:buClr>
                <a:srgbClr val="5EC4D8"/>
              </a:buClr>
              <a:buSzPct val="60000"/>
              <a:buFont typeface="Wingdings" pitchFamily="2" charset="2"/>
              <a:buChar char="l"/>
              <a:defRPr sz="1600">
                <a:solidFill>
                  <a:schemeClr val="tx1"/>
                </a:solidFill>
                <a:latin typeface="Trebuchet MS" pitchFamily="34" charset="0"/>
                <a:ea typeface="MS UI Gothic" pitchFamily="34" charset="-128"/>
              </a:defRPr>
            </a:lvl7pPr>
            <a:lvl8pPr marL="2322513" indent="-149225" defTabSz="895350" fontAlgn="base">
              <a:spcBef>
                <a:spcPct val="0"/>
              </a:spcBef>
              <a:spcAft>
                <a:spcPct val="0"/>
              </a:spcAft>
              <a:buClr>
                <a:srgbClr val="5EC4D8"/>
              </a:buClr>
              <a:buSzPct val="60000"/>
              <a:buFont typeface="Wingdings" pitchFamily="2" charset="2"/>
              <a:buChar char="l"/>
              <a:defRPr sz="1600">
                <a:solidFill>
                  <a:schemeClr val="tx1"/>
                </a:solidFill>
                <a:latin typeface="Trebuchet MS" pitchFamily="34" charset="0"/>
                <a:ea typeface="MS UI Gothic" pitchFamily="34" charset="-128"/>
              </a:defRPr>
            </a:lvl8pPr>
            <a:lvl9pPr marL="2779713" indent="-149225" defTabSz="895350" fontAlgn="base">
              <a:spcBef>
                <a:spcPct val="0"/>
              </a:spcBef>
              <a:spcAft>
                <a:spcPct val="0"/>
              </a:spcAft>
              <a:buClr>
                <a:srgbClr val="5EC4D8"/>
              </a:buClr>
              <a:buSzPct val="60000"/>
              <a:buFont typeface="Wingdings" pitchFamily="2" charset="2"/>
              <a:buChar char="l"/>
              <a:defRPr sz="1600">
                <a:solidFill>
                  <a:schemeClr val="tx1"/>
                </a:solidFill>
                <a:latin typeface="Trebuchet MS" pitchFamily="34" charset="0"/>
                <a:ea typeface="MS UI Gothic" pitchFamily="34" charset="-128"/>
              </a:defRPr>
            </a:lvl9pPr>
          </a:lstStyle>
          <a:p>
            <a:pPr>
              <a:buClr>
                <a:srgbClr val="002960"/>
              </a:buClr>
            </a:pPr>
            <a:r>
              <a:rPr lang="en-US" altLang="ko-KR" sz="1000" dirty="0">
                <a:solidFill>
                  <a:schemeClr val="accent2"/>
                </a:solidFill>
                <a:latin typeface="Arial"/>
                <a:ea typeface="Gulim" pitchFamily="34" charset="-127"/>
              </a:rPr>
              <a:t>Post Close</a:t>
            </a:r>
          </a:p>
        </p:txBody>
      </p:sp>
      <p:sp>
        <p:nvSpPr>
          <p:cNvPr id="55" name="Rectangle 48"/>
          <p:cNvSpPr>
            <a:spLocks noChangeArrowheads="1"/>
          </p:cNvSpPr>
          <p:nvPr/>
        </p:nvSpPr>
        <p:spPr bwMode="gray">
          <a:xfrm>
            <a:off x="877061" y="4334753"/>
            <a:ext cx="1993900" cy="16158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spAutoFit/>
          </a:bodyPr>
          <a:lstStyle>
            <a:lvl1pPr algn="l" defTabSz="895350">
              <a:buClr>
                <a:schemeClr val="tx2"/>
              </a:buClr>
              <a:defRPr sz="1600">
                <a:solidFill>
                  <a:schemeClr val="tx1"/>
                </a:solidFill>
                <a:latin typeface="Trebuchet MS" pitchFamily="34" charset="0"/>
                <a:ea typeface="MS UI Gothic" pitchFamily="34" charset="-128"/>
              </a:defRPr>
            </a:lvl1pPr>
            <a:lvl2pPr marL="114300" indent="-112713" algn="l" defTabSz="895350">
              <a:buClr>
                <a:schemeClr val="tx2"/>
              </a:buClr>
              <a:buFont typeface="Wingdings" pitchFamily="2" charset="2"/>
              <a:buChar char="n"/>
              <a:defRPr sz="1600">
                <a:solidFill>
                  <a:schemeClr val="tx1"/>
                </a:solidFill>
                <a:latin typeface="Trebuchet MS" pitchFamily="34" charset="0"/>
                <a:ea typeface="MS UI Gothic" pitchFamily="34" charset="-128"/>
              </a:defRPr>
            </a:lvl2pPr>
            <a:lvl3pPr marL="438150" indent="-149225" algn="l" defTabSz="895350">
              <a:buClr>
                <a:srgbClr val="0174B7"/>
              </a:buClr>
              <a:buSzPct val="80000"/>
              <a:buFont typeface="Wingdings" pitchFamily="2" charset="2"/>
              <a:buChar char="u"/>
              <a:defRPr sz="1600">
                <a:solidFill>
                  <a:schemeClr val="tx1"/>
                </a:solidFill>
                <a:latin typeface="Trebuchet MS" pitchFamily="34" charset="0"/>
                <a:ea typeface="MS UI Gothic" pitchFamily="34" charset="-128"/>
              </a:defRPr>
            </a:lvl3pPr>
            <a:lvl4pPr marL="687388" indent="-134938" algn="l" defTabSz="895350">
              <a:buClr>
                <a:srgbClr val="0174B7"/>
              </a:buClr>
              <a:buSzPct val="70000"/>
              <a:buFont typeface="Wingdings" pitchFamily="2" charset="2"/>
              <a:buChar char="p"/>
              <a:defRPr sz="1600">
                <a:solidFill>
                  <a:schemeClr val="tx1"/>
                </a:solidFill>
                <a:latin typeface="Trebuchet MS" pitchFamily="34" charset="0"/>
                <a:ea typeface="MS UI Gothic" pitchFamily="34" charset="-128"/>
              </a:defRPr>
            </a:lvl4pPr>
            <a:lvl5pPr marL="950913" indent="-149225" algn="l" defTabSz="895350">
              <a:buClr>
                <a:srgbClr val="5EC4D8"/>
              </a:buClr>
              <a:buSzPct val="60000"/>
              <a:buFont typeface="Wingdings" pitchFamily="2" charset="2"/>
              <a:buChar char="l"/>
              <a:defRPr sz="1600">
                <a:solidFill>
                  <a:schemeClr val="tx1"/>
                </a:solidFill>
                <a:latin typeface="Trebuchet MS" pitchFamily="34" charset="0"/>
                <a:ea typeface="MS UI Gothic" pitchFamily="34" charset="-128"/>
              </a:defRPr>
            </a:lvl5pPr>
            <a:lvl6pPr marL="1408113" indent="-149225" defTabSz="895350" fontAlgn="base">
              <a:spcBef>
                <a:spcPct val="0"/>
              </a:spcBef>
              <a:spcAft>
                <a:spcPct val="0"/>
              </a:spcAft>
              <a:buClr>
                <a:srgbClr val="5EC4D8"/>
              </a:buClr>
              <a:buSzPct val="60000"/>
              <a:buFont typeface="Wingdings" pitchFamily="2" charset="2"/>
              <a:buChar char="l"/>
              <a:defRPr sz="1600">
                <a:solidFill>
                  <a:schemeClr val="tx1"/>
                </a:solidFill>
                <a:latin typeface="Trebuchet MS" pitchFamily="34" charset="0"/>
                <a:ea typeface="MS UI Gothic" pitchFamily="34" charset="-128"/>
              </a:defRPr>
            </a:lvl6pPr>
            <a:lvl7pPr marL="1865313" indent="-149225" defTabSz="895350" fontAlgn="base">
              <a:spcBef>
                <a:spcPct val="0"/>
              </a:spcBef>
              <a:spcAft>
                <a:spcPct val="0"/>
              </a:spcAft>
              <a:buClr>
                <a:srgbClr val="5EC4D8"/>
              </a:buClr>
              <a:buSzPct val="60000"/>
              <a:buFont typeface="Wingdings" pitchFamily="2" charset="2"/>
              <a:buChar char="l"/>
              <a:defRPr sz="1600">
                <a:solidFill>
                  <a:schemeClr val="tx1"/>
                </a:solidFill>
                <a:latin typeface="Trebuchet MS" pitchFamily="34" charset="0"/>
                <a:ea typeface="MS UI Gothic" pitchFamily="34" charset="-128"/>
              </a:defRPr>
            </a:lvl7pPr>
            <a:lvl8pPr marL="2322513" indent="-149225" defTabSz="895350" fontAlgn="base">
              <a:spcBef>
                <a:spcPct val="0"/>
              </a:spcBef>
              <a:spcAft>
                <a:spcPct val="0"/>
              </a:spcAft>
              <a:buClr>
                <a:srgbClr val="5EC4D8"/>
              </a:buClr>
              <a:buSzPct val="60000"/>
              <a:buFont typeface="Wingdings" pitchFamily="2" charset="2"/>
              <a:buChar char="l"/>
              <a:defRPr sz="1600">
                <a:solidFill>
                  <a:schemeClr val="tx1"/>
                </a:solidFill>
                <a:latin typeface="Trebuchet MS" pitchFamily="34" charset="0"/>
                <a:ea typeface="MS UI Gothic" pitchFamily="34" charset="-128"/>
              </a:defRPr>
            </a:lvl8pPr>
            <a:lvl9pPr marL="2779713" indent="-149225" defTabSz="895350" fontAlgn="base">
              <a:spcBef>
                <a:spcPct val="0"/>
              </a:spcBef>
              <a:spcAft>
                <a:spcPct val="0"/>
              </a:spcAft>
              <a:buClr>
                <a:srgbClr val="5EC4D8"/>
              </a:buClr>
              <a:buSzPct val="60000"/>
              <a:buFont typeface="Wingdings" pitchFamily="2" charset="2"/>
              <a:buChar char="l"/>
              <a:defRPr sz="1600">
                <a:solidFill>
                  <a:schemeClr val="tx1"/>
                </a:solidFill>
                <a:latin typeface="Trebuchet MS" pitchFamily="34" charset="0"/>
                <a:ea typeface="MS UI Gothic" pitchFamily="34" charset="-128"/>
              </a:defRPr>
            </a:lvl9pPr>
          </a:lstStyle>
          <a:p>
            <a:pPr>
              <a:buClr>
                <a:srgbClr val="002960"/>
              </a:buClr>
            </a:pPr>
            <a:r>
              <a:rPr lang="en-US" altLang="ko-KR" sz="1050" dirty="0">
                <a:solidFill>
                  <a:schemeClr val="accent2"/>
                </a:solidFill>
                <a:latin typeface="Arial"/>
                <a:ea typeface="Gulim" pitchFamily="34" charset="-127"/>
              </a:rPr>
              <a:t>Announcement</a:t>
            </a:r>
          </a:p>
        </p:txBody>
      </p:sp>
      <p:sp>
        <p:nvSpPr>
          <p:cNvPr id="56" name="Rectangle 50"/>
          <p:cNvSpPr>
            <a:spLocks noChangeArrowheads="1"/>
          </p:cNvSpPr>
          <p:nvPr/>
        </p:nvSpPr>
        <p:spPr bwMode="gray">
          <a:xfrm>
            <a:off x="5262932" y="4334753"/>
            <a:ext cx="1792685" cy="16158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wrap="square" lIns="0" tIns="0" rIns="0" bIns="0">
            <a:spAutoFit/>
          </a:bodyPr>
          <a:lstStyle>
            <a:lvl1pPr algn="l" defTabSz="895350">
              <a:buClr>
                <a:schemeClr val="tx2"/>
              </a:buClr>
              <a:defRPr sz="1600">
                <a:solidFill>
                  <a:schemeClr val="tx1"/>
                </a:solidFill>
                <a:latin typeface="Trebuchet MS" pitchFamily="34" charset="0"/>
                <a:ea typeface="MS UI Gothic" pitchFamily="34" charset="-128"/>
              </a:defRPr>
            </a:lvl1pPr>
            <a:lvl2pPr marL="114300" indent="-112713" algn="l" defTabSz="895350">
              <a:buClr>
                <a:schemeClr val="tx2"/>
              </a:buClr>
              <a:buFont typeface="Wingdings" pitchFamily="2" charset="2"/>
              <a:buChar char="n"/>
              <a:defRPr sz="1600">
                <a:solidFill>
                  <a:schemeClr val="tx1"/>
                </a:solidFill>
                <a:latin typeface="Trebuchet MS" pitchFamily="34" charset="0"/>
                <a:ea typeface="MS UI Gothic" pitchFamily="34" charset="-128"/>
              </a:defRPr>
            </a:lvl2pPr>
            <a:lvl3pPr marL="438150" indent="-149225" algn="l" defTabSz="895350">
              <a:buClr>
                <a:srgbClr val="0174B7"/>
              </a:buClr>
              <a:buSzPct val="80000"/>
              <a:buFont typeface="Wingdings" pitchFamily="2" charset="2"/>
              <a:buChar char="u"/>
              <a:defRPr sz="1600">
                <a:solidFill>
                  <a:schemeClr val="tx1"/>
                </a:solidFill>
                <a:latin typeface="Trebuchet MS" pitchFamily="34" charset="0"/>
                <a:ea typeface="MS UI Gothic" pitchFamily="34" charset="-128"/>
              </a:defRPr>
            </a:lvl3pPr>
            <a:lvl4pPr marL="687388" indent="-134938" algn="l" defTabSz="895350">
              <a:buClr>
                <a:srgbClr val="0174B7"/>
              </a:buClr>
              <a:buSzPct val="70000"/>
              <a:buFont typeface="Wingdings" pitchFamily="2" charset="2"/>
              <a:buChar char="p"/>
              <a:defRPr sz="1600">
                <a:solidFill>
                  <a:schemeClr val="tx1"/>
                </a:solidFill>
                <a:latin typeface="Trebuchet MS" pitchFamily="34" charset="0"/>
                <a:ea typeface="MS UI Gothic" pitchFamily="34" charset="-128"/>
              </a:defRPr>
            </a:lvl4pPr>
            <a:lvl5pPr marL="950913" indent="-149225" algn="l" defTabSz="895350">
              <a:buClr>
                <a:srgbClr val="5EC4D8"/>
              </a:buClr>
              <a:buSzPct val="60000"/>
              <a:buFont typeface="Wingdings" pitchFamily="2" charset="2"/>
              <a:buChar char="l"/>
              <a:defRPr sz="1600">
                <a:solidFill>
                  <a:schemeClr val="tx1"/>
                </a:solidFill>
                <a:latin typeface="Trebuchet MS" pitchFamily="34" charset="0"/>
                <a:ea typeface="MS UI Gothic" pitchFamily="34" charset="-128"/>
              </a:defRPr>
            </a:lvl5pPr>
            <a:lvl6pPr marL="1408113" indent="-149225" defTabSz="895350" fontAlgn="base">
              <a:spcBef>
                <a:spcPct val="0"/>
              </a:spcBef>
              <a:spcAft>
                <a:spcPct val="0"/>
              </a:spcAft>
              <a:buClr>
                <a:srgbClr val="5EC4D8"/>
              </a:buClr>
              <a:buSzPct val="60000"/>
              <a:buFont typeface="Wingdings" pitchFamily="2" charset="2"/>
              <a:buChar char="l"/>
              <a:defRPr sz="1600">
                <a:solidFill>
                  <a:schemeClr val="tx1"/>
                </a:solidFill>
                <a:latin typeface="Trebuchet MS" pitchFamily="34" charset="0"/>
                <a:ea typeface="MS UI Gothic" pitchFamily="34" charset="-128"/>
              </a:defRPr>
            </a:lvl6pPr>
            <a:lvl7pPr marL="1865313" indent="-149225" defTabSz="895350" fontAlgn="base">
              <a:spcBef>
                <a:spcPct val="0"/>
              </a:spcBef>
              <a:spcAft>
                <a:spcPct val="0"/>
              </a:spcAft>
              <a:buClr>
                <a:srgbClr val="5EC4D8"/>
              </a:buClr>
              <a:buSzPct val="60000"/>
              <a:buFont typeface="Wingdings" pitchFamily="2" charset="2"/>
              <a:buChar char="l"/>
              <a:defRPr sz="1600">
                <a:solidFill>
                  <a:schemeClr val="tx1"/>
                </a:solidFill>
                <a:latin typeface="Trebuchet MS" pitchFamily="34" charset="0"/>
                <a:ea typeface="MS UI Gothic" pitchFamily="34" charset="-128"/>
              </a:defRPr>
            </a:lvl7pPr>
            <a:lvl8pPr marL="2322513" indent="-149225" defTabSz="895350" fontAlgn="base">
              <a:spcBef>
                <a:spcPct val="0"/>
              </a:spcBef>
              <a:spcAft>
                <a:spcPct val="0"/>
              </a:spcAft>
              <a:buClr>
                <a:srgbClr val="5EC4D8"/>
              </a:buClr>
              <a:buSzPct val="60000"/>
              <a:buFont typeface="Wingdings" pitchFamily="2" charset="2"/>
              <a:buChar char="l"/>
              <a:defRPr sz="1600">
                <a:solidFill>
                  <a:schemeClr val="tx1"/>
                </a:solidFill>
                <a:latin typeface="Trebuchet MS" pitchFamily="34" charset="0"/>
                <a:ea typeface="MS UI Gothic" pitchFamily="34" charset="-128"/>
              </a:defRPr>
            </a:lvl8pPr>
            <a:lvl9pPr marL="2779713" indent="-149225" defTabSz="895350" fontAlgn="base">
              <a:spcBef>
                <a:spcPct val="0"/>
              </a:spcBef>
              <a:spcAft>
                <a:spcPct val="0"/>
              </a:spcAft>
              <a:buClr>
                <a:srgbClr val="5EC4D8"/>
              </a:buClr>
              <a:buSzPct val="60000"/>
              <a:buFont typeface="Wingdings" pitchFamily="2" charset="2"/>
              <a:buChar char="l"/>
              <a:defRPr sz="1600">
                <a:solidFill>
                  <a:schemeClr val="tx1"/>
                </a:solidFill>
                <a:latin typeface="Trebuchet MS" pitchFamily="34" charset="0"/>
                <a:ea typeface="MS UI Gothic" pitchFamily="34" charset="-128"/>
              </a:defRPr>
            </a:lvl9pPr>
          </a:lstStyle>
          <a:p>
            <a:pPr>
              <a:buClr>
                <a:srgbClr val="002960"/>
              </a:buClr>
            </a:pPr>
            <a:r>
              <a:rPr lang="en-US" altLang="ko-KR" sz="1050" dirty="0">
                <a:solidFill>
                  <a:schemeClr val="accent2"/>
                </a:solidFill>
                <a:latin typeface="Arial"/>
                <a:ea typeface="Gulim" pitchFamily="34" charset="-127"/>
              </a:rPr>
              <a:t>Close (Day 1 )</a:t>
            </a:r>
          </a:p>
        </p:txBody>
      </p:sp>
      <p:sp>
        <p:nvSpPr>
          <p:cNvPr id="7" name="Rectangle 7"/>
          <p:cNvSpPr txBox="1">
            <a:spLocks/>
          </p:cNvSpPr>
          <p:nvPr/>
        </p:nvSpPr>
        <p:spPr>
          <a:xfrm>
            <a:off x="3384801" y="1338512"/>
            <a:ext cx="1824755" cy="13793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Lst>
        </p:spPr>
        <p:txBody>
          <a:bodyPr vert="horz" wrap="none" lIns="0" tIns="0" rIns="0" bIns="0" numCol="1" anchor="t" anchorCtr="0" compatLnSpc="1">
            <a:prstTxWarp prst="textNoShape">
              <a:avLst/>
            </a:prstTxWarp>
            <a:no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buClr>
                <a:srgbClr val="002960"/>
              </a:buClr>
            </a:pPr>
            <a:r>
              <a:rPr lang="en-US" sz="1050" dirty="0">
                <a:solidFill>
                  <a:schemeClr val="accent2"/>
                </a:solidFill>
              </a:rPr>
              <a:t>Announcement to Day-1</a:t>
            </a:r>
          </a:p>
        </p:txBody>
      </p:sp>
      <p:sp>
        <p:nvSpPr>
          <p:cNvPr id="22" name="Rectangle 22"/>
          <p:cNvSpPr txBox="1">
            <a:spLocks/>
          </p:cNvSpPr>
          <p:nvPr/>
        </p:nvSpPr>
        <p:spPr>
          <a:xfrm>
            <a:off x="7337358" y="4493430"/>
            <a:ext cx="1362075" cy="46166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1">
              <a:buClr>
                <a:srgbClr val="002960"/>
              </a:buClr>
            </a:pPr>
            <a:r>
              <a:rPr lang="en-US" altLang="ko-KR" sz="1000" dirty="0">
                <a:ea typeface="Gulim"/>
              </a:rPr>
              <a:t>Executive team/ managers</a:t>
            </a:r>
          </a:p>
          <a:p>
            <a:pPr lvl="1">
              <a:buClr>
                <a:srgbClr val="002960"/>
              </a:buClr>
            </a:pPr>
            <a:r>
              <a:rPr lang="en-US" altLang="ko-KR" sz="1000" dirty="0">
                <a:ea typeface="Gulim"/>
              </a:rPr>
              <a:t>All employees</a:t>
            </a:r>
            <a:endParaRPr lang="en-US" sz="1000" dirty="0">
              <a:ea typeface="Gulim"/>
            </a:endParaRPr>
          </a:p>
        </p:txBody>
      </p:sp>
      <p:sp>
        <p:nvSpPr>
          <p:cNvPr id="29" name="Rectangle 29"/>
          <p:cNvSpPr txBox="1">
            <a:spLocks/>
          </p:cNvSpPr>
          <p:nvPr/>
        </p:nvSpPr>
        <p:spPr>
          <a:xfrm>
            <a:off x="5262932" y="4493430"/>
            <a:ext cx="1792685" cy="169277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1">
              <a:buClr>
                <a:srgbClr val="002960"/>
              </a:buClr>
            </a:pPr>
            <a:r>
              <a:rPr lang="en-US" altLang="ko-KR" sz="1000" dirty="0">
                <a:ea typeface="Gulim"/>
              </a:rPr>
              <a:t>Tailored communication issued to all stakeholder groups, including</a:t>
            </a:r>
          </a:p>
          <a:p>
            <a:pPr lvl="2">
              <a:buClr>
                <a:srgbClr val="002960"/>
              </a:buClr>
            </a:pPr>
            <a:r>
              <a:rPr lang="en-US" altLang="ko-KR" sz="1000" dirty="0">
                <a:ea typeface="Gulim"/>
              </a:rPr>
              <a:t>All employees</a:t>
            </a:r>
          </a:p>
          <a:p>
            <a:pPr lvl="2">
              <a:buClr>
                <a:srgbClr val="002960"/>
              </a:buClr>
            </a:pPr>
            <a:r>
              <a:rPr lang="en-US" sz="1000" dirty="0">
                <a:ea typeface="Gulim"/>
              </a:rPr>
              <a:t>Customers</a:t>
            </a:r>
          </a:p>
          <a:p>
            <a:pPr lvl="2">
              <a:buClr>
                <a:srgbClr val="002960"/>
              </a:buClr>
            </a:pPr>
            <a:r>
              <a:rPr lang="en-US" sz="1000" dirty="0">
                <a:ea typeface="Gulim"/>
              </a:rPr>
              <a:t>Financial community / shareholders</a:t>
            </a:r>
          </a:p>
          <a:p>
            <a:pPr lvl="2">
              <a:buClr>
                <a:srgbClr val="002960"/>
              </a:buClr>
            </a:pPr>
            <a:r>
              <a:rPr lang="en-US" altLang="ko-KR" sz="1000" dirty="0">
                <a:ea typeface="Gulim"/>
              </a:rPr>
              <a:t>Unions</a:t>
            </a:r>
          </a:p>
          <a:p>
            <a:pPr lvl="2">
              <a:buClr>
                <a:srgbClr val="002960"/>
              </a:buClr>
            </a:pPr>
            <a:r>
              <a:rPr lang="en-US" altLang="ko-KR" sz="1000" dirty="0">
                <a:ea typeface="Gulim"/>
              </a:rPr>
              <a:t>Vendors, lease-holders, other partners</a:t>
            </a:r>
          </a:p>
          <a:p>
            <a:pPr lvl="2">
              <a:buClr>
                <a:srgbClr val="002960"/>
              </a:buClr>
            </a:pPr>
            <a:r>
              <a:rPr lang="en-US" altLang="ko-KR" sz="1000" dirty="0">
                <a:ea typeface="Gulim"/>
              </a:rPr>
              <a:t>Local/national media</a:t>
            </a:r>
            <a:endParaRPr lang="en-US" sz="1000" dirty="0">
              <a:ea typeface="Gulim"/>
            </a:endParaRPr>
          </a:p>
        </p:txBody>
      </p:sp>
      <p:sp>
        <p:nvSpPr>
          <p:cNvPr id="406562" name="Rectangle 406562"/>
          <p:cNvSpPr txBox="1">
            <a:spLocks/>
          </p:cNvSpPr>
          <p:nvPr/>
        </p:nvSpPr>
        <p:spPr>
          <a:xfrm>
            <a:off x="3294313" y="4493430"/>
            <a:ext cx="1663700" cy="76944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1">
              <a:buClr>
                <a:srgbClr val="002960"/>
              </a:buClr>
            </a:pPr>
            <a:r>
              <a:rPr lang="en-US" altLang="ko-KR" sz="1000">
                <a:ea typeface="Gulim"/>
              </a:rPr>
              <a:t>Executive team/ managers</a:t>
            </a:r>
          </a:p>
          <a:p>
            <a:pPr lvl="1">
              <a:buClr>
                <a:srgbClr val="002960"/>
              </a:buClr>
            </a:pPr>
            <a:r>
              <a:rPr lang="en-US" altLang="ko-KR" sz="1000" dirty="0">
                <a:ea typeface="Gulim"/>
              </a:rPr>
              <a:t>All employees</a:t>
            </a:r>
          </a:p>
          <a:p>
            <a:pPr lvl="1">
              <a:buClr>
                <a:srgbClr val="002960"/>
              </a:buClr>
            </a:pPr>
            <a:r>
              <a:rPr lang="en-US" altLang="ko-KR" sz="1000" dirty="0">
                <a:ea typeface="Gulim"/>
              </a:rPr>
              <a:t>Media</a:t>
            </a:r>
          </a:p>
          <a:p>
            <a:pPr lvl="1">
              <a:buClr>
                <a:srgbClr val="002960"/>
              </a:buClr>
            </a:pPr>
            <a:r>
              <a:rPr lang="en-US" altLang="ko-KR" sz="1000" dirty="0">
                <a:ea typeface="Gulim"/>
              </a:rPr>
              <a:t>Other (e.g., unions)</a:t>
            </a:r>
            <a:endParaRPr lang="en-US" sz="1000" dirty="0">
              <a:ea typeface="Gulim"/>
            </a:endParaRPr>
          </a:p>
        </p:txBody>
      </p:sp>
      <p:sp>
        <p:nvSpPr>
          <p:cNvPr id="406568" name="Rectangle 406570"/>
          <p:cNvSpPr txBox="1">
            <a:spLocks/>
          </p:cNvSpPr>
          <p:nvPr/>
        </p:nvSpPr>
        <p:spPr>
          <a:xfrm>
            <a:off x="877061" y="4493430"/>
            <a:ext cx="1993900" cy="138499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1">
              <a:buClr>
                <a:srgbClr val="002960"/>
              </a:buClr>
            </a:pPr>
            <a:r>
              <a:rPr lang="en-US" sz="1000" dirty="0">
                <a:ea typeface="Gulim"/>
              </a:rPr>
              <a:t>Standard communication issued to major stakeholders, e.g.,</a:t>
            </a:r>
          </a:p>
          <a:p>
            <a:pPr lvl="2">
              <a:buClr>
                <a:srgbClr val="002960"/>
              </a:buClr>
            </a:pPr>
            <a:r>
              <a:rPr lang="en-US" altLang="ko-KR" sz="1000" dirty="0">
                <a:ea typeface="Gulim"/>
              </a:rPr>
              <a:t>All employees</a:t>
            </a:r>
          </a:p>
          <a:p>
            <a:pPr lvl="2">
              <a:buClr>
                <a:srgbClr val="002960"/>
              </a:buClr>
            </a:pPr>
            <a:r>
              <a:rPr lang="en-US" sz="1000" dirty="0">
                <a:ea typeface="MS UI Gothic"/>
              </a:rPr>
              <a:t>Customers</a:t>
            </a:r>
          </a:p>
          <a:p>
            <a:pPr lvl="2">
              <a:buClr>
                <a:srgbClr val="002960"/>
              </a:buClr>
            </a:pPr>
            <a:r>
              <a:rPr lang="en-US" sz="1000" dirty="0">
                <a:ea typeface="MS UI Gothic"/>
              </a:rPr>
              <a:t>Financial community / shareholders</a:t>
            </a:r>
          </a:p>
          <a:p>
            <a:pPr lvl="2">
              <a:buClr>
                <a:srgbClr val="002960"/>
              </a:buClr>
            </a:pPr>
            <a:r>
              <a:rPr lang="en-US" altLang="ko-KR" sz="1000" dirty="0">
                <a:ea typeface="Gulim"/>
              </a:rPr>
              <a:t>Unions</a:t>
            </a:r>
          </a:p>
          <a:p>
            <a:pPr lvl="2">
              <a:buClr>
                <a:srgbClr val="002960"/>
              </a:buClr>
            </a:pPr>
            <a:r>
              <a:rPr lang="en-US" altLang="ko-KR" sz="1000" dirty="0">
                <a:ea typeface="Gulim"/>
              </a:rPr>
              <a:t>Vendors, </a:t>
            </a:r>
            <a:r>
              <a:rPr lang="en-US" altLang="ko-KR" sz="1000" dirty="0" err="1">
                <a:ea typeface="Gulim"/>
              </a:rPr>
              <a:t>payors</a:t>
            </a:r>
            <a:endParaRPr lang="en-US" altLang="ko-KR" sz="1000" dirty="0">
              <a:ea typeface="Gulim"/>
            </a:endParaRPr>
          </a:p>
          <a:p>
            <a:pPr lvl="2">
              <a:buClr>
                <a:srgbClr val="002960"/>
              </a:buClr>
            </a:pPr>
            <a:r>
              <a:rPr lang="en-US" altLang="ko-KR" sz="1000" dirty="0">
                <a:ea typeface="Gulim"/>
              </a:rPr>
              <a:t>Local and national media</a:t>
            </a:r>
            <a:endParaRPr lang="en-US" sz="1000" dirty="0">
              <a:ea typeface="Gulim"/>
            </a:endParaRPr>
          </a:p>
        </p:txBody>
      </p:sp>
      <p:sp>
        <p:nvSpPr>
          <p:cNvPr id="81" name="Rectangle 7"/>
          <p:cNvSpPr txBox="1">
            <a:spLocks/>
          </p:cNvSpPr>
          <p:nvPr/>
        </p:nvSpPr>
        <p:spPr>
          <a:xfrm>
            <a:off x="3384801" y="1539314"/>
            <a:ext cx="1824755" cy="76944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1">
              <a:buClr>
                <a:srgbClr val="002960"/>
              </a:buClr>
            </a:pPr>
            <a:r>
              <a:rPr lang="en-US" sz="1000" dirty="0"/>
              <a:t>Ensure coordinated and integrated communications</a:t>
            </a:r>
          </a:p>
          <a:p>
            <a:pPr lvl="1">
              <a:buClr>
                <a:srgbClr val="002960"/>
              </a:buClr>
            </a:pPr>
            <a:r>
              <a:rPr lang="en-US" sz="1000" dirty="0"/>
              <a:t>Keep people focused</a:t>
            </a:r>
            <a:br>
              <a:rPr lang="en-US" sz="1000" dirty="0"/>
            </a:br>
            <a:r>
              <a:rPr lang="en-US" sz="1000" dirty="0"/>
              <a:t>on day to day performance</a:t>
            </a:r>
          </a:p>
          <a:p>
            <a:pPr lvl="1">
              <a:buClr>
                <a:srgbClr val="002960"/>
              </a:buClr>
            </a:pPr>
            <a:r>
              <a:rPr lang="en-US" sz="1000" dirty="0"/>
              <a:t>“Grease skids” for integration</a:t>
            </a:r>
          </a:p>
        </p:txBody>
      </p:sp>
      <p:sp>
        <p:nvSpPr>
          <p:cNvPr id="406570" name="AutoShape 42"/>
          <p:cNvSpPr>
            <a:spLocks noChangeArrowheads="1"/>
          </p:cNvSpPr>
          <p:nvPr/>
        </p:nvSpPr>
        <p:spPr bwMode="gray">
          <a:xfrm>
            <a:off x="5748051" y="1163712"/>
            <a:ext cx="1905164" cy="892553"/>
          </a:xfrm>
          <a:prstGeom prst="rect">
            <a:avLst/>
          </a:prstGeom>
          <a:solidFill>
            <a:schemeClr val="bg1"/>
          </a:solidFill>
          <a:ln w="9525" algn="ctr">
            <a:solidFill>
              <a:schemeClr val="accent1"/>
            </a:solidFill>
            <a:round/>
            <a:headEnd/>
            <a:tailEnd/>
          </a:ln>
          <a:effectLst/>
        </p:spPr>
        <p:txBody>
          <a:bodyPr anchor="ctr"/>
          <a:lstStyle/>
          <a:p>
            <a:endParaRPr lang="en-US" sz="1000">
              <a:solidFill>
                <a:srgbClr val="000000"/>
              </a:solidFill>
              <a:latin typeface="Arial"/>
            </a:endParaRPr>
          </a:p>
        </p:txBody>
      </p:sp>
      <p:sp>
        <p:nvSpPr>
          <p:cNvPr id="12" name="Rectangle 12"/>
          <p:cNvSpPr txBox="1">
            <a:spLocks/>
          </p:cNvSpPr>
          <p:nvPr/>
        </p:nvSpPr>
        <p:spPr>
          <a:xfrm>
            <a:off x="5829153" y="1228499"/>
            <a:ext cx="1742960" cy="13793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Lst>
        </p:spPr>
        <p:txBody>
          <a:bodyPr vert="horz" wrap="none" lIns="0" tIns="0" rIns="0" bIns="0" numCol="1" anchor="t" anchorCtr="0" compatLnSpc="1">
            <a:prstTxWarp prst="textNoShape">
              <a:avLst/>
            </a:prstTxWarp>
            <a:no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buClr>
                <a:srgbClr val="002960"/>
              </a:buClr>
            </a:pPr>
            <a:r>
              <a:rPr lang="en-US" sz="1050" dirty="0">
                <a:solidFill>
                  <a:schemeClr val="accent2"/>
                </a:solidFill>
              </a:rPr>
              <a:t>Day-1</a:t>
            </a:r>
          </a:p>
        </p:txBody>
      </p:sp>
      <p:sp>
        <p:nvSpPr>
          <p:cNvPr id="82" name="Rectangle 12"/>
          <p:cNvSpPr txBox="1">
            <a:spLocks/>
          </p:cNvSpPr>
          <p:nvPr/>
        </p:nvSpPr>
        <p:spPr>
          <a:xfrm>
            <a:off x="5829153" y="1400394"/>
            <a:ext cx="1742960" cy="61555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1">
              <a:buClr>
                <a:srgbClr val="002960"/>
              </a:buClr>
            </a:pPr>
            <a:r>
              <a:rPr lang="en-US" sz="1000" dirty="0"/>
              <a:t>Begin formal integration</a:t>
            </a:r>
          </a:p>
          <a:p>
            <a:pPr lvl="1">
              <a:buClr>
                <a:srgbClr val="002960"/>
              </a:buClr>
            </a:pPr>
            <a:r>
              <a:rPr lang="en-US" sz="1000" dirty="0"/>
              <a:t>Focus organization on new vision, performance</a:t>
            </a:r>
          </a:p>
          <a:p>
            <a:pPr lvl="1">
              <a:buClr>
                <a:srgbClr val="002960"/>
              </a:buClr>
            </a:pPr>
            <a:r>
              <a:rPr lang="en-US" sz="1000" dirty="0"/>
              <a:t> Prepare for contingencies</a:t>
            </a:r>
          </a:p>
        </p:txBody>
      </p:sp>
      <p:sp>
        <p:nvSpPr>
          <p:cNvPr id="25" name="AutoShape 40"/>
          <p:cNvSpPr>
            <a:spLocks noChangeArrowheads="1"/>
          </p:cNvSpPr>
          <p:nvPr/>
        </p:nvSpPr>
        <p:spPr bwMode="gray">
          <a:xfrm>
            <a:off x="6766877" y="2269098"/>
            <a:ext cx="1858748" cy="996552"/>
          </a:xfrm>
          <a:prstGeom prst="rect">
            <a:avLst/>
          </a:prstGeom>
          <a:solidFill>
            <a:schemeClr val="bg1"/>
          </a:solidFill>
          <a:ln w="9525" algn="ctr">
            <a:solidFill>
              <a:schemeClr val="accent1"/>
            </a:solidFill>
            <a:round/>
            <a:headEnd/>
            <a:tailEnd/>
          </a:ln>
          <a:effectLst/>
        </p:spPr>
        <p:txBody>
          <a:bodyPr anchor="ctr"/>
          <a:lstStyle/>
          <a:p>
            <a:endParaRPr lang="en-US" sz="1000">
              <a:solidFill>
                <a:srgbClr val="000000"/>
              </a:solidFill>
              <a:latin typeface="Arial"/>
            </a:endParaRPr>
          </a:p>
        </p:txBody>
      </p:sp>
      <p:sp>
        <p:nvSpPr>
          <p:cNvPr id="17" name="Rectangle 18"/>
          <p:cNvSpPr txBox="1">
            <a:spLocks/>
          </p:cNvSpPr>
          <p:nvPr/>
        </p:nvSpPr>
        <p:spPr>
          <a:xfrm>
            <a:off x="6812165" y="2310168"/>
            <a:ext cx="1768173" cy="13793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Lst>
        </p:spPr>
        <p:txBody>
          <a:bodyPr vert="horz" wrap="none" lIns="0" tIns="0" rIns="0" bIns="0" numCol="1" anchor="t" anchorCtr="0" compatLnSpc="1">
            <a:prstTxWarp prst="textNoShape">
              <a:avLst/>
            </a:prstTxWarp>
            <a:no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buClr>
                <a:srgbClr val="002960"/>
              </a:buClr>
            </a:pPr>
            <a:r>
              <a:rPr lang="en-US" sz="1050" dirty="0">
                <a:solidFill>
                  <a:schemeClr val="accent2"/>
                </a:solidFill>
              </a:rPr>
              <a:t>Post-Day-1/ongoing</a:t>
            </a:r>
          </a:p>
        </p:txBody>
      </p:sp>
      <p:sp>
        <p:nvSpPr>
          <p:cNvPr id="83" name="Rectangle 18"/>
          <p:cNvSpPr txBox="1">
            <a:spLocks/>
          </p:cNvSpPr>
          <p:nvPr/>
        </p:nvSpPr>
        <p:spPr>
          <a:xfrm>
            <a:off x="6812165" y="2484107"/>
            <a:ext cx="1768173" cy="76944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1">
              <a:buClr>
                <a:srgbClr val="002960"/>
              </a:buClr>
            </a:pPr>
            <a:r>
              <a:rPr lang="en-US" sz="1000" dirty="0"/>
              <a:t>Ongoing integration announcements</a:t>
            </a:r>
          </a:p>
          <a:p>
            <a:pPr lvl="1">
              <a:buClr>
                <a:srgbClr val="002960"/>
              </a:buClr>
            </a:pPr>
            <a:r>
              <a:rPr lang="en-US" sz="1000" dirty="0"/>
              <a:t>Reinforce vision, culture</a:t>
            </a:r>
          </a:p>
          <a:p>
            <a:pPr lvl="1">
              <a:buClr>
                <a:srgbClr val="002960"/>
              </a:buClr>
            </a:pPr>
            <a:r>
              <a:rPr lang="en-US" sz="1000" dirty="0"/>
              <a:t>Integrate communication functions</a:t>
            </a:r>
          </a:p>
        </p:txBody>
      </p:sp>
      <p:sp>
        <p:nvSpPr>
          <p:cNvPr id="84" name="Rectangle 18"/>
          <p:cNvSpPr txBox="1">
            <a:spLocks/>
          </p:cNvSpPr>
          <p:nvPr/>
        </p:nvSpPr>
        <p:spPr>
          <a:xfrm>
            <a:off x="371692" y="3266549"/>
            <a:ext cx="1314149" cy="61555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1">
              <a:buClr>
                <a:srgbClr val="002960"/>
              </a:buClr>
            </a:pPr>
            <a:r>
              <a:rPr lang="en-US" sz="1000" dirty="0"/>
              <a:t>Control leaks</a:t>
            </a:r>
          </a:p>
          <a:p>
            <a:pPr lvl="1">
              <a:buClr>
                <a:srgbClr val="002960"/>
              </a:buClr>
            </a:pPr>
            <a:r>
              <a:rPr lang="en-US" sz="1000" dirty="0"/>
              <a:t>Get organized</a:t>
            </a:r>
          </a:p>
          <a:p>
            <a:pPr lvl="1">
              <a:buClr>
                <a:srgbClr val="002960"/>
              </a:buClr>
            </a:pPr>
            <a:r>
              <a:rPr lang="en-US" sz="1000" dirty="0"/>
              <a:t>Prepare for announcement</a:t>
            </a:r>
          </a:p>
        </p:txBody>
      </p:sp>
      <p:sp>
        <p:nvSpPr>
          <p:cNvPr id="406569" name="AutoShape 41"/>
          <p:cNvSpPr>
            <a:spLocks noChangeArrowheads="1"/>
          </p:cNvSpPr>
          <p:nvPr/>
        </p:nvSpPr>
        <p:spPr bwMode="gray">
          <a:xfrm>
            <a:off x="1139960" y="1573165"/>
            <a:ext cx="1619251" cy="1055973"/>
          </a:xfrm>
          <a:prstGeom prst="rect">
            <a:avLst/>
          </a:prstGeom>
          <a:solidFill>
            <a:schemeClr val="bg1"/>
          </a:solidFill>
          <a:ln w="9525" algn="ctr">
            <a:solidFill>
              <a:schemeClr val="accent1"/>
            </a:solidFill>
            <a:round/>
            <a:headEnd/>
            <a:tailEnd/>
          </a:ln>
          <a:effectLst/>
        </p:spPr>
        <p:txBody>
          <a:bodyPr anchor="ctr"/>
          <a:lstStyle/>
          <a:p>
            <a:endParaRPr lang="en-US" sz="1000">
              <a:solidFill>
                <a:srgbClr val="000000"/>
              </a:solidFill>
              <a:latin typeface="Arial"/>
            </a:endParaRPr>
          </a:p>
        </p:txBody>
      </p:sp>
      <p:sp>
        <p:nvSpPr>
          <p:cNvPr id="406574" name="Rectangle 406574"/>
          <p:cNvSpPr txBox="1">
            <a:spLocks/>
          </p:cNvSpPr>
          <p:nvPr/>
        </p:nvSpPr>
        <p:spPr>
          <a:xfrm>
            <a:off x="1176582" y="1621343"/>
            <a:ext cx="1533307" cy="16158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buClr>
                <a:srgbClr val="002960"/>
              </a:buClr>
            </a:pPr>
            <a:r>
              <a:rPr lang="en-US" sz="1050" dirty="0">
                <a:solidFill>
                  <a:schemeClr val="accent2"/>
                </a:solidFill>
              </a:rPr>
              <a:t>Announcement</a:t>
            </a:r>
          </a:p>
        </p:txBody>
      </p:sp>
      <p:sp>
        <p:nvSpPr>
          <p:cNvPr id="80" name="Rectangle 406574"/>
          <p:cNvSpPr txBox="1">
            <a:spLocks/>
          </p:cNvSpPr>
          <p:nvPr/>
        </p:nvSpPr>
        <p:spPr>
          <a:xfrm>
            <a:off x="1176582" y="1817977"/>
            <a:ext cx="1533307" cy="76944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1">
              <a:buClr>
                <a:srgbClr val="002960"/>
              </a:buClr>
            </a:pPr>
            <a:r>
              <a:rPr lang="en-US" sz="1000" dirty="0"/>
              <a:t>Inform</a:t>
            </a:r>
          </a:p>
          <a:p>
            <a:pPr lvl="1">
              <a:buClr>
                <a:srgbClr val="002960"/>
              </a:buClr>
            </a:pPr>
            <a:r>
              <a:rPr lang="en-US" sz="1000" dirty="0"/>
              <a:t>Set stage for change, collaboration</a:t>
            </a:r>
          </a:p>
          <a:p>
            <a:pPr lvl="1">
              <a:buClr>
                <a:srgbClr val="002960"/>
              </a:buClr>
            </a:pPr>
            <a:r>
              <a:rPr lang="en-US" sz="1000" dirty="0"/>
              <a:t>Focus people on day-to-day performance</a:t>
            </a:r>
          </a:p>
        </p:txBody>
      </p:sp>
      <p:sp>
        <p:nvSpPr>
          <p:cNvPr id="4" name="Title 3">
            <a:extLst>
              <a:ext uri="{FF2B5EF4-FFF2-40B4-BE49-F238E27FC236}">
                <a16:creationId xmlns:a16="http://schemas.microsoft.com/office/drawing/2014/main" id="{FF7168D3-B05D-40FD-9BB5-7B6823F299CD}"/>
              </a:ext>
            </a:extLst>
          </p:cNvPr>
          <p:cNvSpPr>
            <a:spLocks noGrp="1"/>
          </p:cNvSpPr>
          <p:nvPr>
            <p:ph type="title"/>
          </p:nvPr>
        </p:nvSpPr>
        <p:spPr>
          <a:xfrm>
            <a:off x="119063" y="230188"/>
            <a:ext cx="8618537" cy="615553"/>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marL="465138"/>
            <a:r>
              <a:rPr lang="en-US" dirty="0"/>
              <a:t>Merger communications are timed and targeted to specific </a:t>
            </a:r>
            <a:br>
              <a:rPr lang="en-US" dirty="0"/>
            </a:br>
            <a:r>
              <a:rPr lang="en-US" dirty="0"/>
              <a:t>phases in the deal cycle</a:t>
            </a:r>
            <a:endParaRPr lang="en-GB" dirty="0"/>
          </a:p>
        </p:txBody>
      </p:sp>
      <p:sp>
        <p:nvSpPr>
          <p:cNvPr id="47" name="Title Tracker Circle">
            <a:extLst>
              <a:ext uri="{FF2B5EF4-FFF2-40B4-BE49-F238E27FC236}">
                <a16:creationId xmlns:a16="http://schemas.microsoft.com/office/drawing/2014/main" id="{309C12EC-858C-4C44-B9E4-9915BE777E09}"/>
              </a:ext>
            </a:extLst>
          </p:cNvPr>
          <p:cNvSpPr/>
          <p:nvPr/>
        </p:nvSpPr>
        <p:spPr>
          <a:xfrm>
            <a:off x="119063" y="166736"/>
            <a:ext cx="418798" cy="418798"/>
          </a:xfrm>
          <a:prstGeom prst="ellipse">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p>
            <a:pPr algn="ctr"/>
            <a:r>
              <a:rPr lang="en-US" sz="2000" dirty="0">
                <a:solidFill>
                  <a:schemeClr val="tx2"/>
                </a:solidFill>
                <a:latin typeface="+mj-lt"/>
              </a:rPr>
              <a:t>11</a:t>
            </a:r>
          </a:p>
        </p:txBody>
      </p:sp>
    </p:spTree>
    <p:custDataLst>
      <p:tags r:id="rId2"/>
    </p:custDataLst>
    <p:extLst>
      <p:ext uri="{BB962C8B-B14F-4D97-AF65-F5344CB8AC3E}">
        <p14:creationId xmlns:p14="http://schemas.microsoft.com/office/powerpoint/2010/main" val="123643974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24658" name="Object 18" hidden="1"/>
          <p:cNvGraphicFramePr>
            <a:graphicFrameLocks noChangeAspect="1"/>
          </p:cNvGraphicFramePr>
          <p:nvPr>
            <p:custDataLst>
              <p:tags r:id="rId3"/>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88788" name="think-cell Slide" r:id="rId14" imgW="270" imgH="270" progId="TCLayout.ActiveDocument.1">
                  <p:embed/>
                </p:oleObj>
              </mc:Choice>
              <mc:Fallback>
                <p:oleObj name="think-cell Slide" r:id="rId14" imgW="270" imgH="270" progId="TCLayout.ActiveDocument.1">
                  <p:embed/>
                  <p:pic>
                    <p:nvPicPr>
                      <p:cNvPr id="624658" name="Object 18" hidden="1"/>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24660" name="Title 1"/>
          <p:cNvSpPr>
            <a:spLocks noGrp="1"/>
          </p:cNvSpPr>
          <p:nvPr>
            <p:ph type="title"/>
          </p:nvPr>
        </p:nvSpPr>
        <p:spPr>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r>
              <a:rPr lang="en-US" dirty="0"/>
              <a:t>To deliver on this, we bring a complete set of proven merger management tools and intellectual property</a:t>
            </a:r>
          </a:p>
        </p:txBody>
      </p:sp>
      <p:sp>
        <p:nvSpPr>
          <p:cNvPr id="47" name="5. Source"/>
          <p:cNvSpPr>
            <a:spLocks noChangeArrowheads="1"/>
          </p:cNvSpPr>
          <p:nvPr>
            <p:custDataLst>
              <p:tags r:id="rId4"/>
            </p:custDataLst>
          </p:nvPr>
        </p:nvSpPr>
        <p:spPr bwMode="gray">
          <a:xfrm>
            <a:off x="119063" y="6507558"/>
            <a:ext cx="7200000"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marL="609600" indent="-609600" defTabSz="895350">
              <a:tabLst>
                <a:tab pos="612775" algn="l"/>
              </a:tabLst>
            </a:pPr>
            <a:r>
              <a:rPr lang="en-US" altLang="zh-CN" sz="800" dirty="0">
                <a:solidFill>
                  <a:schemeClr val="accent6"/>
                </a:solidFill>
                <a:latin typeface="Arial" panose="020B0604020202020204" pitchFamily="34" charset="0"/>
              </a:rPr>
              <a:t>SOURCE: McKinsey Merger Management Practice</a:t>
            </a:r>
          </a:p>
        </p:txBody>
      </p:sp>
      <p:sp>
        <p:nvSpPr>
          <p:cNvPr id="624681" name="Rectangle 29"/>
          <p:cNvSpPr>
            <a:spLocks noChangeArrowheads="1"/>
          </p:cNvSpPr>
          <p:nvPr/>
        </p:nvSpPr>
        <p:spPr bwMode="auto">
          <a:xfrm>
            <a:off x="527839" y="990262"/>
            <a:ext cx="1750687" cy="600164"/>
          </a:xfrm>
          <a:prstGeom prst="rect">
            <a:avLst/>
          </a:prstGeom>
          <a:solidFill>
            <a:schemeClr val="accent1"/>
          </a:solidFill>
          <a:ln w="9525">
            <a:noFill/>
            <a:miter lim="800000"/>
            <a:headEnd/>
            <a:tailEnd/>
          </a:ln>
        </p:spPr>
        <p:txBody>
          <a:bodyPr wrap="none" lIns="182880" tIns="45720" rIns="45720" bIns="45720" anchor="ctr">
            <a:noAutofit/>
          </a:bodyPr>
          <a:lstStyle/>
          <a:p>
            <a:pPr defTabSz="895350"/>
            <a:r>
              <a:rPr lang="en-US" altLang="ja-JP" sz="1300" b="1" dirty="0">
                <a:solidFill>
                  <a:srgbClr val="0065BD"/>
                </a:solidFill>
                <a:cs typeface="Arial" charset="0"/>
              </a:rPr>
              <a:t>Value creation</a:t>
            </a:r>
          </a:p>
        </p:txBody>
      </p:sp>
      <p:sp>
        <p:nvSpPr>
          <p:cNvPr id="624669" name="Rectangle 3"/>
          <p:cNvSpPr>
            <a:spLocks noChangeArrowheads="1"/>
          </p:cNvSpPr>
          <p:nvPr/>
        </p:nvSpPr>
        <p:spPr bwMode="gray">
          <a:xfrm>
            <a:off x="2933457" y="990262"/>
            <a:ext cx="5540415" cy="600164"/>
          </a:xfrm>
          <a:prstGeom prst="rect">
            <a:avLst/>
          </a:prstGeom>
          <a:noFill/>
          <a:ln w="9525">
            <a:noFill/>
            <a:miter lim="800000"/>
            <a:headEnd/>
            <a:tailEnd/>
          </a:ln>
        </p:spPr>
        <p:txBody>
          <a:bodyPr wrap="square" lIns="0" tIns="0" rIns="0" bIns="0">
            <a:spAutoFit/>
          </a:bodyPr>
          <a:lstStyle/>
          <a:p>
            <a:pPr marL="285750" indent="-285750" defTabSz="895350">
              <a:buClr>
                <a:srgbClr val="062859"/>
              </a:buClr>
              <a:buFont typeface="Wingdings" pitchFamily="2" charset="2"/>
              <a:buChar char="§"/>
            </a:pPr>
            <a:r>
              <a:rPr lang="en-US" altLang="ja-JP" sz="1300" dirty="0">
                <a:solidFill>
                  <a:srgbClr val="000000"/>
                </a:solidFill>
                <a:cs typeface="Arial" charset="0"/>
              </a:rPr>
              <a:t>Value capture approach/methodology</a:t>
            </a:r>
          </a:p>
          <a:p>
            <a:pPr marL="285750" indent="-285750" defTabSz="895350">
              <a:buClr>
                <a:srgbClr val="062859"/>
              </a:buClr>
              <a:buFont typeface="Wingdings" pitchFamily="2" charset="2"/>
              <a:buChar char="§"/>
            </a:pPr>
            <a:r>
              <a:rPr lang="en-US" altLang="ja-JP" sz="1300" dirty="0">
                <a:solidFill>
                  <a:srgbClr val="000000"/>
                </a:solidFill>
                <a:cs typeface="Arial" charset="0"/>
              </a:rPr>
              <a:t>Multiple approaches to synergy identification (e.g., Value Creation Summit workshops)</a:t>
            </a:r>
          </a:p>
        </p:txBody>
      </p:sp>
      <p:sp>
        <p:nvSpPr>
          <p:cNvPr id="624682" name="Rectangle 30"/>
          <p:cNvSpPr>
            <a:spLocks noChangeArrowheads="1"/>
          </p:cNvSpPr>
          <p:nvPr/>
        </p:nvSpPr>
        <p:spPr bwMode="auto">
          <a:xfrm>
            <a:off x="527839" y="1720150"/>
            <a:ext cx="1750687" cy="466280"/>
          </a:xfrm>
          <a:prstGeom prst="rect">
            <a:avLst/>
          </a:prstGeom>
          <a:solidFill>
            <a:schemeClr val="accent1"/>
          </a:solidFill>
          <a:ln w="9525">
            <a:noFill/>
            <a:miter lim="800000"/>
            <a:headEnd/>
            <a:tailEnd/>
          </a:ln>
        </p:spPr>
        <p:txBody>
          <a:bodyPr wrap="none" lIns="182880" tIns="45720" rIns="45720" bIns="45720" anchor="ctr">
            <a:noAutofit/>
          </a:bodyPr>
          <a:lstStyle/>
          <a:p>
            <a:pPr defTabSz="895350"/>
            <a:r>
              <a:rPr lang="en-US" altLang="ja-JP" sz="1300" b="1" dirty="0">
                <a:solidFill>
                  <a:srgbClr val="0065BD"/>
                </a:solidFill>
                <a:cs typeface="Arial" charset="0"/>
              </a:rPr>
              <a:t>IMO set up</a:t>
            </a:r>
          </a:p>
        </p:txBody>
      </p:sp>
      <p:sp>
        <p:nvSpPr>
          <p:cNvPr id="624693" name="Rectangle 3"/>
          <p:cNvSpPr>
            <a:spLocks noChangeArrowheads="1"/>
          </p:cNvSpPr>
          <p:nvPr/>
        </p:nvSpPr>
        <p:spPr bwMode="gray">
          <a:xfrm>
            <a:off x="2933457" y="1720150"/>
            <a:ext cx="5540415" cy="400110"/>
          </a:xfrm>
          <a:prstGeom prst="rect">
            <a:avLst/>
          </a:prstGeom>
          <a:noFill/>
          <a:ln w="9525">
            <a:noFill/>
            <a:miter lim="800000"/>
            <a:headEnd/>
            <a:tailEnd/>
          </a:ln>
        </p:spPr>
        <p:txBody>
          <a:bodyPr wrap="square" lIns="0" tIns="0" rIns="0" bIns="0">
            <a:spAutoFit/>
          </a:bodyPr>
          <a:lstStyle/>
          <a:p>
            <a:pPr marL="304800" indent="-304800" defTabSz="895350">
              <a:buClr>
                <a:srgbClr val="062859"/>
              </a:buClr>
              <a:buFont typeface="Wingdings" pitchFamily="2" charset="2"/>
              <a:buChar char="§"/>
            </a:pPr>
            <a:r>
              <a:rPr lang="en-US" altLang="ja-JP" sz="1300" dirty="0">
                <a:solidFill>
                  <a:srgbClr val="000000"/>
                </a:solidFill>
                <a:cs typeface="Arial" charset="0"/>
              </a:rPr>
              <a:t>IMO set-up tools</a:t>
            </a:r>
          </a:p>
          <a:p>
            <a:pPr marL="304800" indent="-304800" defTabSz="895350">
              <a:buClr>
                <a:srgbClr val="062859"/>
              </a:buClr>
              <a:buFont typeface="Wingdings" pitchFamily="2" charset="2"/>
              <a:buChar char="§"/>
            </a:pPr>
            <a:r>
              <a:rPr lang="en-US" altLang="ja-JP" sz="1300" dirty="0">
                <a:solidFill>
                  <a:srgbClr val="000000"/>
                </a:solidFill>
                <a:cs typeface="Arial" charset="0"/>
              </a:rPr>
              <a:t>Clean teams</a:t>
            </a:r>
          </a:p>
        </p:txBody>
      </p:sp>
      <p:sp>
        <p:nvSpPr>
          <p:cNvPr id="624683" name="Rectangle 31"/>
          <p:cNvSpPr>
            <a:spLocks noChangeArrowheads="1"/>
          </p:cNvSpPr>
          <p:nvPr/>
        </p:nvSpPr>
        <p:spPr bwMode="auto">
          <a:xfrm>
            <a:off x="527839" y="2316154"/>
            <a:ext cx="1750687" cy="600164"/>
          </a:xfrm>
          <a:prstGeom prst="rect">
            <a:avLst/>
          </a:prstGeom>
          <a:solidFill>
            <a:schemeClr val="accent1"/>
          </a:solidFill>
          <a:ln w="9525">
            <a:noFill/>
            <a:miter lim="800000"/>
            <a:headEnd/>
            <a:tailEnd/>
          </a:ln>
        </p:spPr>
        <p:txBody>
          <a:bodyPr wrap="none" lIns="182880" tIns="45720" rIns="45720" bIns="45720" anchor="ctr">
            <a:noAutofit/>
          </a:bodyPr>
          <a:lstStyle/>
          <a:p>
            <a:pPr defTabSz="895350"/>
            <a:r>
              <a:rPr lang="en-US" altLang="ja-JP" sz="1300" b="1" dirty="0">
                <a:solidFill>
                  <a:srgbClr val="0065BD"/>
                </a:solidFill>
                <a:cs typeface="Arial" charset="0"/>
              </a:rPr>
              <a:t>Culture &amp; change </a:t>
            </a:r>
          </a:p>
          <a:p>
            <a:pPr defTabSz="895350"/>
            <a:r>
              <a:rPr lang="en-US" altLang="ja-JP" sz="1300" b="1" dirty="0">
                <a:solidFill>
                  <a:srgbClr val="0065BD"/>
                </a:solidFill>
                <a:cs typeface="Arial" charset="0"/>
              </a:rPr>
              <a:t>management</a:t>
            </a:r>
          </a:p>
        </p:txBody>
      </p:sp>
      <p:sp>
        <p:nvSpPr>
          <p:cNvPr id="624670" name="Rectangle 3"/>
          <p:cNvSpPr>
            <a:spLocks noChangeArrowheads="1"/>
          </p:cNvSpPr>
          <p:nvPr/>
        </p:nvSpPr>
        <p:spPr bwMode="gray">
          <a:xfrm>
            <a:off x="2933457" y="2316154"/>
            <a:ext cx="5540415" cy="600164"/>
          </a:xfrm>
          <a:prstGeom prst="rect">
            <a:avLst/>
          </a:prstGeom>
          <a:noFill/>
          <a:ln w="9525">
            <a:noFill/>
            <a:miter lim="800000"/>
            <a:headEnd/>
            <a:tailEnd/>
          </a:ln>
        </p:spPr>
        <p:txBody>
          <a:bodyPr wrap="square" lIns="0" tIns="0" rIns="0" bIns="0">
            <a:spAutoFit/>
          </a:bodyPr>
          <a:lstStyle/>
          <a:p>
            <a:pPr marL="304800" indent="-304800" defTabSz="895350">
              <a:buClr>
                <a:srgbClr val="062859"/>
              </a:buClr>
              <a:buFont typeface="Wingdings" pitchFamily="2" charset="2"/>
              <a:buChar char="§"/>
            </a:pPr>
            <a:r>
              <a:rPr lang="en-US" altLang="ja-JP" sz="1300" dirty="0">
                <a:solidFill>
                  <a:srgbClr val="000000"/>
                </a:solidFill>
                <a:cs typeface="Arial" charset="0"/>
              </a:rPr>
              <a:t>Organizational health and compatibility diagnostic (surveys, interview guides, etc.)</a:t>
            </a:r>
          </a:p>
          <a:p>
            <a:pPr marL="304800" indent="-304800" defTabSz="895350">
              <a:buClr>
                <a:srgbClr val="062859"/>
              </a:buClr>
              <a:buFont typeface="Wingdings" pitchFamily="2" charset="2"/>
              <a:buChar char="§"/>
            </a:pPr>
            <a:r>
              <a:rPr lang="en-US" altLang="ja-JP" sz="1300" dirty="0">
                <a:solidFill>
                  <a:srgbClr val="000000"/>
                </a:solidFill>
                <a:cs typeface="Arial" charset="0"/>
              </a:rPr>
              <a:t>Change management tools</a:t>
            </a:r>
          </a:p>
        </p:txBody>
      </p:sp>
      <p:sp>
        <p:nvSpPr>
          <p:cNvPr id="624684" name="Rectangle 32"/>
          <p:cNvSpPr>
            <a:spLocks noChangeArrowheads="1"/>
          </p:cNvSpPr>
          <p:nvPr/>
        </p:nvSpPr>
        <p:spPr bwMode="auto">
          <a:xfrm>
            <a:off x="527839" y="3046042"/>
            <a:ext cx="1750687" cy="466280"/>
          </a:xfrm>
          <a:prstGeom prst="rect">
            <a:avLst/>
          </a:prstGeom>
          <a:solidFill>
            <a:schemeClr val="accent1"/>
          </a:solidFill>
          <a:ln w="9525">
            <a:noFill/>
            <a:miter lim="800000"/>
            <a:headEnd/>
            <a:tailEnd/>
          </a:ln>
        </p:spPr>
        <p:txBody>
          <a:bodyPr wrap="none" lIns="182880" tIns="45720" rIns="45720" bIns="45720" anchor="ctr">
            <a:noAutofit/>
          </a:bodyPr>
          <a:lstStyle/>
          <a:p>
            <a:pPr defTabSz="895350"/>
            <a:r>
              <a:rPr lang="en-US" altLang="ja-JP" sz="1300" b="1" dirty="0">
                <a:solidFill>
                  <a:srgbClr val="0065BD"/>
                </a:solidFill>
                <a:cs typeface="Arial" charset="0"/>
              </a:rPr>
              <a:t>Organization</a:t>
            </a:r>
          </a:p>
        </p:txBody>
      </p:sp>
      <p:sp>
        <p:nvSpPr>
          <p:cNvPr id="624696" name="Rectangle 18"/>
          <p:cNvSpPr>
            <a:spLocks noChangeArrowheads="1"/>
          </p:cNvSpPr>
          <p:nvPr/>
        </p:nvSpPr>
        <p:spPr bwMode="gray">
          <a:xfrm>
            <a:off x="2933457" y="3046042"/>
            <a:ext cx="5540415" cy="400110"/>
          </a:xfrm>
          <a:prstGeom prst="rect">
            <a:avLst/>
          </a:prstGeom>
          <a:noFill/>
          <a:ln w="9525">
            <a:noFill/>
            <a:miter lim="800000"/>
            <a:headEnd/>
            <a:tailEnd/>
          </a:ln>
        </p:spPr>
        <p:txBody>
          <a:bodyPr wrap="square" lIns="0" tIns="0" rIns="0" bIns="0">
            <a:spAutoFit/>
          </a:bodyPr>
          <a:lstStyle/>
          <a:p>
            <a:pPr marL="304800" indent="-304800" defTabSz="895350">
              <a:buClr>
                <a:srgbClr val="062859"/>
              </a:buClr>
              <a:buFont typeface="Wingdings" pitchFamily="2" charset="2"/>
              <a:buChar char="§"/>
            </a:pPr>
            <a:r>
              <a:rPr lang="en-US" altLang="ja-JP" sz="1300" dirty="0">
                <a:solidFill>
                  <a:srgbClr val="000000"/>
                </a:solidFill>
                <a:cs typeface="Arial" charset="0"/>
              </a:rPr>
              <a:t>OrgLab </a:t>
            </a:r>
          </a:p>
          <a:p>
            <a:pPr marL="304800" indent="-304800" defTabSz="895350">
              <a:buClr>
                <a:srgbClr val="062859"/>
              </a:buClr>
              <a:buFont typeface="Wingdings" pitchFamily="2" charset="2"/>
              <a:buChar char="§"/>
            </a:pPr>
            <a:r>
              <a:rPr lang="en-US" altLang="ja-JP" sz="1300" dirty="0">
                <a:solidFill>
                  <a:srgbClr val="000000"/>
                </a:solidFill>
                <a:cs typeface="Arial" charset="0"/>
              </a:rPr>
              <a:t>Organization design timeline</a:t>
            </a:r>
          </a:p>
        </p:txBody>
      </p:sp>
      <p:sp>
        <p:nvSpPr>
          <p:cNvPr id="624685" name="Rectangle 33"/>
          <p:cNvSpPr>
            <a:spLocks noChangeArrowheads="1"/>
          </p:cNvSpPr>
          <p:nvPr/>
        </p:nvSpPr>
        <p:spPr bwMode="auto">
          <a:xfrm>
            <a:off x="527839" y="3642046"/>
            <a:ext cx="1750687" cy="800219"/>
          </a:xfrm>
          <a:prstGeom prst="rect">
            <a:avLst/>
          </a:prstGeom>
          <a:solidFill>
            <a:schemeClr val="accent1"/>
          </a:solidFill>
          <a:ln w="9525">
            <a:noFill/>
            <a:miter lim="800000"/>
            <a:headEnd/>
            <a:tailEnd/>
          </a:ln>
        </p:spPr>
        <p:txBody>
          <a:bodyPr wrap="none" lIns="182880" tIns="45720" rIns="45720" bIns="45720" anchor="ctr">
            <a:noAutofit/>
          </a:bodyPr>
          <a:lstStyle/>
          <a:p>
            <a:pPr defTabSz="895350"/>
            <a:r>
              <a:rPr lang="en-US" altLang="ja-JP" sz="1300" b="1" dirty="0">
                <a:solidFill>
                  <a:srgbClr val="0065BD"/>
                </a:solidFill>
                <a:cs typeface="Arial" charset="0"/>
              </a:rPr>
              <a:t>Functional </a:t>
            </a:r>
          </a:p>
          <a:p>
            <a:pPr defTabSz="895350"/>
            <a:r>
              <a:rPr lang="en-US" altLang="ja-JP" sz="1300" b="1" dirty="0">
                <a:solidFill>
                  <a:srgbClr val="0065BD"/>
                </a:solidFill>
                <a:cs typeface="Arial" charset="0"/>
              </a:rPr>
              <a:t>Charters and </a:t>
            </a:r>
            <a:br>
              <a:rPr lang="en-US" altLang="ja-JP" sz="1300" b="1" dirty="0">
                <a:solidFill>
                  <a:srgbClr val="0065BD"/>
                </a:solidFill>
                <a:cs typeface="Arial" charset="0"/>
              </a:rPr>
            </a:br>
            <a:r>
              <a:rPr lang="en-US" altLang="ja-JP" sz="1300" b="1" dirty="0">
                <a:solidFill>
                  <a:srgbClr val="0065BD"/>
                </a:solidFill>
                <a:cs typeface="Arial" charset="0"/>
              </a:rPr>
              <a:t>Day 1/100</a:t>
            </a:r>
          </a:p>
        </p:txBody>
      </p:sp>
      <p:sp>
        <p:nvSpPr>
          <p:cNvPr id="624671" name="Rectangle 3"/>
          <p:cNvSpPr>
            <a:spLocks noChangeArrowheads="1"/>
          </p:cNvSpPr>
          <p:nvPr/>
        </p:nvSpPr>
        <p:spPr bwMode="gray">
          <a:xfrm>
            <a:off x="2933457" y="3642046"/>
            <a:ext cx="5540415" cy="800219"/>
          </a:xfrm>
          <a:prstGeom prst="rect">
            <a:avLst/>
          </a:prstGeom>
          <a:noFill/>
          <a:ln w="9525">
            <a:noFill/>
            <a:miter lim="800000"/>
            <a:headEnd/>
            <a:tailEnd/>
          </a:ln>
        </p:spPr>
        <p:txBody>
          <a:bodyPr wrap="square" lIns="0" tIns="0" rIns="0" bIns="0">
            <a:spAutoFit/>
          </a:bodyPr>
          <a:lstStyle/>
          <a:p>
            <a:pPr marL="285750" indent="-285750" defTabSz="895350">
              <a:buClr>
                <a:srgbClr val="062859"/>
              </a:buClr>
              <a:buFont typeface="Wingdings" pitchFamily="2" charset="2"/>
              <a:buChar char="§"/>
            </a:pPr>
            <a:r>
              <a:rPr lang="en-US" altLang="ja-JP" sz="1300" dirty="0">
                <a:solidFill>
                  <a:srgbClr val="000000"/>
                </a:solidFill>
                <a:cs typeface="Arial" charset="0"/>
              </a:rPr>
              <a:t>Functional integration team charters</a:t>
            </a:r>
          </a:p>
          <a:p>
            <a:pPr marL="285750" indent="-285750" defTabSz="895350">
              <a:buClr>
                <a:srgbClr val="062859"/>
              </a:buClr>
              <a:buFont typeface="Wingdings" pitchFamily="2" charset="2"/>
              <a:buChar char="§"/>
            </a:pPr>
            <a:r>
              <a:rPr lang="en-US" altLang="ja-JP" sz="1300" dirty="0">
                <a:solidFill>
                  <a:srgbClr val="000000"/>
                </a:solidFill>
                <a:cs typeface="Arial" charset="0"/>
              </a:rPr>
              <a:t>Day 1 dashboard</a:t>
            </a:r>
          </a:p>
          <a:p>
            <a:pPr marL="285750" indent="-285750" defTabSz="895350">
              <a:buClr>
                <a:srgbClr val="062859"/>
              </a:buClr>
              <a:buFont typeface="Wingdings" pitchFamily="2" charset="2"/>
              <a:buChar char="§"/>
            </a:pPr>
            <a:r>
              <a:rPr lang="en-US" altLang="ja-JP" sz="1300" dirty="0">
                <a:solidFill>
                  <a:srgbClr val="000000"/>
                </a:solidFill>
                <a:cs typeface="Arial" charset="0"/>
              </a:rPr>
              <a:t>Functional workplan checklists</a:t>
            </a:r>
          </a:p>
          <a:p>
            <a:pPr marL="285750" indent="-285750" defTabSz="895350">
              <a:buClr>
                <a:srgbClr val="062859"/>
              </a:buClr>
              <a:buFont typeface="Wingdings" pitchFamily="2" charset="2"/>
              <a:buChar char="§"/>
            </a:pPr>
            <a:r>
              <a:rPr lang="en-US" altLang="ja-JP" sz="1300" dirty="0">
                <a:solidFill>
                  <a:srgbClr val="000000"/>
                </a:solidFill>
                <a:cs typeface="Arial" charset="0"/>
              </a:rPr>
              <a:t>Day 1/Day 100 deliverables by function</a:t>
            </a:r>
          </a:p>
        </p:txBody>
      </p:sp>
      <p:sp>
        <p:nvSpPr>
          <p:cNvPr id="624686" name="Rectangle 34"/>
          <p:cNvSpPr>
            <a:spLocks noChangeArrowheads="1"/>
          </p:cNvSpPr>
          <p:nvPr/>
        </p:nvSpPr>
        <p:spPr bwMode="auto">
          <a:xfrm>
            <a:off x="527839" y="4571989"/>
            <a:ext cx="1750687" cy="532663"/>
          </a:xfrm>
          <a:prstGeom prst="rect">
            <a:avLst/>
          </a:prstGeom>
          <a:solidFill>
            <a:schemeClr val="accent1"/>
          </a:solidFill>
          <a:ln w="9525">
            <a:noFill/>
            <a:miter lim="800000"/>
            <a:headEnd/>
            <a:tailEnd/>
          </a:ln>
        </p:spPr>
        <p:txBody>
          <a:bodyPr wrap="none" lIns="182880" tIns="45720" rIns="45720" bIns="45720" anchor="ctr">
            <a:noAutofit/>
          </a:bodyPr>
          <a:lstStyle/>
          <a:p>
            <a:pPr defTabSz="895350"/>
            <a:r>
              <a:rPr lang="en-US" altLang="ja-JP" sz="1300" b="1" dirty="0">
                <a:solidFill>
                  <a:srgbClr val="0065BD"/>
                </a:solidFill>
                <a:cs typeface="Arial" charset="0"/>
              </a:rPr>
              <a:t>Project &amp; impact </a:t>
            </a:r>
          </a:p>
          <a:p>
            <a:pPr defTabSz="895350"/>
            <a:r>
              <a:rPr lang="en-US" altLang="ja-JP" sz="1300" b="1" dirty="0">
                <a:solidFill>
                  <a:srgbClr val="0065BD"/>
                </a:solidFill>
                <a:cs typeface="Arial" charset="0"/>
              </a:rPr>
              <a:t>management</a:t>
            </a:r>
          </a:p>
        </p:txBody>
      </p:sp>
      <p:sp>
        <p:nvSpPr>
          <p:cNvPr id="624672" name="Rectangle 3"/>
          <p:cNvSpPr>
            <a:spLocks noChangeArrowheads="1"/>
          </p:cNvSpPr>
          <p:nvPr/>
        </p:nvSpPr>
        <p:spPr bwMode="gray">
          <a:xfrm>
            <a:off x="2933457" y="4571989"/>
            <a:ext cx="5540415" cy="400110"/>
          </a:xfrm>
          <a:prstGeom prst="rect">
            <a:avLst/>
          </a:prstGeom>
          <a:noFill/>
          <a:ln w="9525">
            <a:noFill/>
            <a:miter lim="800000"/>
            <a:headEnd/>
            <a:tailEnd/>
          </a:ln>
        </p:spPr>
        <p:txBody>
          <a:bodyPr wrap="square" lIns="0" tIns="0" rIns="0" bIns="0">
            <a:spAutoFit/>
          </a:bodyPr>
          <a:lstStyle/>
          <a:p>
            <a:pPr marL="304800" indent="-304800" defTabSz="895350">
              <a:buClr>
                <a:srgbClr val="062859"/>
              </a:buClr>
              <a:buFont typeface="Wingdings" pitchFamily="2" charset="2"/>
              <a:buChar char="§"/>
            </a:pPr>
            <a:r>
              <a:rPr lang="en-US" altLang="ja-JP" sz="1300" dirty="0">
                <a:solidFill>
                  <a:srgbClr val="000000"/>
                </a:solidFill>
                <a:cs typeface="Arial" charset="0"/>
              </a:rPr>
              <a:t>Project management tools</a:t>
            </a:r>
          </a:p>
          <a:p>
            <a:pPr marL="304800" indent="-304800" defTabSz="895350">
              <a:buClr>
                <a:srgbClr val="062859"/>
              </a:buClr>
              <a:buFont typeface="Wingdings" pitchFamily="2" charset="2"/>
              <a:buChar char="§"/>
            </a:pPr>
            <a:r>
              <a:rPr lang="en-US" altLang="ja-JP" sz="1300" dirty="0">
                <a:solidFill>
                  <a:srgbClr val="000000"/>
                </a:solidFill>
                <a:cs typeface="Arial" charset="0"/>
              </a:rPr>
              <a:t>WAVE for Merger Management</a:t>
            </a:r>
          </a:p>
        </p:txBody>
      </p:sp>
      <p:sp>
        <p:nvSpPr>
          <p:cNvPr id="624687" name="Rectangle 35"/>
          <p:cNvSpPr>
            <a:spLocks noChangeArrowheads="1"/>
          </p:cNvSpPr>
          <p:nvPr/>
        </p:nvSpPr>
        <p:spPr bwMode="auto">
          <a:xfrm>
            <a:off x="527839" y="5234376"/>
            <a:ext cx="1750687" cy="466280"/>
          </a:xfrm>
          <a:prstGeom prst="rect">
            <a:avLst/>
          </a:prstGeom>
          <a:solidFill>
            <a:schemeClr val="accent1"/>
          </a:solidFill>
          <a:ln w="9525">
            <a:noFill/>
            <a:miter lim="800000"/>
            <a:headEnd/>
            <a:tailEnd/>
          </a:ln>
        </p:spPr>
        <p:txBody>
          <a:bodyPr wrap="none" lIns="182880" tIns="45720" rIns="45720" bIns="45720" anchor="ctr">
            <a:noAutofit/>
          </a:bodyPr>
          <a:lstStyle/>
          <a:p>
            <a:pPr defTabSz="895350"/>
            <a:r>
              <a:rPr lang="en-US" altLang="ja-JP" sz="1300" b="1" dirty="0">
                <a:solidFill>
                  <a:srgbClr val="0065BD"/>
                </a:solidFill>
                <a:cs typeface="Arial" charset="0"/>
              </a:rPr>
              <a:t>Communication</a:t>
            </a:r>
          </a:p>
        </p:txBody>
      </p:sp>
      <p:sp>
        <p:nvSpPr>
          <p:cNvPr id="624673" name="Rectangle 3"/>
          <p:cNvSpPr>
            <a:spLocks noChangeArrowheads="1"/>
          </p:cNvSpPr>
          <p:nvPr/>
        </p:nvSpPr>
        <p:spPr bwMode="gray">
          <a:xfrm>
            <a:off x="2933457" y="5234376"/>
            <a:ext cx="5540415" cy="400110"/>
          </a:xfrm>
          <a:prstGeom prst="rect">
            <a:avLst/>
          </a:prstGeom>
          <a:noFill/>
          <a:ln w="9525">
            <a:noFill/>
            <a:miter lim="800000"/>
            <a:headEnd/>
            <a:tailEnd/>
          </a:ln>
        </p:spPr>
        <p:txBody>
          <a:bodyPr wrap="square" lIns="0" tIns="0" rIns="0" bIns="0">
            <a:spAutoFit/>
          </a:bodyPr>
          <a:lstStyle/>
          <a:p>
            <a:pPr marL="304800" indent="-304800" defTabSz="895350">
              <a:buClr>
                <a:srgbClr val="062859"/>
              </a:buClr>
              <a:buFont typeface="Wingdings" pitchFamily="2" charset="2"/>
              <a:buChar char="§"/>
            </a:pPr>
            <a:r>
              <a:rPr lang="en-US" altLang="ja-JP" sz="1300" dirty="0">
                <a:solidFill>
                  <a:srgbClr val="000000"/>
                </a:solidFill>
                <a:cs typeface="Arial" charset="0"/>
              </a:rPr>
              <a:t>Communication tools</a:t>
            </a:r>
          </a:p>
          <a:p>
            <a:pPr marL="304800" indent="-304800" defTabSz="895350">
              <a:buClr>
                <a:srgbClr val="062859"/>
              </a:buClr>
              <a:buFont typeface="Wingdings" pitchFamily="2" charset="2"/>
              <a:buChar char="§"/>
            </a:pPr>
            <a:r>
              <a:rPr lang="en-US" altLang="ja-JP" sz="1300" dirty="0">
                <a:solidFill>
                  <a:srgbClr val="000000"/>
                </a:solidFill>
                <a:cs typeface="Arial" charset="0"/>
              </a:rPr>
              <a:t>Leadership On-boarding Guidebooks (templates and examples)</a:t>
            </a:r>
          </a:p>
        </p:txBody>
      </p:sp>
      <p:sp>
        <p:nvSpPr>
          <p:cNvPr id="624688" name="Rectangle 37"/>
          <p:cNvSpPr>
            <a:spLocks noChangeArrowheads="1"/>
          </p:cNvSpPr>
          <p:nvPr/>
        </p:nvSpPr>
        <p:spPr bwMode="auto">
          <a:xfrm>
            <a:off x="527839" y="5830374"/>
            <a:ext cx="1750687" cy="532663"/>
          </a:xfrm>
          <a:prstGeom prst="rect">
            <a:avLst/>
          </a:prstGeom>
          <a:solidFill>
            <a:schemeClr val="accent1"/>
          </a:solidFill>
          <a:ln w="9525">
            <a:noFill/>
            <a:miter lim="800000"/>
            <a:headEnd/>
            <a:tailEnd/>
          </a:ln>
        </p:spPr>
        <p:txBody>
          <a:bodyPr wrap="none" lIns="182880" tIns="45720" rIns="45720" bIns="45720" anchor="ctr">
            <a:noAutofit/>
          </a:bodyPr>
          <a:lstStyle/>
          <a:p>
            <a:pPr defTabSz="895350"/>
            <a:r>
              <a:rPr lang="en-US" altLang="ja-JP" sz="1300" b="1" dirty="0">
                <a:solidFill>
                  <a:srgbClr val="0065BD"/>
                </a:solidFill>
                <a:cs typeface="Arial" charset="0"/>
              </a:rPr>
              <a:t>Training &amp; </a:t>
            </a:r>
          </a:p>
          <a:p>
            <a:pPr defTabSz="895350"/>
            <a:r>
              <a:rPr lang="en-US" altLang="ja-JP" sz="1300" b="1" dirty="0">
                <a:solidFill>
                  <a:srgbClr val="0065BD"/>
                </a:solidFill>
                <a:cs typeface="Arial" charset="0"/>
              </a:rPr>
              <a:t>Capability Building</a:t>
            </a:r>
          </a:p>
        </p:txBody>
      </p:sp>
      <p:sp>
        <p:nvSpPr>
          <p:cNvPr id="624698" name="Rectangle 3"/>
          <p:cNvSpPr>
            <a:spLocks noChangeArrowheads="1"/>
          </p:cNvSpPr>
          <p:nvPr/>
        </p:nvSpPr>
        <p:spPr bwMode="gray">
          <a:xfrm>
            <a:off x="2933457" y="5830374"/>
            <a:ext cx="5540415" cy="400110"/>
          </a:xfrm>
          <a:prstGeom prst="rect">
            <a:avLst/>
          </a:prstGeom>
          <a:noFill/>
          <a:ln w="9525">
            <a:noFill/>
            <a:miter lim="800000"/>
            <a:headEnd/>
            <a:tailEnd/>
          </a:ln>
        </p:spPr>
        <p:txBody>
          <a:bodyPr wrap="square" lIns="0" tIns="0" rIns="0" bIns="0">
            <a:spAutoFit/>
          </a:bodyPr>
          <a:lstStyle/>
          <a:p>
            <a:pPr marL="304800" indent="-304800" defTabSz="895350">
              <a:buClr>
                <a:srgbClr val="062859"/>
              </a:buClr>
              <a:buFont typeface="Wingdings" pitchFamily="2" charset="2"/>
              <a:buChar char="§"/>
            </a:pPr>
            <a:r>
              <a:rPr lang="en-US" altLang="ja-JP" sz="1300" dirty="0">
                <a:solidFill>
                  <a:srgbClr val="000000"/>
                </a:solidFill>
                <a:cs typeface="Arial" charset="0"/>
              </a:rPr>
              <a:t>Merger Management Bootcamp</a:t>
            </a:r>
          </a:p>
          <a:p>
            <a:pPr marL="304800" indent="-304800" defTabSz="895350">
              <a:buClr>
                <a:srgbClr val="062859"/>
              </a:buClr>
              <a:buFont typeface="Wingdings" pitchFamily="2" charset="2"/>
              <a:buChar char="§"/>
            </a:pPr>
            <a:r>
              <a:rPr lang="en-US" altLang="ja-JP" sz="1300" dirty="0">
                <a:solidFill>
                  <a:srgbClr val="000000"/>
                </a:solidFill>
                <a:cs typeface="Arial" charset="0"/>
              </a:rPr>
              <a:t>Integration playbook</a:t>
            </a:r>
          </a:p>
        </p:txBody>
      </p:sp>
      <p:grpSp>
        <p:nvGrpSpPr>
          <p:cNvPr id="2" name="Group 1"/>
          <p:cNvGrpSpPr/>
          <p:nvPr/>
        </p:nvGrpSpPr>
        <p:grpSpPr>
          <a:xfrm>
            <a:off x="2372754" y="1655288"/>
            <a:ext cx="6014498" cy="4110230"/>
            <a:chOff x="2377027" y="1626608"/>
            <a:chExt cx="6360574" cy="4110230"/>
          </a:xfrm>
        </p:grpSpPr>
        <p:cxnSp>
          <p:nvCxnSpPr>
            <p:cNvPr id="20" name="Straight Connector 19"/>
            <p:cNvCxnSpPr>
              <a:cxnSpLocks/>
            </p:cNvCxnSpPr>
            <p:nvPr/>
          </p:nvCxnSpPr>
          <p:spPr bwMode="auto">
            <a:xfrm>
              <a:off x="2377027" y="1626608"/>
              <a:ext cx="6360574" cy="0"/>
            </a:xfrm>
            <a:prstGeom prst="line">
              <a:avLst/>
            </a:prstGeom>
            <a:solidFill>
              <a:schemeClr val="accent1"/>
            </a:solidFill>
            <a:ln w="12700" cap="flat" cmpd="sng" algn="ctr">
              <a:solidFill>
                <a:schemeClr val="accent6"/>
              </a:solidFill>
              <a:prstDash val="sysDot"/>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66" name="Straight Connector 65"/>
            <p:cNvCxnSpPr>
              <a:cxnSpLocks/>
            </p:cNvCxnSpPr>
            <p:nvPr/>
          </p:nvCxnSpPr>
          <p:spPr bwMode="auto">
            <a:xfrm>
              <a:off x="2377027" y="2222612"/>
              <a:ext cx="6360574" cy="0"/>
            </a:xfrm>
            <a:prstGeom prst="line">
              <a:avLst/>
            </a:prstGeom>
            <a:solidFill>
              <a:schemeClr val="accent1"/>
            </a:solidFill>
            <a:ln w="12700" cap="flat" cmpd="sng" algn="ctr">
              <a:solidFill>
                <a:schemeClr val="accent6"/>
              </a:solidFill>
              <a:prstDash val="sysDot"/>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67" name="Straight Connector 66"/>
            <p:cNvCxnSpPr>
              <a:cxnSpLocks/>
            </p:cNvCxnSpPr>
            <p:nvPr/>
          </p:nvCxnSpPr>
          <p:spPr bwMode="auto">
            <a:xfrm>
              <a:off x="2377027" y="2952500"/>
              <a:ext cx="6360574" cy="0"/>
            </a:xfrm>
            <a:prstGeom prst="line">
              <a:avLst/>
            </a:prstGeom>
            <a:solidFill>
              <a:schemeClr val="accent1"/>
            </a:solidFill>
            <a:ln w="12700" cap="flat" cmpd="sng" algn="ctr">
              <a:solidFill>
                <a:schemeClr val="accent6"/>
              </a:solidFill>
              <a:prstDash val="sysDot"/>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68" name="Straight Connector 67"/>
            <p:cNvCxnSpPr>
              <a:cxnSpLocks/>
            </p:cNvCxnSpPr>
            <p:nvPr/>
          </p:nvCxnSpPr>
          <p:spPr bwMode="auto">
            <a:xfrm>
              <a:off x="2377027" y="3548504"/>
              <a:ext cx="6360574" cy="0"/>
            </a:xfrm>
            <a:prstGeom prst="line">
              <a:avLst/>
            </a:prstGeom>
            <a:solidFill>
              <a:schemeClr val="accent1"/>
            </a:solidFill>
            <a:ln w="12700" cap="flat" cmpd="sng" algn="ctr">
              <a:solidFill>
                <a:schemeClr val="accent6"/>
              </a:solidFill>
              <a:prstDash val="sysDot"/>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69" name="Straight Connector 68"/>
            <p:cNvCxnSpPr>
              <a:cxnSpLocks/>
            </p:cNvCxnSpPr>
            <p:nvPr/>
          </p:nvCxnSpPr>
          <p:spPr bwMode="auto">
            <a:xfrm>
              <a:off x="2377027" y="4478447"/>
              <a:ext cx="6360574" cy="0"/>
            </a:xfrm>
            <a:prstGeom prst="line">
              <a:avLst/>
            </a:prstGeom>
            <a:solidFill>
              <a:schemeClr val="accent1"/>
            </a:solidFill>
            <a:ln w="12700" cap="flat" cmpd="sng" algn="ctr">
              <a:solidFill>
                <a:schemeClr val="accent6"/>
              </a:solidFill>
              <a:prstDash val="sysDot"/>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70" name="Straight Connector 69"/>
            <p:cNvCxnSpPr>
              <a:cxnSpLocks/>
            </p:cNvCxnSpPr>
            <p:nvPr/>
          </p:nvCxnSpPr>
          <p:spPr bwMode="auto">
            <a:xfrm>
              <a:off x="2377027" y="5140834"/>
              <a:ext cx="6360574" cy="0"/>
            </a:xfrm>
            <a:prstGeom prst="line">
              <a:avLst/>
            </a:prstGeom>
            <a:solidFill>
              <a:schemeClr val="accent1"/>
            </a:solidFill>
            <a:ln w="12700" cap="flat" cmpd="sng" algn="ctr">
              <a:solidFill>
                <a:schemeClr val="accent6"/>
              </a:solidFill>
              <a:prstDash val="sysDot"/>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71" name="Straight Connector 70"/>
            <p:cNvCxnSpPr>
              <a:cxnSpLocks/>
            </p:cNvCxnSpPr>
            <p:nvPr/>
          </p:nvCxnSpPr>
          <p:spPr bwMode="auto">
            <a:xfrm>
              <a:off x="2377027" y="5736838"/>
              <a:ext cx="6360574" cy="0"/>
            </a:xfrm>
            <a:prstGeom prst="line">
              <a:avLst/>
            </a:prstGeom>
            <a:solidFill>
              <a:schemeClr val="accent1"/>
            </a:solidFill>
            <a:ln w="12700" cap="flat" cmpd="sng" algn="ctr">
              <a:solidFill>
                <a:schemeClr val="accent6"/>
              </a:solidFill>
              <a:prstDash val="sysDot"/>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grpSp>
        <p:nvGrpSpPr>
          <p:cNvPr id="60" name="Group 59"/>
          <p:cNvGrpSpPr/>
          <p:nvPr/>
        </p:nvGrpSpPr>
        <p:grpSpPr>
          <a:xfrm>
            <a:off x="2372754" y="1118322"/>
            <a:ext cx="276420" cy="355979"/>
            <a:chOff x="-4276725" y="2738438"/>
            <a:chExt cx="1876425" cy="2416506"/>
          </a:xfrm>
          <a:solidFill>
            <a:schemeClr val="accent3"/>
          </a:solidFill>
        </p:grpSpPr>
        <p:sp>
          <p:nvSpPr>
            <p:cNvPr id="61" name="Freeform 60"/>
            <p:cNvSpPr/>
            <p:nvPr/>
          </p:nvSpPr>
          <p:spPr bwMode="auto">
            <a:xfrm>
              <a:off x="-3519488" y="2962275"/>
              <a:ext cx="809625" cy="981075"/>
            </a:xfrm>
            <a:custGeom>
              <a:avLst/>
              <a:gdLst>
                <a:gd name="connsiteX0" fmla="*/ 0 w 809625"/>
                <a:gd name="connsiteY0" fmla="*/ 928688 h 981075"/>
                <a:gd name="connsiteX1" fmla="*/ 676275 w 809625"/>
                <a:gd name="connsiteY1" fmla="*/ 0 h 981075"/>
                <a:gd name="connsiteX2" fmla="*/ 809625 w 809625"/>
                <a:gd name="connsiteY2" fmla="*/ 95250 h 981075"/>
                <a:gd name="connsiteX3" fmla="*/ 152400 w 809625"/>
                <a:gd name="connsiteY3" fmla="*/ 981075 h 981075"/>
                <a:gd name="connsiteX4" fmla="*/ 0 w 809625"/>
                <a:gd name="connsiteY4" fmla="*/ 928688 h 9810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09625" h="981075">
                  <a:moveTo>
                    <a:pt x="0" y="928688"/>
                  </a:moveTo>
                  <a:lnTo>
                    <a:pt x="676275" y="0"/>
                  </a:lnTo>
                  <a:lnTo>
                    <a:pt x="809625" y="95250"/>
                  </a:lnTo>
                  <a:lnTo>
                    <a:pt x="152400" y="981075"/>
                  </a:lnTo>
                  <a:lnTo>
                    <a:pt x="0" y="928688"/>
                  </a:lnTo>
                  <a:close/>
                </a:path>
              </a:pathLst>
            </a:custGeom>
            <a:grpFill/>
            <a:ln>
              <a:noFill/>
            </a:ln>
            <a:effectLst/>
            <a:extLst/>
          </p:spPr>
          <p:txBody>
            <a:bodyPr rot="0" spcFirstLastPara="0" vertOverflow="overflow" horzOverflow="overflow" vert="horz" wrap="square" lIns="91440" tIns="0" rIns="0" bIns="18288" numCol="1" spcCol="0" rtlCol="0" fromWordArt="0" anchor="ctr" anchorCtr="0" forceAA="0" compatLnSpc="1">
              <a:prstTxWarp prst="textNoShape">
                <a:avLst/>
              </a:prstTxWarp>
              <a:noAutofit/>
            </a:bodyPr>
            <a:lstStyle/>
            <a:p>
              <a:pPr algn="ctr"/>
              <a:endParaRPr lang="en-US" sz="1800" dirty="0" err="1">
                <a:solidFill>
                  <a:srgbClr val="0065BD"/>
                </a:solidFill>
                <a:latin typeface="Arial Narrow" pitchFamily="34" charset="0"/>
              </a:endParaRPr>
            </a:p>
          </p:txBody>
        </p:sp>
        <p:sp>
          <p:nvSpPr>
            <p:cNvPr id="62" name="Freeform 61"/>
            <p:cNvSpPr/>
            <p:nvPr/>
          </p:nvSpPr>
          <p:spPr bwMode="auto">
            <a:xfrm rot="4375340" flipH="1">
              <a:off x="-3348039" y="3090862"/>
              <a:ext cx="809625" cy="981075"/>
            </a:xfrm>
            <a:custGeom>
              <a:avLst/>
              <a:gdLst>
                <a:gd name="connsiteX0" fmla="*/ 0 w 809625"/>
                <a:gd name="connsiteY0" fmla="*/ 928688 h 981075"/>
                <a:gd name="connsiteX1" fmla="*/ 676275 w 809625"/>
                <a:gd name="connsiteY1" fmla="*/ 0 h 981075"/>
                <a:gd name="connsiteX2" fmla="*/ 809625 w 809625"/>
                <a:gd name="connsiteY2" fmla="*/ 95250 h 981075"/>
                <a:gd name="connsiteX3" fmla="*/ 152400 w 809625"/>
                <a:gd name="connsiteY3" fmla="*/ 981075 h 981075"/>
                <a:gd name="connsiteX4" fmla="*/ 0 w 809625"/>
                <a:gd name="connsiteY4" fmla="*/ 928688 h 9810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09625" h="981075">
                  <a:moveTo>
                    <a:pt x="0" y="928688"/>
                  </a:moveTo>
                  <a:lnTo>
                    <a:pt x="676275" y="0"/>
                  </a:lnTo>
                  <a:lnTo>
                    <a:pt x="809625" y="95250"/>
                  </a:lnTo>
                  <a:lnTo>
                    <a:pt x="152400" y="981075"/>
                  </a:lnTo>
                  <a:lnTo>
                    <a:pt x="0" y="928688"/>
                  </a:lnTo>
                  <a:close/>
                </a:path>
              </a:pathLst>
            </a:custGeom>
            <a:grpFill/>
            <a:ln>
              <a:noFill/>
            </a:ln>
            <a:effectLst/>
            <a:extLst/>
          </p:spPr>
          <p:txBody>
            <a:bodyPr rot="0" spcFirstLastPara="0" vertOverflow="overflow" horzOverflow="overflow" vert="horz" wrap="square" lIns="91440" tIns="0" rIns="0" bIns="18288" numCol="1" spcCol="0" rtlCol="0" fromWordArt="0" anchor="ctr" anchorCtr="0" forceAA="0" compatLnSpc="1">
              <a:prstTxWarp prst="textNoShape">
                <a:avLst/>
              </a:prstTxWarp>
              <a:noAutofit/>
            </a:bodyPr>
            <a:lstStyle/>
            <a:p>
              <a:pPr algn="ctr"/>
              <a:endParaRPr lang="en-US" sz="1800" dirty="0" err="1">
                <a:solidFill>
                  <a:srgbClr val="0065BD"/>
                </a:solidFill>
                <a:latin typeface="Arial Narrow" pitchFamily="34" charset="0"/>
              </a:endParaRPr>
            </a:p>
          </p:txBody>
        </p:sp>
        <p:sp>
          <p:nvSpPr>
            <p:cNvPr id="63" name="Freeform 62"/>
            <p:cNvSpPr/>
            <p:nvPr/>
          </p:nvSpPr>
          <p:spPr bwMode="auto">
            <a:xfrm>
              <a:off x="-3605213" y="3938588"/>
              <a:ext cx="323850" cy="366712"/>
            </a:xfrm>
            <a:custGeom>
              <a:avLst/>
              <a:gdLst>
                <a:gd name="connsiteX0" fmla="*/ 228600 w 323850"/>
                <a:gd name="connsiteY0" fmla="*/ 57150 h 366712"/>
                <a:gd name="connsiteX1" fmla="*/ 323850 w 323850"/>
                <a:gd name="connsiteY1" fmla="*/ 185737 h 366712"/>
                <a:gd name="connsiteX2" fmla="*/ 0 w 323850"/>
                <a:gd name="connsiteY2" fmla="*/ 366712 h 366712"/>
                <a:gd name="connsiteX3" fmla="*/ 71438 w 323850"/>
                <a:gd name="connsiteY3" fmla="*/ 0 h 366712"/>
                <a:gd name="connsiteX4" fmla="*/ 228600 w 323850"/>
                <a:gd name="connsiteY4" fmla="*/ 57150 h 3667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3850" h="366712">
                  <a:moveTo>
                    <a:pt x="228600" y="57150"/>
                  </a:moveTo>
                  <a:lnTo>
                    <a:pt x="323850" y="185737"/>
                  </a:lnTo>
                  <a:lnTo>
                    <a:pt x="0" y="366712"/>
                  </a:lnTo>
                  <a:lnTo>
                    <a:pt x="71438" y="0"/>
                  </a:lnTo>
                  <a:lnTo>
                    <a:pt x="228600" y="57150"/>
                  </a:lnTo>
                  <a:close/>
                </a:path>
              </a:pathLst>
            </a:custGeom>
            <a:grpFill/>
            <a:ln>
              <a:noFill/>
            </a:ln>
            <a:effectLst/>
            <a:extLst/>
          </p:spPr>
          <p:txBody>
            <a:bodyPr rot="0" spcFirstLastPara="0" vertOverflow="overflow" horzOverflow="overflow" vert="horz" wrap="square" lIns="91440" tIns="0" rIns="0" bIns="18288" numCol="1" spcCol="0" rtlCol="0" fromWordArt="0" anchor="ctr" anchorCtr="0" forceAA="0" compatLnSpc="1">
              <a:prstTxWarp prst="textNoShape">
                <a:avLst/>
              </a:prstTxWarp>
              <a:noAutofit/>
            </a:bodyPr>
            <a:lstStyle/>
            <a:p>
              <a:pPr algn="ctr"/>
              <a:endParaRPr lang="en-US" sz="1800" dirty="0" err="1">
                <a:solidFill>
                  <a:srgbClr val="0065BD"/>
                </a:solidFill>
                <a:latin typeface="Arial Narrow" pitchFamily="34" charset="0"/>
              </a:endParaRPr>
            </a:p>
          </p:txBody>
        </p:sp>
        <p:sp>
          <p:nvSpPr>
            <p:cNvPr id="64" name="Freeform 63"/>
            <p:cNvSpPr/>
            <p:nvPr/>
          </p:nvSpPr>
          <p:spPr bwMode="auto">
            <a:xfrm>
              <a:off x="-2800350" y="2852738"/>
              <a:ext cx="323850" cy="266700"/>
            </a:xfrm>
            <a:custGeom>
              <a:avLst/>
              <a:gdLst>
                <a:gd name="connsiteX0" fmla="*/ 271462 w 323850"/>
                <a:gd name="connsiteY0" fmla="*/ 266700 h 266700"/>
                <a:gd name="connsiteX1" fmla="*/ 323850 w 323850"/>
                <a:gd name="connsiteY1" fmla="*/ 200025 h 266700"/>
                <a:gd name="connsiteX2" fmla="*/ 47625 w 323850"/>
                <a:gd name="connsiteY2" fmla="*/ 0 h 266700"/>
                <a:gd name="connsiteX3" fmla="*/ 0 w 323850"/>
                <a:gd name="connsiteY3" fmla="*/ 57150 h 266700"/>
                <a:gd name="connsiteX4" fmla="*/ 271462 w 323850"/>
                <a:gd name="connsiteY4" fmla="*/ 266700 h 2667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3850" h="266700">
                  <a:moveTo>
                    <a:pt x="271462" y="266700"/>
                  </a:moveTo>
                  <a:lnTo>
                    <a:pt x="323850" y="200025"/>
                  </a:lnTo>
                  <a:lnTo>
                    <a:pt x="47625" y="0"/>
                  </a:lnTo>
                  <a:lnTo>
                    <a:pt x="0" y="57150"/>
                  </a:lnTo>
                  <a:lnTo>
                    <a:pt x="271462" y="266700"/>
                  </a:lnTo>
                  <a:close/>
                </a:path>
              </a:pathLst>
            </a:custGeom>
            <a:grpFill/>
            <a:ln>
              <a:noFill/>
            </a:ln>
            <a:effectLst/>
            <a:extLst/>
          </p:spPr>
          <p:txBody>
            <a:bodyPr rot="0" spcFirstLastPara="0" vertOverflow="overflow" horzOverflow="overflow" vert="horz" wrap="square" lIns="91440" tIns="0" rIns="0" bIns="18288" numCol="1" spcCol="0" rtlCol="0" fromWordArt="0" anchor="ctr" anchorCtr="0" forceAA="0" compatLnSpc="1">
              <a:prstTxWarp prst="textNoShape">
                <a:avLst/>
              </a:prstTxWarp>
              <a:noAutofit/>
            </a:bodyPr>
            <a:lstStyle/>
            <a:p>
              <a:pPr algn="ctr"/>
              <a:endParaRPr lang="en-US" sz="1800" dirty="0" err="1">
                <a:solidFill>
                  <a:srgbClr val="0065BD"/>
                </a:solidFill>
                <a:latin typeface="Arial Narrow" pitchFamily="34" charset="0"/>
              </a:endParaRPr>
            </a:p>
          </p:txBody>
        </p:sp>
        <p:sp>
          <p:nvSpPr>
            <p:cNvPr id="65" name="Freeform 64"/>
            <p:cNvSpPr/>
            <p:nvPr/>
          </p:nvSpPr>
          <p:spPr bwMode="auto">
            <a:xfrm>
              <a:off x="-2714625" y="2738438"/>
              <a:ext cx="314325" cy="266700"/>
            </a:xfrm>
            <a:custGeom>
              <a:avLst/>
              <a:gdLst>
                <a:gd name="connsiteX0" fmla="*/ 261937 w 314325"/>
                <a:gd name="connsiteY0" fmla="*/ 266700 h 266700"/>
                <a:gd name="connsiteX1" fmla="*/ 314325 w 314325"/>
                <a:gd name="connsiteY1" fmla="*/ 195262 h 266700"/>
                <a:gd name="connsiteX2" fmla="*/ 42862 w 314325"/>
                <a:gd name="connsiteY2" fmla="*/ 0 h 266700"/>
                <a:gd name="connsiteX3" fmla="*/ 0 w 314325"/>
                <a:gd name="connsiteY3" fmla="*/ 61912 h 266700"/>
                <a:gd name="connsiteX4" fmla="*/ 261937 w 314325"/>
                <a:gd name="connsiteY4" fmla="*/ 266700 h 266700"/>
                <a:gd name="connsiteX0" fmla="*/ 261937 w 314325"/>
                <a:gd name="connsiteY0" fmla="*/ 266700 h 266700"/>
                <a:gd name="connsiteX1" fmla="*/ 314325 w 314325"/>
                <a:gd name="connsiteY1" fmla="*/ 195262 h 266700"/>
                <a:gd name="connsiteX2" fmla="*/ 42862 w 314325"/>
                <a:gd name="connsiteY2" fmla="*/ 0 h 266700"/>
                <a:gd name="connsiteX3" fmla="*/ 0 w 314325"/>
                <a:gd name="connsiteY3" fmla="*/ 61912 h 266700"/>
                <a:gd name="connsiteX4" fmla="*/ 261937 w 314325"/>
                <a:gd name="connsiteY4" fmla="*/ 266700 h 266700"/>
                <a:gd name="connsiteX0" fmla="*/ 261937 w 314325"/>
                <a:gd name="connsiteY0" fmla="*/ 266700 h 266700"/>
                <a:gd name="connsiteX1" fmla="*/ 314325 w 314325"/>
                <a:gd name="connsiteY1" fmla="*/ 195262 h 266700"/>
                <a:gd name="connsiteX2" fmla="*/ 42862 w 314325"/>
                <a:gd name="connsiteY2" fmla="*/ 0 h 266700"/>
                <a:gd name="connsiteX3" fmla="*/ 0 w 314325"/>
                <a:gd name="connsiteY3" fmla="*/ 61912 h 266700"/>
                <a:gd name="connsiteX4" fmla="*/ 261937 w 314325"/>
                <a:gd name="connsiteY4" fmla="*/ 266700 h 2667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4325" h="266700">
                  <a:moveTo>
                    <a:pt x="261937" y="266700"/>
                  </a:moveTo>
                  <a:lnTo>
                    <a:pt x="314325" y="195262"/>
                  </a:lnTo>
                  <a:cubicBezTo>
                    <a:pt x="233362" y="87313"/>
                    <a:pt x="128587" y="31749"/>
                    <a:pt x="42862" y="0"/>
                  </a:cubicBezTo>
                  <a:lnTo>
                    <a:pt x="0" y="61912"/>
                  </a:lnTo>
                  <a:lnTo>
                    <a:pt x="261937" y="266700"/>
                  </a:lnTo>
                  <a:close/>
                </a:path>
              </a:pathLst>
            </a:custGeom>
            <a:grpFill/>
            <a:ln>
              <a:noFill/>
            </a:ln>
            <a:effectLst/>
            <a:extLst/>
          </p:spPr>
          <p:txBody>
            <a:bodyPr rot="0" spcFirstLastPara="0" vertOverflow="overflow" horzOverflow="overflow" vert="horz" wrap="square" lIns="91440" tIns="0" rIns="0" bIns="18288" numCol="1" spcCol="0" rtlCol="0" fromWordArt="0" anchor="ctr" anchorCtr="0" forceAA="0" compatLnSpc="1">
              <a:prstTxWarp prst="textNoShape">
                <a:avLst/>
              </a:prstTxWarp>
              <a:noAutofit/>
            </a:bodyPr>
            <a:lstStyle/>
            <a:p>
              <a:pPr algn="ctr"/>
              <a:endParaRPr lang="en-US" sz="1800" dirty="0" err="1">
                <a:solidFill>
                  <a:srgbClr val="0065BD"/>
                </a:solidFill>
                <a:latin typeface="Arial Narrow" pitchFamily="34" charset="0"/>
              </a:endParaRPr>
            </a:p>
          </p:txBody>
        </p:sp>
        <p:sp>
          <p:nvSpPr>
            <p:cNvPr id="72" name="Rounded Rectangle 83"/>
            <p:cNvSpPr/>
            <p:nvPr/>
          </p:nvSpPr>
          <p:spPr bwMode="auto">
            <a:xfrm>
              <a:off x="-4276725" y="2852738"/>
              <a:ext cx="1719262" cy="2302206"/>
            </a:xfrm>
            <a:custGeom>
              <a:avLst/>
              <a:gdLst/>
              <a:ahLst/>
              <a:cxnLst/>
              <a:rect l="l" t="t" r="r" b="b"/>
              <a:pathLst>
                <a:path w="1719262" h="2302206">
                  <a:moveTo>
                    <a:pt x="286549" y="0"/>
                  </a:moveTo>
                  <a:lnTo>
                    <a:pt x="1258228" y="0"/>
                  </a:lnTo>
                  <a:lnTo>
                    <a:pt x="1158667" y="176215"/>
                  </a:lnTo>
                  <a:lnTo>
                    <a:pt x="329342" y="176215"/>
                  </a:lnTo>
                  <a:cubicBezTo>
                    <a:pt x="242141" y="176215"/>
                    <a:pt x="171450" y="246906"/>
                    <a:pt x="171450" y="334107"/>
                  </a:cubicBezTo>
                  <a:lnTo>
                    <a:pt x="171450" y="1970945"/>
                  </a:lnTo>
                  <a:cubicBezTo>
                    <a:pt x="171450" y="2058146"/>
                    <a:pt x="242141" y="2128837"/>
                    <a:pt x="329342" y="2128837"/>
                  </a:cubicBezTo>
                  <a:lnTo>
                    <a:pt x="1389527" y="2128837"/>
                  </a:lnTo>
                  <a:cubicBezTo>
                    <a:pt x="1476728" y="2128837"/>
                    <a:pt x="1547419" y="2058146"/>
                    <a:pt x="1547419" y="1970945"/>
                  </a:cubicBezTo>
                  <a:lnTo>
                    <a:pt x="1547419" y="900123"/>
                  </a:lnTo>
                  <a:lnTo>
                    <a:pt x="1719262" y="674904"/>
                  </a:lnTo>
                  <a:lnTo>
                    <a:pt x="1719262" y="2015657"/>
                  </a:lnTo>
                  <a:cubicBezTo>
                    <a:pt x="1719262" y="2173914"/>
                    <a:pt x="1590970" y="2302206"/>
                    <a:pt x="1432713" y="2302206"/>
                  </a:cubicBezTo>
                  <a:lnTo>
                    <a:pt x="286549" y="2302206"/>
                  </a:lnTo>
                  <a:cubicBezTo>
                    <a:pt x="128292" y="2302206"/>
                    <a:pt x="0" y="2173914"/>
                    <a:pt x="0" y="2015657"/>
                  </a:cubicBezTo>
                  <a:lnTo>
                    <a:pt x="0" y="286549"/>
                  </a:lnTo>
                  <a:cubicBezTo>
                    <a:pt x="0" y="128292"/>
                    <a:pt x="128292" y="0"/>
                    <a:pt x="286549" y="0"/>
                  </a:cubicBezTo>
                  <a:close/>
                </a:path>
              </a:pathLst>
            </a:custGeom>
            <a:grpFill/>
            <a:ln>
              <a:noFill/>
            </a:ln>
            <a:effectLst/>
            <a:extLst/>
          </p:spPr>
          <p:txBody>
            <a:bodyPr rot="0" spcFirstLastPara="0" vertOverflow="overflow" horzOverflow="overflow" vert="horz" wrap="square" lIns="91440" tIns="0" rIns="0" bIns="18288" numCol="1" spcCol="0" rtlCol="0" fromWordArt="0" anchor="ctr" anchorCtr="0" forceAA="0" compatLnSpc="1">
              <a:prstTxWarp prst="textNoShape">
                <a:avLst/>
              </a:prstTxWarp>
              <a:noAutofit/>
            </a:bodyPr>
            <a:lstStyle/>
            <a:p>
              <a:pPr algn="ctr"/>
              <a:endParaRPr lang="en-US" sz="1800" dirty="0" err="1">
                <a:solidFill>
                  <a:srgbClr val="0065BD"/>
                </a:solidFill>
                <a:latin typeface="Arial Narrow" pitchFamily="34" charset="0"/>
              </a:endParaRPr>
            </a:p>
          </p:txBody>
        </p:sp>
      </p:grpSp>
      <p:sp>
        <p:nvSpPr>
          <p:cNvPr id="73" name="Freeform 606"/>
          <p:cNvSpPr>
            <a:spLocks noEditPoints="1"/>
          </p:cNvSpPr>
          <p:nvPr/>
        </p:nvSpPr>
        <p:spPr bwMode="auto">
          <a:xfrm>
            <a:off x="2372754" y="1801756"/>
            <a:ext cx="436891" cy="303068"/>
          </a:xfrm>
          <a:custGeom>
            <a:avLst/>
            <a:gdLst>
              <a:gd name="T0" fmla="*/ 427 w 465"/>
              <a:gd name="T1" fmla="*/ 218 h 294"/>
              <a:gd name="T2" fmla="*/ 426 w 465"/>
              <a:gd name="T3" fmla="*/ 218 h 294"/>
              <a:gd name="T4" fmla="*/ 426 w 465"/>
              <a:gd name="T5" fmla="*/ 218 h 294"/>
              <a:gd name="T6" fmla="*/ 393 w 465"/>
              <a:gd name="T7" fmla="*/ 218 h 294"/>
              <a:gd name="T8" fmla="*/ 393 w 465"/>
              <a:gd name="T9" fmla="*/ 38 h 294"/>
              <a:gd name="T10" fmla="*/ 348 w 465"/>
              <a:gd name="T11" fmla="*/ 38 h 294"/>
              <a:gd name="T12" fmla="*/ 348 w 465"/>
              <a:gd name="T13" fmla="*/ 16 h 294"/>
              <a:gd name="T14" fmla="*/ 187 w 465"/>
              <a:gd name="T15" fmla="*/ 16 h 294"/>
              <a:gd name="T16" fmla="*/ 187 w 465"/>
              <a:gd name="T17" fmla="*/ 67 h 294"/>
              <a:gd name="T18" fmla="*/ 254 w 465"/>
              <a:gd name="T19" fmla="*/ 67 h 294"/>
              <a:gd name="T20" fmla="*/ 254 w 465"/>
              <a:gd name="T21" fmla="*/ 103 h 294"/>
              <a:gd name="T22" fmla="*/ 202 w 465"/>
              <a:gd name="T23" fmla="*/ 144 h 294"/>
              <a:gd name="T24" fmla="*/ 162 w 465"/>
              <a:gd name="T25" fmla="*/ 144 h 294"/>
              <a:gd name="T26" fmla="*/ 162 w 465"/>
              <a:gd name="T27" fmla="*/ 122 h 294"/>
              <a:gd name="T28" fmla="*/ 85 w 465"/>
              <a:gd name="T29" fmla="*/ 122 h 294"/>
              <a:gd name="T30" fmla="*/ 85 w 465"/>
              <a:gd name="T31" fmla="*/ 83 h 294"/>
              <a:gd name="T32" fmla="*/ 158 w 465"/>
              <a:gd name="T33" fmla="*/ 42 h 294"/>
              <a:gd name="T34" fmla="*/ 81 w 465"/>
              <a:gd name="T35" fmla="*/ 0 h 294"/>
              <a:gd name="T36" fmla="*/ 5 w 465"/>
              <a:gd name="T37" fmla="*/ 42 h 294"/>
              <a:gd name="T38" fmla="*/ 77 w 465"/>
              <a:gd name="T39" fmla="*/ 83 h 294"/>
              <a:gd name="T40" fmla="*/ 77 w 465"/>
              <a:gd name="T41" fmla="*/ 122 h 294"/>
              <a:gd name="T42" fmla="*/ 0 w 465"/>
              <a:gd name="T43" fmla="*/ 122 h 294"/>
              <a:gd name="T44" fmla="*/ 0 w 465"/>
              <a:gd name="T45" fmla="*/ 173 h 294"/>
              <a:gd name="T46" fmla="*/ 77 w 465"/>
              <a:gd name="T47" fmla="*/ 173 h 294"/>
              <a:gd name="T48" fmla="*/ 77 w 465"/>
              <a:gd name="T49" fmla="*/ 259 h 294"/>
              <a:gd name="T50" fmla="*/ 314 w 465"/>
              <a:gd name="T51" fmla="*/ 259 h 294"/>
              <a:gd name="T52" fmla="*/ 351 w 465"/>
              <a:gd name="T53" fmla="*/ 294 h 294"/>
              <a:gd name="T54" fmla="*/ 426 w 465"/>
              <a:gd name="T55" fmla="*/ 294 h 294"/>
              <a:gd name="T56" fmla="*/ 426 w 465"/>
              <a:gd name="T57" fmla="*/ 294 h 294"/>
              <a:gd name="T58" fmla="*/ 427 w 465"/>
              <a:gd name="T59" fmla="*/ 294 h 294"/>
              <a:gd name="T60" fmla="*/ 465 w 465"/>
              <a:gd name="T61" fmla="*/ 256 h 294"/>
              <a:gd name="T62" fmla="*/ 427 w 465"/>
              <a:gd name="T63" fmla="*/ 218 h 294"/>
              <a:gd name="T64" fmla="*/ 385 w 465"/>
              <a:gd name="T65" fmla="*/ 218 h 294"/>
              <a:gd name="T66" fmla="*/ 351 w 465"/>
              <a:gd name="T67" fmla="*/ 218 h 294"/>
              <a:gd name="T68" fmla="*/ 314 w 465"/>
              <a:gd name="T69" fmla="*/ 252 h 294"/>
              <a:gd name="T70" fmla="*/ 85 w 465"/>
              <a:gd name="T71" fmla="*/ 252 h 294"/>
              <a:gd name="T72" fmla="*/ 85 w 465"/>
              <a:gd name="T73" fmla="*/ 173 h 294"/>
              <a:gd name="T74" fmla="*/ 162 w 465"/>
              <a:gd name="T75" fmla="*/ 173 h 294"/>
              <a:gd name="T76" fmla="*/ 162 w 465"/>
              <a:gd name="T77" fmla="*/ 151 h 294"/>
              <a:gd name="T78" fmla="*/ 202 w 465"/>
              <a:gd name="T79" fmla="*/ 151 h 294"/>
              <a:gd name="T80" fmla="*/ 258 w 465"/>
              <a:gd name="T81" fmla="*/ 195 h 294"/>
              <a:gd name="T82" fmla="*/ 318 w 465"/>
              <a:gd name="T83" fmla="*/ 148 h 294"/>
              <a:gd name="T84" fmla="*/ 261 w 465"/>
              <a:gd name="T85" fmla="*/ 103 h 294"/>
              <a:gd name="T86" fmla="*/ 261 w 465"/>
              <a:gd name="T87" fmla="*/ 67 h 294"/>
              <a:gd name="T88" fmla="*/ 348 w 465"/>
              <a:gd name="T89" fmla="*/ 67 h 294"/>
              <a:gd name="T90" fmla="*/ 348 w 465"/>
              <a:gd name="T91" fmla="*/ 45 h 294"/>
              <a:gd name="T92" fmla="*/ 385 w 465"/>
              <a:gd name="T93" fmla="*/ 45 h 294"/>
              <a:gd name="T94" fmla="*/ 385 w 465"/>
              <a:gd name="T95" fmla="*/ 218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65" h="294">
                <a:moveTo>
                  <a:pt x="427" y="218"/>
                </a:moveTo>
                <a:cubicBezTo>
                  <a:pt x="427" y="218"/>
                  <a:pt x="426" y="218"/>
                  <a:pt x="426" y="218"/>
                </a:cubicBezTo>
                <a:cubicBezTo>
                  <a:pt x="426" y="218"/>
                  <a:pt x="426" y="218"/>
                  <a:pt x="426" y="218"/>
                </a:cubicBezTo>
                <a:cubicBezTo>
                  <a:pt x="393" y="218"/>
                  <a:pt x="393" y="218"/>
                  <a:pt x="393" y="218"/>
                </a:cubicBezTo>
                <a:cubicBezTo>
                  <a:pt x="393" y="38"/>
                  <a:pt x="393" y="38"/>
                  <a:pt x="393" y="38"/>
                </a:cubicBezTo>
                <a:cubicBezTo>
                  <a:pt x="348" y="38"/>
                  <a:pt x="348" y="38"/>
                  <a:pt x="348" y="38"/>
                </a:cubicBezTo>
                <a:cubicBezTo>
                  <a:pt x="348" y="16"/>
                  <a:pt x="348" y="16"/>
                  <a:pt x="348" y="16"/>
                </a:cubicBezTo>
                <a:cubicBezTo>
                  <a:pt x="187" y="16"/>
                  <a:pt x="187" y="16"/>
                  <a:pt x="187" y="16"/>
                </a:cubicBezTo>
                <a:cubicBezTo>
                  <a:pt x="187" y="67"/>
                  <a:pt x="187" y="67"/>
                  <a:pt x="187" y="67"/>
                </a:cubicBezTo>
                <a:cubicBezTo>
                  <a:pt x="254" y="67"/>
                  <a:pt x="254" y="67"/>
                  <a:pt x="254" y="67"/>
                </a:cubicBezTo>
                <a:cubicBezTo>
                  <a:pt x="254" y="103"/>
                  <a:pt x="254" y="103"/>
                  <a:pt x="254" y="103"/>
                </a:cubicBezTo>
                <a:cubicBezTo>
                  <a:pt x="202" y="144"/>
                  <a:pt x="202" y="144"/>
                  <a:pt x="202" y="144"/>
                </a:cubicBezTo>
                <a:cubicBezTo>
                  <a:pt x="162" y="144"/>
                  <a:pt x="162" y="144"/>
                  <a:pt x="162" y="144"/>
                </a:cubicBezTo>
                <a:cubicBezTo>
                  <a:pt x="162" y="122"/>
                  <a:pt x="162" y="122"/>
                  <a:pt x="162" y="122"/>
                </a:cubicBezTo>
                <a:cubicBezTo>
                  <a:pt x="85" y="122"/>
                  <a:pt x="85" y="122"/>
                  <a:pt x="85" y="122"/>
                </a:cubicBezTo>
                <a:cubicBezTo>
                  <a:pt x="85" y="83"/>
                  <a:pt x="85" y="83"/>
                  <a:pt x="85" y="83"/>
                </a:cubicBezTo>
                <a:cubicBezTo>
                  <a:pt x="125" y="82"/>
                  <a:pt x="158" y="64"/>
                  <a:pt x="158" y="42"/>
                </a:cubicBezTo>
                <a:cubicBezTo>
                  <a:pt x="158" y="19"/>
                  <a:pt x="123" y="0"/>
                  <a:pt x="81" y="0"/>
                </a:cubicBezTo>
                <a:cubicBezTo>
                  <a:pt x="39" y="0"/>
                  <a:pt x="5" y="19"/>
                  <a:pt x="5" y="42"/>
                </a:cubicBezTo>
                <a:cubicBezTo>
                  <a:pt x="5" y="64"/>
                  <a:pt x="37" y="82"/>
                  <a:pt x="77" y="83"/>
                </a:cubicBezTo>
                <a:cubicBezTo>
                  <a:pt x="77" y="122"/>
                  <a:pt x="77" y="122"/>
                  <a:pt x="77" y="122"/>
                </a:cubicBezTo>
                <a:cubicBezTo>
                  <a:pt x="0" y="122"/>
                  <a:pt x="0" y="122"/>
                  <a:pt x="0" y="122"/>
                </a:cubicBezTo>
                <a:cubicBezTo>
                  <a:pt x="0" y="173"/>
                  <a:pt x="0" y="173"/>
                  <a:pt x="0" y="173"/>
                </a:cubicBezTo>
                <a:cubicBezTo>
                  <a:pt x="77" y="173"/>
                  <a:pt x="77" y="173"/>
                  <a:pt x="77" y="173"/>
                </a:cubicBezTo>
                <a:cubicBezTo>
                  <a:pt x="77" y="259"/>
                  <a:pt x="77" y="259"/>
                  <a:pt x="77" y="259"/>
                </a:cubicBezTo>
                <a:cubicBezTo>
                  <a:pt x="314" y="259"/>
                  <a:pt x="314" y="259"/>
                  <a:pt x="314" y="259"/>
                </a:cubicBezTo>
                <a:cubicBezTo>
                  <a:pt x="316" y="279"/>
                  <a:pt x="332" y="294"/>
                  <a:pt x="351" y="294"/>
                </a:cubicBezTo>
                <a:cubicBezTo>
                  <a:pt x="426" y="294"/>
                  <a:pt x="426" y="294"/>
                  <a:pt x="426" y="294"/>
                </a:cubicBezTo>
                <a:cubicBezTo>
                  <a:pt x="426" y="294"/>
                  <a:pt x="426" y="294"/>
                  <a:pt x="426" y="294"/>
                </a:cubicBezTo>
                <a:cubicBezTo>
                  <a:pt x="426" y="294"/>
                  <a:pt x="427" y="294"/>
                  <a:pt x="427" y="294"/>
                </a:cubicBezTo>
                <a:cubicBezTo>
                  <a:pt x="448" y="294"/>
                  <a:pt x="465" y="277"/>
                  <a:pt x="465" y="256"/>
                </a:cubicBezTo>
                <a:cubicBezTo>
                  <a:pt x="465" y="235"/>
                  <a:pt x="448" y="218"/>
                  <a:pt x="427" y="218"/>
                </a:cubicBezTo>
                <a:close/>
                <a:moveTo>
                  <a:pt x="385" y="218"/>
                </a:moveTo>
                <a:cubicBezTo>
                  <a:pt x="351" y="218"/>
                  <a:pt x="351" y="218"/>
                  <a:pt x="351" y="218"/>
                </a:cubicBezTo>
                <a:cubicBezTo>
                  <a:pt x="332" y="218"/>
                  <a:pt x="316" y="233"/>
                  <a:pt x="314" y="252"/>
                </a:cubicBezTo>
                <a:cubicBezTo>
                  <a:pt x="85" y="252"/>
                  <a:pt x="85" y="252"/>
                  <a:pt x="85" y="252"/>
                </a:cubicBezTo>
                <a:cubicBezTo>
                  <a:pt x="85" y="173"/>
                  <a:pt x="85" y="173"/>
                  <a:pt x="85" y="173"/>
                </a:cubicBezTo>
                <a:cubicBezTo>
                  <a:pt x="162" y="173"/>
                  <a:pt x="162" y="173"/>
                  <a:pt x="162" y="173"/>
                </a:cubicBezTo>
                <a:cubicBezTo>
                  <a:pt x="162" y="151"/>
                  <a:pt x="162" y="151"/>
                  <a:pt x="162" y="151"/>
                </a:cubicBezTo>
                <a:cubicBezTo>
                  <a:pt x="202" y="151"/>
                  <a:pt x="202" y="151"/>
                  <a:pt x="202" y="151"/>
                </a:cubicBezTo>
                <a:cubicBezTo>
                  <a:pt x="258" y="195"/>
                  <a:pt x="258" y="195"/>
                  <a:pt x="258" y="195"/>
                </a:cubicBezTo>
                <a:cubicBezTo>
                  <a:pt x="318" y="148"/>
                  <a:pt x="318" y="148"/>
                  <a:pt x="318" y="148"/>
                </a:cubicBezTo>
                <a:cubicBezTo>
                  <a:pt x="261" y="103"/>
                  <a:pt x="261" y="103"/>
                  <a:pt x="261" y="103"/>
                </a:cubicBezTo>
                <a:cubicBezTo>
                  <a:pt x="261" y="67"/>
                  <a:pt x="261" y="67"/>
                  <a:pt x="261" y="67"/>
                </a:cubicBezTo>
                <a:cubicBezTo>
                  <a:pt x="348" y="67"/>
                  <a:pt x="348" y="67"/>
                  <a:pt x="348" y="67"/>
                </a:cubicBezTo>
                <a:cubicBezTo>
                  <a:pt x="348" y="45"/>
                  <a:pt x="348" y="45"/>
                  <a:pt x="348" y="45"/>
                </a:cubicBezTo>
                <a:cubicBezTo>
                  <a:pt x="385" y="45"/>
                  <a:pt x="385" y="45"/>
                  <a:pt x="385" y="45"/>
                </a:cubicBezTo>
                <a:lnTo>
                  <a:pt x="385" y="218"/>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74" name="Group 73"/>
          <p:cNvGrpSpPr/>
          <p:nvPr/>
        </p:nvGrpSpPr>
        <p:grpSpPr>
          <a:xfrm>
            <a:off x="2372754" y="2450790"/>
            <a:ext cx="378972" cy="330892"/>
            <a:chOff x="-3007438" y="3034099"/>
            <a:chExt cx="2410469" cy="2104651"/>
          </a:xfrm>
          <a:solidFill>
            <a:schemeClr val="accent3"/>
          </a:solidFill>
        </p:grpSpPr>
        <p:sp>
          <p:nvSpPr>
            <p:cNvPr id="75" name="Freeform 74"/>
            <p:cNvSpPr>
              <a:spLocks/>
            </p:cNvSpPr>
            <p:nvPr/>
          </p:nvSpPr>
          <p:spPr bwMode="auto">
            <a:xfrm>
              <a:off x="-3007438" y="3034099"/>
              <a:ext cx="1319307" cy="1634643"/>
            </a:xfrm>
            <a:custGeom>
              <a:avLst/>
              <a:gdLst>
                <a:gd name="connsiteX0" fmla="*/ 476735 w 1319307"/>
                <a:gd name="connsiteY0" fmla="*/ 508890 h 1634643"/>
                <a:gd name="connsiteX1" fmla="*/ 324574 w 1319307"/>
                <a:gd name="connsiteY1" fmla="*/ 553755 h 1634643"/>
                <a:gd name="connsiteX2" fmla="*/ 205233 w 1319307"/>
                <a:gd name="connsiteY2" fmla="*/ 745180 h 1634643"/>
                <a:gd name="connsiteX3" fmla="*/ 288772 w 1319307"/>
                <a:gd name="connsiteY3" fmla="*/ 685360 h 1634643"/>
                <a:gd name="connsiteX4" fmla="*/ 575191 w 1319307"/>
                <a:gd name="connsiteY4" fmla="*/ 649468 h 1634643"/>
                <a:gd name="connsiteX5" fmla="*/ 575191 w 1319307"/>
                <a:gd name="connsiteY5" fmla="*/ 553755 h 1634643"/>
                <a:gd name="connsiteX6" fmla="*/ 476735 w 1319307"/>
                <a:gd name="connsiteY6" fmla="*/ 508890 h 1634643"/>
                <a:gd name="connsiteX7" fmla="*/ 998142 w 1319307"/>
                <a:gd name="connsiteY7" fmla="*/ 140 h 1634643"/>
                <a:gd name="connsiteX8" fmla="*/ 1181535 w 1319307"/>
                <a:gd name="connsiteY8" fmla="*/ 68194 h 1634643"/>
                <a:gd name="connsiteX9" fmla="*/ 1307645 w 1319307"/>
                <a:gd name="connsiteY9" fmla="*/ 324223 h 1634643"/>
                <a:gd name="connsiteX10" fmla="*/ 1319307 w 1319307"/>
                <a:gd name="connsiteY10" fmla="*/ 421009 h 1634643"/>
                <a:gd name="connsiteX11" fmla="*/ 1307558 w 1319307"/>
                <a:gd name="connsiteY11" fmla="*/ 431256 h 1634643"/>
                <a:gd name="connsiteX12" fmla="*/ 1172336 w 1319307"/>
                <a:gd name="connsiteY12" fmla="*/ 599218 h 1634643"/>
                <a:gd name="connsiteX13" fmla="*/ 1167514 w 1319307"/>
                <a:gd name="connsiteY13" fmla="*/ 607139 h 1634643"/>
                <a:gd name="connsiteX14" fmla="*/ 1152244 w 1319307"/>
                <a:gd name="connsiteY14" fmla="*/ 573490 h 1634643"/>
                <a:gd name="connsiteX15" fmla="*/ 1002418 w 1319307"/>
                <a:gd name="connsiteY15" fmla="*/ 469439 h 1634643"/>
                <a:gd name="connsiteX16" fmla="*/ 922922 w 1319307"/>
                <a:gd name="connsiteY16" fmla="*/ 453589 h 1634643"/>
                <a:gd name="connsiteX17" fmla="*/ 762995 w 1319307"/>
                <a:gd name="connsiteY17" fmla="*/ 529109 h 1634643"/>
                <a:gd name="connsiteX18" fmla="*/ 786937 w 1319307"/>
                <a:gd name="connsiteY18" fmla="*/ 624582 h 1634643"/>
                <a:gd name="connsiteX19" fmla="*/ 1074245 w 1319307"/>
                <a:gd name="connsiteY19" fmla="*/ 576846 h 1634643"/>
                <a:gd name="connsiteX20" fmla="*/ 1126619 w 1319307"/>
                <a:gd name="connsiteY20" fmla="*/ 590272 h 1634643"/>
                <a:gd name="connsiteX21" fmla="*/ 1165559 w 1319307"/>
                <a:gd name="connsiteY21" fmla="*/ 610351 h 1634643"/>
                <a:gd name="connsiteX22" fmla="*/ 1134065 w 1319307"/>
                <a:gd name="connsiteY22" fmla="*/ 662091 h 1634643"/>
                <a:gd name="connsiteX23" fmla="*/ 974524 w 1319307"/>
                <a:gd name="connsiteY23" fmla="*/ 1095472 h 1634643"/>
                <a:gd name="connsiteX24" fmla="*/ 961058 w 1319307"/>
                <a:gd name="connsiteY24" fmla="*/ 1180578 h 1634643"/>
                <a:gd name="connsiteX25" fmla="*/ 947275 w 1319307"/>
                <a:gd name="connsiteY25" fmla="*/ 1168598 h 1634643"/>
                <a:gd name="connsiteX26" fmla="*/ 807505 w 1319307"/>
                <a:gd name="connsiteY26" fmla="*/ 1124706 h 1634643"/>
                <a:gd name="connsiteX27" fmla="*/ 750957 w 1319307"/>
                <a:gd name="connsiteY27" fmla="*/ 1132725 h 1634643"/>
                <a:gd name="connsiteX28" fmla="*/ 466528 w 1319307"/>
                <a:gd name="connsiteY28" fmla="*/ 1383343 h 1634643"/>
                <a:gd name="connsiteX29" fmla="*/ 762808 w 1319307"/>
                <a:gd name="connsiteY29" fmla="*/ 1275935 h 1634643"/>
                <a:gd name="connsiteX30" fmla="*/ 774660 w 1319307"/>
                <a:gd name="connsiteY30" fmla="*/ 1275935 h 1634643"/>
                <a:gd name="connsiteX31" fmla="*/ 884469 w 1319307"/>
                <a:gd name="connsiteY31" fmla="*/ 1271087 h 1634643"/>
                <a:gd name="connsiteX32" fmla="*/ 951089 w 1319307"/>
                <a:gd name="connsiteY32" fmla="*/ 1278149 h 1634643"/>
                <a:gd name="connsiteX33" fmla="*/ 947431 w 1319307"/>
                <a:gd name="connsiteY33" fmla="*/ 1322021 h 1634643"/>
                <a:gd name="connsiteX34" fmla="*/ 955388 w 1319307"/>
                <a:gd name="connsiteY34" fmla="*/ 1577461 h 1634643"/>
                <a:gd name="connsiteX35" fmla="*/ 956016 w 1319307"/>
                <a:gd name="connsiteY35" fmla="*/ 1581790 h 1634643"/>
                <a:gd name="connsiteX36" fmla="*/ 934508 w 1319307"/>
                <a:gd name="connsiteY36" fmla="*/ 1594561 h 1634643"/>
                <a:gd name="connsiteX37" fmla="*/ 813591 w 1319307"/>
                <a:gd name="connsiteY37" fmla="*/ 1631004 h 1634643"/>
                <a:gd name="connsiteX38" fmla="*/ 374432 w 1319307"/>
                <a:gd name="connsiteY38" fmla="*/ 1429733 h 1634643"/>
                <a:gd name="connsiteX39" fmla="*/ 65834 w 1319307"/>
                <a:gd name="connsiteY39" fmla="*/ 825920 h 1634643"/>
                <a:gd name="connsiteX40" fmla="*/ 53964 w 1319307"/>
                <a:gd name="connsiteY40" fmla="*/ 210267 h 1634643"/>
                <a:gd name="connsiteX41" fmla="*/ 611815 w 1319307"/>
                <a:gd name="connsiteY41" fmla="*/ 80033 h 1634643"/>
                <a:gd name="connsiteX42" fmla="*/ 998142 w 1319307"/>
                <a:gd name="connsiteY42" fmla="*/ 140 h 16346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319307" h="1634643">
                  <a:moveTo>
                    <a:pt x="476735" y="508890"/>
                  </a:moveTo>
                  <a:cubicBezTo>
                    <a:pt x="431982" y="508890"/>
                    <a:pt x="378278" y="523845"/>
                    <a:pt x="324574" y="553755"/>
                  </a:cubicBezTo>
                  <a:cubicBezTo>
                    <a:pt x="252970" y="601612"/>
                    <a:pt x="205233" y="685360"/>
                    <a:pt x="205233" y="745180"/>
                  </a:cubicBezTo>
                  <a:cubicBezTo>
                    <a:pt x="229101" y="709288"/>
                    <a:pt x="252970" y="697324"/>
                    <a:pt x="288772" y="685360"/>
                  </a:cubicBezTo>
                  <a:cubicBezTo>
                    <a:pt x="396179" y="637504"/>
                    <a:pt x="515520" y="637504"/>
                    <a:pt x="575191" y="649468"/>
                  </a:cubicBezTo>
                  <a:cubicBezTo>
                    <a:pt x="587125" y="625540"/>
                    <a:pt x="587125" y="577683"/>
                    <a:pt x="575191" y="553755"/>
                  </a:cubicBezTo>
                  <a:cubicBezTo>
                    <a:pt x="557290" y="523845"/>
                    <a:pt x="521488" y="508890"/>
                    <a:pt x="476735" y="508890"/>
                  </a:cubicBezTo>
                  <a:close/>
                  <a:moveTo>
                    <a:pt x="998142" y="140"/>
                  </a:moveTo>
                  <a:cubicBezTo>
                    <a:pt x="1066367" y="-1733"/>
                    <a:pt x="1128124" y="14916"/>
                    <a:pt x="1181535" y="68194"/>
                  </a:cubicBezTo>
                  <a:cubicBezTo>
                    <a:pt x="1252750" y="139231"/>
                    <a:pt x="1288358" y="225067"/>
                    <a:pt x="1307645" y="324223"/>
                  </a:cubicBezTo>
                  <a:lnTo>
                    <a:pt x="1319307" y="421009"/>
                  </a:lnTo>
                  <a:lnTo>
                    <a:pt x="1307558" y="431256"/>
                  </a:lnTo>
                  <a:cubicBezTo>
                    <a:pt x="1272456" y="464411"/>
                    <a:pt x="1223214" y="520845"/>
                    <a:pt x="1172336" y="599218"/>
                  </a:cubicBezTo>
                  <a:lnTo>
                    <a:pt x="1167514" y="607139"/>
                  </a:lnTo>
                  <a:lnTo>
                    <a:pt x="1152244" y="573490"/>
                  </a:lnTo>
                  <a:cubicBezTo>
                    <a:pt x="1125871" y="532093"/>
                    <a:pt x="1074245" y="487340"/>
                    <a:pt x="1002418" y="469439"/>
                  </a:cubicBezTo>
                  <a:cubicBezTo>
                    <a:pt x="975483" y="460488"/>
                    <a:pt x="948548" y="455267"/>
                    <a:pt x="922922" y="453589"/>
                  </a:cubicBezTo>
                  <a:cubicBezTo>
                    <a:pt x="846045" y="448554"/>
                    <a:pt x="780952" y="475406"/>
                    <a:pt x="762995" y="529109"/>
                  </a:cubicBezTo>
                  <a:cubicBezTo>
                    <a:pt x="762995" y="552977"/>
                    <a:pt x="762995" y="600714"/>
                    <a:pt x="786937" y="624582"/>
                  </a:cubicBezTo>
                  <a:cubicBezTo>
                    <a:pt x="846793" y="588780"/>
                    <a:pt x="954533" y="564912"/>
                    <a:pt x="1074245" y="576846"/>
                  </a:cubicBezTo>
                  <a:cubicBezTo>
                    <a:pt x="1092202" y="576846"/>
                    <a:pt x="1110158" y="582813"/>
                    <a:pt x="1126619" y="590272"/>
                  </a:cubicBezTo>
                  <a:lnTo>
                    <a:pt x="1165559" y="610351"/>
                  </a:lnTo>
                  <a:lnTo>
                    <a:pt x="1134065" y="662091"/>
                  </a:lnTo>
                  <a:cubicBezTo>
                    <a:pt x="1070420" y="773666"/>
                    <a:pt x="1009101" y="918998"/>
                    <a:pt x="974524" y="1095472"/>
                  </a:cubicBezTo>
                  <a:lnTo>
                    <a:pt x="961058" y="1180578"/>
                  </a:lnTo>
                  <a:lnTo>
                    <a:pt x="947275" y="1168598"/>
                  </a:lnTo>
                  <a:cubicBezTo>
                    <a:pt x="907679" y="1138739"/>
                    <a:pt x="867375" y="1121443"/>
                    <a:pt x="807505" y="1124706"/>
                  </a:cubicBezTo>
                  <a:cubicBezTo>
                    <a:pt x="790399" y="1125639"/>
                    <a:pt x="771697" y="1128249"/>
                    <a:pt x="750957" y="1132725"/>
                  </a:cubicBezTo>
                  <a:cubicBezTo>
                    <a:pt x="573189" y="1156593"/>
                    <a:pt x="549487" y="1252067"/>
                    <a:pt x="466528" y="1383343"/>
                  </a:cubicBezTo>
                  <a:cubicBezTo>
                    <a:pt x="549487" y="1383343"/>
                    <a:pt x="608743" y="1299804"/>
                    <a:pt x="762808" y="1275935"/>
                  </a:cubicBezTo>
                  <a:cubicBezTo>
                    <a:pt x="762808" y="1275935"/>
                    <a:pt x="762808" y="1275935"/>
                    <a:pt x="774660" y="1275935"/>
                  </a:cubicBezTo>
                  <a:cubicBezTo>
                    <a:pt x="810214" y="1269968"/>
                    <a:pt x="847989" y="1269222"/>
                    <a:pt x="884469" y="1271087"/>
                  </a:cubicBezTo>
                  <a:lnTo>
                    <a:pt x="951089" y="1278149"/>
                  </a:lnTo>
                  <a:lnTo>
                    <a:pt x="947431" y="1322021"/>
                  </a:lnTo>
                  <a:cubicBezTo>
                    <a:pt x="943721" y="1402408"/>
                    <a:pt x="945852" y="1487611"/>
                    <a:pt x="955388" y="1577461"/>
                  </a:cubicBezTo>
                  <a:lnTo>
                    <a:pt x="956016" y="1581790"/>
                  </a:lnTo>
                  <a:lnTo>
                    <a:pt x="934508" y="1594561"/>
                  </a:lnTo>
                  <a:cubicBezTo>
                    <a:pt x="898159" y="1612505"/>
                    <a:pt x="858100" y="1625084"/>
                    <a:pt x="813591" y="1631004"/>
                  </a:cubicBezTo>
                  <a:cubicBezTo>
                    <a:pt x="635553" y="1654683"/>
                    <a:pt x="504993" y="1559967"/>
                    <a:pt x="374432" y="1429733"/>
                  </a:cubicBezTo>
                  <a:cubicBezTo>
                    <a:pt x="255740" y="1299499"/>
                    <a:pt x="125179" y="1086389"/>
                    <a:pt x="65834" y="825920"/>
                  </a:cubicBezTo>
                  <a:cubicBezTo>
                    <a:pt x="6488" y="589131"/>
                    <a:pt x="-40989" y="387860"/>
                    <a:pt x="53964" y="210267"/>
                  </a:cubicBezTo>
                  <a:cubicBezTo>
                    <a:pt x="160787" y="44515"/>
                    <a:pt x="386301" y="103712"/>
                    <a:pt x="611815" y="80033"/>
                  </a:cubicBezTo>
                  <a:cubicBezTo>
                    <a:pt x="752761" y="57834"/>
                    <a:pt x="884435" y="3262"/>
                    <a:pt x="998142" y="1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solidFill>
                  <a:srgbClr val="000000"/>
                </a:solidFill>
              </a:endParaRPr>
            </a:p>
          </p:txBody>
        </p:sp>
        <p:sp>
          <p:nvSpPr>
            <p:cNvPr id="76" name="Freeform 75"/>
            <p:cNvSpPr>
              <a:spLocks/>
            </p:cNvSpPr>
            <p:nvPr/>
          </p:nvSpPr>
          <p:spPr bwMode="auto">
            <a:xfrm>
              <a:off x="-2021095" y="3468628"/>
              <a:ext cx="1424126" cy="1670122"/>
            </a:xfrm>
            <a:custGeom>
              <a:avLst/>
              <a:gdLst>
                <a:gd name="connsiteX0" fmla="*/ 199175 w 1424126"/>
                <a:gd name="connsiteY0" fmla="*/ 1068726 h 1670122"/>
                <a:gd name="connsiteX1" fmla="*/ 193801 w 1424126"/>
                <a:gd name="connsiteY1" fmla="*/ 1070350 h 1670122"/>
                <a:gd name="connsiteX2" fmla="*/ 407259 w 1424126"/>
                <a:gd name="connsiteY2" fmla="*/ 1367276 h 1670122"/>
                <a:gd name="connsiteX3" fmla="*/ 763022 w 1424126"/>
                <a:gd name="connsiteY3" fmla="*/ 1296014 h 1670122"/>
                <a:gd name="connsiteX4" fmla="*/ 466553 w 1424126"/>
                <a:gd name="connsiteY4" fmla="*/ 1236629 h 1670122"/>
                <a:gd name="connsiteX5" fmla="*/ 454694 w 1424126"/>
                <a:gd name="connsiteY5" fmla="*/ 1236629 h 1670122"/>
                <a:gd name="connsiteX6" fmla="*/ 199175 w 1424126"/>
                <a:gd name="connsiteY6" fmla="*/ 1068726 h 1670122"/>
                <a:gd name="connsiteX7" fmla="*/ 866099 w 1424126"/>
                <a:gd name="connsiteY7" fmla="*/ 646188 h 1670122"/>
                <a:gd name="connsiteX8" fmla="*/ 820574 w 1424126"/>
                <a:gd name="connsiteY8" fmla="*/ 666635 h 1670122"/>
                <a:gd name="connsiteX9" fmla="*/ 808681 w 1424126"/>
                <a:gd name="connsiteY9" fmla="*/ 749160 h 1670122"/>
                <a:gd name="connsiteX10" fmla="*/ 1058420 w 1424126"/>
                <a:gd name="connsiteY10" fmla="*/ 867052 h 1670122"/>
                <a:gd name="connsiteX11" fmla="*/ 1141667 w 1424126"/>
                <a:gd name="connsiteY11" fmla="*/ 925998 h 1670122"/>
                <a:gd name="connsiteX12" fmla="*/ 1058420 w 1424126"/>
                <a:gd name="connsiteY12" fmla="*/ 737370 h 1670122"/>
                <a:gd name="connsiteX13" fmla="*/ 866099 w 1424126"/>
                <a:gd name="connsiteY13" fmla="*/ 646188 h 1670122"/>
                <a:gd name="connsiteX14" fmla="*/ 429109 w 1424126"/>
                <a:gd name="connsiteY14" fmla="*/ 463708 h 1670122"/>
                <a:gd name="connsiteX15" fmla="*/ 228974 w 1424126"/>
                <a:gd name="connsiteY15" fmla="*/ 547247 h 1670122"/>
                <a:gd name="connsiteX16" fmla="*/ 334928 w 1424126"/>
                <a:gd name="connsiteY16" fmla="*/ 547247 h 1670122"/>
                <a:gd name="connsiteX17" fmla="*/ 593926 w 1424126"/>
                <a:gd name="connsiteY17" fmla="*/ 654654 h 1670122"/>
                <a:gd name="connsiteX18" fmla="*/ 641016 w 1424126"/>
                <a:gd name="connsiteY18" fmla="*/ 583049 h 1670122"/>
                <a:gd name="connsiteX19" fmla="*/ 429109 w 1424126"/>
                <a:gd name="connsiteY19" fmla="*/ 463708 h 1670122"/>
                <a:gd name="connsiteX20" fmla="*/ 503157 w 1424126"/>
                <a:gd name="connsiteY20" fmla="*/ 2037 h 1670122"/>
                <a:gd name="connsiteX21" fmla="*/ 913901 w 1424126"/>
                <a:gd name="connsiteY21" fmla="*/ 203821 h 1670122"/>
                <a:gd name="connsiteX22" fmla="*/ 1412583 w 1424126"/>
                <a:gd name="connsiteY22" fmla="*/ 476573 h 1670122"/>
                <a:gd name="connsiteX23" fmla="*/ 1234482 w 1424126"/>
                <a:gd name="connsiteY23" fmla="*/ 1069510 h 1670122"/>
                <a:gd name="connsiteX24" fmla="*/ 771421 w 1424126"/>
                <a:gd name="connsiteY24" fmla="*/ 1555718 h 1670122"/>
                <a:gd name="connsiteX25" fmla="*/ 296486 w 1424126"/>
                <a:gd name="connsiteY25" fmla="*/ 1638730 h 1670122"/>
                <a:gd name="connsiteX26" fmla="*/ 23398 w 1424126"/>
                <a:gd name="connsiteY26" fmla="*/ 1235532 h 1670122"/>
                <a:gd name="connsiteX27" fmla="*/ 59018 w 1424126"/>
                <a:gd name="connsiteY27" fmla="*/ 571442 h 1670122"/>
                <a:gd name="connsiteX28" fmla="*/ 367726 w 1424126"/>
                <a:gd name="connsiteY28" fmla="*/ 25940 h 1670122"/>
                <a:gd name="connsiteX29" fmla="*/ 503157 w 1424126"/>
                <a:gd name="connsiteY29" fmla="*/ 2037 h 16701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424126" h="1670122">
                  <a:moveTo>
                    <a:pt x="199175" y="1068726"/>
                  </a:moveTo>
                  <a:cubicBezTo>
                    <a:pt x="195654" y="1067010"/>
                    <a:pt x="193801" y="1067381"/>
                    <a:pt x="193801" y="1070350"/>
                  </a:cubicBezTo>
                  <a:cubicBezTo>
                    <a:pt x="253095" y="1224752"/>
                    <a:pt x="253095" y="1319768"/>
                    <a:pt x="407259" y="1367276"/>
                  </a:cubicBezTo>
                  <a:cubicBezTo>
                    <a:pt x="573281" y="1438538"/>
                    <a:pt x="620716" y="1367276"/>
                    <a:pt x="763022" y="1296014"/>
                  </a:cubicBezTo>
                  <a:cubicBezTo>
                    <a:pt x="786739" y="1272260"/>
                    <a:pt x="608858" y="1296014"/>
                    <a:pt x="466553" y="1236629"/>
                  </a:cubicBezTo>
                  <a:cubicBezTo>
                    <a:pt x="466553" y="1236629"/>
                    <a:pt x="466553" y="1236629"/>
                    <a:pt x="454694" y="1236629"/>
                  </a:cubicBezTo>
                  <a:cubicBezTo>
                    <a:pt x="330177" y="1195059"/>
                    <a:pt x="223819" y="1080743"/>
                    <a:pt x="199175" y="1068726"/>
                  </a:cubicBezTo>
                  <a:close/>
                  <a:moveTo>
                    <a:pt x="866099" y="646188"/>
                  </a:moveTo>
                  <a:cubicBezTo>
                    <a:pt x="848075" y="648214"/>
                    <a:pt x="832466" y="654846"/>
                    <a:pt x="820574" y="666635"/>
                  </a:cubicBezTo>
                  <a:cubicBezTo>
                    <a:pt x="808681" y="678424"/>
                    <a:pt x="796789" y="713792"/>
                    <a:pt x="808681" y="749160"/>
                  </a:cubicBezTo>
                  <a:cubicBezTo>
                    <a:pt x="868143" y="749160"/>
                    <a:pt x="963282" y="784527"/>
                    <a:pt x="1058420" y="867052"/>
                  </a:cubicBezTo>
                  <a:cubicBezTo>
                    <a:pt x="1094097" y="878841"/>
                    <a:pt x="1117882" y="902420"/>
                    <a:pt x="1141667" y="925998"/>
                  </a:cubicBezTo>
                  <a:cubicBezTo>
                    <a:pt x="1153559" y="878841"/>
                    <a:pt x="1117882" y="796317"/>
                    <a:pt x="1058420" y="737370"/>
                  </a:cubicBezTo>
                  <a:cubicBezTo>
                    <a:pt x="995986" y="675477"/>
                    <a:pt x="920172" y="640109"/>
                    <a:pt x="866099" y="646188"/>
                  </a:cubicBezTo>
                  <a:close/>
                  <a:moveTo>
                    <a:pt x="429109" y="463708"/>
                  </a:moveTo>
                  <a:cubicBezTo>
                    <a:pt x="334928" y="463708"/>
                    <a:pt x="264292" y="499511"/>
                    <a:pt x="228974" y="547247"/>
                  </a:cubicBezTo>
                  <a:cubicBezTo>
                    <a:pt x="264292" y="547247"/>
                    <a:pt x="299610" y="547247"/>
                    <a:pt x="334928" y="547247"/>
                  </a:cubicBezTo>
                  <a:cubicBezTo>
                    <a:pt x="452654" y="571115"/>
                    <a:pt x="546835" y="606918"/>
                    <a:pt x="593926" y="654654"/>
                  </a:cubicBezTo>
                  <a:cubicBezTo>
                    <a:pt x="617471" y="642720"/>
                    <a:pt x="641016" y="606918"/>
                    <a:pt x="641016" y="583049"/>
                  </a:cubicBezTo>
                  <a:cubicBezTo>
                    <a:pt x="641016" y="523379"/>
                    <a:pt x="546835" y="463708"/>
                    <a:pt x="429109" y="463708"/>
                  </a:cubicBezTo>
                  <a:close/>
                  <a:moveTo>
                    <a:pt x="503157" y="2037"/>
                  </a:moveTo>
                  <a:cubicBezTo>
                    <a:pt x="640071" y="19270"/>
                    <a:pt x="780326" y="141563"/>
                    <a:pt x="913901" y="203821"/>
                  </a:cubicBezTo>
                  <a:cubicBezTo>
                    <a:pt x="1103875" y="274974"/>
                    <a:pt x="1365089" y="286833"/>
                    <a:pt x="1412583" y="476573"/>
                  </a:cubicBezTo>
                  <a:cubicBezTo>
                    <a:pt x="1460076" y="666312"/>
                    <a:pt x="1353216" y="844194"/>
                    <a:pt x="1234482" y="1069510"/>
                  </a:cubicBezTo>
                  <a:cubicBezTo>
                    <a:pt x="1115748" y="1294826"/>
                    <a:pt x="925774" y="1460849"/>
                    <a:pt x="771421" y="1555718"/>
                  </a:cubicBezTo>
                  <a:cubicBezTo>
                    <a:pt x="617067" y="1650588"/>
                    <a:pt x="462713" y="1709882"/>
                    <a:pt x="296486" y="1638730"/>
                  </a:cubicBezTo>
                  <a:cubicBezTo>
                    <a:pt x="130259" y="1567577"/>
                    <a:pt x="70892" y="1413414"/>
                    <a:pt x="23398" y="1235532"/>
                  </a:cubicBezTo>
                  <a:cubicBezTo>
                    <a:pt x="-12222" y="1069510"/>
                    <a:pt x="-12222" y="808617"/>
                    <a:pt x="59018" y="571442"/>
                  </a:cubicBezTo>
                  <a:cubicBezTo>
                    <a:pt x="142132" y="334268"/>
                    <a:pt x="189625" y="132669"/>
                    <a:pt x="367726" y="25940"/>
                  </a:cubicBezTo>
                  <a:cubicBezTo>
                    <a:pt x="412251" y="2223"/>
                    <a:pt x="457518" y="-3707"/>
                    <a:pt x="503157" y="203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solidFill>
                  <a:srgbClr val="000000"/>
                </a:solidFill>
              </a:endParaRPr>
            </a:p>
          </p:txBody>
        </p:sp>
      </p:grpSp>
      <p:grpSp>
        <p:nvGrpSpPr>
          <p:cNvPr id="84" name="Group 83"/>
          <p:cNvGrpSpPr/>
          <p:nvPr/>
        </p:nvGrpSpPr>
        <p:grpSpPr>
          <a:xfrm>
            <a:off x="2372754" y="3119548"/>
            <a:ext cx="494042" cy="319269"/>
            <a:chOff x="1741488" y="796925"/>
            <a:chExt cx="1139825" cy="736600"/>
          </a:xfrm>
          <a:solidFill>
            <a:schemeClr val="accent3"/>
          </a:solidFill>
        </p:grpSpPr>
        <p:sp>
          <p:nvSpPr>
            <p:cNvPr id="85" name="Freeform 6"/>
            <p:cNvSpPr>
              <a:spLocks/>
            </p:cNvSpPr>
            <p:nvPr/>
          </p:nvSpPr>
          <p:spPr bwMode="auto">
            <a:xfrm>
              <a:off x="2482851" y="882650"/>
              <a:ext cx="271463" cy="273050"/>
            </a:xfrm>
            <a:custGeom>
              <a:avLst/>
              <a:gdLst>
                <a:gd name="T0" fmla="*/ 29 w 95"/>
                <a:gd name="T1" fmla="*/ 75 h 96"/>
                <a:gd name="T2" fmla="*/ 27 w 95"/>
                <a:gd name="T3" fmla="*/ 92 h 96"/>
                <a:gd name="T4" fmla="*/ 47 w 95"/>
                <a:gd name="T5" fmla="*/ 96 h 96"/>
                <a:gd name="T6" fmla="*/ 68 w 95"/>
                <a:gd name="T7" fmla="*/ 92 h 96"/>
                <a:gd name="T8" fmla="*/ 67 w 95"/>
                <a:gd name="T9" fmla="*/ 75 h 96"/>
                <a:gd name="T10" fmla="*/ 68 w 95"/>
                <a:gd name="T11" fmla="*/ 73 h 96"/>
                <a:gd name="T12" fmla="*/ 48 w 95"/>
                <a:gd name="T13" fmla="*/ 0 h 96"/>
                <a:gd name="T14" fmla="*/ 27 w 95"/>
                <a:gd name="T15" fmla="*/ 73 h 96"/>
                <a:gd name="T16" fmla="*/ 29 w 95"/>
                <a:gd name="T17" fmla="*/ 7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5" h="96">
                  <a:moveTo>
                    <a:pt x="29" y="75"/>
                  </a:moveTo>
                  <a:cubicBezTo>
                    <a:pt x="31" y="78"/>
                    <a:pt x="35" y="86"/>
                    <a:pt x="27" y="92"/>
                  </a:cubicBezTo>
                  <a:cubicBezTo>
                    <a:pt x="32" y="94"/>
                    <a:pt x="39" y="96"/>
                    <a:pt x="47" y="96"/>
                  </a:cubicBezTo>
                  <a:cubicBezTo>
                    <a:pt x="56" y="96"/>
                    <a:pt x="63" y="94"/>
                    <a:pt x="68" y="92"/>
                  </a:cubicBezTo>
                  <a:cubicBezTo>
                    <a:pt x="60" y="86"/>
                    <a:pt x="64" y="78"/>
                    <a:pt x="67" y="75"/>
                  </a:cubicBezTo>
                  <a:cubicBezTo>
                    <a:pt x="67" y="74"/>
                    <a:pt x="68" y="74"/>
                    <a:pt x="68" y="73"/>
                  </a:cubicBezTo>
                  <a:cubicBezTo>
                    <a:pt x="83" y="58"/>
                    <a:pt x="95" y="0"/>
                    <a:pt x="48" y="0"/>
                  </a:cubicBezTo>
                  <a:cubicBezTo>
                    <a:pt x="0" y="0"/>
                    <a:pt x="12" y="58"/>
                    <a:pt x="27" y="73"/>
                  </a:cubicBezTo>
                  <a:cubicBezTo>
                    <a:pt x="28" y="74"/>
                    <a:pt x="28" y="74"/>
                    <a:pt x="29" y="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6" name="Freeform 7"/>
            <p:cNvSpPr>
              <a:spLocks/>
            </p:cNvSpPr>
            <p:nvPr/>
          </p:nvSpPr>
          <p:spPr bwMode="auto">
            <a:xfrm>
              <a:off x="1868488" y="882650"/>
              <a:ext cx="271463" cy="273050"/>
            </a:xfrm>
            <a:custGeom>
              <a:avLst/>
              <a:gdLst>
                <a:gd name="T0" fmla="*/ 29 w 95"/>
                <a:gd name="T1" fmla="*/ 75 h 96"/>
                <a:gd name="T2" fmla="*/ 27 w 95"/>
                <a:gd name="T3" fmla="*/ 92 h 96"/>
                <a:gd name="T4" fmla="*/ 47 w 95"/>
                <a:gd name="T5" fmla="*/ 96 h 96"/>
                <a:gd name="T6" fmla="*/ 68 w 95"/>
                <a:gd name="T7" fmla="*/ 92 h 96"/>
                <a:gd name="T8" fmla="*/ 66 w 95"/>
                <a:gd name="T9" fmla="*/ 75 h 96"/>
                <a:gd name="T10" fmla="*/ 68 w 95"/>
                <a:gd name="T11" fmla="*/ 73 h 96"/>
                <a:gd name="T12" fmla="*/ 48 w 95"/>
                <a:gd name="T13" fmla="*/ 0 h 96"/>
                <a:gd name="T14" fmla="*/ 27 w 95"/>
                <a:gd name="T15" fmla="*/ 73 h 96"/>
                <a:gd name="T16" fmla="*/ 29 w 95"/>
                <a:gd name="T17" fmla="*/ 7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5" h="96">
                  <a:moveTo>
                    <a:pt x="29" y="75"/>
                  </a:moveTo>
                  <a:cubicBezTo>
                    <a:pt x="31" y="78"/>
                    <a:pt x="35" y="86"/>
                    <a:pt x="27" y="92"/>
                  </a:cubicBezTo>
                  <a:cubicBezTo>
                    <a:pt x="32" y="94"/>
                    <a:pt x="39" y="96"/>
                    <a:pt x="47" y="96"/>
                  </a:cubicBezTo>
                  <a:cubicBezTo>
                    <a:pt x="56" y="96"/>
                    <a:pt x="63" y="94"/>
                    <a:pt x="68" y="92"/>
                  </a:cubicBezTo>
                  <a:cubicBezTo>
                    <a:pt x="60" y="86"/>
                    <a:pt x="64" y="78"/>
                    <a:pt x="66" y="75"/>
                  </a:cubicBezTo>
                  <a:cubicBezTo>
                    <a:pt x="67" y="74"/>
                    <a:pt x="67" y="74"/>
                    <a:pt x="68" y="73"/>
                  </a:cubicBezTo>
                  <a:cubicBezTo>
                    <a:pt x="83" y="58"/>
                    <a:pt x="95" y="0"/>
                    <a:pt x="48" y="0"/>
                  </a:cubicBezTo>
                  <a:cubicBezTo>
                    <a:pt x="0" y="0"/>
                    <a:pt x="12" y="58"/>
                    <a:pt x="27" y="73"/>
                  </a:cubicBezTo>
                  <a:cubicBezTo>
                    <a:pt x="28" y="74"/>
                    <a:pt x="28" y="74"/>
                    <a:pt x="29" y="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7" name="Freeform 8"/>
            <p:cNvSpPr>
              <a:spLocks/>
            </p:cNvSpPr>
            <p:nvPr/>
          </p:nvSpPr>
          <p:spPr bwMode="auto">
            <a:xfrm>
              <a:off x="2597151" y="1198563"/>
              <a:ext cx="49213" cy="33338"/>
            </a:xfrm>
            <a:custGeom>
              <a:avLst/>
              <a:gdLst>
                <a:gd name="T0" fmla="*/ 2 w 17"/>
                <a:gd name="T1" fmla="*/ 0 h 12"/>
                <a:gd name="T2" fmla="*/ 0 w 17"/>
                <a:gd name="T3" fmla="*/ 0 h 12"/>
                <a:gd name="T4" fmla="*/ 11 w 17"/>
                <a:gd name="T5" fmla="*/ 12 h 12"/>
                <a:gd name="T6" fmla="*/ 15 w 17"/>
                <a:gd name="T7" fmla="*/ 4 h 12"/>
                <a:gd name="T8" fmla="*/ 13 w 17"/>
                <a:gd name="T9" fmla="*/ 0 h 12"/>
                <a:gd name="T10" fmla="*/ 2 w 17"/>
                <a:gd name="T11" fmla="*/ 0 h 12"/>
              </a:gdLst>
              <a:ahLst/>
              <a:cxnLst>
                <a:cxn ang="0">
                  <a:pos x="T0" y="T1"/>
                </a:cxn>
                <a:cxn ang="0">
                  <a:pos x="T2" y="T3"/>
                </a:cxn>
                <a:cxn ang="0">
                  <a:pos x="T4" y="T5"/>
                </a:cxn>
                <a:cxn ang="0">
                  <a:pos x="T6" y="T7"/>
                </a:cxn>
                <a:cxn ang="0">
                  <a:pos x="T8" y="T9"/>
                </a:cxn>
                <a:cxn ang="0">
                  <a:pos x="T10" y="T11"/>
                </a:cxn>
              </a:cxnLst>
              <a:rect l="0" t="0" r="r" b="b"/>
              <a:pathLst>
                <a:path w="17" h="12">
                  <a:moveTo>
                    <a:pt x="2" y="0"/>
                  </a:moveTo>
                  <a:cubicBezTo>
                    <a:pt x="1" y="0"/>
                    <a:pt x="1" y="0"/>
                    <a:pt x="0" y="0"/>
                  </a:cubicBezTo>
                  <a:cubicBezTo>
                    <a:pt x="4" y="4"/>
                    <a:pt x="7" y="8"/>
                    <a:pt x="11" y="12"/>
                  </a:cubicBezTo>
                  <a:cubicBezTo>
                    <a:pt x="15" y="4"/>
                    <a:pt x="15" y="4"/>
                    <a:pt x="15" y="4"/>
                  </a:cubicBezTo>
                  <a:cubicBezTo>
                    <a:pt x="17" y="2"/>
                    <a:pt x="15" y="0"/>
                    <a:pt x="13" y="0"/>
                  </a:cubicBez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8" name="Freeform 9"/>
            <p:cNvSpPr>
              <a:spLocks/>
            </p:cNvSpPr>
            <p:nvPr/>
          </p:nvSpPr>
          <p:spPr bwMode="auto">
            <a:xfrm>
              <a:off x="2662238" y="1155700"/>
              <a:ext cx="219075" cy="288925"/>
            </a:xfrm>
            <a:custGeom>
              <a:avLst/>
              <a:gdLst>
                <a:gd name="T0" fmla="*/ 13 w 77"/>
                <a:gd name="T1" fmla="*/ 0 h 102"/>
                <a:gd name="T2" fmla="*/ 0 w 77"/>
                <a:gd name="T3" fmla="*/ 48 h 102"/>
                <a:gd name="T4" fmla="*/ 9 w 77"/>
                <a:gd name="T5" fmla="*/ 101 h 102"/>
                <a:gd name="T6" fmla="*/ 9 w 77"/>
                <a:gd name="T7" fmla="*/ 102 h 102"/>
                <a:gd name="T8" fmla="*/ 77 w 77"/>
                <a:gd name="T9" fmla="*/ 79 h 102"/>
                <a:gd name="T10" fmla="*/ 13 w 77"/>
                <a:gd name="T11" fmla="*/ 0 h 102"/>
              </a:gdLst>
              <a:ahLst/>
              <a:cxnLst>
                <a:cxn ang="0">
                  <a:pos x="T0" y="T1"/>
                </a:cxn>
                <a:cxn ang="0">
                  <a:pos x="T2" y="T3"/>
                </a:cxn>
                <a:cxn ang="0">
                  <a:pos x="T4" y="T5"/>
                </a:cxn>
                <a:cxn ang="0">
                  <a:pos x="T6" y="T7"/>
                </a:cxn>
                <a:cxn ang="0">
                  <a:pos x="T8" y="T9"/>
                </a:cxn>
                <a:cxn ang="0">
                  <a:pos x="T10" y="T11"/>
                </a:cxn>
              </a:cxnLst>
              <a:rect l="0" t="0" r="r" b="b"/>
              <a:pathLst>
                <a:path w="77" h="102">
                  <a:moveTo>
                    <a:pt x="13" y="0"/>
                  </a:moveTo>
                  <a:cubicBezTo>
                    <a:pt x="0" y="48"/>
                    <a:pt x="0" y="48"/>
                    <a:pt x="0" y="48"/>
                  </a:cubicBezTo>
                  <a:cubicBezTo>
                    <a:pt x="6" y="64"/>
                    <a:pt x="9" y="81"/>
                    <a:pt x="9" y="101"/>
                  </a:cubicBezTo>
                  <a:cubicBezTo>
                    <a:pt x="9" y="101"/>
                    <a:pt x="9" y="102"/>
                    <a:pt x="9" y="102"/>
                  </a:cubicBezTo>
                  <a:cubicBezTo>
                    <a:pt x="36" y="100"/>
                    <a:pt x="77" y="95"/>
                    <a:pt x="77" y="79"/>
                  </a:cubicBezTo>
                  <a:cubicBezTo>
                    <a:pt x="77" y="21"/>
                    <a:pt x="39" y="5"/>
                    <a:pt x="1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9" name="Freeform 10"/>
            <p:cNvSpPr>
              <a:spLocks/>
            </p:cNvSpPr>
            <p:nvPr/>
          </p:nvSpPr>
          <p:spPr bwMode="auto">
            <a:xfrm>
              <a:off x="1976438" y="1198563"/>
              <a:ext cx="46038" cy="33338"/>
            </a:xfrm>
            <a:custGeom>
              <a:avLst/>
              <a:gdLst>
                <a:gd name="T0" fmla="*/ 1 w 16"/>
                <a:gd name="T1" fmla="*/ 4 h 12"/>
                <a:gd name="T2" fmla="*/ 6 w 16"/>
                <a:gd name="T3" fmla="*/ 12 h 12"/>
                <a:gd name="T4" fmla="*/ 16 w 16"/>
                <a:gd name="T5" fmla="*/ 0 h 12"/>
                <a:gd name="T6" fmla="*/ 15 w 16"/>
                <a:gd name="T7" fmla="*/ 0 h 12"/>
                <a:gd name="T8" fmla="*/ 4 w 16"/>
                <a:gd name="T9" fmla="*/ 0 h 12"/>
                <a:gd name="T10" fmla="*/ 1 w 16"/>
                <a:gd name="T11" fmla="*/ 4 h 12"/>
              </a:gdLst>
              <a:ahLst/>
              <a:cxnLst>
                <a:cxn ang="0">
                  <a:pos x="T0" y="T1"/>
                </a:cxn>
                <a:cxn ang="0">
                  <a:pos x="T2" y="T3"/>
                </a:cxn>
                <a:cxn ang="0">
                  <a:pos x="T4" y="T5"/>
                </a:cxn>
                <a:cxn ang="0">
                  <a:pos x="T6" y="T7"/>
                </a:cxn>
                <a:cxn ang="0">
                  <a:pos x="T8" y="T9"/>
                </a:cxn>
                <a:cxn ang="0">
                  <a:pos x="T10" y="T11"/>
                </a:cxn>
              </a:cxnLst>
              <a:rect l="0" t="0" r="r" b="b"/>
              <a:pathLst>
                <a:path w="16" h="12">
                  <a:moveTo>
                    <a:pt x="1" y="4"/>
                  </a:moveTo>
                  <a:cubicBezTo>
                    <a:pt x="6" y="12"/>
                    <a:pt x="6" y="12"/>
                    <a:pt x="6" y="12"/>
                  </a:cubicBezTo>
                  <a:cubicBezTo>
                    <a:pt x="9" y="8"/>
                    <a:pt x="12" y="4"/>
                    <a:pt x="16" y="0"/>
                  </a:cubicBezTo>
                  <a:cubicBezTo>
                    <a:pt x="15" y="0"/>
                    <a:pt x="15" y="0"/>
                    <a:pt x="15" y="0"/>
                  </a:cubicBezTo>
                  <a:cubicBezTo>
                    <a:pt x="4" y="0"/>
                    <a:pt x="4" y="0"/>
                    <a:pt x="4" y="0"/>
                  </a:cubicBezTo>
                  <a:cubicBezTo>
                    <a:pt x="1" y="0"/>
                    <a:pt x="0" y="2"/>
                    <a:pt x="1"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0" name="Freeform 11"/>
            <p:cNvSpPr>
              <a:spLocks/>
            </p:cNvSpPr>
            <p:nvPr/>
          </p:nvSpPr>
          <p:spPr bwMode="auto">
            <a:xfrm>
              <a:off x="1741488" y="1155700"/>
              <a:ext cx="219075" cy="288925"/>
            </a:xfrm>
            <a:custGeom>
              <a:avLst/>
              <a:gdLst>
                <a:gd name="T0" fmla="*/ 63 w 77"/>
                <a:gd name="T1" fmla="*/ 0 h 102"/>
                <a:gd name="T2" fmla="*/ 0 w 77"/>
                <a:gd name="T3" fmla="*/ 79 h 102"/>
                <a:gd name="T4" fmla="*/ 67 w 77"/>
                <a:gd name="T5" fmla="*/ 102 h 102"/>
                <a:gd name="T6" fmla="*/ 67 w 77"/>
                <a:gd name="T7" fmla="*/ 101 h 102"/>
                <a:gd name="T8" fmla="*/ 77 w 77"/>
                <a:gd name="T9" fmla="*/ 47 h 102"/>
                <a:gd name="T10" fmla="*/ 63 w 77"/>
                <a:gd name="T11" fmla="*/ 0 h 102"/>
              </a:gdLst>
              <a:ahLst/>
              <a:cxnLst>
                <a:cxn ang="0">
                  <a:pos x="T0" y="T1"/>
                </a:cxn>
                <a:cxn ang="0">
                  <a:pos x="T2" y="T3"/>
                </a:cxn>
                <a:cxn ang="0">
                  <a:pos x="T4" y="T5"/>
                </a:cxn>
                <a:cxn ang="0">
                  <a:pos x="T6" y="T7"/>
                </a:cxn>
                <a:cxn ang="0">
                  <a:pos x="T8" y="T9"/>
                </a:cxn>
                <a:cxn ang="0">
                  <a:pos x="T10" y="T11"/>
                </a:cxn>
              </a:cxnLst>
              <a:rect l="0" t="0" r="r" b="b"/>
              <a:pathLst>
                <a:path w="77" h="102">
                  <a:moveTo>
                    <a:pt x="63" y="0"/>
                  </a:moveTo>
                  <a:cubicBezTo>
                    <a:pt x="38" y="5"/>
                    <a:pt x="0" y="21"/>
                    <a:pt x="0" y="79"/>
                  </a:cubicBezTo>
                  <a:cubicBezTo>
                    <a:pt x="0" y="95"/>
                    <a:pt x="39" y="100"/>
                    <a:pt x="67" y="102"/>
                  </a:cubicBezTo>
                  <a:cubicBezTo>
                    <a:pt x="67" y="102"/>
                    <a:pt x="67" y="101"/>
                    <a:pt x="67" y="101"/>
                  </a:cubicBezTo>
                  <a:cubicBezTo>
                    <a:pt x="67" y="81"/>
                    <a:pt x="70" y="63"/>
                    <a:pt x="77" y="47"/>
                  </a:cubicBezTo>
                  <a:lnTo>
                    <a:pt x="6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1" name="Freeform 12"/>
            <p:cNvSpPr>
              <a:spLocks/>
            </p:cNvSpPr>
            <p:nvPr/>
          </p:nvSpPr>
          <p:spPr bwMode="auto">
            <a:xfrm>
              <a:off x="2133601" y="796925"/>
              <a:ext cx="349250" cy="355600"/>
            </a:xfrm>
            <a:custGeom>
              <a:avLst/>
              <a:gdLst>
                <a:gd name="T0" fmla="*/ 37 w 123"/>
                <a:gd name="T1" fmla="*/ 98 h 125"/>
                <a:gd name="T2" fmla="*/ 35 w 123"/>
                <a:gd name="T3" fmla="*/ 120 h 125"/>
                <a:gd name="T4" fmla="*/ 61 w 123"/>
                <a:gd name="T5" fmla="*/ 125 h 125"/>
                <a:gd name="T6" fmla="*/ 88 w 123"/>
                <a:gd name="T7" fmla="*/ 120 h 125"/>
                <a:gd name="T8" fmla="*/ 86 w 123"/>
                <a:gd name="T9" fmla="*/ 98 h 125"/>
                <a:gd name="T10" fmla="*/ 88 w 123"/>
                <a:gd name="T11" fmla="*/ 96 h 125"/>
                <a:gd name="T12" fmla="*/ 62 w 123"/>
                <a:gd name="T13" fmla="*/ 0 h 125"/>
                <a:gd name="T14" fmla="*/ 35 w 123"/>
                <a:gd name="T15" fmla="*/ 96 h 125"/>
                <a:gd name="T16" fmla="*/ 37 w 123"/>
                <a:gd name="T17" fmla="*/ 98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3" h="125">
                  <a:moveTo>
                    <a:pt x="37" y="98"/>
                  </a:moveTo>
                  <a:cubicBezTo>
                    <a:pt x="40" y="102"/>
                    <a:pt x="45" y="112"/>
                    <a:pt x="35" y="120"/>
                  </a:cubicBezTo>
                  <a:cubicBezTo>
                    <a:pt x="41" y="123"/>
                    <a:pt x="50" y="125"/>
                    <a:pt x="61" y="125"/>
                  </a:cubicBezTo>
                  <a:cubicBezTo>
                    <a:pt x="72" y="125"/>
                    <a:pt x="81" y="123"/>
                    <a:pt x="88" y="120"/>
                  </a:cubicBezTo>
                  <a:cubicBezTo>
                    <a:pt x="78" y="112"/>
                    <a:pt x="83" y="102"/>
                    <a:pt x="86" y="98"/>
                  </a:cubicBezTo>
                  <a:cubicBezTo>
                    <a:pt x="87" y="97"/>
                    <a:pt x="87" y="96"/>
                    <a:pt x="88" y="96"/>
                  </a:cubicBezTo>
                  <a:cubicBezTo>
                    <a:pt x="107" y="76"/>
                    <a:pt x="123" y="0"/>
                    <a:pt x="62" y="0"/>
                  </a:cubicBezTo>
                  <a:cubicBezTo>
                    <a:pt x="0" y="0"/>
                    <a:pt x="16" y="76"/>
                    <a:pt x="35" y="96"/>
                  </a:cubicBezTo>
                  <a:cubicBezTo>
                    <a:pt x="36" y="96"/>
                    <a:pt x="37" y="97"/>
                    <a:pt x="37" y="9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2" name="Freeform 13"/>
            <p:cNvSpPr>
              <a:spLocks/>
            </p:cNvSpPr>
            <p:nvPr/>
          </p:nvSpPr>
          <p:spPr bwMode="auto">
            <a:xfrm>
              <a:off x="1968501" y="1152525"/>
              <a:ext cx="679450" cy="381000"/>
            </a:xfrm>
            <a:custGeom>
              <a:avLst/>
              <a:gdLst>
                <a:gd name="T0" fmla="*/ 156 w 239"/>
                <a:gd name="T1" fmla="*/ 0 h 134"/>
                <a:gd name="T2" fmla="*/ 134 w 239"/>
                <a:gd name="T3" fmla="*/ 81 h 134"/>
                <a:gd name="T4" fmla="*/ 123 w 239"/>
                <a:gd name="T5" fmla="*/ 36 h 134"/>
                <a:gd name="T6" fmla="*/ 123 w 239"/>
                <a:gd name="T7" fmla="*/ 36 h 134"/>
                <a:gd name="T8" fmla="*/ 129 w 239"/>
                <a:gd name="T9" fmla="*/ 25 h 134"/>
                <a:gd name="T10" fmla="*/ 126 w 239"/>
                <a:gd name="T11" fmla="*/ 19 h 134"/>
                <a:gd name="T12" fmla="*/ 112 w 239"/>
                <a:gd name="T13" fmla="*/ 19 h 134"/>
                <a:gd name="T14" fmla="*/ 109 w 239"/>
                <a:gd name="T15" fmla="*/ 25 h 134"/>
                <a:gd name="T16" fmla="*/ 115 w 239"/>
                <a:gd name="T17" fmla="*/ 36 h 134"/>
                <a:gd name="T18" fmla="*/ 115 w 239"/>
                <a:gd name="T19" fmla="*/ 36 h 134"/>
                <a:gd name="T20" fmla="*/ 105 w 239"/>
                <a:gd name="T21" fmla="*/ 81 h 134"/>
                <a:gd name="T22" fmla="*/ 82 w 239"/>
                <a:gd name="T23" fmla="*/ 0 h 134"/>
                <a:gd name="T24" fmla="*/ 0 w 239"/>
                <a:gd name="T25" fmla="*/ 102 h 134"/>
                <a:gd name="T26" fmla="*/ 120 w 239"/>
                <a:gd name="T27" fmla="*/ 133 h 134"/>
                <a:gd name="T28" fmla="*/ 239 w 239"/>
                <a:gd name="T29" fmla="*/ 102 h 134"/>
                <a:gd name="T30" fmla="*/ 156 w 239"/>
                <a:gd name="T31" fmla="*/ 0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39" h="134">
                  <a:moveTo>
                    <a:pt x="156" y="0"/>
                  </a:moveTo>
                  <a:cubicBezTo>
                    <a:pt x="134" y="81"/>
                    <a:pt x="134" y="81"/>
                    <a:pt x="134" y="81"/>
                  </a:cubicBezTo>
                  <a:cubicBezTo>
                    <a:pt x="123" y="36"/>
                    <a:pt x="123" y="36"/>
                    <a:pt x="123" y="36"/>
                  </a:cubicBezTo>
                  <a:cubicBezTo>
                    <a:pt x="123" y="36"/>
                    <a:pt x="123" y="36"/>
                    <a:pt x="123" y="36"/>
                  </a:cubicBezTo>
                  <a:cubicBezTo>
                    <a:pt x="129" y="25"/>
                    <a:pt x="129" y="25"/>
                    <a:pt x="129" y="25"/>
                  </a:cubicBezTo>
                  <a:cubicBezTo>
                    <a:pt x="131" y="22"/>
                    <a:pt x="130" y="19"/>
                    <a:pt x="126" y="19"/>
                  </a:cubicBezTo>
                  <a:cubicBezTo>
                    <a:pt x="112" y="19"/>
                    <a:pt x="112" y="19"/>
                    <a:pt x="112" y="19"/>
                  </a:cubicBezTo>
                  <a:cubicBezTo>
                    <a:pt x="109" y="19"/>
                    <a:pt x="107" y="22"/>
                    <a:pt x="109" y="25"/>
                  </a:cubicBezTo>
                  <a:cubicBezTo>
                    <a:pt x="115" y="36"/>
                    <a:pt x="115" y="36"/>
                    <a:pt x="115" y="36"/>
                  </a:cubicBezTo>
                  <a:cubicBezTo>
                    <a:pt x="115" y="36"/>
                    <a:pt x="115" y="36"/>
                    <a:pt x="115" y="36"/>
                  </a:cubicBezTo>
                  <a:cubicBezTo>
                    <a:pt x="105" y="81"/>
                    <a:pt x="105" y="81"/>
                    <a:pt x="105" y="81"/>
                  </a:cubicBezTo>
                  <a:cubicBezTo>
                    <a:pt x="82" y="0"/>
                    <a:pt x="82" y="0"/>
                    <a:pt x="82" y="0"/>
                  </a:cubicBezTo>
                  <a:cubicBezTo>
                    <a:pt x="49" y="7"/>
                    <a:pt x="0" y="28"/>
                    <a:pt x="0" y="102"/>
                  </a:cubicBezTo>
                  <a:cubicBezTo>
                    <a:pt x="0" y="134"/>
                    <a:pt x="120" y="133"/>
                    <a:pt x="120" y="133"/>
                  </a:cubicBezTo>
                  <a:cubicBezTo>
                    <a:pt x="120" y="133"/>
                    <a:pt x="239" y="134"/>
                    <a:pt x="239" y="102"/>
                  </a:cubicBezTo>
                  <a:cubicBezTo>
                    <a:pt x="239" y="27"/>
                    <a:pt x="190" y="6"/>
                    <a:pt x="15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grpSp>
        <p:nvGrpSpPr>
          <p:cNvPr id="93" name="Group 92"/>
          <p:cNvGrpSpPr/>
          <p:nvPr/>
        </p:nvGrpSpPr>
        <p:grpSpPr>
          <a:xfrm>
            <a:off x="2372754" y="3819200"/>
            <a:ext cx="399248" cy="445912"/>
            <a:chOff x="3441701" y="790575"/>
            <a:chExt cx="733425" cy="819151"/>
          </a:xfrm>
          <a:solidFill>
            <a:schemeClr val="accent3"/>
          </a:solidFill>
        </p:grpSpPr>
        <p:sp>
          <p:nvSpPr>
            <p:cNvPr id="94" name="Freeform 34"/>
            <p:cNvSpPr>
              <a:spLocks/>
            </p:cNvSpPr>
            <p:nvPr/>
          </p:nvSpPr>
          <p:spPr bwMode="auto">
            <a:xfrm>
              <a:off x="3516313" y="790575"/>
              <a:ext cx="96838" cy="190500"/>
            </a:xfrm>
            <a:custGeom>
              <a:avLst/>
              <a:gdLst>
                <a:gd name="T0" fmla="*/ 17 w 34"/>
                <a:gd name="T1" fmla="*/ 67 h 67"/>
                <a:gd name="T2" fmla="*/ 34 w 34"/>
                <a:gd name="T3" fmla="*/ 50 h 67"/>
                <a:gd name="T4" fmla="*/ 34 w 34"/>
                <a:gd name="T5" fmla="*/ 16 h 67"/>
                <a:gd name="T6" fmla="*/ 17 w 34"/>
                <a:gd name="T7" fmla="*/ 0 h 67"/>
                <a:gd name="T8" fmla="*/ 0 w 34"/>
                <a:gd name="T9" fmla="*/ 16 h 67"/>
                <a:gd name="T10" fmla="*/ 0 w 34"/>
                <a:gd name="T11" fmla="*/ 50 h 67"/>
                <a:gd name="T12" fmla="*/ 17 w 34"/>
                <a:gd name="T13" fmla="*/ 67 h 67"/>
              </a:gdLst>
              <a:ahLst/>
              <a:cxnLst>
                <a:cxn ang="0">
                  <a:pos x="T0" y="T1"/>
                </a:cxn>
                <a:cxn ang="0">
                  <a:pos x="T2" y="T3"/>
                </a:cxn>
                <a:cxn ang="0">
                  <a:pos x="T4" y="T5"/>
                </a:cxn>
                <a:cxn ang="0">
                  <a:pos x="T6" y="T7"/>
                </a:cxn>
                <a:cxn ang="0">
                  <a:pos x="T8" y="T9"/>
                </a:cxn>
                <a:cxn ang="0">
                  <a:pos x="T10" y="T11"/>
                </a:cxn>
                <a:cxn ang="0">
                  <a:pos x="T12" y="T13"/>
                </a:cxn>
              </a:cxnLst>
              <a:rect l="0" t="0" r="r" b="b"/>
              <a:pathLst>
                <a:path w="34" h="67">
                  <a:moveTo>
                    <a:pt x="17" y="67"/>
                  </a:moveTo>
                  <a:cubicBezTo>
                    <a:pt x="26" y="67"/>
                    <a:pt x="34" y="60"/>
                    <a:pt x="34" y="50"/>
                  </a:cubicBezTo>
                  <a:cubicBezTo>
                    <a:pt x="34" y="16"/>
                    <a:pt x="34" y="16"/>
                    <a:pt x="34" y="16"/>
                  </a:cubicBezTo>
                  <a:cubicBezTo>
                    <a:pt x="34" y="7"/>
                    <a:pt x="26" y="0"/>
                    <a:pt x="17" y="0"/>
                  </a:cubicBezTo>
                  <a:cubicBezTo>
                    <a:pt x="7" y="0"/>
                    <a:pt x="0" y="7"/>
                    <a:pt x="0" y="16"/>
                  </a:cubicBezTo>
                  <a:cubicBezTo>
                    <a:pt x="0" y="50"/>
                    <a:pt x="0" y="50"/>
                    <a:pt x="0" y="50"/>
                  </a:cubicBezTo>
                  <a:cubicBezTo>
                    <a:pt x="0" y="60"/>
                    <a:pt x="7" y="67"/>
                    <a:pt x="17" y="6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5" name="Freeform 35"/>
            <p:cNvSpPr>
              <a:spLocks/>
            </p:cNvSpPr>
            <p:nvPr/>
          </p:nvSpPr>
          <p:spPr bwMode="auto">
            <a:xfrm>
              <a:off x="3997326" y="790575"/>
              <a:ext cx="95250" cy="190500"/>
            </a:xfrm>
            <a:custGeom>
              <a:avLst/>
              <a:gdLst>
                <a:gd name="T0" fmla="*/ 17 w 34"/>
                <a:gd name="T1" fmla="*/ 67 h 67"/>
                <a:gd name="T2" fmla="*/ 34 w 34"/>
                <a:gd name="T3" fmla="*/ 50 h 67"/>
                <a:gd name="T4" fmla="*/ 34 w 34"/>
                <a:gd name="T5" fmla="*/ 16 h 67"/>
                <a:gd name="T6" fmla="*/ 17 w 34"/>
                <a:gd name="T7" fmla="*/ 0 h 67"/>
                <a:gd name="T8" fmla="*/ 0 w 34"/>
                <a:gd name="T9" fmla="*/ 16 h 67"/>
                <a:gd name="T10" fmla="*/ 0 w 34"/>
                <a:gd name="T11" fmla="*/ 50 h 67"/>
                <a:gd name="T12" fmla="*/ 17 w 34"/>
                <a:gd name="T13" fmla="*/ 67 h 67"/>
              </a:gdLst>
              <a:ahLst/>
              <a:cxnLst>
                <a:cxn ang="0">
                  <a:pos x="T0" y="T1"/>
                </a:cxn>
                <a:cxn ang="0">
                  <a:pos x="T2" y="T3"/>
                </a:cxn>
                <a:cxn ang="0">
                  <a:pos x="T4" y="T5"/>
                </a:cxn>
                <a:cxn ang="0">
                  <a:pos x="T6" y="T7"/>
                </a:cxn>
                <a:cxn ang="0">
                  <a:pos x="T8" y="T9"/>
                </a:cxn>
                <a:cxn ang="0">
                  <a:pos x="T10" y="T11"/>
                </a:cxn>
                <a:cxn ang="0">
                  <a:pos x="T12" y="T13"/>
                </a:cxn>
              </a:cxnLst>
              <a:rect l="0" t="0" r="r" b="b"/>
              <a:pathLst>
                <a:path w="34" h="67">
                  <a:moveTo>
                    <a:pt x="17" y="67"/>
                  </a:moveTo>
                  <a:cubicBezTo>
                    <a:pt x="26" y="67"/>
                    <a:pt x="34" y="60"/>
                    <a:pt x="34" y="50"/>
                  </a:cubicBezTo>
                  <a:cubicBezTo>
                    <a:pt x="34" y="16"/>
                    <a:pt x="34" y="16"/>
                    <a:pt x="34" y="16"/>
                  </a:cubicBezTo>
                  <a:cubicBezTo>
                    <a:pt x="34" y="7"/>
                    <a:pt x="26" y="0"/>
                    <a:pt x="17" y="0"/>
                  </a:cubicBezTo>
                  <a:cubicBezTo>
                    <a:pt x="8" y="0"/>
                    <a:pt x="0" y="7"/>
                    <a:pt x="0" y="16"/>
                  </a:cubicBezTo>
                  <a:cubicBezTo>
                    <a:pt x="0" y="50"/>
                    <a:pt x="0" y="50"/>
                    <a:pt x="0" y="50"/>
                  </a:cubicBezTo>
                  <a:cubicBezTo>
                    <a:pt x="0" y="60"/>
                    <a:pt x="8" y="67"/>
                    <a:pt x="17" y="6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6" name="Freeform 36"/>
            <p:cNvSpPr>
              <a:spLocks/>
            </p:cNvSpPr>
            <p:nvPr/>
          </p:nvSpPr>
          <p:spPr bwMode="auto">
            <a:xfrm>
              <a:off x="3441701" y="893763"/>
              <a:ext cx="733425" cy="128588"/>
            </a:xfrm>
            <a:custGeom>
              <a:avLst/>
              <a:gdLst>
                <a:gd name="T0" fmla="*/ 245 w 258"/>
                <a:gd name="T1" fmla="*/ 0 h 45"/>
                <a:gd name="T2" fmla="*/ 236 w 258"/>
                <a:gd name="T3" fmla="*/ 0 h 45"/>
                <a:gd name="T4" fmla="*/ 236 w 258"/>
                <a:gd name="T5" fmla="*/ 14 h 45"/>
                <a:gd name="T6" fmla="*/ 212 w 258"/>
                <a:gd name="T7" fmla="*/ 38 h 45"/>
                <a:gd name="T8" fmla="*/ 189 w 258"/>
                <a:gd name="T9" fmla="*/ 14 h 45"/>
                <a:gd name="T10" fmla="*/ 189 w 258"/>
                <a:gd name="T11" fmla="*/ 0 h 45"/>
                <a:gd name="T12" fmla="*/ 66 w 258"/>
                <a:gd name="T13" fmla="*/ 0 h 45"/>
                <a:gd name="T14" fmla="*/ 66 w 258"/>
                <a:gd name="T15" fmla="*/ 14 h 45"/>
                <a:gd name="T16" fmla="*/ 43 w 258"/>
                <a:gd name="T17" fmla="*/ 38 h 45"/>
                <a:gd name="T18" fmla="*/ 19 w 258"/>
                <a:gd name="T19" fmla="*/ 14 h 45"/>
                <a:gd name="T20" fmla="*/ 19 w 258"/>
                <a:gd name="T21" fmla="*/ 0 h 45"/>
                <a:gd name="T22" fmla="*/ 13 w 258"/>
                <a:gd name="T23" fmla="*/ 0 h 45"/>
                <a:gd name="T24" fmla="*/ 0 w 258"/>
                <a:gd name="T25" fmla="*/ 13 h 45"/>
                <a:gd name="T26" fmla="*/ 0 w 258"/>
                <a:gd name="T27" fmla="*/ 45 h 45"/>
                <a:gd name="T28" fmla="*/ 258 w 258"/>
                <a:gd name="T29" fmla="*/ 45 h 45"/>
                <a:gd name="T30" fmla="*/ 258 w 258"/>
                <a:gd name="T31" fmla="*/ 13 h 45"/>
                <a:gd name="T32" fmla="*/ 245 w 258"/>
                <a:gd name="T33" fmla="*/ 0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58" h="45">
                  <a:moveTo>
                    <a:pt x="245" y="0"/>
                  </a:moveTo>
                  <a:cubicBezTo>
                    <a:pt x="236" y="0"/>
                    <a:pt x="236" y="0"/>
                    <a:pt x="236" y="0"/>
                  </a:cubicBezTo>
                  <a:cubicBezTo>
                    <a:pt x="236" y="14"/>
                    <a:pt x="236" y="14"/>
                    <a:pt x="236" y="14"/>
                  </a:cubicBezTo>
                  <a:cubicBezTo>
                    <a:pt x="236" y="27"/>
                    <a:pt x="225" y="38"/>
                    <a:pt x="212" y="38"/>
                  </a:cubicBezTo>
                  <a:cubicBezTo>
                    <a:pt x="199" y="38"/>
                    <a:pt x="189" y="27"/>
                    <a:pt x="189" y="14"/>
                  </a:cubicBezTo>
                  <a:cubicBezTo>
                    <a:pt x="189" y="0"/>
                    <a:pt x="189" y="0"/>
                    <a:pt x="189" y="0"/>
                  </a:cubicBezTo>
                  <a:cubicBezTo>
                    <a:pt x="66" y="0"/>
                    <a:pt x="66" y="0"/>
                    <a:pt x="66" y="0"/>
                  </a:cubicBezTo>
                  <a:cubicBezTo>
                    <a:pt x="66" y="14"/>
                    <a:pt x="66" y="14"/>
                    <a:pt x="66" y="14"/>
                  </a:cubicBezTo>
                  <a:cubicBezTo>
                    <a:pt x="66" y="27"/>
                    <a:pt x="56" y="38"/>
                    <a:pt x="43" y="38"/>
                  </a:cubicBezTo>
                  <a:cubicBezTo>
                    <a:pt x="30" y="38"/>
                    <a:pt x="19" y="27"/>
                    <a:pt x="19" y="14"/>
                  </a:cubicBezTo>
                  <a:cubicBezTo>
                    <a:pt x="19" y="0"/>
                    <a:pt x="19" y="0"/>
                    <a:pt x="19" y="0"/>
                  </a:cubicBezTo>
                  <a:cubicBezTo>
                    <a:pt x="13" y="0"/>
                    <a:pt x="13" y="0"/>
                    <a:pt x="13" y="0"/>
                  </a:cubicBezTo>
                  <a:cubicBezTo>
                    <a:pt x="6" y="0"/>
                    <a:pt x="0" y="6"/>
                    <a:pt x="0" y="13"/>
                  </a:cubicBezTo>
                  <a:cubicBezTo>
                    <a:pt x="0" y="45"/>
                    <a:pt x="0" y="45"/>
                    <a:pt x="0" y="45"/>
                  </a:cubicBezTo>
                  <a:cubicBezTo>
                    <a:pt x="258" y="45"/>
                    <a:pt x="258" y="45"/>
                    <a:pt x="258" y="45"/>
                  </a:cubicBezTo>
                  <a:cubicBezTo>
                    <a:pt x="258" y="13"/>
                    <a:pt x="258" y="13"/>
                    <a:pt x="258" y="13"/>
                  </a:cubicBezTo>
                  <a:cubicBezTo>
                    <a:pt x="258" y="6"/>
                    <a:pt x="252" y="0"/>
                    <a:pt x="24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7" name="Freeform 37"/>
            <p:cNvSpPr>
              <a:spLocks noEditPoints="1"/>
            </p:cNvSpPr>
            <p:nvPr/>
          </p:nvSpPr>
          <p:spPr bwMode="auto">
            <a:xfrm>
              <a:off x="3441701" y="1058863"/>
              <a:ext cx="733425" cy="550863"/>
            </a:xfrm>
            <a:custGeom>
              <a:avLst/>
              <a:gdLst>
                <a:gd name="T0" fmla="*/ 0 w 258"/>
                <a:gd name="T1" fmla="*/ 181 h 194"/>
                <a:gd name="T2" fmla="*/ 13 w 258"/>
                <a:gd name="T3" fmla="*/ 194 h 194"/>
                <a:gd name="T4" fmla="*/ 245 w 258"/>
                <a:gd name="T5" fmla="*/ 194 h 194"/>
                <a:gd name="T6" fmla="*/ 258 w 258"/>
                <a:gd name="T7" fmla="*/ 181 h 194"/>
                <a:gd name="T8" fmla="*/ 258 w 258"/>
                <a:gd name="T9" fmla="*/ 0 h 194"/>
                <a:gd name="T10" fmla="*/ 0 w 258"/>
                <a:gd name="T11" fmla="*/ 0 h 194"/>
                <a:gd name="T12" fmla="*/ 0 w 258"/>
                <a:gd name="T13" fmla="*/ 181 h 194"/>
                <a:gd name="T14" fmla="*/ 18 w 258"/>
                <a:gd name="T15" fmla="*/ 30 h 194"/>
                <a:gd name="T16" fmla="*/ 29 w 258"/>
                <a:gd name="T17" fmla="*/ 19 h 194"/>
                <a:gd name="T18" fmla="*/ 229 w 258"/>
                <a:gd name="T19" fmla="*/ 19 h 194"/>
                <a:gd name="T20" fmla="*/ 240 w 258"/>
                <a:gd name="T21" fmla="*/ 30 h 194"/>
                <a:gd name="T22" fmla="*/ 240 w 258"/>
                <a:gd name="T23" fmla="*/ 162 h 194"/>
                <a:gd name="T24" fmla="*/ 229 w 258"/>
                <a:gd name="T25" fmla="*/ 172 h 194"/>
                <a:gd name="T26" fmla="*/ 29 w 258"/>
                <a:gd name="T27" fmla="*/ 172 h 194"/>
                <a:gd name="T28" fmla="*/ 18 w 258"/>
                <a:gd name="T29" fmla="*/ 162 h 194"/>
                <a:gd name="T30" fmla="*/ 18 w 258"/>
                <a:gd name="T31" fmla="*/ 30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58" h="194">
                  <a:moveTo>
                    <a:pt x="0" y="181"/>
                  </a:moveTo>
                  <a:cubicBezTo>
                    <a:pt x="0" y="189"/>
                    <a:pt x="6" y="194"/>
                    <a:pt x="13" y="194"/>
                  </a:cubicBezTo>
                  <a:cubicBezTo>
                    <a:pt x="245" y="194"/>
                    <a:pt x="245" y="194"/>
                    <a:pt x="245" y="194"/>
                  </a:cubicBezTo>
                  <a:cubicBezTo>
                    <a:pt x="252" y="194"/>
                    <a:pt x="258" y="189"/>
                    <a:pt x="258" y="181"/>
                  </a:cubicBezTo>
                  <a:cubicBezTo>
                    <a:pt x="258" y="0"/>
                    <a:pt x="258" y="0"/>
                    <a:pt x="258" y="0"/>
                  </a:cubicBezTo>
                  <a:cubicBezTo>
                    <a:pt x="0" y="0"/>
                    <a:pt x="0" y="0"/>
                    <a:pt x="0" y="0"/>
                  </a:cubicBezTo>
                  <a:lnTo>
                    <a:pt x="0" y="181"/>
                  </a:lnTo>
                  <a:close/>
                  <a:moveTo>
                    <a:pt x="18" y="30"/>
                  </a:moveTo>
                  <a:cubicBezTo>
                    <a:pt x="18" y="24"/>
                    <a:pt x="23" y="19"/>
                    <a:pt x="29" y="19"/>
                  </a:cubicBezTo>
                  <a:cubicBezTo>
                    <a:pt x="229" y="19"/>
                    <a:pt x="229" y="19"/>
                    <a:pt x="229" y="19"/>
                  </a:cubicBezTo>
                  <a:cubicBezTo>
                    <a:pt x="235" y="19"/>
                    <a:pt x="240" y="24"/>
                    <a:pt x="240" y="30"/>
                  </a:cubicBezTo>
                  <a:cubicBezTo>
                    <a:pt x="240" y="162"/>
                    <a:pt x="240" y="162"/>
                    <a:pt x="240" y="162"/>
                  </a:cubicBezTo>
                  <a:cubicBezTo>
                    <a:pt x="240" y="167"/>
                    <a:pt x="235" y="172"/>
                    <a:pt x="229" y="172"/>
                  </a:cubicBezTo>
                  <a:cubicBezTo>
                    <a:pt x="29" y="172"/>
                    <a:pt x="29" y="172"/>
                    <a:pt x="29" y="172"/>
                  </a:cubicBezTo>
                  <a:cubicBezTo>
                    <a:pt x="23" y="172"/>
                    <a:pt x="18" y="167"/>
                    <a:pt x="18" y="162"/>
                  </a:cubicBezTo>
                  <a:lnTo>
                    <a:pt x="18" y="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8" name="Freeform 38"/>
            <p:cNvSpPr>
              <a:spLocks/>
            </p:cNvSpPr>
            <p:nvPr/>
          </p:nvSpPr>
          <p:spPr bwMode="auto">
            <a:xfrm>
              <a:off x="3589338" y="1171575"/>
              <a:ext cx="134938" cy="311150"/>
            </a:xfrm>
            <a:custGeom>
              <a:avLst/>
              <a:gdLst>
                <a:gd name="T0" fmla="*/ 27 w 47"/>
                <a:gd name="T1" fmla="*/ 109 h 109"/>
                <a:gd name="T2" fmla="*/ 47 w 47"/>
                <a:gd name="T3" fmla="*/ 109 h 109"/>
                <a:gd name="T4" fmla="*/ 47 w 47"/>
                <a:gd name="T5" fmla="*/ 0 h 109"/>
                <a:gd name="T6" fmla="*/ 30 w 47"/>
                <a:gd name="T7" fmla="*/ 0 h 109"/>
                <a:gd name="T8" fmla="*/ 17 w 47"/>
                <a:gd name="T9" fmla="*/ 17 h 109"/>
                <a:gd name="T10" fmla="*/ 0 w 47"/>
                <a:gd name="T11" fmla="*/ 27 h 109"/>
                <a:gd name="T12" fmla="*/ 0 w 47"/>
                <a:gd name="T13" fmla="*/ 46 h 109"/>
                <a:gd name="T14" fmla="*/ 27 w 47"/>
                <a:gd name="T15" fmla="*/ 30 h 109"/>
                <a:gd name="T16" fmla="*/ 27 w 47"/>
                <a:gd name="T17" fmla="*/ 109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7" h="109">
                  <a:moveTo>
                    <a:pt x="27" y="109"/>
                  </a:moveTo>
                  <a:cubicBezTo>
                    <a:pt x="47" y="109"/>
                    <a:pt x="47" y="109"/>
                    <a:pt x="47" y="109"/>
                  </a:cubicBezTo>
                  <a:cubicBezTo>
                    <a:pt x="47" y="0"/>
                    <a:pt x="47" y="0"/>
                    <a:pt x="47" y="0"/>
                  </a:cubicBezTo>
                  <a:cubicBezTo>
                    <a:pt x="30" y="0"/>
                    <a:pt x="30" y="0"/>
                    <a:pt x="30" y="0"/>
                  </a:cubicBezTo>
                  <a:cubicBezTo>
                    <a:pt x="28" y="6"/>
                    <a:pt x="24" y="12"/>
                    <a:pt x="17" y="17"/>
                  </a:cubicBezTo>
                  <a:cubicBezTo>
                    <a:pt x="11" y="22"/>
                    <a:pt x="5" y="26"/>
                    <a:pt x="0" y="27"/>
                  </a:cubicBezTo>
                  <a:cubicBezTo>
                    <a:pt x="0" y="46"/>
                    <a:pt x="0" y="46"/>
                    <a:pt x="0" y="46"/>
                  </a:cubicBezTo>
                  <a:cubicBezTo>
                    <a:pt x="10" y="43"/>
                    <a:pt x="19" y="38"/>
                    <a:pt x="27" y="30"/>
                  </a:cubicBezTo>
                  <a:lnTo>
                    <a:pt x="27" y="10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9" name="Freeform 39"/>
            <p:cNvSpPr>
              <a:spLocks noEditPoints="1"/>
            </p:cNvSpPr>
            <p:nvPr/>
          </p:nvSpPr>
          <p:spPr bwMode="auto">
            <a:xfrm>
              <a:off x="3786188" y="1171575"/>
              <a:ext cx="201613" cy="315913"/>
            </a:xfrm>
            <a:custGeom>
              <a:avLst/>
              <a:gdLst>
                <a:gd name="T0" fmla="*/ 36 w 71"/>
                <a:gd name="T1" fmla="*/ 111 h 111"/>
                <a:gd name="T2" fmla="*/ 60 w 71"/>
                <a:gd name="T3" fmla="*/ 100 h 111"/>
                <a:gd name="T4" fmla="*/ 71 w 71"/>
                <a:gd name="T5" fmla="*/ 55 h 111"/>
                <a:gd name="T6" fmla="*/ 61 w 71"/>
                <a:gd name="T7" fmla="*/ 11 h 111"/>
                <a:gd name="T8" fmla="*/ 36 w 71"/>
                <a:gd name="T9" fmla="*/ 0 h 111"/>
                <a:gd name="T10" fmla="*/ 11 w 71"/>
                <a:gd name="T11" fmla="*/ 11 h 111"/>
                <a:gd name="T12" fmla="*/ 0 w 71"/>
                <a:gd name="T13" fmla="*/ 55 h 111"/>
                <a:gd name="T14" fmla="*/ 10 w 71"/>
                <a:gd name="T15" fmla="*/ 99 h 111"/>
                <a:gd name="T16" fmla="*/ 36 w 71"/>
                <a:gd name="T17" fmla="*/ 111 h 111"/>
                <a:gd name="T18" fmla="*/ 24 w 71"/>
                <a:gd name="T19" fmla="*/ 28 h 111"/>
                <a:gd name="T20" fmla="*/ 29 w 71"/>
                <a:gd name="T21" fmla="*/ 20 h 111"/>
                <a:gd name="T22" fmla="*/ 36 w 71"/>
                <a:gd name="T23" fmla="*/ 17 h 111"/>
                <a:gd name="T24" fmla="*/ 42 w 71"/>
                <a:gd name="T25" fmla="*/ 20 h 111"/>
                <a:gd name="T26" fmla="*/ 47 w 71"/>
                <a:gd name="T27" fmla="*/ 29 h 111"/>
                <a:gd name="T28" fmla="*/ 49 w 71"/>
                <a:gd name="T29" fmla="*/ 55 h 111"/>
                <a:gd name="T30" fmla="*/ 47 w 71"/>
                <a:gd name="T31" fmla="*/ 83 h 111"/>
                <a:gd name="T32" fmla="*/ 43 w 71"/>
                <a:gd name="T33" fmla="*/ 91 h 111"/>
                <a:gd name="T34" fmla="*/ 36 w 71"/>
                <a:gd name="T35" fmla="*/ 94 h 111"/>
                <a:gd name="T36" fmla="*/ 29 w 71"/>
                <a:gd name="T37" fmla="*/ 91 h 111"/>
                <a:gd name="T38" fmla="*/ 24 w 71"/>
                <a:gd name="T39" fmla="*/ 82 h 111"/>
                <a:gd name="T40" fmla="*/ 22 w 71"/>
                <a:gd name="T41" fmla="*/ 55 h 111"/>
                <a:gd name="T42" fmla="*/ 24 w 71"/>
                <a:gd name="T43" fmla="*/ 28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71" h="111">
                  <a:moveTo>
                    <a:pt x="36" y="111"/>
                  </a:moveTo>
                  <a:cubicBezTo>
                    <a:pt x="46" y="111"/>
                    <a:pt x="55" y="107"/>
                    <a:pt x="60" y="100"/>
                  </a:cubicBezTo>
                  <a:cubicBezTo>
                    <a:pt x="68" y="91"/>
                    <a:pt x="71" y="76"/>
                    <a:pt x="71" y="55"/>
                  </a:cubicBezTo>
                  <a:cubicBezTo>
                    <a:pt x="71" y="35"/>
                    <a:pt x="68" y="20"/>
                    <a:pt x="61" y="11"/>
                  </a:cubicBezTo>
                  <a:cubicBezTo>
                    <a:pt x="55" y="4"/>
                    <a:pt x="46" y="0"/>
                    <a:pt x="36" y="0"/>
                  </a:cubicBezTo>
                  <a:cubicBezTo>
                    <a:pt x="25" y="0"/>
                    <a:pt x="17" y="4"/>
                    <a:pt x="11" y="11"/>
                  </a:cubicBezTo>
                  <a:cubicBezTo>
                    <a:pt x="4" y="20"/>
                    <a:pt x="0" y="35"/>
                    <a:pt x="0" y="55"/>
                  </a:cubicBezTo>
                  <a:cubicBezTo>
                    <a:pt x="0" y="76"/>
                    <a:pt x="4" y="91"/>
                    <a:pt x="10" y="99"/>
                  </a:cubicBezTo>
                  <a:cubicBezTo>
                    <a:pt x="17" y="107"/>
                    <a:pt x="25" y="111"/>
                    <a:pt x="36" y="111"/>
                  </a:cubicBezTo>
                  <a:close/>
                  <a:moveTo>
                    <a:pt x="24" y="28"/>
                  </a:moveTo>
                  <a:cubicBezTo>
                    <a:pt x="25" y="24"/>
                    <a:pt x="27" y="21"/>
                    <a:pt x="29" y="20"/>
                  </a:cubicBezTo>
                  <a:cubicBezTo>
                    <a:pt x="31" y="18"/>
                    <a:pt x="33" y="17"/>
                    <a:pt x="36" y="17"/>
                  </a:cubicBezTo>
                  <a:cubicBezTo>
                    <a:pt x="38" y="17"/>
                    <a:pt x="41" y="18"/>
                    <a:pt x="42" y="20"/>
                  </a:cubicBezTo>
                  <a:cubicBezTo>
                    <a:pt x="44" y="21"/>
                    <a:pt x="46" y="24"/>
                    <a:pt x="47" y="29"/>
                  </a:cubicBezTo>
                  <a:cubicBezTo>
                    <a:pt x="49" y="34"/>
                    <a:pt x="49" y="43"/>
                    <a:pt x="49" y="55"/>
                  </a:cubicBezTo>
                  <a:cubicBezTo>
                    <a:pt x="49" y="68"/>
                    <a:pt x="49" y="77"/>
                    <a:pt x="47" y="83"/>
                  </a:cubicBezTo>
                  <a:cubicBezTo>
                    <a:pt x="46" y="87"/>
                    <a:pt x="45" y="90"/>
                    <a:pt x="43" y="91"/>
                  </a:cubicBezTo>
                  <a:cubicBezTo>
                    <a:pt x="41" y="93"/>
                    <a:pt x="38" y="94"/>
                    <a:pt x="36" y="94"/>
                  </a:cubicBezTo>
                  <a:cubicBezTo>
                    <a:pt x="33" y="94"/>
                    <a:pt x="31" y="93"/>
                    <a:pt x="29" y="91"/>
                  </a:cubicBezTo>
                  <a:cubicBezTo>
                    <a:pt x="27" y="90"/>
                    <a:pt x="25" y="87"/>
                    <a:pt x="24" y="82"/>
                  </a:cubicBezTo>
                  <a:cubicBezTo>
                    <a:pt x="23" y="77"/>
                    <a:pt x="22" y="68"/>
                    <a:pt x="22" y="55"/>
                  </a:cubicBezTo>
                  <a:cubicBezTo>
                    <a:pt x="22" y="43"/>
                    <a:pt x="23" y="34"/>
                    <a:pt x="24"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grpSp>
        <p:nvGrpSpPr>
          <p:cNvPr id="100" name="Group 99"/>
          <p:cNvGrpSpPr/>
          <p:nvPr/>
        </p:nvGrpSpPr>
        <p:grpSpPr>
          <a:xfrm>
            <a:off x="2372754" y="5923389"/>
            <a:ext cx="314116" cy="346633"/>
            <a:chOff x="3111501" y="1982788"/>
            <a:chExt cx="812800" cy="896938"/>
          </a:xfrm>
          <a:solidFill>
            <a:schemeClr val="accent3"/>
          </a:solidFill>
        </p:grpSpPr>
        <p:sp>
          <p:nvSpPr>
            <p:cNvPr id="101" name="Freeform 72"/>
            <p:cNvSpPr>
              <a:spLocks/>
            </p:cNvSpPr>
            <p:nvPr/>
          </p:nvSpPr>
          <p:spPr bwMode="auto">
            <a:xfrm>
              <a:off x="3168651" y="2547938"/>
              <a:ext cx="112713" cy="119063"/>
            </a:xfrm>
            <a:custGeom>
              <a:avLst/>
              <a:gdLst>
                <a:gd name="T0" fmla="*/ 1281 w 2563"/>
                <a:gd name="T1" fmla="*/ 2664 h 2664"/>
                <a:gd name="T2" fmla="*/ 0 w 2563"/>
                <a:gd name="T3" fmla="*/ 1333 h 2664"/>
                <a:gd name="T4" fmla="*/ 1281 w 2563"/>
                <a:gd name="T5" fmla="*/ 0 h 2664"/>
                <a:gd name="T6" fmla="*/ 2563 w 2563"/>
                <a:gd name="T7" fmla="*/ 1333 h 2664"/>
                <a:gd name="T8" fmla="*/ 1281 w 2563"/>
                <a:gd name="T9" fmla="*/ 2664 h 2664"/>
              </a:gdLst>
              <a:ahLst/>
              <a:cxnLst>
                <a:cxn ang="0">
                  <a:pos x="T0" y="T1"/>
                </a:cxn>
                <a:cxn ang="0">
                  <a:pos x="T2" y="T3"/>
                </a:cxn>
                <a:cxn ang="0">
                  <a:pos x="T4" y="T5"/>
                </a:cxn>
                <a:cxn ang="0">
                  <a:pos x="T6" y="T7"/>
                </a:cxn>
                <a:cxn ang="0">
                  <a:pos x="T8" y="T9"/>
                </a:cxn>
              </a:cxnLst>
              <a:rect l="0" t="0" r="r" b="b"/>
              <a:pathLst>
                <a:path w="2563" h="2664">
                  <a:moveTo>
                    <a:pt x="1281" y="2664"/>
                  </a:moveTo>
                  <a:cubicBezTo>
                    <a:pt x="573" y="2664"/>
                    <a:pt x="0" y="2068"/>
                    <a:pt x="0" y="1333"/>
                  </a:cubicBezTo>
                  <a:cubicBezTo>
                    <a:pt x="0" y="596"/>
                    <a:pt x="573" y="0"/>
                    <a:pt x="1281" y="0"/>
                  </a:cubicBezTo>
                  <a:cubicBezTo>
                    <a:pt x="1990" y="0"/>
                    <a:pt x="2563" y="596"/>
                    <a:pt x="2563" y="1333"/>
                  </a:cubicBezTo>
                  <a:cubicBezTo>
                    <a:pt x="2563" y="2068"/>
                    <a:pt x="1990" y="2664"/>
                    <a:pt x="1281" y="2664"/>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000">
                <a:solidFill>
                  <a:srgbClr val="000000"/>
                </a:solidFill>
              </a:endParaRPr>
            </a:p>
          </p:txBody>
        </p:sp>
        <p:sp>
          <p:nvSpPr>
            <p:cNvPr id="102" name="Freeform 73"/>
            <p:cNvSpPr>
              <a:spLocks/>
            </p:cNvSpPr>
            <p:nvPr/>
          </p:nvSpPr>
          <p:spPr bwMode="auto">
            <a:xfrm>
              <a:off x="3111501" y="2689226"/>
              <a:ext cx="227013" cy="190500"/>
            </a:xfrm>
            <a:custGeom>
              <a:avLst/>
              <a:gdLst>
                <a:gd name="T0" fmla="*/ 0 w 5137"/>
                <a:gd name="T1" fmla="*/ 4317 h 4317"/>
                <a:gd name="T2" fmla="*/ 0 w 5137"/>
                <a:gd name="T3" fmla="*/ 1706 h 4317"/>
                <a:gd name="T4" fmla="*/ 1651 w 5137"/>
                <a:gd name="T5" fmla="*/ 0 h 4317"/>
                <a:gd name="T6" fmla="*/ 3421 w 5137"/>
                <a:gd name="T7" fmla="*/ 0 h 4317"/>
                <a:gd name="T8" fmla="*/ 5137 w 5137"/>
                <a:gd name="T9" fmla="*/ 1706 h 4317"/>
                <a:gd name="T10" fmla="*/ 5137 w 5137"/>
                <a:gd name="T11" fmla="*/ 4317 h 4317"/>
                <a:gd name="T12" fmla="*/ 0 w 5137"/>
                <a:gd name="T13" fmla="*/ 4317 h 4317"/>
              </a:gdLst>
              <a:ahLst/>
              <a:cxnLst>
                <a:cxn ang="0">
                  <a:pos x="T0" y="T1"/>
                </a:cxn>
                <a:cxn ang="0">
                  <a:pos x="T2" y="T3"/>
                </a:cxn>
                <a:cxn ang="0">
                  <a:pos x="T4" y="T5"/>
                </a:cxn>
                <a:cxn ang="0">
                  <a:pos x="T6" y="T7"/>
                </a:cxn>
                <a:cxn ang="0">
                  <a:pos x="T8" y="T9"/>
                </a:cxn>
                <a:cxn ang="0">
                  <a:pos x="T10" y="T11"/>
                </a:cxn>
                <a:cxn ang="0">
                  <a:pos x="T12" y="T13"/>
                </a:cxn>
              </a:cxnLst>
              <a:rect l="0" t="0" r="r" b="b"/>
              <a:pathLst>
                <a:path w="5137" h="4317">
                  <a:moveTo>
                    <a:pt x="0" y="4317"/>
                  </a:moveTo>
                  <a:lnTo>
                    <a:pt x="0" y="1706"/>
                  </a:lnTo>
                  <a:cubicBezTo>
                    <a:pt x="0" y="765"/>
                    <a:pt x="744" y="0"/>
                    <a:pt x="1651" y="0"/>
                  </a:cubicBezTo>
                  <a:lnTo>
                    <a:pt x="3421" y="0"/>
                  </a:lnTo>
                  <a:cubicBezTo>
                    <a:pt x="4328" y="0"/>
                    <a:pt x="5137" y="765"/>
                    <a:pt x="5137" y="1706"/>
                  </a:cubicBezTo>
                  <a:lnTo>
                    <a:pt x="5137" y="4317"/>
                  </a:lnTo>
                  <a:lnTo>
                    <a:pt x="0" y="4317"/>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000">
                <a:solidFill>
                  <a:srgbClr val="000000"/>
                </a:solidFill>
              </a:endParaRPr>
            </a:p>
          </p:txBody>
        </p:sp>
        <p:sp>
          <p:nvSpPr>
            <p:cNvPr id="103" name="Freeform 74"/>
            <p:cNvSpPr>
              <a:spLocks/>
            </p:cNvSpPr>
            <p:nvPr/>
          </p:nvSpPr>
          <p:spPr bwMode="auto">
            <a:xfrm>
              <a:off x="3754438" y="2543176"/>
              <a:ext cx="112713" cy="117475"/>
            </a:xfrm>
            <a:custGeom>
              <a:avLst/>
              <a:gdLst>
                <a:gd name="T0" fmla="*/ 1282 w 2564"/>
                <a:gd name="T1" fmla="*/ 2665 h 2665"/>
                <a:gd name="T2" fmla="*/ 2564 w 2564"/>
                <a:gd name="T3" fmla="*/ 1333 h 2665"/>
                <a:gd name="T4" fmla="*/ 1282 w 2564"/>
                <a:gd name="T5" fmla="*/ 0 h 2665"/>
                <a:gd name="T6" fmla="*/ 0 w 2564"/>
                <a:gd name="T7" fmla="*/ 1333 h 2665"/>
                <a:gd name="T8" fmla="*/ 1282 w 2564"/>
                <a:gd name="T9" fmla="*/ 2665 h 2665"/>
              </a:gdLst>
              <a:ahLst/>
              <a:cxnLst>
                <a:cxn ang="0">
                  <a:pos x="T0" y="T1"/>
                </a:cxn>
                <a:cxn ang="0">
                  <a:pos x="T2" y="T3"/>
                </a:cxn>
                <a:cxn ang="0">
                  <a:pos x="T4" y="T5"/>
                </a:cxn>
                <a:cxn ang="0">
                  <a:pos x="T6" y="T7"/>
                </a:cxn>
                <a:cxn ang="0">
                  <a:pos x="T8" y="T9"/>
                </a:cxn>
              </a:cxnLst>
              <a:rect l="0" t="0" r="r" b="b"/>
              <a:pathLst>
                <a:path w="2564" h="2665">
                  <a:moveTo>
                    <a:pt x="1282" y="2665"/>
                  </a:moveTo>
                  <a:cubicBezTo>
                    <a:pt x="1990" y="2665"/>
                    <a:pt x="2564" y="2067"/>
                    <a:pt x="2564" y="1333"/>
                  </a:cubicBezTo>
                  <a:cubicBezTo>
                    <a:pt x="2564" y="596"/>
                    <a:pt x="1990" y="0"/>
                    <a:pt x="1282" y="0"/>
                  </a:cubicBezTo>
                  <a:cubicBezTo>
                    <a:pt x="573" y="0"/>
                    <a:pt x="0" y="596"/>
                    <a:pt x="0" y="1333"/>
                  </a:cubicBezTo>
                  <a:cubicBezTo>
                    <a:pt x="0" y="2067"/>
                    <a:pt x="573" y="2665"/>
                    <a:pt x="1282" y="2665"/>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000">
                <a:solidFill>
                  <a:srgbClr val="000000"/>
                </a:solidFill>
              </a:endParaRPr>
            </a:p>
          </p:txBody>
        </p:sp>
        <p:sp>
          <p:nvSpPr>
            <p:cNvPr id="104" name="Freeform 75"/>
            <p:cNvSpPr>
              <a:spLocks/>
            </p:cNvSpPr>
            <p:nvPr/>
          </p:nvSpPr>
          <p:spPr bwMode="auto">
            <a:xfrm>
              <a:off x="3698876" y="2689226"/>
              <a:ext cx="225425" cy="190500"/>
            </a:xfrm>
            <a:custGeom>
              <a:avLst/>
              <a:gdLst>
                <a:gd name="T0" fmla="*/ 5137 w 5137"/>
                <a:gd name="T1" fmla="*/ 4317 h 4317"/>
                <a:gd name="T2" fmla="*/ 5137 w 5137"/>
                <a:gd name="T3" fmla="*/ 1706 h 4317"/>
                <a:gd name="T4" fmla="*/ 3485 w 5137"/>
                <a:gd name="T5" fmla="*/ 0 h 4317"/>
                <a:gd name="T6" fmla="*/ 1717 w 5137"/>
                <a:gd name="T7" fmla="*/ 0 h 4317"/>
                <a:gd name="T8" fmla="*/ 0 w 5137"/>
                <a:gd name="T9" fmla="*/ 1706 h 4317"/>
                <a:gd name="T10" fmla="*/ 0 w 5137"/>
                <a:gd name="T11" fmla="*/ 4317 h 4317"/>
                <a:gd name="T12" fmla="*/ 5137 w 5137"/>
                <a:gd name="T13" fmla="*/ 4317 h 4317"/>
              </a:gdLst>
              <a:ahLst/>
              <a:cxnLst>
                <a:cxn ang="0">
                  <a:pos x="T0" y="T1"/>
                </a:cxn>
                <a:cxn ang="0">
                  <a:pos x="T2" y="T3"/>
                </a:cxn>
                <a:cxn ang="0">
                  <a:pos x="T4" y="T5"/>
                </a:cxn>
                <a:cxn ang="0">
                  <a:pos x="T6" y="T7"/>
                </a:cxn>
                <a:cxn ang="0">
                  <a:pos x="T8" y="T9"/>
                </a:cxn>
                <a:cxn ang="0">
                  <a:pos x="T10" y="T11"/>
                </a:cxn>
                <a:cxn ang="0">
                  <a:pos x="T12" y="T13"/>
                </a:cxn>
              </a:cxnLst>
              <a:rect l="0" t="0" r="r" b="b"/>
              <a:pathLst>
                <a:path w="5137" h="4317">
                  <a:moveTo>
                    <a:pt x="5137" y="4317"/>
                  </a:moveTo>
                  <a:lnTo>
                    <a:pt x="5137" y="1706"/>
                  </a:lnTo>
                  <a:cubicBezTo>
                    <a:pt x="5137" y="765"/>
                    <a:pt x="4393" y="0"/>
                    <a:pt x="3485" y="0"/>
                  </a:cubicBezTo>
                  <a:lnTo>
                    <a:pt x="1717" y="0"/>
                  </a:lnTo>
                  <a:cubicBezTo>
                    <a:pt x="809" y="0"/>
                    <a:pt x="0" y="765"/>
                    <a:pt x="0" y="1706"/>
                  </a:cubicBezTo>
                  <a:lnTo>
                    <a:pt x="0" y="4317"/>
                  </a:lnTo>
                  <a:lnTo>
                    <a:pt x="5137" y="4317"/>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000">
                <a:solidFill>
                  <a:srgbClr val="000000"/>
                </a:solidFill>
              </a:endParaRPr>
            </a:p>
          </p:txBody>
        </p:sp>
        <p:sp>
          <p:nvSpPr>
            <p:cNvPr id="105" name="Freeform 76"/>
            <p:cNvSpPr>
              <a:spLocks/>
            </p:cNvSpPr>
            <p:nvPr/>
          </p:nvSpPr>
          <p:spPr bwMode="auto">
            <a:xfrm>
              <a:off x="3460751" y="2547938"/>
              <a:ext cx="114300" cy="117475"/>
            </a:xfrm>
            <a:custGeom>
              <a:avLst/>
              <a:gdLst>
                <a:gd name="T0" fmla="*/ 1297 w 2594"/>
                <a:gd name="T1" fmla="*/ 0 h 2673"/>
                <a:gd name="T2" fmla="*/ 2594 w 2594"/>
                <a:gd name="T3" fmla="*/ 1337 h 2673"/>
                <a:gd name="T4" fmla="*/ 1297 w 2594"/>
                <a:gd name="T5" fmla="*/ 2673 h 2673"/>
                <a:gd name="T6" fmla="*/ 0 w 2594"/>
                <a:gd name="T7" fmla="*/ 1337 h 2673"/>
                <a:gd name="T8" fmla="*/ 1297 w 2594"/>
                <a:gd name="T9" fmla="*/ 0 h 2673"/>
              </a:gdLst>
              <a:ahLst/>
              <a:cxnLst>
                <a:cxn ang="0">
                  <a:pos x="T0" y="T1"/>
                </a:cxn>
                <a:cxn ang="0">
                  <a:pos x="T2" y="T3"/>
                </a:cxn>
                <a:cxn ang="0">
                  <a:pos x="T4" y="T5"/>
                </a:cxn>
                <a:cxn ang="0">
                  <a:pos x="T6" y="T7"/>
                </a:cxn>
                <a:cxn ang="0">
                  <a:pos x="T8" y="T9"/>
                </a:cxn>
              </a:cxnLst>
              <a:rect l="0" t="0" r="r" b="b"/>
              <a:pathLst>
                <a:path w="2594" h="2673">
                  <a:moveTo>
                    <a:pt x="1297" y="0"/>
                  </a:moveTo>
                  <a:cubicBezTo>
                    <a:pt x="2013" y="0"/>
                    <a:pt x="2594" y="598"/>
                    <a:pt x="2594" y="1337"/>
                  </a:cubicBezTo>
                  <a:cubicBezTo>
                    <a:pt x="2594" y="2074"/>
                    <a:pt x="2013" y="2673"/>
                    <a:pt x="1297" y="2673"/>
                  </a:cubicBezTo>
                  <a:cubicBezTo>
                    <a:pt x="580" y="2673"/>
                    <a:pt x="0" y="2074"/>
                    <a:pt x="0" y="1337"/>
                  </a:cubicBezTo>
                  <a:cubicBezTo>
                    <a:pt x="0" y="598"/>
                    <a:pt x="580" y="0"/>
                    <a:pt x="1297" y="0"/>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000">
                <a:solidFill>
                  <a:srgbClr val="000000"/>
                </a:solidFill>
              </a:endParaRPr>
            </a:p>
          </p:txBody>
        </p:sp>
        <p:sp>
          <p:nvSpPr>
            <p:cNvPr id="106" name="Freeform 77"/>
            <p:cNvSpPr>
              <a:spLocks/>
            </p:cNvSpPr>
            <p:nvPr/>
          </p:nvSpPr>
          <p:spPr bwMode="auto">
            <a:xfrm>
              <a:off x="3379788" y="2687638"/>
              <a:ext cx="276225" cy="192088"/>
            </a:xfrm>
            <a:custGeom>
              <a:avLst/>
              <a:gdLst>
                <a:gd name="T0" fmla="*/ 0 w 6249"/>
                <a:gd name="T1" fmla="*/ 4365 h 4365"/>
                <a:gd name="T2" fmla="*/ 1021 w 6249"/>
                <a:gd name="T3" fmla="*/ 1476 h 4365"/>
                <a:gd name="T4" fmla="*/ 2619 w 6249"/>
                <a:gd name="T5" fmla="*/ 45 h 4365"/>
                <a:gd name="T6" fmla="*/ 3125 w 6249"/>
                <a:gd name="T7" fmla="*/ 45 h 4365"/>
                <a:gd name="T8" fmla="*/ 3630 w 6249"/>
                <a:gd name="T9" fmla="*/ 45 h 4365"/>
                <a:gd name="T10" fmla="*/ 5229 w 6249"/>
                <a:gd name="T11" fmla="*/ 1476 h 4365"/>
                <a:gd name="T12" fmla="*/ 6249 w 6249"/>
                <a:gd name="T13" fmla="*/ 4365 h 4365"/>
                <a:gd name="T14" fmla="*/ 0 w 6249"/>
                <a:gd name="T15" fmla="*/ 4365 h 436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249" h="4365">
                  <a:moveTo>
                    <a:pt x="0" y="4365"/>
                  </a:moveTo>
                  <a:lnTo>
                    <a:pt x="1021" y="1476"/>
                  </a:lnTo>
                  <a:cubicBezTo>
                    <a:pt x="1429" y="0"/>
                    <a:pt x="2619" y="45"/>
                    <a:pt x="2619" y="45"/>
                  </a:cubicBezTo>
                  <a:lnTo>
                    <a:pt x="3125" y="45"/>
                  </a:lnTo>
                  <a:lnTo>
                    <a:pt x="3630" y="45"/>
                  </a:lnTo>
                  <a:cubicBezTo>
                    <a:pt x="3630" y="45"/>
                    <a:pt x="4819" y="0"/>
                    <a:pt x="5229" y="1476"/>
                  </a:cubicBezTo>
                  <a:lnTo>
                    <a:pt x="6249" y="4365"/>
                  </a:lnTo>
                  <a:lnTo>
                    <a:pt x="0" y="4365"/>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000">
                <a:solidFill>
                  <a:srgbClr val="000000"/>
                </a:solidFill>
              </a:endParaRPr>
            </a:p>
          </p:txBody>
        </p:sp>
        <p:sp>
          <p:nvSpPr>
            <p:cNvPr id="107" name="Freeform 78"/>
            <p:cNvSpPr>
              <a:spLocks/>
            </p:cNvSpPr>
            <p:nvPr/>
          </p:nvSpPr>
          <p:spPr bwMode="auto">
            <a:xfrm>
              <a:off x="3136901" y="1982788"/>
              <a:ext cx="381000" cy="490538"/>
            </a:xfrm>
            <a:custGeom>
              <a:avLst/>
              <a:gdLst>
                <a:gd name="T0" fmla="*/ 503 w 8647"/>
                <a:gd name="T1" fmla="*/ 525 h 11102"/>
                <a:gd name="T2" fmla="*/ 8142 w 8647"/>
                <a:gd name="T3" fmla="*/ 525 h 11102"/>
                <a:gd name="T4" fmla="*/ 8142 w 8647"/>
                <a:gd name="T5" fmla="*/ 5689 h 11102"/>
                <a:gd name="T6" fmla="*/ 8647 w 8647"/>
                <a:gd name="T7" fmla="*/ 6213 h 11102"/>
                <a:gd name="T8" fmla="*/ 8647 w 8647"/>
                <a:gd name="T9" fmla="*/ 0 h 11102"/>
                <a:gd name="T10" fmla="*/ 0 w 8647"/>
                <a:gd name="T11" fmla="*/ 0 h 11102"/>
                <a:gd name="T12" fmla="*/ 0 w 8647"/>
                <a:gd name="T13" fmla="*/ 11102 h 11102"/>
                <a:gd name="T14" fmla="*/ 8647 w 8647"/>
                <a:gd name="T15" fmla="*/ 11102 h 11102"/>
                <a:gd name="T16" fmla="*/ 8647 w 8647"/>
                <a:gd name="T17" fmla="*/ 7941 h 11102"/>
                <a:gd name="T18" fmla="*/ 8142 w 8647"/>
                <a:gd name="T19" fmla="*/ 7417 h 11102"/>
                <a:gd name="T20" fmla="*/ 8142 w 8647"/>
                <a:gd name="T21" fmla="*/ 10576 h 11102"/>
                <a:gd name="T22" fmla="*/ 503 w 8647"/>
                <a:gd name="T23" fmla="*/ 10576 h 11102"/>
                <a:gd name="T24" fmla="*/ 503 w 8647"/>
                <a:gd name="T25" fmla="*/ 525 h 11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647" h="11102">
                  <a:moveTo>
                    <a:pt x="503" y="525"/>
                  </a:moveTo>
                  <a:lnTo>
                    <a:pt x="8142" y="525"/>
                  </a:lnTo>
                  <a:lnTo>
                    <a:pt x="8142" y="5689"/>
                  </a:lnTo>
                  <a:lnTo>
                    <a:pt x="8647" y="6213"/>
                  </a:lnTo>
                  <a:lnTo>
                    <a:pt x="8647" y="0"/>
                  </a:lnTo>
                  <a:lnTo>
                    <a:pt x="0" y="0"/>
                  </a:lnTo>
                  <a:lnTo>
                    <a:pt x="0" y="11102"/>
                  </a:lnTo>
                  <a:lnTo>
                    <a:pt x="8647" y="11102"/>
                  </a:lnTo>
                  <a:lnTo>
                    <a:pt x="8647" y="7941"/>
                  </a:lnTo>
                  <a:lnTo>
                    <a:pt x="8142" y="7417"/>
                  </a:lnTo>
                  <a:lnTo>
                    <a:pt x="8142" y="10576"/>
                  </a:lnTo>
                  <a:lnTo>
                    <a:pt x="503" y="10576"/>
                  </a:lnTo>
                  <a:lnTo>
                    <a:pt x="503" y="525"/>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000">
                <a:solidFill>
                  <a:srgbClr val="000000"/>
                </a:solidFill>
              </a:endParaRPr>
            </a:p>
          </p:txBody>
        </p:sp>
        <p:sp>
          <p:nvSpPr>
            <p:cNvPr id="108" name="Freeform 79"/>
            <p:cNvSpPr>
              <a:spLocks/>
            </p:cNvSpPr>
            <p:nvPr/>
          </p:nvSpPr>
          <p:spPr bwMode="auto">
            <a:xfrm>
              <a:off x="3754438" y="2098676"/>
              <a:ext cx="112713" cy="117475"/>
            </a:xfrm>
            <a:custGeom>
              <a:avLst/>
              <a:gdLst>
                <a:gd name="T0" fmla="*/ 1282 w 2564"/>
                <a:gd name="T1" fmla="*/ 2665 h 2665"/>
                <a:gd name="T2" fmla="*/ 2564 w 2564"/>
                <a:gd name="T3" fmla="*/ 1333 h 2665"/>
                <a:gd name="T4" fmla="*/ 1282 w 2564"/>
                <a:gd name="T5" fmla="*/ 0 h 2665"/>
                <a:gd name="T6" fmla="*/ 0 w 2564"/>
                <a:gd name="T7" fmla="*/ 1333 h 2665"/>
                <a:gd name="T8" fmla="*/ 1282 w 2564"/>
                <a:gd name="T9" fmla="*/ 2665 h 2665"/>
              </a:gdLst>
              <a:ahLst/>
              <a:cxnLst>
                <a:cxn ang="0">
                  <a:pos x="T0" y="T1"/>
                </a:cxn>
                <a:cxn ang="0">
                  <a:pos x="T2" y="T3"/>
                </a:cxn>
                <a:cxn ang="0">
                  <a:pos x="T4" y="T5"/>
                </a:cxn>
                <a:cxn ang="0">
                  <a:pos x="T6" y="T7"/>
                </a:cxn>
                <a:cxn ang="0">
                  <a:pos x="T8" y="T9"/>
                </a:cxn>
              </a:cxnLst>
              <a:rect l="0" t="0" r="r" b="b"/>
              <a:pathLst>
                <a:path w="2564" h="2665">
                  <a:moveTo>
                    <a:pt x="1282" y="2665"/>
                  </a:moveTo>
                  <a:cubicBezTo>
                    <a:pt x="1990" y="2665"/>
                    <a:pt x="2564" y="2067"/>
                    <a:pt x="2564" y="1333"/>
                  </a:cubicBezTo>
                  <a:cubicBezTo>
                    <a:pt x="2564" y="596"/>
                    <a:pt x="1990" y="0"/>
                    <a:pt x="1282" y="0"/>
                  </a:cubicBezTo>
                  <a:cubicBezTo>
                    <a:pt x="573" y="0"/>
                    <a:pt x="0" y="596"/>
                    <a:pt x="0" y="1333"/>
                  </a:cubicBezTo>
                  <a:cubicBezTo>
                    <a:pt x="0" y="2067"/>
                    <a:pt x="573" y="2665"/>
                    <a:pt x="1282" y="2665"/>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000">
                <a:solidFill>
                  <a:srgbClr val="000000"/>
                </a:solidFill>
              </a:endParaRPr>
            </a:p>
          </p:txBody>
        </p:sp>
        <p:sp>
          <p:nvSpPr>
            <p:cNvPr id="109" name="Freeform 80"/>
            <p:cNvSpPr>
              <a:spLocks/>
            </p:cNvSpPr>
            <p:nvPr/>
          </p:nvSpPr>
          <p:spPr bwMode="auto">
            <a:xfrm>
              <a:off x="3465513" y="2235201"/>
              <a:ext cx="458788" cy="242888"/>
            </a:xfrm>
            <a:custGeom>
              <a:avLst/>
              <a:gdLst>
                <a:gd name="T0" fmla="*/ 8764 w 10416"/>
                <a:gd name="T1" fmla="*/ 0 h 5511"/>
                <a:gd name="T2" fmla="*/ 6996 w 10416"/>
                <a:gd name="T3" fmla="*/ 0 h 5511"/>
                <a:gd name="T4" fmla="*/ 6108 w 10416"/>
                <a:gd name="T5" fmla="*/ 259 h 5511"/>
                <a:gd name="T6" fmla="*/ 5348 w 10416"/>
                <a:gd name="T7" fmla="*/ 898 h 5511"/>
                <a:gd name="T8" fmla="*/ 4285 w 10416"/>
                <a:gd name="T9" fmla="*/ 2564 h 5511"/>
                <a:gd name="T10" fmla="*/ 2674 w 10416"/>
                <a:gd name="T11" fmla="*/ 2564 h 5511"/>
                <a:gd name="T12" fmla="*/ 397 w 10416"/>
                <a:gd name="T13" fmla="*/ 198 h 5511"/>
                <a:gd name="T14" fmla="*/ 87 w 10416"/>
                <a:gd name="T15" fmla="*/ 198 h 5511"/>
                <a:gd name="T16" fmla="*/ 86 w 10416"/>
                <a:gd name="T17" fmla="*/ 520 h 5511"/>
                <a:gd name="T18" fmla="*/ 2252 w 10416"/>
                <a:gd name="T19" fmla="*/ 2772 h 5511"/>
                <a:gd name="T20" fmla="*/ 2132 w 10416"/>
                <a:gd name="T21" fmla="*/ 3119 h 5511"/>
                <a:gd name="T22" fmla="*/ 2672 w 10416"/>
                <a:gd name="T23" fmla="*/ 3679 h 5511"/>
                <a:gd name="T24" fmla="*/ 4447 w 10416"/>
                <a:gd name="T25" fmla="*/ 3679 h 5511"/>
                <a:gd name="T26" fmla="*/ 5026 w 10416"/>
                <a:gd name="T27" fmla="*/ 3418 h 5511"/>
                <a:gd name="T28" fmla="*/ 5279 w 10416"/>
                <a:gd name="T29" fmla="*/ 3028 h 5511"/>
                <a:gd name="T30" fmla="*/ 5279 w 10416"/>
                <a:gd name="T31" fmla="*/ 3755 h 5511"/>
                <a:gd name="T32" fmla="*/ 5279 w 10416"/>
                <a:gd name="T33" fmla="*/ 4318 h 5511"/>
                <a:gd name="T34" fmla="*/ 5279 w 10416"/>
                <a:gd name="T35" fmla="*/ 5511 h 5511"/>
                <a:gd name="T36" fmla="*/ 5930 w 10416"/>
                <a:gd name="T37" fmla="*/ 5511 h 5511"/>
                <a:gd name="T38" fmla="*/ 10400 w 10416"/>
                <a:gd name="T39" fmla="*/ 5511 h 5511"/>
                <a:gd name="T40" fmla="*/ 10416 w 10416"/>
                <a:gd name="T41" fmla="*/ 5511 h 5511"/>
                <a:gd name="T42" fmla="*/ 10416 w 10416"/>
                <a:gd name="T43" fmla="*/ 4318 h 5511"/>
                <a:gd name="T44" fmla="*/ 10416 w 10416"/>
                <a:gd name="T45" fmla="*/ 3755 h 5511"/>
                <a:gd name="T46" fmla="*/ 10416 w 10416"/>
                <a:gd name="T47" fmla="*/ 1706 h 5511"/>
                <a:gd name="T48" fmla="*/ 8764 w 10416"/>
                <a:gd name="T49" fmla="*/ 0 h 55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416" h="5511">
                  <a:moveTo>
                    <a:pt x="8764" y="0"/>
                  </a:moveTo>
                  <a:lnTo>
                    <a:pt x="6996" y="0"/>
                  </a:lnTo>
                  <a:cubicBezTo>
                    <a:pt x="6677" y="0"/>
                    <a:pt x="6372" y="96"/>
                    <a:pt x="6108" y="259"/>
                  </a:cubicBezTo>
                  <a:cubicBezTo>
                    <a:pt x="5795" y="388"/>
                    <a:pt x="5530" y="614"/>
                    <a:pt x="5348" y="898"/>
                  </a:cubicBezTo>
                  <a:lnTo>
                    <a:pt x="4285" y="2564"/>
                  </a:lnTo>
                  <a:lnTo>
                    <a:pt x="2674" y="2564"/>
                  </a:lnTo>
                  <a:lnTo>
                    <a:pt x="397" y="198"/>
                  </a:lnTo>
                  <a:cubicBezTo>
                    <a:pt x="311" y="108"/>
                    <a:pt x="172" y="108"/>
                    <a:pt x="87" y="198"/>
                  </a:cubicBezTo>
                  <a:cubicBezTo>
                    <a:pt x="1" y="287"/>
                    <a:pt x="0" y="431"/>
                    <a:pt x="86" y="520"/>
                  </a:cubicBezTo>
                  <a:lnTo>
                    <a:pt x="2252" y="2772"/>
                  </a:lnTo>
                  <a:cubicBezTo>
                    <a:pt x="2206" y="2852"/>
                    <a:pt x="2132" y="3016"/>
                    <a:pt x="2132" y="3119"/>
                  </a:cubicBezTo>
                  <a:cubicBezTo>
                    <a:pt x="2132" y="3430"/>
                    <a:pt x="2374" y="3679"/>
                    <a:pt x="2672" y="3679"/>
                  </a:cubicBezTo>
                  <a:lnTo>
                    <a:pt x="4447" y="3679"/>
                  </a:lnTo>
                  <a:cubicBezTo>
                    <a:pt x="4648" y="3679"/>
                    <a:pt x="4914" y="3594"/>
                    <a:pt x="5026" y="3418"/>
                  </a:cubicBezTo>
                  <a:cubicBezTo>
                    <a:pt x="5111" y="3288"/>
                    <a:pt x="5196" y="3157"/>
                    <a:pt x="5279" y="3028"/>
                  </a:cubicBezTo>
                  <a:lnTo>
                    <a:pt x="5279" y="3755"/>
                  </a:lnTo>
                  <a:lnTo>
                    <a:pt x="5279" y="4318"/>
                  </a:lnTo>
                  <a:lnTo>
                    <a:pt x="5279" y="5511"/>
                  </a:lnTo>
                  <a:lnTo>
                    <a:pt x="5930" y="5511"/>
                  </a:lnTo>
                  <a:lnTo>
                    <a:pt x="10400" y="5511"/>
                  </a:lnTo>
                  <a:lnTo>
                    <a:pt x="10416" y="5511"/>
                  </a:lnTo>
                  <a:lnTo>
                    <a:pt x="10416" y="4318"/>
                  </a:lnTo>
                  <a:lnTo>
                    <a:pt x="10416" y="3755"/>
                  </a:lnTo>
                  <a:lnTo>
                    <a:pt x="10416" y="1706"/>
                  </a:lnTo>
                  <a:cubicBezTo>
                    <a:pt x="10416" y="765"/>
                    <a:pt x="9672" y="0"/>
                    <a:pt x="8764" y="0"/>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000">
                <a:solidFill>
                  <a:srgbClr val="000000"/>
                </a:solidFill>
              </a:endParaRPr>
            </a:p>
          </p:txBody>
        </p:sp>
      </p:grpSp>
      <p:grpSp>
        <p:nvGrpSpPr>
          <p:cNvPr id="110" name="Group 109"/>
          <p:cNvGrpSpPr/>
          <p:nvPr/>
        </p:nvGrpSpPr>
        <p:grpSpPr>
          <a:xfrm>
            <a:off x="2372754" y="5294557"/>
            <a:ext cx="350991" cy="345918"/>
            <a:chOff x="2799689" y="1624583"/>
            <a:chExt cx="409025" cy="403113"/>
          </a:xfrm>
          <a:solidFill>
            <a:schemeClr val="accent3"/>
          </a:solidFill>
        </p:grpSpPr>
        <p:sp>
          <p:nvSpPr>
            <p:cNvPr id="111" name="Freeform 84"/>
            <p:cNvSpPr>
              <a:spLocks/>
            </p:cNvSpPr>
            <p:nvPr/>
          </p:nvSpPr>
          <p:spPr bwMode="auto">
            <a:xfrm>
              <a:off x="2807964" y="1762894"/>
              <a:ext cx="93981" cy="92799"/>
            </a:xfrm>
            <a:custGeom>
              <a:avLst/>
              <a:gdLst>
                <a:gd name="T0" fmla="*/ 159 w 159"/>
                <a:gd name="T1" fmla="*/ 78 h 157"/>
                <a:gd name="T2" fmla="*/ 159 w 159"/>
                <a:gd name="T3" fmla="*/ 78 h 157"/>
                <a:gd name="T4" fmla="*/ 157 w 159"/>
                <a:gd name="T5" fmla="*/ 95 h 157"/>
                <a:gd name="T6" fmla="*/ 152 w 159"/>
                <a:gd name="T7" fmla="*/ 109 h 157"/>
                <a:gd name="T8" fmla="*/ 145 w 159"/>
                <a:gd name="T9" fmla="*/ 123 h 157"/>
                <a:gd name="T10" fmla="*/ 135 w 159"/>
                <a:gd name="T11" fmla="*/ 135 h 157"/>
                <a:gd name="T12" fmla="*/ 124 w 159"/>
                <a:gd name="T13" fmla="*/ 143 h 157"/>
                <a:gd name="T14" fmla="*/ 111 w 159"/>
                <a:gd name="T15" fmla="*/ 152 h 157"/>
                <a:gd name="T16" fmla="*/ 95 w 159"/>
                <a:gd name="T17" fmla="*/ 155 h 157"/>
                <a:gd name="T18" fmla="*/ 79 w 159"/>
                <a:gd name="T19" fmla="*/ 157 h 157"/>
                <a:gd name="T20" fmla="*/ 79 w 159"/>
                <a:gd name="T21" fmla="*/ 157 h 157"/>
                <a:gd name="T22" fmla="*/ 64 w 159"/>
                <a:gd name="T23" fmla="*/ 155 h 157"/>
                <a:gd name="T24" fmla="*/ 48 w 159"/>
                <a:gd name="T25" fmla="*/ 152 h 157"/>
                <a:gd name="T26" fmla="*/ 34 w 159"/>
                <a:gd name="T27" fmla="*/ 143 h 157"/>
                <a:gd name="T28" fmla="*/ 24 w 159"/>
                <a:gd name="T29" fmla="*/ 135 h 157"/>
                <a:gd name="T30" fmla="*/ 14 w 159"/>
                <a:gd name="T31" fmla="*/ 123 h 157"/>
                <a:gd name="T32" fmla="*/ 7 w 159"/>
                <a:gd name="T33" fmla="*/ 109 h 157"/>
                <a:gd name="T34" fmla="*/ 2 w 159"/>
                <a:gd name="T35" fmla="*/ 95 h 157"/>
                <a:gd name="T36" fmla="*/ 0 w 159"/>
                <a:gd name="T37" fmla="*/ 78 h 157"/>
                <a:gd name="T38" fmla="*/ 0 w 159"/>
                <a:gd name="T39" fmla="*/ 78 h 157"/>
                <a:gd name="T40" fmla="*/ 2 w 159"/>
                <a:gd name="T41" fmla="*/ 62 h 157"/>
                <a:gd name="T42" fmla="*/ 7 w 159"/>
                <a:gd name="T43" fmla="*/ 48 h 157"/>
                <a:gd name="T44" fmla="*/ 14 w 159"/>
                <a:gd name="T45" fmla="*/ 34 h 157"/>
                <a:gd name="T46" fmla="*/ 24 w 159"/>
                <a:gd name="T47" fmla="*/ 22 h 157"/>
                <a:gd name="T48" fmla="*/ 34 w 159"/>
                <a:gd name="T49" fmla="*/ 12 h 157"/>
                <a:gd name="T50" fmla="*/ 48 w 159"/>
                <a:gd name="T51" fmla="*/ 5 h 157"/>
                <a:gd name="T52" fmla="*/ 64 w 159"/>
                <a:gd name="T53" fmla="*/ 1 h 157"/>
                <a:gd name="T54" fmla="*/ 79 w 159"/>
                <a:gd name="T55" fmla="*/ 0 h 157"/>
                <a:gd name="T56" fmla="*/ 79 w 159"/>
                <a:gd name="T57" fmla="*/ 0 h 157"/>
                <a:gd name="T58" fmla="*/ 95 w 159"/>
                <a:gd name="T59" fmla="*/ 1 h 157"/>
                <a:gd name="T60" fmla="*/ 111 w 159"/>
                <a:gd name="T61" fmla="*/ 5 h 157"/>
                <a:gd name="T62" fmla="*/ 124 w 159"/>
                <a:gd name="T63" fmla="*/ 12 h 157"/>
                <a:gd name="T64" fmla="*/ 135 w 159"/>
                <a:gd name="T65" fmla="*/ 22 h 157"/>
                <a:gd name="T66" fmla="*/ 145 w 159"/>
                <a:gd name="T67" fmla="*/ 34 h 157"/>
                <a:gd name="T68" fmla="*/ 152 w 159"/>
                <a:gd name="T69" fmla="*/ 48 h 157"/>
                <a:gd name="T70" fmla="*/ 157 w 159"/>
                <a:gd name="T71" fmla="*/ 62 h 157"/>
                <a:gd name="T72" fmla="*/ 159 w 159"/>
                <a:gd name="T73" fmla="*/ 78 h 157"/>
                <a:gd name="T74" fmla="*/ 159 w 159"/>
                <a:gd name="T75" fmla="*/ 78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59" h="157">
                  <a:moveTo>
                    <a:pt x="159" y="78"/>
                  </a:moveTo>
                  <a:lnTo>
                    <a:pt x="159" y="78"/>
                  </a:lnTo>
                  <a:lnTo>
                    <a:pt x="157" y="95"/>
                  </a:lnTo>
                  <a:lnTo>
                    <a:pt x="152" y="109"/>
                  </a:lnTo>
                  <a:lnTo>
                    <a:pt x="145" y="123"/>
                  </a:lnTo>
                  <a:lnTo>
                    <a:pt x="135" y="135"/>
                  </a:lnTo>
                  <a:lnTo>
                    <a:pt x="124" y="143"/>
                  </a:lnTo>
                  <a:lnTo>
                    <a:pt x="111" y="152"/>
                  </a:lnTo>
                  <a:lnTo>
                    <a:pt x="95" y="155"/>
                  </a:lnTo>
                  <a:lnTo>
                    <a:pt x="79" y="157"/>
                  </a:lnTo>
                  <a:lnTo>
                    <a:pt x="79" y="157"/>
                  </a:lnTo>
                  <a:lnTo>
                    <a:pt x="64" y="155"/>
                  </a:lnTo>
                  <a:lnTo>
                    <a:pt x="48" y="152"/>
                  </a:lnTo>
                  <a:lnTo>
                    <a:pt x="34" y="143"/>
                  </a:lnTo>
                  <a:lnTo>
                    <a:pt x="24" y="135"/>
                  </a:lnTo>
                  <a:lnTo>
                    <a:pt x="14" y="123"/>
                  </a:lnTo>
                  <a:lnTo>
                    <a:pt x="7" y="109"/>
                  </a:lnTo>
                  <a:lnTo>
                    <a:pt x="2" y="95"/>
                  </a:lnTo>
                  <a:lnTo>
                    <a:pt x="0" y="78"/>
                  </a:lnTo>
                  <a:lnTo>
                    <a:pt x="0" y="78"/>
                  </a:lnTo>
                  <a:lnTo>
                    <a:pt x="2" y="62"/>
                  </a:lnTo>
                  <a:lnTo>
                    <a:pt x="7" y="48"/>
                  </a:lnTo>
                  <a:lnTo>
                    <a:pt x="14" y="34"/>
                  </a:lnTo>
                  <a:lnTo>
                    <a:pt x="24" y="22"/>
                  </a:lnTo>
                  <a:lnTo>
                    <a:pt x="34" y="12"/>
                  </a:lnTo>
                  <a:lnTo>
                    <a:pt x="48" y="5"/>
                  </a:lnTo>
                  <a:lnTo>
                    <a:pt x="64" y="1"/>
                  </a:lnTo>
                  <a:lnTo>
                    <a:pt x="79" y="0"/>
                  </a:lnTo>
                  <a:lnTo>
                    <a:pt x="79" y="0"/>
                  </a:lnTo>
                  <a:lnTo>
                    <a:pt x="95" y="1"/>
                  </a:lnTo>
                  <a:lnTo>
                    <a:pt x="111" y="5"/>
                  </a:lnTo>
                  <a:lnTo>
                    <a:pt x="124" y="12"/>
                  </a:lnTo>
                  <a:lnTo>
                    <a:pt x="135" y="22"/>
                  </a:lnTo>
                  <a:lnTo>
                    <a:pt x="145" y="34"/>
                  </a:lnTo>
                  <a:lnTo>
                    <a:pt x="152" y="48"/>
                  </a:lnTo>
                  <a:lnTo>
                    <a:pt x="157" y="62"/>
                  </a:lnTo>
                  <a:lnTo>
                    <a:pt x="159" y="78"/>
                  </a:lnTo>
                  <a:lnTo>
                    <a:pt x="159" y="7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1000">
                <a:solidFill>
                  <a:srgbClr val="000000"/>
                </a:solidFill>
              </a:endParaRPr>
            </a:p>
          </p:txBody>
        </p:sp>
        <p:sp>
          <p:nvSpPr>
            <p:cNvPr id="112" name="Freeform 85"/>
            <p:cNvSpPr>
              <a:spLocks/>
            </p:cNvSpPr>
            <p:nvPr/>
          </p:nvSpPr>
          <p:spPr bwMode="auto">
            <a:xfrm>
              <a:off x="3106458" y="1762894"/>
              <a:ext cx="93981" cy="92799"/>
            </a:xfrm>
            <a:custGeom>
              <a:avLst/>
              <a:gdLst>
                <a:gd name="T0" fmla="*/ 0 w 159"/>
                <a:gd name="T1" fmla="*/ 78 h 157"/>
                <a:gd name="T2" fmla="*/ 0 w 159"/>
                <a:gd name="T3" fmla="*/ 78 h 157"/>
                <a:gd name="T4" fmla="*/ 2 w 159"/>
                <a:gd name="T5" fmla="*/ 95 h 157"/>
                <a:gd name="T6" fmla="*/ 7 w 159"/>
                <a:gd name="T7" fmla="*/ 109 h 157"/>
                <a:gd name="T8" fmla="*/ 14 w 159"/>
                <a:gd name="T9" fmla="*/ 123 h 157"/>
                <a:gd name="T10" fmla="*/ 24 w 159"/>
                <a:gd name="T11" fmla="*/ 135 h 157"/>
                <a:gd name="T12" fmla="*/ 35 w 159"/>
                <a:gd name="T13" fmla="*/ 143 h 157"/>
                <a:gd name="T14" fmla="*/ 48 w 159"/>
                <a:gd name="T15" fmla="*/ 152 h 157"/>
                <a:gd name="T16" fmla="*/ 64 w 159"/>
                <a:gd name="T17" fmla="*/ 155 h 157"/>
                <a:gd name="T18" fmla="*/ 80 w 159"/>
                <a:gd name="T19" fmla="*/ 157 h 157"/>
                <a:gd name="T20" fmla="*/ 80 w 159"/>
                <a:gd name="T21" fmla="*/ 157 h 157"/>
                <a:gd name="T22" fmla="*/ 95 w 159"/>
                <a:gd name="T23" fmla="*/ 155 h 157"/>
                <a:gd name="T24" fmla="*/ 111 w 159"/>
                <a:gd name="T25" fmla="*/ 152 h 157"/>
                <a:gd name="T26" fmla="*/ 125 w 159"/>
                <a:gd name="T27" fmla="*/ 143 h 157"/>
                <a:gd name="T28" fmla="*/ 135 w 159"/>
                <a:gd name="T29" fmla="*/ 135 h 157"/>
                <a:gd name="T30" fmla="*/ 145 w 159"/>
                <a:gd name="T31" fmla="*/ 123 h 157"/>
                <a:gd name="T32" fmla="*/ 152 w 159"/>
                <a:gd name="T33" fmla="*/ 109 h 157"/>
                <a:gd name="T34" fmla="*/ 157 w 159"/>
                <a:gd name="T35" fmla="*/ 95 h 157"/>
                <a:gd name="T36" fmla="*/ 159 w 159"/>
                <a:gd name="T37" fmla="*/ 78 h 157"/>
                <a:gd name="T38" fmla="*/ 159 w 159"/>
                <a:gd name="T39" fmla="*/ 78 h 157"/>
                <a:gd name="T40" fmla="*/ 157 w 159"/>
                <a:gd name="T41" fmla="*/ 62 h 157"/>
                <a:gd name="T42" fmla="*/ 152 w 159"/>
                <a:gd name="T43" fmla="*/ 48 h 157"/>
                <a:gd name="T44" fmla="*/ 145 w 159"/>
                <a:gd name="T45" fmla="*/ 34 h 157"/>
                <a:gd name="T46" fmla="*/ 135 w 159"/>
                <a:gd name="T47" fmla="*/ 22 h 157"/>
                <a:gd name="T48" fmla="*/ 125 w 159"/>
                <a:gd name="T49" fmla="*/ 12 h 157"/>
                <a:gd name="T50" fmla="*/ 111 w 159"/>
                <a:gd name="T51" fmla="*/ 5 h 157"/>
                <a:gd name="T52" fmla="*/ 95 w 159"/>
                <a:gd name="T53" fmla="*/ 1 h 157"/>
                <a:gd name="T54" fmla="*/ 80 w 159"/>
                <a:gd name="T55" fmla="*/ 0 h 157"/>
                <a:gd name="T56" fmla="*/ 80 w 159"/>
                <a:gd name="T57" fmla="*/ 0 h 157"/>
                <a:gd name="T58" fmla="*/ 64 w 159"/>
                <a:gd name="T59" fmla="*/ 1 h 157"/>
                <a:gd name="T60" fmla="*/ 48 w 159"/>
                <a:gd name="T61" fmla="*/ 5 h 157"/>
                <a:gd name="T62" fmla="*/ 35 w 159"/>
                <a:gd name="T63" fmla="*/ 12 h 157"/>
                <a:gd name="T64" fmla="*/ 24 w 159"/>
                <a:gd name="T65" fmla="*/ 22 h 157"/>
                <a:gd name="T66" fmla="*/ 14 w 159"/>
                <a:gd name="T67" fmla="*/ 34 h 157"/>
                <a:gd name="T68" fmla="*/ 7 w 159"/>
                <a:gd name="T69" fmla="*/ 48 h 157"/>
                <a:gd name="T70" fmla="*/ 2 w 159"/>
                <a:gd name="T71" fmla="*/ 62 h 157"/>
                <a:gd name="T72" fmla="*/ 0 w 159"/>
                <a:gd name="T73" fmla="*/ 78 h 157"/>
                <a:gd name="T74" fmla="*/ 0 w 159"/>
                <a:gd name="T75" fmla="*/ 78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59" h="157">
                  <a:moveTo>
                    <a:pt x="0" y="78"/>
                  </a:moveTo>
                  <a:lnTo>
                    <a:pt x="0" y="78"/>
                  </a:lnTo>
                  <a:lnTo>
                    <a:pt x="2" y="95"/>
                  </a:lnTo>
                  <a:lnTo>
                    <a:pt x="7" y="109"/>
                  </a:lnTo>
                  <a:lnTo>
                    <a:pt x="14" y="123"/>
                  </a:lnTo>
                  <a:lnTo>
                    <a:pt x="24" y="135"/>
                  </a:lnTo>
                  <a:lnTo>
                    <a:pt x="35" y="143"/>
                  </a:lnTo>
                  <a:lnTo>
                    <a:pt x="48" y="152"/>
                  </a:lnTo>
                  <a:lnTo>
                    <a:pt x="64" y="155"/>
                  </a:lnTo>
                  <a:lnTo>
                    <a:pt x="80" y="157"/>
                  </a:lnTo>
                  <a:lnTo>
                    <a:pt x="80" y="157"/>
                  </a:lnTo>
                  <a:lnTo>
                    <a:pt x="95" y="155"/>
                  </a:lnTo>
                  <a:lnTo>
                    <a:pt x="111" y="152"/>
                  </a:lnTo>
                  <a:lnTo>
                    <a:pt x="125" y="143"/>
                  </a:lnTo>
                  <a:lnTo>
                    <a:pt x="135" y="135"/>
                  </a:lnTo>
                  <a:lnTo>
                    <a:pt x="145" y="123"/>
                  </a:lnTo>
                  <a:lnTo>
                    <a:pt x="152" y="109"/>
                  </a:lnTo>
                  <a:lnTo>
                    <a:pt x="157" y="95"/>
                  </a:lnTo>
                  <a:lnTo>
                    <a:pt x="159" y="78"/>
                  </a:lnTo>
                  <a:lnTo>
                    <a:pt x="159" y="78"/>
                  </a:lnTo>
                  <a:lnTo>
                    <a:pt x="157" y="62"/>
                  </a:lnTo>
                  <a:lnTo>
                    <a:pt x="152" y="48"/>
                  </a:lnTo>
                  <a:lnTo>
                    <a:pt x="145" y="34"/>
                  </a:lnTo>
                  <a:lnTo>
                    <a:pt x="135" y="22"/>
                  </a:lnTo>
                  <a:lnTo>
                    <a:pt x="125" y="12"/>
                  </a:lnTo>
                  <a:lnTo>
                    <a:pt x="111" y="5"/>
                  </a:lnTo>
                  <a:lnTo>
                    <a:pt x="95" y="1"/>
                  </a:lnTo>
                  <a:lnTo>
                    <a:pt x="80" y="0"/>
                  </a:lnTo>
                  <a:lnTo>
                    <a:pt x="80" y="0"/>
                  </a:lnTo>
                  <a:lnTo>
                    <a:pt x="64" y="1"/>
                  </a:lnTo>
                  <a:lnTo>
                    <a:pt x="48" y="5"/>
                  </a:lnTo>
                  <a:lnTo>
                    <a:pt x="35" y="12"/>
                  </a:lnTo>
                  <a:lnTo>
                    <a:pt x="24" y="22"/>
                  </a:lnTo>
                  <a:lnTo>
                    <a:pt x="14" y="34"/>
                  </a:lnTo>
                  <a:lnTo>
                    <a:pt x="7" y="48"/>
                  </a:lnTo>
                  <a:lnTo>
                    <a:pt x="2" y="62"/>
                  </a:lnTo>
                  <a:lnTo>
                    <a:pt x="0" y="78"/>
                  </a:lnTo>
                  <a:lnTo>
                    <a:pt x="0" y="7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1000">
                <a:solidFill>
                  <a:srgbClr val="000000"/>
                </a:solidFill>
              </a:endParaRPr>
            </a:p>
          </p:txBody>
        </p:sp>
        <p:sp>
          <p:nvSpPr>
            <p:cNvPr id="113" name="Freeform 86"/>
            <p:cNvSpPr>
              <a:spLocks/>
            </p:cNvSpPr>
            <p:nvPr/>
          </p:nvSpPr>
          <p:spPr bwMode="auto">
            <a:xfrm>
              <a:off x="2799689" y="1866924"/>
              <a:ext cx="187962" cy="160772"/>
            </a:xfrm>
            <a:custGeom>
              <a:avLst/>
              <a:gdLst>
                <a:gd name="T0" fmla="*/ 303 w 318"/>
                <a:gd name="T1" fmla="*/ 175 h 272"/>
                <a:gd name="T2" fmla="*/ 303 w 318"/>
                <a:gd name="T3" fmla="*/ 175 h 272"/>
                <a:gd name="T4" fmla="*/ 303 w 318"/>
                <a:gd name="T5" fmla="*/ 163 h 272"/>
                <a:gd name="T6" fmla="*/ 304 w 318"/>
                <a:gd name="T7" fmla="*/ 151 h 272"/>
                <a:gd name="T8" fmla="*/ 311 w 318"/>
                <a:gd name="T9" fmla="*/ 140 h 272"/>
                <a:gd name="T10" fmla="*/ 318 w 318"/>
                <a:gd name="T11" fmla="*/ 130 h 272"/>
                <a:gd name="T12" fmla="*/ 318 w 318"/>
                <a:gd name="T13" fmla="*/ 130 h 272"/>
                <a:gd name="T14" fmla="*/ 294 w 318"/>
                <a:gd name="T15" fmla="*/ 125 h 272"/>
                <a:gd name="T16" fmla="*/ 275 w 318"/>
                <a:gd name="T17" fmla="*/ 118 h 272"/>
                <a:gd name="T18" fmla="*/ 258 w 318"/>
                <a:gd name="T19" fmla="*/ 109 h 272"/>
                <a:gd name="T20" fmla="*/ 242 w 318"/>
                <a:gd name="T21" fmla="*/ 99 h 272"/>
                <a:gd name="T22" fmla="*/ 230 w 318"/>
                <a:gd name="T23" fmla="*/ 89 h 272"/>
                <a:gd name="T24" fmla="*/ 218 w 318"/>
                <a:gd name="T25" fmla="*/ 78 h 272"/>
                <a:gd name="T26" fmla="*/ 199 w 318"/>
                <a:gd name="T27" fmla="*/ 56 h 272"/>
                <a:gd name="T28" fmla="*/ 199 w 318"/>
                <a:gd name="T29" fmla="*/ 56 h 272"/>
                <a:gd name="T30" fmla="*/ 182 w 318"/>
                <a:gd name="T31" fmla="*/ 35 h 272"/>
                <a:gd name="T32" fmla="*/ 173 w 318"/>
                <a:gd name="T33" fmla="*/ 26 h 272"/>
                <a:gd name="T34" fmla="*/ 163 w 318"/>
                <a:gd name="T35" fmla="*/ 18 h 272"/>
                <a:gd name="T36" fmla="*/ 163 w 318"/>
                <a:gd name="T37" fmla="*/ 18 h 272"/>
                <a:gd name="T38" fmla="*/ 161 w 318"/>
                <a:gd name="T39" fmla="*/ 18 h 272"/>
                <a:gd name="T40" fmla="*/ 161 w 318"/>
                <a:gd name="T41" fmla="*/ 18 h 272"/>
                <a:gd name="T42" fmla="*/ 151 w 318"/>
                <a:gd name="T43" fmla="*/ 11 h 272"/>
                <a:gd name="T44" fmla="*/ 140 w 318"/>
                <a:gd name="T45" fmla="*/ 5 h 272"/>
                <a:gd name="T46" fmla="*/ 128 w 318"/>
                <a:gd name="T47" fmla="*/ 2 h 272"/>
                <a:gd name="T48" fmla="*/ 114 w 318"/>
                <a:gd name="T49" fmla="*/ 0 h 272"/>
                <a:gd name="T50" fmla="*/ 73 w 318"/>
                <a:gd name="T51" fmla="*/ 0 h 272"/>
                <a:gd name="T52" fmla="*/ 73 w 318"/>
                <a:gd name="T53" fmla="*/ 0 h 272"/>
                <a:gd name="T54" fmla="*/ 57 w 318"/>
                <a:gd name="T55" fmla="*/ 2 h 272"/>
                <a:gd name="T56" fmla="*/ 43 w 318"/>
                <a:gd name="T57" fmla="*/ 5 h 272"/>
                <a:gd name="T58" fmla="*/ 31 w 318"/>
                <a:gd name="T59" fmla="*/ 12 h 272"/>
                <a:gd name="T60" fmla="*/ 21 w 318"/>
                <a:gd name="T61" fmla="*/ 21 h 272"/>
                <a:gd name="T62" fmla="*/ 12 w 318"/>
                <a:gd name="T63" fmla="*/ 31 h 272"/>
                <a:gd name="T64" fmla="*/ 5 w 318"/>
                <a:gd name="T65" fmla="*/ 44 h 272"/>
                <a:gd name="T66" fmla="*/ 2 w 318"/>
                <a:gd name="T67" fmla="*/ 57 h 272"/>
                <a:gd name="T68" fmla="*/ 0 w 318"/>
                <a:gd name="T69" fmla="*/ 73 h 272"/>
                <a:gd name="T70" fmla="*/ 0 w 318"/>
                <a:gd name="T71" fmla="*/ 272 h 272"/>
                <a:gd name="T72" fmla="*/ 187 w 318"/>
                <a:gd name="T73" fmla="*/ 272 h 272"/>
                <a:gd name="T74" fmla="*/ 187 w 318"/>
                <a:gd name="T75" fmla="*/ 142 h 272"/>
                <a:gd name="T76" fmla="*/ 187 w 318"/>
                <a:gd name="T77" fmla="*/ 142 h 272"/>
                <a:gd name="T78" fmla="*/ 209 w 318"/>
                <a:gd name="T79" fmla="*/ 159 h 272"/>
                <a:gd name="T80" fmla="*/ 223 w 318"/>
                <a:gd name="T81" fmla="*/ 168 h 272"/>
                <a:gd name="T82" fmla="*/ 237 w 318"/>
                <a:gd name="T83" fmla="*/ 177 h 272"/>
                <a:gd name="T84" fmla="*/ 254 w 318"/>
                <a:gd name="T85" fmla="*/ 184 h 272"/>
                <a:gd name="T86" fmla="*/ 272 w 318"/>
                <a:gd name="T87" fmla="*/ 189 h 272"/>
                <a:gd name="T88" fmla="*/ 291 w 318"/>
                <a:gd name="T89" fmla="*/ 196 h 272"/>
                <a:gd name="T90" fmla="*/ 311 w 318"/>
                <a:gd name="T91" fmla="*/ 199 h 272"/>
                <a:gd name="T92" fmla="*/ 311 w 318"/>
                <a:gd name="T93" fmla="*/ 199 h 272"/>
                <a:gd name="T94" fmla="*/ 306 w 318"/>
                <a:gd name="T95" fmla="*/ 187 h 272"/>
                <a:gd name="T96" fmla="*/ 303 w 318"/>
                <a:gd name="T97" fmla="*/ 175 h 272"/>
                <a:gd name="T98" fmla="*/ 303 w 318"/>
                <a:gd name="T99" fmla="*/ 175 h 2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18" h="272">
                  <a:moveTo>
                    <a:pt x="303" y="175"/>
                  </a:moveTo>
                  <a:lnTo>
                    <a:pt x="303" y="175"/>
                  </a:lnTo>
                  <a:lnTo>
                    <a:pt x="303" y="163"/>
                  </a:lnTo>
                  <a:lnTo>
                    <a:pt x="304" y="151"/>
                  </a:lnTo>
                  <a:lnTo>
                    <a:pt x="311" y="140"/>
                  </a:lnTo>
                  <a:lnTo>
                    <a:pt x="318" y="130"/>
                  </a:lnTo>
                  <a:lnTo>
                    <a:pt x="318" y="130"/>
                  </a:lnTo>
                  <a:lnTo>
                    <a:pt x="294" y="125"/>
                  </a:lnTo>
                  <a:lnTo>
                    <a:pt x="275" y="118"/>
                  </a:lnTo>
                  <a:lnTo>
                    <a:pt x="258" y="109"/>
                  </a:lnTo>
                  <a:lnTo>
                    <a:pt x="242" y="99"/>
                  </a:lnTo>
                  <a:lnTo>
                    <a:pt x="230" y="89"/>
                  </a:lnTo>
                  <a:lnTo>
                    <a:pt x="218" y="78"/>
                  </a:lnTo>
                  <a:lnTo>
                    <a:pt x="199" y="56"/>
                  </a:lnTo>
                  <a:lnTo>
                    <a:pt x="199" y="56"/>
                  </a:lnTo>
                  <a:lnTo>
                    <a:pt x="182" y="35"/>
                  </a:lnTo>
                  <a:lnTo>
                    <a:pt x="173" y="26"/>
                  </a:lnTo>
                  <a:lnTo>
                    <a:pt x="163" y="18"/>
                  </a:lnTo>
                  <a:lnTo>
                    <a:pt x="163" y="18"/>
                  </a:lnTo>
                  <a:lnTo>
                    <a:pt x="161" y="18"/>
                  </a:lnTo>
                  <a:lnTo>
                    <a:pt x="161" y="18"/>
                  </a:lnTo>
                  <a:lnTo>
                    <a:pt x="151" y="11"/>
                  </a:lnTo>
                  <a:lnTo>
                    <a:pt x="140" y="5"/>
                  </a:lnTo>
                  <a:lnTo>
                    <a:pt x="128" y="2"/>
                  </a:lnTo>
                  <a:lnTo>
                    <a:pt x="114" y="0"/>
                  </a:lnTo>
                  <a:lnTo>
                    <a:pt x="73" y="0"/>
                  </a:lnTo>
                  <a:lnTo>
                    <a:pt x="73" y="0"/>
                  </a:lnTo>
                  <a:lnTo>
                    <a:pt x="57" y="2"/>
                  </a:lnTo>
                  <a:lnTo>
                    <a:pt x="43" y="5"/>
                  </a:lnTo>
                  <a:lnTo>
                    <a:pt x="31" y="12"/>
                  </a:lnTo>
                  <a:lnTo>
                    <a:pt x="21" y="21"/>
                  </a:lnTo>
                  <a:lnTo>
                    <a:pt x="12" y="31"/>
                  </a:lnTo>
                  <a:lnTo>
                    <a:pt x="5" y="44"/>
                  </a:lnTo>
                  <a:lnTo>
                    <a:pt x="2" y="57"/>
                  </a:lnTo>
                  <a:lnTo>
                    <a:pt x="0" y="73"/>
                  </a:lnTo>
                  <a:lnTo>
                    <a:pt x="0" y="272"/>
                  </a:lnTo>
                  <a:lnTo>
                    <a:pt x="187" y="272"/>
                  </a:lnTo>
                  <a:lnTo>
                    <a:pt x="187" y="142"/>
                  </a:lnTo>
                  <a:lnTo>
                    <a:pt x="187" y="142"/>
                  </a:lnTo>
                  <a:lnTo>
                    <a:pt x="209" y="159"/>
                  </a:lnTo>
                  <a:lnTo>
                    <a:pt x="223" y="168"/>
                  </a:lnTo>
                  <a:lnTo>
                    <a:pt x="237" y="177"/>
                  </a:lnTo>
                  <a:lnTo>
                    <a:pt x="254" y="184"/>
                  </a:lnTo>
                  <a:lnTo>
                    <a:pt x="272" y="189"/>
                  </a:lnTo>
                  <a:lnTo>
                    <a:pt x="291" y="196"/>
                  </a:lnTo>
                  <a:lnTo>
                    <a:pt x="311" y="199"/>
                  </a:lnTo>
                  <a:lnTo>
                    <a:pt x="311" y="199"/>
                  </a:lnTo>
                  <a:lnTo>
                    <a:pt x="306" y="187"/>
                  </a:lnTo>
                  <a:lnTo>
                    <a:pt x="303" y="175"/>
                  </a:lnTo>
                  <a:lnTo>
                    <a:pt x="303" y="175"/>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1000">
                <a:solidFill>
                  <a:srgbClr val="000000"/>
                </a:solidFill>
              </a:endParaRPr>
            </a:p>
          </p:txBody>
        </p:sp>
        <p:sp>
          <p:nvSpPr>
            <p:cNvPr id="114" name="Freeform 87"/>
            <p:cNvSpPr>
              <a:spLocks/>
            </p:cNvSpPr>
            <p:nvPr/>
          </p:nvSpPr>
          <p:spPr bwMode="auto">
            <a:xfrm>
              <a:off x="2991198" y="1866924"/>
              <a:ext cx="217516" cy="160772"/>
            </a:xfrm>
            <a:custGeom>
              <a:avLst/>
              <a:gdLst>
                <a:gd name="T0" fmla="*/ 295 w 368"/>
                <a:gd name="T1" fmla="*/ 0 h 272"/>
                <a:gd name="T2" fmla="*/ 254 w 368"/>
                <a:gd name="T3" fmla="*/ 0 h 272"/>
                <a:gd name="T4" fmla="*/ 254 w 368"/>
                <a:gd name="T5" fmla="*/ 0 h 272"/>
                <a:gd name="T6" fmla="*/ 240 w 368"/>
                <a:gd name="T7" fmla="*/ 2 h 272"/>
                <a:gd name="T8" fmla="*/ 228 w 368"/>
                <a:gd name="T9" fmla="*/ 5 h 272"/>
                <a:gd name="T10" fmla="*/ 217 w 368"/>
                <a:gd name="T11" fmla="*/ 11 h 272"/>
                <a:gd name="T12" fmla="*/ 207 w 368"/>
                <a:gd name="T13" fmla="*/ 18 h 272"/>
                <a:gd name="T14" fmla="*/ 207 w 368"/>
                <a:gd name="T15" fmla="*/ 18 h 272"/>
                <a:gd name="T16" fmla="*/ 205 w 368"/>
                <a:gd name="T17" fmla="*/ 18 h 272"/>
                <a:gd name="T18" fmla="*/ 205 w 368"/>
                <a:gd name="T19" fmla="*/ 18 h 272"/>
                <a:gd name="T20" fmla="*/ 195 w 368"/>
                <a:gd name="T21" fmla="*/ 26 h 272"/>
                <a:gd name="T22" fmla="*/ 186 w 368"/>
                <a:gd name="T23" fmla="*/ 35 h 272"/>
                <a:gd name="T24" fmla="*/ 169 w 368"/>
                <a:gd name="T25" fmla="*/ 56 h 272"/>
                <a:gd name="T26" fmla="*/ 169 w 368"/>
                <a:gd name="T27" fmla="*/ 56 h 272"/>
                <a:gd name="T28" fmla="*/ 147 w 368"/>
                <a:gd name="T29" fmla="*/ 80 h 272"/>
                <a:gd name="T30" fmla="*/ 134 w 368"/>
                <a:gd name="T31" fmla="*/ 92 h 272"/>
                <a:gd name="T32" fmla="*/ 121 w 368"/>
                <a:gd name="T33" fmla="*/ 104 h 272"/>
                <a:gd name="T34" fmla="*/ 103 w 368"/>
                <a:gd name="T35" fmla="*/ 114 h 272"/>
                <a:gd name="T36" fmla="*/ 83 w 368"/>
                <a:gd name="T37" fmla="*/ 123 h 272"/>
                <a:gd name="T38" fmla="*/ 58 w 368"/>
                <a:gd name="T39" fmla="*/ 130 h 272"/>
                <a:gd name="T40" fmla="*/ 29 w 368"/>
                <a:gd name="T41" fmla="*/ 135 h 272"/>
                <a:gd name="T42" fmla="*/ 29 w 368"/>
                <a:gd name="T43" fmla="*/ 135 h 272"/>
                <a:gd name="T44" fmla="*/ 22 w 368"/>
                <a:gd name="T45" fmla="*/ 135 h 272"/>
                <a:gd name="T46" fmla="*/ 17 w 368"/>
                <a:gd name="T47" fmla="*/ 139 h 272"/>
                <a:gd name="T48" fmla="*/ 12 w 368"/>
                <a:gd name="T49" fmla="*/ 142 h 272"/>
                <a:gd name="T50" fmla="*/ 6 w 368"/>
                <a:gd name="T51" fmla="*/ 147 h 272"/>
                <a:gd name="T52" fmla="*/ 3 w 368"/>
                <a:gd name="T53" fmla="*/ 153 h 272"/>
                <a:gd name="T54" fmla="*/ 0 w 368"/>
                <a:gd name="T55" fmla="*/ 159 h 272"/>
                <a:gd name="T56" fmla="*/ 0 w 368"/>
                <a:gd name="T57" fmla="*/ 165 h 272"/>
                <a:gd name="T58" fmla="*/ 0 w 368"/>
                <a:gd name="T59" fmla="*/ 172 h 272"/>
                <a:gd name="T60" fmla="*/ 0 w 368"/>
                <a:gd name="T61" fmla="*/ 172 h 272"/>
                <a:gd name="T62" fmla="*/ 1 w 368"/>
                <a:gd name="T63" fmla="*/ 179 h 272"/>
                <a:gd name="T64" fmla="*/ 3 w 368"/>
                <a:gd name="T65" fmla="*/ 184 h 272"/>
                <a:gd name="T66" fmla="*/ 6 w 368"/>
                <a:gd name="T67" fmla="*/ 189 h 272"/>
                <a:gd name="T68" fmla="*/ 10 w 368"/>
                <a:gd name="T69" fmla="*/ 194 h 272"/>
                <a:gd name="T70" fmla="*/ 15 w 368"/>
                <a:gd name="T71" fmla="*/ 198 h 272"/>
                <a:gd name="T72" fmla="*/ 20 w 368"/>
                <a:gd name="T73" fmla="*/ 201 h 272"/>
                <a:gd name="T74" fmla="*/ 27 w 368"/>
                <a:gd name="T75" fmla="*/ 203 h 272"/>
                <a:gd name="T76" fmla="*/ 32 w 368"/>
                <a:gd name="T77" fmla="*/ 203 h 272"/>
                <a:gd name="T78" fmla="*/ 32 w 368"/>
                <a:gd name="T79" fmla="*/ 203 h 272"/>
                <a:gd name="T80" fmla="*/ 38 w 368"/>
                <a:gd name="T81" fmla="*/ 203 h 272"/>
                <a:gd name="T82" fmla="*/ 38 w 368"/>
                <a:gd name="T83" fmla="*/ 203 h 272"/>
                <a:gd name="T84" fmla="*/ 62 w 368"/>
                <a:gd name="T85" fmla="*/ 199 h 272"/>
                <a:gd name="T86" fmla="*/ 84 w 368"/>
                <a:gd name="T87" fmla="*/ 194 h 272"/>
                <a:gd name="T88" fmla="*/ 105 w 368"/>
                <a:gd name="T89" fmla="*/ 187 h 272"/>
                <a:gd name="T90" fmla="*/ 124 w 368"/>
                <a:gd name="T91" fmla="*/ 180 h 272"/>
                <a:gd name="T92" fmla="*/ 141 w 368"/>
                <a:gd name="T93" fmla="*/ 172 h 272"/>
                <a:gd name="T94" fmla="*/ 155 w 368"/>
                <a:gd name="T95" fmla="*/ 163 h 272"/>
                <a:gd name="T96" fmla="*/ 169 w 368"/>
                <a:gd name="T97" fmla="*/ 153 h 272"/>
                <a:gd name="T98" fmla="*/ 181 w 368"/>
                <a:gd name="T99" fmla="*/ 144 h 272"/>
                <a:gd name="T100" fmla="*/ 181 w 368"/>
                <a:gd name="T101" fmla="*/ 272 h 272"/>
                <a:gd name="T102" fmla="*/ 368 w 368"/>
                <a:gd name="T103" fmla="*/ 272 h 272"/>
                <a:gd name="T104" fmla="*/ 368 w 368"/>
                <a:gd name="T105" fmla="*/ 73 h 272"/>
                <a:gd name="T106" fmla="*/ 368 w 368"/>
                <a:gd name="T107" fmla="*/ 73 h 272"/>
                <a:gd name="T108" fmla="*/ 366 w 368"/>
                <a:gd name="T109" fmla="*/ 57 h 272"/>
                <a:gd name="T110" fmla="*/ 363 w 368"/>
                <a:gd name="T111" fmla="*/ 44 h 272"/>
                <a:gd name="T112" fmla="*/ 356 w 368"/>
                <a:gd name="T113" fmla="*/ 31 h 272"/>
                <a:gd name="T114" fmla="*/ 347 w 368"/>
                <a:gd name="T115" fmla="*/ 21 h 272"/>
                <a:gd name="T116" fmla="*/ 337 w 368"/>
                <a:gd name="T117" fmla="*/ 12 h 272"/>
                <a:gd name="T118" fmla="*/ 325 w 368"/>
                <a:gd name="T119" fmla="*/ 5 h 272"/>
                <a:gd name="T120" fmla="*/ 311 w 368"/>
                <a:gd name="T121" fmla="*/ 2 h 272"/>
                <a:gd name="T122" fmla="*/ 295 w 368"/>
                <a:gd name="T123" fmla="*/ 0 h 272"/>
                <a:gd name="T124" fmla="*/ 295 w 368"/>
                <a:gd name="T125" fmla="*/ 0 h 2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68" h="272">
                  <a:moveTo>
                    <a:pt x="295" y="0"/>
                  </a:moveTo>
                  <a:lnTo>
                    <a:pt x="254" y="0"/>
                  </a:lnTo>
                  <a:lnTo>
                    <a:pt x="254" y="0"/>
                  </a:lnTo>
                  <a:lnTo>
                    <a:pt x="240" y="2"/>
                  </a:lnTo>
                  <a:lnTo>
                    <a:pt x="228" y="5"/>
                  </a:lnTo>
                  <a:lnTo>
                    <a:pt x="217" y="11"/>
                  </a:lnTo>
                  <a:lnTo>
                    <a:pt x="207" y="18"/>
                  </a:lnTo>
                  <a:lnTo>
                    <a:pt x="207" y="18"/>
                  </a:lnTo>
                  <a:lnTo>
                    <a:pt x="205" y="18"/>
                  </a:lnTo>
                  <a:lnTo>
                    <a:pt x="205" y="18"/>
                  </a:lnTo>
                  <a:lnTo>
                    <a:pt x="195" y="26"/>
                  </a:lnTo>
                  <a:lnTo>
                    <a:pt x="186" y="35"/>
                  </a:lnTo>
                  <a:lnTo>
                    <a:pt x="169" y="56"/>
                  </a:lnTo>
                  <a:lnTo>
                    <a:pt x="169" y="56"/>
                  </a:lnTo>
                  <a:lnTo>
                    <a:pt x="147" y="80"/>
                  </a:lnTo>
                  <a:lnTo>
                    <a:pt x="134" y="92"/>
                  </a:lnTo>
                  <a:lnTo>
                    <a:pt x="121" y="104"/>
                  </a:lnTo>
                  <a:lnTo>
                    <a:pt x="103" y="114"/>
                  </a:lnTo>
                  <a:lnTo>
                    <a:pt x="83" y="123"/>
                  </a:lnTo>
                  <a:lnTo>
                    <a:pt x="58" y="130"/>
                  </a:lnTo>
                  <a:lnTo>
                    <a:pt x="29" y="135"/>
                  </a:lnTo>
                  <a:lnTo>
                    <a:pt x="29" y="135"/>
                  </a:lnTo>
                  <a:lnTo>
                    <a:pt x="22" y="135"/>
                  </a:lnTo>
                  <a:lnTo>
                    <a:pt x="17" y="139"/>
                  </a:lnTo>
                  <a:lnTo>
                    <a:pt x="12" y="142"/>
                  </a:lnTo>
                  <a:lnTo>
                    <a:pt x="6" y="147"/>
                  </a:lnTo>
                  <a:lnTo>
                    <a:pt x="3" y="153"/>
                  </a:lnTo>
                  <a:lnTo>
                    <a:pt x="0" y="159"/>
                  </a:lnTo>
                  <a:lnTo>
                    <a:pt x="0" y="165"/>
                  </a:lnTo>
                  <a:lnTo>
                    <a:pt x="0" y="172"/>
                  </a:lnTo>
                  <a:lnTo>
                    <a:pt x="0" y="172"/>
                  </a:lnTo>
                  <a:lnTo>
                    <a:pt x="1" y="179"/>
                  </a:lnTo>
                  <a:lnTo>
                    <a:pt x="3" y="184"/>
                  </a:lnTo>
                  <a:lnTo>
                    <a:pt x="6" y="189"/>
                  </a:lnTo>
                  <a:lnTo>
                    <a:pt x="10" y="194"/>
                  </a:lnTo>
                  <a:lnTo>
                    <a:pt x="15" y="198"/>
                  </a:lnTo>
                  <a:lnTo>
                    <a:pt x="20" y="201"/>
                  </a:lnTo>
                  <a:lnTo>
                    <a:pt x="27" y="203"/>
                  </a:lnTo>
                  <a:lnTo>
                    <a:pt x="32" y="203"/>
                  </a:lnTo>
                  <a:lnTo>
                    <a:pt x="32" y="203"/>
                  </a:lnTo>
                  <a:lnTo>
                    <a:pt x="38" y="203"/>
                  </a:lnTo>
                  <a:lnTo>
                    <a:pt x="38" y="203"/>
                  </a:lnTo>
                  <a:lnTo>
                    <a:pt x="62" y="199"/>
                  </a:lnTo>
                  <a:lnTo>
                    <a:pt x="84" y="194"/>
                  </a:lnTo>
                  <a:lnTo>
                    <a:pt x="105" y="187"/>
                  </a:lnTo>
                  <a:lnTo>
                    <a:pt x="124" y="180"/>
                  </a:lnTo>
                  <a:lnTo>
                    <a:pt x="141" y="172"/>
                  </a:lnTo>
                  <a:lnTo>
                    <a:pt x="155" y="163"/>
                  </a:lnTo>
                  <a:lnTo>
                    <a:pt x="169" y="153"/>
                  </a:lnTo>
                  <a:lnTo>
                    <a:pt x="181" y="144"/>
                  </a:lnTo>
                  <a:lnTo>
                    <a:pt x="181" y="272"/>
                  </a:lnTo>
                  <a:lnTo>
                    <a:pt x="368" y="272"/>
                  </a:lnTo>
                  <a:lnTo>
                    <a:pt x="368" y="73"/>
                  </a:lnTo>
                  <a:lnTo>
                    <a:pt x="368" y="73"/>
                  </a:lnTo>
                  <a:lnTo>
                    <a:pt x="366" y="57"/>
                  </a:lnTo>
                  <a:lnTo>
                    <a:pt x="363" y="44"/>
                  </a:lnTo>
                  <a:lnTo>
                    <a:pt x="356" y="31"/>
                  </a:lnTo>
                  <a:lnTo>
                    <a:pt x="347" y="21"/>
                  </a:lnTo>
                  <a:lnTo>
                    <a:pt x="337" y="12"/>
                  </a:lnTo>
                  <a:lnTo>
                    <a:pt x="325" y="5"/>
                  </a:lnTo>
                  <a:lnTo>
                    <a:pt x="311" y="2"/>
                  </a:lnTo>
                  <a:lnTo>
                    <a:pt x="295" y="0"/>
                  </a:lnTo>
                  <a:lnTo>
                    <a:pt x="295"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1000">
                <a:solidFill>
                  <a:srgbClr val="000000"/>
                </a:solidFill>
              </a:endParaRPr>
            </a:p>
          </p:txBody>
        </p:sp>
        <p:sp>
          <p:nvSpPr>
            <p:cNvPr id="115" name="Freeform 88"/>
            <p:cNvSpPr>
              <a:spLocks/>
            </p:cNvSpPr>
            <p:nvPr/>
          </p:nvSpPr>
          <p:spPr bwMode="auto">
            <a:xfrm>
              <a:off x="2869436" y="1624583"/>
              <a:ext cx="171412" cy="146587"/>
            </a:xfrm>
            <a:custGeom>
              <a:avLst/>
              <a:gdLst>
                <a:gd name="T0" fmla="*/ 178 w 290"/>
                <a:gd name="T1" fmla="*/ 182 h 248"/>
                <a:gd name="T2" fmla="*/ 178 w 290"/>
                <a:gd name="T3" fmla="*/ 102 h 248"/>
                <a:gd name="T4" fmla="*/ 178 w 290"/>
                <a:gd name="T5" fmla="*/ 102 h 248"/>
                <a:gd name="T6" fmla="*/ 178 w 290"/>
                <a:gd name="T7" fmla="*/ 95 h 248"/>
                <a:gd name="T8" fmla="*/ 181 w 290"/>
                <a:gd name="T9" fmla="*/ 88 h 248"/>
                <a:gd name="T10" fmla="*/ 183 w 290"/>
                <a:gd name="T11" fmla="*/ 81 h 248"/>
                <a:gd name="T12" fmla="*/ 188 w 290"/>
                <a:gd name="T13" fmla="*/ 76 h 248"/>
                <a:gd name="T14" fmla="*/ 193 w 290"/>
                <a:gd name="T15" fmla="*/ 71 h 248"/>
                <a:gd name="T16" fmla="*/ 199 w 290"/>
                <a:gd name="T17" fmla="*/ 68 h 248"/>
                <a:gd name="T18" fmla="*/ 206 w 290"/>
                <a:gd name="T19" fmla="*/ 66 h 248"/>
                <a:gd name="T20" fmla="*/ 212 w 290"/>
                <a:gd name="T21" fmla="*/ 64 h 248"/>
                <a:gd name="T22" fmla="*/ 290 w 290"/>
                <a:gd name="T23" fmla="*/ 64 h 248"/>
                <a:gd name="T24" fmla="*/ 290 w 290"/>
                <a:gd name="T25" fmla="*/ 47 h 248"/>
                <a:gd name="T26" fmla="*/ 290 w 290"/>
                <a:gd name="T27" fmla="*/ 47 h 248"/>
                <a:gd name="T28" fmla="*/ 290 w 290"/>
                <a:gd name="T29" fmla="*/ 36 h 248"/>
                <a:gd name="T30" fmla="*/ 287 w 290"/>
                <a:gd name="T31" fmla="*/ 28 h 248"/>
                <a:gd name="T32" fmla="*/ 283 w 290"/>
                <a:gd name="T33" fmla="*/ 21 h 248"/>
                <a:gd name="T34" fmla="*/ 278 w 290"/>
                <a:gd name="T35" fmla="*/ 14 h 248"/>
                <a:gd name="T36" fmla="*/ 271 w 290"/>
                <a:gd name="T37" fmla="*/ 9 h 248"/>
                <a:gd name="T38" fmla="*/ 264 w 290"/>
                <a:gd name="T39" fmla="*/ 3 h 248"/>
                <a:gd name="T40" fmla="*/ 256 w 290"/>
                <a:gd name="T41" fmla="*/ 2 h 248"/>
                <a:gd name="T42" fmla="*/ 247 w 290"/>
                <a:gd name="T43" fmla="*/ 0 h 248"/>
                <a:gd name="T44" fmla="*/ 43 w 290"/>
                <a:gd name="T45" fmla="*/ 0 h 248"/>
                <a:gd name="T46" fmla="*/ 43 w 290"/>
                <a:gd name="T47" fmla="*/ 0 h 248"/>
                <a:gd name="T48" fmla="*/ 34 w 290"/>
                <a:gd name="T49" fmla="*/ 2 h 248"/>
                <a:gd name="T50" fmla="*/ 26 w 290"/>
                <a:gd name="T51" fmla="*/ 3 h 248"/>
                <a:gd name="T52" fmla="*/ 19 w 290"/>
                <a:gd name="T53" fmla="*/ 9 h 248"/>
                <a:gd name="T54" fmla="*/ 12 w 290"/>
                <a:gd name="T55" fmla="*/ 14 h 248"/>
                <a:gd name="T56" fmla="*/ 7 w 290"/>
                <a:gd name="T57" fmla="*/ 21 h 248"/>
                <a:gd name="T58" fmla="*/ 3 w 290"/>
                <a:gd name="T59" fmla="*/ 28 h 248"/>
                <a:gd name="T60" fmla="*/ 1 w 290"/>
                <a:gd name="T61" fmla="*/ 36 h 248"/>
                <a:gd name="T62" fmla="*/ 0 w 290"/>
                <a:gd name="T63" fmla="*/ 47 h 248"/>
                <a:gd name="T64" fmla="*/ 0 w 290"/>
                <a:gd name="T65" fmla="*/ 144 h 248"/>
                <a:gd name="T66" fmla="*/ 0 w 290"/>
                <a:gd name="T67" fmla="*/ 144 h 248"/>
                <a:gd name="T68" fmla="*/ 1 w 290"/>
                <a:gd name="T69" fmla="*/ 154 h 248"/>
                <a:gd name="T70" fmla="*/ 3 w 290"/>
                <a:gd name="T71" fmla="*/ 163 h 248"/>
                <a:gd name="T72" fmla="*/ 7 w 290"/>
                <a:gd name="T73" fmla="*/ 170 h 248"/>
                <a:gd name="T74" fmla="*/ 12 w 290"/>
                <a:gd name="T75" fmla="*/ 177 h 248"/>
                <a:gd name="T76" fmla="*/ 19 w 290"/>
                <a:gd name="T77" fmla="*/ 182 h 248"/>
                <a:gd name="T78" fmla="*/ 26 w 290"/>
                <a:gd name="T79" fmla="*/ 187 h 248"/>
                <a:gd name="T80" fmla="*/ 34 w 290"/>
                <a:gd name="T81" fmla="*/ 189 h 248"/>
                <a:gd name="T82" fmla="*/ 43 w 290"/>
                <a:gd name="T83" fmla="*/ 190 h 248"/>
                <a:gd name="T84" fmla="*/ 77 w 290"/>
                <a:gd name="T85" fmla="*/ 190 h 248"/>
                <a:gd name="T86" fmla="*/ 77 w 290"/>
                <a:gd name="T87" fmla="*/ 190 h 248"/>
                <a:gd name="T88" fmla="*/ 77 w 290"/>
                <a:gd name="T89" fmla="*/ 244 h 248"/>
                <a:gd name="T90" fmla="*/ 77 w 290"/>
                <a:gd name="T91" fmla="*/ 244 h 248"/>
                <a:gd name="T92" fmla="*/ 77 w 290"/>
                <a:gd name="T93" fmla="*/ 246 h 248"/>
                <a:gd name="T94" fmla="*/ 79 w 290"/>
                <a:gd name="T95" fmla="*/ 248 h 248"/>
                <a:gd name="T96" fmla="*/ 81 w 290"/>
                <a:gd name="T97" fmla="*/ 248 h 248"/>
                <a:gd name="T98" fmla="*/ 83 w 290"/>
                <a:gd name="T99" fmla="*/ 248 h 248"/>
                <a:gd name="T100" fmla="*/ 83 w 290"/>
                <a:gd name="T101" fmla="*/ 248 h 248"/>
                <a:gd name="T102" fmla="*/ 131 w 290"/>
                <a:gd name="T103" fmla="*/ 190 h 248"/>
                <a:gd name="T104" fmla="*/ 180 w 290"/>
                <a:gd name="T105" fmla="*/ 190 h 248"/>
                <a:gd name="T106" fmla="*/ 180 w 290"/>
                <a:gd name="T107" fmla="*/ 190 h 248"/>
                <a:gd name="T108" fmla="*/ 178 w 290"/>
                <a:gd name="T109" fmla="*/ 182 h 248"/>
                <a:gd name="T110" fmla="*/ 178 w 290"/>
                <a:gd name="T111" fmla="*/ 182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90" h="248">
                  <a:moveTo>
                    <a:pt x="178" y="182"/>
                  </a:moveTo>
                  <a:lnTo>
                    <a:pt x="178" y="102"/>
                  </a:lnTo>
                  <a:lnTo>
                    <a:pt x="178" y="102"/>
                  </a:lnTo>
                  <a:lnTo>
                    <a:pt x="178" y="95"/>
                  </a:lnTo>
                  <a:lnTo>
                    <a:pt x="181" y="88"/>
                  </a:lnTo>
                  <a:lnTo>
                    <a:pt x="183" y="81"/>
                  </a:lnTo>
                  <a:lnTo>
                    <a:pt x="188" y="76"/>
                  </a:lnTo>
                  <a:lnTo>
                    <a:pt x="193" y="71"/>
                  </a:lnTo>
                  <a:lnTo>
                    <a:pt x="199" y="68"/>
                  </a:lnTo>
                  <a:lnTo>
                    <a:pt x="206" y="66"/>
                  </a:lnTo>
                  <a:lnTo>
                    <a:pt x="212" y="64"/>
                  </a:lnTo>
                  <a:lnTo>
                    <a:pt x="290" y="64"/>
                  </a:lnTo>
                  <a:lnTo>
                    <a:pt x="290" y="47"/>
                  </a:lnTo>
                  <a:lnTo>
                    <a:pt x="290" y="47"/>
                  </a:lnTo>
                  <a:lnTo>
                    <a:pt x="290" y="36"/>
                  </a:lnTo>
                  <a:lnTo>
                    <a:pt x="287" y="28"/>
                  </a:lnTo>
                  <a:lnTo>
                    <a:pt x="283" y="21"/>
                  </a:lnTo>
                  <a:lnTo>
                    <a:pt x="278" y="14"/>
                  </a:lnTo>
                  <a:lnTo>
                    <a:pt x="271" y="9"/>
                  </a:lnTo>
                  <a:lnTo>
                    <a:pt x="264" y="3"/>
                  </a:lnTo>
                  <a:lnTo>
                    <a:pt x="256" y="2"/>
                  </a:lnTo>
                  <a:lnTo>
                    <a:pt x="247" y="0"/>
                  </a:lnTo>
                  <a:lnTo>
                    <a:pt x="43" y="0"/>
                  </a:lnTo>
                  <a:lnTo>
                    <a:pt x="43" y="0"/>
                  </a:lnTo>
                  <a:lnTo>
                    <a:pt x="34" y="2"/>
                  </a:lnTo>
                  <a:lnTo>
                    <a:pt x="26" y="3"/>
                  </a:lnTo>
                  <a:lnTo>
                    <a:pt x="19" y="9"/>
                  </a:lnTo>
                  <a:lnTo>
                    <a:pt x="12" y="14"/>
                  </a:lnTo>
                  <a:lnTo>
                    <a:pt x="7" y="21"/>
                  </a:lnTo>
                  <a:lnTo>
                    <a:pt x="3" y="28"/>
                  </a:lnTo>
                  <a:lnTo>
                    <a:pt x="1" y="36"/>
                  </a:lnTo>
                  <a:lnTo>
                    <a:pt x="0" y="47"/>
                  </a:lnTo>
                  <a:lnTo>
                    <a:pt x="0" y="144"/>
                  </a:lnTo>
                  <a:lnTo>
                    <a:pt x="0" y="144"/>
                  </a:lnTo>
                  <a:lnTo>
                    <a:pt x="1" y="154"/>
                  </a:lnTo>
                  <a:lnTo>
                    <a:pt x="3" y="163"/>
                  </a:lnTo>
                  <a:lnTo>
                    <a:pt x="7" y="170"/>
                  </a:lnTo>
                  <a:lnTo>
                    <a:pt x="12" y="177"/>
                  </a:lnTo>
                  <a:lnTo>
                    <a:pt x="19" y="182"/>
                  </a:lnTo>
                  <a:lnTo>
                    <a:pt x="26" y="187"/>
                  </a:lnTo>
                  <a:lnTo>
                    <a:pt x="34" y="189"/>
                  </a:lnTo>
                  <a:lnTo>
                    <a:pt x="43" y="190"/>
                  </a:lnTo>
                  <a:lnTo>
                    <a:pt x="77" y="190"/>
                  </a:lnTo>
                  <a:lnTo>
                    <a:pt x="77" y="190"/>
                  </a:lnTo>
                  <a:lnTo>
                    <a:pt x="77" y="244"/>
                  </a:lnTo>
                  <a:lnTo>
                    <a:pt x="77" y="244"/>
                  </a:lnTo>
                  <a:lnTo>
                    <a:pt x="77" y="246"/>
                  </a:lnTo>
                  <a:lnTo>
                    <a:pt x="79" y="248"/>
                  </a:lnTo>
                  <a:lnTo>
                    <a:pt x="81" y="248"/>
                  </a:lnTo>
                  <a:lnTo>
                    <a:pt x="83" y="248"/>
                  </a:lnTo>
                  <a:lnTo>
                    <a:pt x="83" y="248"/>
                  </a:lnTo>
                  <a:lnTo>
                    <a:pt x="131" y="190"/>
                  </a:lnTo>
                  <a:lnTo>
                    <a:pt x="180" y="190"/>
                  </a:lnTo>
                  <a:lnTo>
                    <a:pt x="180" y="190"/>
                  </a:lnTo>
                  <a:lnTo>
                    <a:pt x="178" y="182"/>
                  </a:lnTo>
                  <a:lnTo>
                    <a:pt x="178" y="182"/>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1000">
                <a:solidFill>
                  <a:srgbClr val="000000"/>
                </a:solidFill>
              </a:endParaRPr>
            </a:p>
          </p:txBody>
        </p:sp>
        <p:sp>
          <p:nvSpPr>
            <p:cNvPr id="116" name="Freeform 89"/>
            <p:cNvSpPr>
              <a:spLocks/>
            </p:cNvSpPr>
            <p:nvPr/>
          </p:nvSpPr>
          <p:spPr bwMode="auto">
            <a:xfrm>
              <a:off x="2987060" y="1672460"/>
              <a:ext cx="141858" cy="117033"/>
            </a:xfrm>
            <a:custGeom>
              <a:avLst/>
              <a:gdLst>
                <a:gd name="T0" fmla="*/ 0 w 240"/>
                <a:gd name="T1" fmla="*/ 33 h 198"/>
                <a:gd name="T2" fmla="*/ 0 w 240"/>
                <a:gd name="T3" fmla="*/ 123 h 198"/>
                <a:gd name="T4" fmla="*/ 0 w 240"/>
                <a:gd name="T5" fmla="*/ 123 h 198"/>
                <a:gd name="T6" fmla="*/ 0 w 240"/>
                <a:gd name="T7" fmla="*/ 128 h 198"/>
                <a:gd name="T8" fmla="*/ 1 w 240"/>
                <a:gd name="T9" fmla="*/ 135 h 198"/>
                <a:gd name="T10" fmla="*/ 5 w 240"/>
                <a:gd name="T11" fmla="*/ 141 h 198"/>
                <a:gd name="T12" fmla="*/ 8 w 240"/>
                <a:gd name="T13" fmla="*/ 146 h 198"/>
                <a:gd name="T14" fmla="*/ 13 w 240"/>
                <a:gd name="T15" fmla="*/ 151 h 198"/>
                <a:gd name="T16" fmla="*/ 19 w 240"/>
                <a:gd name="T17" fmla="*/ 153 h 198"/>
                <a:gd name="T18" fmla="*/ 24 w 240"/>
                <a:gd name="T19" fmla="*/ 156 h 198"/>
                <a:gd name="T20" fmla="*/ 31 w 240"/>
                <a:gd name="T21" fmla="*/ 156 h 198"/>
                <a:gd name="T22" fmla="*/ 116 w 240"/>
                <a:gd name="T23" fmla="*/ 156 h 198"/>
                <a:gd name="T24" fmla="*/ 116 w 240"/>
                <a:gd name="T25" fmla="*/ 156 h 198"/>
                <a:gd name="T26" fmla="*/ 150 w 240"/>
                <a:gd name="T27" fmla="*/ 198 h 198"/>
                <a:gd name="T28" fmla="*/ 150 w 240"/>
                <a:gd name="T29" fmla="*/ 198 h 198"/>
                <a:gd name="T30" fmla="*/ 152 w 240"/>
                <a:gd name="T31" fmla="*/ 198 h 198"/>
                <a:gd name="T32" fmla="*/ 154 w 240"/>
                <a:gd name="T33" fmla="*/ 198 h 198"/>
                <a:gd name="T34" fmla="*/ 155 w 240"/>
                <a:gd name="T35" fmla="*/ 196 h 198"/>
                <a:gd name="T36" fmla="*/ 155 w 240"/>
                <a:gd name="T37" fmla="*/ 196 h 198"/>
                <a:gd name="T38" fmla="*/ 155 w 240"/>
                <a:gd name="T39" fmla="*/ 156 h 198"/>
                <a:gd name="T40" fmla="*/ 207 w 240"/>
                <a:gd name="T41" fmla="*/ 156 h 198"/>
                <a:gd name="T42" fmla="*/ 207 w 240"/>
                <a:gd name="T43" fmla="*/ 156 h 198"/>
                <a:gd name="T44" fmla="*/ 214 w 240"/>
                <a:gd name="T45" fmla="*/ 156 h 198"/>
                <a:gd name="T46" fmla="*/ 219 w 240"/>
                <a:gd name="T47" fmla="*/ 153 h 198"/>
                <a:gd name="T48" fmla="*/ 224 w 240"/>
                <a:gd name="T49" fmla="*/ 151 h 198"/>
                <a:gd name="T50" fmla="*/ 230 w 240"/>
                <a:gd name="T51" fmla="*/ 146 h 198"/>
                <a:gd name="T52" fmla="*/ 233 w 240"/>
                <a:gd name="T53" fmla="*/ 141 h 198"/>
                <a:gd name="T54" fmla="*/ 237 w 240"/>
                <a:gd name="T55" fmla="*/ 135 h 198"/>
                <a:gd name="T56" fmla="*/ 238 w 240"/>
                <a:gd name="T57" fmla="*/ 128 h 198"/>
                <a:gd name="T58" fmla="*/ 240 w 240"/>
                <a:gd name="T59" fmla="*/ 123 h 198"/>
                <a:gd name="T60" fmla="*/ 240 w 240"/>
                <a:gd name="T61" fmla="*/ 33 h 198"/>
                <a:gd name="T62" fmla="*/ 240 w 240"/>
                <a:gd name="T63" fmla="*/ 33 h 198"/>
                <a:gd name="T64" fmla="*/ 238 w 240"/>
                <a:gd name="T65" fmla="*/ 28 h 198"/>
                <a:gd name="T66" fmla="*/ 237 w 240"/>
                <a:gd name="T67" fmla="*/ 21 h 198"/>
                <a:gd name="T68" fmla="*/ 233 w 240"/>
                <a:gd name="T69" fmla="*/ 16 h 198"/>
                <a:gd name="T70" fmla="*/ 230 w 240"/>
                <a:gd name="T71" fmla="*/ 11 h 198"/>
                <a:gd name="T72" fmla="*/ 224 w 240"/>
                <a:gd name="T73" fmla="*/ 6 h 198"/>
                <a:gd name="T74" fmla="*/ 219 w 240"/>
                <a:gd name="T75" fmla="*/ 4 h 198"/>
                <a:gd name="T76" fmla="*/ 214 w 240"/>
                <a:gd name="T77" fmla="*/ 0 h 198"/>
                <a:gd name="T78" fmla="*/ 207 w 240"/>
                <a:gd name="T79" fmla="*/ 0 h 198"/>
                <a:gd name="T80" fmla="*/ 31 w 240"/>
                <a:gd name="T81" fmla="*/ 0 h 198"/>
                <a:gd name="T82" fmla="*/ 31 w 240"/>
                <a:gd name="T83" fmla="*/ 0 h 198"/>
                <a:gd name="T84" fmla="*/ 24 w 240"/>
                <a:gd name="T85" fmla="*/ 0 h 198"/>
                <a:gd name="T86" fmla="*/ 19 w 240"/>
                <a:gd name="T87" fmla="*/ 4 h 198"/>
                <a:gd name="T88" fmla="*/ 13 w 240"/>
                <a:gd name="T89" fmla="*/ 6 h 198"/>
                <a:gd name="T90" fmla="*/ 8 w 240"/>
                <a:gd name="T91" fmla="*/ 11 h 198"/>
                <a:gd name="T92" fmla="*/ 5 w 240"/>
                <a:gd name="T93" fmla="*/ 16 h 198"/>
                <a:gd name="T94" fmla="*/ 1 w 240"/>
                <a:gd name="T95" fmla="*/ 21 h 198"/>
                <a:gd name="T96" fmla="*/ 0 w 240"/>
                <a:gd name="T97" fmla="*/ 28 h 198"/>
                <a:gd name="T98" fmla="*/ 0 w 240"/>
                <a:gd name="T99" fmla="*/ 33 h 198"/>
                <a:gd name="T100" fmla="*/ 0 w 240"/>
                <a:gd name="T101" fmla="*/ 33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40" h="198">
                  <a:moveTo>
                    <a:pt x="0" y="33"/>
                  </a:moveTo>
                  <a:lnTo>
                    <a:pt x="0" y="123"/>
                  </a:lnTo>
                  <a:lnTo>
                    <a:pt x="0" y="123"/>
                  </a:lnTo>
                  <a:lnTo>
                    <a:pt x="0" y="128"/>
                  </a:lnTo>
                  <a:lnTo>
                    <a:pt x="1" y="135"/>
                  </a:lnTo>
                  <a:lnTo>
                    <a:pt x="5" y="141"/>
                  </a:lnTo>
                  <a:lnTo>
                    <a:pt x="8" y="146"/>
                  </a:lnTo>
                  <a:lnTo>
                    <a:pt x="13" y="151"/>
                  </a:lnTo>
                  <a:lnTo>
                    <a:pt x="19" y="153"/>
                  </a:lnTo>
                  <a:lnTo>
                    <a:pt x="24" y="156"/>
                  </a:lnTo>
                  <a:lnTo>
                    <a:pt x="31" y="156"/>
                  </a:lnTo>
                  <a:lnTo>
                    <a:pt x="116" y="156"/>
                  </a:lnTo>
                  <a:lnTo>
                    <a:pt x="116" y="156"/>
                  </a:lnTo>
                  <a:lnTo>
                    <a:pt x="150" y="198"/>
                  </a:lnTo>
                  <a:lnTo>
                    <a:pt x="150" y="198"/>
                  </a:lnTo>
                  <a:lnTo>
                    <a:pt x="152" y="198"/>
                  </a:lnTo>
                  <a:lnTo>
                    <a:pt x="154" y="198"/>
                  </a:lnTo>
                  <a:lnTo>
                    <a:pt x="155" y="196"/>
                  </a:lnTo>
                  <a:lnTo>
                    <a:pt x="155" y="196"/>
                  </a:lnTo>
                  <a:lnTo>
                    <a:pt x="155" y="156"/>
                  </a:lnTo>
                  <a:lnTo>
                    <a:pt x="207" y="156"/>
                  </a:lnTo>
                  <a:lnTo>
                    <a:pt x="207" y="156"/>
                  </a:lnTo>
                  <a:lnTo>
                    <a:pt x="214" y="156"/>
                  </a:lnTo>
                  <a:lnTo>
                    <a:pt x="219" y="153"/>
                  </a:lnTo>
                  <a:lnTo>
                    <a:pt x="224" y="151"/>
                  </a:lnTo>
                  <a:lnTo>
                    <a:pt x="230" y="146"/>
                  </a:lnTo>
                  <a:lnTo>
                    <a:pt x="233" y="141"/>
                  </a:lnTo>
                  <a:lnTo>
                    <a:pt x="237" y="135"/>
                  </a:lnTo>
                  <a:lnTo>
                    <a:pt x="238" y="128"/>
                  </a:lnTo>
                  <a:lnTo>
                    <a:pt x="240" y="123"/>
                  </a:lnTo>
                  <a:lnTo>
                    <a:pt x="240" y="33"/>
                  </a:lnTo>
                  <a:lnTo>
                    <a:pt x="240" y="33"/>
                  </a:lnTo>
                  <a:lnTo>
                    <a:pt x="238" y="28"/>
                  </a:lnTo>
                  <a:lnTo>
                    <a:pt x="237" y="21"/>
                  </a:lnTo>
                  <a:lnTo>
                    <a:pt x="233" y="16"/>
                  </a:lnTo>
                  <a:lnTo>
                    <a:pt x="230" y="11"/>
                  </a:lnTo>
                  <a:lnTo>
                    <a:pt x="224" y="6"/>
                  </a:lnTo>
                  <a:lnTo>
                    <a:pt x="219" y="4"/>
                  </a:lnTo>
                  <a:lnTo>
                    <a:pt x="214" y="0"/>
                  </a:lnTo>
                  <a:lnTo>
                    <a:pt x="207" y="0"/>
                  </a:lnTo>
                  <a:lnTo>
                    <a:pt x="31" y="0"/>
                  </a:lnTo>
                  <a:lnTo>
                    <a:pt x="31" y="0"/>
                  </a:lnTo>
                  <a:lnTo>
                    <a:pt x="24" y="0"/>
                  </a:lnTo>
                  <a:lnTo>
                    <a:pt x="19" y="4"/>
                  </a:lnTo>
                  <a:lnTo>
                    <a:pt x="13" y="6"/>
                  </a:lnTo>
                  <a:lnTo>
                    <a:pt x="8" y="11"/>
                  </a:lnTo>
                  <a:lnTo>
                    <a:pt x="5" y="16"/>
                  </a:lnTo>
                  <a:lnTo>
                    <a:pt x="1" y="21"/>
                  </a:lnTo>
                  <a:lnTo>
                    <a:pt x="0" y="28"/>
                  </a:lnTo>
                  <a:lnTo>
                    <a:pt x="0" y="33"/>
                  </a:lnTo>
                  <a:lnTo>
                    <a:pt x="0" y="3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1000">
                <a:solidFill>
                  <a:srgbClr val="000000"/>
                </a:solidFill>
              </a:endParaRPr>
            </a:p>
          </p:txBody>
        </p:sp>
      </p:grpSp>
      <p:grpSp>
        <p:nvGrpSpPr>
          <p:cNvPr id="117" name="Group 116"/>
          <p:cNvGrpSpPr/>
          <p:nvPr/>
        </p:nvGrpSpPr>
        <p:grpSpPr>
          <a:xfrm>
            <a:off x="2372754" y="4652583"/>
            <a:ext cx="373063" cy="371475"/>
            <a:chOff x="4743451" y="3619501"/>
            <a:chExt cx="373063" cy="371475"/>
          </a:xfrm>
          <a:solidFill>
            <a:schemeClr val="accent3"/>
          </a:solidFill>
        </p:grpSpPr>
        <p:sp>
          <p:nvSpPr>
            <p:cNvPr id="118" name="Freeform 21"/>
            <p:cNvSpPr>
              <a:spLocks/>
            </p:cNvSpPr>
            <p:nvPr/>
          </p:nvSpPr>
          <p:spPr bwMode="auto">
            <a:xfrm>
              <a:off x="4743451" y="3619501"/>
              <a:ext cx="373063" cy="371475"/>
            </a:xfrm>
            <a:custGeom>
              <a:avLst/>
              <a:gdLst>
                <a:gd name="T0" fmla="*/ 63 w 1299"/>
                <a:gd name="T1" fmla="*/ 1299 h 1299"/>
                <a:gd name="T2" fmla="*/ 1236 w 1299"/>
                <a:gd name="T3" fmla="*/ 1299 h 1299"/>
                <a:gd name="T4" fmla="*/ 1299 w 1299"/>
                <a:gd name="T5" fmla="*/ 1236 h 1299"/>
                <a:gd name="T6" fmla="*/ 1236 w 1299"/>
                <a:gd name="T7" fmla="*/ 1173 h 1299"/>
                <a:gd name="T8" fmla="*/ 126 w 1299"/>
                <a:gd name="T9" fmla="*/ 1173 h 1299"/>
                <a:gd name="T10" fmla="*/ 126 w 1299"/>
                <a:gd name="T11" fmla="*/ 63 h 1299"/>
                <a:gd name="T12" fmla="*/ 63 w 1299"/>
                <a:gd name="T13" fmla="*/ 0 h 1299"/>
                <a:gd name="T14" fmla="*/ 0 w 1299"/>
                <a:gd name="T15" fmla="*/ 63 h 1299"/>
                <a:gd name="T16" fmla="*/ 0 w 1299"/>
                <a:gd name="T17" fmla="*/ 1236 h 1299"/>
                <a:gd name="T18" fmla="*/ 63 w 1299"/>
                <a:gd name="T19" fmla="*/ 1299 h 1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99" h="1299">
                  <a:moveTo>
                    <a:pt x="63" y="1299"/>
                  </a:moveTo>
                  <a:cubicBezTo>
                    <a:pt x="1236" y="1299"/>
                    <a:pt x="1236" y="1299"/>
                    <a:pt x="1236" y="1299"/>
                  </a:cubicBezTo>
                  <a:cubicBezTo>
                    <a:pt x="1270" y="1299"/>
                    <a:pt x="1299" y="1271"/>
                    <a:pt x="1299" y="1236"/>
                  </a:cubicBezTo>
                  <a:cubicBezTo>
                    <a:pt x="1299" y="1201"/>
                    <a:pt x="1270" y="1173"/>
                    <a:pt x="1236" y="1173"/>
                  </a:cubicBezTo>
                  <a:cubicBezTo>
                    <a:pt x="126" y="1173"/>
                    <a:pt x="126" y="1173"/>
                    <a:pt x="126" y="1173"/>
                  </a:cubicBezTo>
                  <a:cubicBezTo>
                    <a:pt x="126" y="63"/>
                    <a:pt x="126" y="63"/>
                    <a:pt x="126" y="63"/>
                  </a:cubicBezTo>
                  <a:cubicBezTo>
                    <a:pt x="126" y="29"/>
                    <a:pt x="98" y="0"/>
                    <a:pt x="63" y="0"/>
                  </a:cubicBezTo>
                  <a:cubicBezTo>
                    <a:pt x="28" y="0"/>
                    <a:pt x="0" y="29"/>
                    <a:pt x="0" y="63"/>
                  </a:cubicBezTo>
                  <a:cubicBezTo>
                    <a:pt x="0" y="1236"/>
                    <a:pt x="0" y="1236"/>
                    <a:pt x="0" y="1236"/>
                  </a:cubicBezTo>
                  <a:cubicBezTo>
                    <a:pt x="0" y="1271"/>
                    <a:pt x="28" y="1299"/>
                    <a:pt x="63" y="129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19" name="Freeform 22"/>
            <p:cNvSpPr>
              <a:spLocks/>
            </p:cNvSpPr>
            <p:nvPr/>
          </p:nvSpPr>
          <p:spPr bwMode="auto">
            <a:xfrm>
              <a:off x="4967288" y="3683001"/>
              <a:ext cx="125413" cy="125413"/>
            </a:xfrm>
            <a:custGeom>
              <a:avLst/>
              <a:gdLst>
                <a:gd name="T0" fmla="*/ 45 w 435"/>
                <a:gd name="T1" fmla="*/ 435 h 435"/>
                <a:gd name="T2" fmla="*/ 372 w 435"/>
                <a:gd name="T3" fmla="*/ 108 h 435"/>
                <a:gd name="T4" fmla="*/ 372 w 435"/>
                <a:gd name="T5" fmla="*/ 174 h 435"/>
                <a:gd name="T6" fmla="*/ 403 w 435"/>
                <a:gd name="T7" fmla="*/ 205 h 435"/>
                <a:gd name="T8" fmla="*/ 435 w 435"/>
                <a:gd name="T9" fmla="*/ 174 h 435"/>
                <a:gd name="T10" fmla="*/ 435 w 435"/>
                <a:gd name="T11" fmla="*/ 32 h 435"/>
                <a:gd name="T12" fmla="*/ 434 w 435"/>
                <a:gd name="T13" fmla="*/ 26 h 435"/>
                <a:gd name="T14" fmla="*/ 433 w 435"/>
                <a:gd name="T15" fmla="*/ 23 h 435"/>
                <a:gd name="T16" fmla="*/ 432 w 435"/>
                <a:gd name="T17" fmla="*/ 20 h 435"/>
                <a:gd name="T18" fmla="*/ 431 w 435"/>
                <a:gd name="T19" fmla="*/ 17 h 435"/>
                <a:gd name="T20" fmla="*/ 430 w 435"/>
                <a:gd name="T21" fmla="*/ 14 h 435"/>
                <a:gd name="T22" fmla="*/ 421 w 435"/>
                <a:gd name="T23" fmla="*/ 6 h 435"/>
                <a:gd name="T24" fmla="*/ 418 w 435"/>
                <a:gd name="T25" fmla="*/ 4 h 435"/>
                <a:gd name="T26" fmla="*/ 415 w 435"/>
                <a:gd name="T27" fmla="*/ 3 h 435"/>
                <a:gd name="T28" fmla="*/ 412 w 435"/>
                <a:gd name="T29" fmla="*/ 2 h 435"/>
                <a:gd name="T30" fmla="*/ 410 w 435"/>
                <a:gd name="T31" fmla="*/ 1 h 435"/>
                <a:gd name="T32" fmla="*/ 403 w 435"/>
                <a:gd name="T33" fmla="*/ 0 h 435"/>
                <a:gd name="T34" fmla="*/ 250 w 435"/>
                <a:gd name="T35" fmla="*/ 0 h 435"/>
                <a:gd name="T36" fmla="*/ 219 w 435"/>
                <a:gd name="T37" fmla="*/ 32 h 435"/>
                <a:gd name="T38" fmla="*/ 250 w 435"/>
                <a:gd name="T39" fmla="*/ 63 h 435"/>
                <a:gd name="T40" fmla="*/ 327 w 435"/>
                <a:gd name="T41" fmla="*/ 63 h 435"/>
                <a:gd name="T42" fmla="*/ 0 w 435"/>
                <a:gd name="T43" fmla="*/ 390 h 435"/>
                <a:gd name="T44" fmla="*/ 45 w 435"/>
                <a:gd name="T45" fmla="*/ 435 h 4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35" h="435">
                  <a:moveTo>
                    <a:pt x="45" y="435"/>
                  </a:moveTo>
                  <a:cubicBezTo>
                    <a:pt x="372" y="108"/>
                    <a:pt x="372" y="108"/>
                    <a:pt x="372" y="108"/>
                  </a:cubicBezTo>
                  <a:cubicBezTo>
                    <a:pt x="372" y="174"/>
                    <a:pt x="372" y="174"/>
                    <a:pt x="372" y="174"/>
                  </a:cubicBezTo>
                  <a:cubicBezTo>
                    <a:pt x="372" y="191"/>
                    <a:pt x="386" y="205"/>
                    <a:pt x="403" y="205"/>
                  </a:cubicBezTo>
                  <a:cubicBezTo>
                    <a:pt x="421" y="205"/>
                    <a:pt x="435" y="191"/>
                    <a:pt x="435" y="174"/>
                  </a:cubicBezTo>
                  <a:cubicBezTo>
                    <a:pt x="435" y="32"/>
                    <a:pt x="435" y="32"/>
                    <a:pt x="435" y="32"/>
                  </a:cubicBezTo>
                  <a:cubicBezTo>
                    <a:pt x="435" y="30"/>
                    <a:pt x="435" y="28"/>
                    <a:pt x="434" y="26"/>
                  </a:cubicBezTo>
                  <a:cubicBezTo>
                    <a:pt x="434" y="25"/>
                    <a:pt x="434" y="24"/>
                    <a:pt x="433" y="23"/>
                  </a:cubicBezTo>
                  <a:cubicBezTo>
                    <a:pt x="433" y="22"/>
                    <a:pt x="433" y="21"/>
                    <a:pt x="432" y="20"/>
                  </a:cubicBezTo>
                  <a:cubicBezTo>
                    <a:pt x="432" y="19"/>
                    <a:pt x="431" y="18"/>
                    <a:pt x="431" y="17"/>
                  </a:cubicBezTo>
                  <a:cubicBezTo>
                    <a:pt x="430" y="16"/>
                    <a:pt x="430" y="15"/>
                    <a:pt x="430" y="14"/>
                  </a:cubicBezTo>
                  <a:cubicBezTo>
                    <a:pt x="427" y="11"/>
                    <a:pt x="424" y="8"/>
                    <a:pt x="421" y="6"/>
                  </a:cubicBezTo>
                  <a:cubicBezTo>
                    <a:pt x="420" y="5"/>
                    <a:pt x="419" y="5"/>
                    <a:pt x="418" y="4"/>
                  </a:cubicBezTo>
                  <a:cubicBezTo>
                    <a:pt x="417" y="4"/>
                    <a:pt x="416" y="3"/>
                    <a:pt x="415" y="3"/>
                  </a:cubicBezTo>
                  <a:cubicBezTo>
                    <a:pt x="414" y="2"/>
                    <a:pt x="413" y="2"/>
                    <a:pt x="412" y="2"/>
                  </a:cubicBezTo>
                  <a:cubicBezTo>
                    <a:pt x="411" y="1"/>
                    <a:pt x="410" y="1"/>
                    <a:pt x="410" y="1"/>
                  </a:cubicBezTo>
                  <a:cubicBezTo>
                    <a:pt x="407" y="0"/>
                    <a:pt x="405" y="0"/>
                    <a:pt x="403" y="0"/>
                  </a:cubicBezTo>
                  <a:cubicBezTo>
                    <a:pt x="250" y="0"/>
                    <a:pt x="250" y="0"/>
                    <a:pt x="250" y="0"/>
                  </a:cubicBezTo>
                  <a:cubicBezTo>
                    <a:pt x="233" y="0"/>
                    <a:pt x="219" y="14"/>
                    <a:pt x="219" y="32"/>
                  </a:cubicBezTo>
                  <a:cubicBezTo>
                    <a:pt x="219" y="49"/>
                    <a:pt x="233" y="63"/>
                    <a:pt x="250" y="63"/>
                  </a:cubicBezTo>
                  <a:cubicBezTo>
                    <a:pt x="327" y="63"/>
                    <a:pt x="327" y="63"/>
                    <a:pt x="327" y="63"/>
                  </a:cubicBezTo>
                  <a:cubicBezTo>
                    <a:pt x="0" y="390"/>
                    <a:pt x="0" y="390"/>
                    <a:pt x="0" y="390"/>
                  </a:cubicBezTo>
                  <a:lnTo>
                    <a:pt x="45" y="4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20" name="Freeform 23"/>
            <p:cNvSpPr>
              <a:spLocks/>
            </p:cNvSpPr>
            <p:nvPr/>
          </p:nvSpPr>
          <p:spPr bwMode="auto">
            <a:xfrm>
              <a:off x="4881563" y="3824288"/>
              <a:ext cx="71438" cy="50800"/>
            </a:xfrm>
            <a:custGeom>
              <a:avLst/>
              <a:gdLst>
                <a:gd name="T0" fmla="*/ 45 w 249"/>
                <a:gd name="T1" fmla="*/ 52 h 182"/>
                <a:gd name="T2" fmla="*/ 0 w 249"/>
                <a:gd name="T3" fmla="*/ 97 h 182"/>
                <a:gd name="T4" fmla="*/ 76 w 249"/>
                <a:gd name="T5" fmla="*/ 173 h 182"/>
                <a:gd name="T6" fmla="*/ 99 w 249"/>
                <a:gd name="T7" fmla="*/ 182 h 182"/>
                <a:gd name="T8" fmla="*/ 121 w 249"/>
                <a:gd name="T9" fmla="*/ 173 h 182"/>
                <a:gd name="T10" fmla="*/ 249 w 249"/>
                <a:gd name="T11" fmla="*/ 45 h 182"/>
                <a:gd name="T12" fmla="*/ 204 w 249"/>
                <a:gd name="T13" fmla="*/ 0 h 182"/>
                <a:gd name="T14" fmla="*/ 99 w 249"/>
                <a:gd name="T15" fmla="*/ 106 h 182"/>
                <a:gd name="T16" fmla="*/ 45 w 249"/>
                <a:gd name="T17" fmla="*/ 52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9" h="182">
                  <a:moveTo>
                    <a:pt x="45" y="52"/>
                  </a:moveTo>
                  <a:cubicBezTo>
                    <a:pt x="0" y="97"/>
                    <a:pt x="0" y="97"/>
                    <a:pt x="0" y="97"/>
                  </a:cubicBezTo>
                  <a:cubicBezTo>
                    <a:pt x="76" y="173"/>
                    <a:pt x="76" y="173"/>
                    <a:pt x="76" y="173"/>
                  </a:cubicBezTo>
                  <a:cubicBezTo>
                    <a:pt x="82" y="179"/>
                    <a:pt x="91" y="182"/>
                    <a:pt x="99" y="182"/>
                  </a:cubicBezTo>
                  <a:cubicBezTo>
                    <a:pt x="107" y="182"/>
                    <a:pt x="115" y="179"/>
                    <a:pt x="121" y="173"/>
                  </a:cubicBezTo>
                  <a:cubicBezTo>
                    <a:pt x="249" y="45"/>
                    <a:pt x="249" y="45"/>
                    <a:pt x="249" y="45"/>
                  </a:cubicBezTo>
                  <a:cubicBezTo>
                    <a:pt x="204" y="0"/>
                    <a:pt x="204" y="0"/>
                    <a:pt x="204" y="0"/>
                  </a:cubicBezTo>
                  <a:cubicBezTo>
                    <a:pt x="99" y="106"/>
                    <a:pt x="99" y="106"/>
                    <a:pt x="99" y="106"/>
                  </a:cubicBezTo>
                  <a:lnTo>
                    <a:pt x="45"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21" name="Freeform 24"/>
            <p:cNvSpPr>
              <a:spLocks/>
            </p:cNvSpPr>
            <p:nvPr/>
          </p:nvSpPr>
          <p:spPr bwMode="auto">
            <a:xfrm>
              <a:off x="4803776" y="3760788"/>
              <a:ext cx="61913" cy="61913"/>
            </a:xfrm>
            <a:custGeom>
              <a:avLst/>
              <a:gdLst>
                <a:gd name="T0" fmla="*/ 171 w 216"/>
                <a:gd name="T1" fmla="*/ 216 h 216"/>
                <a:gd name="T2" fmla="*/ 216 w 216"/>
                <a:gd name="T3" fmla="*/ 171 h 216"/>
                <a:gd name="T4" fmla="*/ 57 w 216"/>
                <a:gd name="T5" fmla="*/ 12 h 216"/>
                <a:gd name="T6" fmla="*/ 13 w 216"/>
                <a:gd name="T7" fmla="*/ 12 h 216"/>
                <a:gd name="T8" fmla="*/ 13 w 216"/>
                <a:gd name="T9" fmla="*/ 57 h 216"/>
                <a:gd name="T10" fmla="*/ 171 w 216"/>
                <a:gd name="T11" fmla="*/ 216 h 216"/>
              </a:gdLst>
              <a:ahLst/>
              <a:cxnLst>
                <a:cxn ang="0">
                  <a:pos x="T0" y="T1"/>
                </a:cxn>
                <a:cxn ang="0">
                  <a:pos x="T2" y="T3"/>
                </a:cxn>
                <a:cxn ang="0">
                  <a:pos x="T4" y="T5"/>
                </a:cxn>
                <a:cxn ang="0">
                  <a:pos x="T6" y="T7"/>
                </a:cxn>
                <a:cxn ang="0">
                  <a:pos x="T8" y="T9"/>
                </a:cxn>
                <a:cxn ang="0">
                  <a:pos x="T10" y="T11"/>
                </a:cxn>
              </a:cxnLst>
              <a:rect l="0" t="0" r="r" b="b"/>
              <a:pathLst>
                <a:path w="216" h="216">
                  <a:moveTo>
                    <a:pt x="171" y="216"/>
                  </a:moveTo>
                  <a:cubicBezTo>
                    <a:pt x="216" y="171"/>
                    <a:pt x="216" y="171"/>
                    <a:pt x="216" y="171"/>
                  </a:cubicBezTo>
                  <a:cubicBezTo>
                    <a:pt x="57" y="12"/>
                    <a:pt x="57" y="12"/>
                    <a:pt x="57" y="12"/>
                  </a:cubicBezTo>
                  <a:cubicBezTo>
                    <a:pt x="45" y="0"/>
                    <a:pt x="25" y="0"/>
                    <a:pt x="13" y="12"/>
                  </a:cubicBezTo>
                  <a:cubicBezTo>
                    <a:pt x="0" y="25"/>
                    <a:pt x="0" y="45"/>
                    <a:pt x="13" y="57"/>
                  </a:cubicBezTo>
                  <a:lnTo>
                    <a:pt x="171" y="2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22" name="Freeform 25"/>
            <p:cNvSpPr>
              <a:spLocks/>
            </p:cNvSpPr>
            <p:nvPr/>
          </p:nvSpPr>
          <p:spPr bwMode="auto">
            <a:xfrm>
              <a:off x="4802188" y="3771901"/>
              <a:ext cx="295275" cy="128588"/>
            </a:xfrm>
            <a:custGeom>
              <a:avLst/>
              <a:gdLst>
                <a:gd name="T0" fmla="*/ 995 w 1027"/>
                <a:gd name="T1" fmla="*/ 413 h 454"/>
                <a:gd name="T2" fmla="*/ 1027 w 1027"/>
                <a:gd name="T3" fmla="*/ 382 h 454"/>
                <a:gd name="T4" fmla="*/ 1027 w 1027"/>
                <a:gd name="T5" fmla="*/ 240 h 454"/>
                <a:gd name="T6" fmla="*/ 995 w 1027"/>
                <a:gd name="T7" fmla="*/ 208 h 454"/>
                <a:gd name="T8" fmla="*/ 842 w 1027"/>
                <a:gd name="T9" fmla="*/ 208 h 454"/>
                <a:gd name="T10" fmla="*/ 810 w 1027"/>
                <a:gd name="T11" fmla="*/ 240 h 454"/>
                <a:gd name="T12" fmla="*/ 842 w 1027"/>
                <a:gd name="T13" fmla="*/ 271 h 454"/>
                <a:gd name="T14" fmla="*/ 921 w 1027"/>
                <a:gd name="T15" fmla="*/ 271 h 454"/>
                <a:gd name="T16" fmla="*/ 816 w 1027"/>
                <a:gd name="T17" fmla="*/ 377 h 454"/>
                <a:gd name="T18" fmla="*/ 448 w 1027"/>
                <a:gd name="T19" fmla="*/ 9 h 454"/>
                <a:gd name="T20" fmla="*/ 426 w 1027"/>
                <a:gd name="T21" fmla="*/ 0 h 454"/>
                <a:gd name="T22" fmla="*/ 403 w 1027"/>
                <a:gd name="T23" fmla="*/ 9 h 454"/>
                <a:gd name="T24" fmla="*/ 12 w 1027"/>
                <a:gd name="T25" fmla="*/ 400 h 454"/>
                <a:gd name="T26" fmla="*/ 12 w 1027"/>
                <a:gd name="T27" fmla="*/ 445 h 454"/>
                <a:gd name="T28" fmla="*/ 34 w 1027"/>
                <a:gd name="T29" fmla="*/ 454 h 454"/>
                <a:gd name="T30" fmla="*/ 57 w 1027"/>
                <a:gd name="T31" fmla="*/ 445 h 454"/>
                <a:gd name="T32" fmla="*/ 426 w 1027"/>
                <a:gd name="T33" fmla="*/ 76 h 454"/>
                <a:gd name="T34" fmla="*/ 793 w 1027"/>
                <a:gd name="T35" fmla="*/ 444 h 454"/>
                <a:gd name="T36" fmla="*/ 816 w 1027"/>
                <a:gd name="T37" fmla="*/ 453 h 454"/>
                <a:gd name="T38" fmla="*/ 838 w 1027"/>
                <a:gd name="T39" fmla="*/ 444 h 454"/>
                <a:gd name="T40" fmla="*/ 964 w 1027"/>
                <a:gd name="T41" fmla="*/ 318 h 454"/>
                <a:gd name="T42" fmla="*/ 964 w 1027"/>
                <a:gd name="T43" fmla="*/ 382 h 454"/>
                <a:gd name="T44" fmla="*/ 995 w 1027"/>
                <a:gd name="T45" fmla="*/ 413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027" h="454">
                  <a:moveTo>
                    <a:pt x="995" y="413"/>
                  </a:moveTo>
                  <a:cubicBezTo>
                    <a:pt x="1013" y="413"/>
                    <a:pt x="1027" y="399"/>
                    <a:pt x="1027" y="382"/>
                  </a:cubicBezTo>
                  <a:cubicBezTo>
                    <a:pt x="1027" y="240"/>
                    <a:pt x="1027" y="240"/>
                    <a:pt x="1027" y="240"/>
                  </a:cubicBezTo>
                  <a:cubicBezTo>
                    <a:pt x="1027" y="222"/>
                    <a:pt x="1013" y="208"/>
                    <a:pt x="995" y="208"/>
                  </a:cubicBezTo>
                  <a:cubicBezTo>
                    <a:pt x="842" y="208"/>
                    <a:pt x="842" y="208"/>
                    <a:pt x="842" y="208"/>
                  </a:cubicBezTo>
                  <a:cubicBezTo>
                    <a:pt x="824" y="208"/>
                    <a:pt x="810" y="222"/>
                    <a:pt x="810" y="240"/>
                  </a:cubicBezTo>
                  <a:cubicBezTo>
                    <a:pt x="810" y="257"/>
                    <a:pt x="824" y="271"/>
                    <a:pt x="842" y="271"/>
                  </a:cubicBezTo>
                  <a:cubicBezTo>
                    <a:pt x="921" y="271"/>
                    <a:pt x="921" y="271"/>
                    <a:pt x="921" y="271"/>
                  </a:cubicBezTo>
                  <a:cubicBezTo>
                    <a:pt x="816" y="377"/>
                    <a:pt x="816" y="377"/>
                    <a:pt x="816" y="377"/>
                  </a:cubicBezTo>
                  <a:cubicBezTo>
                    <a:pt x="448" y="9"/>
                    <a:pt x="448" y="9"/>
                    <a:pt x="448" y="9"/>
                  </a:cubicBezTo>
                  <a:cubicBezTo>
                    <a:pt x="442" y="3"/>
                    <a:pt x="434" y="0"/>
                    <a:pt x="426" y="0"/>
                  </a:cubicBezTo>
                  <a:cubicBezTo>
                    <a:pt x="418" y="0"/>
                    <a:pt x="410" y="3"/>
                    <a:pt x="403" y="9"/>
                  </a:cubicBezTo>
                  <a:cubicBezTo>
                    <a:pt x="12" y="400"/>
                    <a:pt x="12" y="400"/>
                    <a:pt x="12" y="400"/>
                  </a:cubicBezTo>
                  <a:cubicBezTo>
                    <a:pt x="0" y="413"/>
                    <a:pt x="0" y="433"/>
                    <a:pt x="12" y="445"/>
                  </a:cubicBezTo>
                  <a:cubicBezTo>
                    <a:pt x="18" y="451"/>
                    <a:pt x="26" y="454"/>
                    <a:pt x="34" y="454"/>
                  </a:cubicBezTo>
                  <a:cubicBezTo>
                    <a:pt x="42" y="454"/>
                    <a:pt x="50" y="451"/>
                    <a:pt x="57" y="445"/>
                  </a:cubicBezTo>
                  <a:cubicBezTo>
                    <a:pt x="426" y="76"/>
                    <a:pt x="426" y="76"/>
                    <a:pt x="426" y="76"/>
                  </a:cubicBezTo>
                  <a:cubicBezTo>
                    <a:pt x="793" y="444"/>
                    <a:pt x="793" y="444"/>
                    <a:pt x="793" y="444"/>
                  </a:cubicBezTo>
                  <a:cubicBezTo>
                    <a:pt x="800" y="450"/>
                    <a:pt x="808" y="453"/>
                    <a:pt x="816" y="453"/>
                  </a:cubicBezTo>
                  <a:cubicBezTo>
                    <a:pt x="824" y="453"/>
                    <a:pt x="832" y="450"/>
                    <a:pt x="838" y="444"/>
                  </a:cubicBezTo>
                  <a:cubicBezTo>
                    <a:pt x="964" y="318"/>
                    <a:pt x="964" y="318"/>
                    <a:pt x="964" y="318"/>
                  </a:cubicBezTo>
                  <a:cubicBezTo>
                    <a:pt x="964" y="382"/>
                    <a:pt x="964" y="382"/>
                    <a:pt x="964" y="382"/>
                  </a:cubicBezTo>
                  <a:cubicBezTo>
                    <a:pt x="964" y="399"/>
                    <a:pt x="978" y="413"/>
                    <a:pt x="995" y="4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624702" name="TextBox 8"/>
          <p:cNvSpPr>
            <a:spLocks noChangeArrowheads="1"/>
          </p:cNvSpPr>
          <p:nvPr>
            <p:custDataLst>
              <p:tags r:id="rId5"/>
            </p:custDataLst>
          </p:nvPr>
        </p:nvSpPr>
        <p:spPr bwMode="auto">
          <a:xfrm>
            <a:off x="382790" y="1162254"/>
            <a:ext cx="255894" cy="256180"/>
          </a:xfrm>
          <a:prstGeom prst="ellipse">
            <a:avLst/>
          </a:prstGeom>
          <a:solidFill>
            <a:schemeClr val="accent1"/>
          </a:solidFill>
          <a:ln w="12700" algn="ctr">
            <a:solidFill>
              <a:schemeClr val="bg2"/>
            </a:solidFill>
            <a:round/>
            <a:headEnd/>
            <a:tailEnd/>
          </a:ln>
          <a:effectLst>
            <a:outerShdw blurRad="63500" sx="102000" sy="102000" algn="ctr" rotWithShape="0">
              <a:prstClr val="black">
                <a:alpha val="40000"/>
              </a:prstClr>
            </a:outerShdw>
          </a:effectLst>
          <a:extLst/>
        </p:spPr>
        <p:txBody>
          <a:bodyPr lIns="0" tIns="0" rIns="0" bIns="0" anchor="ctr">
            <a:noAutofit/>
          </a:bodyPr>
          <a:lstStyle/>
          <a:p>
            <a:pPr algn="ctr"/>
            <a:r>
              <a:rPr lang="en-US" sz="1300" b="1" dirty="0">
                <a:solidFill>
                  <a:srgbClr val="0065BD"/>
                </a:solidFill>
                <a:ea typeface="MS PGothic" pitchFamily="34" charset="-128"/>
              </a:rPr>
              <a:t>1</a:t>
            </a:r>
          </a:p>
        </p:txBody>
      </p:sp>
      <p:sp>
        <p:nvSpPr>
          <p:cNvPr id="624703" name="TextBox 8"/>
          <p:cNvSpPr>
            <a:spLocks noChangeArrowheads="1"/>
          </p:cNvSpPr>
          <p:nvPr>
            <p:custDataLst>
              <p:tags r:id="rId6"/>
            </p:custDataLst>
          </p:nvPr>
        </p:nvSpPr>
        <p:spPr bwMode="auto">
          <a:xfrm>
            <a:off x="382790" y="1874075"/>
            <a:ext cx="255894" cy="256180"/>
          </a:xfrm>
          <a:prstGeom prst="ellipse">
            <a:avLst/>
          </a:prstGeom>
          <a:solidFill>
            <a:schemeClr val="accent1"/>
          </a:solidFill>
          <a:ln w="12700" algn="ctr">
            <a:solidFill>
              <a:schemeClr val="bg2"/>
            </a:solidFill>
            <a:round/>
            <a:headEnd/>
            <a:tailEnd/>
          </a:ln>
          <a:effectLst>
            <a:outerShdw blurRad="63500" sx="102000" sy="102000" algn="ctr" rotWithShape="0">
              <a:prstClr val="black">
                <a:alpha val="40000"/>
              </a:prstClr>
            </a:outerShdw>
          </a:effectLst>
          <a:extLst/>
        </p:spPr>
        <p:txBody>
          <a:bodyPr lIns="0" tIns="0" rIns="0" bIns="0" anchor="ctr">
            <a:noAutofit/>
          </a:bodyPr>
          <a:lstStyle/>
          <a:p>
            <a:pPr algn="ctr"/>
            <a:r>
              <a:rPr lang="en-US" sz="1300" b="1" dirty="0">
                <a:solidFill>
                  <a:srgbClr val="0065BD"/>
                </a:solidFill>
                <a:ea typeface="MS PGothic" pitchFamily="34" charset="-128"/>
              </a:rPr>
              <a:t>2</a:t>
            </a:r>
          </a:p>
        </p:txBody>
      </p:sp>
      <p:sp>
        <p:nvSpPr>
          <p:cNvPr id="624704" name="TextBox 8"/>
          <p:cNvSpPr>
            <a:spLocks noChangeArrowheads="1"/>
          </p:cNvSpPr>
          <p:nvPr>
            <p:custDataLst>
              <p:tags r:id="rId7"/>
            </p:custDataLst>
          </p:nvPr>
        </p:nvSpPr>
        <p:spPr bwMode="auto">
          <a:xfrm>
            <a:off x="382790" y="2488146"/>
            <a:ext cx="255894" cy="256180"/>
          </a:xfrm>
          <a:prstGeom prst="ellipse">
            <a:avLst/>
          </a:prstGeom>
          <a:solidFill>
            <a:schemeClr val="accent1"/>
          </a:solidFill>
          <a:ln w="12700" algn="ctr">
            <a:solidFill>
              <a:schemeClr val="bg2"/>
            </a:solidFill>
            <a:round/>
            <a:headEnd/>
            <a:tailEnd/>
          </a:ln>
          <a:effectLst>
            <a:outerShdw blurRad="63500" sx="102000" sy="102000" algn="ctr" rotWithShape="0">
              <a:prstClr val="black">
                <a:alpha val="40000"/>
              </a:prstClr>
            </a:outerShdw>
          </a:effectLst>
          <a:extLst/>
        </p:spPr>
        <p:txBody>
          <a:bodyPr lIns="0" tIns="0" rIns="0" bIns="0" anchor="ctr">
            <a:noAutofit/>
          </a:bodyPr>
          <a:lstStyle/>
          <a:p>
            <a:pPr algn="ctr"/>
            <a:r>
              <a:rPr lang="en-US" sz="1300" b="1" dirty="0">
                <a:solidFill>
                  <a:srgbClr val="0065BD"/>
                </a:solidFill>
                <a:ea typeface="MS PGothic" pitchFamily="34" charset="-128"/>
              </a:rPr>
              <a:t>3</a:t>
            </a:r>
          </a:p>
        </p:txBody>
      </p:sp>
      <p:sp>
        <p:nvSpPr>
          <p:cNvPr id="624705" name="TextBox 8"/>
          <p:cNvSpPr>
            <a:spLocks noChangeArrowheads="1"/>
          </p:cNvSpPr>
          <p:nvPr>
            <p:custDataLst>
              <p:tags r:id="rId8"/>
            </p:custDataLst>
          </p:nvPr>
        </p:nvSpPr>
        <p:spPr bwMode="auto">
          <a:xfrm>
            <a:off x="382790" y="3151092"/>
            <a:ext cx="255894" cy="256180"/>
          </a:xfrm>
          <a:prstGeom prst="ellipse">
            <a:avLst/>
          </a:prstGeom>
          <a:solidFill>
            <a:schemeClr val="accent1"/>
          </a:solidFill>
          <a:ln w="12700" algn="ctr">
            <a:solidFill>
              <a:schemeClr val="bg2"/>
            </a:solidFill>
            <a:round/>
            <a:headEnd/>
            <a:tailEnd/>
          </a:ln>
          <a:effectLst>
            <a:outerShdw blurRad="63500" sx="102000" sy="102000" algn="ctr" rotWithShape="0">
              <a:prstClr val="black">
                <a:alpha val="40000"/>
              </a:prstClr>
            </a:outerShdw>
          </a:effectLst>
          <a:extLst/>
        </p:spPr>
        <p:txBody>
          <a:bodyPr lIns="0" tIns="0" rIns="0" bIns="0" anchor="ctr">
            <a:noAutofit/>
          </a:bodyPr>
          <a:lstStyle/>
          <a:p>
            <a:pPr algn="ctr"/>
            <a:r>
              <a:rPr lang="en-US" sz="1300" b="1" dirty="0">
                <a:solidFill>
                  <a:srgbClr val="0065BD"/>
                </a:solidFill>
                <a:ea typeface="MS PGothic" pitchFamily="34" charset="-128"/>
              </a:rPr>
              <a:t>4</a:t>
            </a:r>
          </a:p>
        </p:txBody>
      </p:sp>
      <p:sp>
        <p:nvSpPr>
          <p:cNvPr id="624706" name="TextBox 8"/>
          <p:cNvSpPr>
            <a:spLocks noChangeArrowheads="1"/>
          </p:cNvSpPr>
          <p:nvPr>
            <p:custDataLst>
              <p:tags r:id="rId9"/>
            </p:custDataLst>
          </p:nvPr>
        </p:nvSpPr>
        <p:spPr bwMode="auto">
          <a:xfrm>
            <a:off x="382790" y="3914065"/>
            <a:ext cx="255894" cy="256180"/>
          </a:xfrm>
          <a:prstGeom prst="ellipse">
            <a:avLst/>
          </a:prstGeom>
          <a:solidFill>
            <a:schemeClr val="accent1"/>
          </a:solidFill>
          <a:ln w="12700" algn="ctr">
            <a:solidFill>
              <a:schemeClr val="bg2"/>
            </a:solidFill>
            <a:round/>
            <a:headEnd/>
            <a:tailEnd/>
          </a:ln>
          <a:effectLst>
            <a:outerShdw blurRad="63500" sx="102000" sy="102000" algn="ctr" rotWithShape="0">
              <a:prstClr val="black">
                <a:alpha val="40000"/>
              </a:prstClr>
            </a:outerShdw>
          </a:effectLst>
          <a:extLst/>
        </p:spPr>
        <p:txBody>
          <a:bodyPr lIns="0" tIns="0" rIns="0" bIns="0" anchor="ctr">
            <a:noAutofit/>
          </a:bodyPr>
          <a:lstStyle/>
          <a:p>
            <a:pPr algn="ctr"/>
            <a:r>
              <a:rPr lang="en-US" sz="1300" b="1" dirty="0">
                <a:solidFill>
                  <a:srgbClr val="0065BD"/>
                </a:solidFill>
                <a:ea typeface="MS PGothic" pitchFamily="34" charset="-128"/>
              </a:rPr>
              <a:t>5</a:t>
            </a:r>
          </a:p>
        </p:txBody>
      </p:sp>
      <p:sp>
        <p:nvSpPr>
          <p:cNvPr id="624707" name="TextBox 8"/>
          <p:cNvSpPr>
            <a:spLocks noChangeArrowheads="1"/>
          </p:cNvSpPr>
          <p:nvPr>
            <p:custDataLst>
              <p:tags r:id="rId10"/>
            </p:custDataLst>
          </p:nvPr>
        </p:nvSpPr>
        <p:spPr bwMode="auto">
          <a:xfrm>
            <a:off x="382790" y="4710230"/>
            <a:ext cx="255894" cy="256180"/>
          </a:xfrm>
          <a:prstGeom prst="ellipse">
            <a:avLst/>
          </a:prstGeom>
          <a:solidFill>
            <a:schemeClr val="accent1"/>
          </a:solidFill>
          <a:ln w="12700" algn="ctr">
            <a:solidFill>
              <a:schemeClr val="bg2"/>
            </a:solidFill>
            <a:round/>
            <a:headEnd/>
            <a:tailEnd/>
          </a:ln>
          <a:effectLst>
            <a:outerShdw blurRad="63500" sx="102000" sy="102000" algn="ctr" rotWithShape="0">
              <a:prstClr val="black">
                <a:alpha val="40000"/>
              </a:prstClr>
            </a:outerShdw>
          </a:effectLst>
          <a:extLst/>
        </p:spPr>
        <p:txBody>
          <a:bodyPr lIns="0" tIns="0" rIns="0" bIns="0" anchor="ctr">
            <a:noAutofit/>
          </a:bodyPr>
          <a:lstStyle/>
          <a:p>
            <a:pPr algn="ctr"/>
            <a:r>
              <a:rPr lang="en-US" sz="1300" b="1" dirty="0">
                <a:solidFill>
                  <a:srgbClr val="0065BD"/>
                </a:solidFill>
                <a:ea typeface="MS PGothic" pitchFamily="34" charset="-128"/>
              </a:rPr>
              <a:t>6</a:t>
            </a:r>
          </a:p>
        </p:txBody>
      </p:sp>
      <p:sp>
        <p:nvSpPr>
          <p:cNvPr id="624709" name="TextBox 8"/>
          <p:cNvSpPr>
            <a:spLocks noChangeArrowheads="1"/>
          </p:cNvSpPr>
          <p:nvPr>
            <p:custDataLst>
              <p:tags r:id="rId11"/>
            </p:custDataLst>
          </p:nvPr>
        </p:nvSpPr>
        <p:spPr bwMode="auto">
          <a:xfrm>
            <a:off x="382790" y="5339426"/>
            <a:ext cx="255894" cy="256180"/>
          </a:xfrm>
          <a:prstGeom prst="ellipse">
            <a:avLst/>
          </a:prstGeom>
          <a:solidFill>
            <a:schemeClr val="accent1"/>
          </a:solidFill>
          <a:ln w="12700" algn="ctr">
            <a:solidFill>
              <a:schemeClr val="bg2"/>
            </a:solidFill>
            <a:round/>
            <a:headEnd/>
            <a:tailEnd/>
          </a:ln>
          <a:effectLst>
            <a:outerShdw blurRad="63500" sx="102000" sy="102000" algn="ctr" rotWithShape="0">
              <a:prstClr val="black">
                <a:alpha val="40000"/>
              </a:prstClr>
            </a:outerShdw>
          </a:effectLst>
          <a:extLst/>
        </p:spPr>
        <p:txBody>
          <a:bodyPr lIns="0" tIns="0" rIns="0" bIns="0" anchor="ctr">
            <a:noAutofit/>
          </a:bodyPr>
          <a:lstStyle/>
          <a:p>
            <a:pPr algn="ctr"/>
            <a:r>
              <a:rPr lang="en-US" sz="1300" b="1" dirty="0">
                <a:solidFill>
                  <a:srgbClr val="0065BD"/>
                </a:solidFill>
                <a:ea typeface="MS PGothic" pitchFamily="34" charset="-128"/>
              </a:rPr>
              <a:t>7</a:t>
            </a:r>
          </a:p>
        </p:txBody>
      </p:sp>
      <p:sp>
        <p:nvSpPr>
          <p:cNvPr id="624710" name="TextBox 8"/>
          <p:cNvSpPr>
            <a:spLocks noChangeArrowheads="1"/>
          </p:cNvSpPr>
          <p:nvPr>
            <p:custDataLst>
              <p:tags r:id="rId12"/>
            </p:custDataLst>
          </p:nvPr>
        </p:nvSpPr>
        <p:spPr bwMode="auto">
          <a:xfrm>
            <a:off x="382790" y="5968615"/>
            <a:ext cx="255894" cy="256180"/>
          </a:xfrm>
          <a:prstGeom prst="ellipse">
            <a:avLst/>
          </a:prstGeom>
          <a:solidFill>
            <a:schemeClr val="accent1"/>
          </a:solidFill>
          <a:ln w="12700" algn="ctr">
            <a:solidFill>
              <a:schemeClr val="bg2"/>
            </a:solidFill>
            <a:round/>
            <a:headEnd/>
            <a:tailEnd/>
          </a:ln>
          <a:effectLst>
            <a:outerShdw blurRad="63500" sx="102000" sy="102000" algn="ctr" rotWithShape="0">
              <a:prstClr val="black">
                <a:alpha val="40000"/>
              </a:prstClr>
            </a:outerShdw>
          </a:effectLst>
          <a:extLst/>
        </p:spPr>
        <p:txBody>
          <a:bodyPr lIns="0" tIns="0" rIns="0" bIns="0" anchor="ctr">
            <a:noAutofit/>
          </a:bodyPr>
          <a:lstStyle/>
          <a:p>
            <a:pPr algn="ctr"/>
            <a:r>
              <a:rPr lang="en-US" sz="1300" b="1" dirty="0">
                <a:solidFill>
                  <a:srgbClr val="0065BD"/>
                </a:solidFill>
                <a:ea typeface="MS PGothic" pitchFamily="34" charset="-128"/>
              </a:rPr>
              <a:t>8</a:t>
            </a:r>
          </a:p>
        </p:txBody>
      </p:sp>
    </p:spTree>
    <p:custDataLst>
      <p:tags r:id="rId2"/>
    </p:custDataLst>
    <p:extLst>
      <p:ext uri="{BB962C8B-B14F-4D97-AF65-F5344CB8AC3E}">
        <p14:creationId xmlns:p14="http://schemas.microsoft.com/office/powerpoint/2010/main" val="2055297547"/>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52321" name="Rectangle 2"/>
          <p:cNvSpPr>
            <a:spLocks noGrp="1" noChangeArrowheads="1"/>
          </p:cNvSpPr>
          <p:nvPr>
            <p:ph type="title"/>
          </p:nvPr>
        </p:nvSpPr>
        <p:spPr>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marL="465138"/>
            <a:r>
              <a:rPr lang="en-US" altLang="ja-JP" dirty="0"/>
              <a:t>Toolbox: Value capture approach/methodology</a:t>
            </a:r>
          </a:p>
        </p:txBody>
      </p:sp>
      <p:grpSp>
        <p:nvGrpSpPr>
          <p:cNvPr id="2" name="Group 1"/>
          <p:cNvGrpSpPr/>
          <p:nvPr/>
        </p:nvGrpSpPr>
        <p:grpSpPr>
          <a:xfrm>
            <a:off x="164569" y="833494"/>
            <a:ext cx="1131888" cy="211654"/>
            <a:chOff x="157607" y="760091"/>
            <a:chExt cx="1131888" cy="211654"/>
          </a:xfrm>
        </p:grpSpPr>
        <p:sp>
          <p:nvSpPr>
            <p:cNvPr id="952322" name="Line 4"/>
            <p:cNvSpPr>
              <a:spLocks noChangeShapeType="1"/>
            </p:cNvSpPr>
            <p:nvPr>
              <p:custDataLst>
                <p:tags r:id="rId48"/>
              </p:custDataLst>
            </p:nvPr>
          </p:nvSpPr>
          <p:spPr bwMode="gray">
            <a:xfrm>
              <a:off x="157607" y="971745"/>
              <a:ext cx="1131888" cy="0"/>
            </a:xfrm>
            <a:prstGeom prst="line">
              <a:avLst/>
            </a:prstGeom>
            <a:noFill/>
            <a:ln w="9525">
              <a:solidFill>
                <a:schemeClr val="accent3"/>
              </a:solidFill>
              <a:round/>
              <a:headEnd/>
              <a:tailEnd/>
            </a:ln>
          </p:spPr>
          <p:txBody>
            <a:bodyPr wrap="none" anchor="ctr"/>
            <a:lstStyle/>
            <a:p>
              <a:endParaRPr lang="en-US" dirty="0">
                <a:solidFill>
                  <a:srgbClr val="000000"/>
                </a:solidFill>
                <a:cs typeface="Arial" charset="0"/>
              </a:endParaRPr>
            </a:p>
          </p:txBody>
        </p:sp>
        <p:sp>
          <p:nvSpPr>
            <p:cNvPr id="952323" name="Rectangle 5"/>
            <p:cNvSpPr>
              <a:spLocks noChangeArrowheads="1"/>
            </p:cNvSpPr>
            <p:nvPr>
              <p:custDataLst>
                <p:tags r:id="rId49"/>
              </p:custDataLst>
            </p:nvPr>
          </p:nvSpPr>
          <p:spPr bwMode="gray">
            <a:xfrm>
              <a:off x="157607" y="760091"/>
              <a:ext cx="1131888" cy="184666"/>
            </a:xfrm>
            <a:prstGeom prst="rect">
              <a:avLst/>
            </a:prstGeom>
            <a:noFill/>
            <a:ln w="9525">
              <a:noFill/>
              <a:miter lim="800000"/>
              <a:headEnd/>
              <a:tailEnd/>
            </a:ln>
          </p:spPr>
          <p:txBody>
            <a:bodyPr lIns="0" tIns="0" rIns="0" bIns="0" anchor="b">
              <a:spAutoFit/>
            </a:bodyPr>
            <a:lstStyle/>
            <a:p>
              <a:pPr defTabSz="895350">
                <a:buClr>
                  <a:srgbClr val="062859"/>
                </a:buClr>
              </a:pPr>
              <a:r>
                <a:rPr lang="en-US" altLang="ja-JP" sz="1200" b="1" dirty="0">
                  <a:solidFill>
                    <a:srgbClr val="0065BD"/>
                  </a:solidFill>
                  <a:cs typeface="Arial" charset="0"/>
                </a:rPr>
                <a:t>Tools</a:t>
              </a:r>
            </a:p>
          </p:txBody>
        </p:sp>
      </p:grpSp>
      <p:sp>
        <p:nvSpPr>
          <p:cNvPr id="952324" name="Line 6"/>
          <p:cNvSpPr>
            <a:spLocks noChangeShapeType="1"/>
          </p:cNvSpPr>
          <p:nvPr>
            <p:custDataLst>
              <p:tags r:id="rId2"/>
            </p:custDataLst>
          </p:nvPr>
        </p:nvSpPr>
        <p:spPr bwMode="gray">
          <a:xfrm>
            <a:off x="3034769" y="3124286"/>
            <a:ext cx="5676900" cy="0"/>
          </a:xfrm>
          <a:prstGeom prst="line">
            <a:avLst/>
          </a:prstGeom>
          <a:noFill/>
          <a:ln w="12700">
            <a:solidFill>
              <a:srgbClr val="808080"/>
            </a:solidFill>
            <a:prstDash val="sysDot"/>
            <a:round/>
            <a:headEnd/>
            <a:tailEnd/>
          </a:ln>
        </p:spPr>
        <p:txBody>
          <a:bodyPr wrap="none" anchor="ctr"/>
          <a:lstStyle/>
          <a:p>
            <a:endParaRPr lang="en-US" dirty="0">
              <a:solidFill>
                <a:srgbClr val="000000"/>
              </a:solidFill>
              <a:cs typeface="Arial" charset="0"/>
            </a:endParaRPr>
          </a:p>
        </p:txBody>
      </p:sp>
      <p:sp>
        <p:nvSpPr>
          <p:cNvPr id="952325" name="Line 7"/>
          <p:cNvSpPr>
            <a:spLocks noChangeShapeType="1"/>
          </p:cNvSpPr>
          <p:nvPr>
            <p:custDataLst>
              <p:tags r:id="rId3"/>
            </p:custDataLst>
          </p:nvPr>
        </p:nvSpPr>
        <p:spPr bwMode="gray">
          <a:xfrm>
            <a:off x="3034769" y="2074948"/>
            <a:ext cx="5676900" cy="0"/>
          </a:xfrm>
          <a:prstGeom prst="line">
            <a:avLst/>
          </a:prstGeom>
          <a:noFill/>
          <a:ln w="12700">
            <a:solidFill>
              <a:srgbClr val="808080"/>
            </a:solidFill>
            <a:prstDash val="sysDot"/>
            <a:round/>
            <a:headEnd/>
            <a:tailEnd/>
          </a:ln>
        </p:spPr>
        <p:txBody>
          <a:bodyPr wrap="none" anchor="ctr"/>
          <a:lstStyle/>
          <a:p>
            <a:endParaRPr lang="en-US" dirty="0">
              <a:solidFill>
                <a:srgbClr val="000000"/>
              </a:solidFill>
              <a:cs typeface="Arial" charset="0"/>
            </a:endParaRPr>
          </a:p>
        </p:txBody>
      </p:sp>
      <p:sp>
        <p:nvSpPr>
          <p:cNvPr id="952327" name="Line 9"/>
          <p:cNvSpPr>
            <a:spLocks noChangeShapeType="1"/>
          </p:cNvSpPr>
          <p:nvPr>
            <p:custDataLst>
              <p:tags r:id="rId4"/>
            </p:custDataLst>
          </p:nvPr>
        </p:nvSpPr>
        <p:spPr bwMode="gray">
          <a:xfrm>
            <a:off x="3807319" y="5013625"/>
            <a:ext cx="4904350" cy="0"/>
          </a:xfrm>
          <a:prstGeom prst="line">
            <a:avLst/>
          </a:prstGeom>
          <a:noFill/>
          <a:ln w="12700">
            <a:solidFill>
              <a:srgbClr val="808080"/>
            </a:solidFill>
            <a:prstDash val="sysDot"/>
            <a:round/>
            <a:headEnd/>
            <a:tailEnd/>
          </a:ln>
        </p:spPr>
        <p:txBody>
          <a:bodyPr wrap="none" anchor="ctr"/>
          <a:lstStyle/>
          <a:p>
            <a:endParaRPr lang="en-US" dirty="0">
              <a:solidFill>
                <a:srgbClr val="000000"/>
              </a:solidFill>
              <a:cs typeface="Arial" charset="0"/>
            </a:endParaRPr>
          </a:p>
        </p:txBody>
      </p:sp>
      <p:sp>
        <p:nvSpPr>
          <p:cNvPr id="952328" name="Line 10"/>
          <p:cNvSpPr>
            <a:spLocks noChangeShapeType="1"/>
          </p:cNvSpPr>
          <p:nvPr>
            <p:custDataLst>
              <p:tags r:id="rId5"/>
            </p:custDataLst>
          </p:nvPr>
        </p:nvSpPr>
        <p:spPr bwMode="gray">
          <a:xfrm>
            <a:off x="3807319" y="4075198"/>
            <a:ext cx="4904350" cy="0"/>
          </a:xfrm>
          <a:prstGeom prst="line">
            <a:avLst/>
          </a:prstGeom>
          <a:noFill/>
          <a:ln w="12700">
            <a:solidFill>
              <a:srgbClr val="808080"/>
            </a:solidFill>
            <a:prstDash val="sysDot"/>
            <a:round/>
            <a:headEnd/>
            <a:tailEnd/>
          </a:ln>
        </p:spPr>
        <p:txBody>
          <a:bodyPr wrap="none" anchor="ctr"/>
          <a:lstStyle/>
          <a:p>
            <a:endParaRPr lang="en-US" dirty="0">
              <a:solidFill>
                <a:srgbClr val="000000"/>
              </a:solidFill>
              <a:cs typeface="Arial" charset="0"/>
            </a:endParaRPr>
          </a:p>
        </p:txBody>
      </p:sp>
      <p:grpSp>
        <p:nvGrpSpPr>
          <p:cNvPr id="3" name="Group 2"/>
          <p:cNvGrpSpPr/>
          <p:nvPr/>
        </p:nvGrpSpPr>
        <p:grpSpPr>
          <a:xfrm>
            <a:off x="3474506" y="836669"/>
            <a:ext cx="5237164" cy="208479"/>
            <a:chOff x="3467545" y="760091"/>
            <a:chExt cx="5287962" cy="208479"/>
          </a:xfrm>
        </p:grpSpPr>
        <p:sp>
          <p:nvSpPr>
            <p:cNvPr id="952326" name="Line 8"/>
            <p:cNvSpPr>
              <a:spLocks noChangeShapeType="1"/>
            </p:cNvSpPr>
            <p:nvPr>
              <p:custDataLst>
                <p:tags r:id="rId46"/>
              </p:custDataLst>
            </p:nvPr>
          </p:nvSpPr>
          <p:spPr bwMode="gray">
            <a:xfrm>
              <a:off x="3467545" y="968570"/>
              <a:ext cx="5287962" cy="0"/>
            </a:xfrm>
            <a:prstGeom prst="line">
              <a:avLst/>
            </a:prstGeom>
            <a:noFill/>
            <a:ln w="9525">
              <a:solidFill>
                <a:schemeClr val="accent3"/>
              </a:solidFill>
              <a:round/>
              <a:headEnd/>
              <a:tailEnd/>
            </a:ln>
          </p:spPr>
          <p:txBody>
            <a:bodyPr wrap="none" anchor="ctr"/>
            <a:lstStyle/>
            <a:p>
              <a:endParaRPr lang="en-US" dirty="0">
                <a:solidFill>
                  <a:srgbClr val="000000"/>
                </a:solidFill>
                <a:cs typeface="Arial" charset="0"/>
              </a:endParaRPr>
            </a:p>
          </p:txBody>
        </p:sp>
        <p:sp>
          <p:nvSpPr>
            <p:cNvPr id="952329" name="Rectangle 11"/>
            <p:cNvSpPr>
              <a:spLocks noChangeArrowheads="1"/>
            </p:cNvSpPr>
            <p:nvPr>
              <p:custDataLst>
                <p:tags r:id="rId47"/>
              </p:custDataLst>
            </p:nvPr>
          </p:nvSpPr>
          <p:spPr bwMode="gray">
            <a:xfrm>
              <a:off x="3467545" y="760091"/>
              <a:ext cx="5287962" cy="184666"/>
            </a:xfrm>
            <a:prstGeom prst="rect">
              <a:avLst/>
            </a:prstGeom>
            <a:noFill/>
            <a:ln w="9525">
              <a:noFill/>
              <a:miter lim="800000"/>
              <a:headEnd/>
              <a:tailEnd/>
            </a:ln>
          </p:spPr>
          <p:txBody>
            <a:bodyPr lIns="0" tIns="0" rIns="0" bIns="0" anchor="b">
              <a:spAutoFit/>
            </a:bodyPr>
            <a:lstStyle/>
            <a:p>
              <a:pPr defTabSz="895350">
                <a:buClr>
                  <a:srgbClr val="062859"/>
                </a:buClr>
              </a:pPr>
              <a:r>
                <a:rPr lang="en-US" altLang="ja-JP" sz="1200" b="1" dirty="0">
                  <a:solidFill>
                    <a:srgbClr val="0065BD"/>
                  </a:solidFill>
                  <a:cs typeface="Arial" charset="0"/>
                </a:rPr>
                <a:t>Value capture process</a:t>
              </a:r>
            </a:p>
          </p:txBody>
        </p:sp>
      </p:grpSp>
      <p:grpSp>
        <p:nvGrpSpPr>
          <p:cNvPr id="952330" name="Group 12"/>
          <p:cNvGrpSpPr>
            <a:grpSpLocks/>
          </p:cNvGrpSpPr>
          <p:nvPr/>
        </p:nvGrpSpPr>
        <p:grpSpPr bwMode="auto">
          <a:xfrm>
            <a:off x="1372657" y="1098636"/>
            <a:ext cx="3670300" cy="5160962"/>
            <a:chOff x="836" y="703"/>
            <a:chExt cx="2312" cy="3251"/>
          </a:xfrm>
        </p:grpSpPr>
        <p:grpSp>
          <p:nvGrpSpPr>
            <p:cNvPr id="952349" name="Group 13"/>
            <p:cNvGrpSpPr>
              <a:grpSpLocks/>
            </p:cNvGrpSpPr>
            <p:nvPr/>
          </p:nvGrpSpPr>
          <p:grpSpPr bwMode="auto">
            <a:xfrm>
              <a:off x="836" y="752"/>
              <a:ext cx="992" cy="864"/>
              <a:chOff x="836" y="752"/>
              <a:chExt cx="992" cy="864"/>
            </a:xfrm>
          </p:grpSpPr>
          <p:sp>
            <p:nvSpPr>
              <p:cNvPr id="772110" name="AutoShape 14"/>
              <p:cNvSpPr>
                <a:spLocks noChangeArrowheads="1"/>
              </p:cNvSpPr>
              <p:nvPr>
                <p:custDataLst>
                  <p:tags r:id="rId43"/>
                </p:custDataLst>
              </p:nvPr>
            </p:nvSpPr>
            <p:spPr bwMode="gray">
              <a:xfrm>
                <a:off x="836" y="753"/>
                <a:ext cx="992" cy="863"/>
              </a:xfrm>
              <a:prstGeom prst="roundRect">
                <a:avLst>
                  <a:gd name="adj" fmla="val 5227"/>
                </a:avLst>
              </a:prstGeom>
              <a:gradFill rotWithShape="1">
                <a:gsLst>
                  <a:gs pos="0">
                    <a:schemeClr val="accent1"/>
                  </a:gs>
                  <a:gs pos="100000">
                    <a:schemeClr val="accent1">
                      <a:gamma/>
                      <a:tint val="33725"/>
                      <a:invGamma/>
                    </a:schemeClr>
                  </a:gs>
                </a:gsLst>
                <a:lin ang="5400000" scaled="1"/>
              </a:gradFill>
              <a:ln w="19050">
                <a:solidFill>
                  <a:schemeClr val="accent1"/>
                </a:solidFill>
                <a:round/>
                <a:headEnd/>
                <a:tailEnd/>
              </a:ln>
              <a:effectLst/>
            </p:spPr>
            <p:txBody>
              <a:bodyPr wrap="none" anchor="ctr"/>
              <a:lstStyle/>
              <a:p>
                <a:pPr>
                  <a:defRPr/>
                </a:pPr>
                <a:endParaRPr lang="en-US" b="1" dirty="0">
                  <a:solidFill>
                    <a:srgbClr val="0065BD"/>
                  </a:solidFill>
                  <a:cs typeface="Arial" charset="0"/>
                </a:endParaRPr>
              </a:p>
            </p:txBody>
          </p:sp>
          <p:pic>
            <p:nvPicPr>
              <p:cNvPr id="952377" name="Picture 15"/>
              <p:cNvPicPr>
                <a:picLocks noChangeArrowheads="1"/>
              </p:cNvPicPr>
              <p:nvPr>
                <p:custDataLst>
                  <p:tags r:id="rId44"/>
                </p:custDataLst>
              </p:nvPr>
            </p:nvPicPr>
            <p:blipFill>
              <a:blip r:embed="rId52" cstate="email">
                <a:extLst>
                  <a:ext uri="{28A0092B-C50C-407E-A947-70E740481C1C}">
                    <a14:useLocalDpi xmlns:a14="http://schemas.microsoft.com/office/drawing/2010/main"/>
                  </a:ext>
                </a:extLst>
              </a:blip>
              <a:srcRect/>
              <a:stretch>
                <a:fillRect/>
              </a:stretch>
            </p:blipFill>
            <p:spPr bwMode="gray">
              <a:xfrm>
                <a:off x="954" y="869"/>
                <a:ext cx="757" cy="691"/>
              </a:xfrm>
              <a:prstGeom prst="rect">
                <a:avLst/>
              </a:prstGeom>
              <a:noFill/>
              <a:ln w="9525">
                <a:solidFill>
                  <a:schemeClr val="accent1"/>
                </a:solidFill>
                <a:miter lim="800000"/>
                <a:headEnd/>
                <a:tailEnd/>
              </a:ln>
            </p:spPr>
          </p:pic>
          <p:sp>
            <p:nvSpPr>
              <p:cNvPr id="952378" name="Rectangle 16"/>
              <p:cNvSpPr>
                <a:spLocks noChangeArrowheads="1"/>
              </p:cNvSpPr>
              <p:nvPr>
                <p:custDataLst>
                  <p:tags r:id="rId45"/>
                </p:custDataLst>
              </p:nvPr>
            </p:nvSpPr>
            <p:spPr bwMode="gray">
              <a:xfrm>
                <a:off x="1066" y="752"/>
                <a:ext cx="491" cy="116"/>
              </a:xfrm>
              <a:prstGeom prst="rect">
                <a:avLst/>
              </a:prstGeom>
              <a:noFill/>
              <a:ln w="9525">
                <a:noFill/>
                <a:miter lim="800000"/>
                <a:headEnd/>
                <a:tailEnd/>
              </a:ln>
            </p:spPr>
            <p:txBody>
              <a:bodyPr wrap="none" lIns="0" tIns="0" rIns="0" bIns="0" anchor="b">
                <a:spAutoFit/>
              </a:bodyPr>
              <a:lstStyle/>
              <a:p>
                <a:pPr algn="ctr" defTabSz="895350">
                  <a:spcBef>
                    <a:spcPct val="10000"/>
                  </a:spcBef>
                  <a:buClr>
                    <a:srgbClr val="062859"/>
                  </a:buClr>
                </a:pPr>
                <a:r>
                  <a:rPr lang="en-US" altLang="ja-JP" sz="1200" b="1" dirty="0">
                    <a:solidFill>
                      <a:srgbClr val="0065BD"/>
                    </a:solidFill>
                    <a:cs typeface="Arial" charset="0"/>
                  </a:rPr>
                  <a:t>Baselining</a:t>
                </a:r>
              </a:p>
            </p:txBody>
          </p:sp>
        </p:grpSp>
        <p:grpSp>
          <p:nvGrpSpPr>
            <p:cNvPr id="952350" name="Group 17"/>
            <p:cNvGrpSpPr>
              <a:grpSpLocks/>
            </p:cNvGrpSpPr>
            <p:nvPr/>
          </p:nvGrpSpPr>
          <p:grpSpPr bwMode="auto">
            <a:xfrm>
              <a:off x="1015" y="1320"/>
              <a:ext cx="992" cy="864"/>
              <a:chOff x="1015" y="1320"/>
              <a:chExt cx="992" cy="864"/>
            </a:xfrm>
          </p:grpSpPr>
          <p:sp>
            <p:nvSpPr>
              <p:cNvPr id="772114" name="AutoShape 18"/>
              <p:cNvSpPr>
                <a:spLocks noChangeArrowheads="1"/>
              </p:cNvSpPr>
              <p:nvPr>
                <p:custDataLst>
                  <p:tags r:id="rId40"/>
                </p:custDataLst>
              </p:nvPr>
            </p:nvSpPr>
            <p:spPr bwMode="gray">
              <a:xfrm>
                <a:off x="1015" y="1320"/>
                <a:ext cx="992" cy="864"/>
              </a:xfrm>
              <a:prstGeom prst="roundRect">
                <a:avLst>
                  <a:gd name="adj" fmla="val 5227"/>
                </a:avLst>
              </a:prstGeom>
              <a:gradFill rotWithShape="1">
                <a:gsLst>
                  <a:gs pos="0">
                    <a:schemeClr val="accent1"/>
                  </a:gs>
                  <a:gs pos="100000">
                    <a:schemeClr val="accent1">
                      <a:gamma/>
                      <a:tint val="33725"/>
                      <a:invGamma/>
                    </a:schemeClr>
                  </a:gs>
                </a:gsLst>
                <a:lin ang="5400000" scaled="1"/>
              </a:gradFill>
              <a:ln w="19050">
                <a:solidFill>
                  <a:schemeClr val="accent1"/>
                </a:solidFill>
                <a:round/>
                <a:headEnd/>
                <a:tailEnd/>
              </a:ln>
              <a:effectLst/>
            </p:spPr>
            <p:txBody>
              <a:bodyPr wrap="none" anchor="ctr"/>
              <a:lstStyle/>
              <a:p>
                <a:pPr>
                  <a:defRPr/>
                </a:pPr>
                <a:endParaRPr lang="en-US" b="1" dirty="0">
                  <a:solidFill>
                    <a:srgbClr val="0065BD"/>
                  </a:solidFill>
                  <a:cs typeface="Arial" charset="0"/>
                </a:endParaRPr>
              </a:p>
            </p:txBody>
          </p:sp>
          <p:pic>
            <p:nvPicPr>
              <p:cNvPr id="952374" name="Picture 19"/>
              <p:cNvPicPr>
                <a:picLocks noChangeAspect="1" noChangeArrowheads="1"/>
              </p:cNvPicPr>
              <p:nvPr>
                <p:custDataLst>
                  <p:tags r:id="rId41"/>
                </p:custDataLst>
              </p:nvPr>
            </p:nvPicPr>
            <p:blipFill>
              <a:blip r:embed="rId53">
                <a:extLst>
                  <a:ext uri="{28A0092B-C50C-407E-A947-70E740481C1C}">
                    <a14:useLocalDpi xmlns:a14="http://schemas.microsoft.com/office/drawing/2010/main"/>
                  </a:ext>
                </a:extLst>
              </a:blip>
              <a:srcRect/>
              <a:stretch>
                <a:fillRect/>
              </a:stretch>
            </p:blipFill>
            <p:spPr bwMode="gray">
              <a:xfrm>
                <a:off x="1116" y="1450"/>
                <a:ext cx="846" cy="593"/>
              </a:xfrm>
              <a:prstGeom prst="rect">
                <a:avLst/>
              </a:prstGeom>
              <a:noFill/>
              <a:ln w="9525">
                <a:solidFill>
                  <a:schemeClr val="accent1"/>
                </a:solidFill>
                <a:miter lim="800000"/>
                <a:headEnd/>
                <a:tailEnd/>
              </a:ln>
            </p:spPr>
          </p:pic>
          <p:sp>
            <p:nvSpPr>
              <p:cNvPr id="952375" name="Rectangle 20"/>
              <p:cNvSpPr>
                <a:spLocks noChangeArrowheads="1"/>
              </p:cNvSpPr>
              <p:nvPr>
                <p:custDataLst>
                  <p:tags r:id="rId42"/>
                </p:custDataLst>
              </p:nvPr>
            </p:nvSpPr>
            <p:spPr bwMode="gray">
              <a:xfrm>
                <a:off x="1305" y="1336"/>
                <a:ext cx="342" cy="116"/>
              </a:xfrm>
              <a:prstGeom prst="rect">
                <a:avLst/>
              </a:prstGeom>
              <a:noFill/>
              <a:ln w="9525">
                <a:noFill/>
                <a:miter lim="800000"/>
                <a:headEnd/>
                <a:tailEnd/>
              </a:ln>
            </p:spPr>
            <p:txBody>
              <a:bodyPr wrap="none" lIns="0" tIns="0" rIns="0" bIns="0" anchor="b">
                <a:spAutoFit/>
              </a:bodyPr>
              <a:lstStyle/>
              <a:p>
                <a:pPr defTabSz="895350">
                  <a:spcBef>
                    <a:spcPct val="10000"/>
                  </a:spcBef>
                  <a:buClr>
                    <a:srgbClr val="062859"/>
                  </a:buClr>
                </a:pPr>
                <a:r>
                  <a:rPr lang="en-US" altLang="ja-JP" sz="1200" b="1" dirty="0">
                    <a:solidFill>
                      <a:srgbClr val="0065BD"/>
                    </a:solidFill>
                    <a:cs typeface="Arial" charset="0"/>
                  </a:rPr>
                  <a:t>Targets</a:t>
                </a:r>
              </a:p>
            </p:txBody>
          </p:sp>
        </p:grpSp>
        <p:grpSp>
          <p:nvGrpSpPr>
            <p:cNvPr id="952351" name="Group 21"/>
            <p:cNvGrpSpPr>
              <a:grpSpLocks/>
            </p:cNvGrpSpPr>
            <p:nvPr/>
          </p:nvGrpSpPr>
          <p:grpSpPr bwMode="auto">
            <a:xfrm>
              <a:off x="1370" y="1980"/>
              <a:ext cx="992" cy="864"/>
              <a:chOff x="1370" y="1980"/>
              <a:chExt cx="992" cy="864"/>
            </a:xfrm>
          </p:grpSpPr>
          <p:sp>
            <p:nvSpPr>
              <p:cNvPr id="772118" name="AutoShape 22"/>
              <p:cNvSpPr>
                <a:spLocks noChangeArrowheads="1"/>
              </p:cNvSpPr>
              <p:nvPr>
                <p:custDataLst>
                  <p:tags r:id="rId36"/>
                </p:custDataLst>
              </p:nvPr>
            </p:nvSpPr>
            <p:spPr bwMode="gray">
              <a:xfrm>
                <a:off x="1370" y="1980"/>
                <a:ext cx="992" cy="864"/>
              </a:xfrm>
              <a:prstGeom prst="roundRect">
                <a:avLst>
                  <a:gd name="adj" fmla="val 5227"/>
                </a:avLst>
              </a:prstGeom>
              <a:gradFill rotWithShape="1">
                <a:gsLst>
                  <a:gs pos="0">
                    <a:schemeClr val="accent1"/>
                  </a:gs>
                  <a:gs pos="100000">
                    <a:schemeClr val="accent1">
                      <a:gamma/>
                      <a:tint val="33725"/>
                      <a:invGamma/>
                    </a:schemeClr>
                  </a:gs>
                </a:gsLst>
                <a:lin ang="5400000" scaled="1"/>
              </a:gradFill>
              <a:ln w="19050">
                <a:solidFill>
                  <a:schemeClr val="accent1"/>
                </a:solidFill>
                <a:round/>
                <a:headEnd/>
                <a:tailEnd/>
              </a:ln>
              <a:effectLst/>
            </p:spPr>
            <p:txBody>
              <a:bodyPr wrap="none" anchor="ctr"/>
              <a:lstStyle/>
              <a:p>
                <a:pPr>
                  <a:defRPr/>
                </a:pPr>
                <a:endParaRPr lang="en-US" b="1" dirty="0">
                  <a:solidFill>
                    <a:srgbClr val="0065BD"/>
                  </a:solidFill>
                  <a:cs typeface="Arial" charset="0"/>
                </a:endParaRPr>
              </a:p>
            </p:txBody>
          </p:sp>
          <p:pic>
            <p:nvPicPr>
              <p:cNvPr id="952368" name="Picture 23"/>
              <p:cNvPicPr>
                <a:picLocks noChangeArrowheads="1"/>
              </p:cNvPicPr>
              <p:nvPr>
                <p:custDataLst>
                  <p:tags r:id="rId37"/>
                </p:custDataLst>
              </p:nvPr>
            </p:nvPicPr>
            <p:blipFill>
              <a:blip r:embed="rId54" cstate="email">
                <a:extLst>
                  <a:ext uri="{28A0092B-C50C-407E-A947-70E740481C1C}">
                    <a14:useLocalDpi xmlns:a14="http://schemas.microsoft.com/office/drawing/2010/main"/>
                  </a:ext>
                </a:extLst>
              </a:blip>
              <a:srcRect/>
              <a:stretch>
                <a:fillRect/>
              </a:stretch>
            </p:blipFill>
            <p:spPr bwMode="gray">
              <a:xfrm>
                <a:off x="1425" y="2110"/>
                <a:ext cx="625" cy="475"/>
              </a:xfrm>
              <a:prstGeom prst="rect">
                <a:avLst/>
              </a:prstGeom>
              <a:noFill/>
              <a:ln w="9525">
                <a:solidFill>
                  <a:schemeClr val="accent1"/>
                </a:solidFill>
                <a:miter lim="800000"/>
                <a:headEnd/>
                <a:tailEnd/>
              </a:ln>
            </p:spPr>
          </p:pic>
          <p:grpSp>
            <p:nvGrpSpPr>
              <p:cNvPr id="952369" name="Group 24"/>
              <p:cNvGrpSpPr>
                <a:grpSpLocks/>
              </p:cNvGrpSpPr>
              <p:nvPr>
                <p:custDataLst>
                  <p:tags r:id="rId38"/>
                </p:custDataLst>
              </p:nvPr>
            </p:nvGrpSpPr>
            <p:grpSpPr bwMode="auto">
              <a:xfrm>
                <a:off x="1737" y="2241"/>
                <a:ext cx="580" cy="476"/>
                <a:chOff x="299" y="496"/>
                <a:chExt cx="3524" cy="3069"/>
              </a:xfrm>
            </p:grpSpPr>
            <p:pic>
              <p:nvPicPr>
                <p:cNvPr id="952371" name="Picture 25"/>
                <p:cNvPicPr>
                  <a:picLocks noChangeAspect="1" noChangeArrowheads="1"/>
                </p:cNvPicPr>
                <p:nvPr/>
              </p:nvPicPr>
              <p:blipFill>
                <a:blip r:embed="rId55" cstate="email">
                  <a:extLst>
                    <a:ext uri="{28A0092B-C50C-407E-A947-70E740481C1C}">
                      <a14:useLocalDpi xmlns:a14="http://schemas.microsoft.com/office/drawing/2010/main"/>
                    </a:ext>
                  </a:extLst>
                </a:blip>
                <a:srcRect/>
                <a:stretch>
                  <a:fillRect/>
                </a:stretch>
              </p:blipFill>
              <p:spPr bwMode="gray">
                <a:xfrm>
                  <a:off x="299" y="496"/>
                  <a:ext cx="3516" cy="2280"/>
                </a:xfrm>
                <a:prstGeom prst="rect">
                  <a:avLst/>
                </a:prstGeom>
                <a:noFill/>
                <a:ln w="9525">
                  <a:solidFill>
                    <a:schemeClr val="accent1"/>
                  </a:solidFill>
                  <a:miter lim="800000"/>
                  <a:headEnd/>
                  <a:tailEnd/>
                </a:ln>
              </p:spPr>
            </p:pic>
            <p:pic>
              <p:nvPicPr>
                <p:cNvPr id="952372" name="Picture 26"/>
                <p:cNvPicPr>
                  <a:picLocks noChangeAspect="1" noChangeArrowheads="1"/>
                </p:cNvPicPr>
                <p:nvPr/>
              </p:nvPicPr>
              <p:blipFill>
                <a:blip r:embed="rId56">
                  <a:extLst>
                    <a:ext uri="{28A0092B-C50C-407E-A947-70E740481C1C}">
                      <a14:useLocalDpi xmlns:a14="http://schemas.microsoft.com/office/drawing/2010/main"/>
                    </a:ext>
                  </a:extLst>
                </a:blip>
                <a:srcRect/>
                <a:stretch>
                  <a:fillRect/>
                </a:stretch>
              </p:blipFill>
              <p:spPr bwMode="gray">
                <a:xfrm>
                  <a:off x="307" y="2779"/>
                  <a:ext cx="3516" cy="786"/>
                </a:xfrm>
                <a:prstGeom prst="rect">
                  <a:avLst/>
                </a:prstGeom>
                <a:noFill/>
                <a:ln w="9525">
                  <a:solidFill>
                    <a:schemeClr val="accent1"/>
                  </a:solidFill>
                  <a:miter lim="800000"/>
                  <a:headEnd/>
                  <a:tailEnd/>
                </a:ln>
              </p:spPr>
            </p:pic>
          </p:grpSp>
          <p:sp>
            <p:nvSpPr>
              <p:cNvPr id="952370" name="Rectangle 27"/>
              <p:cNvSpPr>
                <a:spLocks noChangeArrowheads="1"/>
              </p:cNvSpPr>
              <p:nvPr>
                <p:custDataLst>
                  <p:tags r:id="rId39"/>
                </p:custDataLst>
              </p:nvPr>
            </p:nvSpPr>
            <p:spPr bwMode="gray">
              <a:xfrm>
                <a:off x="1649" y="1991"/>
                <a:ext cx="447" cy="116"/>
              </a:xfrm>
              <a:prstGeom prst="rect">
                <a:avLst/>
              </a:prstGeom>
              <a:noFill/>
              <a:ln w="9525">
                <a:noFill/>
                <a:miter lim="800000"/>
                <a:headEnd/>
                <a:tailEnd/>
              </a:ln>
            </p:spPr>
            <p:txBody>
              <a:bodyPr wrap="none" lIns="0" tIns="0" rIns="0" bIns="0" anchor="b">
                <a:spAutoFit/>
              </a:bodyPr>
              <a:lstStyle/>
              <a:p>
                <a:pPr defTabSz="895350">
                  <a:spcBef>
                    <a:spcPct val="10000"/>
                  </a:spcBef>
                  <a:buClr>
                    <a:srgbClr val="062859"/>
                  </a:buClr>
                </a:pPr>
                <a:r>
                  <a:rPr lang="en-US" altLang="ja-JP" sz="1200" b="1" dirty="0">
                    <a:solidFill>
                      <a:srgbClr val="0065BD"/>
                    </a:solidFill>
                    <a:cs typeface="Arial" charset="0"/>
                  </a:rPr>
                  <a:t>Initiatives</a:t>
                </a:r>
              </a:p>
            </p:txBody>
          </p:sp>
        </p:grpSp>
        <p:grpSp>
          <p:nvGrpSpPr>
            <p:cNvPr id="952352" name="Group 28"/>
            <p:cNvGrpSpPr>
              <a:grpSpLocks/>
            </p:cNvGrpSpPr>
            <p:nvPr>
              <p:custDataLst>
                <p:tags r:id="rId22"/>
              </p:custDataLst>
            </p:nvPr>
          </p:nvGrpSpPr>
          <p:grpSpPr bwMode="auto">
            <a:xfrm>
              <a:off x="1667" y="2569"/>
              <a:ext cx="991" cy="872"/>
              <a:chOff x="1547" y="2413"/>
              <a:chExt cx="991" cy="871"/>
            </a:xfrm>
          </p:grpSpPr>
          <p:sp>
            <p:nvSpPr>
              <p:cNvPr id="772125" name="AutoShape 29"/>
              <p:cNvSpPr>
                <a:spLocks noChangeArrowheads="1"/>
              </p:cNvSpPr>
              <p:nvPr>
                <p:custDataLst>
                  <p:tags r:id="rId33"/>
                </p:custDataLst>
              </p:nvPr>
            </p:nvSpPr>
            <p:spPr bwMode="gray">
              <a:xfrm>
                <a:off x="1547" y="2420"/>
                <a:ext cx="991" cy="864"/>
              </a:xfrm>
              <a:prstGeom prst="roundRect">
                <a:avLst>
                  <a:gd name="adj" fmla="val 5227"/>
                </a:avLst>
              </a:prstGeom>
              <a:gradFill rotWithShape="1">
                <a:gsLst>
                  <a:gs pos="0">
                    <a:schemeClr val="accent1"/>
                  </a:gs>
                  <a:gs pos="100000">
                    <a:schemeClr val="accent1">
                      <a:gamma/>
                      <a:tint val="33725"/>
                      <a:invGamma/>
                    </a:schemeClr>
                  </a:gs>
                </a:gsLst>
                <a:lin ang="5400000" scaled="1"/>
              </a:gradFill>
              <a:ln w="19050">
                <a:solidFill>
                  <a:schemeClr val="accent1"/>
                </a:solidFill>
                <a:round/>
                <a:headEnd/>
                <a:tailEnd/>
              </a:ln>
              <a:effectLst/>
            </p:spPr>
            <p:txBody>
              <a:bodyPr wrap="none" anchor="ctr"/>
              <a:lstStyle/>
              <a:p>
                <a:pPr>
                  <a:defRPr/>
                </a:pPr>
                <a:endParaRPr lang="en-US" b="1" dirty="0">
                  <a:solidFill>
                    <a:srgbClr val="0065BD"/>
                  </a:solidFill>
                  <a:cs typeface="Arial" charset="0"/>
                </a:endParaRPr>
              </a:p>
            </p:txBody>
          </p:sp>
          <p:pic>
            <p:nvPicPr>
              <p:cNvPr id="952365" name="Picture 30"/>
              <p:cNvPicPr>
                <a:picLocks noChangeAspect="1" noChangeArrowheads="1"/>
              </p:cNvPicPr>
              <p:nvPr>
                <p:custDataLst>
                  <p:tags r:id="rId34"/>
                </p:custDataLst>
              </p:nvPr>
            </p:nvPicPr>
            <p:blipFill>
              <a:blip r:embed="rId57" cstate="email">
                <a:extLst>
                  <a:ext uri="{28A0092B-C50C-407E-A947-70E740481C1C}">
                    <a14:useLocalDpi xmlns:a14="http://schemas.microsoft.com/office/drawing/2010/main"/>
                  </a:ext>
                </a:extLst>
              </a:blip>
              <a:srcRect/>
              <a:stretch>
                <a:fillRect/>
              </a:stretch>
            </p:blipFill>
            <p:spPr bwMode="gray">
              <a:xfrm>
                <a:off x="1662" y="2550"/>
                <a:ext cx="802" cy="594"/>
              </a:xfrm>
              <a:prstGeom prst="rect">
                <a:avLst/>
              </a:prstGeom>
              <a:noFill/>
              <a:ln w="9525">
                <a:solidFill>
                  <a:schemeClr val="accent1"/>
                </a:solidFill>
                <a:miter lim="800000"/>
                <a:headEnd/>
                <a:tailEnd/>
              </a:ln>
            </p:spPr>
          </p:pic>
          <p:sp>
            <p:nvSpPr>
              <p:cNvPr id="952366" name="Rectangle 31"/>
              <p:cNvSpPr>
                <a:spLocks noChangeArrowheads="1"/>
              </p:cNvSpPr>
              <p:nvPr>
                <p:custDataLst>
                  <p:tags r:id="rId35"/>
                </p:custDataLst>
              </p:nvPr>
            </p:nvSpPr>
            <p:spPr bwMode="gray">
              <a:xfrm>
                <a:off x="1695" y="2413"/>
                <a:ext cx="718" cy="116"/>
              </a:xfrm>
              <a:prstGeom prst="rect">
                <a:avLst/>
              </a:prstGeom>
              <a:noFill/>
              <a:ln w="9525">
                <a:noFill/>
                <a:miter lim="800000"/>
                <a:headEnd/>
                <a:tailEnd/>
              </a:ln>
            </p:spPr>
            <p:txBody>
              <a:bodyPr wrap="none" lIns="0" tIns="0" rIns="0" bIns="0" anchor="b">
                <a:spAutoFit/>
              </a:bodyPr>
              <a:lstStyle/>
              <a:p>
                <a:pPr defTabSz="895350">
                  <a:spcBef>
                    <a:spcPct val="10000"/>
                  </a:spcBef>
                  <a:buClr>
                    <a:srgbClr val="062859"/>
                  </a:buClr>
                </a:pPr>
                <a:r>
                  <a:rPr lang="en-US" altLang="ja-JP" sz="1200" b="1" dirty="0">
                    <a:solidFill>
                      <a:srgbClr val="0065BD"/>
                    </a:solidFill>
                    <a:cs typeface="Arial" charset="0"/>
                  </a:rPr>
                  <a:t>Reporting tools</a:t>
                </a:r>
              </a:p>
            </p:txBody>
          </p:sp>
        </p:grpSp>
        <p:grpSp>
          <p:nvGrpSpPr>
            <p:cNvPr id="952353" name="Group 32"/>
            <p:cNvGrpSpPr>
              <a:grpSpLocks/>
            </p:cNvGrpSpPr>
            <p:nvPr/>
          </p:nvGrpSpPr>
          <p:grpSpPr bwMode="auto">
            <a:xfrm>
              <a:off x="2157" y="3091"/>
              <a:ext cx="991" cy="863"/>
              <a:chOff x="2157" y="3091"/>
              <a:chExt cx="991" cy="863"/>
            </a:xfrm>
          </p:grpSpPr>
          <p:sp>
            <p:nvSpPr>
              <p:cNvPr id="772129" name="AutoShape 33"/>
              <p:cNvSpPr>
                <a:spLocks noChangeArrowheads="1"/>
              </p:cNvSpPr>
              <p:nvPr>
                <p:custDataLst>
                  <p:tags r:id="rId30"/>
                </p:custDataLst>
              </p:nvPr>
            </p:nvSpPr>
            <p:spPr bwMode="gray">
              <a:xfrm>
                <a:off x="2157" y="3091"/>
                <a:ext cx="991" cy="863"/>
              </a:xfrm>
              <a:prstGeom prst="roundRect">
                <a:avLst>
                  <a:gd name="adj" fmla="val 5227"/>
                </a:avLst>
              </a:prstGeom>
              <a:gradFill rotWithShape="1">
                <a:gsLst>
                  <a:gs pos="0">
                    <a:schemeClr val="accent1"/>
                  </a:gs>
                  <a:gs pos="100000">
                    <a:schemeClr val="accent1">
                      <a:gamma/>
                      <a:tint val="33725"/>
                      <a:invGamma/>
                    </a:schemeClr>
                  </a:gs>
                </a:gsLst>
                <a:lin ang="5400000" scaled="1"/>
              </a:gradFill>
              <a:ln w="19050">
                <a:solidFill>
                  <a:schemeClr val="accent1"/>
                </a:solidFill>
                <a:round/>
                <a:headEnd/>
                <a:tailEnd/>
              </a:ln>
              <a:effectLst/>
            </p:spPr>
            <p:txBody>
              <a:bodyPr wrap="none" anchor="ctr"/>
              <a:lstStyle/>
              <a:p>
                <a:pPr>
                  <a:defRPr/>
                </a:pPr>
                <a:endParaRPr lang="en-US" b="1" dirty="0">
                  <a:solidFill>
                    <a:srgbClr val="0065BD"/>
                  </a:solidFill>
                  <a:cs typeface="Arial" charset="0"/>
                </a:endParaRPr>
              </a:p>
            </p:txBody>
          </p:sp>
          <p:pic>
            <p:nvPicPr>
              <p:cNvPr id="952362" name="Picture 34"/>
              <p:cNvPicPr>
                <a:picLocks noChangeAspect="1" noChangeArrowheads="1"/>
              </p:cNvPicPr>
              <p:nvPr>
                <p:custDataLst>
                  <p:tags r:id="rId31"/>
                </p:custDataLst>
              </p:nvPr>
            </p:nvPicPr>
            <p:blipFill>
              <a:blip r:embed="rId58">
                <a:extLst>
                  <a:ext uri="{28A0092B-C50C-407E-A947-70E740481C1C}">
                    <a14:useLocalDpi xmlns:a14="http://schemas.microsoft.com/office/drawing/2010/main"/>
                  </a:ext>
                </a:extLst>
              </a:blip>
              <a:srcRect/>
              <a:stretch>
                <a:fillRect/>
              </a:stretch>
            </p:blipFill>
            <p:spPr bwMode="gray">
              <a:xfrm>
                <a:off x="2263" y="3273"/>
                <a:ext cx="712" cy="608"/>
              </a:xfrm>
              <a:prstGeom prst="rect">
                <a:avLst/>
              </a:prstGeom>
              <a:noFill/>
              <a:ln w="9525">
                <a:solidFill>
                  <a:schemeClr val="accent1"/>
                </a:solidFill>
                <a:miter lim="800000"/>
                <a:headEnd/>
                <a:tailEnd/>
              </a:ln>
            </p:spPr>
          </p:pic>
          <p:sp>
            <p:nvSpPr>
              <p:cNvPr id="952363" name="Rectangle 35"/>
              <p:cNvSpPr>
                <a:spLocks noChangeArrowheads="1"/>
              </p:cNvSpPr>
              <p:nvPr>
                <p:custDataLst>
                  <p:tags r:id="rId32"/>
                </p:custDataLst>
              </p:nvPr>
            </p:nvSpPr>
            <p:spPr bwMode="gray">
              <a:xfrm>
                <a:off x="2262" y="3127"/>
                <a:ext cx="630" cy="116"/>
              </a:xfrm>
              <a:prstGeom prst="rect">
                <a:avLst/>
              </a:prstGeom>
              <a:noFill/>
              <a:ln w="9525">
                <a:noFill/>
                <a:miter lim="800000"/>
                <a:headEnd/>
                <a:tailEnd/>
              </a:ln>
            </p:spPr>
            <p:txBody>
              <a:bodyPr wrap="none" lIns="0" tIns="0" rIns="0" bIns="0" anchor="b">
                <a:spAutoFit/>
              </a:bodyPr>
              <a:lstStyle/>
              <a:p>
                <a:pPr algn="ctr" defTabSz="895350">
                  <a:spcBef>
                    <a:spcPct val="10000"/>
                  </a:spcBef>
                  <a:buClr>
                    <a:srgbClr val="062859"/>
                  </a:buClr>
                </a:pPr>
                <a:r>
                  <a:rPr lang="en-US" altLang="ja-JP" sz="1200" b="1" dirty="0">
                    <a:solidFill>
                      <a:srgbClr val="0065BD"/>
                    </a:solidFill>
                    <a:cs typeface="Arial" charset="0"/>
                  </a:rPr>
                  <a:t>Value capture</a:t>
                </a:r>
              </a:p>
            </p:txBody>
          </p:sp>
        </p:grpSp>
        <p:sp>
          <p:nvSpPr>
            <p:cNvPr id="952354" name="AutoShape 36"/>
            <p:cNvSpPr>
              <a:spLocks noChangeArrowheads="1"/>
            </p:cNvSpPr>
            <p:nvPr>
              <p:custDataLst>
                <p:tags r:id="rId23"/>
              </p:custDataLst>
            </p:nvPr>
          </p:nvSpPr>
          <p:spPr bwMode="gray">
            <a:xfrm rot="-1529985">
              <a:off x="1788" y="703"/>
              <a:ext cx="262" cy="605"/>
            </a:xfrm>
            <a:prstGeom prst="curvedLeftArrow">
              <a:avLst>
                <a:gd name="adj1" fmla="val 46183"/>
                <a:gd name="adj2" fmla="val 92366"/>
                <a:gd name="adj3" fmla="val 33333"/>
              </a:avLst>
            </a:prstGeom>
            <a:solidFill>
              <a:schemeClr val="hlink"/>
            </a:solidFill>
            <a:ln w="9525">
              <a:solidFill>
                <a:schemeClr val="accent1"/>
              </a:solidFill>
              <a:miter lim="800000"/>
              <a:headEnd/>
              <a:tailEnd/>
            </a:ln>
          </p:spPr>
          <p:txBody>
            <a:bodyPr wrap="none" lIns="0" tIns="0" rIns="0" bIns="0" anchor="ctr"/>
            <a:lstStyle/>
            <a:p>
              <a:endParaRPr lang="ja-JP" altLang="en-US" b="1" dirty="0">
                <a:solidFill>
                  <a:srgbClr val="0065BD"/>
                </a:solidFill>
                <a:cs typeface="Arial" charset="0"/>
              </a:endParaRPr>
            </a:p>
          </p:txBody>
        </p:sp>
        <p:sp>
          <p:nvSpPr>
            <p:cNvPr id="952355" name="AutoShape 37"/>
            <p:cNvSpPr>
              <a:spLocks noChangeArrowheads="1"/>
            </p:cNvSpPr>
            <p:nvPr>
              <p:custDataLst>
                <p:tags r:id="rId24"/>
              </p:custDataLst>
            </p:nvPr>
          </p:nvSpPr>
          <p:spPr bwMode="gray">
            <a:xfrm rot="-1529985">
              <a:off x="2139" y="1453"/>
              <a:ext cx="261" cy="607"/>
            </a:xfrm>
            <a:prstGeom prst="curvedLeftArrow">
              <a:avLst>
                <a:gd name="adj1" fmla="val 46513"/>
                <a:gd name="adj2" fmla="val 93027"/>
                <a:gd name="adj3" fmla="val 33333"/>
              </a:avLst>
            </a:prstGeom>
            <a:solidFill>
              <a:schemeClr val="hlink"/>
            </a:solidFill>
            <a:ln w="9525">
              <a:solidFill>
                <a:schemeClr val="accent1"/>
              </a:solidFill>
              <a:miter lim="800000"/>
              <a:headEnd/>
              <a:tailEnd/>
            </a:ln>
          </p:spPr>
          <p:txBody>
            <a:bodyPr wrap="none" lIns="0" tIns="0" rIns="0" bIns="0" anchor="ctr"/>
            <a:lstStyle/>
            <a:p>
              <a:endParaRPr lang="ja-JP" altLang="en-US" b="1" dirty="0">
                <a:solidFill>
                  <a:srgbClr val="0065BD"/>
                </a:solidFill>
                <a:cs typeface="Arial" charset="0"/>
              </a:endParaRPr>
            </a:p>
          </p:txBody>
        </p:sp>
        <p:sp>
          <p:nvSpPr>
            <p:cNvPr id="952356" name="AutoShape 38"/>
            <p:cNvSpPr>
              <a:spLocks noChangeArrowheads="1"/>
            </p:cNvSpPr>
            <p:nvPr>
              <p:custDataLst>
                <p:tags r:id="rId25"/>
              </p:custDataLst>
            </p:nvPr>
          </p:nvSpPr>
          <p:spPr bwMode="gray">
            <a:xfrm rot="-1984040">
              <a:off x="2469" y="2187"/>
              <a:ext cx="261" cy="606"/>
            </a:xfrm>
            <a:prstGeom prst="curvedLeftArrow">
              <a:avLst>
                <a:gd name="adj1" fmla="val 46437"/>
                <a:gd name="adj2" fmla="val 92874"/>
                <a:gd name="adj3" fmla="val 33333"/>
              </a:avLst>
            </a:prstGeom>
            <a:solidFill>
              <a:schemeClr val="hlink"/>
            </a:solidFill>
            <a:ln w="9525">
              <a:solidFill>
                <a:schemeClr val="accent1"/>
              </a:solidFill>
              <a:miter lim="800000"/>
              <a:headEnd/>
              <a:tailEnd/>
            </a:ln>
          </p:spPr>
          <p:txBody>
            <a:bodyPr wrap="none" lIns="0" tIns="0" rIns="0" bIns="0" anchor="ctr"/>
            <a:lstStyle/>
            <a:p>
              <a:endParaRPr lang="ja-JP" altLang="en-US" b="1" dirty="0">
                <a:solidFill>
                  <a:srgbClr val="0065BD"/>
                </a:solidFill>
                <a:cs typeface="Arial" charset="0"/>
              </a:endParaRPr>
            </a:p>
          </p:txBody>
        </p:sp>
        <p:sp>
          <p:nvSpPr>
            <p:cNvPr id="952357" name="AutoShape 39"/>
            <p:cNvSpPr>
              <a:spLocks noChangeArrowheads="1"/>
            </p:cNvSpPr>
            <p:nvPr>
              <p:custDataLst>
                <p:tags r:id="rId26"/>
              </p:custDataLst>
            </p:nvPr>
          </p:nvSpPr>
          <p:spPr bwMode="gray">
            <a:xfrm rot="8264321">
              <a:off x="1316" y="2316"/>
              <a:ext cx="261" cy="604"/>
            </a:xfrm>
            <a:prstGeom prst="curvedLeftArrow">
              <a:avLst>
                <a:gd name="adj1" fmla="val 46284"/>
                <a:gd name="adj2" fmla="val 92567"/>
                <a:gd name="adj3" fmla="val 33333"/>
              </a:avLst>
            </a:prstGeom>
            <a:solidFill>
              <a:schemeClr val="hlink"/>
            </a:solidFill>
            <a:ln w="9525">
              <a:solidFill>
                <a:schemeClr val="accent1"/>
              </a:solidFill>
              <a:miter lim="800000"/>
              <a:headEnd/>
              <a:tailEnd/>
            </a:ln>
          </p:spPr>
          <p:txBody>
            <a:bodyPr wrap="none" lIns="0" tIns="0" rIns="0" bIns="0" anchor="ctr"/>
            <a:lstStyle/>
            <a:p>
              <a:endParaRPr lang="ja-JP" altLang="en-US" b="1" dirty="0">
                <a:solidFill>
                  <a:srgbClr val="0065BD"/>
                </a:solidFill>
                <a:cs typeface="Arial" charset="0"/>
              </a:endParaRPr>
            </a:p>
          </p:txBody>
        </p:sp>
        <p:sp>
          <p:nvSpPr>
            <p:cNvPr id="952358" name="AutoShape 40"/>
            <p:cNvSpPr>
              <a:spLocks noChangeArrowheads="1"/>
            </p:cNvSpPr>
            <p:nvPr>
              <p:custDataLst>
                <p:tags r:id="rId27"/>
              </p:custDataLst>
            </p:nvPr>
          </p:nvSpPr>
          <p:spPr bwMode="gray">
            <a:xfrm rot="-2157212">
              <a:off x="2799" y="2803"/>
              <a:ext cx="261" cy="605"/>
            </a:xfrm>
            <a:prstGeom prst="curvedLeftArrow">
              <a:avLst>
                <a:gd name="adj1" fmla="val 46360"/>
                <a:gd name="adj2" fmla="val 92720"/>
                <a:gd name="adj3" fmla="val 33333"/>
              </a:avLst>
            </a:prstGeom>
            <a:solidFill>
              <a:schemeClr val="hlink"/>
            </a:solidFill>
            <a:ln w="9525">
              <a:solidFill>
                <a:schemeClr val="accent1"/>
              </a:solidFill>
              <a:miter lim="800000"/>
              <a:headEnd/>
              <a:tailEnd/>
            </a:ln>
          </p:spPr>
          <p:txBody>
            <a:bodyPr wrap="none" lIns="0" tIns="0" rIns="0" bIns="0" anchor="ctr"/>
            <a:lstStyle/>
            <a:p>
              <a:endParaRPr lang="ja-JP" altLang="en-US" b="1" dirty="0">
                <a:solidFill>
                  <a:srgbClr val="0065BD"/>
                </a:solidFill>
                <a:cs typeface="Arial" charset="0"/>
              </a:endParaRPr>
            </a:p>
          </p:txBody>
        </p:sp>
        <p:sp>
          <p:nvSpPr>
            <p:cNvPr id="952359" name="AutoShape 41"/>
            <p:cNvSpPr>
              <a:spLocks noChangeArrowheads="1"/>
            </p:cNvSpPr>
            <p:nvPr>
              <p:custDataLst>
                <p:tags r:id="rId28"/>
              </p:custDataLst>
            </p:nvPr>
          </p:nvSpPr>
          <p:spPr bwMode="gray">
            <a:xfrm rot="8087853">
              <a:off x="1801" y="3123"/>
              <a:ext cx="261" cy="606"/>
            </a:xfrm>
            <a:prstGeom prst="curvedLeftArrow">
              <a:avLst>
                <a:gd name="adj1" fmla="val 46437"/>
                <a:gd name="adj2" fmla="val 92874"/>
                <a:gd name="adj3" fmla="val 33333"/>
              </a:avLst>
            </a:prstGeom>
            <a:solidFill>
              <a:schemeClr val="hlink"/>
            </a:solidFill>
            <a:ln w="9525">
              <a:solidFill>
                <a:schemeClr val="accent1"/>
              </a:solidFill>
              <a:miter lim="800000"/>
              <a:headEnd/>
              <a:tailEnd/>
            </a:ln>
          </p:spPr>
          <p:txBody>
            <a:bodyPr wrap="none" lIns="0" tIns="0" rIns="0" bIns="0" anchor="ctr"/>
            <a:lstStyle/>
            <a:p>
              <a:endParaRPr lang="ja-JP" altLang="en-US" b="1" dirty="0">
                <a:solidFill>
                  <a:srgbClr val="0065BD"/>
                </a:solidFill>
                <a:cs typeface="Arial" charset="0"/>
              </a:endParaRPr>
            </a:p>
          </p:txBody>
        </p:sp>
        <p:sp>
          <p:nvSpPr>
            <p:cNvPr id="952360" name="AutoShape 42"/>
            <p:cNvSpPr>
              <a:spLocks noChangeArrowheads="1"/>
            </p:cNvSpPr>
            <p:nvPr>
              <p:custDataLst>
                <p:tags r:id="rId29"/>
              </p:custDataLst>
            </p:nvPr>
          </p:nvSpPr>
          <p:spPr bwMode="gray">
            <a:xfrm rot="8239181">
              <a:off x="990" y="1612"/>
              <a:ext cx="261" cy="603"/>
            </a:xfrm>
            <a:prstGeom prst="curvedLeftArrow">
              <a:avLst>
                <a:gd name="adj1" fmla="val 46207"/>
                <a:gd name="adj2" fmla="val 92414"/>
                <a:gd name="adj3" fmla="val 33333"/>
              </a:avLst>
            </a:prstGeom>
            <a:solidFill>
              <a:schemeClr val="hlink"/>
            </a:solidFill>
            <a:ln w="9525">
              <a:solidFill>
                <a:schemeClr val="accent1"/>
              </a:solidFill>
              <a:miter lim="800000"/>
              <a:headEnd/>
              <a:tailEnd/>
            </a:ln>
          </p:spPr>
          <p:txBody>
            <a:bodyPr wrap="none" lIns="0" tIns="0" rIns="0" bIns="0" anchor="ctr"/>
            <a:lstStyle/>
            <a:p>
              <a:endParaRPr lang="ja-JP" altLang="en-US" b="1" dirty="0">
                <a:solidFill>
                  <a:srgbClr val="0065BD"/>
                </a:solidFill>
                <a:cs typeface="Arial" charset="0"/>
              </a:endParaRPr>
            </a:p>
          </p:txBody>
        </p:sp>
      </p:grpSp>
      <p:sp>
        <p:nvSpPr>
          <p:cNvPr id="952331" name="Rectangle 43"/>
          <p:cNvSpPr>
            <a:spLocks noChangeArrowheads="1"/>
          </p:cNvSpPr>
          <p:nvPr>
            <p:custDataLst>
              <p:tags r:id="rId6"/>
            </p:custDataLst>
          </p:nvPr>
        </p:nvSpPr>
        <p:spPr bwMode="gray">
          <a:xfrm>
            <a:off x="461752" y="1200236"/>
            <a:ext cx="722312" cy="365125"/>
          </a:xfrm>
          <a:prstGeom prst="rect">
            <a:avLst/>
          </a:prstGeom>
          <a:noFill/>
          <a:ln w="9525">
            <a:noFill/>
            <a:miter lim="800000"/>
            <a:headEnd/>
            <a:tailEnd/>
          </a:ln>
        </p:spPr>
        <p:txBody>
          <a:bodyPr lIns="0" tIns="0" rIns="0" bIns="0">
            <a:spAutoFit/>
          </a:bodyPr>
          <a:lstStyle/>
          <a:p>
            <a:pPr defTabSz="895350">
              <a:spcBef>
                <a:spcPct val="10000"/>
              </a:spcBef>
              <a:buClr>
                <a:srgbClr val="062859"/>
              </a:buClr>
            </a:pPr>
            <a:r>
              <a:rPr lang="en-US" altLang="ja-JP" sz="1200" dirty="0">
                <a:solidFill>
                  <a:srgbClr val="000000"/>
                </a:solidFill>
                <a:cs typeface="Arial" charset="0"/>
              </a:rPr>
              <a:t>Baselining tool</a:t>
            </a:r>
          </a:p>
        </p:txBody>
      </p:sp>
      <p:sp>
        <p:nvSpPr>
          <p:cNvPr id="952332" name="Oval 44"/>
          <p:cNvSpPr>
            <a:spLocks noChangeArrowheads="1"/>
          </p:cNvSpPr>
          <p:nvPr/>
        </p:nvSpPr>
        <p:spPr bwMode="gray">
          <a:xfrm>
            <a:off x="144992" y="1166371"/>
            <a:ext cx="245530" cy="245530"/>
          </a:xfrm>
          <a:prstGeom prst="ellipse">
            <a:avLst/>
          </a:prstGeom>
          <a:solidFill>
            <a:schemeClr val="accent1"/>
          </a:solidFill>
          <a:ln w="12700" algn="ctr">
            <a:noFill/>
            <a:round/>
            <a:headEnd/>
            <a:tailEnd/>
          </a:ln>
          <a:effectLst>
            <a:outerShdw blurRad="63500" sx="102000" sy="102000" algn="ctr" rotWithShape="0">
              <a:prstClr val="black">
                <a:alpha val="40000"/>
              </a:prstClr>
            </a:outerShdw>
          </a:effectLst>
          <a:extLst/>
        </p:spPr>
        <p:txBody>
          <a:bodyPr lIns="0" tIns="0" rIns="0" bIns="0" anchor="ctr">
            <a:noAutofit/>
          </a:bodyPr>
          <a:lstStyle/>
          <a:p>
            <a:pPr algn="ctr"/>
            <a:r>
              <a:rPr lang="en-US" altLang="ja-JP" sz="1200" b="1" dirty="0">
                <a:solidFill>
                  <a:srgbClr val="0065BD"/>
                </a:solidFill>
                <a:ea typeface="MS PGothic" pitchFamily="34" charset="-128"/>
              </a:rPr>
              <a:t>A</a:t>
            </a:r>
          </a:p>
        </p:txBody>
      </p:sp>
      <p:sp>
        <p:nvSpPr>
          <p:cNvPr id="952333" name="Rectangle 45"/>
          <p:cNvSpPr>
            <a:spLocks noChangeArrowheads="1"/>
          </p:cNvSpPr>
          <p:nvPr>
            <p:custDataLst>
              <p:tags r:id="rId7"/>
            </p:custDataLst>
          </p:nvPr>
        </p:nvSpPr>
        <p:spPr bwMode="gray">
          <a:xfrm>
            <a:off x="461752" y="2217823"/>
            <a:ext cx="1042987" cy="365125"/>
          </a:xfrm>
          <a:prstGeom prst="rect">
            <a:avLst/>
          </a:prstGeom>
          <a:noFill/>
          <a:ln w="9525">
            <a:noFill/>
            <a:miter lim="800000"/>
            <a:headEnd/>
            <a:tailEnd/>
          </a:ln>
        </p:spPr>
        <p:txBody>
          <a:bodyPr lIns="0" tIns="0" rIns="0" bIns="0">
            <a:spAutoFit/>
          </a:bodyPr>
          <a:lstStyle/>
          <a:p>
            <a:pPr defTabSz="895350">
              <a:spcBef>
                <a:spcPct val="10000"/>
              </a:spcBef>
              <a:buClr>
                <a:srgbClr val="062859"/>
              </a:buClr>
            </a:pPr>
            <a:r>
              <a:rPr lang="en-US" altLang="ja-JP" sz="1200" dirty="0">
                <a:solidFill>
                  <a:srgbClr val="000000"/>
                </a:solidFill>
                <a:cs typeface="Arial" charset="0"/>
              </a:rPr>
              <a:t>Synergy workshop</a:t>
            </a:r>
          </a:p>
        </p:txBody>
      </p:sp>
      <p:sp>
        <p:nvSpPr>
          <p:cNvPr id="952334" name="Rectangle 46"/>
          <p:cNvSpPr>
            <a:spLocks noChangeArrowheads="1"/>
          </p:cNvSpPr>
          <p:nvPr>
            <p:custDataLst>
              <p:tags r:id="rId8"/>
            </p:custDataLst>
          </p:nvPr>
        </p:nvSpPr>
        <p:spPr bwMode="gray">
          <a:xfrm>
            <a:off x="3936468" y="2217823"/>
            <a:ext cx="4775201" cy="812800"/>
          </a:xfrm>
          <a:prstGeom prst="rect">
            <a:avLst/>
          </a:prstGeom>
          <a:noFill/>
          <a:ln w="9525">
            <a:noFill/>
            <a:miter lim="800000"/>
            <a:headEnd/>
            <a:tailEnd/>
          </a:ln>
        </p:spPr>
        <p:txBody>
          <a:bodyPr wrap="square" lIns="0" tIns="0" rIns="0" bIns="0">
            <a:spAutoFit/>
          </a:bodyPr>
          <a:lstStyle/>
          <a:p>
            <a:pPr marL="193675" lvl="1" indent="-192088" defTabSz="895350">
              <a:spcBef>
                <a:spcPct val="20000"/>
              </a:spcBef>
              <a:spcAft>
                <a:spcPct val="20000"/>
              </a:spcAft>
              <a:buClr>
                <a:srgbClr val="062859"/>
              </a:buClr>
              <a:buSzPct val="125000"/>
              <a:buFont typeface="Arial" charset="0"/>
              <a:buChar char="▪"/>
            </a:pPr>
            <a:r>
              <a:rPr lang="en-US" altLang="ja-JP" sz="1200" b="1" dirty="0">
                <a:solidFill>
                  <a:srgbClr val="0065BD"/>
                </a:solidFill>
                <a:cs typeface="Arial" charset="0"/>
              </a:rPr>
              <a:t>Set top-down targets </a:t>
            </a:r>
            <a:r>
              <a:rPr lang="en-US" altLang="ja-JP" sz="1200" dirty="0">
                <a:solidFill>
                  <a:srgbClr val="000000"/>
                </a:solidFill>
                <a:cs typeface="Arial" charset="0"/>
              </a:rPr>
              <a:t>for operating plan and synergies leveraging deal value drivers</a:t>
            </a:r>
          </a:p>
          <a:p>
            <a:pPr marL="193675" lvl="1" indent="-192088" defTabSz="895350">
              <a:spcBef>
                <a:spcPct val="20000"/>
              </a:spcBef>
              <a:spcAft>
                <a:spcPct val="20000"/>
              </a:spcAft>
              <a:buClr>
                <a:srgbClr val="062859"/>
              </a:buClr>
              <a:buSzPct val="125000"/>
              <a:buFont typeface="Arial" charset="0"/>
              <a:buChar char="▪"/>
            </a:pPr>
            <a:r>
              <a:rPr lang="en-US" altLang="ja-JP" sz="1200" dirty="0">
                <a:solidFill>
                  <a:srgbClr val="000000"/>
                </a:solidFill>
                <a:cs typeface="Arial" charset="0"/>
              </a:rPr>
              <a:t>Value capture team cascades targets to functional teams that deliver impact</a:t>
            </a:r>
          </a:p>
        </p:txBody>
      </p:sp>
      <p:sp>
        <p:nvSpPr>
          <p:cNvPr id="952335" name="Oval 47"/>
          <p:cNvSpPr>
            <a:spLocks noChangeArrowheads="1"/>
          </p:cNvSpPr>
          <p:nvPr/>
        </p:nvSpPr>
        <p:spPr bwMode="gray">
          <a:xfrm>
            <a:off x="144992" y="2183959"/>
            <a:ext cx="245530" cy="245530"/>
          </a:xfrm>
          <a:prstGeom prst="ellipse">
            <a:avLst/>
          </a:prstGeom>
          <a:solidFill>
            <a:schemeClr val="accent1"/>
          </a:solidFill>
          <a:ln w="12700" algn="ctr">
            <a:noFill/>
            <a:round/>
            <a:headEnd/>
            <a:tailEnd/>
          </a:ln>
          <a:effectLst>
            <a:outerShdw blurRad="63500" sx="102000" sy="102000" algn="ctr" rotWithShape="0">
              <a:prstClr val="black">
                <a:alpha val="40000"/>
              </a:prstClr>
            </a:outerShdw>
          </a:effectLst>
          <a:extLst/>
        </p:spPr>
        <p:txBody>
          <a:bodyPr lIns="0" tIns="0" rIns="0" bIns="0" anchor="ctr">
            <a:noAutofit/>
          </a:bodyPr>
          <a:lstStyle/>
          <a:p>
            <a:pPr algn="ctr"/>
            <a:r>
              <a:rPr lang="en-US" altLang="ja-JP" sz="1200" b="1" dirty="0">
                <a:solidFill>
                  <a:srgbClr val="0065BD"/>
                </a:solidFill>
                <a:ea typeface="MS PGothic" pitchFamily="34" charset="-128"/>
              </a:rPr>
              <a:t>B</a:t>
            </a:r>
          </a:p>
        </p:txBody>
      </p:sp>
      <p:sp>
        <p:nvSpPr>
          <p:cNvPr id="952336" name="Rectangle 48"/>
          <p:cNvSpPr>
            <a:spLocks noChangeArrowheads="1"/>
          </p:cNvSpPr>
          <p:nvPr>
            <p:custDataLst>
              <p:tags r:id="rId9"/>
            </p:custDataLst>
          </p:nvPr>
        </p:nvSpPr>
        <p:spPr bwMode="gray">
          <a:xfrm>
            <a:off x="461752" y="3192548"/>
            <a:ext cx="1303337" cy="547688"/>
          </a:xfrm>
          <a:prstGeom prst="rect">
            <a:avLst/>
          </a:prstGeom>
          <a:noFill/>
          <a:ln w="9525">
            <a:noFill/>
            <a:miter lim="800000"/>
            <a:headEnd/>
            <a:tailEnd/>
          </a:ln>
        </p:spPr>
        <p:txBody>
          <a:bodyPr lIns="0" tIns="0" rIns="0" bIns="0">
            <a:spAutoFit/>
          </a:bodyPr>
          <a:lstStyle/>
          <a:p>
            <a:pPr defTabSz="895350">
              <a:spcBef>
                <a:spcPct val="10000"/>
              </a:spcBef>
              <a:buClr>
                <a:srgbClr val="062859"/>
              </a:buClr>
            </a:pPr>
            <a:r>
              <a:rPr lang="en-US" altLang="ja-JP" sz="1200" dirty="0">
                <a:solidFill>
                  <a:srgbClr val="000000"/>
                </a:solidFill>
                <a:cs typeface="Arial" charset="0"/>
              </a:rPr>
              <a:t>Library of </a:t>
            </a:r>
            <a:br>
              <a:rPr lang="en-US" altLang="ja-JP" sz="1200" dirty="0">
                <a:solidFill>
                  <a:srgbClr val="000000"/>
                </a:solidFill>
                <a:cs typeface="Arial" charset="0"/>
              </a:rPr>
            </a:br>
            <a:r>
              <a:rPr lang="en-US" altLang="ja-JP" sz="1200" dirty="0">
                <a:solidFill>
                  <a:srgbClr val="000000"/>
                </a:solidFill>
                <a:cs typeface="Arial" charset="0"/>
              </a:rPr>
              <a:t>synergy levers/ initiatives</a:t>
            </a:r>
          </a:p>
        </p:txBody>
      </p:sp>
      <p:sp>
        <p:nvSpPr>
          <p:cNvPr id="952337" name="Rectangle 49"/>
          <p:cNvSpPr>
            <a:spLocks noChangeArrowheads="1"/>
          </p:cNvSpPr>
          <p:nvPr>
            <p:custDataLst>
              <p:tags r:id="rId10"/>
            </p:custDataLst>
          </p:nvPr>
        </p:nvSpPr>
        <p:spPr bwMode="gray">
          <a:xfrm>
            <a:off x="3474506" y="1200236"/>
            <a:ext cx="5237163" cy="812530"/>
          </a:xfrm>
          <a:prstGeom prst="rect">
            <a:avLst/>
          </a:prstGeom>
          <a:noFill/>
          <a:ln w="9525">
            <a:noFill/>
            <a:miter lim="800000"/>
            <a:headEnd/>
            <a:tailEnd/>
          </a:ln>
        </p:spPr>
        <p:txBody>
          <a:bodyPr wrap="square" lIns="0" tIns="0" rIns="0" bIns="0">
            <a:spAutoFit/>
          </a:bodyPr>
          <a:lstStyle/>
          <a:p>
            <a:pPr marL="193675" lvl="1" indent="-192088" defTabSz="895350">
              <a:spcBef>
                <a:spcPct val="20000"/>
              </a:spcBef>
              <a:spcAft>
                <a:spcPct val="20000"/>
              </a:spcAft>
              <a:buClr>
                <a:srgbClr val="062859"/>
              </a:buClr>
              <a:buSzPct val="125000"/>
              <a:buFont typeface="Arial" charset="0"/>
              <a:buChar char="▪"/>
            </a:pPr>
            <a:r>
              <a:rPr lang="en-US" altLang="ja-JP" sz="1200" b="1" dirty="0">
                <a:solidFill>
                  <a:srgbClr val="0065BD"/>
                </a:solidFill>
                <a:cs typeface="Arial" charset="0"/>
              </a:rPr>
              <a:t>Establish combined baseline </a:t>
            </a:r>
            <a:r>
              <a:rPr lang="en-US" altLang="ja-JP" sz="1200" dirty="0">
                <a:solidFill>
                  <a:srgbClr val="000000"/>
                </a:solidFill>
                <a:cs typeface="Arial" charset="0"/>
              </a:rPr>
              <a:t>for both entities, and reflecting go-forward organizational structure</a:t>
            </a:r>
          </a:p>
          <a:p>
            <a:pPr marL="193675" lvl="1" indent="-192088" defTabSz="895350">
              <a:spcBef>
                <a:spcPct val="20000"/>
              </a:spcBef>
              <a:spcAft>
                <a:spcPct val="20000"/>
              </a:spcAft>
              <a:buClr>
                <a:srgbClr val="062859"/>
              </a:buClr>
              <a:buSzPct val="125000"/>
              <a:buFont typeface="Arial" charset="0"/>
              <a:buChar char="▪"/>
            </a:pPr>
            <a:r>
              <a:rPr lang="en-US" altLang="ja-JP" sz="1200" dirty="0">
                <a:solidFill>
                  <a:srgbClr val="000000"/>
                </a:solidFill>
                <a:cs typeface="Arial" charset="0"/>
              </a:rPr>
              <a:t>Capture full cost base (i.e. cost and head count) and cascade to each functional team to ensure addressable costs can be reduced </a:t>
            </a:r>
          </a:p>
        </p:txBody>
      </p:sp>
      <p:sp>
        <p:nvSpPr>
          <p:cNvPr id="952338" name="Rectangle 50"/>
          <p:cNvSpPr>
            <a:spLocks noChangeArrowheads="1"/>
          </p:cNvSpPr>
          <p:nvPr>
            <p:custDataLst>
              <p:tags r:id="rId11"/>
            </p:custDataLst>
          </p:nvPr>
        </p:nvSpPr>
        <p:spPr bwMode="gray">
          <a:xfrm>
            <a:off x="4274608" y="3192548"/>
            <a:ext cx="4437062" cy="812530"/>
          </a:xfrm>
          <a:prstGeom prst="rect">
            <a:avLst/>
          </a:prstGeom>
          <a:noFill/>
          <a:ln w="9525">
            <a:noFill/>
            <a:miter lim="800000"/>
            <a:headEnd/>
            <a:tailEnd/>
          </a:ln>
        </p:spPr>
        <p:txBody>
          <a:bodyPr wrap="square" lIns="0" tIns="0" rIns="0" bIns="0">
            <a:spAutoFit/>
          </a:bodyPr>
          <a:lstStyle/>
          <a:p>
            <a:pPr marL="193675" lvl="1" indent="-192088" defTabSz="895350">
              <a:spcBef>
                <a:spcPct val="20000"/>
              </a:spcBef>
              <a:spcAft>
                <a:spcPct val="20000"/>
              </a:spcAft>
              <a:buClr>
                <a:srgbClr val="062859"/>
              </a:buClr>
              <a:buSzPct val="125000"/>
              <a:buFont typeface="Arial" charset="0"/>
              <a:buChar char="▪"/>
            </a:pPr>
            <a:r>
              <a:rPr lang="en-US" altLang="ja-JP" sz="1200" dirty="0">
                <a:solidFill>
                  <a:srgbClr val="000000"/>
                </a:solidFill>
                <a:cs typeface="Arial" charset="0"/>
              </a:rPr>
              <a:t>Functional teams </a:t>
            </a:r>
            <a:r>
              <a:rPr lang="en-US" altLang="ja-JP" sz="1200" b="1" dirty="0">
                <a:solidFill>
                  <a:srgbClr val="0065BD"/>
                </a:solidFill>
                <a:cs typeface="Arial" charset="0"/>
              </a:rPr>
              <a:t>create bottom-up </a:t>
            </a:r>
            <a:r>
              <a:rPr lang="en-US" altLang="ja-JP" sz="1200" dirty="0">
                <a:solidFill>
                  <a:srgbClr val="000000"/>
                </a:solidFill>
                <a:cs typeface="Arial" charset="0"/>
              </a:rPr>
              <a:t>initiatives to reach targets</a:t>
            </a:r>
          </a:p>
          <a:p>
            <a:pPr marL="193675" lvl="1" indent="-192088" defTabSz="895350">
              <a:spcBef>
                <a:spcPct val="20000"/>
              </a:spcBef>
              <a:spcAft>
                <a:spcPct val="20000"/>
              </a:spcAft>
              <a:buClr>
                <a:srgbClr val="062859"/>
              </a:buClr>
              <a:buSzPct val="125000"/>
              <a:buFont typeface="Arial" charset="0"/>
              <a:buChar char="▪"/>
            </a:pPr>
            <a:r>
              <a:rPr lang="en-US" altLang="ja-JP" sz="1200" dirty="0">
                <a:solidFill>
                  <a:srgbClr val="000000"/>
                </a:solidFill>
                <a:cs typeface="Arial" charset="0"/>
              </a:rPr>
              <a:t>Value capture team drives building the new plan of record by close – resolving cross-team dependencies and priorities through IMO process</a:t>
            </a:r>
          </a:p>
        </p:txBody>
      </p:sp>
      <p:sp>
        <p:nvSpPr>
          <p:cNvPr id="952339" name="Oval 51"/>
          <p:cNvSpPr>
            <a:spLocks noChangeArrowheads="1"/>
          </p:cNvSpPr>
          <p:nvPr/>
        </p:nvSpPr>
        <p:spPr bwMode="gray">
          <a:xfrm>
            <a:off x="144992" y="3160271"/>
            <a:ext cx="245530" cy="245530"/>
          </a:xfrm>
          <a:prstGeom prst="ellipse">
            <a:avLst/>
          </a:prstGeom>
          <a:solidFill>
            <a:schemeClr val="accent1"/>
          </a:solidFill>
          <a:ln w="12700" algn="ctr">
            <a:noFill/>
            <a:round/>
            <a:headEnd/>
            <a:tailEnd/>
          </a:ln>
          <a:effectLst>
            <a:outerShdw blurRad="63500" sx="102000" sy="102000" algn="ctr" rotWithShape="0">
              <a:prstClr val="black">
                <a:alpha val="40000"/>
              </a:prstClr>
            </a:outerShdw>
          </a:effectLst>
          <a:extLst/>
        </p:spPr>
        <p:txBody>
          <a:bodyPr lIns="0" tIns="0" rIns="0" bIns="0" anchor="ctr">
            <a:noAutofit/>
          </a:bodyPr>
          <a:lstStyle/>
          <a:p>
            <a:pPr algn="ctr"/>
            <a:r>
              <a:rPr lang="en-US" altLang="ja-JP" sz="1200" b="1" dirty="0">
                <a:solidFill>
                  <a:srgbClr val="0065BD"/>
                </a:solidFill>
                <a:ea typeface="MS PGothic" pitchFamily="34" charset="-128"/>
              </a:rPr>
              <a:t>C</a:t>
            </a:r>
          </a:p>
        </p:txBody>
      </p:sp>
      <p:sp>
        <p:nvSpPr>
          <p:cNvPr id="952340" name="Rectangle 52"/>
          <p:cNvSpPr>
            <a:spLocks noChangeArrowheads="1"/>
          </p:cNvSpPr>
          <p:nvPr>
            <p:custDataLst>
              <p:tags r:id="rId12"/>
            </p:custDataLst>
          </p:nvPr>
        </p:nvSpPr>
        <p:spPr bwMode="gray">
          <a:xfrm>
            <a:off x="461752" y="4168861"/>
            <a:ext cx="1622425" cy="730250"/>
          </a:xfrm>
          <a:prstGeom prst="rect">
            <a:avLst/>
          </a:prstGeom>
          <a:noFill/>
          <a:ln w="9525">
            <a:noFill/>
            <a:miter lim="800000"/>
            <a:headEnd/>
            <a:tailEnd/>
          </a:ln>
        </p:spPr>
        <p:txBody>
          <a:bodyPr lIns="0" tIns="0" rIns="0" bIns="0">
            <a:spAutoFit/>
          </a:bodyPr>
          <a:lstStyle/>
          <a:p>
            <a:pPr marL="193675" lvl="1" indent="-192088" defTabSz="895350">
              <a:buClr>
                <a:srgbClr val="062859"/>
              </a:buClr>
              <a:buFont typeface="Arial" charset="0"/>
              <a:buNone/>
            </a:pPr>
            <a:r>
              <a:rPr lang="en-US" altLang="ja-JP" sz="1200" dirty="0">
                <a:solidFill>
                  <a:srgbClr val="000000"/>
                </a:solidFill>
                <a:cs typeface="Arial" charset="0"/>
              </a:rPr>
              <a:t>Weekly initiative status</a:t>
            </a:r>
          </a:p>
          <a:p>
            <a:pPr marL="193675" lvl="1" indent="-192088" defTabSz="895350">
              <a:buClr>
                <a:srgbClr val="062859"/>
              </a:buClr>
              <a:buFont typeface="Arial" charset="0"/>
              <a:buNone/>
            </a:pPr>
            <a:r>
              <a:rPr lang="en-US" altLang="ja-JP" sz="1200" dirty="0">
                <a:solidFill>
                  <a:srgbClr val="000000"/>
                </a:solidFill>
                <a:cs typeface="Arial" charset="0"/>
              </a:rPr>
              <a:t>Weekly exception list</a:t>
            </a:r>
          </a:p>
          <a:p>
            <a:pPr marL="193675" lvl="1" indent="-192088" defTabSz="895350">
              <a:buClr>
                <a:srgbClr val="062859"/>
              </a:buClr>
              <a:buFont typeface="Arial" charset="0"/>
              <a:buNone/>
            </a:pPr>
            <a:r>
              <a:rPr lang="en-US" altLang="ja-JP" sz="1200" dirty="0">
                <a:solidFill>
                  <a:srgbClr val="000000"/>
                </a:solidFill>
                <a:cs typeface="Arial" charset="0"/>
              </a:rPr>
              <a:t>Monthly financial impact</a:t>
            </a:r>
          </a:p>
          <a:p>
            <a:pPr marL="193675" lvl="1" indent="-192088" defTabSz="895350">
              <a:buClr>
                <a:srgbClr val="062859"/>
              </a:buClr>
              <a:buFont typeface="Arial" charset="0"/>
              <a:buNone/>
            </a:pPr>
            <a:r>
              <a:rPr lang="en-US" altLang="ja-JP" sz="1200" dirty="0">
                <a:solidFill>
                  <a:srgbClr val="000000"/>
                </a:solidFill>
                <a:cs typeface="Arial" charset="0"/>
              </a:rPr>
              <a:t>Quarterly priority review</a:t>
            </a:r>
          </a:p>
        </p:txBody>
      </p:sp>
      <p:sp>
        <p:nvSpPr>
          <p:cNvPr id="952341" name="Rectangle 53"/>
          <p:cNvSpPr>
            <a:spLocks noChangeArrowheads="1"/>
          </p:cNvSpPr>
          <p:nvPr>
            <p:custDataLst>
              <p:tags r:id="rId13"/>
            </p:custDataLst>
          </p:nvPr>
        </p:nvSpPr>
        <p:spPr bwMode="gray">
          <a:xfrm>
            <a:off x="4677832" y="4168861"/>
            <a:ext cx="4033837" cy="553998"/>
          </a:xfrm>
          <a:prstGeom prst="rect">
            <a:avLst/>
          </a:prstGeom>
          <a:noFill/>
          <a:ln w="9525">
            <a:noFill/>
            <a:miter lim="800000"/>
            <a:headEnd/>
            <a:tailEnd/>
          </a:ln>
        </p:spPr>
        <p:txBody>
          <a:bodyPr wrap="square" lIns="0" tIns="0" rIns="0" bIns="0">
            <a:spAutoFit/>
          </a:bodyPr>
          <a:lstStyle/>
          <a:p>
            <a:pPr marL="193675" lvl="1" indent="-192088" defTabSz="895350">
              <a:spcBef>
                <a:spcPct val="20000"/>
              </a:spcBef>
              <a:spcAft>
                <a:spcPct val="20000"/>
              </a:spcAft>
              <a:buClr>
                <a:srgbClr val="062859"/>
              </a:buClr>
              <a:buSzPct val="125000"/>
              <a:buFont typeface="Arial" charset="0"/>
              <a:buChar char="▪"/>
            </a:pPr>
            <a:r>
              <a:rPr lang="en-US" altLang="ja-JP" sz="1200" dirty="0">
                <a:solidFill>
                  <a:srgbClr val="000000"/>
                </a:solidFill>
                <a:cs typeface="Arial" charset="0"/>
              </a:rPr>
              <a:t>After close, value capture </a:t>
            </a:r>
            <a:r>
              <a:rPr lang="en-US" altLang="ja-JP" sz="1200" b="1" dirty="0">
                <a:solidFill>
                  <a:srgbClr val="0065BD"/>
                </a:solidFill>
                <a:cs typeface="Arial" charset="0"/>
              </a:rPr>
              <a:t>consolidates and reports on progress</a:t>
            </a:r>
            <a:r>
              <a:rPr lang="en-US" altLang="ja-JP" sz="1200" dirty="0">
                <a:solidFill>
                  <a:srgbClr val="000000"/>
                </a:solidFill>
                <a:cs typeface="Arial" charset="0"/>
              </a:rPr>
              <a:t>, and drives process to keep initiatives on track and identify new sources of value</a:t>
            </a:r>
          </a:p>
        </p:txBody>
      </p:sp>
      <p:sp>
        <p:nvSpPr>
          <p:cNvPr id="952342" name="Oval 54"/>
          <p:cNvSpPr>
            <a:spLocks noChangeArrowheads="1"/>
          </p:cNvSpPr>
          <p:nvPr/>
        </p:nvSpPr>
        <p:spPr bwMode="gray">
          <a:xfrm>
            <a:off x="144992" y="4136584"/>
            <a:ext cx="245530" cy="245530"/>
          </a:xfrm>
          <a:prstGeom prst="ellipse">
            <a:avLst/>
          </a:prstGeom>
          <a:solidFill>
            <a:schemeClr val="accent1"/>
          </a:solidFill>
          <a:ln w="12700" algn="ctr">
            <a:noFill/>
            <a:round/>
            <a:headEnd/>
            <a:tailEnd/>
          </a:ln>
          <a:effectLst>
            <a:outerShdw blurRad="63500" sx="102000" sy="102000" algn="ctr" rotWithShape="0">
              <a:prstClr val="black">
                <a:alpha val="40000"/>
              </a:prstClr>
            </a:outerShdw>
          </a:effectLst>
          <a:extLst/>
        </p:spPr>
        <p:txBody>
          <a:bodyPr lIns="0" tIns="0" rIns="0" bIns="0" anchor="ctr">
            <a:noAutofit/>
          </a:bodyPr>
          <a:lstStyle/>
          <a:p>
            <a:pPr algn="ctr"/>
            <a:r>
              <a:rPr lang="en-US" altLang="ja-JP" sz="1200" b="1" dirty="0">
                <a:solidFill>
                  <a:srgbClr val="0065BD"/>
                </a:solidFill>
                <a:ea typeface="MS PGothic" pitchFamily="34" charset="-128"/>
              </a:rPr>
              <a:t>D</a:t>
            </a:r>
          </a:p>
        </p:txBody>
      </p:sp>
      <p:sp>
        <p:nvSpPr>
          <p:cNvPr id="952344" name="Rectangle 56"/>
          <p:cNvSpPr>
            <a:spLocks noChangeArrowheads="1"/>
          </p:cNvSpPr>
          <p:nvPr>
            <p:custDataLst>
              <p:tags r:id="rId14"/>
            </p:custDataLst>
          </p:nvPr>
        </p:nvSpPr>
        <p:spPr bwMode="gray">
          <a:xfrm>
            <a:off x="5247744" y="5127797"/>
            <a:ext cx="3463925" cy="553998"/>
          </a:xfrm>
          <a:prstGeom prst="rect">
            <a:avLst/>
          </a:prstGeom>
          <a:noFill/>
          <a:ln w="9525">
            <a:noFill/>
            <a:miter lim="800000"/>
            <a:headEnd/>
            <a:tailEnd/>
          </a:ln>
        </p:spPr>
        <p:txBody>
          <a:bodyPr wrap="square" lIns="0" tIns="0" rIns="0" bIns="0">
            <a:spAutoFit/>
          </a:bodyPr>
          <a:lstStyle/>
          <a:p>
            <a:pPr marL="193675" lvl="1" indent="-192088" defTabSz="895350">
              <a:spcBef>
                <a:spcPct val="20000"/>
              </a:spcBef>
              <a:spcAft>
                <a:spcPct val="20000"/>
              </a:spcAft>
              <a:buClr>
                <a:srgbClr val="062859"/>
              </a:buClr>
              <a:buSzPct val="125000"/>
              <a:buFont typeface="Arial" charset="0"/>
              <a:buChar char="▪"/>
            </a:pPr>
            <a:r>
              <a:rPr lang="en-US" altLang="ja-JP" sz="1200" dirty="0">
                <a:solidFill>
                  <a:srgbClr val="000000"/>
                </a:solidFill>
                <a:cs typeface="Arial" charset="0"/>
              </a:rPr>
              <a:t>The value capture dashboard provides BU and senior management with </a:t>
            </a:r>
            <a:r>
              <a:rPr lang="en-US" altLang="ja-JP" sz="1200" b="1" dirty="0">
                <a:solidFill>
                  <a:srgbClr val="0065BD"/>
                </a:solidFill>
                <a:cs typeface="Arial" charset="0"/>
              </a:rPr>
              <a:t>integration performance management tools</a:t>
            </a:r>
          </a:p>
        </p:txBody>
      </p:sp>
      <p:sp>
        <p:nvSpPr>
          <p:cNvPr id="952343" name="Rectangle 55"/>
          <p:cNvSpPr>
            <a:spLocks noChangeArrowheads="1"/>
          </p:cNvSpPr>
          <p:nvPr>
            <p:custDataLst>
              <p:tags r:id="rId15"/>
            </p:custDataLst>
          </p:nvPr>
        </p:nvSpPr>
        <p:spPr bwMode="gray">
          <a:xfrm>
            <a:off x="461752" y="5140497"/>
            <a:ext cx="1797050" cy="182563"/>
          </a:xfrm>
          <a:prstGeom prst="rect">
            <a:avLst/>
          </a:prstGeom>
          <a:noFill/>
          <a:ln w="9525">
            <a:noFill/>
            <a:miter lim="800000"/>
            <a:headEnd/>
            <a:tailEnd/>
          </a:ln>
        </p:spPr>
        <p:txBody>
          <a:bodyPr lIns="0" tIns="0" rIns="0" bIns="0">
            <a:spAutoFit/>
          </a:bodyPr>
          <a:lstStyle/>
          <a:p>
            <a:pPr marL="174625" indent="-174625" defTabSz="895350">
              <a:spcBef>
                <a:spcPct val="10000"/>
              </a:spcBef>
              <a:buClr>
                <a:srgbClr val="062859"/>
              </a:buClr>
            </a:pPr>
            <a:r>
              <a:rPr lang="en-US" altLang="ja-JP" sz="1200" dirty="0">
                <a:solidFill>
                  <a:srgbClr val="000000"/>
                </a:solidFill>
                <a:cs typeface="Arial" charset="0"/>
              </a:rPr>
              <a:t>Value capture dashboard </a:t>
            </a:r>
          </a:p>
        </p:txBody>
      </p:sp>
      <p:sp>
        <p:nvSpPr>
          <p:cNvPr id="952345" name="Oval 57"/>
          <p:cNvSpPr>
            <a:spLocks noChangeArrowheads="1"/>
          </p:cNvSpPr>
          <p:nvPr>
            <p:custDataLst>
              <p:tags r:id="rId16"/>
            </p:custDataLst>
          </p:nvPr>
        </p:nvSpPr>
        <p:spPr bwMode="gray">
          <a:xfrm>
            <a:off x="144992" y="5108220"/>
            <a:ext cx="245530" cy="245530"/>
          </a:xfrm>
          <a:prstGeom prst="ellipse">
            <a:avLst/>
          </a:prstGeom>
          <a:solidFill>
            <a:schemeClr val="accent1"/>
          </a:solidFill>
          <a:ln w="12700" algn="ctr">
            <a:noFill/>
            <a:round/>
            <a:headEnd/>
            <a:tailEnd/>
          </a:ln>
          <a:effectLst>
            <a:outerShdw blurRad="63500" sx="102000" sy="102000" algn="ctr" rotWithShape="0">
              <a:prstClr val="black">
                <a:alpha val="40000"/>
              </a:prstClr>
            </a:outerShdw>
          </a:effectLst>
          <a:extLst/>
        </p:spPr>
        <p:txBody>
          <a:bodyPr lIns="0" tIns="0" rIns="0" bIns="0" anchor="ctr">
            <a:noAutofit/>
          </a:bodyPr>
          <a:lstStyle/>
          <a:p>
            <a:pPr algn="ctr"/>
            <a:r>
              <a:rPr lang="en-US" altLang="ja-JP" sz="1200" b="1" dirty="0">
                <a:solidFill>
                  <a:srgbClr val="0065BD"/>
                </a:solidFill>
                <a:ea typeface="MS PGothic" pitchFamily="34" charset="-128"/>
              </a:rPr>
              <a:t>E</a:t>
            </a:r>
          </a:p>
        </p:txBody>
      </p:sp>
      <p:sp>
        <p:nvSpPr>
          <p:cNvPr id="58" name="Line 6"/>
          <p:cNvSpPr>
            <a:spLocks noChangeShapeType="1"/>
          </p:cNvSpPr>
          <p:nvPr>
            <p:custDataLst>
              <p:tags r:id="rId17"/>
            </p:custDataLst>
          </p:nvPr>
        </p:nvSpPr>
        <p:spPr bwMode="gray">
          <a:xfrm>
            <a:off x="164568" y="3124286"/>
            <a:ext cx="1492251" cy="0"/>
          </a:xfrm>
          <a:prstGeom prst="line">
            <a:avLst/>
          </a:prstGeom>
          <a:noFill/>
          <a:ln w="12700">
            <a:solidFill>
              <a:srgbClr val="808080"/>
            </a:solidFill>
            <a:prstDash val="sysDot"/>
            <a:round/>
            <a:headEnd/>
            <a:tailEnd/>
          </a:ln>
        </p:spPr>
        <p:txBody>
          <a:bodyPr wrap="none" anchor="ctr"/>
          <a:lstStyle/>
          <a:p>
            <a:endParaRPr lang="en-US" dirty="0">
              <a:solidFill>
                <a:srgbClr val="000000"/>
              </a:solidFill>
              <a:cs typeface="Arial" charset="0"/>
            </a:endParaRPr>
          </a:p>
        </p:txBody>
      </p:sp>
      <p:sp>
        <p:nvSpPr>
          <p:cNvPr id="59" name="Line 7"/>
          <p:cNvSpPr>
            <a:spLocks noChangeShapeType="1"/>
          </p:cNvSpPr>
          <p:nvPr>
            <p:custDataLst>
              <p:tags r:id="rId18"/>
            </p:custDataLst>
          </p:nvPr>
        </p:nvSpPr>
        <p:spPr bwMode="gray">
          <a:xfrm>
            <a:off x="164569" y="2074948"/>
            <a:ext cx="1131888" cy="0"/>
          </a:xfrm>
          <a:prstGeom prst="line">
            <a:avLst/>
          </a:prstGeom>
          <a:noFill/>
          <a:ln w="12700">
            <a:solidFill>
              <a:srgbClr val="808080"/>
            </a:solidFill>
            <a:prstDash val="sysDot"/>
            <a:round/>
            <a:headEnd/>
            <a:tailEnd/>
          </a:ln>
        </p:spPr>
        <p:txBody>
          <a:bodyPr wrap="none" anchor="ctr"/>
          <a:lstStyle/>
          <a:p>
            <a:endParaRPr lang="en-US" dirty="0">
              <a:solidFill>
                <a:srgbClr val="000000"/>
              </a:solidFill>
              <a:cs typeface="Arial" charset="0"/>
            </a:endParaRPr>
          </a:p>
        </p:txBody>
      </p:sp>
      <p:sp>
        <p:nvSpPr>
          <p:cNvPr id="60" name="Line 9"/>
          <p:cNvSpPr>
            <a:spLocks noChangeShapeType="1"/>
          </p:cNvSpPr>
          <p:nvPr>
            <p:custDataLst>
              <p:tags r:id="rId19"/>
            </p:custDataLst>
          </p:nvPr>
        </p:nvSpPr>
        <p:spPr bwMode="gray">
          <a:xfrm>
            <a:off x="164569" y="5013625"/>
            <a:ext cx="2501901" cy="0"/>
          </a:xfrm>
          <a:prstGeom prst="line">
            <a:avLst/>
          </a:prstGeom>
          <a:noFill/>
          <a:ln w="12700">
            <a:solidFill>
              <a:srgbClr val="808080"/>
            </a:solidFill>
            <a:prstDash val="sysDot"/>
            <a:round/>
            <a:headEnd/>
            <a:tailEnd/>
          </a:ln>
        </p:spPr>
        <p:txBody>
          <a:bodyPr wrap="none" anchor="ctr"/>
          <a:lstStyle/>
          <a:p>
            <a:endParaRPr lang="en-US" dirty="0">
              <a:solidFill>
                <a:srgbClr val="000000"/>
              </a:solidFill>
              <a:cs typeface="Arial" charset="0"/>
            </a:endParaRPr>
          </a:p>
        </p:txBody>
      </p:sp>
      <p:sp>
        <p:nvSpPr>
          <p:cNvPr id="61" name="Line 10"/>
          <p:cNvSpPr>
            <a:spLocks noChangeShapeType="1"/>
          </p:cNvSpPr>
          <p:nvPr>
            <p:custDataLst>
              <p:tags r:id="rId20"/>
            </p:custDataLst>
          </p:nvPr>
        </p:nvSpPr>
        <p:spPr bwMode="gray">
          <a:xfrm>
            <a:off x="164569" y="4075198"/>
            <a:ext cx="1952626" cy="0"/>
          </a:xfrm>
          <a:prstGeom prst="line">
            <a:avLst/>
          </a:prstGeom>
          <a:noFill/>
          <a:ln w="12700">
            <a:solidFill>
              <a:srgbClr val="808080"/>
            </a:solidFill>
            <a:prstDash val="sysDot"/>
            <a:round/>
            <a:headEnd/>
            <a:tailEnd/>
          </a:ln>
        </p:spPr>
        <p:txBody>
          <a:bodyPr wrap="none" anchor="ctr"/>
          <a:lstStyle/>
          <a:p>
            <a:endParaRPr lang="en-US" dirty="0">
              <a:solidFill>
                <a:srgbClr val="000000"/>
              </a:solidFill>
              <a:cs typeface="Arial" charset="0"/>
            </a:endParaRPr>
          </a:p>
        </p:txBody>
      </p:sp>
      <p:sp>
        <p:nvSpPr>
          <p:cNvPr id="63" name="5. Source"/>
          <p:cNvSpPr>
            <a:spLocks noChangeArrowheads="1"/>
          </p:cNvSpPr>
          <p:nvPr>
            <p:custDataLst>
              <p:tags r:id="rId21"/>
            </p:custDataLst>
          </p:nvPr>
        </p:nvSpPr>
        <p:spPr bwMode="gray">
          <a:xfrm>
            <a:off x="119063" y="6507558"/>
            <a:ext cx="7200000" cy="123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marL="609600" indent="-609600" defTabSz="895350">
              <a:tabLst>
                <a:tab pos="612775" algn="l"/>
              </a:tabLst>
            </a:pPr>
            <a:r>
              <a:rPr lang="en-US" altLang="zh-CN" sz="800" dirty="0">
                <a:solidFill>
                  <a:schemeClr val="accent6"/>
                </a:solidFill>
                <a:latin typeface="Arial" panose="020B0604020202020204" pitchFamily="34" charset="0"/>
              </a:rPr>
              <a:t>SOURCE: McKinsey Merger Management Practice</a:t>
            </a:r>
          </a:p>
        </p:txBody>
      </p:sp>
      <p:sp>
        <p:nvSpPr>
          <p:cNvPr id="66" name="Title Tracker Circle">
            <a:extLst>
              <a:ext uri="{FF2B5EF4-FFF2-40B4-BE49-F238E27FC236}">
                <a16:creationId xmlns:a16="http://schemas.microsoft.com/office/drawing/2014/main" id="{592A8B1A-DF4C-4F1F-A7BE-82BE4835E99B}"/>
              </a:ext>
            </a:extLst>
          </p:cNvPr>
          <p:cNvSpPr/>
          <p:nvPr/>
        </p:nvSpPr>
        <p:spPr>
          <a:xfrm>
            <a:off x="119063" y="166736"/>
            <a:ext cx="418798" cy="418798"/>
          </a:xfrm>
          <a:prstGeom prst="ellipse">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p>
            <a:pPr algn="ctr"/>
            <a:r>
              <a:rPr lang="en-US" sz="2000" dirty="0">
                <a:solidFill>
                  <a:schemeClr val="tx2"/>
                </a:solidFill>
                <a:latin typeface="+mj-lt"/>
              </a:rPr>
              <a:t>1</a:t>
            </a:r>
          </a:p>
        </p:txBody>
      </p:sp>
    </p:spTree>
    <p:custDataLst>
      <p:tags r:id="rId1"/>
    </p:custDataLst>
    <p:extLst>
      <p:ext uri="{BB962C8B-B14F-4D97-AF65-F5344CB8AC3E}">
        <p14:creationId xmlns:p14="http://schemas.microsoft.com/office/powerpoint/2010/main" val="285747390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27730" name="AutoShape 18" hidden="1"/>
          <p:cNvGraphicFramePr>
            <a:graphicFrameLocks/>
          </p:cNvGraphicFramePr>
          <p:nvPr>
            <p:custDataLst>
              <p:tags r:id="rId3"/>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89812" name="think-cell Slide" r:id="rId8" imgW="0" imgH="0" progId="TCLayout.ActiveDocument.1">
                  <p:embed/>
                </p:oleObj>
              </mc:Choice>
              <mc:Fallback>
                <p:oleObj name="think-cell Slide" r:id="rId8" imgW="0" imgH="0" progId="TCLayout.ActiveDocument.1">
                  <p:embed/>
                  <p:pic>
                    <p:nvPicPr>
                      <p:cNvPr id="627730" name="AutoShape 18"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27737" name="Rectangle 9"/>
          <p:cNvSpPr>
            <a:spLocks noGrp="1" noChangeArrowheads="1"/>
          </p:cNvSpPr>
          <p:nvPr>
            <p:ph type="title"/>
            <p:custDataLst>
              <p:tags r:id="rId4"/>
            </p:custDataLst>
          </p:nvPr>
        </p:nvSpPr>
        <p:spPr>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marL="465138"/>
            <a:r>
              <a:rPr lang="en-US" altLang="ja-JP" dirty="0"/>
              <a:t>Toolbox: IMO set-up tools</a:t>
            </a:r>
          </a:p>
        </p:txBody>
      </p:sp>
      <p:sp>
        <p:nvSpPr>
          <p:cNvPr id="627738" name="Rectangle 10"/>
          <p:cNvSpPr>
            <a:spLocks noChangeArrowheads="1"/>
          </p:cNvSpPr>
          <p:nvPr/>
        </p:nvSpPr>
        <p:spPr bwMode="auto">
          <a:xfrm>
            <a:off x="119063" y="3711472"/>
            <a:ext cx="2795587" cy="2501900"/>
          </a:xfrm>
          <a:prstGeom prst="rect">
            <a:avLst/>
          </a:prstGeom>
          <a:solidFill>
            <a:schemeClr val="bg2"/>
          </a:solidFill>
          <a:ln w="12700">
            <a:solidFill>
              <a:schemeClr val="accent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89611" tIns="44806" rIns="89611" bIns="44806" rtlCol="0" anchor="ctr">
            <a:noAutofit/>
          </a:bodyPr>
          <a:lstStyle/>
          <a:p>
            <a:pPr algn="ctr"/>
            <a:endParaRPr lang="en-CA" dirty="0">
              <a:solidFill>
                <a:srgbClr val="0065BD"/>
              </a:solidFill>
            </a:endParaRPr>
          </a:p>
        </p:txBody>
      </p:sp>
      <p:sp>
        <p:nvSpPr>
          <p:cNvPr id="627739" name="Rectangle 11"/>
          <p:cNvSpPr>
            <a:spLocks noChangeArrowheads="1"/>
          </p:cNvSpPr>
          <p:nvPr/>
        </p:nvSpPr>
        <p:spPr bwMode="auto">
          <a:xfrm>
            <a:off x="5942013" y="3711472"/>
            <a:ext cx="2795587" cy="2501900"/>
          </a:xfrm>
          <a:prstGeom prst="rect">
            <a:avLst/>
          </a:prstGeom>
          <a:solidFill>
            <a:schemeClr val="bg2"/>
          </a:solidFill>
          <a:ln w="12700">
            <a:solidFill>
              <a:schemeClr val="accent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89611" tIns="44806" rIns="89611" bIns="44806" rtlCol="0" anchor="ctr">
            <a:noAutofit/>
          </a:bodyPr>
          <a:lstStyle/>
          <a:p>
            <a:pPr algn="ctr"/>
            <a:endParaRPr lang="en-CA" dirty="0">
              <a:solidFill>
                <a:srgbClr val="0065BD"/>
              </a:solidFill>
            </a:endParaRPr>
          </a:p>
        </p:txBody>
      </p:sp>
      <p:sp>
        <p:nvSpPr>
          <p:cNvPr id="627740" name="Rectangle 12"/>
          <p:cNvSpPr>
            <a:spLocks noChangeArrowheads="1"/>
          </p:cNvSpPr>
          <p:nvPr/>
        </p:nvSpPr>
        <p:spPr bwMode="auto">
          <a:xfrm>
            <a:off x="3030538" y="3711472"/>
            <a:ext cx="2795587" cy="2501900"/>
          </a:xfrm>
          <a:prstGeom prst="rect">
            <a:avLst/>
          </a:prstGeom>
          <a:solidFill>
            <a:schemeClr val="bg2"/>
          </a:solidFill>
          <a:ln w="12700">
            <a:solidFill>
              <a:schemeClr val="accent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89611" tIns="44806" rIns="89611" bIns="44806" rtlCol="0" anchor="ctr">
            <a:noAutofit/>
          </a:bodyPr>
          <a:lstStyle/>
          <a:p>
            <a:pPr algn="ctr"/>
            <a:endParaRPr lang="en-CA" dirty="0">
              <a:solidFill>
                <a:srgbClr val="0065BD"/>
              </a:solidFill>
            </a:endParaRPr>
          </a:p>
        </p:txBody>
      </p:sp>
      <p:sp>
        <p:nvSpPr>
          <p:cNvPr id="627741" name="Rectangle 13"/>
          <p:cNvSpPr>
            <a:spLocks noChangeArrowheads="1"/>
          </p:cNvSpPr>
          <p:nvPr/>
        </p:nvSpPr>
        <p:spPr bwMode="auto">
          <a:xfrm>
            <a:off x="119063" y="1095272"/>
            <a:ext cx="2795587" cy="2501900"/>
          </a:xfrm>
          <a:prstGeom prst="rect">
            <a:avLst/>
          </a:prstGeom>
          <a:solidFill>
            <a:schemeClr val="bg2"/>
          </a:solidFill>
          <a:ln w="12700">
            <a:solidFill>
              <a:schemeClr val="accent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89611" tIns="44806" rIns="89611" bIns="44806" rtlCol="0" anchor="ctr">
            <a:noAutofit/>
          </a:bodyPr>
          <a:lstStyle/>
          <a:p>
            <a:pPr algn="ctr"/>
            <a:endParaRPr lang="en-CA" dirty="0">
              <a:solidFill>
                <a:srgbClr val="0065BD"/>
              </a:solidFill>
            </a:endParaRPr>
          </a:p>
        </p:txBody>
      </p:sp>
      <p:sp>
        <p:nvSpPr>
          <p:cNvPr id="627742" name="Rectangle 14"/>
          <p:cNvSpPr>
            <a:spLocks noChangeArrowheads="1"/>
          </p:cNvSpPr>
          <p:nvPr/>
        </p:nvSpPr>
        <p:spPr bwMode="auto">
          <a:xfrm>
            <a:off x="5942013" y="1095272"/>
            <a:ext cx="2795587" cy="2501900"/>
          </a:xfrm>
          <a:prstGeom prst="rect">
            <a:avLst/>
          </a:prstGeom>
          <a:solidFill>
            <a:schemeClr val="bg2"/>
          </a:solidFill>
          <a:ln w="12700">
            <a:solidFill>
              <a:schemeClr val="accent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89611" tIns="44806" rIns="89611" bIns="44806" rtlCol="0" anchor="ctr">
            <a:noAutofit/>
          </a:bodyPr>
          <a:lstStyle/>
          <a:p>
            <a:pPr algn="ctr"/>
            <a:endParaRPr lang="en-CA" dirty="0">
              <a:solidFill>
                <a:srgbClr val="0065BD"/>
              </a:solidFill>
            </a:endParaRPr>
          </a:p>
        </p:txBody>
      </p:sp>
      <p:sp>
        <p:nvSpPr>
          <p:cNvPr id="627743" name="Rectangle 15"/>
          <p:cNvSpPr>
            <a:spLocks noChangeArrowheads="1"/>
          </p:cNvSpPr>
          <p:nvPr/>
        </p:nvSpPr>
        <p:spPr bwMode="auto">
          <a:xfrm>
            <a:off x="3030538" y="1095272"/>
            <a:ext cx="2795587" cy="2501900"/>
          </a:xfrm>
          <a:prstGeom prst="rect">
            <a:avLst/>
          </a:prstGeom>
          <a:solidFill>
            <a:schemeClr val="bg2"/>
          </a:solidFill>
          <a:ln w="12700">
            <a:solidFill>
              <a:schemeClr val="accent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89611" tIns="44806" rIns="89611" bIns="44806" rtlCol="0" anchor="ctr">
            <a:noAutofit/>
          </a:bodyPr>
          <a:lstStyle/>
          <a:p>
            <a:pPr algn="ctr"/>
            <a:endParaRPr lang="en-CA" dirty="0">
              <a:solidFill>
                <a:srgbClr val="0065BD"/>
              </a:solidFill>
            </a:endParaRPr>
          </a:p>
        </p:txBody>
      </p:sp>
      <p:pic>
        <p:nvPicPr>
          <p:cNvPr id="627744" name="Picture 16"/>
          <p:cNvPicPr>
            <a:picLocks noChangeAspect="1" noChangeArrowheads="1"/>
          </p:cNvPicPr>
          <p:nvPr/>
        </p:nvPicPr>
        <p:blipFill>
          <a:blip r:embed="rId9" cstate="email">
            <a:extLst>
              <a:ext uri="{28A0092B-C50C-407E-A947-70E740481C1C}">
                <a14:useLocalDpi xmlns:a14="http://schemas.microsoft.com/office/drawing/2010/main"/>
              </a:ext>
            </a:extLst>
          </a:blip>
          <a:srcRect/>
          <a:stretch>
            <a:fillRect/>
          </a:stretch>
        </p:blipFill>
        <p:spPr bwMode="auto">
          <a:xfrm>
            <a:off x="184150" y="1533422"/>
            <a:ext cx="2667000" cy="2000250"/>
          </a:xfrm>
          <a:prstGeom prst="rect">
            <a:avLst/>
          </a:prstGeom>
          <a:noFill/>
          <a:ln w="9525">
            <a:noFill/>
            <a:miter lim="800000"/>
            <a:headEnd/>
            <a:tailEnd/>
          </a:ln>
        </p:spPr>
      </p:pic>
      <p:pic>
        <p:nvPicPr>
          <p:cNvPr id="627745" name="Picture 17"/>
          <p:cNvPicPr>
            <a:picLocks noChangeArrowheads="1"/>
          </p:cNvPicPr>
          <p:nvPr/>
        </p:nvPicPr>
        <p:blipFill>
          <a:blip r:embed="rId10" cstate="email">
            <a:extLst>
              <a:ext uri="{28A0092B-C50C-407E-A947-70E740481C1C}">
                <a14:useLocalDpi xmlns:a14="http://schemas.microsoft.com/office/drawing/2010/main"/>
              </a:ext>
            </a:extLst>
          </a:blip>
          <a:srcRect/>
          <a:stretch>
            <a:fillRect/>
          </a:stretch>
        </p:blipFill>
        <p:spPr bwMode="auto">
          <a:xfrm>
            <a:off x="3095625" y="1533422"/>
            <a:ext cx="2667000" cy="2000250"/>
          </a:xfrm>
          <a:prstGeom prst="rect">
            <a:avLst/>
          </a:prstGeom>
          <a:noFill/>
          <a:ln w="9525">
            <a:noFill/>
            <a:miter lim="800000"/>
            <a:headEnd/>
            <a:tailEnd/>
          </a:ln>
        </p:spPr>
      </p:pic>
      <p:pic>
        <p:nvPicPr>
          <p:cNvPr id="627746" name="Picture 18"/>
          <p:cNvPicPr>
            <a:picLocks noChangeArrowheads="1"/>
          </p:cNvPicPr>
          <p:nvPr/>
        </p:nvPicPr>
        <p:blipFill>
          <a:blip r:embed="rId11" cstate="email">
            <a:extLst>
              <a:ext uri="{28A0092B-C50C-407E-A947-70E740481C1C}">
                <a14:useLocalDpi xmlns:a14="http://schemas.microsoft.com/office/drawing/2010/main"/>
              </a:ext>
            </a:extLst>
          </a:blip>
          <a:srcRect/>
          <a:stretch>
            <a:fillRect/>
          </a:stretch>
        </p:blipFill>
        <p:spPr bwMode="auto">
          <a:xfrm>
            <a:off x="6007100" y="1533422"/>
            <a:ext cx="2667000" cy="2000250"/>
          </a:xfrm>
          <a:prstGeom prst="rect">
            <a:avLst/>
          </a:prstGeom>
          <a:noFill/>
          <a:ln w="9525">
            <a:noFill/>
            <a:miter lim="800000"/>
            <a:headEnd/>
            <a:tailEnd/>
          </a:ln>
        </p:spPr>
      </p:pic>
      <p:pic>
        <p:nvPicPr>
          <p:cNvPr id="627747" name="Picture 19"/>
          <p:cNvPicPr>
            <a:picLocks noChangeArrowheads="1"/>
          </p:cNvPicPr>
          <p:nvPr/>
        </p:nvPicPr>
        <p:blipFill>
          <a:blip r:embed="rId12" cstate="email">
            <a:extLst>
              <a:ext uri="{28A0092B-C50C-407E-A947-70E740481C1C}">
                <a14:useLocalDpi xmlns:a14="http://schemas.microsoft.com/office/drawing/2010/main"/>
              </a:ext>
            </a:extLst>
          </a:blip>
          <a:srcRect/>
          <a:stretch>
            <a:fillRect/>
          </a:stretch>
        </p:blipFill>
        <p:spPr bwMode="auto">
          <a:xfrm>
            <a:off x="184150" y="4140097"/>
            <a:ext cx="2667000" cy="2000250"/>
          </a:xfrm>
          <a:prstGeom prst="rect">
            <a:avLst/>
          </a:prstGeom>
          <a:noFill/>
          <a:ln w="9525">
            <a:noFill/>
            <a:miter lim="800000"/>
            <a:headEnd/>
            <a:tailEnd/>
          </a:ln>
        </p:spPr>
      </p:pic>
      <p:pic>
        <p:nvPicPr>
          <p:cNvPr id="627748" name="Picture 20"/>
          <p:cNvPicPr>
            <a:picLocks noChangeArrowheads="1"/>
          </p:cNvPicPr>
          <p:nvPr/>
        </p:nvPicPr>
        <p:blipFill>
          <a:blip r:embed="rId13" cstate="email">
            <a:extLst>
              <a:ext uri="{28A0092B-C50C-407E-A947-70E740481C1C}">
                <a14:useLocalDpi xmlns:a14="http://schemas.microsoft.com/office/drawing/2010/main"/>
              </a:ext>
            </a:extLst>
          </a:blip>
          <a:srcRect/>
          <a:stretch>
            <a:fillRect/>
          </a:stretch>
        </p:blipFill>
        <p:spPr bwMode="auto">
          <a:xfrm>
            <a:off x="3095625" y="4140097"/>
            <a:ext cx="2667000" cy="2000250"/>
          </a:xfrm>
          <a:prstGeom prst="rect">
            <a:avLst/>
          </a:prstGeom>
          <a:noFill/>
          <a:ln w="9525">
            <a:noFill/>
            <a:miter lim="800000"/>
            <a:headEnd/>
            <a:tailEnd/>
          </a:ln>
        </p:spPr>
      </p:pic>
      <p:pic>
        <p:nvPicPr>
          <p:cNvPr id="627749" name="Picture 21"/>
          <p:cNvPicPr>
            <a:picLocks noChangeArrowheads="1"/>
          </p:cNvPicPr>
          <p:nvPr/>
        </p:nvPicPr>
        <p:blipFill>
          <a:blip r:embed="rId14" cstate="email">
            <a:extLst>
              <a:ext uri="{28A0092B-C50C-407E-A947-70E740481C1C}">
                <a14:useLocalDpi xmlns:a14="http://schemas.microsoft.com/office/drawing/2010/main"/>
              </a:ext>
            </a:extLst>
          </a:blip>
          <a:srcRect/>
          <a:stretch>
            <a:fillRect/>
          </a:stretch>
        </p:blipFill>
        <p:spPr bwMode="auto">
          <a:xfrm>
            <a:off x="6007100" y="4140097"/>
            <a:ext cx="2667000" cy="2000250"/>
          </a:xfrm>
          <a:prstGeom prst="rect">
            <a:avLst/>
          </a:prstGeom>
          <a:noFill/>
          <a:ln w="9525">
            <a:noFill/>
            <a:miter lim="800000"/>
            <a:headEnd/>
            <a:tailEnd/>
          </a:ln>
        </p:spPr>
      </p:pic>
      <p:sp>
        <p:nvSpPr>
          <p:cNvPr id="627750" name="Rectangle 22"/>
          <p:cNvSpPr>
            <a:spLocks noChangeArrowheads="1"/>
          </p:cNvSpPr>
          <p:nvPr/>
        </p:nvSpPr>
        <p:spPr bwMode="gray">
          <a:xfrm>
            <a:off x="119063" y="1095272"/>
            <a:ext cx="2795587" cy="365125"/>
          </a:xfrm>
          <a:prstGeom prst="rect">
            <a:avLst/>
          </a:prstGeom>
          <a:solidFill>
            <a:schemeClr val="accent1"/>
          </a:solidFill>
          <a:ln w="12700">
            <a:solidFill>
              <a:schemeClr val="accent1"/>
            </a:solidFill>
            <a:miter lim="800000"/>
            <a:headEnd/>
            <a:tailEnd/>
          </a:ln>
        </p:spPr>
        <p:txBody>
          <a:bodyPr lIns="73052" tIns="71910" rIns="71910" bIns="71910" anchor="ctr"/>
          <a:lstStyle/>
          <a:p>
            <a:pPr defTabSz="895350">
              <a:spcBef>
                <a:spcPct val="25000"/>
              </a:spcBef>
              <a:buClr>
                <a:srgbClr val="062859"/>
              </a:buClr>
            </a:pPr>
            <a:r>
              <a:rPr lang="en-US" altLang="ja-JP" sz="1400" b="1" dirty="0">
                <a:solidFill>
                  <a:srgbClr val="0065BD"/>
                </a:solidFill>
                <a:cs typeface="Arial" charset="0"/>
              </a:rPr>
              <a:t>Roles of governance groups</a:t>
            </a:r>
          </a:p>
        </p:txBody>
      </p:sp>
      <p:sp>
        <p:nvSpPr>
          <p:cNvPr id="627751" name="Rectangle 23"/>
          <p:cNvSpPr>
            <a:spLocks noChangeArrowheads="1"/>
          </p:cNvSpPr>
          <p:nvPr/>
        </p:nvSpPr>
        <p:spPr bwMode="gray">
          <a:xfrm>
            <a:off x="3030538" y="1095272"/>
            <a:ext cx="2795587" cy="365125"/>
          </a:xfrm>
          <a:prstGeom prst="rect">
            <a:avLst/>
          </a:prstGeom>
          <a:solidFill>
            <a:schemeClr val="accent1"/>
          </a:solidFill>
          <a:ln w="12700">
            <a:solidFill>
              <a:schemeClr val="accent1"/>
            </a:solidFill>
            <a:miter lim="800000"/>
            <a:headEnd/>
            <a:tailEnd/>
          </a:ln>
        </p:spPr>
        <p:txBody>
          <a:bodyPr lIns="73052" tIns="71910" rIns="71910" bIns="71910" anchor="ctr">
            <a:noAutofit/>
          </a:bodyPr>
          <a:lstStyle/>
          <a:p>
            <a:pPr defTabSz="895350">
              <a:spcBef>
                <a:spcPct val="25000"/>
              </a:spcBef>
              <a:buClr>
                <a:srgbClr val="062859"/>
              </a:buClr>
            </a:pPr>
            <a:r>
              <a:rPr lang="en-US" altLang="ja-JP" sz="1400" b="1" dirty="0">
                <a:solidFill>
                  <a:srgbClr val="0065BD"/>
                </a:solidFill>
                <a:cs typeface="Arial" charset="0"/>
              </a:rPr>
              <a:t>Role of IMO sub-teams</a:t>
            </a:r>
          </a:p>
        </p:txBody>
      </p:sp>
      <p:sp>
        <p:nvSpPr>
          <p:cNvPr id="627752" name="Rectangle 24"/>
          <p:cNvSpPr>
            <a:spLocks noChangeArrowheads="1"/>
          </p:cNvSpPr>
          <p:nvPr/>
        </p:nvSpPr>
        <p:spPr bwMode="gray">
          <a:xfrm>
            <a:off x="5942013" y="1095272"/>
            <a:ext cx="2795587" cy="365125"/>
          </a:xfrm>
          <a:prstGeom prst="rect">
            <a:avLst/>
          </a:prstGeom>
          <a:solidFill>
            <a:schemeClr val="accent1"/>
          </a:solidFill>
          <a:ln w="12700">
            <a:solidFill>
              <a:schemeClr val="accent1"/>
            </a:solidFill>
            <a:miter lim="800000"/>
            <a:headEnd/>
            <a:tailEnd/>
          </a:ln>
        </p:spPr>
        <p:txBody>
          <a:bodyPr lIns="73052" tIns="71910" rIns="71910" bIns="71910" anchor="ctr">
            <a:noAutofit/>
          </a:bodyPr>
          <a:lstStyle/>
          <a:p>
            <a:pPr defTabSz="895350">
              <a:spcBef>
                <a:spcPct val="25000"/>
              </a:spcBef>
              <a:buClr>
                <a:srgbClr val="062859"/>
              </a:buClr>
            </a:pPr>
            <a:r>
              <a:rPr lang="en-US" altLang="ja-JP" sz="1400" b="1" dirty="0">
                <a:solidFill>
                  <a:srgbClr val="0065BD"/>
                </a:solidFill>
                <a:cs typeface="Arial" charset="0"/>
              </a:rPr>
              <a:t>Role of various meetings</a:t>
            </a:r>
          </a:p>
        </p:txBody>
      </p:sp>
      <p:sp>
        <p:nvSpPr>
          <p:cNvPr id="627753" name="Rectangle 25"/>
          <p:cNvSpPr>
            <a:spLocks noChangeArrowheads="1"/>
          </p:cNvSpPr>
          <p:nvPr/>
        </p:nvSpPr>
        <p:spPr bwMode="gray">
          <a:xfrm>
            <a:off x="119063" y="3711472"/>
            <a:ext cx="2795587" cy="365125"/>
          </a:xfrm>
          <a:prstGeom prst="rect">
            <a:avLst/>
          </a:prstGeom>
          <a:solidFill>
            <a:schemeClr val="accent1"/>
          </a:solidFill>
          <a:ln w="12700">
            <a:solidFill>
              <a:schemeClr val="accent1"/>
            </a:solidFill>
            <a:miter lim="800000"/>
            <a:headEnd/>
            <a:tailEnd/>
          </a:ln>
        </p:spPr>
        <p:txBody>
          <a:bodyPr lIns="73052" tIns="71910" rIns="71910" bIns="71910" anchor="ctr"/>
          <a:lstStyle/>
          <a:p>
            <a:pPr defTabSz="895350">
              <a:spcBef>
                <a:spcPct val="25000"/>
              </a:spcBef>
              <a:buClr>
                <a:srgbClr val="062859"/>
              </a:buClr>
            </a:pPr>
            <a:r>
              <a:rPr lang="en-US" altLang="ja-JP" sz="1400" b="1" dirty="0">
                <a:solidFill>
                  <a:srgbClr val="0065BD"/>
                </a:solidFill>
                <a:cs typeface="Arial" charset="0"/>
              </a:rPr>
              <a:t>Standardized weekly schedule</a:t>
            </a:r>
          </a:p>
        </p:txBody>
      </p:sp>
      <p:sp>
        <p:nvSpPr>
          <p:cNvPr id="627754" name="Rectangle 26"/>
          <p:cNvSpPr>
            <a:spLocks noChangeArrowheads="1"/>
          </p:cNvSpPr>
          <p:nvPr/>
        </p:nvSpPr>
        <p:spPr bwMode="gray">
          <a:xfrm>
            <a:off x="3030538" y="3711472"/>
            <a:ext cx="2795587" cy="365125"/>
          </a:xfrm>
          <a:prstGeom prst="rect">
            <a:avLst/>
          </a:prstGeom>
          <a:solidFill>
            <a:schemeClr val="accent1"/>
          </a:solidFill>
          <a:ln w="12700">
            <a:solidFill>
              <a:schemeClr val="accent1"/>
            </a:solidFill>
            <a:miter lim="800000"/>
            <a:headEnd/>
            <a:tailEnd/>
          </a:ln>
        </p:spPr>
        <p:txBody>
          <a:bodyPr lIns="73052" tIns="71910" rIns="71910" bIns="71910" anchor="ctr">
            <a:noAutofit/>
          </a:bodyPr>
          <a:lstStyle/>
          <a:p>
            <a:pPr defTabSz="895350">
              <a:spcBef>
                <a:spcPct val="25000"/>
              </a:spcBef>
              <a:buClr>
                <a:srgbClr val="062859"/>
              </a:buClr>
            </a:pPr>
            <a:r>
              <a:rPr lang="en-US" altLang="ja-JP" sz="1400" b="1" dirty="0">
                <a:solidFill>
                  <a:srgbClr val="0065BD"/>
                </a:solidFill>
                <a:cs typeface="Arial" charset="0"/>
              </a:rPr>
              <a:t>Simple reporting format</a:t>
            </a:r>
          </a:p>
        </p:txBody>
      </p:sp>
      <p:sp>
        <p:nvSpPr>
          <p:cNvPr id="627755" name="Rectangle 27"/>
          <p:cNvSpPr>
            <a:spLocks noChangeArrowheads="1"/>
          </p:cNvSpPr>
          <p:nvPr/>
        </p:nvSpPr>
        <p:spPr bwMode="gray">
          <a:xfrm>
            <a:off x="5942013" y="3711472"/>
            <a:ext cx="2795587" cy="365125"/>
          </a:xfrm>
          <a:prstGeom prst="rect">
            <a:avLst/>
          </a:prstGeom>
          <a:solidFill>
            <a:schemeClr val="accent1"/>
          </a:solidFill>
          <a:ln w="12700">
            <a:solidFill>
              <a:schemeClr val="accent1"/>
            </a:solidFill>
            <a:miter lim="800000"/>
            <a:headEnd/>
            <a:tailEnd/>
          </a:ln>
        </p:spPr>
        <p:txBody>
          <a:bodyPr lIns="73052" tIns="71910" rIns="71910" bIns="71910" anchor="ctr">
            <a:noAutofit/>
          </a:bodyPr>
          <a:lstStyle/>
          <a:p>
            <a:pPr defTabSz="895350">
              <a:spcBef>
                <a:spcPct val="25000"/>
              </a:spcBef>
              <a:buClr>
                <a:srgbClr val="062859"/>
              </a:buClr>
            </a:pPr>
            <a:r>
              <a:rPr lang="en-US" altLang="ja-JP" sz="1400" b="1" dirty="0">
                <a:solidFill>
                  <a:srgbClr val="0065BD"/>
                </a:solidFill>
                <a:cs typeface="Arial" charset="0"/>
              </a:rPr>
              <a:t>Master Plan for all functions</a:t>
            </a:r>
          </a:p>
        </p:txBody>
      </p:sp>
      <p:sp>
        <p:nvSpPr>
          <p:cNvPr id="23" name="5. Source"/>
          <p:cNvSpPr>
            <a:spLocks noChangeArrowheads="1"/>
          </p:cNvSpPr>
          <p:nvPr>
            <p:custDataLst>
              <p:tags r:id="rId5"/>
            </p:custDataLst>
          </p:nvPr>
        </p:nvSpPr>
        <p:spPr bwMode="gray">
          <a:xfrm>
            <a:off x="119063" y="6507558"/>
            <a:ext cx="7200000" cy="123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marL="609600" indent="-609600" defTabSz="895350">
              <a:tabLst>
                <a:tab pos="612775" algn="l"/>
              </a:tabLst>
            </a:pPr>
            <a:r>
              <a:rPr lang="en-US" altLang="zh-CN" sz="800" dirty="0">
                <a:solidFill>
                  <a:schemeClr val="accent6"/>
                </a:solidFill>
                <a:latin typeface="Arial" panose="020B0604020202020204" pitchFamily="34" charset="0"/>
              </a:rPr>
              <a:t>SOURCE: McKinsey Merger Management Practice</a:t>
            </a:r>
          </a:p>
        </p:txBody>
      </p:sp>
      <p:sp>
        <p:nvSpPr>
          <p:cNvPr id="26" name="3. Unit of measure"/>
          <p:cNvSpPr txBox="1">
            <a:spLocks noChangeArrowheads="1"/>
          </p:cNvSpPr>
          <p:nvPr/>
        </p:nvSpPr>
        <p:spPr bwMode="auto">
          <a:xfrm>
            <a:off x="119063" y="554865"/>
            <a:ext cx="8618537"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defPPr>
              <a:defRPr lang="en-US"/>
            </a:defPPr>
            <a:lvl1pPr marL="457200" defTabSz="895350">
              <a:defRPr baseline="0">
                <a:solidFill>
                  <a:schemeClr val="accent6"/>
                </a:solidFill>
                <a:latin typeface="+mn-lt"/>
              </a:defRPr>
            </a:lvl1pPr>
            <a:lvl2pPr marL="447675" defTabSz="895350">
              <a:defRPr sz="2400"/>
            </a:lvl2pPr>
            <a:lvl3pPr marL="895350" defTabSz="895350">
              <a:defRPr sz="2400"/>
            </a:lvl3pPr>
            <a:lvl4pPr marL="1344613" defTabSz="895350">
              <a:defRPr sz="2400"/>
            </a:lvl4pPr>
            <a:lvl5pPr marL="1792288" defTabSz="895350">
              <a:defRPr sz="2400"/>
            </a:lvl5pPr>
            <a:lvl6pPr marL="2249488" defTabSz="895350" fontAlgn="base">
              <a:spcBef>
                <a:spcPct val="0"/>
              </a:spcBef>
              <a:spcAft>
                <a:spcPct val="0"/>
              </a:spcAft>
              <a:defRPr sz="2400"/>
            </a:lvl6pPr>
            <a:lvl7pPr marL="2706688" defTabSz="895350" fontAlgn="base">
              <a:spcBef>
                <a:spcPct val="0"/>
              </a:spcBef>
              <a:spcAft>
                <a:spcPct val="0"/>
              </a:spcAft>
              <a:defRPr sz="2400"/>
            </a:lvl7pPr>
            <a:lvl8pPr marL="3163888" defTabSz="895350" fontAlgn="base">
              <a:spcBef>
                <a:spcPct val="0"/>
              </a:spcBef>
              <a:spcAft>
                <a:spcPct val="0"/>
              </a:spcAft>
              <a:defRPr sz="2400"/>
            </a:lvl8pPr>
            <a:lvl9pPr marL="3621088" defTabSz="895350" fontAlgn="base">
              <a:spcBef>
                <a:spcPct val="0"/>
              </a:spcBef>
              <a:spcAft>
                <a:spcPct val="0"/>
              </a:spcAft>
              <a:defRPr sz="2400"/>
            </a:lvl9pPr>
          </a:lstStyle>
          <a:p>
            <a:r>
              <a:rPr lang="en-US" altLang="zh-CN" dirty="0"/>
              <a:t>Example</a:t>
            </a:r>
          </a:p>
        </p:txBody>
      </p:sp>
      <p:sp>
        <p:nvSpPr>
          <p:cNvPr id="28" name="Title Tracker Circle">
            <a:extLst>
              <a:ext uri="{FF2B5EF4-FFF2-40B4-BE49-F238E27FC236}">
                <a16:creationId xmlns:a16="http://schemas.microsoft.com/office/drawing/2014/main" id="{E84B6837-2942-4C4F-8367-7A262D43FFC3}"/>
              </a:ext>
            </a:extLst>
          </p:cNvPr>
          <p:cNvSpPr/>
          <p:nvPr/>
        </p:nvSpPr>
        <p:spPr>
          <a:xfrm>
            <a:off x="119063" y="166736"/>
            <a:ext cx="418798" cy="418798"/>
          </a:xfrm>
          <a:prstGeom prst="ellipse">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p>
            <a:pPr algn="ctr"/>
            <a:r>
              <a:rPr lang="en-US" sz="2000" dirty="0">
                <a:solidFill>
                  <a:schemeClr val="tx2"/>
                </a:solidFill>
                <a:latin typeface="+mj-lt"/>
              </a:rPr>
              <a:t>2</a:t>
            </a:r>
          </a:p>
        </p:txBody>
      </p:sp>
    </p:spTree>
    <p:custDataLst>
      <p:tags r:id="rId2"/>
    </p:custDataLst>
    <p:extLst>
      <p:ext uri="{BB962C8B-B14F-4D97-AF65-F5344CB8AC3E}">
        <p14:creationId xmlns:p14="http://schemas.microsoft.com/office/powerpoint/2010/main" val="1192688024"/>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91274" name="Rectangle 106" hidden="1"/>
          <p:cNvGraphicFramePr>
            <a:graphicFrameLocks/>
          </p:cNvGraphicFramePr>
          <p:nvPr>
            <p:custDataLst>
              <p:tags r:id="rId2"/>
            </p:custDataLst>
            <p:extLst/>
          </p:nvPr>
        </p:nvGraphicFramePr>
        <p:xfrm>
          <a:off x="1432" y="1074"/>
          <a:ext cx="158700" cy="158700"/>
        </p:xfrm>
        <a:graphic>
          <a:graphicData uri="http://schemas.openxmlformats.org/presentationml/2006/ole">
            <mc:AlternateContent xmlns:mc="http://schemas.openxmlformats.org/markup-compatibility/2006">
              <mc:Choice xmlns:v="urn:schemas-microsoft-com:vml" Requires="v">
                <p:oleObj spid="_x0000_s290836" name="think-cell Slide" r:id="rId18" imgW="0" imgH="0" progId="TCLayout.ActiveDocument.1">
                  <p:embed/>
                </p:oleObj>
              </mc:Choice>
              <mc:Fallback>
                <p:oleObj name="think-cell Slide" r:id="rId18" imgW="0" imgH="0" progId="TCLayout.ActiveDocument.1">
                  <p:embed/>
                  <p:pic>
                    <p:nvPicPr>
                      <p:cNvPr id="391274" name="Rectangle 106"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gray">
                      <a:xfrm>
                        <a:off x="1432" y="1074"/>
                        <a:ext cx="158700" cy="15870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138" name="5. Source"/>
          <p:cNvSpPr>
            <a:spLocks noChangeArrowheads="1"/>
          </p:cNvSpPr>
          <p:nvPr/>
        </p:nvSpPr>
        <p:spPr bwMode="auto">
          <a:xfrm>
            <a:off x="119063" y="6507558"/>
            <a:ext cx="7200000" cy="123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marL="609600" indent="-609600" defTabSz="895350">
              <a:tabLst>
                <a:tab pos="612775" algn="l"/>
              </a:tabLst>
            </a:pPr>
            <a:r>
              <a:rPr lang="en-US" sz="800" dirty="0">
                <a:solidFill>
                  <a:schemeClr val="accent6"/>
                </a:solidFill>
                <a:latin typeface="Arial" panose="020B0604020202020204" pitchFamily="34" charset="0"/>
              </a:rPr>
              <a:t>SOURCE: McKinsey OrgSolutions </a:t>
            </a:r>
          </a:p>
        </p:txBody>
      </p:sp>
      <p:sp>
        <p:nvSpPr>
          <p:cNvPr id="128" name="Rectangle 127"/>
          <p:cNvSpPr>
            <a:spLocks/>
          </p:cNvSpPr>
          <p:nvPr/>
        </p:nvSpPr>
        <p:spPr>
          <a:xfrm>
            <a:off x="199766" y="1464330"/>
            <a:ext cx="8457130" cy="4670816"/>
          </a:xfrm>
          <a:prstGeom prst="rect">
            <a:avLst/>
          </a:prstGeom>
          <a:solidFill>
            <a:schemeClr val="bg2"/>
          </a:solidFill>
          <a:ln w="19050">
            <a:solidFill>
              <a:schemeClr val="accent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12" dirty="0">
              <a:solidFill>
                <a:srgbClr val="000000"/>
              </a:solidFill>
            </a:endParaRPr>
          </a:p>
        </p:txBody>
      </p:sp>
      <p:grpSp>
        <p:nvGrpSpPr>
          <p:cNvPr id="6" name="Group 5">
            <a:extLst>
              <a:ext uri="{FF2B5EF4-FFF2-40B4-BE49-F238E27FC236}">
                <a16:creationId xmlns:a16="http://schemas.microsoft.com/office/drawing/2014/main" id="{F23DF152-8D41-4497-8B75-376FC7FDF80B}"/>
              </a:ext>
            </a:extLst>
          </p:cNvPr>
          <p:cNvGrpSpPr/>
          <p:nvPr/>
        </p:nvGrpSpPr>
        <p:grpSpPr>
          <a:xfrm>
            <a:off x="274624" y="1542267"/>
            <a:ext cx="8307415" cy="4514943"/>
            <a:chOff x="310700" y="1582285"/>
            <a:chExt cx="8307415" cy="4514943"/>
          </a:xfrm>
        </p:grpSpPr>
        <p:sp>
          <p:nvSpPr>
            <p:cNvPr id="391288" name="Rectangle 120"/>
            <p:cNvSpPr>
              <a:spLocks noChangeArrowheads="1"/>
            </p:cNvSpPr>
            <p:nvPr>
              <p:custDataLst>
                <p:tags r:id="rId4"/>
              </p:custDataLst>
            </p:nvPr>
          </p:nvSpPr>
          <p:spPr bwMode="auto">
            <a:xfrm>
              <a:off x="356265" y="3921350"/>
              <a:ext cx="2715408" cy="18294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marL="193619" lvl="1" indent="-192032" defTabSz="895090">
                <a:spcBef>
                  <a:spcPct val="49000"/>
                </a:spcBef>
                <a:buClr>
                  <a:srgbClr val="002960"/>
                </a:buClr>
                <a:buSzPct val="125000"/>
                <a:buFont typeface="Arial" charset="0"/>
                <a:buChar char="▪"/>
              </a:pPr>
              <a:r>
                <a:rPr lang="en-US" altLang="ko-KR" sz="1200" dirty="0">
                  <a:solidFill>
                    <a:srgbClr val="000000"/>
                  </a:solidFill>
                  <a:ea typeface="Gulim" pitchFamily="34" charset="-127"/>
                </a:rPr>
                <a:t>The OHI survey provides a robust evidence base on:</a:t>
              </a:r>
            </a:p>
            <a:p>
              <a:pPr marL="457067" lvl="2" indent="-261862" defTabSz="895090">
                <a:spcBef>
                  <a:spcPts val="176"/>
                </a:spcBef>
                <a:buClr>
                  <a:srgbClr val="002960"/>
                </a:buClr>
                <a:buSzPct val="120000"/>
                <a:buFont typeface="Arial" charset="0"/>
                <a:buChar char="–"/>
              </a:pPr>
              <a:r>
                <a:rPr lang="en-US" altLang="ko-KR" sz="1200" dirty="0">
                  <a:solidFill>
                    <a:srgbClr val="000000"/>
                  </a:solidFill>
                  <a:latin typeface="Arial"/>
                </a:rPr>
                <a:t>Perceptions of effectiveness across 9 ‘</a:t>
              </a:r>
              <a:r>
                <a:rPr lang="en-US" altLang="ko-KR" sz="1200" b="1" dirty="0">
                  <a:solidFill>
                    <a:srgbClr val="002960"/>
                  </a:solidFill>
                  <a:latin typeface="Arial"/>
                </a:rPr>
                <a:t>outcome</a:t>
              </a:r>
              <a:r>
                <a:rPr lang="en-US" altLang="ko-KR" sz="1200" dirty="0">
                  <a:solidFill>
                    <a:srgbClr val="000000"/>
                  </a:solidFill>
                  <a:latin typeface="Arial"/>
                </a:rPr>
                <a:t>’ dimensions</a:t>
              </a:r>
            </a:p>
            <a:p>
              <a:pPr marL="457067" lvl="2" indent="-261862" defTabSz="895090">
                <a:spcBef>
                  <a:spcPts val="176"/>
                </a:spcBef>
                <a:buClr>
                  <a:srgbClr val="002960"/>
                </a:buClr>
                <a:buSzPct val="120000"/>
                <a:buFont typeface="Arial" charset="0"/>
                <a:buChar char="–"/>
              </a:pPr>
              <a:r>
                <a:rPr lang="en-US" altLang="ko-KR" sz="1200" dirty="0">
                  <a:solidFill>
                    <a:srgbClr val="000000"/>
                  </a:solidFill>
                  <a:latin typeface="Arial"/>
                </a:rPr>
                <a:t>Frequency of ‘</a:t>
              </a:r>
              <a:r>
                <a:rPr lang="en-US" altLang="ko-KR" sz="1200" b="1" dirty="0">
                  <a:solidFill>
                    <a:srgbClr val="002960"/>
                  </a:solidFill>
                  <a:latin typeface="Arial"/>
                </a:rPr>
                <a:t>management practices</a:t>
              </a:r>
              <a:r>
                <a:rPr lang="en-US" altLang="ko-KR" sz="1200" dirty="0">
                  <a:solidFill>
                    <a:srgbClr val="000000"/>
                  </a:solidFill>
                  <a:latin typeface="Arial"/>
                </a:rPr>
                <a:t>’ in 37 critical areas</a:t>
              </a:r>
            </a:p>
            <a:p>
              <a:pPr marL="457067" lvl="2" indent="-261862" defTabSz="895090">
                <a:spcBef>
                  <a:spcPts val="176"/>
                </a:spcBef>
                <a:buClr>
                  <a:srgbClr val="002960"/>
                </a:buClr>
                <a:buSzPct val="120000"/>
                <a:buFont typeface="Arial" charset="0"/>
                <a:buChar char="–"/>
              </a:pPr>
              <a:r>
                <a:rPr lang="en-US" altLang="ko-KR" sz="1200" dirty="0">
                  <a:solidFill>
                    <a:srgbClr val="000000"/>
                  </a:solidFill>
                  <a:latin typeface="Arial"/>
                </a:rPr>
                <a:t>Understanding of </a:t>
              </a:r>
              <a:r>
                <a:rPr lang="en-US" altLang="ko-KR" sz="1200" b="1" dirty="0">
                  <a:solidFill>
                    <a:srgbClr val="002960"/>
                  </a:solidFill>
                  <a:latin typeface="Arial"/>
                </a:rPr>
                <a:t>legacy values</a:t>
              </a:r>
            </a:p>
            <a:p>
              <a:pPr marL="193619" lvl="1" indent="-192032" defTabSz="895090">
                <a:spcBef>
                  <a:spcPct val="49000"/>
                </a:spcBef>
                <a:buClr>
                  <a:srgbClr val="002960"/>
                </a:buClr>
                <a:buSzPct val="125000"/>
                <a:buFont typeface="Arial" charset="0"/>
                <a:buChar char="▪"/>
              </a:pPr>
              <a:r>
                <a:rPr lang="en-US" altLang="ko-KR" sz="1200" dirty="0">
                  <a:solidFill>
                    <a:srgbClr val="000000"/>
                  </a:solidFill>
                  <a:ea typeface="Gulim" pitchFamily="34" charset="-127"/>
                </a:rPr>
                <a:t>Interviews and focus groups provide </a:t>
              </a:r>
              <a:r>
                <a:rPr lang="en-US" altLang="ko-KR" sz="1200" b="1" dirty="0">
                  <a:solidFill>
                    <a:srgbClr val="002960"/>
                  </a:solidFill>
                  <a:ea typeface="Gulim" pitchFamily="34" charset="-127"/>
                </a:rPr>
                <a:t>qualitative </a:t>
              </a:r>
              <a:r>
                <a:rPr lang="en-US" altLang="ko-KR" sz="1200" b="1" dirty="0" err="1">
                  <a:solidFill>
                    <a:srgbClr val="002960"/>
                  </a:solidFill>
                  <a:ea typeface="Gulim" pitchFamily="34" charset="-127"/>
                </a:rPr>
                <a:t>colour</a:t>
              </a:r>
              <a:endParaRPr lang="en-US" altLang="ko-KR" sz="1200" b="1" dirty="0">
                <a:solidFill>
                  <a:srgbClr val="002960"/>
                </a:solidFill>
                <a:ea typeface="Gulim" pitchFamily="34" charset="-127"/>
              </a:endParaRPr>
            </a:p>
          </p:txBody>
        </p:sp>
        <p:sp>
          <p:nvSpPr>
            <p:cNvPr id="391290" name="Rectangle 122"/>
            <p:cNvSpPr>
              <a:spLocks noChangeArrowheads="1"/>
            </p:cNvSpPr>
            <p:nvPr>
              <p:custDataLst>
                <p:tags r:id="rId5"/>
              </p:custDataLst>
            </p:nvPr>
          </p:nvSpPr>
          <p:spPr bwMode="auto">
            <a:xfrm>
              <a:off x="6020518" y="2332926"/>
              <a:ext cx="2528409" cy="5539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marL="193619" lvl="1" indent="-192032" defTabSz="895090">
                <a:spcBef>
                  <a:spcPct val="49000"/>
                </a:spcBef>
                <a:buClr>
                  <a:srgbClr val="002960"/>
                </a:buClr>
                <a:buSzPct val="125000"/>
                <a:buFont typeface="Arial" charset="0"/>
                <a:buChar char="▪"/>
              </a:pPr>
              <a:r>
                <a:rPr lang="en-US" altLang="ko-KR" sz="1200" dirty="0">
                  <a:solidFill>
                    <a:srgbClr val="000000"/>
                  </a:solidFill>
                  <a:ea typeface="Gulim" pitchFamily="34" charset="-127"/>
                </a:rPr>
                <a:t>Apply proven approaches to </a:t>
              </a:r>
              <a:r>
                <a:rPr lang="en-US" altLang="ko-KR" sz="1200" b="1" dirty="0">
                  <a:solidFill>
                    <a:srgbClr val="002960"/>
                  </a:solidFill>
                  <a:ea typeface="Gulim" pitchFamily="34" charset="-127"/>
                </a:rPr>
                <a:t>change underlying mindsets and </a:t>
              </a:r>
              <a:r>
                <a:rPr lang="en-US" altLang="ko-KR" sz="1200" b="1" dirty="0" err="1">
                  <a:solidFill>
                    <a:srgbClr val="002960"/>
                  </a:solidFill>
                  <a:ea typeface="Gulim" pitchFamily="34" charset="-127"/>
                </a:rPr>
                <a:t>behaviours</a:t>
              </a:r>
              <a:r>
                <a:rPr lang="en-US" altLang="ko-KR" sz="1200" b="1" dirty="0">
                  <a:solidFill>
                    <a:srgbClr val="000000"/>
                  </a:solidFill>
                  <a:ea typeface="Gulim" pitchFamily="34" charset="-127"/>
                </a:rPr>
                <a:t> </a:t>
              </a:r>
              <a:r>
                <a:rPr lang="en-US" altLang="ko-KR" sz="1200" dirty="0">
                  <a:solidFill>
                    <a:srgbClr val="000000"/>
                  </a:solidFill>
                  <a:ea typeface="Gulim" pitchFamily="34" charset="-127"/>
                </a:rPr>
                <a:t>in priority areas</a:t>
              </a:r>
            </a:p>
          </p:txBody>
        </p:sp>
        <p:grpSp>
          <p:nvGrpSpPr>
            <p:cNvPr id="39" name="Group 38"/>
            <p:cNvGrpSpPr/>
            <p:nvPr>
              <p:custDataLst>
                <p:tags r:id="rId6"/>
              </p:custDataLst>
            </p:nvPr>
          </p:nvGrpSpPr>
          <p:grpSpPr>
            <a:xfrm>
              <a:off x="310700" y="1582285"/>
              <a:ext cx="2939771" cy="709386"/>
              <a:chOff x="343813" y="988739"/>
              <a:chExt cx="2940711" cy="709612"/>
            </a:xfrm>
          </p:grpSpPr>
          <p:sp>
            <p:nvSpPr>
              <p:cNvPr id="2" name="Freeform 1"/>
              <p:cNvSpPr/>
              <p:nvPr>
                <p:custDataLst>
                  <p:tags r:id="rId14"/>
                </p:custDataLst>
              </p:nvPr>
            </p:nvSpPr>
            <p:spPr>
              <a:xfrm>
                <a:off x="343813" y="988739"/>
                <a:ext cx="2940711" cy="709612"/>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51761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51761 w 1828800"/>
                  <a:gd name="connsiteY1" fmla="*/ 0 h 914400"/>
                  <a:gd name="connsiteX2" fmla="*/ 1828800 w 1828800"/>
                  <a:gd name="connsiteY2" fmla="*/ 457200 h 914400"/>
                  <a:gd name="connsiteX3" fmla="*/ 17517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51761 w 1828800"/>
                  <a:gd name="connsiteY1" fmla="*/ 0 h 914400"/>
                  <a:gd name="connsiteX2" fmla="*/ 1828800 w 1828800"/>
                  <a:gd name="connsiteY2" fmla="*/ 457200 h 914400"/>
                  <a:gd name="connsiteX3" fmla="*/ 1751761 w 1828800"/>
                  <a:gd name="connsiteY3" fmla="*/ 914400 h 914400"/>
                  <a:gd name="connsiteX4" fmla="*/ 0 w 1828800"/>
                  <a:gd name="connsiteY4" fmla="*/ 914400 h 914400"/>
                  <a:gd name="connsiteX5" fmla="*/ 77039 w 1828800"/>
                  <a:gd name="connsiteY5" fmla="*/ 457200 h 914400"/>
                  <a:gd name="connsiteX0" fmla="*/ 0 w 1828800"/>
                  <a:gd name="connsiteY0" fmla="*/ 0 h 914400"/>
                  <a:gd name="connsiteX1" fmla="*/ 1751761 w 1828800"/>
                  <a:gd name="connsiteY1" fmla="*/ 0 h 914400"/>
                  <a:gd name="connsiteX2" fmla="*/ 1828800 w 1828800"/>
                  <a:gd name="connsiteY2" fmla="*/ 457200 h 914400"/>
                  <a:gd name="connsiteX3" fmla="*/ 1751761 w 1828800"/>
                  <a:gd name="connsiteY3" fmla="*/ 914400 h 914400"/>
                  <a:gd name="connsiteX4" fmla="*/ 0 w 1828800"/>
                  <a:gd name="connsiteY4" fmla="*/ 914400 h 914400"/>
                  <a:gd name="connsiteX5" fmla="*/ 77039 w 1828800"/>
                  <a:gd name="connsiteY5" fmla="*/ 457200 h 914400"/>
                  <a:gd name="connsiteX0" fmla="*/ 0 w 1828800"/>
                  <a:gd name="connsiteY0" fmla="*/ 0 h 914400"/>
                  <a:gd name="connsiteX1" fmla="*/ 1751761 w 1828800"/>
                  <a:gd name="connsiteY1" fmla="*/ 0 h 914400"/>
                  <a:gd name="connsiteX2" fmla="*/ 1828800 w 1828800"/>
                  <a:gd name="connsiteY2" fmla="*/ 457200 h 914400"/>
                  <a:gd name="connsiteX3" fmla="*/ 1751761 w 1828800"/>
                  <a:gd name="connsiteY3" fmla="*/ 914400 h 914400"/>
                  <a:gd name="connsiteX4" fmla="*/ 0 w 1828800"/>
                  <a:gd name="connsiteY4" fmla="*/ 914400 h 914400"/>
                  <a:gd name="connsiteX5" fmla="*/ 77039 w 1828800"/>
                  <a:gd name="connsiteY5" fmla="*/ 457200 h 914400"/>
                  <a:gd name="connsiteX0" fmla="*/ 0 w 1828800"/>
                  <a:gd name="connsiteY0" fmla="*/ 0 h 914400"/>
                  <a:gd name="connsiteX1" fmla="*/ 1751761 w 1828800"/>
                  <a:gd name="connsiteY1" fmla="*/ 0 h 914400"/>
                  <a:gd name="connsiteX2" fmla="*/ 1828800 w 1828800"/>
                  <a:gd name="connsiteY2" fmla="*/ 457200 h 914400"/>
                  <a:gd name="connsiteX3" fmla="*/ 17517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51761 w 1828800"/>
                  <a:gd name="connsiteY1" fmla="*/ 0 h 914400"/>
                  <a:gd name="connsiteX2" fmla="*/ 1828800 w 1828800"/>
                  <a:gd name="connsiteY2" fmla="*/ 457200 h 914400"/>
                  <a:gd name="connsiteX3" fmla="*/ 17517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51761 w 1828800"/>
                  <a:gd name="connsiteY1" fmla="*/ 0 h 914400"/>
                  <a:gd name="connsiteX2" fmla="*/ 1828800 w 1828800"/>
                  <a:gd name="connsiteY2" fmla="*/ 457200 h 914400"/>
                  <a:gd name="connsiteX3" fmla="*/ 17517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51761 w 1828800"/>
                  <a:gd name="connsiteY1" fmla="*/ 0 h 914400"/>
                  <a:gd name="connsiteX2" fmla="*/ 1828800 w 1828800"/>
                  <a:gd name="connsiteY2" fmla="*/ 457200 h 914400"/>
                  <a:gd name="connsiteX3" fmla="*/ 1751761 w 1828800"/>
                  <a:gd name="connsiteY3" fmla="*/ 914400 h 914400"/>
                  <a:gd name="connsiteX4" fmla="*/ 0 w 1828800"/>
                  <a:gd name="connsiteY4" fmla="*/ 914400 h 914400"/>
                  <a:gd name="connsiteX5" fmla="*/ 81786 w 1828800"/>
                  <a:gd name="connsiteY5" fmla="*/ 457200 h 914400"/>
                  <a:gd name="connsiteX0" fmla="*/ 0 w 1828800"/>
                  <a:gd name="connsiteY0" fmla="*/ 0 h 914400"/>
                  <a:gd name="connsiteX1" fmla="*/ 1747014 w 1828800"/>
                  <a:gd name="connsiteY1" fmla="*/ 0 h 914400"/>
                  <a:gd name="connsiteX2" fmla="*/ 1828800 w 1828800"/>
                  <a:gd name="connsiteY2" fmla="*/ 457200 h 914400"/>
                  <a:gd name="connsiteX3" fmla="*/ 1751761 w 1828800"/>
                  <a:gd name="connsiteY3" fmla="*/ 914400 h 914400"/>
                  <a:gd name="connsiteX4" fmla="*/ 0 w 1828800"/>
                  <a:gd name="connsiteY4" fmla="*/ 914400 h 914400"/>
                  <a:gd name="connsiteX5" fmla="*/ 81786 w 1828800"/>
                  <a:gd name="connsiteY5" fmla="*/ 457200 h 914400"/>
                  <a:gd name="connsiteX0" fmla="*/ 0 w 1828800"/>
                  <a:gd name="connsiteY0" fmla="*/ 0 h 914400"/>
                  <a:gd name="connsiteX1" fmla="*/ 1747014 w 1828800"/>
                  <a:gd name="connsiteY1" fmla="*/ 0 h 914400"/>
                  <a:gd name="connsiteX2" fmla="*/ 1828800 w 1828800"/>
                  <a:gd name="connsiteY2" fmla="*/ 457200 h 914400"/>
                  <a:gd name="connsiteX3" fmla="*/ 1747014 w 1828800"/>
                  <a:gd name="connsiteY3" fmla="*/ 914400 h 914400"/>
                  <a:gd name="connsiteX4" fmla="*/ 0 w 1828800"/>
                  <a:gd name="connsiteY4" fmla="*/ 914400 h 914400"/>
                  <a:gd name="connsiteX5" fmla="*/ 81786 w 1828800"/>
                  <a:gd name="connsiteY5" fmla="*/ 457200 h 914400"/>
                  <a:gd name="connsiteX0" fmla="*/ 0 w 1828800"/>
                  <a:gd name="connsiteY0" fmla="*/ 0 h 914400"/>
                  <a:gd name="connsiteX1" fmla="*/ 1747014 w 1828800"/>
                  <a:gd name="connsiteY1" fmla="*/ 0 h 914400"/>
                  <a:gd name="connsiteX2" fmla="*/ 1828800 w 1828800"/>
                  <a:gd name="connsiteY2" fmla="*/ 457200 h 914400"/>
                  <a:gd name="connsiteX3" fmla="*/ 1747014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47014 w 1828800"/>
                  <a:gd name="connsiteY1" fmla="*/ 0 h 914400"/>
                  <a:gd name="connsiteX2" fmla="*/ 1828800 w 1828800"/>
                  <a:gd name="connsiteY2" fmla="*/ 457200 h 914400"/>
                  <a:gd name="connsiteX3" fmla="*/ 1747014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47014 w 1828800"/>
                  <a:gd name="connsiteY1" fmla="*/ 0 h 914400"/>
                  <a:gd name="connsiteX2" fmla="*/ 1828800 w 1828800"/>
                  <a:gd name="connsiteY2" fmla="*/ 457200 h 914400"/>
                  <a:gd name="connsiteX3" fmla="*/ 1747014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47014 w 1828800"/>
                  <a:gd name="connsiteY1" fmla="*/ 0 h 914400"/>
                  <a:gd name="connsiteX2" fmla="*/ 1828800 w 1828800"/>
                  <a:gd name="connsiteY2" fmla="*/ 457200 h 914400"/>
                  <a:gd name="connsiteX3" fmla="*/ 1747014 w 1828800"/>
                  <a:gd name="connsiteY3" fmla="*/ 914400 h 914400"/>
                  <a:gd name="connsiteX4" fmla="*/ 0 w 1828800"/>
                  <a:gd name="connsiteY4" fmla="*/ 914400 h 914400"/>
                  <a:gd name="connsiteX5" fmla="*/ 86071 w 1828800"/>
                  <a:gd name="connsiteY5" fmla="*/ 457200 h 914400"/>
                  <a:gd name="connsiteX0" fmla="*/ 0 w 1828800"/>
                  <a:gd name="connsiteY0" fmla="*/ 0 h 914400"/>
                  <a:gd name="connsiteX1" fmla="*/ 1742729 w 1828800"/>
                  <a:gd name="connsiteY1" fmla="*/ 0 h 914400"/>
                  <a:gd name="connsiteX2" fmla="*/ 1828800 w 1828800"/>
                  <a:gd name="connsiteY2" fmla="*/ 457200 h 914400"/>
                  <a:gd name="connsiteX3" fmla="*/ 1747014 w 1828800"/>
                  <a:gd name="connsiteY3" fmla="*/ 914400 h 914400"/>
                  <a:gd name="connsiteX4" fmla="*/ 0 w 1828800"/>
                  <a:gd name="connsiteY4" fmla="*/ 914400 h 914400"/>
                  <a:gd name="connsiteX5" fmla="*/ 86071 w 1828800"/>
                  <a:gd name="connsiteY5" fmla="*/ 457200 h 914400"/>
                  <a:gd name="connsiteX0" fmla="*/ 0 w 1828800"/>
                  <a:gd name="connsiteY0" fmla="*/ 0 h 914400"/>
                  <a:gd name="connsiteX1" fmla="*/ 1742729 w 1828800"/>
                  <a:gd name="connsiteY1" fmla="*/ 0 h 914400"/>
                  <a:gd name="connsiteX2" fmla="*/ 1828800 w 1828800"/>
                  <a:gd name="connsiteY2" fmla="*/ 457200 h 914400"/>
                  <a:gd name="connsiteX3" fmla="*/ 1742729 w 1828800"/>
                  <a:gd name="connsiteY3" fmla="*/ 914400 h 914400"/>
                  <a:gd name="connsiteX4" fmla="*/ 0 w 1828800"/>
                  <a:gd name="connsiteY4" fmla="*/ 914400 h 914400"/>
                  <a:gd name="connsiteX5" fmla="*/ 86071 w 1828800"/>
                  <a:gd name="connsiteY5" fmla="*/ 457200 h 914400"/>
                  <a:gd name="connsiteX0" fmla="*/ 0 w 1828800"/>
                  <a:gd name="connsiteY0" fmla="*/ 0 h 914400"/>
                  <a:gd name="connsiteX1" fmla="*/ 1742729 w 1828800"/>
                  <a:gd name="connsiteY1" fmla="*/ 0 h 914400"/>
                  <a:gd name="connsiteX2" fmla="*/ 1828800 w 1828800"/>
                  <a:gd name="connsiteY2" fmla="*/ 457200 h 914400"/>
                  <a:gd name="connsiteX3" fmla="*/ 1742729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42729 w 1828800"/>
                  <a:gd name="connsiteY1" fmla="*/ 0 h 914400"/>
                  <a:gd name="connsiteX2" fmla="*/ 1828800 w 1828800"/>
                  <a:gd name="connsiteY2" fmla="*/ 457200 h 914400"/>
                  <a:gd name="connsiteX3" fmla="*/ 1742729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42729 w 1828800"/>
                  <a:gd name="connsiteY1" fmla="*/ 0 h 914400"/>
                  <a:gd name="connsiteX2" fmla="*/ 1828800 w 1828800"/>
                  <a:gd name="connsiteY2" fmla="*/ 457200 h 914400"/>
                  <a:gd name="connsiteX3" fmla="*/ 1742729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42729 w 1828800"/>
                  <a:gd name="connsiteY1" fmla="*/ 0 h 914400"/>
                  <a:gd name="connsiteX2" fmla="*/ 1828800 w 1828800"/>
                  <a:gd name="connsiteY2" fmla="*/ 457200 h 914400"/>
                  <a:gd name="connsiteX3" fmla="*/ 1742729 w 1828800"/>
                  <a:gd name="connsiteY3" fmla="*/ 914400 h 914400"/>
                  <a:gd name="connsiteX4" fmla="*/ 0 w 1828800"/>
                  <a:gd name="connsiteY4" fmla="*/ 914400 h 914400"/>
                  <a:gd name="connsiteX5" fmla="*/ 83070 w 1828800"/>
                  <a:gd name="connsiteY5" fmla="*/ 457200 h 914400"/>
                  <a:gd name="connsiteX0" fmla="*/ 0 w 1828800"/>
                  <a:gd name="connsiteY0" fmla="*/ 0 h 914400"/>
                  <a:gd name="connsiteX1" fmla="*/ 1745730 w 1828800"/>
                  <a:gd name="connsiteY1" fmla="*/ 0 h 914400"/>
                  <a:gd name="connsiteX2" fmla="*/ 1828800 w 1828800"/>
                  <a:gd name="connsiteY2" fmla="*/ 457200 h 914400"/>
                  <a:gd name="connsiteX3" fmla="*/ 1742729 w 1828800"/>
                  <a:gd name="connsiteY3" fmla="*/ 914400 h 914400"/>
                  <a:gd name="connsiteX4" fmla="*/ 0 w 1828800"/>
                  <a:gd name="connsiteY4" fmla="*/ 914400 h 914400"/>
                  <a:gd name="connsiteX5" fmla="*/ 83070 w 1828800"/>
                  <a:gd name="connsiteY5" fmla="*/ 457200 h 914400"/>
                  <a:gd name="connsiteX0" fmla="*/ 0 w 1828800"/>
                  <a:gd name="connsiteY0" fmla="*/ 0 h 914400"/>
                  <a:gd name="connsiteX1" fmla="*/ 1745730 w 1828800"/>
                  <a:gd name="connsiteY1" fmla="*/ 0 h 914400"/>
                  <a:gd name="connsiteX2" fmla="*/ 1828800 w 1828800"/>
                  <a:gd name="connsiteY2" fmla="*/ 457200 h 914400"/>
                  <a:gd name="connsiteX3" fmla="*/ 1745730 w 1828800"/>
                  <a:gd name="connsiteY3" fmla="*/ 914400 h 914400"/>
                  <a:gd name="connsiteX4" fmla="*/ 0 w 1828800"/>
                  <a:gd name="connsiteY4" fmla="*/ 914400 h 914400"/>
                  <a:gd name="connsiteX5" fmla="*/ 83070 w 1828800"/>
                  <a:gd name="connsiteY5" fmla="*/ 457200 h 914400"/>
                  <a:gd name="connsiteX0" fmla="*/ 0 w 1828800"/>
                  <a:gd name="connsiteY0" fmla="*/ 0 h 914400"/>
                  <a:gd name="connsiteX1" fmla="*/ 1745730 w 1828800"/>
                  <a:gd name="connsiteY1" fmla="*/ 0 h 914400"/>
                  <a:gd name="connsiteX2" fmla="*/ 1828800 w 1828800"/>
                  <a:gd name="connsiteY2" fmla="*/ 457200 h 914400"/>
                  <a:gd name="connsiteX3" fmla="*/ 1745730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45730 w 1828800"/>
                  <a:gd name="connsiteY1" fmla="*/ 0 h 914400"/>
                  <a:gd name="connsiteX2" fmla="*/ 1828800 w 1828800"/>
                  <a:gd name="connsiteY2" fmla="*/ 457200 h 914400"/>
                  <a:gd name="connsiteX3" fmla="*/ 1745730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45730 w 1828800"/>
                  <a:gd name="connsiteY1" fmla="*/ 0 h 914400"/>
                  <a:gd name="connsiteX2" fmla="*/ 1828800 w 1828800"/>
                  <a:gd name="connsiteY2" fmla="*/ 457200 h 914400"/>
                  <a:gd name="connsiteX3" fmla="*/ 1745730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45730 w 1828800"/>
                  <a:gd name="connsiteY1" fmla="*/ 0 h 914400"/>
                  <a:gd name="connsiteX2" fmla="*/ 1828800 w 1828800"/>
                  <a:gd name="connsiteY2" fmla="*/ 457200 h 914400"/>
                  <a:gd name="connsiteX3" fmla="*/ 1745730 w 1828800"/>
                  <a:gd name="connsiteY3" fmla="*/ 914400 h 914400"/>
                  <a:gd name="connsiteX4" fmla="*/ 0 w 1828800"/>
                  <a:gd name="connsiteY4" fmla="*/ 914400 h 914400"/>
                  <a:gd name="connsiteX5" fmla="*/ 83070 w 1828800"/>
                  <a:gd name="connsiteY5" fmla="*/ 457200 h 914400"/>
                  <a:gd name="connsiteX0" fmla="*/ 0 w 1828800"/>
                  <a:gd name="connsiteY0" fmla="*/ 0 h 914400"/>
                  <a:gd name="connsiteX1" fmla="*/ 1745730 w 1828800"/>
                  <a:gd name="connsiteY1" fmla="*/ 0 h 914400"/>
                  <a:gd name="connsiteX2" fmla="*/ 1828800 w 1828800"/>
                  <a:gd name="connsiteY2" fmla="*/ 457200 h 914400"/>
                  <a:gd name="connsiteX3" fmla="*/ 1745730 w 1828800"/>
                  <a:gd name="connsiteY3" fmla="*/ 914400 h 914400"/>
                  <a:gd name="connsiteX4" fmla="*/ 0 w 1828800"/>
                  <a:gd name="connsiteY4" fmla="*/ 914400 h 914400"/>
                  <a:gd name="connsiteX5" fmla="*/ 83070 w 1828800"/>
                  <a:gd name="connsiteY5" fmla="*/ 457200 h 914400"/>
                  <a:gd name="connsiteX0" fmla="*/ 0 w 1828800"/>
                  <a:gd name="connsiteY0" fmla="*/ 0 h 914400"/>
                  <a:gd name="connsiteX1" fmla="*/ 1745730 w 1828800"/>
                  <a:gd name="connsiteY1" fmla="*/ 0 h 914400"/>
                  <a:gd name="connsiteX2" fmla="*/ 1828800 w 1828800"/>
                  <a:gd name="connsiteY2" fmla="*/ 457200 h 914400"/>
                  <a:gd name="connsiteX3" fmla="*/ 1745730 w 1828800"/>
                  <a:gd name="connsiteY3" fmla="*/ 914400 h 914400"/>
                  <a:gd name="connsiteX4" fmla="*/ 0 w 1828800"/>
                  <a:gd name="connsiteY4" fmla="*/ 914400 h 914400"/>
                  <a:gd name="connsiteX5" fmla="*/ 83070 w 1828800"/>
                  <a:gd name="connsiteY5" fmla="*/ 457200 h 914400"/>
                  <a:gd name="connsiteX0" fmla="*/ 0 w 1828800"/>
                  <a:gd name="connsiteY0" fmla="*/ 0 h 914400"/>
                  <a:gd name="connsiteX1" fmla="*/ 1745730 w 1828800"/>
                  <a:gd name="connsiteY1" fmla="*/ 0 h 914400"/>
                  <a:gd name="connsiteX2" fmla="*/ 1828800 w 1828800"/>
                  <a:gd name="connsiteY2" fmla="*/ 457200 h 914400"/>
                  <a:gd name="connsiteX3" fmla="*/ 1745730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45730 w 1828800"/>
                  <a:gd name="connsiteY1" fmla="*/ 0 h 914400"/>
                  <a:gd name="connsiteX2" fmla="*/ 1828800 w 1828800"/>
                  <a:gd name="connsiteY2" fmla="*/ 457200 h 914400"/>
                  <a:gd name="connsiteX3" fmla="*/ 1745730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45730 w 1828800"/>
                  <a:gd name="connsiteY1" fmla="*/ 0 h 914400"/>
                  <a:gd name="connsiteX2" fmla="*/ 1828800 w 1828800"/>
                  <a:gd name="connsiteY2" fmla="*/ 457200 h 914400"/>
                  <a:gd name="connsiteX3" fmla="*/ 1745730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45730 w 1828800"/>
                  <a:gd name="connsiteY1" fmla="*/ 0 h 914400"/>
                  <a:gd name="connsiteX2" fmla="*/ 1828800 w 1828800"/>
                  <a:gd name="connsiteY2" fmla="*/ 457200 h 914400"/>
                  <a:gd name="connsiteX3" fmla="*/ 1745730 w 1828800"/>
                  <a:gd name="connsiteY3" fmla="*/ 914400 h 914400"/>
                  <a:gd name="connsiteX4" fmla="*/ 0 w 1828800"/>
                  <a:gd name="connsiteY4" fmla="*/ 914400 h 914400"/>
                  <a:gd name="connsiteX5" fmla="*/ 79434 w 1828800"/>
                  <a:gd name="connsiteY5" fmla="*/ 457200 h 914400"/>
                  <a:gd name="connsiteX0" fmla="*/ 0 w 1828800"/>
                  <a:gd name="connsiteY0" fmla="*/ 0 h 914400"/>
                  <a:gd name="connsiteX1" fmla="*/ 1749366 w 1828800"/>
                  <a:gd name="connsiteY1" fmla="*/ 0 h 914400"/>
                  <a:gd name="connsiteX2" fmla="*/ 1828800 w 1828800"/>
                  <a:gd name="connsiteY2" fmla="*/ 457200 h 914400"/>
                  <a:gd name="connsiteX3" fmla="*/ 1745730 w 1828800"/>
                  <a:gd name="connsiteY3" fmla="*/ 914400 h 914400"/>
                  <a:gd name="connsiteX4" fmla="*/ 0 w 1828800"/>
                  <a:gd name="connsiteY4" fmla="*/ 914400 h 914400"/>
                  <a:gd name="connsiteX5" fmla="*/ 79434 w 1828800"/>
                  <a:gd name="connsiteY5" fmla="*/ 457200 h 914400"/>
                  <a:gd name="connsiteX0" fmla="*/ 0 w 1828800"/>
                  <a:gd name="connsiteY0" fmla="*/ 0 h 914400"/>
                  <a:gd name="connsiteX1" fmla="*/ 1749366 w 1828800"/>
                  <a:gd name="connsiteY1" fmla="*/ 0 h 914400"/>
                  <a:gd name="connsiteX2" fmla="*/ 1828800 w 1828800"/>
                  <a:gd name="connsiteY2" fmla="*/ 457200 h 914400"/>
                  <a:gd name="connsiteX3" fmla="*/ 1749366 w 1828800"/>
                  <a:gd name="connsiteY3" fmla="*/ 914400 h 914400"/>
                  <a:gd name="connsiteX4" fmla="*/ 0 w 1828800"/>
                  <a:gd name="connsiteY4" fmla="*/ 914400 h 914400"/>
                  <a:gd name="connsiteX5" fmla="*/ 79434 w 1828800"/>
                  <a:gd name="connsiteY5" fmla="*/ 457200 h 914400"/>
                  <a:gd name="connsiteX0" fmla="*/ 0 w 1828800"/>
                  <a:gd name="connsiteY0" fmla="*/ 0 h 914400"/>
                  <a:gd name="connsiteX1" fmla="*/ 1749366 w 1828800"/>
                  <a:gd name="connsiteY1" fmla="*/ 0 h 914400"/>
                  <a:gd name="connsiteX2" fmla="*/ 1828800 w 1828800"/>
                  <a:gd name="connsiteY2" fmla="*/ 457200 h 914400"/>
                  <a:gd name="connsiteX3" fmla="*/ 174936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49366 w 1828800"/>
                  <a:gd name="connsiteY1" fmla="*/ 0 h 914400"/>
                  <a:gd name="connsiteX2" fmla="*/ 1828800 w 1828800"/>
                  <a:gd name="connsiteY2" fmla="*/ 457200 h 914400"/>
                  <a:gd name="connsiteX3" fmla="*/ 174936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49366 w 1828800"/>
                  <a:gd name="connsiteY1" fmla="*/ 0 h 914400"/>
                  <a:gd name="connsiteX2" fmla="*/ 1828800 w 1828800"/>
                  <a:gd name="connsiteY2" fmla="*/ 457200 h 914400"/>
                  <a:gd name="connsiteX3" fmla="*/ 1749366 w 1828800"/>
                  <a:gd name="connsiteY3" fmla="*/ 914400 h 914400"/>
                  <a:gd name="connsiteX4" fmla="*/ 0 w 1828800"/>
                  <a:gd name="connsiteY4" fmla="*/ 914400 h 914400"/>
                  <a:gd name="connsiteX5" fmla="*/ 0 w 1828800"/>
                  <a:gd name="connsiteY5" fmla="*/ 45720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0">
                    <a:moveTo>
                      <a:pt x="0" y="0"/>
                    </a:moveTo>
                    <a:lnTo>
                      <a:pt x="1749366" y="0"/>
                    </a:lnTo>
                    <a:lnTo>
                      <a:pt x="1828800" y="457200"/>
                    </a:lnTo>
                    <a:lnTo>
                      <a:pt x="1749366" y="914400"/>
                    </a:lnTo>
                    <a:lnTo>
                      <a:pt x="0" y="914400"/>
                    </a:lnTo>
                    <a:lnTo>
                      <a:pt x="0" y="457200"/>
                    </a:lnTo>
                    <a:close/>
                  </a:path>
                </a:pathLst>
              </a:custGeom>
              <a:ln w="190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99" dirty="0">
                  <a:solidFill>
                    <a:srgbClr val="0065BD"/>
                  </a:solidFill>
                </a:endParaRPr>
              </a:p>
            </p:txBody>
          </p:sp>
          <p:sp>
            <p:nvSpPr>
              <p:cNvPr id="21" name="TextBox 20"/>
              <p:cNvSpPr txBox="1"/>
              <p:nvPr>
                <p:custDataLst>
                  <p:tags r:id="rId15"/>
                </p:custDataLst>
              </p:nvPr>
            </p:nvSpPr>
            <p:spPr>
              <a:xfrm>
                <a:off x="407313" y="1038017"/>
                <a:ext cx="2749481" cy="61105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noAutofit/>
              </a:bodyPr>
              <a:lstStyle>
                <a:lvl1pPr marL="0" lvl="0" indent="0" defTabSz="894845" eaLnBrk="1" hangingPunct="1">
                  <a:buClr>
                    <a:schemeClr val="tx2"/>
                  </a:buClr>
                  <a:defRPr sz="1400" baseline="0">
                    <a:latin typeface="+mn-lt"/>
                  </a:defRPr>
                </a:lvl1pPr>
                <a:lvl2pPr marL="193567" lvl="1" indent="-191979" defTabSz="894845" eaLnBrk="1" hangingPunct="1">
                  <a:buClr>
                    <a:schemeClr val="tx1"/>
                  </a:buClr>
                  <a:buSzPct val="100000"/>
                  <a:buFont typeface="Arial" pitchFamily="34" charset="0"/>
                  <a:buChar char="■"/>
                  <a:defRPr sz="1400" baseline="0">
                    <a:latin typeface="+mn-lt"/>
                  </a:defRPr>
                </a:lvl2pPr>
                <a:lvl3pPr marL="392003" lvl="2" indent="-196003" defTabSz="894845" eaLnBrk="1" hangingPunct="1">
                  <a:buClr>
                    <a:schemeClr val="tx1"/>
                  </a:buClr>
                  <a:buSzPct val="100000"/>
                  <a:buFont typeface="Arial" charset="0"/>
                  <a:buChar char="–"/>
                  <a:defRPr sz="1400" baseline="0">
                    <a:latin typeface="+mn-lt"/>
                  </a:defRPr>
                </a:lvl3pPr>
                <a:lvl4pPr marL="583806" lvl="3" indent="-200202" defTabSz="894845" eaLnBrk="1" hangingPunct="1">
                  <a:buClr>
                    <a:schemeClr val="tx1"/>
                  </a:buClr>
                  <a:buSzPct val="100000"/>
                  <a:buFont typeface="Arial" pitchFamily="34" charset="0"/>
                  <a:buChar char="–"/>
                  <a:defRPr sz="1400" baseline="0">
                    <a:latin typeface="+mn-lt"/>
                  </a:defRPr>
                </a:lvl4pPr>
                <a:lvl5pPr marL="739206" lvl="4" indent="-148401" defTabSz="894845" eaLnBrk="1" hangingPunct="1">
                  <a:buClr>
                    <a:schemeClr val="tx1"/>
                  </a:buClr>
                  <a:buSzPct val="100000"/>
                  <a:buFont typeface="Arial" pitchFamily="34" charset="0"/>
                  <a:buChar char="–"/>
                  <a:defRPr sz="1400" baseline="0">
                    <a:latin typeface="+mn-lt"/>
                  </a:defRPr>
                </a:lvl5pPr>
                <a:lvl6pPr marL="749384" indent="-130102" defTabSz="894845" fontAlgn="base">
                  <a:spcBef>
                    <a:spcPct val="0"/>
                  </a:spcBef>
                  <a:spcAft>
                    <a:spcPct val="0"/>
                  </a:spcAft>
                  <a:buClr>
                    <a:schemeClr val="tx2"/>
                  </a:buClr>
                  <a:buSzPct val="89000"/>
                  <a:buFont typeface="Arial" charset="0"/>
                  <a:buChar char="-"/>
                  <a:defRPr baseline="0">
                    <a:latin typeface="+mn-lt"/>
                  </a:defRPr>
                </a:lvl6pPr>
                <a:lvl7pPr marL="749384" indent="-130102" defTabSz="894845" fontAlgn="base">
                  <a:spcBef>
                    <a:spcPct val="0"/>
                  </a:spcBef>
                  <a:spcAft>
                    <a:spcPct val="0"/>
                  </a:spcAft>
                  <a:buClr>
                    <a:schemeClr val="tx2"/>
                  </a:buClr>
                  <a:buSzPct val="89000"/>
                  <a:buFont typeface="Arial" charset="0"/>
                  <a:buChar char="-"/>
                  <a:defRPr baseline="0">
                    <a:latin typeface="+mn-lt"/>
                  </a:defRPr>
                </a:lvl7pPr>
                <a:lvl8pPr marL="749384" indent="-130102" defTabSz="894845" fontAlgn="base">
                  <a:spcBef>
                    <a:spcPct val="0"/>
                  </a:spcBef>
                  <a:spcAft>
                    <a:spcPct val="0"/>
                  </a:spcAft>
                  <a:buClr>
                    <a:schemeClr val="tx2"/>
                  </a:buClr>
                  <a:buSzPct val="89000"/>
                  <a:buFont typeface="Arial" charset="0"/>
                  <a:buChar char="-"/>
                  <a:defRPr baseline="0">
                    <a:latin typeface="+mn-lt"/>
                  </a:defRPr>
                </a:lvl8pPr>
                <a:lvl9pPr marL="749384" indent="-130102" defTabSz="894845" fontAlgn="base">
                  <a:spcBef>
                    <a:spcPct val="0"/>
                  </a:spcBef>
                  <a:spcAft>
                    <a:spcPct val="0"/>
                  </a:spcAft>
                  <a:buClr>
                    <a:schemeClr val="tx2"/>
                  </a:buClr>
                  <a:buSzPct val="89000"/>
                  <a:buFont typeface="Arial" charset="0"/>
                  <a:buChar char="-"/>
                  <a:defRPr baseline="0">
                    <a:latin typeface="+mn-lt"/>
                  </a:defRPr>
                </a:lvl9pPr>
              </a:lstStyle>
              <a:p>
                <a:pPr>
                  <a:buClr>
                    <a:srgbClr val="002960"/>
                  </a:buClr>
                </a:pPr>
                <a:r>
                  <a:rPr lang="en-US" sz="1299" b="1" i="1" dirty="0">
                    <a:solidFill>
                      <a:srgbClr val="0065BD"/>
                    </a:solidFill>
                  </a:rPr>
                  <a:t>Measure</a:t>
                </a:r>
              </a:p>
              <a:p>
                <a:pPr>
                  <a:buClr>
                    <a:srgbClr val="002960"/>
                  </a:buClr>
                </a:pPr>
                <a:r>
                  <a:rPr lang="en-US" sz="1299" b="1" dirty="0">
                    <a:solidFill>
                      <a:srgbClr val="0065BD"/>
                    </a:solidFill>
                  </a:rPr>
                  <a:t>How are things being done today?</a:t>
                </a:r>
              </a:p>
            </p:txBody>
          </p:sp>
        </p:grpSp>
        <p:grpSp>
          <p:nvGrpSpPr>
            <p:cNvPr id="41" name="Group 40"/>
            <p:cNvGrpSpPr/>
            <p:nvPr>
              <p:custDataLst>
                <p:tags r:id="rId7"/>
              </p:custDataLst>
            </p:nvPr>
          </p:nvGrpSpPr>
          <p:grpSpPr>
            <a:xfrm>
              <a:off x="3125104" y="1582285"/>
              <a:ext cx="2842306" cy="709386"/>
              <a:chOff x="3160166" y="988739"/>
              <a:chExt cx="2843214" cy="709612"/>
            </a:xfrm>
          </p:grpSpPr>
          <p:sp>
            <p:nvSpPr>
              <p:cNvPr id="29" name="Freeform 28"/>
              <p:cNvSpPr/>
              <p:nvPr>
                <p:custDataLst>
                  <p:tags r:id="rId12"/>
                </p:custDataLst>
              </p:nvPr>
            </p:nvSpPr>
            <p:spPr>
              <a:xfrm>
                <a:off x="3160166" y="988739"/>
                <a:ext cx="2843214" cy="709612"/>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51761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51761 w 1828800"/>
                  <a:gd name="connsiteY1" fmla="*/ 0 h 914400"/>
                  <a:gd name="connsiteX2" fmla="*/ 1828800 w 1828800"/>
                  <a:gd name="connsiteY2" fmla="*/ 457200 h 914400"/>
                  <a:gd name="connsiteX3" fmla="*/ 17517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51761 w 1828800"/>
                  <a:gd name="connsiteY1" fmla="*/ 0 h 914400"/>
                  <a:gd name="connsiteX2" fmla="*/ 1828800 w 1828800"/>
                  <a:gd name="connsiteY2" fmla="*/ 457200 h 914400"/>
                  <a:gd name="connsiteX3" fmla="*/ 1751761 w 1828800"/>
                  <a:gd name="connsiteY3" fmla="*/ 914400 h 914400"/>
                  <a:gd name="connsiteX4" fmla="*/ 0 w 1828800"/>
                  <a:gd name="connsiteY4" fmla="*/ 914400 h 914400"/>
                  <a:gd name="connsiteX5" fmla="*/ 77039 w 1828800"/>
                  <a:gd name="connsiteY5" fmla="*/ 457200 h 914400"/>
                  <a:gd name="connsiteX0" fmla="*/ 0 w 1828800"/>
                  <a:gd name="connsiteY0" fmla="*/ 0 h 914400"/>
                  <a:gd name="connsiteX1" fmla="*/ 1751761 w 1828800"/>
                  <a:gd name="connsiteY1" fmla="*/ 0 h 914400"/>
                  <a:gd name="connsiteX2" fmla="*/ 1828800 w 1828800"/>
                  <a:gd name="connsiteY2" fmla="*/ 457200 h 914400"/>
                  <a:gd name="connsiteX3" fmla="*/ 1751761 w 1828800"/>
                  <a:gd name="connsiteY3" fmla="*/ 914400 h 914400"/>
                  <a:gd name="connsiteX4" fmla="*/ 0 w 1828800"/>
                  <a:gd name="connsiteY4" fmla="*/ 914400 h 914400"/>
                  <a:gd name="connsiteX5" fmla="*/ 77039 w 1828800"/>
                  <a:gd name="connsiteY5" fmla="*/ 457200 h 914400"/>
                  <a:gd name="connsiteX0" fmla="*/ 0 w 1828800"/>
                  <a:gd name="connsiteY0" fmla="*/ 0 h 914400"/>
                  <a:gd name="connsiteX1" fmla="*/ 1751761 w 1828800"/>
                  <a:gd name="connsiteY1" fmla="*/ 0 h 914400"/>
                  <a:gd name="connsiteX2" fmla="*/ 1828800 w 1828800"/>
                  <a:gd name="connsiteY2" fmla="*/ 457200 h 914400"/>
                  <a:gd name="connsiteX3" fmla="*/ 1751761 w 1828800"/>
                  <a:gd name="connsiteY3" fmla="*/ 914400 h 914400"/>
                  <a:gd name="connsiteX4" fmla="*/ 0 w 1828800"/>
                  <a:gd name="connsiteY4" fmla="*/ 914400 h 914400"/>
                  <a:gd name="connsiteX5" fmla="*/ 77039 w 1828800"/>
                  <a:gd name="connsiteY5" fmla="*/ 457200 h 914400"/>
                  <a:gd name="connsiteX0" fmla="*/ 0 w 1828800"/>
                  <a:gd name="connsiteY0" fmla="*/ 0 h 914400"/>
                  <a:gd name="connsiteX1" fmla="*/ 1751761 w 1828800"/>
                  <a:gd name="connsiteY1" fmla="*/ 0 h 914400"/>
                  <a:gd name="connsiteX2" fmla="*/ 1828800 w 1828800"/>
                  <a:gd name="connsiteY2" fmla="*/ 457200 h 914400"/>
                  <a:gd name="connsiteX3" fmla="*/ 17517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51761 w 1828800"/>
                  <a:gd name="connsiteY1" fmla="*/ 0 h 914400"/>
                  <a:gd name="connsiteX2" fmla="*/ 1828800 w 1828800"/>
                  <a:gd name="connsiteY2" fmla="*/ 457200 h 914400"/>
                  <a:gd name="connsiteX3" fmla="*/ 17517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51761 w 1828800"/>
                  <a:gd name="connsiteY1" fmla="*/ 0 h 914400"/>
                  <a:gd name="connsiteX2" fmla="*/ 1828800 w 1828800"/>
                  <a:gd name="connsiteY2" fmla="*/ 457200 h 914400"/>
                  <a:gd name="connsiteX3" fmla="*/ 17517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51761 w 1828800"/>
                  <a:gd name="connsiteY1" fmla="*/ 0 h 914400"/>
                  <a:gd name="connsiteX2" fmla="*/ 1828800 w 1828800"/>
                  <a:gd name="connsiteY2" fmla="*/ 457200 h 914400"/>
                  <a:gd name="connsiteX3" fmla="*/ 1751761 w 1828800"/>
                  <a:gd name="connsiteY3" fmla="*/ 914400 h 914400"/>
                  <a:gd name="connsiteX4" fmla="*/ 0 w 1828800"/>
                  <a:gd name="connsiteY4" fmla="*/ 914400 h 914400"/>
                  <a:gd name="connsiteX5" fmla="*/ 74617 w 1828800"/>
                  <a:gd name="connsiteY5" fmla="*/ 457200 h 914400"/>
                  <a:gd name="connsiteX0" fmla="*/ 0 w 1828800"/>
                  <a:gd name="connsiteY0" fmla="*/ 0 h 914400"/>
                  <a:gd name="connsiteX1" fmla="*/ 1754183 w 1828800"/>
                  <a:gd name="connsiteY1" fmla="*/ 0 h 914400"/>
                  <a:gd name="connsiteX2" fmla="*/ 1828800 w 1828800"/>
                  <a:gd name="connsiteY2" fmla="*/ 457200 h 914400"/>
                  <a:gd name="connsiteX3" fmla="*/ 1751761 w 1828800"/>
                  <a:gd name="connsiteY3" fmla="*/ 914400 h 914400"/>
                  <a:gd name="connsiteX4" fmla="*/ 0 w 1828800"/>
                  <a:gd name="connsiteY4" fmla="*/ 914400 h 914400"/>
                  <a:gd name="connsiteX5" fmla="*/ 74617 w 1828800"/>
                  <a:gd name="connsiteY5" fmla="*/ 457200 h 914400"/>
                  <a:gd name="connsiteX0" fmla="*/ 0 w 1828800"/>
                  <a:gd name="connsiteY0" fmla="*/ 0 h 914400"/>
                  <a:gd name="connsiteX1" fmla="*/ 1754183 w 1828800"/>
                  <a:gd name="connsiteY1" fmla="*/ 0 h 914400"/>
                  <a:gd name="connsiteX2" fmla="*/ 1828800 w 1828800"/>
                  <a:gd name="connsiteY2" fmla="*/ 457200 h 914400"/>
                  <a:gd name="connsiteX3" fmla="*/ 1754183 w 1828800"/>
                  <a:gd name="connsiteY3" fmla="*/ 914400 h 914400"/>
                  <a:gd name="connsiteX4" fmla="*/ 0 w 1828800"/>
                  <a:gd name="connsiteY4" fmla="*/ 914400 h 914400"/>
                  <a:gd name="connsiteX5" fmla="*/ 74617 w 1828800"/>
                  <a:gd name="connsiteY5" fmla="*/ 457200 h 914400"/>
                  <a:gd name="connsiteX0" fmla="*/ 0 w 1828800"/>
                  <a:gd name="connsiteY0" fmla="*/ 0 h 914400"/>
                  <a:gd name="connsiteX1" fmla="*/ 1754183 w 1828800"/>
                  <a:gd name="connsiteY1" fmla="*/ 0 h 914400"/>
                  <a:gd name="connsiteX2" fmla="*/ 1828800 w 1828800"/>
                  <a:gd name="connsiteY2" fmla="*/ 457200 h 914400"/>
                  <a:gd name="connsiteX3" fmla="*/ 1754183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54183 w 1828800"/>
                  <a:gd name="connsiteY1" fmla="*/ 0 h 914400"/>
                  <a:gd name="connsiteX2" fmla="*/ 1828800 w 1828800"/>
                  <a:gd name="connsiteY2" fmla="*/ 457200 h 914400"/>
                  <a:gd name="connsiteX3" fmla="*/ 1754183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54183 w 1828800"/>
                  <a:gd name="connsiteY1" fmla="*/ 0 h 914400"/>
                  <a:gd name="connsiteX2" fmla="*/ 1828800 w 1828800"/>
                  <a:gd name="connsiteY2" fmla="*/ 457200 h 914400"/>
                  <a:gd name="connsiteX3" fmla="*/ 1754183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54183 w 1828800"/>
                  <a:gd name="connsiteY1" fmla="*/ 0 h 914400"/>
                  <a:gd name="connsiteX2" fmla="*/ 1828800 w 1828800"/>
                  <a:gd name="connsiteY2" fmla="*/ 457200 h 914400"/>
                  <a:gd name="connsiteX3" fmla="*/ 1754183 w 1828800"/>
                  <a:gd name="connsiteY3" fmla="*/ 914400 h 914400"/>
                  <a:gd name="connsiteX4" fmla="*/ 0 w 1828800"/>
                  <a:gd name="connsiteY4" fmla="*/ 914400 h 914400"/>
                  <a:gd name="connsiteX5" fmla="*/ 74617 w 1828800"/>
                  <a:gd name="connsiteY5" fmla="*/ 457200 h 914400"/>
                  <a:gd name="connsiteX0" fmla="*/ 0 w 1828800"/>
                  <a:gd name="connsiteY0" fmla="*/ 0 h 914400"/>
                  <a:gd name="connsiteX1" fmla="*/ 1754183 w 1828800"/>
                  <a:gd name="connsiteY1" fmla="*/ 0 h 914400"/>
                  <a:gd name="connsiteX2" fmla="*/ 1828800 w 1828800"/>
                  <a:gd name="connsiteY2" fmla="*/ 457200 h 914400"/>
                  <a:gd name="connsiteX3" fmla="*/ 1754183 w 1828800"/>
                  <a:gd name="connsiteY3" fmla="*/ 914400 h 914400"/>
                  <a:gd name="connsiteX4" fmla="*/ 0 w 1828800"/>
                  <a:gd name="connsiteY4" fmla="*/ 914400 h 914400"/>
                  <a:gd name="connsiteX5" fmla="*/ 74617 w 1828800"/>
                  <a:gd name="connsiteY5" fmla="*/ 457200 h 914400"/>
                  <a:gd name="connsiteX0" fmla="*/ 0 w 1828800"/>
                  <a:gd name="connsiteY0" fmla="*/ 0 h 914400"/>
                  <a:gd name="connsiteX1" fmla="*/ 1754183 w 1828800"/>
                  <a:gd name="connsiteY1" fmla="*/ 0 h 914400"/>
                  <a:gd name="connsiteX2" fmla="*/ 1828800 w 1828800"/>
                  <a:gd name="connsiteY2" fmla="*/ 457200 h 914400"/>
                  <a:gd name="connsiteX3" fmla="*/ 1754183 w 1828800"/>
                  <a:gd name="connsiteY3" fmla="*/ 914400 h 914400"/>
                  <a:gd name="connsiteX4" fmla="*/ 0 w 1828800"/>
                  <a:gd name="connsiteY4" fmla="*/ 914400 h 914400"/>
                  <a:gd name="connsiteX5" fmla="*/ 74617 w 1828800"/>
                  <a:gd name="connsiteY5" fmla="*/ 457200 h 914400"/>
                  <a:gd name="connsiteX0" fmla="*/ 0 w 1828800"/>
                  <a:gd name="connsiteY0" fmla="*/ 0 h 914400"/>
                  <a:gd name="connsiteX1" fmla="*/ 1754183 w 1828800"/>
                  <a:gd name="connsiteY1" fmla="*/ 0 h 914400"/>
                  <a:gd name="connsiteX2" fmla="*/ 1828800 w 1828800"/>
                  <a:gd name="connsiteY2" fmla="*/ 457200 h 914400"/>
                  <a:gd name="connsiteX3" fmla="*/ 1754183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52763 w 1828800"/>
                  <a:gd name="connsiteY1" fmla="*/ 0 h 914400"/>
                  <a:gd name="connsiteX2" fmla="*/ 1828800 w 1828800"/>
                  <a:gd name="connsiteY2" fmla="*/ 457200 h 914400"/>
                  <a:gd name="connsiteX3" fmla="*/ 1754183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52763 w 1828800"/>
                  <a:gd name="connsiteY1" fmla="*/ 0 h 914400"/>
                  <a:gd name="connsiteX2" fmla="*/ 1828800 w 1828800"/>
                  <a:gd name="connsiteY2" fmla="*/ 457200 h 914400"/>
                  <a:gd name="connsiteX3" fmla="*/ 1752763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52763 w 1828800"/>
                  <a:gd name="connsiteY1" fmla="*/ 0 h 914400"/>
                  <a:gd name="connsiteX2" fmla="*/ 1828800 w 1828800"/>
                  <a:gd name="connsiteY2" fmla="*/ 457200 h 914400"/>
                  <a:gd name="connsiteX3" fmla="*/ 1752763 w 1828800"/>
                  <a:gd name="connsiteY3" fmla="*/ 914400 h 914400"/>
                  <a:gd name="connsiteX4" fmla="*/ 0 w 1828800"/>
                  <a:gd name="connsiteY4" fmla="*/ 914400 h 914400"/>
                  <a:gd name="connsiteX5" fmla="*/ 76037 w 1828800"/>
                  <a:gd name="connsiteY5" fmla="*/ 457200 h 914400"/>
                  <a:gd name="connsiteX0" fmla="*/ 0 w 1828800"/>
                  <a:gd name="connsiteY0" fmla="*/ 0 h 914400"/>
                  <a:gd name="connsiteX1" fmla="*/ 1752763 w 1828800"/>
                  <a:gd name="connsiteY1" fmla="*/ 0 h 914400"/>
                  <a:gd name="connsiteX2" fmla="*/ 1828800 w 1828800"/>
                  <a:gd name="connsiteY2" fmla="*/ 457200 h 914400"/>
                  <a:gd name="connsiteX3" fmla="*/ 1752763 w 1828800"/>
                  <a:gd name="connsiteY3" fmla="*/ 914400 h 914400"/>
                  <a:gd name="connsiteX4" fmla="*/ 0 w 1828800"/>
                  <a:gd name="connsiteY4" fmla="*/ 914400 h 914400"/>
                  <a:gd name="connsiteX5" fmla="*/ 76037 w 1828800"/>
                  <a:gd name="connsiteY5" fmla="*/ 457200 h 914400"/>
                  <a:gd name="connsiteX0" fmla="*/ 0 w 1828800"/>
                  <a:gd name="connsiteY0" fmla="*/ 0 h 914400"/>
                  <a:gd name="connsiteX1" fmla="*/ 1752763 w 1828800"/>
                  <a:gd name="connsiteY1" fmla="*/ 0 h 914400"/>
                  <a:gd name="connsiteX2" fmla="*/ 1828800 w 1828800"/>
                  <a:gd name="connsiteY2" fmla="*/ 457200 h 914400"/>
                  <a:gd name="connsiteX3" fmla="*/ 1752763 w 1828800"/>
                  <a:gd name="connsiteY3" fmla="*/ 914400 h 914400"/>
                  <a:gd name="connsiteX4" fmla="*/ 0 w 1828800"/>
                  <a:gd name="connsiteY4" fmla="*/ 914400 h 914400"/>
                  <a:gd name="connsiteX5" fmla="*/ 76037 w 1828800"/>
                  <a:gd name="connsiteY5" fmla="*/ 457200 h 914400"/>
                  <a:gd name="connsiteX0" fmla="*/ 0 w 1828800"/>
                  <a:gd name="connsiteY0" fmla="*/ 0 h 914400"/>
                  <a:gd name="connsiteX1" fmla="*/ 1752763 w 1828800"/>
                  <a:gd name="connsiteY1" fmla="*/ 0 h 914400"/>
                  <a:gd name="connsiteX2" fmla="*/ 1828800 w 1828800"/>
                  <a:gd name="connsiteY2" fmla="*/ 457200 h 914400"/>
                  <a:gd name="connsiteX3" fmla="*/ 1752763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50278 w 1828800"/>
                  <a:gd name="connsiteY1" fmla="*/ 0 h 914400"/>
                  <a:gd name="connsiteX2" fmla="*/ 1828800 w 1828800"/>
                  <a:gd name="connsiteY2" fmla="*/ 457200 h 914400"/>
                  <a:gd name="connsiteX3" fmla="*/ 1752763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50278 w 1828800"/>
                  <a:gd name="connsiteY1" fmla="*/ 0 h 914400"/>
                  <a:gd name="connsiteX2" fmla="*/ 1828800 w 1828800"/>
                  <a:gd name="connsiteY2" fmla="*/ 457200 h 914400"/>
                  <a:gd name="connsiteX3" fmla="*/ 175027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50278 w 1828800"/>
                  <a:gd name="connsiteY1" fmla="*/ 0 h 914400"/>
                  <a:gd name="connsiteX2" fmla="*/ 1828800 w 1828800"/>
                  <a:gd name="connsiteY2" fmla="*/ 457200 h 914400"/>
                  <a:gd name="connsiteX3" fmla="*/ 1750278 w 1828800"/>
                  <a:gd name="connsiteY3" fmla="*/ 914400 h 914400"/>
                  <a:gd name="connsiteX4" fmla="*/ 0 w 1828800"/>
                  <a:gd name="connsiteY4" fmla="*/ 914400 h 914400"/>
                  <a:gd name="connsiteX5" fmla="*/ 78522 w 1828800"/>
                  <a:gd name="connsiteY5" fmla="*/ 457200 h 914400"/>
                  <a:gd name="connsiteX0" fmla="*/ 0 w 1828800"/>
                  <a:gd name="connsiteY0" fmla="*/ 0 h 914400"/>
                  <a:gd name="connsiteX1" fmla="*/ 1750278 w 1828800"/>
                  <a:gd name="connsiteY1" fmla="*/ 0 h 914400"/>
                  <a:gd name="connsiteX2" fmla="*/ 1828800 w 1828800"/>
                  <a:gd name="connsiteY2" fmla="*/ 457200 h 914400"/>
                  <a:gd name="connsiteX3" fmla="*/ 1750278 w 1828800"/>
                  <a:gd name="connsiteY3" fmla="*/ 914400 h 914400"/>
                  <a:gd name="connsiteX4" fmla="*/ 0 w 1828800"/>
                  <a:gd name="connsiteY4" fmla="*/ 914400 h 914400"/>
                  <a:gd name="connsiteX5" fmla="*/ 78522 w 1828800"/>
                  <a:gd name="connsiteY5" fmla="*/ 457200 h 914400"/>
                  <a:gd name="connsiteX0" fmla="*/ 0 w 1828800"/>
                  <a:gd name="connsiteY0" fmla="*/ 0 h 914400"/>
                  <a:gd name="connsiteX1" fmla="*/ 1750278 w 1828800"/>
                  <a:gd name="connsiteY1" fmla="*/ 0 h 914400"/>
                  <a:gd name="connsiteX2" fmla="*/ 1828800 w 1828800"/>
                  <a:gd name="connsiteY2" fmla="*/ 457200 h 914400"/>
                  <a:gd name="connsiteX3" fmla="*/ 1750278 w 1828800"/>
                  <a:gd name="connsiteY3" fmla="*/ 914400 h 914400"/>
                  <a:gd name="connsiteX4" fmla="*/ 0 w 1828800"/>
                  <a:gd name="connsiteY4" fmla="*/ 914400 h 914400"/>
                  <a:gd name="connsiteX5" fmla="*/ 78522 w 1828800"/>
                  <a:gd name="connsiteY5" fmla="*/ 457200 h 914400"/>
                  <a:gd name="connsiteX0" fmla="*/ 0 w 1828800"/>
                  <a:gd name="connsiteY0" fmla="*/ 0 h 914400"/>
                  <a:gd name="connsiteX1" fmla="*/ 1750278 w 1828800"/>
                  <a:gd name="connsiteY1" fmla="*/ 0 h 914400"/>
                  <a:gd name="connsiteX2" fmla="*/ 1828800 w 1828800"/>
                  <a:gd name="connsiteY2" fmla="*/ 457200 h 914400"/>
                  <a:gd name="connsiteX3" fmla="*/ 175027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46642 w 1828800"/>
                  <a:gd name="connsiteY1" fmla="*/ 0 h 914400"/>
                  <a:gd name="connsiteX2" fmla="*/ 1828800 w 1828800"/>
                  <a:gd name="connsiteY2" fmla="*/ 457200 h 914400"/>
                  <a:gd name="connsiteX3" fmla="*/ 175027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46642 w 1828800"/>
                  <a:gd name="connsiteY1" fmla="*/ 0 h 914400"/>
                  <a:gd name="connsiteX2" fmla="*/ 1828800 w 1828800"/>
                  <a:gd name="connsiteY2" fmla="*/ 457200 h 914400"/>
                  <a:gd name="connsiteX3" fmla="*/ 174664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46642 w 1828800"/>
                  <a:gd name="connsiteY1" fmla="*/ 0 h 914400"/>
                  <a:gd name="connsiteX2" fmla="*/ 1828800 w 1828800"/>
                  <a:gd name="connsiteY2" fmla="*/ 457200 h 914400"/>
                  <a:gd name="connsiteX3" fmla="*/ 1746642 w 1828800"/>
                  <a:gd name="connsiteY3" fmla="*/ 914400 h 914400"/>
                  <a:gd name="connsiteX4" fmla="*/ 0 w 1828800"/>
                  <a:gd name="connsiteY4" fmla="*/ 914400 h 914400"/>
                  <a:gd name="connsiteX5" fmla="*/ 82158 w 1828800"/>
                  <a:gd name="connsiteY5" fmla="*/ 457200 h 914400"/>
                  <a:gd name="connsiteX0" fmla="*/ 0 w 1828800"/>
                  <a:gd name="connsiteY0" fmla="*/ 0 h 914400"/>
                  <a:gd name="connsiteX1" fmla="*/ 1746642 w 1828800"/>
                  <a:gd name="connsiteY1" fmla="*/ 0 h 914400"/>
                  <a:gd name="connsiteX2" fmla="*/ 1828800 w 1828800"/>
                  <a:gd name="connsiteY2" fmla="*/ 457200 h 914400"/>
                  <a:gd name="connsiteX3" fmla="*/ 1746642 w 1828800"/>
                  <a:gd name="connsiteY3" fmla="*/ 914400 h 914400"/>
                  <a:gd name="connsiteX4" fmla="*/ 0 w 1828800"/>
                  <a:gd name="connsiteY4" fmla="*/ 914400 h 914400"/>
                  <a:gd name="connsiteX5" fmla="*/ 82158 w 1828800"/>
                  <a:gd name="connsiteY5" fmla="*/ 457200 h 914400"/>
                  <a:gd name="connsiteX0" fmla="*/ 0 w 1828800"/>
                  <a:gd name="connsiteY0" fmla="*/ 0 h 914400"/>
                  <a:gd name="connsiteX1" fmla="*/ 1746642 w 1828800"/>
                  <a:gd name="connsiteY1" fmla="*/ 0 h 914400"/>
                  <a:gd name="connsiteX2" fmla="*/ 1828800 w 1828800"/>
                  <a:gd name="connsiteY2" fmla="*/ 457200 h 914400"/>
                  <a:gd name="connsiteX3" fmla="*/ 1746642 w 1828800"/>
                  <a:gd name="connsiteY3" fmla="*/ 914400 h 914400"/>
                  <a:gd name="connsiteX4" fmla="*/ 0 w 1828800"/>
                  <a:gd name="connsiteY4" fmla="*/ 914400 h 914400"/>
                  <a:gd name="connsiteX5" fmla="*/ 82158 w 1828800"/>
                  <a:gd name="connsiteY5" fmla="*/ 45720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0">
                    <a:moveTo>
                      <a:pt x="0" y="0"/>
                    </a:moveTo>
                    <a:lnTo>
                      <a:pt x="1746642" y="0"/>
                    </a:lnTo>
                    <a:lnTo>
                      <a:pt x="1828800" y="457200"/>
                    </a:lnTo>
                    <a:lnTo>
                      <a:pt x="1746642" y="914400"/>
                    </a:lnTo>
                    <a:lnTo>
                      <a:pt x="0" y="914400"/>
                    </a:lnTo>
                    <a:lnTo>
                      <a:pt x="82158" y="457200"/>
                    </a:lnTo>
                    <a:close/>
                  </a:path>
                </a:pathLst>
              </a:custGeom>
              <a:ln w="190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99" dirty="0">
                  <a:solidFill>
                    <a:srgbClr val="0065BD"/>
                  </a:solidFill>
                </a:endParaRPr>
              </a:p>
            </p:txBody>
          </p:sp>
          <p:sp>
            <p:nvSpPr>
              <p:cNvPr id="30" name="TextBox 29"/>
              <p:cNvSpPr txBox="1"/>
              <p:nvPr>
                <p:custDataLst>
                  <p:tags r:id="rId13"/>
                </p:custDataLst>
              </p:nvPr>
            </p:nvSpPr>
            <p:spPr>
              <a:xfrm>
                <a:off x="3338696" y="1038017"/>
                <a:ext cx="2536954" cy="61105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noAutofit/>
              </a:bodyPr>
              <a:lstStyle>
                <a:lvl1pPr marL="0" lvl="0" indent="0" defTabSz="894845" eaLnBrk="1" hangingPunct="1">
                  <a:buClr>
                    <a:schemeClr val="tx2"/>
                  </a:buClr>
                  <a:defRPr sz="1400" baseline="0">
                    <a:latin typeface="+mn-lt"/>
                  </a:defRPr>
                </a:lvl1pPr>
                <a:lvl2pPr marL="193567" lvl="1" indent="-191979" defTabSz="894845" eaLnBrk="1" hangingPunct="1">
                  <a:buClr>
                    <a:schemeClr val="tx1"/>
                  </a:buClr>
                  <a:buSzPct val="100000"/>
                  <a:buFont typeface="Arial" pitchFamily="34" charset="0"/>
                  <a:buChar char="■"/>
                  <a:defRPr sz="1400" baseline="0">
                    <a:latin typeface="+mn-lt"/>
                  </a:defRPr>
                </a:lvl2pPr>
                <a:lvl3pPr marL="392003" lvl="2" indent="-196003" defTabSz="894845" eaLnBrk="1" hangingPunct="1">
                  <a:buClr>
                    <a:schemeClr val="tx1"/>
                  </a:buClr>
                  <a:buSzPct val="100000"/>
                  <a:buFont typeface="Arial" charset="0"/>
                  <a:buChar char="–"/>
                  <a:defRPr sz="1400" baseline="0">
                    <a:latin typeface="+mn-lt"/>
                  </a:defRPr>
                </a:lvl3pPr>
                <a:lvl4pPr marL="583806" lvl="3" indent="-200202" defTabSz="894845" eaLnBrk="1" hangingPunct="1">
                  <a:buClr>
                    <a:schemeClr val="tx1"/>
                  </a:buClr>
                  <a:buSzPct val="100000"/>
                  <a:buFont typeface="Arial" pitchFamily="34" charset="0"/>
                  <a:buChar char="–"/>
                  <a:defRPr sz="1400" baseline="0">
                    <a:latin typeface="+mn-lt"/>
                  </a:defRPr>
                </a:lvl4pPr>
                <a:lvl5pPr marL="739206" lvl="4" indent="-148401" defTabSz="894845" eaLnBrk="1" hangingPunct="1">
                  <a:buClr>
                    <a:schemeClr val="tx1"/>
                  </a:buClr>
                  <a:buSzPct val="100000"/>
                  <a:buFont typeface="Arial" pitchFamily="34" charset="0"/>
                  <a:buChar char="–"/>
                  <a:defRPr sz="1400" baseline="0">
                    <a:latin typeface="+mn-lt"/>
                  </a:defRPr>
                </a:lvl5pPr>
                <a:lvl6pPr marL="749384" indent="-130102" defTabSz="894845" fontAlgn="base">
                  <a:spcBef>
                    <a:spcPct val="0"/>
                  </a:spcBef>
                  <a:spcAft>
                    <a:spcPct val="0"/>
                  </a:spcAft>
                  <a:buClr>
                    <a:schemeClr val="tx2"/>
                  </a:buClr>
                  <a:buSzPct val="89000"/>
                  <a:buFont typeface="Arial" charset="0"/>
                  <a:buChar char="-"/>
                  <a:defRPr baseline="0">
                    <a:latin typeface="+mn-lt"/>
                  </a:defRPr>
                </a:lvl6pPr>
                <a:lvl7pPr marL="749384" indent="-130102" defTabSz="894845" fontAlgn="base">
                  <a:spcBef>
                    <a:spcPct val="0"/>
                  </a:spcBef>
                  <a:spcAft>
                    <a:spcPct val="0"/>
                  </a:spcAft>
                  <a:buClr>
                    <a:schemeClr val="tx2"/>
                  </a:buClr>
                  <a:buSzPct val="89000"/>
                  <a:buFont typeface="Arial" charset="0"/>
                  <a:buChar char="-"/>
                  <a:defRPr baseline="0">
                    <a:latin typeface="+mn-lt"/>
                  </a:defRPr>
                </a:lvl7pPr>
                <a:lvl8pPr marL="749384" indent="-130102" defTabSz="894845" fontAlgn="base">
                  <a:spcBef>
                    <a:spcPct val="0"/>
                  </a:spcBef>
                  <a:spcAft>
                    <a:spcPct val="0"/>
                  </a:spcAft>
                  <a:buClr>
                    <a:schemeClr val="tx2"/>
                  </a:buClr>
                  <a:buSzPct val="89000"/>
                  <a:buFont typeface="Arial" charset="0"/>
                  <a:buChar char="-"/>
                  <a:defRPr baseline="0">
                    <a:latin typeface="+mn-lt"/>
                  </a:defRPr>
                </a:lvl8pPr>
                <a:lvl9pPr marL="749384" indent="-130102" defTabSz="894845" fontAlgn="base">
                  <a:spcBef>
                    <a:spcPct val="0"/>
                  </a:spcBef>
                  <a:spcAft>
                    <a:spcPct val="0"/>
                  </a:spcAft>
                  <a:buClr>
                    <a:schemeClr val="tx2"/>
                  </a:buClr>
                  <a:buSzPct val="89000"/>
                  <a:buFont typeface="Arial" charset="0"/>
                  <a:buChar char="-"/>
                  <a:defRPr baseline="0">
                    <a:latin typeface="+mn-lt"/>
                  </a:defRPr>
                </a:lvl9pPr>
              </a:lstStyle>
              <a:p>
                <a:pPr>
                  <a:buClr>
                    <a:srgbClr val="002960"/>
                  </a:buClr>
                </a:pPr>
                <a:r>
                  <a:rPr lang="en-US" sz="1299" b="1" i="1" dirty="0">
                    <a:solidFill>
                      <a:srgbClr val="0065BD"/>
                    </a:solidFill>
                  </a:rPr>
                  <a:t>Focus</a:t>
                </a:r>
              </a:p>
              <a:p>
                <a:pPr>
                  <a:buClr>
                    <a:srgbClr val="002960"/>
                  </a:buClr>
                </a:pPr>
                <a:r>
                  <a:rPr lang="en-US" sz="1299" b="1" dirty="0">
                    <a:solidFill>
                      <a:srgbClr val="0065BD"/>
                    </a:solidFill>
                  </a:rPr>
                  <a:t>What do we need to focus on?</a:t>
                </a:r>
              </a:p>
            </p:txBody>
          </p:sp>
        </p:grpSp>
        <p:grpSp>
          <p:nvGrpSpPr>
            <p:cNvPr id="61" name="Group 60"/>
            <p:cNvGrpSpPr/>
            <p:nvPr>
              <p:custDataLst>
                <p:tags r:id="rId8"/>
              </p:custDataLst>
            </p:nvPr>
          </p:nvGrpSpPr>
          <p:grpSpPr>
            <a:xfrm>
              <a:off x="5842046" y="1582285"/>
              <a:ext cx="2776069" cy="709386"/>
              <a:chOff x="5913502" y="1125416"/>
              <a:chExt cx="2791586" cy="709612"/>
            </a:xfrm>
          </p:grpSpPr>
          <p:sp>
            <p:nvSpPr>
              <p:cNvPr id="37" name="Freeform 36"/>
              <p:cNvSpPr/>
              <p:nvPr>
                <p:custDataLst>
                  <p:tags r:id="rId10"/>
                </p:custDataLst>
              </p:nvPr>
            </p:nvSpPr>
            <p:spPr>
              <a:xfrm>
                <a:off x="5913502" y="1125416"/>
                <a:ext cx="2791586" cy="709612"/>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51761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51761 w 1828800"/>
                  <a:gd name="connsiteY1" fmla="*/ 0 h 914400"/>
                  <a:gd name="connsiteX2" fmla="*/ 1828800 w 1828800"/>
                  <a:gd name="connsiteY2" fmla="*/ 457200 h 914400"/>
                  <a:gd name="connsiteX3" fmla="*/ 17517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51761 w 1828800"/>
                  <a:gd name="connsiteY1" fmla="*/ 0 h 914400"/>
                  <a:gd name="connsiteX2" fmla="*/ 1828800 w 1828800"/>
                  <a:gd name="connsiteY2" fmla="*/ 457200 h 914400"/>
                  <a:gd name="connsiteX3" fmla="*/ 1751761 w 1828800"/>
                  <a:gd name="connsiteY3" fmla="*/ 914400 h 914400"/>
                  <a:gd name="connsiteX4" fmla="*/ 0 w 1828800"/>
                  <a:gd name="connsiteY4" fmla="*/ 914400 h 914400"/>
                  <a:gd name="connsiteX5" fmla="*/ 77039 w 1828800"/>
                  <a:gd name="connsiteY5" fmla="*/ 457200 h 914400"/>
                  <a:gd name="connsiteX0" fmla="*/ 0 w 1828800"/>
                  <a:gd name="connsiteY0" fmla="*/ 0 h 914400"/>
                  <a:gd name="connsiteX1" fmla="*/ 1751761 w 1828800"/>
                  <a:gd name="connsiteY1" fmla="*/ 0 h 914400"/>
                  <a:gd name="connsiteX2" fmla="*/ 1828800 w 1828800"/>
                  <a:gd name="connsiteY2" fmla="*/ 457200 h 914400"/>
                  <a:gd name="connsiteX3" fmla="*/ 1751761 w 1828800"/>
                  <a:gd name="connsiteY3" fmla="*/ 914400 h 914400"/>
                  <a:gd name="connsiteX4" fmla="*/ 0 w 1828800"/>
                  <a:gd name="connsiteY4" fmla="*/ 914400 h 914400"/>
                  <a:gd name="connsiteX5" fmla="*/ 77039 w 1828800"/>
                  <a:gd name="connsiteY5" fmla="*/ 457200 h 914400"/>
                  <a:gd name="connsiteX0" fmla="*/ 0 w 1828800"/>
                  <a:gd name="connsiteY0" fmla="*/ 0 h 914400"/>
                  <a:gd name="connsiteX1" fmla="*/ 1751761 w 1828800"/>
                  <a:gd name="connsiteY1" fmla="*/ 0 h 914400"/>
                  <a:gd name="connsiteX2" fmla="*/ 1828800 w 1828800"/>
                  <a:gd name="connsiteY2" fmla="*/ 457200 h 914400"/>
                  <a:gd name="connsiteX3" fmla="*/ 1751761 w 1828800"/>
                  <a:gd name="connsiteY3" fmla="*/ 914400 h 914400"/>
                  <a:gd name="connsiteX4" fmla="*/ 0 w 1828800"/>
                  <a:gd name="connsiteY4" fmla="*/ 914400 h 914400"/>
                  <a:gd name="connsiteX5" fmla="*/ 77039 w 1828800"/>
                  <a:gd name="connsiteY5" fmla="*/ 457200 h 914400"/>
                  <a:gd name="connsiteX0" fmla="*/ 0 w 1828800"/>
                  <a:gd name="connsiteY0" fmla="*/ 0 h 914400"/>
                  <a:gd name="connsiteX1" fmla="*/ 1751761 w 1828800"/>
                  <a:gd name="connsiteY1" fmla="*/ 0 h 914400"/>
                  <a:gd name="connsiteX2" fmla="*/ 1828800 w 1828800"/>
                  <a:gd name="connsiteY2" fmla="*/ 457200 h 914400"/>
                  <a:gd name="connsiteX3" fmla="*/ 17517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51761 w 1828800"/>
                  <a:gd name="connsiteY1" fmla="*/ 0 h 914400"/>
                  <a:gd name="connsiteX2" fmla="*/ 1828800 w 1828800"/>
                  <a:gd name="connsiteY2" fmla="*/ 457200 h 914400"/>
                  <a:gd name="connsiteX3" fmla="*/ 17517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51761 w 1828800"/>
                  <a:gd name="connsiteY1" fmla="*/ 0 h 914400"/>
                  <a:gd name="connsiteX2" fmla="*/ 1828800 w 1828800"/>
                  <a:gd name="connsiteY2" fmla="*/ 457200 h 914400"/>
                  <a:gd name="connsiteX3" fmla="*/ 17517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51761 w 1828800"/>
                  <a:gd name="connsiteY1" fmla="*/ 0 h 914400"/>
                  <a:gd name="connsiteX2" fmla="*/ 1828800 w 1828800"/>
                  <a:gd name="connsiteY2" fmla="*/ 457200 h 914400"/>
                  <a:gd name="connsiteX3" fmla="*/ 1751761 w 1828800"/>
                  <a:gd name="connsiteY3" fmla="*/ 914400 h 914400"/>
                  <a:gd name="connsiteX4" fmla="*/ 0 w 1828800"/>
                  <a:gd name="connsiteY4" fmla="*/ 914400 h 914400"/>
                  <a:gd name="connsiteX5" fmla="*/ 74617 w 1828800"/>
                  <a:gd name="connsiteY5" fmla="*/ 457200 h 914400"/>
                  <a:gd name="connsiteX0" fmla="*/ 0 w 1828800"/>
                  <a:gd name="connsiteY0" fmla="*/ 0 h 914400"/>
                  <a:gd name="connsiteX1" fmla="*/ 1754183 w 1828800"/>
                  <a:gd name="connsiteY1" fmla="*/ 0 h 914400"/>
                  <a:gd name="connsiteX2" fmla="*/ 1828800 w 1828800"/>
                  <a:gd name="connsiteY2" fmla="*/ 457200 h 914400"/>
                  <a:gd name="connsiteX3" fmla="*/ 1751761 w 1828800"/>
                  <a:gd name="connsiteY3" fmla="*/ 914400 h 914400"/>
                  <a:gd name="connsiteX4" fmla="*/ 0 w 1828800"/>
                  <a:gd name="connsiteY4" fmla="*/ 914400 h 914400"/>
                  <a:gd name="connsiteX5" fmla="*/ 74617 w 1828800"/>
                  <a:gd name="connsiteY5" fmla="*/ 457200 h 914400"/>
                  <a:gd name="connsiteX0" fmla="*/ 0 w 1828800"/>
                  <a:gd name="connsiteY0" fmla="*/ 0 h 914400"/>
                  <a:gd name="connsiteX1" fmla="*/ 1754183 w 1828800"/>
                  <a:gd name="connsiteY1" fmla="*/ 0 h 914400"/>
                  <a:gd name="connsiteX2" fmla="*/ 1828800 w 1828800"/>
                  <a:gd name="connsiteY2" fmla="*/ 457200 h 914400"/>
                  <a:gd name="connsiteX3" fmla="*/ 1754183 w 1828800"/>
                  <a:gd name="connsiteY3" fmla="*/ 914400 h 914400"/>
                  <a:gd name="connsiteX4" fmla="*/ 0 w 1828800"/>
                  <a:gd name="connsiteY4" fmla="*/ 914400 h 914400"/>
                  <a:gd name="connsiteX5" fmla="*/ 74617 w 1828800"/>
                  <a:gd name="connsiteY5" fmla="*/ 457200 h 914400"/>
                  <a:gd name="connsiteX0" fmla="*/ 0 w 1828800"/>
                  <a:gd name="connsiteY0" fmla="*/ 0 h 914400"/>
                  <a:gd name="connsiteX1" fmla="*/ 1754183 w 1828800"/>
                  <a:gd name="connsiteY1" fmla="*/ 0 h 914400"/>
                  <a:gd name="connsiteX2" fmla="*/ 1828800 w 1828800"/>
                  <a:gd name="connsiteY2" fmla="*/ 457200 h 914400"/>
                  <a:gd name="connsiteX3" fmla="*/ 1754183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54183 w 1828800"/>
                  <a:gd name="connsiteY1" fmla="*/ 0 h 914400"/>
                  <a:gd name="connsiteX2" fmla="*/ 1828800 w 1828800"/>
                  <a:gd name="connsiteY2" fmla="*/ 457200 h 914400"/>
                  <a:gd name="connsiteX3" fmla="*/ 1754183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54183 w 1828800"/>
                  <a:gd name="connsiteY1" fmla="*/ 0 h 914400"/>
                  <a:gd name="connsiteX2" fmla="*/ 1828800 w 1828800"/>
                  <a:gd name="connsiteY2" fmla="*/ 457200 h 914400"/>
                  <a:gd name="connsiteX3" fmla="*/ 1754183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54183 w 1828800"/>
                  <a:gd name="connsiteY1" fmla="*/ 0 h 914400"/>
                  <a:gd name="connsiteX2" fmla="*/ 1828800 w 1828800"/>
                  <a:gd name="connsiteY2" fmla="*/ 457200 h 914400"/>
                  <a:gd name="connsiteX3" fmla="*/ 1754183 w 1828800"/>
                  <a:gd name="connsiteY3" fmla="*/ 914400 h 914400"/>
                  <a:gd name="connsiteX4" fmla="*/ 0 w 1828800"/>
                  <a:gd name="connsiteY4" fmla="*/ 914400 h 914400"/>
                  <a:gd name="connsiteX5" fmla="*/ 74617 w 1828800"/>
                  <a:gd name="connsiteY5" fmla="*/ 457200 h 914400"/>
                  <a:gd name="connsiteX0" fmla="*/ 0 w 1828800"/>
                  <a:gd name="connsiteY0" fmla="*/ 0 h 914400"/>
                  <a:gd name="connsiteX1" fmla="*/ 1754183 w 1828800"/>
                  <a:gd name="connsiteY1" fmla="*/ 0 h 914400"/>
                  <a:gd name="connsiteX2" fmla="*/ 1828800 w 1828800"/>
                  <a:gd name="connsiteY2" fmla="*/ 457200 h 914400"/>
                  <a:gd name="connsiteX3" fmla="*/ 1754183 w 1828800"/>
                  <a:gd name="connsiteY3" fmla="*/ 914400 h 914400"/>
                  <a:gd name="connsiteX4" fmla="*/ 0 w 1828800"/>
                  <a:gd name="connsiteY4" fmla="*/ 914400 h 914400"/>
                  <a:gd name="connsiteX5" fmla="*/ 74617 w 1828800"/>
                  <a:gd name="connsiteY5" fmla="*/ 457200 h 914400"/>
                  <a:gd name="connsiteX0" fmla="*/ 0 w 1828800"/>
                  <a:gd name="connsiteY0" fmla="*/ 0 h 914400"/>
                  <a:gd name="connsiteX1" fmla="*/ 1754183 w 1828800"/>
                  <a:gd name="connsiteY1" fmla="*/ 0 h 914400"/>
                  <a:gd name="connsiteX2" fmla="*/ 1828800 w 1828800"/>
                  <a:gd name="connsiteY2" fmla="*/ 457200 h 914400"/>
                  <a:gd name="connsiteX3" fmla="*/ 1754183 w 1828800"/>
                  <a:gd name="connsiteY3" fmla="*/ 914400 h 914400"/>
                  <a:gd name="connsiteX4" fmla="*/ 0 w 1828800"/>
                  <a:gd name="connsiteY4" fmla="*/ 914400 h 914400"/>
                  <a:gd name="connsiteX5" fmla="*/ 74617 w 1828800"/>
                  <a:gd name="connsiteY5" fmla="*/ 457200 h 914400"/>
                  <a:gd name="connsiteX0" fmla="*/ 0 w 1828800"/>
                  <a:gd name="connsiteY0" fmla="*/ 0 h 914400"/>
                  <a:gd name="connsiteX1" fmla="*/ 1754183 w 1828800"/>
                  <a:gd name="connsiteY1" fmla="*/ 0 h 914400"/>
                  <a:gd name="connsiteX2" fmla="*/ 1828800 w 1828800"/>
                  <a:gd name="connsiteY2" fmla="*/ 457200 h 914400"/>
                  <a:gd name="connsiteX3" fmla="*/ 1754183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50822 w 1828800"/>
                  <a:gd name="connsiteY1" fmla="*/ 0 h 914400"/>
                  <a:gd name="connsiteX2" fmla="*/ 1828800 w 1828800"/>
                  <a:gd name="connsiteY2" fmla="*/ 457200 h 914400"/>
                  <a:gd name="connsiteX3" fmla="*/ 1754183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50822 w 1828800"/>
                  <a:gd name="connsiteY1" fmla="*/ 0 h 914400"/>
                  <a:gd name="connsiteX2" fmla="*/ 1828800 w 1828800"/>
                  <a:gd name="connsiteY2" fmla="*/ 457200 h 914400"/>
                  <a:gd name="connsiteX3" fmla="*/ 175082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50822 w 1828800"/>
                  <a:gd name="connsiteY1" fmla="*/ 0 h 914400"/>
                  <a:gd name="connsiteX2" fmla="*/ 1828800 w 1828800"/>
                  <a:gd name="connsiteY2" fmla="*/ 457200 h 914400"/>
                  <a:gd name="connsiteX3" fmla="*/ 1750822 w 1828800"/>
                  <a:gd name="connsiteY3" fmla="*/ 914400 h 914400"/>
                  <a:gd name="connsiteX4" fmla="*/ 0 w 1828800"/>
                  <a:gd name="connsiteY4" fmla="*/ 914400 h 914400"/>
                  <a:gd name="connsiteX5" fmla="*/ 77978 w 1828800"/>
                  <a:gd name="connsiteY5" fmla="*/ 457200 h 914400"/>
                  <a:gd name="connsiteX0" fmla="*/ 0 w 1828800"/>
                  <a:gd name="connsiteY0" fmla="*/ 0 h 914400"/>
                  <a:gd name="connsiteX1" fmla="*/ 1750822 w 1828800"/>
                  <a:gd name="connsiteY1" fmla="*/ 0 h 914400"/>
                  <a:gd name="connsiteX2" fmla="*/ 1828800 w 1828800"/>
                  <a:gd name="connsiteY2" fmla="*/ 457200 h 914400"/>
                  <a:gd name="connsiteX3" fmla="*/ 1750822 w 1828800"/>
                  <a:gd name="connsiteY3" fmla="*/ 914400 h 914400"/>
                  <a:gd name="connsiteX4" fmla="*/ 0 w 1828800"/>
                  <a:gd name="connsiteY4" fmla="*/ 914400 h 914400"/>
                  <a:gd name="connsiteX5" fmla="*/ 77978 w 1828800"/>
                  <a:gd name="connsiteY5" fmla="*/ 457200 h 914400"/>
                  <a:gd name="connsiteX0" fmla="*/ 0 w 1828800"/>
                  <a:gd name="connsiteY0" fmla="*/ 0 h 914400"/>
                  <a:gd name="connsiteX1" fmla="*/ 1750822 w 1828800"/>
                  <a:gd name="connsiteY1" fmla="*/ 0 h 914400"/>
                  <a:gd name="connsiteX2" fmla="*/ 1828800 w 1828800"/>
                  <a:gd name="connsiteY2" fmla="*/ 457200 h 914400"/>
                  <a:gd name="connsiteX3" fmla="*/ 1750822 w 1828800"/>
                  <a:gd name="connsiteY3" fmla="*/ 914400 h 914400"/>
                  <a:gd name="connsiteX4" fmla="*/ 0 w 1828800"/>
                  <a:gd name="connsiteY4" fmla="*/ 914400 h 914400"/>
                  <a:gd name="connsiteX5" fmla="*/ 77978 w 1828800"/>
                  <a:gd name="connsiteY5" fmla="*/ 457200 h 914400"/>
                  <a:gd name="connsiteX0" fmla="*/ 0 w 1828800"/>
                  <a:gd name="connsiteY0" fmla="*/ 0 h 914400"/>
                  <a:gd name="connsiteX1" fmla="*/ 1750822 w 1828800"/>
                  <a:gd name="connsiteY1" fmla="*/ 0 h 914400"/>
                  <a:gd name="connsiteX2" fmla="*/ 1828800 w 1828800"/>
                  <a:gd name="connsiteY2" fmla="*/ 457200 h 914400"/>
                  <a:gd name="connsiteX3" fmla="*/ 175082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46418 w 1828800"/>
                  <a:gd name="connsiteY1" fmla="*/ 0 h 914400"/>
                  <a:gd name="connsiteX2" fmla="*/ 1828800 w 1828800"/>
                  <a:gd name="connsiteY2" fmla="*/ 457200 h 914400"/>
                  <a:gd name="connsiteX3" fmla="*/ 175082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46418 w 1828800"/>
                  <a:gd name="connsiteY1" fmla="*/ 0 h 914400"/>
                  <a:gd name="connsiteX2" fmla="*/ 1828800 w 1828800"/>
                  <a:gd name="connsiteY2" fmla="*/ 457200 h 914400"/>
                  <a:gd name="connsiteX3" fmla="*/ 174641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46418 w 1828800"/>
                  <a:gd name="connsiteY1" fmla="*/ 0 h 914400"/>
                  <a:gd name="connsiteX2" fmla="*/ 1828800 w 1828800"/>
                  <a:gd name="connsiteY2" fmla="*/ 457200 h 914400"/>
                  <a:gd name="connsiteX3" fmla="*/ 1746418 w 1828800"/>
                  <a:gd name="connsiteY3" fmla="*/ 914400 h 914400"/>
                  <a:gd name="connsiteX4" fmla="*/ 0 w 1828800"/>
                  <a:gd name="connsiteY4" fmla="*/ 914400 h 914400"/>
                  <a:gd name="connsiteX5" fmla="*/ 82382 w 1828800"/>
                  <a:gd name="connsiteY5" fmla="*/ 457200 h 914400"/>
                  <a:gd name="connsiteX0" fmla="*/ 0 w 1828800"/>
                  <a:gd name="connsiteY0" fmla="*/ 0 h 914400"/>
                  <a:gd name="connsiteX1" fmla="*/ 1746418 w 1828800"/>
                  <a:gd name="connsiteY1" fmla="*/ 0 h 914400"/>
                  <a:gd name="connsiteX2" fmla="*/ 1828800 w 1828800"/>
                  <a:gd name="connsiteY2" fmla="*/ 457200 h 914400"/>
                  <a:gd name="connsiteX3" fmla="*/ 1746418 w 1828800"/>
                  <a:gd name="connsiteY3" fmla="*/ 914400 h 914400"/>
                  <a:gd name="connsiteX4" fmla="*/ 0 w 1828800"/>
                  <a:gd name="connsiteY4" fmla="*/ 914400 h 914400"/>
                  <a:gd name="connsiteX5" fmla="*/ 82382 w 1828800"/>
                  <a:gd name="connsiteY5" fmla="*/ 457200 h 914400"/>
                  <a:gd name="connsiteX0" fmla="*/ 0 w 1828800"/>
                  <a:gd name="connsiteY0" fmla="*/ 0 h 914400"/>
                  <a:gd name="connsiteX1" fmla="*/ 1746418 w 1828800"/>
                  <a:gd name="connsiteY1" fmla="*/ 0 h 914400"/>
                  <a:gd name="connsiteX2" fmla="*/ 1828800 w 1828800"/>
                  <a:gd name="connsiteY2" fmla="*/ 457200 h 914400"/>
                  <a:gd name="connsiteX3" fmla="*/ 1746418 w 1828800"/>
                  <a:gd name="connsiteY3" fmla="*/ 914400 h 914400"/>
                  <a:gd name="connsiteX4" fmla="*/ 0 w 1828800"/>
                  <a:gd name="connsiteY4" fmla="*/ 914400 h 914400"/>
                  <a:gd name="connsiteX5" fmla="*/ 82382 w 1828800"/>
                  <a:gd name="connsiteY5" fmla="*/ 457200 h 914400"/>
                  <a:gd name="connsiteX0" fmla="*/ 0 w 1828800"/>
                  <a:gd name="connsiteY0" fmla="*/ 0 h 914400"/>
                  <a:gd name="connsiteX1" fmla="*/ 1746418 w 1828800"/>
                  <a:gd name="connsiteY1" fmla="*/ 0 h 914400"/>
                  <a:gd name="connsiteX2" fmla="*/ 1828800 w 1828800"/>
                  <a:gd name="connsiteY2" fmla="*/ 457200 h 914400"/>
                  <a:gd name="connsiteX3" fmla="*/ 174641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45123 w 1828800"/>
                  <a:gd name="connsiteY1" fmla="*/ 0 h 914400"/>
                  <a:gd name="connsiteX2" fmla="*/ 1828800 w 1828800"/>
                  <a:gd name="connsiteY2" fmla="*/ 457200 h 914400"/>
                  <a:gd name="connsiteX3" fmla="*/ 174641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45123 w 1828800"/>
                  <a:gd name="connsiteY1" fmla="*/ 0 h 914400"/>
                  <a:gd name="connsiteX2" fmla="*/ 1828800 w 1828800"/>
                  <a:gd name="connsiteY2" fmla="*/ 457200 h 914400"/>
                  <a:gd name="connsiteX3" fmla="*/ 1745123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45123 w 1828800"/>
                  <a:gd name="connsiteY1" fmla="*/ 0 h 914400"/>
                  <a:gd name="connsiteX2" fmla="*/ 1828800 w 1828800"/>
                  <a:gd name="connsiteY2" fmla="*/ 457200 h 914400"/>
                  <a:gd name="connsiteX3" fmla="*/ 1745123 w 1828800"/>
                  <a:gd name="connsiteY3" fmla="*/ 914400 h 914400"/>
                  <a:gd name="connsiteX4" fmla="*/ 0 w 1828800"/>
                  <a:gd name="connsiteY4" fmla="*/ 914400 h 914400"/>
                  <a:gd name="connsiteX5" fmla="*/ 83677 w 1828800"/>
                  <a:gd name="connsiteY5" fmla="*/ 457200 h 914400"/>
                  <a:gd name="connsiteX0" fmla="*/ 0 w 1828800"/>
                  <a:gd name="connsiteY0" fmla="*/ 0 h 914400"/>
                  <a:gd name="connsiteX1" fmla="*/ 1745123 w 1828800"/>
                  <a:gd name="connsiteY1" fmla="*/ 0 h 914400"/>
                  <a:gd name="connsiteX2" fmla="*/ 1828800 w 1828800"/>
                  <a:gd name="connsiteY2" fmla="*/ 457200 h 914400"/>
                  <a:gd name="connsiteX3" fmla="*/ 1745123 w 1828800"/>
                  <a:gd name="connsiteY3" fmla="*/ 914400 h 914400"/>
                  <a:gd name="connsiteX4" fmla="*/ 0 w 1828800"/>
                  <a:gd name="connsiteY4" fmla="*/ 914400 h 914400"/>
                  <a:gd name="connsiteX5" fmla="*/ 83677 w 1828800"/>
                  <a:gd name="connsiteY5" fmla="*/ 457200 h 914400"/>
                  <a:gd name="connsiteX0" fmla="*/ 0 w 1828800"/>
                  <a:gd name="connsiteY0" fmla="*/ 0 h 914400"/>
                  <a:gd name="connsiteX1" fmla="*/ 1745123 w 1828800"/>
                  <a:gd name="connsiteY1" fmla="*/ 0 h 914400"/>
                  <a:gd name="connsiteX2" fmla="*/ 1828800 w 1828800"/>
                  <a:gd name="connsiteY2" fmla="*/ 457200 h 914400"/>
                  <a:gd name="connsiteX3" fmla="*/ 1745123 w 1828800"/>
                  <a:gd name="connsiteY3" fmla="*/ 914400 h 914400"/>
                  <a:gd name="connsiteX4" fmla="*/ 0 w 1828800"/>
                  <a:gd name="connsiteY4" fmla="*/ 914400 h 914400"/>
                  <a:gd name="connsiteX5" fmla="*/ 83677 w 1828800"/>
                  <a:gd name="connsiteY5" fmla="*/ 45720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0">
                    <a:moveTo>
                      <a:pt x="0" y="0"/>
                    </a:moveTo>
                    <a:lnTo>
                      <a:pt x="1745123" y="0"/>
                    </a:lnTo>
                    <a:lnTo>
                      <a:pt x="1828800" y="457200"/>
                    </a:lnTo>
                    <a:lnTo>
                      <a:pt x="1745123" y="914400"/>
                    </a:lnTo>
                    <a:lnTo>
                      <a:pt x="0" y="914400"/>
                    </a:lnTo>
                    <a:lnTo>
                      <a:pt x="83677" y="457200"/>
                    </a:lnTo>
                    <a:close/>
                  </a:path>
                </a:pathLst>
              </a:custGeom>
              <a:ln w="190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99" dirty="0">
                  <a:solidFill>
                    <a:srgbClr val="0065BD"/>
                  </a:solidFill>
                </a:endParaRPr>
              </a:p>
            </p:txBody>
          </p:sp>
          <p:sp>
            <p:nvSpPr>
              <p:cNvPr id="38" name="TextBox 37"/>
              <p:cNvSpPr txBox="1"/>
              <p:nvPr>
                <p:custDataLst>
                  <p:tags r:id="rId11"/>
                </p:custDataLst>
              </p:nvPr>
            </p:nvSpPr>
            <p:spPr>
              <a:xfrm>
                <a:off x="6092032" y="1174695"/>
                <a:ext cx="2485326" cy="61105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noAutofit/>
              </a:bodyPr>
              <a:lstStyle>
                <a:lvl1pPr marL="0" lvl="0" indent="0" defTabSz="894845" eaLnBrk="1" hangingPunct="1">
                  <a:buClr>
                    <a:schemeClr val="tx2"/>
                  </a:buClr>
                  <a:defRPr sz="1400" baseline="0">
                    <a:latin typeface="+mn-lt"/>
                  </a:defRPr>
                </a:lvl1pPr>
                <a:lvl2pPr marL="193567" lvl="1" indent="-191979" defTabSz="894845" eaLnBrk="1" hangingPunct="1">
                  <a:buClr>
                    <a:schemeClr val="tx1"/>
                  </a:buClr>
                  <a:buSzPct val="100000"/>
                  <a:buFont typeface="Arial" pitchFamily="34" charset="0"/>
                  <a:buChar char="■"/>
                  <a:defRPr sz="1400" baseline="0">
                    <a:latin typeface="+mn-lt"/>
                  </a:defRPr>
                </a:lvl2pPr>
                <a:lvl3pPr marL="392003" lvl="2" indent="-196003" defTabSz="894845" eaLnBrk="1" hangingPunct="1">
                  <a:buClr>
                    <a:schemeClr val="tx1"/>
                  </a:buClr>
                  <a:buSzPct val="100000"/>
                  <a:buFont typeface="Arial" charset="0"/>
                  <a:buChar char="–"/>
                  <a:defRPr sz="1400" baseline="0">
                    <a:latin typeface="+mn-lt"/>
                  </a:defRPr>
                </a:lvl3pPr>
                <a:lvl4pPr marL="583806" lvl="3" indent="-200202" defTabSz="894845" eaLnBrk="1" hangingPunct="1">
                  <a:buClr>
                    <a:schemeClr val="tx1"/>
                  </a:buClr>
                  <a:buSzPct val="100000"/>
                  <a:buFont typeface="Arial" pitchFamily="34" charset="0"/>
                  <a:buChar char="–"/>
                  <a:defRPr sz="1400" baseline="0">
                    <a:latin typeface="+mn-lt"/>
                  </a:defRPr>
                </a:lvl4pPr>
                <a:lvl5pPr marL="739206" lvl="4" indent="-148401" defTabSz="894845" eaLnBrk="1" hangingPunct="1">
                  <a:buClr>
                    <a:schemeClr val="tx1"/>
                  </a:buClr>
                  <a:buSzPct val="100000"/>
                  <a:buFont typeface="Arial" pitchFamily="34" charset="0"/>
                  <a:buChar char="–"/>
                  <a:defRPr sz="1400" baseline="0">
                    <a:latin typeface="+mn-lt"/>
                  </a:defRPr>
                </a:lvl5pPr>
                <a:lvl6pPr marL="749384" indent="-130102" defTabSz="894845" fontAlgn="base">
                  <a:spcBef>
                    <a:spcPct val="0"/>
                  </a:spcBef>
                  <a:spcAft>
                    <a:spcPct val="0"/>
                  </a:spcAft>
                  <a:buClr>
                    <a:schemeClr val="tx2"/>
                  </a:buClr>
                  <a:buSzPct val="89000"/>
                  <a:buFont typeface="Arial" charset="0"/>
                  <a:buChar char="-"/>
                  <a:defRPr baseline="0">
                    <a:latin typeface="+mn-lt"/>
                  </a:defRPr>
                </a:lvl6pPr>
                <a:lvl7pPr marL="749384" indent="-130102" defTabSz="894845" fontAlgn="base">
                  <a:spcBef>
                    <a:spcPct val="0"/>
                  </a:spcBef>
                  <a:spcAft>
                    <a:spcPct val="0"/>
                  </a:spcAft>
                  <a:buClr>
                    <a:schemeClr val="tx2"/>
                  </a:buClr>
                  <a:buSzPct val="89000"/>
                  <a:buFont typeface="Arial" charset="0"/>
                  <a:buChar char="-"/>
                  <a:defRPr baseline="0">
                    <a:latin typeface="+mn-lt"/>
                  </a:defRPr>
                </a:lvl7pPr>
                <a:lvl8pPr marL="749384" indent="-130102" defTabSz="894845" fontAlgn="base">
                  <a:spcBef>
                    <a:spcPct val="0"/>
                  </a:spcBef>
                  <a:spcAft>
                    <a:spcPct val="0"/>
                  </a:spcAft>
                  <a:buClr>
                    <a:schemeClr val="tx2"/>
                  </a:buClr>
                  <a:buSzPct val="89000"/>
                  <a:buFont typeface="Arial" charset="0"/>
                  <a:buChar char="-"/>
                  <a:defRPr baseline="0">
                    <a:latin typeface="+mn-lt"/>
                  </a:defRPr>
                </a:lvl8pPr>
                <a:lvl9pPr marL="749384" indent="-130102" defTabSz="894845" fontAlgn="base">
                  <a:spcBef>
                    <a:spcPct val="0"/>
                  </a:spcBef>
                  <a:spcAft>
                    <a:spcPct val="0"/>
                  </a:spcAft>
                  <a:buClr>
                    <a:schemeClr val="tx2"/>
                  </a:buClr>
                  <a:buSzPct val="89000"/>
                  <a:buFont typeface="Arial" charset="0"/>
                  <a:buChar char="-"/>
                  <a:defRPr baseline="0">
                    <a:latin typeface="+mn-lt"/>
                  </a:defRPr>
                </a:lvl9pPr>
              </a:lstStyle>
              <a:p>
                <a:pPr>
                  <a:buClr>
                    <a:srgbClr val="002960"/>
                  </a:buClr>
                </a:pPr>
                <a:r>
                  <a:rPr lang="en-US" sz="1299" b="1" i="1" dirty="0">
                    <a:solidFill>
                      <a:srgbClr val="0065BD"/>
                    </a:solidFill>
                  </a:rPr>
                  <a:t>Act</a:t>
                </a:r>
              </a:p>
              <a:p>
                <a:pPr>
                  <a:buClr>
                    <a:srgbClr val="002960"/>
                  </a:buClr>
                </a:pPr>
                <a:r>
                  <a:rPr lang="en-US" sz="1299" b="1" dirty="0">
                    <a:solidFill>
                      <a:srgbClr val="0065BD"/>
                    </a:solidFill>
                  </a:rPr>
                  <a:t>How can we change things?</a:t>
                </a:r>
              </a:p>
            </p:txBody>
          </p:sp>
        </p:grpSp>
        <p:cxnSp>
          <p:nvCxnSpPr>
            <p:cNvPr id="43" name="Straight Connector 42"/>
            <p:cNvCxnSpPr>
              <a:cxnSpLocks/>
            </p:cNvCxnSpPr>
            <p:nvPr/>
          </p:nvCxnSpPr>
          <p:spPr>
            <a:xfrm>
              <a:off x="3113687" y="2292824"/>
              <a:ext cx="0" cy="3758039"/>
            </a:xfrm>
            <a:prstGeom prst="line">
              <a:avLst/>
            </a:prstGeom>
            <a:ln>
              <a:solidFill>
                <a:schemeClr val="bg2"/>
              </a:solidFill>
              <a:prstDash val="dash"/>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a:cxnSpLocks/>
            </p:cNvCxnSpPr>
            <p:nvPr/>
          </p:nvCxnSpPr>
          <p:spPr>
            <a:xfrm>
              <a:off x="5843148" y="2292824"/>
              <a:ext cx="0" cy="3758039"/>
            </a:xfrm>
            <a:prstGeom prst="line">
              <a:avLst/>
            </a:prstGeom>
            <a:ln>
              <a:solidFill>
                <a:schemeClr val="bg2"/>
              </a:solidFill>
              <a:prstDash val="dash"/>
            </a:ln>
          </p:spPr>
          <p:style>
            <a:lnRef idx="1">
              <a:schemeClr val="accent1"/>
            </a:lnRef>
            <a:fillRef idx="0">
              <a:schemeClr val="accent1"/>
            </a:fillRef>
            <a:effectRef idx="0">
              <a:schemeClr val="accent1"/>
            </a:effectRef>
            <a:fontRef idx="minor">
              <a:schemeClr val="tx1"/>
            </a:fontRef>
          </p:style>
        </p:cxnSp>
        <p:sp>
          <p:nvSpPr>
            <p:cNvPr id="25" name="Rectangle 4"/>
            <p:cNvSpPr txBox="1">
              <a:spLocks/>
            </p:cNvSpPr>
            <p:nvPr/>
          </p:nvSpPr>
          <p:spPr>
            <a:xfrm>
              <a:off x="3766422" y="2958079"/>
              <a:ext cx="1977807" cy="55399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indent="-192088" defTabSz="895350" eaLnBrk="1" hangingPunct="1">
                <a:buClr>
                  <a:schemeClr val="tx2"/>
                </a:buClr>
                <a:buSzPct val="125000"/>
                <a:buFont typeface="Arial" charset="0"/>
                <a:buChar char="▪"/>
                <a:defRPr baseline="0">
                  <a:latin typeface="+mn-lt"/>
                </a:defRPr>
              </a:lvl2pPr>
              <a:lvl3pPr marL="457200" indent="-261938" defTabSz="895350" eaLnBrk="1" hangingPunct="1">
                <a:buClr>
                  <a:schemeClr val="tx2"/>
                </a:buClr>
                <a:buSzPct val="120000"/>
                <a:buFont typeface="Arial" charset="0"/>
                <a:buChar char="–"/>
                <a:defRPr baseline="0">
                  <a:latin typeface="+mn-lt"/>
                </a:defRPr>
              </a:lvl3pPr>
              <a:lvl4pPr marL="614363" indent="-155575" defTabSz="895350" eaLnBrk="1" hangingPunct="1">
                <a:buClr>
                  <a:schemeClr val="tx2"/>
                </a:buClr>
                <a:buSzPct val="120000"/>
                <a:buFont typeface="Arial" charset="0"/>
                <a:buChar char="▫"/>
                <a:defRPr baseline="0">
                  <a:latin typeface="+mn-lt"/>
                </a:defRPr>
              </a:lvl4pPr>
              <a:lvl5pPr marL="749808"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buClr>
                  <a:srgbClr val="002960"/>
                </a:buClr>
              </a:pPr>
              <a:r>
                <a:rPr lang="en-US" sz="1200" b="1" dirty="0">
                  <a:solidFill>
                    <a:srgbClr val="002960"/>
                  </a:solidFill>
                </a:rPr>
                <a:t>Common strengths</a:t>
              </a:r>
            </a:p>
            <a:p>
              <a:pPr>
                <a:buClr>
                  <a:srgbClr val="002960"/>
                </a:buClr>
              </a:pPr>
              <a:r>
                <a:rPr lang="en-US" sz="1200" dirty="0">
                  <a:solidFill>
                    <a:srgbClr val="000000"/>
                  </a:solidFill>
                </a:rPr>
                <a:t>Identify the </a:t>
              </a:r>
              <a:r>
                <a:rPr lang="en-US" sz="1200" b="1" dirty="0">
                  <a:solidFill>
                    <a:srgbClr val="002960"/>
                  </a:solidFill>
                </a:rPr>
                <a:t>hallmarks of the merger</a:t>
              </a:r>
            </a:p>
          </p:txBody>
        </p:sp>
        <p:grpSp>
          <p:nvGrpSpPr>
            <p:cNvPr id="26" name="Group 25"/>
            <p:cNvGrpSpPr/>
            <p:nvPr/>
          </p:nvGrpSpPr>
          <p:grpSpPr>
            <a:xfrm>
              <a:off x="3315477" y="3008598"/>
              <a:ext cx="336393" cy="324133"/>
              <a:chOff x="1494395" y="1474458"/>
              <a:chExt cx="1127125" cy="1127125"/>
            </a:xfrm>
          </p:grpSpPr>
          <p:sp>
            <p:nvSpPr>
              <p:cNvPr id="27" name="Freeform 27"/>
              <p:cNvSpPr>
                <a:spLocks/>
              </p:cNvSpPr>
              <p:nvPr/>
            </p:nvSpPr>
            <p:spPr bwMode="auto">
              <a:xfrm>
                <a:off x="1494395" y="1474458"/>
                <a:ext cx="1127125" cy="1127125"/>
              </a:xfrm>
              <a:custGeom>
                <a:avLst/>
                <a:gdLst>
                  <a:gd name="T0" fmla="*/ 710 w 710"/>
                  <a:gd name="T1" fmla="*/ 356 h 710"/>
                  <a:gd name="T2" fmla="*/ 704 w 710"/>
                  <a:gd name="T3" fmla="*/ 426 h 710"/>
                  <a:gd name="T4" fmla="*/ 682 w 710"/>
                  <a:gd name="T5" fmla="*/ 494 h 710"/>
                  <a:gd name="T6" fmla="*/ 650 w 710"/>
                  <a:gd name="T7" fmla="*/ 554 h 710"/>
                  <a:gd name="T8" fmla="*/ 606 w 710"/>
                  <a:gd name="T9" fmla="*/ 606 h 710"/>
                  <a:gd name="T10" fmla="*/ 554 w 710"/>
                  <a:gd name="T11" fmla="*/ 650 h 710"/>
                  <a:gd name="T12" fmla="*/ 494 w 710"/>
                  <a:gd name="T13" fmla="*/ 682 h 710"/>
                  <a:gd name="T14" fmla="*/ 426 w 710"/>
                  <a:gd name="T15" fmla="*/ 704 h 710"/>
                  <a:gd name="T16" fmla="*/ 354 w 710"/>
                  <a:gd name="T17" fmla="*/ 710 h 710"/>
                  <a:gd name="T18" fmla="*/ 318 w 710"/>
                  <a:gd name="T19" fmla="*/ 708 h 710"/>
                  <a:gd name="T20" fmla="*/ 250 w 710"/>
                  <a:gd name="T21" fmla="*/ 694 h 710"/>
                  <a:gd name="T22" fmla="*/ 186 w 710"/>
                  <a:gd name="T23" fmla="*/ 668 h 710"/>
                  <a:gd name="T24" fmla="*/ 128 w 710"/>
                  <a:gd name="T25" fmla="*/ 630 h 710"/>
                  <a:gd name="T26" fmla="*/ 80 w 710"/>
                  <a:gd name="T27" fmla="*/ 582 h 710"/>
                  <a:gd name="T28" fmla="*/ 42 w 710"/>
                  <a:gd name="T29" fmla="*/ 524 h 710"/>
                  <a:gd name="T30" fmla="*/ 16 w 710"/>
                  <a:gd name="T31" fmla="*/ 460 h 710"/>
                  <a:gd name="T32" fmla="*/ 2 w 710"/>
                  <a:gd name="T33" fmla="*/ 392 h 710"/>
                  <a:gd name="T34" fmla="*/ 0 w 710"/>
                  <a:gd name="T35" fmla="*/ 356 h 710"/>
                  <a:gd name="T36" fmla="*/ 6 w 710"/>
                  <a:gd name="T37" fmla="*/ 284 h 710"/>
                  <a:gd name="T38" fmla="*/ 28 w 710"/>
                  <a:gd name="T39" fmla="*/ 216 h 710"/>
                  <a:gd name="T40" fmla="*/ 60 w 710"/>
                  <a:gd name="T41" fmla="*/ 156 h 710"/>
                  <a:gd name="T42" fmla="*/ 104 w 710"/>
                  <a:gd name="T43" fmla="*/ 104 h 710"/>
                  <a:gd name="T44" fmla="*/ 156 w 710"/>
                  <a:gd name="T45" fmla="*/ 60 h 710"/>
                  <a:gd name="T46" fmla="*/ 216 w 710"/>
                  <a:gd name="T47" fmla="*/ 28 h 710"/>
                  <a:gd name="T48" fmla="*/ 284 w 710"/>
                  <a:gd name="T49" fmla="*/ 6 h 710"/>
                  <a:gd name="T50" fmla="*/ 354 w 710"/>
                  <a:gd name="T51" fmla="*/ 0 h 710"/>
                  <a:gd name="T52" fmla="*/ 392 w 710"/>
                  <a:gd name="T53" fmla="*/ 2 h 710"/>
                  <a:gd name="T54" fmla="*/ 460 w 710"/>
                  <a:gd name="T55" fmla="*/ 16 h 710"/>
                  <a:gd name="T56" fmla="*/ 524 w 710"/>
                  <a:gd name="T57" fmla="*/ 42 h 710"/>
                  <a:gd name="T58" fmla="*/ 582 w 710"/>
                  <a:gd name="T59" fmla="*/ 80 h 710"/>
                  <a:gd name="T60" fmla="*/ 630 w 710"/>
                  <a:gd name="T61" fmla="*/ 128 h 710"/>
                  <a:gd name="T62" fmla="*/ 668 w 710"/>
                  <a:gd name="T63" fmla="*/ 186 h 710"/>
                  <a:gd name="T64" fmla="*/ 694 w 710"/>
                  <a:gd name="T65" fmla="*/ 250 h 710"/>
                  <a:gd name="T66" fmla="*/ 708 w 710"/>
                  <a:gd name="T67" fmla="*/ 318 h 710"/>
                  <a:gd name="T68" fmla="*/ 710 w 710"/>
                  <a:gd name="T69" fmla="*/ 356 h 7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10" h="710">
                    <a:moveTo>
                      <a:pt x="710" y="356"/>
                    </a:moveTo>
                    <a:lnTo>
                      <a:pt x="710" y="356"/>
                    </a:lnTo>
                    <a:lnTo>
                      <a:pt x="708" y="392"/>
                    </a:lnTo>
                    <a:lnTo>
                      <a:pt x="704" y="426"/>
                    </a:lnTo>
                    <a:lnTo>
                      <a:pt x="694" y="460"/>
                    </a:lnTo>
                    <a:lnTo>
                      <a:pt x="682" y="494"/>
                    </a:lnTo>
                    <a:lnTo>
                      <a:pt x="668" y="524"/>
                    </a:lnTo>
                    <a:lnTo>
                      <a:pt x="650" y="554"/>
                    </a:lnTo>
                    <a:lnTo>
                      <a:pt x="630" y="582"/>
                    </a:lnTo>
                    <a:lnTo>
                      <a:pt x="606" y="606"/>
                    </a:lnTo>
                    <a:lnTo>
                      <a:pt x="582" y="630"/>
                    </a:lnTo>
                    <a:lnTo>
                      <a:pt x="554" y="650"/>
                    </a:lnTo>
                    <a:lnTo>
                      <a:pt x="524" y="668"/>
                    </a:lnTo>
                    <a:lnTo>
                      <a:pt x="494" y="682"/>
                    </a:lnTo>
                    <a:lnTo>
                      <a:pt x="460" y="694"/>
                    </a:lnTo>
                    <a:lnTo>
                      <a:pt x="426" y="704"/>
                    </a:lnTo>
                    <a:lnTo>
                      <a:pt x="392" y="708"/>
                    </a:lnTo>
                    <a:lnTo>
                      <a:pt x="354" y="710"/>
                    </a:lnTo>
                    <a:lnTo>
                      <a:pt x="354" y="710"/>
                    </a:lnTo>
                    <a:lnTo>
                      <a:pt x="318" y="708"/>
                    </a:lnTo>
                    <a:lnTo>
                      <a:pt x="284" y="704"/>
                    </a:lnTo>
                    <a:lnTo>
                      <a:pt x="250" y="694"/>
                    </a:lnTo>
                    <a:lnTo>
                      <a:pt x="216" y="682"/>
                    </a:lnTo>
                    <a:lnTo>
                      <a:pt x="186" y="668"/>
                    </a:lnTo>
                    <a:lnTo>
                      <a:pt x="156" y="650"/>
                    </a:lnTo>
                    <a:lnTo>
                      <a:pt x="128" y="630"/>
                    </a:lnTo>
                    <a:lnTo>
                      <a:pt x="104" y="606"/>
                    </a:lnTo>
                    <a:lnTo>
                      <a:pt x="80" y="582"/>
                    </a:lnTo>
                    <a:lnTo>
                      <a:pt x="60" y="554"/>
                    </a:lnTo>
                    <a:lnTo>
                      <a:pt x="42" y="524"/>
                    </a:lnTo>
                    <a:lnTo>
                      <a:pt x="28" y="494"/>
                    </a:lnTo>
                    <a:lnTo>
                      <a:pt x="16" y="460"/>
                    </a:lnTo>
                    <a:lnTo>
                      <a:pt x="6" y="426"/>
                    </a:lnTo>
                    <a:lnTo>
                      <a:pt x="2" y="392"/>
                    </a:lnTo>
                    <a:lnTo>
                      <a:pt x="0" y="356"/>
                    </a:lnTo>
                    <a:lnTo>
                      <a:pt x="0" y="356"/>
                    </a:lnTo>
                    <a:lnTo>
                      <a:pt x="2" y="318"/>
                    </a:lnTo>
                    <a:lnTo>
                      <a:pt x="6" y="284"/>
                    </a:lnTo>
                    <a:lnTo>
                      <a:pt x="16" y="250"/>
                    </a:lnTo>
                    <a:lnTo>
                      <a:pt x="28" y="216"/>
                    </a:lnTo>
                    <a:lnTo>
                      <a:pt x="42" y="186"/>
                    </a:lnTo>
                    <a:lnTo>
                      <a:pt x="60" y="156"/>
                    </a:lnTo>
                    <a:lnTo>
                      <a:pt x="80" y="128"/>
                    </a:lnTo>
                    <a:lnTo>
                      <a:pt x="104" y="104"/>
                    </a:lnTo>
                    <a:lnTo>
                      <a:pt x="128" y="80"/>
                    </a:lnTo>
                    <a:lnTo>
                      <a:pt x="156" y="60"/>
                    </a:lnTo>
                    <a:lnTo>
                      <a:pt x="186" y="42"/>
                    </a:lnTo>
                    <a:lnTo>
                      <a:pt x="216" y="28"/>
                    </a:lnTo>
                    <a:lnTo>
                      <a:pt x="250" y="16"/>
                    </a:lnTo>
                    <a:lnTo>
                      <a:pt x="284" y="6"/>
                    </a:lnTo>
                    <a:lnTo>
                      <a:pt x="318" y="2"/>
                    </a:lnTo>
                    <a:lnTo>
                      <a:pt x="354" y="0"/>
                    </a:lnTo>
                    <a:lnTo>
                      <a:pt x="354" y="0"/>
                    </a:lnTo>
                    <a:lnTo>
                      <a:pt x="392" y="2"/>
                    </a:lnTo>
                    <a:lnTo>
                      <a:pt x="426" y="6"/>
                    </a:lnTo>
                    <a:lnTo>
                      <a:pt x="460" y="16"/>
                    </a:lnTo>
                    <a:lnTo>
                      <a:pt x="494" y="28"/>
                    </a:lnTo>
                    <a:lnTo>
                      <a:pt x="524" y="42"/>
                    </a:lnTo>
                    <a:lnTo>
                      <a:pt x="554" y="60"/>
                    </a:lnTo>
                    <a:lnTo>
                      <a:pt x="582" y="80"/>
                    </a:lnTo>
                    <a:lnTo>
                      <a:pt x="606" y="104"/>
                    </a:lnTo>
                    <a:lnTo>
                      <a:pt x="630" y="128"/>
                    </a:lnTo>
                    <a:lnTo>
                      <a:pt x="650" y="156"/>
                    </a:lnTo>
                    <a:lnTo>
                      <a:pt x="668" y="186"/>
                    </a:lnTo>
                    <a:lnTo>
                      <a:pt x="682" y="216"/>
                    </a:lnTo>
                    <a:lnTo>
                      <a:pt x="694" y="250"/>
                    </a:lnTo>
                    <a:lnTo>
                      <a:pt x="704" y="284"/>
                    </a:lnTo>
                    <a:lnTo>
                      <a:pt x="708" y="318"/>
                    </a:lnTo>
                    <a:lnTo>
                      <a:pt x="710" y="356"/>
                    </a:lnTo>
                    <a:lnTo>
                      <a:pt x="710" y="356"/>
                    </a:lnTo>
                    <a:close/>
                  </a:path>
                </a:pathLst>
              </a:custGeom>
              <a:solidFill>
                <a:schemeClr val="tx2"/>
              </a:solidFill>
              <a:ln>
                <a:noFill/>
              </a:ln>
            </p:spPr>
            <p:txBody>
              <a:bodyPr vert="horz" wrap="square" lIns="91410" tIns="45705" rIns="91410" bIns="45705" numCol="1" anchor="t" anchorCtr="0" compatLnSpc="1">
                <a:prstTxWarp prst="textNoShape">
                  <a:avLst/>
                </a:prstTxWarp>
              </a:bodyPr>
              <a:lstStyle/>
              <a:p>
                <a:endParaRPr lang="en-US" sz="1050" dirty="0">
                  <a:solidFill>
                    <a:srgbClr val="000000"/>
                  </a:solidFill>
                </a:endParaRPr>
              </a:p>
            </p:txBody>
          </p:sp>
          <p:grpSp>
            <p:nvGrpSpPr>
              <p:cNvPr id="28" name="Group 27"/>
              <p:cNvGrpSpPr/>
              <p:nvPr/>
            </p:nvGrpSpPr>
            <p:grpSpPr>
              <a:xfrm>
                <a:off x="1693777" y="1668111"/>
                <a:ext cx="829532" cy="730288"/>
                <a:chOff x="3554413" y="5257800"/>
                <a:chExt cx="1406525" cy="1238250"/>
              </a:xfrm>
              <a:solidFill>
                <a:schemeClr val="bg1"/>
              </a:solidFill>
            </p:grpSpPr>
            <p:sp>
              <p:nvSpPr>
                <p:cNvPr id="31" name="Freeform 43"/>
                <p:cNvSpPr>
                  <a:spLocks/>
                </p:cNvSpPr>
                <p:nvPr/>
              </p:nvSpPr>
              <p:spPr bwMode="auto">
                <a:xfrm>
                  <a:off x="3554413" y="5257800"/>
                  <a:ext cx="1238250" cy="1238250"/>
                </a:xfrm>
                <a:custGeom>
                  <a:avLst/>
                  <a:gdLst>
                    <a:gd name="T0" fmla="*/ 702 w 780"/>
                    <a:gd name="T1" fmla="*/ 390 h 780"/>
                    <a:gd name="T2" fmla="*/ 700 w 780"/>
                    <a:gd name="T3" fmla="*/ 422 h 780"/>
                    <a:gd name="T4" fmla="*/ 688 w 780"/>
                    <a:gd name="T5" fmla="*/ 482 h 780"/>
                    <a:gd name="T6" fmla="*/ 664 w 780"/>
                    <a:gd name="T7" fmla="*/ 538 h 780"/>
                    <a:gd name="T8" fmla="*/ 630 w 780"/>
                    <a:gd name="T9" fmla="*/ 586 h 780"/>
                    <a:gd name="T10" fmla="*/ 588 w 780"/>
                    <a:gd name="T11" fmla="*/ 630 h 780"/>
                    <a:gd name="T12" fmla="*/ 538 w 780"/>
                    <a:gd name="T13" fmla="*/ 662 h 780"/>
                    <a:gd name="T14" fmla="*/ 482 w 780"/>
                    <a:gd name="T15" fmla="*/ 686 h 780"/>
                    <a:gd name="T16" fmla="*/ 422 w 780"/>
                    <a:gd name="T17" fmla="*/ 698 h 780"/>
                    <a:gd name="T18" fmla="*/ 390 w 780"/>
                    <a:gd name="T19" fmla="*/ 700 h 780"/>
                    <a:gd name="T20" fmla="*/ 328 w 780"/>
                    <a:gd name="T21" fmla="*/ 694 h 780"/>
                    <a:gd name="T22" fmla="*/ 270 w 780"/>
                    <a:gd name="T23" fmla="*/ 676 h 780"/>
                    <a:gd name="T24" fmla="*/ 216 w 780"/>
                    <a:gd name="T25" fmla="*/ 646 h 780"/>
                    <a:gd name="T26" fmla="*/ 170 w 780"/>
                    <a:gd name="T27" fmla="*/ 610 h 780"/>
                    <a:gd name="T28" fmla="*/ 132 w 780"/>
                    <a:gd name="T29" fmla="*/ 564 h 780"/>
                    <a:gd name="T30" fmla="*/ 104 w 780"/>
                    <a:gd name="T31" fmla="*/ 510 h 780"/>
                    <a:gd name="T32" fmla="*/ 86 w 780"/>
                    <a:gd name="T33" fmla="*/ 452 h 780"/>
                    <a:gd name="T34" fmla="*/ 80 w 780"/>
                    <a:gd name="T35" fmla="*/ 390 h 780"/>
                    <a:gd name="T36" fmla="*/ 82 w 780"/>
                    <a:gd name="T37" fmla="*/ 358 h 780"/>
                    <a:gd name="T38" fmla="*/ 94 w 780"/>
                    <a:gd name="T39" fmla="*/ 298 h 780"/>
                    <a:gd name="T40" fmla="*/ 118 w 780"/>
                    <a:gd name="T41" fmla="*/ 242 h 780"/>
                    <a:gd name="T42" fmla="*/ 150 w 780"/>
                    <a:gd name="T43" fmla="*/ 192 h 780"/>
                    <a:gd name="T44" fmla="*/ 192 w 780"/>
                    <a:gd name="T45" fmla="*/ 150 h 780"/>
                    <a:gd name="T46" fmla="*/ 242 w 780"/>
                    <a:gd name="T47" fmla="*/ 116 h 780"/>
                    <a:gd name="T48" fmla="*/ 298 w 780"/>
                    <a:gd name="T49" fmla="*/ 92 h 780"/>
                    <a:gd name="T50" fmla="*/ 358 w 780"/>
                    <a:gd name="T51" fmla="*/ 80 h 780"/>
                    <a:gd name="T52" fmla="*/ 390 w 780"/>
                    <a:gd name="T53" fmla="*/ 78 h 780"/>
                    <a:gd name="T54" fmla="*/ 444 w 780"/>
                    <a:gd name="T55" fmla="*/ 84 h 780"/>
                    <a:gd name="T56" fmla="*/ 494 w 780"/>
                    <a:gd name="T57" fmla="*/ 96 h 780"/>
                    <a:gd name="T58" fmla="*/ 540 w 780"/>
                    <a:gd name="T59" fmla="*/ 118 h 780"/>
                    <a:gd name="T60" fmla="*/ 582 w 780"/>
                    <a:gd name="T61" fmla="*/ 146 h 780"/>
                    <a:gd name="T62" fmla="*/ 654 w 780"/>
                    <a:gd name="T63" fmla="*/ 102 h 780"/>
                    <a:gd name="T64" fmla="*/ 628 w 780"/>
                    <a:gd name="T65" fmla="*/ 80 h 780"/>
                    <a:gd name="T66" fmla="*/ 568 w 780"/>
                    <a:gd name="T67" fmla="*/ 42 h 780"/>
                    <a:gd name="T68" fmla="*/ 500 w 780"/>
                    <a:gd name="T69" fmla="*/ 16 h 780"/>
                    <a:gd name="T70" fmla="*/ 428 w 780"/>
                    <a:gd name="T71" fmla="*/ 2 h 780"/>
                    <a:gd name="T72" fmla="*/ 390 w 780"/>
                    <a:gd name="T73" fmla="*/ 0 h 780"/>
                    <a:gd name="T74" fmla="*/ 312 w 780"/>
                    <a:gd name="T75" fmla="*/ 8 h 780"/>
                    <a:gd name="T76" fmla="*/ 238 w 780"/>
                    <a:gd name="T77" fmla="*/ 30 h 780"/>
                    <a:gd name="T78" fmla="*/ 172 w 780"/>
                    <a:gd name="T79" fmla="*/ 66 h 780"/>
                    <a:gd name="T80" fmla="*/ 114 w 780"/>
                    <a:gd name="T81" fmla="*/ 114 h 780"/>
                    <a:gd name="T82" fmla="*/ 68 w 780"/>
                    <a:gd name="T83" fmla="*/ 172 h 780"/>
                    <a:gd name="T84" fmla="*/ 32 w 780"/>
                    <a:gd name="T85" fmla="*/ 238 h 780"/>
                    <a:gd name="T86" fmla="*/ 8 w 780"/>
                    <a:gd name="T87" fmla="*/ 310 h 780"/>
                    <a:gd name="T88" fmla="*/ 0 w 780"/>
                    <a:gd name="T89" fmla="*/ 390 h 780"/>
                    <a:gd name="T90" fmla="*/ 2 w 780"/>
                    <a:gd name="T91" fmla="*/ 430 h 780"/>
                    <a:gd name="T92" fmla="*/ 18 w 780"/>
                    <a:gd name="T93" fmla="*/ 506 h 780"/>
                    <a:gd name="T94" fmla="*/ 48 w 780"/>
                    <a:gd name="T95" fmla="*/ 576 h 780"/>
                    <a:gd name="T96" fmla="*/ 90 w 780"/>
                    <a:gd name="T97" fmla="*/ 638 h 780"/>
                    <a:gd name="T98" fmla="*/ 142 w 780"/>
                    <a:gd name="T99" fmla="*/ 690 h 780"/>
                    <a:gd name="T100" fmla="*/ 204 w 780"/>
                    <a:gd name="T101" fmla="*/ 732 h 780"/>
                    <a:gd name="T102" fmla="*/ 274 w 780"/>
                    <a:gd name="T103" fmla="*/ 762 h 780"/>
                    <a:gd name="T104" fmla="*/ 350 w 780"/>
                    <a:gd name="T105" fmla="*/ 778 h 780"/>
                    <a:gd name="T106" fmla="*/ 390 w 780"/>
                    <a:gd name="T107" fmla="*/ 780 h 780"/>
                    <a:gd name="T108" fmla="*/ 470 w 780"/>
                    <a:gd name="T109" fmla="*/ 772 h 780"/>
                    <a:gd name="T110" fmla="*/ 542 w 780"/>
                    <a:gd name="T111" fmla="*/ 748 h 780"/>
                    <a:gd name="T112" fmla="*/ 608 w 780"/>
                    <a:gd name="T113" fmla="*/ 712 h 780"/>
                    <a:gd name="T114" fmla="*/ 666 w 780"/>
                    <a:gd name="T115" fmla="*/ 666 h 780"/>
                    <a:gd name="T116" fmla="*/ 714 w 780"/>
                    <a:gd name="T117" fmla="*/ 608 h 780"/>
                    <a:gd name="T118" fmla="*/ 750 w 780"/>
                    <a:gd name="T119" fmla="*/ 542 h 780"/>
                    <a:gd name="T120" fmla="*/ 772 w 780"/>
                    <a:gd name="T121" fmla="*/ 468 h 780"/>
                    <a:gd name="T122" fmla="*/ 780 w 780"/>
                    <a:gd name="T123" fmla="*/ 390 h 780"/>
                    <a:gd name="T124" fmla="*/ 780 w 780"/>
                    <a:gd name="T125" fmla="*/ 360 h 7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780" h="780">
                      <a:moveTo>
                        <a:pt x="712" y="392"/>
                      </a:moveTo>
                      <a:lnTo>
                        <a:pt x="702" y="390"/>
                      </a:lnTo>
                      <a:lnTo>
                        <a:pt x="702" y="390"/>
                      </a:lnTo>
                      <a:lnTo>
                        <a:pt x="700" y="422"/>
                      </a:lnTo>
                      <a:lnTo>
                        <a:pt x="694" y="452"/>
                      </a:lnTo>
                      <a:lnTo>
                        <a:pt x="688" y="482"/>
                      </a:lnTo>
                      <a:lnTo>
                        <a:pt x="676" y="510"/>
                      </a:lnTo>
                      <a:lnTo>
                        <a:pt x="664" y="538"/>
                      </a:lnTo>
                      <a:lnTo>
                        <a:pt x="648" y="564"/>
                      </a:lnTo>
                      <a:lnTo>
                        <a:pt x="630" y="586"/>
                      </a:lnTo>
                      <a:lnTo>
                        <a:pt x="610" y="610"/>
                      </a:lnTo>
                      <a:lnTo>
                        <a:pt x="588" y="630"/>
                      </a:lnTo>
                      <a:lnTo>
                        <a:pt x="564" y="646"/>
                      </a:lnTo>
                      <a:lnTo>
                        <a:pt x="538" y="662"/>
                      </a:lnTo>
                      <a:lnTo>
                        <a:pt x="512" y="676"/>
                      </a:lnTo>
                      <a:lnTo>
                        <a:pt x="482" y="686"/>
                      </a:lnTo>
                      <a:lnTo>
                        <a:pt x="454" y="694"/>
                      </a:lnTo>
                      <a:lnTo>
                        <a:pt x="422" y="698"/>
                      </a:lnTo>
                      <a:lnTo>
                        <a:pt x="390" y="700"/>
                      </a:lnTo>
                      <a:lnTo>
                        <a:pt x="390" y="700"/>
                      </a:lnTo>
                      <a:lnTo>
                        <a:pt x="358" y="698"/>
                      </a:lnTo>
                      <a:lnTo>
                        <a:pt x="328" y="694"/>
                      </a:lnTo>
                      <a:lnTo>
                        <a:pt x="298" y="686"/>
                      </a:lnTo>
                      <a:lnTo>
                        <a:pt x="270" y="676"/>
                      </a:lnTo>
                      <a:lnTo>
                        <a:pt x="242" y="662"/>
                      </a:lnTo>
                      <a:lnTo>
                        <a:pt x="216" y="646"/>
                      </a:lnTo>
                      <a:lnTo>
                        <a:pt x="192" y="630"/>
                      </a:lnTo>
                      <a:lnTo>
                        <a:pt x="170" y="610"/>
                      </a:lnTo>
                      <a:lnTo>
                        <a:pt x="150" y="586"/>
                      </a:lnTo>
                      <a:lnTo>
                        <a:pt x="132" y="564"/>
                      </a:lnTo>
                      <a:lnTo>
                        <a:pt x="118" y="538"/>
                      </a:lnTo>
                      <a:lnTo>
                        <a:pt x="104" y="510"/>
                      </a:lnTo>
                      <a:lnTo>
                        <a:pt x="94" y="482"/>
                      </a:lnTo>
                      <a:lnTo>
                        <a:pt x="86" y="452"/>
                      </a:lnTo>
                      <a:lnTo>
                        <a:pt x="82" y="422"/>
                      </a:lnTo>
                      <a:lnTo>
                        <a:pt x="80" y="390"/>
                      </a:lnTo>
                      <a:lnTo>
                        <a:pt x="80" y="390"/>
                      </a:lnTo>
                      <a:lnTo>
                        <a:pt x="82" y="358"/>
                      </a:lnTo>
                      <a:lnTo>
                        <a:pt x="86" y="326"/>
                      </a:lnTo>
                      <a:lnTo>
                        <a:pt x="94" y="298"/>
                      </a:lnTo>
                      <a:lnTo>
                        <a:pt x="104" y="268"/>
                      </a:lnTo>
                      <a:lnTo>
                        <a:pt x="118" y="242"/>
                      </a:lnTo>
                      <a:lnTo>
                        <a:pt x="132" y="216"/>
                      </a:lnTo>
                      <a:lnTo>
                        <a:pt x="150" y="192"/>
                      </a:lnTo>
                      <a:lnTo>
                        <a:pt x="170" y="170"/>
                      </a:lnTo>
                      <a:lnTo>
                        <a:pt x="192" y="150"/>
                      </a:lnTo>
                      <a:lnTo>
                        <a:pt x="216" y="132"/>
                      </a:lnTo>
                      <a:lnTo>
                        <a:pt x="242" y="116"/>
                      </a:lnTo>
                      <a:lnTo>
                        <a:pt x="270" y="104"/>
                      </a:lnTo>
                      <a:lnTo>
                        <a:pt x="298" y="92"/>
                      </a:lnTo>
                      <a:lnTo>
                        <a:pt x="328" y="86"/>
                      </a:lnTo>
                      <a:lnTo>
                        <a:pt x="358" y="80"/>
                      </a:lnTo>
                      <a:lnTo>
                        <a:pt x="390" y="78"/>
                      </a:lnTo>
                      <a:lnTo>
                        <a:pt x="390" y="78"/>
                      </a:lnTo>
                      <a:lnTo>
                        <a:pt x="418" y="80"/>
                      </a:lnTo>
                      <a:lnTo>
                        <a:pt x="444" y="84"/>
                      </a:lnTo>
                      <a:lnTo>
                        <a:pt x="470" y="90"/>
                      </a:lnTo>
                      <a:lnTo>
                        <a:pt x="494" y="96"/>
                      </a:lnTo>
                      <a:lnTo>
                        <a:pt x="518" y="106"/>
                      </a:lnTo>
                      <a:lnTo>
                        <a:pt x="540" y="118"/>
                      </a:lnTo>
                      <a:lnTo>
                        <a:pt x="562" y="130"/>
                      </a:lnTo>
                      <a:lnTo>
                        <a:pt x="582" y="146"/>
                      </a:lnTo>
                      <a:lnTo>
                        <a:pt x="588" y="134"/>
                      </a:lnTo>
                      <a:lnTo>
                        <a:pt x="654" y="102"/>
                      </a:lnTo>
                      <a:lnTo>
                        <a:pt x="654" y="102"/>
                      </a:lnTo>
                      <a:lnTo>
                        <a:pt x="628" y="80"/>
                      </a:lnTo>
                      <a:lnTo>
                        <a:pt x="598" y="60"/>
                      </a:lnTo>
                      <a:lnTo>
                        <a:pt x="568" y="42"/>
                      </a:lnTo>
                      <a:lnTo>
                        <a:pt x="534" y="28"/>
                      </a:lnTo>
                      <a:lnTo>
                        <a:pt x="500" y="16"/>
                      </a:lnTo>
                      <a:lnTo>
                        <a:pt x="464" y="6"/>
                      </a:lnTo>
                      <a:lnTo>
                        <a:pt x="428" y="2"/>
                      </a:lnTo>
                      <a:lnTo>
                        <a:pt x="390" y="0"/>
                      </a:lnTo>
                      <a:lnTo>
                        <a:pt x="390" y="0"/>
                      </a:lnTo>
                      <a:lnTo>
                        <a:pt x="350" y="2"/>
                      </a:lnTo>
                      <a:lnTo>
                        <a:pt x="312" y="8"/>
                      </a:lnTo>
                      <a:lnTo>
                        <a:pt x="274" y="18"/>
                      </a:lnTo>
                      <a:lnTo>
                        <a:pt x="238" y="30"/>
                      </a:lnTo>
                      <a:lnTo>
                        <a:pt x="204" y="46"/>
                      </a:lnTo>
                      <a:lnTo>
                        <a:pt x="172" y="66"/>
                      </a:lnTo>
                      <a:lnTo>
                        <a:pt x="142" y="88"/>
                      </a:lnTo>
                      <a:lnTo>
                        <a:pt x="114" y="114"/>
                      </a:lnTo>
                      <a:lnTo>
                        <a:pt x="90" y="142"/>
                      </a:lnTo>
                      <a:lnTo>
                        <a:pt x="68" y="172"/>
                      </a:lnTo>
                      <a:lnTo>
                        <a:pt x="48" y="204"/>
                      </a:lnTo>
                      <a:lnTo>
                        <a:pt x="32" y="238"/>
                      </a:lnTo>
                      <a:lnTo>
                        <a:pt x="18" y="274"/>
                      </a:lnTo>
                      <a:lnTo>
                        <a:pt x="8" y="310"/>
                      </a:lnTo>
                      <a:lnTo>
                        <a:pt x="2" y="350"/>
                      </a:lnTo>
                      <a:lnTo>
                        <a:pt x="0" y="390"/>
                      </a:lnTo>
                      <a:lnTo>
                        <a:pt x="0" y="390"/>
                      </a:lnTo>
                      <a:lnTo>
                        <a:pt x="2" y="430"/>
                      </a:lnTo>
                      <a:lnTo>
                        <a:pt x="8" y="468"/>
                      </a:lnTo>
                      <a:lnTo>
                        <a:pt x="18" y="506"/>
                      </a:lnTo>
                      <a:lnTo>
                        <a:pt x="32" y="542"/>
                      </a:lnTo>
                      <a:lnTo>
                        <a:pt x="48" y="576"/>
                      </a:lnTo>
                      <a:lnTo>
                        <a:pt x="68" y="608"/>
                      </a:lnTo>
                      <a:lnTo>
                        <a:pt x="90" y="638"/>
                      </a:lnTo>
                      <a:lnTo>
                        <a:pt x="114" y="666"/>
                      </a:lnTo>
                      <a:lnTo>
                        <a:pt x="142" y="690"/>
                      </a:lnTo>
                      <a:lnTo>
                        <a:pt x="172" y="712"/>
                      </a:lnTo>
                      <a:lnTo>
                        <a:pt x="204" y="732"/>
                      </a:lnTo>
                      <a:lnTo>
                        <a:pt x="238" y="748"/>
                      </a:lnTo>
                      <a:lnTo>
                        <a:pt x="274" y="762"/>
                      </a:lnTo>
                      <a:lnTo>
                        <a:pt x="312" y="772"/>
                      </a:lnTo>
                      <a:lnTo>
                        <a:pt x="350" y="778"/>
                      </a:lnTo>
                      <a:lnTo>
                        <a:pt x="390" y="780"/>
                      </a:lnTo>
                      <a:lnTo>
                        <a:pt x="390" y="780"/>
                      </a:lnTo>
                      <a:lnTo>
                        <a:pt x="430" y="778"/>
                      </a:lnTo>
                      <a:lnTo>
                        <a:pt x="470" y="772"/>
                      </a:lnTo>
                      <a:lnTo>
                        <a:pt x="506" y="762"/>
                      </a:lnTo>
                      <a:lnTo>
                        <a:pt x="542" y="748"/>
                      </a:lnTo>
                      <a:lnTo>
                        <a:pt x="576" y="732"/>
                      </a:lnTo>
                      <a:lnTo>
                        <a:pt x="608" y="712"/>
                      </a:lnTo>
                      <a:lnTo>
                        <a:pt x="638" y="690"/>
                      </a:lnTo>
                      <a:lnTo>
                        <a:pt x="666" y="666"/>
                      </a:lnTo>
                      <a:lnTo>
                        <a:pt x="692" y="638"/>
                      </a:lnTo>
                      <a:lnTo>
                        <a:pt x="714" y="608"/>
                      </a:lnTo>
                      <a:lnTo>
                        <a:pt x="734" y="576"/>
                      </a:lnTo>
                      <a:lnTo>
                        <a:pt x="750" y="542"/>
                      </a:lnTo>
                      <a:lnTo>
                        <a:pt x="762" y="506"/>
                      </a:lnTo>
                      <a:lnTo>
                        <a:pt x="772" y="468"/>
                      </a:lnTo>
                      <a:lnTo>
                        <a:pt x="778" y="430"/>
                      </a:lnTo>
                      <a:lnTo>
                        <a:pt x="780" y="390"/>
                      </a:lnTo>
                      <a:lnTo>
                        <a:pt x="780" y="390"/>
                      </a:lnTo>
                      <a:lnTo>
                        <a:pt x="780" y="360"/>
                      </a:lnTo>
                      <a:lnTo>
                        <a:pt x="712" y="3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0" tIns="45705" rIns="91410" bIns="45705" numCol="1" anchor="t" anchorCtr="0" compatLnSpc="1">
                  <a:prstTxWarp prst="textNoShape">
                    <a:avLst/>
                  </a:prstTxWarp>
                </a:bodyPr>
                <a:lstStyle/>
                <a:p>
                  <a:endParaRPr lang="en-US" sz="1050" dirty="0">
                    <a:solidFill>
                      <a:srgbClr val="000000"/>
                    </a:solidFill>
                  </a:endParaRPr>
                </a:p>
              </p:txBody>
            </p:sp>
            <p:sp>
              <p:nvSpPr>
                <p:cNvPr id="32" name="Freeform 44"/>
                <p:cNvSpPr>
                  <a:spLocks/>
                </p:cNvSpPr>
                <p:nvPr/>
              </p:nvSpPr>
              <p:spPr bwMode="auto">
                <a:xfrm>
                  <a:off x="3786188" y="5486400"/>
                  <a:ext cx="777875" cy="777875"/>
                </a:xfrm>
                <a:custGeom>
                  <a:avLst/>
                  <a:gdLst>
                    <a:gd name="T0" fmla="*/ 410 w 490"/>
                    <a:gd name="T1" fmla="*/ 240 h 490"/>
                    <a:gd name="T2" fmla="*/ 410 w 490"/>
                    <a:gd name="T3" fmla="*/ 262 h 490"/>
                    <a:gd name="T4" fmla="*/ 396 w 490"/>
                    <a:gd name="T5" fmla="*/ 310 h 490"/>
                    <a:gd name="T6" fmla="*/ 372 w 490"/>
                    <a:gd name="T7" fmla="*/ 350 h 490"/>
                    <a:gd name="T8" fmla="*/ 338 w 490"/>
                    <a:gd name="T9" fmla="*/ 382 h 490"/>
                    <a:gd name="T10" fmla="*/ 294 w 490"/>
                    <a:gd name="T11" fmla="*/ 404 h 490"/>
                    <a:gd name="T12" fmla="*/ 244 w 490"/>
                    <a:gd name="T13" fmla="*/ 410 h 490"/>
                    <a:gd name="T14" fmla="*/ 212 w 490"/>
                    <a:gd name="T15" fmla="*/ 408 h 490"/>
                    <a:gd name="T16" fmla="*/ 166 w 490"/>
                    <a:gd name="T17" fmla="*/ 390 h 490"/>
                    <a:gd name="T18" fmla="*/ 128 w 490"/>
                    <a:gd name="T19" fmla="*/ 362 h 490"/>
                    <a:gd name="T20" fmla="*/ 98 w 490"/>
                    <a:gd name="T21" fmla="*/ 324 h 490"/>
                    <a:gd name="T22" fmla="*/ 82 w 490"/>
                    <a:gd name="T23" fmla="*/ 278 h 490"/>
                    <a:gd name="T24" fmla="*/ 78 w 490"/>
                    <a:gd name="T25" fmla="*/ 246 h 490"/>
                    <a:gd name="T26" fmla="*/ 86 w 490"/>
                    <a:gd name="T27" fmla="*/ 196 h 490"/>
                    <a:gd name="T28" fmla="*/ 108 w 490"/>
                    <a:gd name="T29" fmla="*/ 152 h 490"/>
                    <a:gd name="T30" fmla="*/ 140 w 490"/>
                    <a:gd name="T31" fmla="*/ 118 h 490"/>
                    <a:gd name="T32" fmla="*/ 180 w 490"/>
                    <a:gd name="T33" fmla="*/ 92 h 490"/>
                    <a:gd name="T34" fmla="*/ 228 w 490"/>
                    <a:gd name="T35" fmla="*/ 80 h 490"/>
                    <a:gd name="T36" fmla="*/ 260 w 490"/>
                    <a:gd name="T37" fmla="*/ 80 h 490"/>
                    <a:gd name="T38" fmla="*/ 302 w 490"/>
                    <a:gd name="T39" fmla="*/ 90 h 490"/>
                    <a:gd name="T40" fmla="*/ 340 w 490"/>
                    <a:gd name="T41" fmla="*/ 110 h 490"/>
                    <a:gd name="T42" fmla="*/ 412 w 490"/>
                    <a:gd name="T43" fmla="*/ 66 h 490"/>
                    <a:gd name="T44" fmla="*/ 376 w 490"/>
                    <a:gd name="T45" fmla="*/ 38 h 490"/>
                    <a:gd name="T46" fmla="*/ 314 w 490"/>
                    <a:gd name="T47" fmla="*/ 10 h 490"/>
                    <a:gd name="T48" fmla="*/ 244 w 490"/>
                    <a:gd name="T49" fmla="*/ 0 h 490"/>
                    <a:gd name="T50" fmla="*/ 196 w 490"/>
                    <a:gd name="T51" fmla="*/ 6 h 490"/>
                    <a:gd name="T52" fmla="*/ 128 w 490"/>
                    <a:gd name="T53" fmla="*/ 30 h 490"/>
                    <a:gd name="T54" fmla="*/ 72 w 490"/>
                    <a:gd name="T55" fmla="*/ 72 h 490"/>
                    <a:gd name="T56" fmla="*/ 30 w 490"/>
                    <a:gd name="T57" fmla="*/ 128 h 490"/>
                    <a:gd name="T58" fmla="*/ 4 w 490"/>
                    <a:gd name="T59" fmla="*/ 196 h 490"/>
                    <a:gd name="T60" fmla="*/ 0 w 490"/>
                    <a:gd name="T61" fmla="*/ 246 h 490"/>
                    <a:gd name="T62" fmla="*/ 10 w 490"/>
                    <a:gd name="T63" fmla="*/ 318 h 490"/>
                    <a:gd name="T64" fmla="*/ 42 w 490"/>
                    <a:gd name="T65" fmla="*/ 382 h 490"/>
                    <a:gd name="T66" fmla="*/ 88 w 490"/>
                    <a:gd name="T67" fmla="*/ 434 h 490"/>
                    <a:gd name="T68" fmla="*/ 150 w 490"/>
                    <a:gd name="T69" fmla="*/ 472 h 490"/>
                    <a:gd name="T70" fmla="*/ 220 w 490"/>
                    <a:gd name="T71" fmla="*/ 490 h 490"/>
                    <a:gd name="T72" fmla="*/ 270 w 490"/>
                    <a:gd name="T73" fmla="*/ 490 h 490"/>
                    <a:gd name="T74" fmla="*/ 340 w 490"/>
                    <a:gd name="T75" fmla="*/ 472 h 490"/>
                    <a:gd name="T76" fmla="*/ 400 w 490"/>
                    <a:gd name="T77" fmla="*/ 434 h 490"/>
                    <a:gd name="T78" fmla="*/ 448 w 490"/>
                    <a:gd name="T79" fmla="*/ 382 h 490"/>
                    <a:gd name="T80" fmla="*/ 478 w 490"/>
                    <a:gd name="T81" fmla="*/ 318 h 490"/>
                    <a:gd name="T82" fmla="*/ 490 w 490"/>
                    <a:gd name="T83" fmla="*/ 246 h 490"/>
                    <a:gd name="T84" fmla="*/ 458 w 490"/>
                    <a:gd name="T85" fmla="*/ 216 h 4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90" h="490">
                      <a:moveTo>
                        <a:pt x="458" y="216"/>
                      </a:moveTo>
                      <a:lnTo>
                        <a:pt x="410" y="240"/>
                      </a:lnTo>
                      <a:lnTo>
                        <a:pt x="410" y="240"/>
                      </a:lnTo>
                      <a:lnTo>
                        <a:pt x="410" y="246"/>
                      </a:lnTo>
                      <a:lnTo>
                        <a:pt x="410" y="246"/>
                      </a:lnTo>
                      <a:lnTo>
                        <a:pt x="410" y="262"/>
                      </a:lnTo>
                      <a:lnTo>
                        <a:pt x="406" y="278"/>
                      </a:lnTo>
                      <a:lnTo>
                        <a:pt x="402" y="294"/>
                      </a:lnTo>
                      <a:lnTo>
                        <a:pt x="396" y="310"/>
                      </a:lnTo>
                      <a:lnTo>
                        <a:pt x="390" y="324"/>
                      </a:lnTo>
                      <a:lnTo>
                        <a:pt x="382" y="338"/>
                      </a:lnTo>
                      <a:lnTo>
                        <a:pt x="372" y="350"/>
                      </a:lnTo>
                      <a:lnTo>
                        <a:pt x="362" y="362"/>
                      </a:lnTo>
                      <a:lnTo>
                        <a:pt x="350" y="374"/>
                      </a:lnTo>
                      <a:lnTo>
                        <a:pt x="338" y="382"/>
                      </a:lnTo>
                      <a:lnTo>
                        <a:pt x="324" y="390"/>
                      </a:lnTo>
                      <a:lnTo>
                        <a:pt x="308" y="398"/>
                      </a:lnTo>
                      <a:lnTo>
                        <a:pt x="294" y="404"/>
                      </a:lnTo>
                      <a:lnTo>
                        <a:pt x="278" y="408"/>
                      </a:lnTo>
                      <a:lnTo>
                        <a:pt x="262" y="410"/>
                      </a:lnTo>
                      <a:lnTo>
                        <a:pt x="244" y="410"/>
                      </a:lnTo>
                      <a:lnTo>
                        <a:pt x="244" y="410"/>
                      </a:lnTo>
                      <a:lnTo>
                        <a:pt x="228" y="410"/>
                      </a:lnTo>
                      <a:lnTo>
                        <a:pt x="212" y="408"/>
                      </a:lnTo>
                      <a:lnTo>
                        <a:pt x="196" y="404"/>
                      </a:lnTo>
                      <a:lnTo>
                        <a:pt x="180" y="398"/>
                      </a:lnTo>
                      <a:lnTo>
                        <a:pt x="166" y="390"/>
                      </a:lnTo>
                      <a:lnTo>
                        <a:pt x="152" y="382"/>
                      </a:lnTo>
                      <a:lnTo>
                        <a:pt x="140" y="374"/>
                      </a:lnTo>
                      <a:lnTo>
                        <a:pt x="128" y="362"/>
                      </a:lnTo>
                      <a:lnTo>
                        <a:pt x="116" y="350"/>
                      </a:lnTo>
                      <a:lnTo>
                        <a:pt x="108" y="338"/>
                      </a:lnTo>
                      <a:lnTo>
                        <a:pt x="98" y="324"/>
                      </a:lnTo>
                      <a:lnTo>
                        <a:pt x="92" y="310"/>
                      </a:lnTo>
                      <a:lnTo>
                        <a:pt x="86" y="294"/>
                      </a:lnTo>
                      <a:lnTo>
                        <a:pt x="82" y="278"/>
                      </a:lnTo>
                      <a:lnTo>
                        <a:pt x="80" y="262"/>
                      </a:lnTo>
                      <a:lnTo>
                        <a:pt x="78" y="246"/>
                      </a:lnTo>
                      <a:lnTo>
                        <a:pt x="78" y="246"/>
                      </a:lnTo>
                      <a:lnTo>
                        <a:pt x="80" y="228"/>
                      </a:lnTo>
                      <a:lnTo>
                        <a:pt x="82" y="212"/>
                      </a:lnTo>
                      <a:lnTo>
                        <a:pt x="86" y="196"/>
                      </a:lnTo>
                      <a:lnTo>
                        <a:pt x="92" y="180"/>
                      </a:lnTo>
                      <a:lnTo>
                        <a:pt x="98" y="166"/>
                      </a:lnTo>
                      <a:lnTo>
                        <a:pt x="108" y="152"/>
                      </a:lnTo>
                      <a:lnTo>
                        <a:pt x="116" y="140"/>
                      </a:lnTo>
                      <a:lnTo>
                        <a:pt x="128" y="128"/>
                      </a:lnTo>
                      <a:lnTo>
                        <a:pt x="140" y="118"/>
                      </a:lnTo>
                      <a:lnTo>
                        <a:pt x="152" y="108"/>
                      </a:lnTo>
                      <a:lnTo>
                        <a:pt x="166" y="100"/>
                      </a:lnTo>
                      <a:lnTo>
                        <a:pt x="180" y="92"/>
                      </a:lnTo>
                      <a:lnTo>
                        <a:pt x="196" y="88"/>
                      </a:lnTo>
                      <a:lnTo>
                        <a:pt x="212" y="84"/>
                      </a:lnTo>
                      <a:lnTo>
                        <a:pt x="228" y="80"/>
                      </a:lnTo>
                      <a:lnTo>
                        <a:pt x="244" y="80"/>
                      </a:lnTo>
                      <a:lnTo>
                        <a:pt x="244" y="80"/>
                      </a:lnTo>
                      <a:lnTo>
                        <a:pt x="260" y="80"/>
                      </a:lnTo>
                      <a:lnTo>
                        <a:pt x="274" y="82"/>
                      </a:lnTo>
                      <a:lnTo>
                        <a:pt x="288" y="86"/>
                      </a:lnTo>
                      <a:lnTo>
                        <a:pt x="302" y="90"/>
                      </a:lnTo>
                      <a:lnTo>
                        <a:pt x="316" y="96"/>
                      </a:lnTo>
                      <a:lnTo>
                        <a:pt x="328" y="102"/>
                      </a:lnTo>
                      <a:lnTo>
                        <a:pt x="340" y="110"/>
                      </a:lnTo>
                      <a:lnTo>
                        <a:pt x="352" y="120"/>
                      </a:lnTo>
                      <a:lnTo>
                        <a:pt x="400" y="96"/>
                      </a:lnTo>
                      <a:lnTo>
                        <a:pt x="412" y="66"/>
                      </a:lnTo>
                      <a:lnTo>
                        <a:pt x="412" y="66"/>
                      </a:lnTo>
                      <a:lnTo>
                        <a:pt x="394" y="52"/>
                      </a:lnTo>
                      <a:lnTo>
                        <a:pt x="376" y="38"/>
                      </a:lnTo>
                      <a:lnTo>
                        <a:pt x="356" y="28"/>
                      </a:lnTo>
                      <a:lnTo>
                        <a:pt x="336" y="18"/>
                      </a:lnTo>
                      <a:lnTo>
                        <a:pt x="314" y="10"/>
                      </a:lnTo>
                      <a:lnTo>
                        <a:pt x="292" y="6"/>
                      </a:lnTo>
                      <a:lnTo>
                        <a:pt x="268" y="2"/>
                      </a:lnTo>
                      <a:lnTo>
                        <a:pt x="244" y="0"/>
                      </a:lnTo>
                      <a:lnTo>
                        <a:pt x="244" y="0"/>
                      </a:lnTo>
                      <a:lnTo>
                        <a:pt x="220" y="2"/>
                      </a:lnTo>
                      <a:lnTo>
                        <a:pt x="196" y="6"/>
                      </a:lnTo>
                      <a:lnTo>
                        <a:pt x="172" y="12"/>
                      </a:lnTo>
                      <a:lnTo>
                        <a:pt x="150" y="20"/>
                      </a:lnTo>
                      <a:lnTo>
                        <a:pt x="128" y="30"/>
                      </a:lnTo>
                      <a:lnTo>
                        <a:pt x="108" y="42"/>
                      </a:lnTo>
                      <a:lnTo>
                        <a:pt x="88" y="56"/>
                      </a:lnTo>
                      <a:lnTo>
                        <a:pt x="72" y="72"/>
                      </a:lnTo>
                      <a:lnTo>
                        <a:pt x="56" y="90"/>
                      </a:lnTo>
                      <a:lnTo>
                        <a:pt x="42" y="108"/>
                      </a:lnTo>
                      <a:lnTo>
                        <a:pt x="30" y="128"/>
                      </a:lnTo>
                      <a:lnTo>
                        <a:pt x="18" y="150"/>
                      </a:lnTo>
                      <a:lnTo>
                        <a:pt x="10" y="172"/>
                      </a:lnTo>
                      <a:lnTo>
                        <a:pt x="4" y="196"/>
                      </a:lnTo>
                      <a:lnTo>
                        <a:pt x="0" y="220"/>
                      </a:lnTo>
                      <a:lnTo>
                        <a:pt x="0" y="246"/>
                      </a:lnTo>
                      <a:lnTo>
                        <a:pt x="0" y="246"/>
                      </a:lnTo>
                      <a:lnTo>
                        <a:pt x="0" y="270"/>
                      </a:lnTo>
                      <a:lnTo>
                        <a:pt x="4" y="294"/>
                      </a:lnTo>
                      <a:lnTo>
                        <a:pt x="10" y="318"/>
                      </a:lnTo>
                      <a:lnTo>
                        <a:pt x="18" y="340"/>
                      </a:lnTo>
                      <a:lnTo>
                        <a:pt x="30" y="362"/>
                      </a:lnTo>
                      <a:lnTo>
                        <a:pt x="42" y="382"/>
                      </a:lnTo>
                      <a:lnTo>
                        <a:pt x="56" y="402"/>
                      </a:lnTo>
                      <a:lnTo>
                        <a:pt x="72" y="418"/>
                      </a:lnTo>
                      <a:lnTo>
                        <a:pt x="88" y="434"/>
                      </a:lnTo>
                      <a:lnTo>
                        <a:pt x="108" y="448"/>
                      </a:lnTo>
                      <a:lnTo>
                        <a:pt x="128" y="460"/>
                      </a:lnTo>
                      <a:lnTo>
                        <a:pt x="150" y="472"/>
                      </a:lnTo>
                      <a:lnTo>
                        <a:pt x="172" y="480"/>
                      </a:lnTo>
                      <a:lnTo>
                        <a:pt x="196" y="486"/>
                      </a:lnTo>
                      <a:lnTo>
                        <a:pt x="220" y="490"/>
                      </a:lnTo>
                      <a:lnTo>
                        <a:pt x="244" y="490"/>
                      </a:lnTo>
                      <a:lnTo>
                        <a:pt x="244" y="490"/>
                      </a:lnTo>
                      <a:lnTo>
                        <a:pt x="270" y="490"/>
                      </a:lnTo>
                      <a:lnTo>
                        <a:pt x="294" y="486"/>
                      </a:lnTo>
                      <a:lnTo>
                        <a:pt x="318" y="480"/>
                      </a:lnTo>
                      <a:lnTo>
                        <a:pt x="340" y="472"/>
                      </a:lnTo>
                      <a:lnTo>
                        <a:pt x="362" y="460"/>
                      </a:lnTo>
                      <a:lnTo>
                        <a:pt x="382" y="448"/>
                      </a:lnTo>
                      <a:lnTo>
                        <a:pt x="400" y="434"/>
                      </a:lnTo>
                      <a:lnTo>
                        <a:pt x="418" y="418"/>
                      </a:lnTo>
                      <a:lnTo>
                        <a:pt x="434" y="402"/>
                      </a:lnTo>
                      <a:lnTo>
                        <a:pt x="448" y="382"/>
                      </a:lnTo>
                      <a:lnTo>
                        <a:pt x="460" y="362"/>
                      </a:lnTo>
                      <a:lnTo>
                        <a:pt x="470" y="340"/>
                      </a:lnTo>
                      <a:lnTo>
                        <a:pt x="478" y="318"/>
                      </a:lnTo>
                      <a:lnTo>
                        <a:pt x="484" y="294"/>
                      </a:lnTo>
                      <a:lnTo>
                        <a:pt x="488" y="270"/>
                      </a:lnTo>
                      <a:lnTo>
                        <a:pt x="490" y="246"/>
                      </a:lnTo>
                      <a:lnTo>
                        <a:pt x="490" y="246"/>
                      </a:lnTo>
                      <a:lnTo>
                        <a:pt x="488" y="226"/>
                      </a:lnTo>
                      <a:lnTo>
                        <a:pt x="458" y="2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0" tIns="45705" rIns="91410" bIns="45705" numCol="1" anchor="t" anchorCtr="0" compatLnSpc="1">
                  <a:prstTxWarp prst="textNoShape">
                    <a:avLst/>
                  </a:prstTxWarp>
                </a:bodyPr>
                <a:lstStyle/>
                <a:p>
                  <a:endParaRPr lang="en-US" sz="1050" dirty="0">
                    <a:solidFill>
                      <a:srgbClr val="000000"/>
                    </a:solidFill>
                  </a:endParaRPr>
                </a:p>
              </p:txBody>
            </p:sp>
            <p:sp>
              <p:nvSpPr>
                <p:cNvPr id="33" name="Freeform 45"/>
                <p:cNvSpPr>
                  <a:spLocks/>
                </p:cNvSpPr>
                <p:nvPr/>
              </p:nvSpPr>
              <p:spPr bwMode="auto">
                <a:xfrm>
                  <a:off x="4014788" y="5718175"/>
                  <a:ext cx="311150" cy="317500"/>
                </a:xfrm>
                <a:custGeom>
                  <a:avLst/>
                  <a:gdLst>
                    <a:gd name="T0" fmla="*/ 130 w 196"/>
                    <a:gd name="T1" fmla="*/ 160 h 200"/>
                    <a:gd name="T2" fmla="*/ 130 w 196"/>
                    <a:gd name="T3" fmla="*/ 160 h 200"/>
                    <a:gd name="T4" fmla="*/ 116 w 196"/>
                    <a:gd name="T5" fmla="*/ 164 h 200"/>
                    <a:gd name="T6" fmla="*/ 104 w 196"/>
                    <a:gd name="T7" fmla="*/ 166 h 200"/>
                    <a:gd name="T8" fmla="*/ 92 w 196"/>
                    <a:gd name="T9" fmla="*/ 166 h 200"/>
                    <a:gd name="T10" fmla="*/ 78 w 196"/>
                    <a:gd name="T11" fmla="*/ 162 h 200"/>
                    <a:gd name="T12" fmla="*/ 68 w 196"/>
                    <a:gd name="T13" fmla="*/ 156 h 200"/>
                    <a:gd name="T14" fmla="*/ 56 w 196"/>
                    <a:gd name="T15" fmla="*/ 150 h 200"/>
                    <a:gd name="T16" fmla="*/ 48 w 196"/>
                    <a:gd name="T17" fmla="*/ 140 h 200"/>
                    <a:gd name="T18" fmla="*/ 40 w 196"/>
                    <a:gd name="T19" fmla="*/ 128 h 200"/>
                    <a:gd name="T20" fmla="*/ 40 w 196"/>
                    <a:gd name="T21" fmla="*/ 128 h 200"/>
                    <a:gd name="T22" fmla="*/ 36 w 196"/>
                    <a:gd name="T23" fmla="*/ 116 h 200"/>
                    <a:gd name="T24" fmla="*/ 34 w 196"/>
                    <a:gd name="T25" fmla="*/ 102 h 200"/>
                    <a:gd name="T26" fmla="*/ 34 w 196"/>
                    <a:gd name="T27" fmla="*/ 90 h 200"/>
                    <a:gd name="T28" fmla="*/ 38 w 196"/>
                    <a:gd name="T29" fmla="*/ 78 h 200"/>
                    <a:gd name="T30" fmla="*/ 44 w 196"/>
                    <a:gd name="T31" fmla="*/ 66 h 200"/>
                    <a:gd name="T32" fmla="*/ 50 w 196"/>
                    <a:gd name="T33" fmla="*/ 56 h 200"/>
                    <a:gd name="T34" fmla="*/ 60 w 196"/>
                    <a:gd name="T35" fmla="*/ 46 h 200"/>
                    <a:gd name="T36" fmla="*/ 72 w 196"/>
                    <a:gd name="T37" fmla="*/ 40 h 200"/>
                    <a:gd name="T38" fmla="*/ 138 w 196"/>
                    <a:gd name="T39" fmla="*/ 8 h 200"/>
                    <a:gd name="T40" fmla="*/ 138 w 196"/>
                    <a:gd name="T41" fmla="*/ 8 h 200"/>
                    <a:gd name="T42" fmla="*/ 120 w 196"/>
                    <a:gd name="T43" fmla="*/ 2 h 200"/>
                    <a:gd name="T44" fmla="*/ 100 w 196"/>
                    <a:gd name="T45" fmla="*/ 0 h 200"/>
                    <a:gd name="T46" fmla="*/ 100 w 196"/>
                    <a:gd name="T47" fmla="*/ 0 h 200"/>
                    <a:gd name="T48" fmla="*/ 80 w 196"/>
                    <a:gd name="T49" fmla="*/ 2 h 200"/>
                    <a:gd name="T50" fmla="*/ 62 w 196"/>
                    <a:gd name="T51" fmla="*/ 8 h 200"/>
                    <a:gd name="T52" fmla="*/ 44 w 196"/>
                    <a:gd name="T53" fmla="*/ 16 h 200"/>
                    <a:gd name="T54" fmla="*/ 30 w 196"/>
                    <a:gd name="T55" fmla="*/ 28 h 200"/>
                    <a:gd name="T56" fmla="*/ 18 w 196"/>
                    <a:gd name="T57" fmla="*/ 44 h 200"/>
                    <a:gd name="T58" fmla="*/ 8 w 196"/>
                    <a:gd name="T59" fmla="*/ 60 h 200"/>
                    <a:gd name="T60" fmla="*/ 2 w 196"/>
                    <a:gd name="T61" fmla="*/ 80 h 200"/>
                    <a:gd name="T62" fmla="*/ 0 w 196"/>
                    <a:gd name="T63" fmla="*/ 100 h 200"/>
                    <a:gd name="T64" fmla="*/ 0 w 196"/>
                    <a:gd name="T65" fmla="*/ 100 h 200"/>
                    <a:gd name="T66" fmla="*/ 2 w 196"/>
                    <a:gd name="T67" fmla="*/ 120 h 200"/>
                    <a:gd name="T68" fmla="*/ 8 w 196"/>
                    <a:gd name="T69" fmla="*/ 138 h 200"/>
                    <a:gd name="T70" fmla="*/ 18 w 196"/>
                    <a:gd name="T71" fmla="*/ 156 h 200"/>
                    <a:gd name="T72" fmla="*/ 30 w 196"/>
                    <a:gd name="T73" fmla="*/ 170 h 200"/>
                    <a:gd name="T74" fmla="*/ 44 w 196"/>
                    <a:gd name="T75" fmla="*/ 182 h 200"/>
                    <a:gd name="T76" fmla="*/ 62 w 196"/>
                    <a:gd name="T77" fmla="*/ 192 h 200"/>
                    <a:gd name="T78" fmla="*/ 80 w 196"/>
                    <a:gd name="T79" fmla="*/ 198 h 200"/>
                    <a:gd name="T80" fmla="*/ 100 w 196"/>
                    <a:gd name="T81" fmla="*/ 200 h 200"/>
                    <a:gd name="T82" fmla="*/ 100 w 196"/>
                    <a:gd name="T83" fmla="*/ 200 h 200"/>
                    <a:gd name="T84" fmla="*/ 118 w 196"/>
                    <a:gd name="T85" fmla="*/ 198 h 200"/>
                    <a:gd name="T86" fmla="*/ 134 w 196"/>
                    <a:gd name="T87" fmla="*/ 194 h 200"/>
                    <a:gd name="T88" fmla="*/ 148 w 196"/>
                    <a:gd name="T89" fmla="*/ 188 h 200"/>
                    <a:gd name="T90" fmla="*/ 162 w 196"/>
                    <a:gd name="T91" fmla="*/ 178 h 200"/>
                    <a:gd name="T92" fmla="*/ 172 w 196"/>
                    <a:gd name="T93" fmla="*/ 168 h 200"/>
                    <a:gd name="T94" fmla="*/ 182 w 196"/>
                    <a:gd name="T95" fmla="*/ 156 h 200"/>
                    <a:gd name="T96" fmla="*/ 190 w 196"/>
                    <a:gd name="T97" fmla="*/ 142 h 200"/>
                    <a:gd name="T98" fmla="*/ 196 w 196"/>
                    <a:gd name="T99" fmla="*/ 126 h 200"/>
                    <a:gd name="T100" fmla="*/ 130 w 196"/>
                    <a:gd name="T101" fmla="*/ 16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96" h="200">
                      <a:moveTo>
                        <a:pt x="130" y="160"/>
                      </a:moveTo>
                      <a:lnTo>
                        <a:pt x="130" y="160"/>
                      </a:lnTo>
                      <a:lnTo>
                        <a:pt x="116" y="164"/>
                      </a:lnTo>
                      <a:lnTo>
                        <a:pt x="104" y="166"/>
                      </a:lnTo>
                      <a:lnTo>
                        <a:pt x="92" y="166"/>
                      </a:lnTo>
                      <a:lnTo>
                        <a:pt x="78" y="162"/>
                      </a:lnTo>
                      <a:lnTo>
                        <a:pt x="68" y="156"/>
                      </a:lnTo>
                      <a:lnTo>
                        <a:pt x="56" y="150"/>
                      </a:lnTo>
                      <a:lnTo>
                        <a:pt x="48" y="140"/>
                      </a:lnTo>
                      <a:lnTo>
                        <a:pt x="40" y="128"/>
                      </a:lnTo>
                      <a:lnTo>
                        <a:pt x="40" y="128"/>
                      </a:lnTo>
                      <a:lnTo>
                        <a:pt x="36" y="116"/>
                      </a:lnTo>
                      <a:lnTo>
                        <a:pt x="34" y="102"/>
                      </a:lnTo>
                      <a:lnTo>
                        <a:pt x="34" y="90"/>
                      </a:lnTo>
                      <a:lnTo>
                        <a:pt x="38" y="78"/>
                      </a:lnTo>
                      <a:lnTo>
                        <a:pt x="44" y="66"/>
                      </a:lnTo>
                      <a:lnTo>
                        <a:pt x="50" y="56"/>
                      </a:lnTo>
                      <a:lnTo>
                        <a:pt x="60" y="46"/>
                      </a:lnTo>
                      <a:lnTo>
                        <a:pt x="72" y="40"/>
                      </a:lnTo>
                      <a:lnTo>
                        <a:pt x="138" y="8"/>
                      </a:lnTo>
                      <a:lnTo>
                        <a:pt x="138" y="8"/>
                      </a:lnTo>
                      <a:lnTo>
                        <a:pt x="120" y="2"/>
                      </a:lnTo>
                      <a:lnTo>
                        <a:pt x="100" y="0"/>
                      </a:lnTo>
                      <a:lnTo>
                        <a:pt x="100" y="0"/>
                      </a:lnTo>
                      <a:lnTo>
                        <a:pt x="80" y="2"/>
                      </a:lnTo>
                      <a:lnTo>
                        <a:pt x="62" y="8"/>
                      </a:lnTo>
                      <a:lnTo>
                        <a:pt x="44" y="16"/>
                      </a:lnTo>
                      <a:lnTo>
                        <a:pt x="30" y="28"/>
                      </a:lnTo>
                      <a:lnTo>
                        <a:pt x="18" y="44"/>
                      </a:lnTo>
                      <a:lnTo>
                        <a:pt x="8" y="60"/>
                      </a:lnTo>
                      <a:lnTo>
                        <a:pt x="2" y="80"/>
                      </a:lnTo>
                      <a:lnTo>
                        <a:pt x="0" y="100"/>
                      </a:lnTo>
                      <a:lnTo>
                        <a:pt x="0" y="100"/>
                      </a:lnTo>
                      <a:lnTo>
                        <a:pt x="2" y="120"/>
                      </a:lnTo>
                      <a:lnTo>
                        <a:pt x="8" y="138"/>
                      </a:lnTo>
                      <a:lnTo>
                        <a:pt x="18" y="156"/>
                      </a:lnTo>
                      <a:lnTo>
                        <a:pt x="30" y="170"/>
                      </a:lnTo>
                      <a:lnTo>
                        <a:pt x="44" y="182"/>
                      </a:lnTo>
                      <a:lnTo>
                        <a:pt x="62" y="192"/>
                      </a:lnTo>
                      <a:lnTo>
                        <a:pt x="80" y="198"/>
                      </a:lnTo>
                      <a:lnTo>
                        <a:pt x="100" y="200"/>
                      </a:lnTo>
                      <a:lnTo>
                        <a:pt x="100" y="200"/>
                      </a:lnTo>
                      <a:lnTo>
                        <a:pt x="118" y="198"/>
                      </a:lnTo>
                      <a:lnTo>
                        <a:pt x="134" y="194"/>
                      </a:lnTo>
                      <a:lnTo>
                        <a:pt x="148" y="188"/>
                      </a:lnTo>
                      <a:lnTo>
                        <a:pt x="162" y="178"/>
                      </a:lnTo>
                      <a:lnTo>
                        <a:pt x="172" y="168"/>
                      </a:lnTo>
                      <a:lnTo>
                        <a:pt x="182" y="156"/>
                      </a:lnTo>
                      <a:lnTo>
                        <a:pt x="190" y="142"/>
                      </a:lnTo>
                      <a:lnTo>
                        <a:pt x="196" y="126"/>
                      </a:lnTo>
                      <a:lnTo>
                        <a:pt x="130" y="1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0" tIns="45705" rIns="91410" bIns="45705" numCol="1" anchor="t" anchorCtr="0" compatLnSpc="1">
                  <a:prstTxWarp prst="textNoShape">
                    <a:avLst/>
                  </a:prstTxWarp>
                </a:bodyPr>
                <a:lstStyle/>
                <a:p>
                  <a:endParaRPr lang="en-US" sz="1050" dirty="0">
                    <a:solidFill>
                      <a:srgbClr val="000000"/>
                    </a:solidFill>
                  </a:endParaRPr>
                </a:p>
              </p:txBody>
            </p:sp>
            <p:sp>
              <p:nvSpPr>
                <p:cNvPr id="34" name="Freeform 46"/>
                <p:cNvSpPr>
                  <a:spLocks/>
                </p:cNvSpPr>
                <p:nvPr/>
              </p:nvSpPr>
              <p:spPr bwMode="auto">
                <a:xfrm>
                  <a:off x="4116388" y="5372100"/>
                  <a:ext cx="844550" cy="561975"/>
                </a:xfrm>
                <a:custGeom>
                  <a:avLst/>
                  <a:gdLst>
                    <a:gd name="T0" fmla="*/ 434 w 532"/>
                    <a:gd name="T1" fmla="*/ 0 h 354"/>
                    <a:gd name="T2" fmla="*/ 258 w 532"/>
                    <a:gd name="T3" fmla="*/ 86 h 354"/>
                    <a:gd name="T4" fmla="*/ 216 w 532"/>
                    <a:gd name="T5" fmla="*/ 190 h 354"/>
                    <a:gd name="T6" fmla="*/ 20 w 532"/>
                    <a:gd name="T7" fmla="*/ 286 h 354"/>
                    <a:gd name="T8" fmla="*/ 20 w 532"/>
                    <a:gd name="T9" fmla="*/ 286 h 354"/>
                    <a:gd name="T10" fmla="*/ 14 w 532"/>
                    <a:gd name="T11" fmla="*/ 290 h 354"/>
                    <a:gd name="T12" fmla="*/ 10 w 532"/>
                    <a:gd name="T13" fmla="*/ 294 h 354"/>
                    <a:gd name="T14" fmla="*/ 6 w 532"/>
                    <a:gd name="T15" fmla="*/ 300 h 354"/>
                    <a:gd name="T16" fmla="*/ 2 w 532"/>
                    <a:gd name="T17" fmla="*/ 306 h 354"/>
                    <a:gd name="T18" fmla="*/ 2 w 532"/>
                    <a:gd name="T19" fmla="*/ 312 h 354"/>
                    <a:gd name="T20" fmla="*/ 0 w 532"/>
                    <a:gd name="T21" fmla="*/ 320 h 354"/>
                    <a:gd name="T22" fmla="*/ 2 w 532"/>
                    <a:gd name="T23" fmla="*/ 326 h 354"/>
                    <a:gd name="T24" fmla="*/ 4 w 532"/>
                    <a:gd name="T25" fmla="*/ 332 h 354"/>
                    <a:gd name="T26" fmla="*/ 4 w 532"/>
                    <a:gd name="T27" fmla="*/ 332 h 354"/>
                    <a:gd name="T28" fmla="*/ 8 w 532"/>
                    <a:gd name="T29" fmla="*/ 340 h 354"/>
                    <a:gd name="T30" fmla="*/ 12 w 532"/>
                    <a:gd name="T31" fmla="*/ 344 h 354"/>
                    <a:gd name="T32" fmla="*/ 18 w 532"/>
                    <a:gd name="T33" fmla="*/ 348 h 354"/>
                    <a:gd name="T34" fmla="*/ 24 w 532"/>
                    <a:gd name="T35" fmla="*/ 352 h 354"/>
                    <a:gd name="T36" fmla="*/ 32 w 532"/>
                    <a:gd name="T37" fmla="*/ 352 h 354"/>
                    <a:gd name="T38" fmla="*/ 38 w 532"/>
                    <a:gd name="T39" fmla="*/ 354 h 354"/>
                    <a:gd name="T40" fmla="*/ 46 w 532"/>
                    <a:gd name="T41" fmla="*/ 352 h 354"/>
                    <a:gd name="T42" fmla="*/ 52 w 532"/>
                    <a:gd name="T43" fmla="*/ 350 h 354"/>
                    <a:gd name="T44" fmla="*/ 248 w 532"/>
                    <a:gd name="T45" fmla="*/ 256 h 354"/>
                    <a:gd name="T46" fmla="*/ 356 w 532"/>
                    <a:gd name="T47" fmla="*/ 288 h 354"/>
                    <a:gd name="T48" fmla="*/ 532 w 532"/>
                    <a:gd name="T49" fmla="*/ 202 h 354"/>
                    <a:gd name="T50" fmla="*/ 418 w 532"/>
                    <a:gd name="T51" fmla="*/ 132 h 354"/>
                    <a:gd name="T52" fmla="*/ 434 w 532"/>
                    <a:gd name="T53" fmla="*/ 0 h 3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32" h="354">
                      <a:moveTo>
                        <a:pt x="434" y="0"/>
                      </a:moveTo>
                      <a:lnTo>
                        <a:pt x="258" y="86"/>
                      </a:lnTo>
                      <a:lnTo>
                        <a:pt x="216" y="190"/>
                      </a:lnTo>
                      <a:lnTo>
                        <a:pt x="20" y="286"/>
                      </a:lnTo>
                      <a:lnTo>
                        <a:pt x="20" y="286"/>
                      </a:lnTo>
                      <a:lnTo>
                        <a:pt x="14" y="290"/>
                      </a:lnTo>
                      <a:lnTo>
                        <a:pt x="10" y="294"/>
                      </a:lnTo>
                      <a:lnTo>
                        <a:pt x="6" y="300"/>
                      </a:lnTo>
                      <a:lnTo>
                        <a:pt x="2" y="306"/>
                      </a:lnTo>
                      <a:lnTo>
                        <a:pt x="2" y="312"/>
                      </a:lnTo>
                      <a:lnTo>
                        <a:pt x="0" y="320"/>
                      </a:lnTo>
                      <a:lnTo>
                        <a:pt x="2" y="326"/>
                      </a:lnTo>
                      <a:lnTo>
                        <a:pt x="4" y="332"/>
                      </a:lnTo>
                      <a:lnTo>
                        <a:pt x="4" y="332"/>
                      </a:lnTo>
                      <a:lnTo>
                        <a:pt x="8" y="340"/>
                      </a:lnTo>
                      <a:lnTo>
                        <a:pt x="12" y="344"/>
                      </a:lnTo>
                      <a:lnTo>
                        <a:pt x="18" y="348"/>
                      </a:lnTo>
                      <a:lnTo>
                        <a:pt x="24" y="352"/>
                      </a:lnTo>
                      <a:lnTo>
                        <a:pt x="32" y="352"/>
                      </a:lnTo>
                      <a:lnTo>
                        <a:pt x="38" y="354"/>
                      </a:lnTo>
                      <a:lnTo>
                        <a:pt x="46" y="352"/>
                      </a:lnTo>
                      <a:lnTo>
                        <a:pt x="52" y="350"/>
                      </a:lnTo>
                      <a:lnTo>
                        <a:pt x="248" y="256"/>
                      </a:lnTo>
                      <a:lnTo>
                        <a:pt x="356" y="288"/>
                      </a:lnTo>
                      <a:lnTo>
                        <a:pt x="532" y="202"/>
                      </a:lnTo>
                      <a:lnTo>
                        <a:pt x="418" y="132"/>
                      </a:lnTo>
                      <a:lnTo>
                        <a:pt x="43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0" tIns="45705" rIns="91410" bIns="45705" numCol="1" anchor="t" anchorCtr="0" compatLnSpc="1">
                  <a:prstTxWarp prst="textNoShape">
                    <a:avLst/>
                  </a:prstTxWarp>
                </a:bodyPr>
                <a:lstStyle/>
                <a:p>
                  <a:endParaRPr lang="en-US" sz="1050" dirty="0">
                    <a:solidFill>
                      <a:srgbClr val="000000"/>
                    </a:solidFill>
                  </a:endParaRPr>
                </a:p>
              </p:txBody>
            </p:sp>
          </p:grpSp>
        </p:grpSp>
        <p:sp>
          <p:nvSpPr>
            <p:cNvPr id="36" name="Rectangle 8"/>
            <p:cNvSpPr txBox="1">
              <a:spLocks/>
            </p:cNvSpPr>
            <p:nvPr/>
          </p:nvSpPr>
          <p:spPr>
            <a:xfrm>
              <a:off x="3766422" y="3611163"/>
              <a:ext cx="2004534" cy="55399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indent="-192088" defTabSz="895350" eaLnBrk="1" hangingPunct="1">
                <a:buClr>
                  <a:schemeClr val="tx2"/>
                </a:buClr>
                <a:buSzPct val="125000"/>
                <a:buFont typeface="Arial" charset="0"/>
                <a:buChar char="▪"/>
                <a:defRPr baseline="0">
                  <a:latin typeface="+mn-lt"/>
                </a:defRPr>
              </a:lvl2pPr>
              <a:lvl3pPr marL="457200" indent="-261938" defTabSz="895350" eaLnBrk="1" hangingPunct="1">
                <a:buClr>
                  <a:schemeClr val="tx2"/>
                </a:buClr>
                <a:buSzPct val="120000"/>
                <a:buFont typeface="Arial" charset="0"/>
                <a:buChar char="–"/>
                <a:defRPr baseline="0">
                  <a:latin typeface="+mn-lt"/>
                </a:defRPr>
              </a:lvl3pPr>
              <a:lvl4pPr marL="614363" indent="-155575" defTabSz="895350" eaLnBrk="1" hangingPunct="1">
                <a:buClr>
                  <a:schemeClr val="tx2"/>
                </a:buClr>
                <a:buSzPct val="120000"/>
                <a:buFont typeface="Arial" charset="0"/>
                <a:buChar char="▫"/>
                <a:defRPr baseline="0">
                  <a:latin typeface="+mn-lt"/>
                </a:defRPr>
              </a:lvl4pPr>
              <a:lvl5pPr marL="749808"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buClr>
                  <a:srgbClr val="002960"/>
                </a:buClr>
              </a:pPr>
              <a:r>
                <a:rPr lang="en-US" sz="1200" b="1" dirty="0">
                  <a:solidFill>
                    <a:srgbClr val="002960"/>
                  </a:solidFill>
                </a:rPr>
                <a:t>Common weaknesses</a:t>
              </a:r>
            </a:p>
            <a:p>
              <a:pPr>
                <a:buClr>
                  <a:srgbClr val="002960"/>
                </a:buClr>
              </a:pPr>
              <a:r>
                <a:rPr lang="en-US" sz="1200" dirty="0">
                  <a:solidFill>
                    <a:srgbClr val="000000"/>
                  </a:solidFill>
                </a:rPr>
                <a:t>Identify opportunities to set up early </a:t>
              </a:r>
              <a:r>
                <a:rPr lang="en-US" sz="1200" b="1" dirty="0">
                  <a:solidFill>
                    <a:srgbClr val="002960"/>
                  </a:solidFill>
                </a:rPr>
                <a:t>shared projects</a:t>
              </a:r>
            </a:p>
          </p:txBody>
        </p:sp>
        <p:grpSp>
          <p:nvGrpSpPr>
            <p:cNvPr id="40" name="Group 39"/>
            <p:cNvGrpSpPr/>
            <p:nvPr/>
          </p:nvGrpSpPr>
          <p:grpSpPr>
            <a:xfrm>
              <a:off x="3315477" y="3611164"/>
              <a:ext cx="336393" cy="324133"/>
              <a:chOff x="1504298" y="2778260"/>
              <a:chExt cx="1127125" cy="1127125"/>
            </a:xfrm>
          </p:grpSpPr>
          <p:sp>
            <p:nvSpPr>
              <p:cNvPr id="42" name="Freeform 27"/>
              <p:cNvSpPr>
                <a:spLocks/>
              </p:cNvSpPr>
              <p:nvPr/>
            </p:nvSpPr>
            <p:spPr bwMode="auto">
              <a:xfrm>
                <a:off x="1504298" y="2778260"/>
                <a:ext cx="1127125" cy="1127125"/>
              </a:xfrm>
              <a:custGeom>
                <a:avLst/>
                <a:gdLst>
                  <a:gd name="T0" fmla="*/ 710 w 710"/>
                  <a:gd name="T1" fmla="*/ 356 h 710"/>
                  <a:gd name="T2" fmla="*/ 704 w 710"/>
                  <a:gd name="T3" fmla="*/ 426 h 710"/>
                  <a:gd name="T4" fmla="*/ 682 w 710"/>
                  <a:gd name="T5" fmla="*/ 494 h 710"/>
                  <a:gd name="T6" fmla="*/ 650 w 710"/>
                  <a:gd name="T7" fmla="*/ 554 h 710"/>
                  <a:gd name="T8" fmla="*/ 606 w 710"/>
                  <a:gd name="T9" fmla="*/ 606 h 710"/>
                  <a:gd name="T10" fmla="*/ 554 w 710"/>
                  <a:gd name="T11" fmla="*/ 650 h 710"/>
                  <a:gd name="T12" fmla="*/ 494 w 710"/>
                  <a:gd name="T13" fmla="*/ 682 h 710"/>
                  <a:gd name="T14" fmla="*/ 426 w 710"/>
                  <a:gd name="T15" fmla="*/ 704 h 710"/>
                  <a:gd name="T16" fmla="*/ 354 w 710"/>
                  <a:gd name="T17" fmla="*/ 710 h 710"/>
                  <a:gd name="T18" fmla="*/ 318 w 710"/>
                  <a:gd name="T19" fmla="*/ 708 h 710"/>
                  <a:gd name="T20" fmla="*/ 250 w 710"/>
                  <a:gd name="T21" fmla="*/ 694 h 710"/>
                  <a:gd name="T22" fmla="*/ 186 w 710"/>
                  <a:gd name="T23" fmla="*/ 668 h 710"/>
                  <a:gd name="T24" fmla="*/ 128 w 710"/>
                  <a:gd name="T25" fmla="*/ 630 h 710"/>
                  <a:gd name="T26" fmla="*/ 80 w 710"/>
                  <a:gd name="T27" fmla="*/ 582 h 710"/>
                  <a:gd name="T28" fmla="*/ 42 w 710"/>
                  <a:gd name="T29" fmla="*/ 524 h 710"/>
                  <a:gd name="T30" fmla="*/ 16 w 710"/>
                  <a:gd name="T31" fmla="*/ 460 h 710"/>
                  <a:gd name="T32" fmla="*/ 2 w 710"/>
                  <a:gd name="T33" fmla="*/ 392 h 710"/>
                  <a:gd name="T34" fmla="*/ 0 w 710"/>
                  <a:gd name="T35" fmla="*/ 356 h 710"/>
                  <a:gd name="T36" fmla="*/ 6 w 710"/>
                  <a:gd name="T37" fmla="*/ 284 h 710"/>
                  <a:gd name="T38" fmla="*/ 28 w 710"/>
                  <a:gd name="T39" fmla="*/ 216 h 710"/>
                  <a:gd name="T40" fmla="*/ 60 w 710"/>
                  <a:gd name="T41" fmla="*/ 156 h 710"/>
                  <a:gd name="T42" fmla="*/ 104 w 710"/>
                  <a:gd name="T43" fmla="*/ 104 h 710"/>
                  <a:gd name="T44" fmla="*/ 156 w 710"/>
                  <a:gd name="T45" fmla="*/ 60 h 710"/>
                  <a:gd name="T46" fmla="*/ 216 w 710"/>
                  <a:gd name="T47" fmla="*/ 28 h 710"/>
                  <a:gd name="T48" fmla="*/ 284 w 710"/>
                  <a:gd name="T49" fmla="*/ 6 h 710"/>
                  <a:gd name="T50" fmla="*/ 354 w 710"/>
                  <a:gd name="T51" fmla="*/ 0 h 710"/>
                  <a:gd name="T52" fmla="*/ 392 w 710"/>
                  <a:gd name="T53" fmla="*/ 2 h 710"/>
                  <a:gd name="T54" fmla="*/ 460 w 710"/>
                  <a:gd name="T55" fmla="*/ 16 h 710"/>
                  <a:gd name="T56" fmla="*/ 524 w 710"/>
                  <a:gd name="T57" fmla="*/ 42 h 710"/>
                  <a:gd name="T58" fmla="*/ 582 w 710"/>
                  <a:gd name="T59" fmla="*/ 80 h 710"/>
                  <a:gd name="T60" fmla="*/ 630 w 710"/>
                  <a:gd name="T61" fmla="*/ 128 h 710"/>
                  <a:gd name="T62" fmla="*/ 668 w 710"/>
                  <a:gd name="T63" fmla="*/ 186 h 710"/>
                  <a:gd name="T64" fmla="*/ 694 w 710"/>
                  <a:gd name="T65" fmla="*/ 250 h 710"/>
                  <a:gd name="T66" fmla="*/ 708 w 710"/>
                  <a:gd name="T67" fmla="*/ 318 h 710"/>
                  <a:gd name="T68" fmla="*/ 710 w 710"/>
                  <a:gd name="T69" fmla="*/ 356 h 7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10" h="710">
                    <a:moveTo>
                      <a:pt x="710" y="356"/>
                    </a:moveTo>
                    <a:lnTo>
                      <a:pt x="710" y="356"/>
                    </a:lnTo>
                    <a:lnTo>
                      <a:pt x="708" y="392"/>
                    </a:lnTo>
                    <a:lnTo>
                      <a:pt x="704" y="426"/>
                    </a:lnTo>
                    <a:lnTo>
                      <a:pt x="694" y="460"/>
                    </a:lnTo>
                    <a:lnTo>
                      <a:pt x="682" y="494"/>
                    </a:lnTo>
                    <a:lnTo>
                      <a:pt x="668" y="524"/>
                    </a:lnTo>
                    <a:lnTo>
                      <a:pt x="650" y="554"/>
                    </a:lnTo>
                    <a:lnTo>
                      <a:pt x="630" y="582"/>
                    </a:lnTo>
                    <a:lnTo>
                      <a:pt x="606" y="606"/>
                    </a:lnTo>
                    <a:lnTo>
                      <a:pt x="582" y="630"/>
                    </a:lnTo>
                    <a:lnTo>
                      <a:pt x="554" y="650"/>
                    </a:lnTo>
                    <a:lnTo>
                      <a:pt x="524" y="668"/>
                    </a:lnTo>
                    <a:lnTo>
                      <a:pt x="494" y="682"/>
                    </a:lnTo>
                    <a:lnTo>
                      <a:pt x="460" y="694"/>
                    </a:lnTo>
                    <a:lnTo>
                      <a:pt x="426" y="704"/>
                    </a:lnTo>
                    <a:lnTo>
                      <a:pt x="392" y="708"/>
                    </a:lnTo>
                    <a:lnTo>
                      <a:pt x="354" y="710"/>
                    </a:lnTo>
                    <a:lnTo>
                      <a:pt x="354" y="710"/>
                    </a:lnTo>
                    <a:lnTo>
                      <a:pt x="318" y="708"/>
                    </a:lnTo>
                    <a:lnTo>
                      <a:pt x="284" y="704"/>
                    </a:lnTo>
                    <a:lnTo>
                      <a:pt x="250" y="694"/>
                    </a:lnTo>
                    <a:lnTo>
                      <a:pt x="216" y="682"/>
                    </a:lnTo>
                    <a:lnTo>
                      <a:pt x="186" y="668"/>
                    </a:lnTo>
                    <a:lnTo>
                      <a:pt x="156" y="650"/>
                    </a:lnTo>
                    <a:lnTo>
                      <a:pt x="128" y="630"/>
                    </a:lnTo>
                    <a:lnTo>
                      <a:pt x="104" y="606"/>
                    </a:lnTo>
                    <a:lnTo>
                      <a:pt x="80" y="582"/>
                    </a:lnTo>
                    <a:lnTo>
                      <a:pt x="60" y="554"/>
                    </a:lnTo>
                    <a:lnTo>
                      <a:pt x="42" y="524"/>
                    </a:lnTo>
                    <a:lnTo>
                      <a:pt x="28" y="494"/>
                    </a:lnTo>
                    <a:lnTo>
                      <a:pt x="16" y="460"/>
                    </a:lnTo>
                    <a:lnTo>
                      <a:pt x="6" y="426"/>
                    </a:lnTo>
                    <a:lnTo>
                      <a:pt x="2" y="392"/>
                    </a:lnTo>
                    <a:lnTo>
                      <a:pt x="0" y="356"/>
                    </a:lnTo>
                    <a:lnTo>
                      <a:pt x="0" y="356"/>
                    </a:lnTo>
                    <a:lnTo>
                      <a:pt x="2" y="318"/>
                    </a:lnTo>
                    <a:lnTo>
                      <a:pt x="6" y="284"/>
                    </a:lnTo>
                    <a:lnTo>
                      <a:pt x="16" y="250"/>
                    </a:lnTo>
                    <a:lnTo>
                      <a:pt x="28" y="216"/>
                    </a:lnTo>
                    <a:lnTo>
                      <a:pt x="42" y="186"/>
                    </a:lnTo>
                    <a:lnTo>
                      <a:pt x="60" y="156"/>
                    </a:lnTo>
                    <a:lnTo>
                      <a:pt x="80" y="128"/>
                    </a:lnTo>
                    <a:lnTo>
                      <a:pt x="104" y="104"/>
                    </a:lnTo>
                    <a:lnTo>
                      <a:pt x="128" y="80"/>
                    </a:lnTo>
                    <a:lnTo>
                      <a:pt x="156" y="60"/>
                    </a:lnTo>
                    <a:lnTo>
                      <a:pt x="186" y="42"/>
                    </a:lnTo>
                    <a:lnTo>
                      <a:pt x="216" y="28"/>
                    </a:lnTo>
                    <a:lnTo>
                      <a:pt x="250" y="16"/>
                    </a:lnTo>
                    <a:lnTo>
                      <a:pt x="284" y="6"/>
                    </a:lnTo>
                    <a:lnTo>
                      <a:pt x="318" y="2"/>
                    </a:lnTo>
                    <a:lnTo>
                      <a:pt x="354" y="0"/>
                    </a:lnTo>
                    <a:lnTo>
                      <a:pt x="354" y="0"/>
                    </a:lnTo>
                    <a:lnTo>
                      <a:pt x="392" y="2"/>
                    </a:lnTo>
                    <a:lnTo>
                      <a:pt x="426" y="6"/>
                    </a:lnTo>
                    <a:lnTo>
                      <a:pt x="460" y="16"/>
                    </a:lnTo>
                    <a:lnTo>
                      <a:pt x="494" y="28"/>
                    </a:lnTo>
                    <a:lnTo>
                      <a:pt x="524" y="42"/>
                    </a:lnTo>
                    <a:lnTo>
                      <a:pt x="554" y="60"/>
                    </a:lnTo>
                    <a:lnTo>
                      <a:pt x="582" y="80"/>
                    </a:lnTo>
                    <a:lnTo>
                      <a:pt x="606" y="104"/>
                    </a:lnTo>
                    <a:lnTo>
                      <a:pt x="630" y="128"/>
                    </a:lnTo>
                    <a:lnTo>
                      <a:pt x="650" y="156"/>
                    </a:lnTo>
                    <a:lnTo>
                      <a:pt x="668" y="186"/>
                    </a:lnTo>
                    <a:lnTo>
                      <a:pt x="682" y="216"/>
                    </a:lnTo>
                    <a:lnTo>
                      <a:pt x="694" y="250"/>
                    </a:lnTo>
                    <a:lnTo>
                      <a:pt x="704" y="284"/>
                    </a:lnTo>
                    <a:lnTo>
                      <a:pt x="708" y="318"/>
                    </a:lnTo>
                    <a:lnTo>
                      <a:pt x="710" y="356"/>
                    </a:lnTo>
                    <a:lnTo>
                      <a:pt x="710" y="356"/>
                    </a:lnTo>
                    <a:close/>
                  </a:path>
                </a:pathLst>
              </a:custGeom>
              <a:solidFill>
                <a:schemeClr val="accent2"/>
              </a:solidFill>
              <a:ln>
                <a:noFill/>
              </a:ln>
            </p:spPr>
            <p:txBody>
              <a:bodyPr vert="horz" wrap="square" lIns="91410" tIns="45705" rIns="91410" bIns="45705" numCol="1" anchor="t" anchorCtr="0" compatLnSpc="1">
                <a:prstTxWarp prst="textNoShape">
                  <a:avLst/>
                </a:prstTxWarp>
              </a:bodyPr>
              <a:lstStyle/>
              <a:p>
                <a:endParaRPr lang="en-US" sz="1050" dirty="0">
                  <a:solidFill>
                    <a:srgbClr val="000000"/>
                  </a:solidFill>
                </a:endParaRPr>
              </a:p>
            </p:txBody>
          </p:sp>
          <p:grpSp>
            <p:nvGrpSpPr>
              <p:cNvPr id="44" name="Group 43"/>
              <p:cNvGrpSpPr/>
              <p:nvPr/>
            </p:nvGrpSpPr>
            <p:grpSpPr>
              <a:xfrm>
                <a:off x="1727472" y="2986851"/>
                <a:ext cx="723360" cy="670974"/>
                <a:chOff x="2217738" y="2930525"/>
                <a:chExt cx="1362075" cy="1368425"/>
              </a:xfrm>
              <a:solidFill>
                <a:schemeClr val="bg1"/>
              </a:solidFill>
            </p:grpSpPr>
            <p:sp>
              <p:nvSpPr>
                <p:cNvPr id="45" name="Freeform 28"/>
                <p:cNvSpPr>
                  <a:spLocks/>
                </p:cNvSpPr>
                <p:nvPr/>
              </p:nvSpPr>
              <p:spPr bwMode="auto">
                <a:xfrm>
                  <a:off x="2217738" y="2955925"/>
                  <a:ext cx="622300" cy="619125"/>
                </a:xfrm>
                <a:custGeom>
                  <a:avLst/>
                  <a:gdLst>
                    <a:gd name="T0" fmla="*/ 312 w 392"/>
                    <a:gd name="T1" fmla="*/ 390 h 390"/>
                    <a:gd name="T2" fmla="*/ 80 w 392"/>
                    <a:gd name="T3" fmla="*/ 390 h 390"/>
                    <a:gd name="T4" fmla="*/ 80 w 392"/>
                    <a:gd name="T5" fmla="*/ 390 h 390"/>
                    <a:gd name="T6" fmla="*/ 64 w 392"/>
                    <a:gd name="T7" fmla="*/ 388 h 390"/>
                    <a:gd name="T8" fmla="*/ 50 w 392"/>
                    <a:gd name="T9" fmla="*/ 384 h 390"/>
                    <a:gd name="T10" fmla="*/ 36 w 392"/>
                    <a:gd name="T11" fmla="*/ 376 h 390"/>
                    <a:gd name="T12" fmla="*/ 24 w 392"/>
                    <a:gd name="T13" fmla="*/ 368 h 390"/>
                    <a:gd name="T14" fmla="*/ 14 w 392"/>
                    <a:gd name="T15" fmla="*/ 356 h 390"/>
                    <a:gd name="T16" fmla="*/ 8 w 392"/>
                    <a:gd name="T17" fmla="*/ 342 h 390"/>
                    <a:gd name="T18" fmla="*/ 2 w 392"/>
                    <a:gd name="T19" fmla="*/ 326 h 390"/>
                    <a:gd name="T20" fmla="*/ 0 w 392"/>
                    <a:gd name="T21" fmla="*/ 310 h 390"/>
                    <a:gd name="T22" fmla="*/ 0 w 392"/>
                    <a:gd name="T23" fmla="*/ 80 h 390"/>
                    <a:gd name="T24" fmla="*/ 0 w 392"/>
                    <a:gd name="T25" fmla="*/ 80 h 390"/>
                    <a:gd name="T26" fmla="*/ 2 w 392"/>
                    <a:gd name="T27" fmla="*/ 64 h 390"/>
                    <a:gd name="T28" fmla="*/ 8 w 392"/>
                    <a:gd name="T29" fmla="*/ 48 h 390"/>
                    <a:gd name="T30" fmla="*/ 14 w 392"/>
                    <a:gd name="T31" fmla="*/ 34 h 390"/>
                    <a:gd name="T32" fmla="*/ 24 w 392"/>
                    <a:gd name="T33" fmla="*/ 22 h 390"/>
                    <a:gd name="T34" fmla="*/ 36 w 392"/>
                    <a:gd name="T35" fmla="*/ 14 h 390"/>
                    <a:gd name="T36" fmla="*/ 50 w 392"/>
                    <a:gd name="T37" fmla="*/ 6 h 390"/>
                    <a:gd name="T38" fmla="*/ 64 w 392"/>
                    <a:gd name="T39" fmla="*/ 2 h 390"/>
                    <a:gd name="T40" fmla="*/ 80 w 392"/>
                    <a:gd name="T41" fmla="*/ 0 h 390"/>
                    <a:gd name="T42" fmla="*/ 312 w 392"/>
                    <a:gd name="T43" fmla="*/ 0 h 390"/>
                    <a:gd name="T44" fmla="*/ 312 w 392"/>
                    <a:gd name="T45" fmla="*/ 0 h 390"/>
                    <a:gd name="T46" fmla="*/ 328 w 392"/>
                    <a:gd name="T47" fmla="*/ 2 h 390"/>
                    <a:gd name="T48" fmla="*/ 344 w 392"/>
                    <a:gd name="T49" fmla="*/ 6 h 390"/>
                    <a:gd name="T50" fmla="*/ 356 w 392"/>
                    <a:gd name="T51" fmla="*/ 14 h 390"/>
                    <a:gd name="T52" fmla="*/ 368 w 392"/>
                    <a:gd name="T53" fmla="*/ 22 h 390"/>
                    <a:gd name="T54" fmla="*/ 378 w 392"/>
                    <a:gd name="T55" fmla="*/ 34 h 390"/>
                    <a:gd name="T56" fmla="*/ 386 w 392"/>
                    <a:gd name="T57" fmla="*/ 48 h 390"/>
                    <a:gd name="T58" fmla="*/ 390 w 392"/>
                    <a:gd name="T59" fmla="*/ 64 h 390"/>
                    <a:gd name="T60" fmla="*/ 392 w 392"/>
                    <a:gd name="T61" fmla="*/ 80 h 390"/>
                    <a:gd name="T62" fmla="*/ 392 w 392"/>
                    <a:gd name="T63" fmla="*/ 310 h 390"/>
                    <a:gd name="T64" fmla="*/ 392 w 392"/>
                    <a:gd name="T65" fmla="*/ 310 h 390"/>
                    <a:gd name="T66" fmla="*/ 390 w 392"/>
                    <a:gd name="T67" fmla="*/ 326 h 390"/>
                    <a:gd name="T68" fmla="*/ 386 w 392"/>
                    <a:gd name="T69" fmla="*/ 342 h 390"/>
                    <a:gd name="T70" fmla="*/ 378 w 392"/>
                    <a:gd name="T71" fmla="*/ 356 h 390"/>
                    <a:gd name="T72" fmla="*/ 368 w 392"/>
                    <a:gd name="T73" fmla="*/ 368 h 390"/>
                    <a:gd name="T74" fmla="*/ 356 w 392"/>
                    <a:gd name="T75" fmla="*/ 376 h 390"/>
                    <a:gd name="T76" fmla="*/ 344 w 392"/>
                    <a:gd name="T77" fmla="*/ 384 h 390"/>
                    <a:gd name="T78" fmla="*/ 328 w 392"/>
                    <a:gd name="T79" fmla="*/ 388 h 390"/>
                    <a:gd name="T80" fmla="*/ 312 w 392"/>
                    <a:gd name="T81" fmla="*/ 390 h 390"/>
                    <a:gd name="T82" fmla="*/ 312 w 392"/>
                    <a:gd name="T83" fmla="*/ 390 h 3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92" h="390">
                      <a:moveTo>
                        <a:pt x="312" y="390"/>
                      </a:moveTo>
                      <a:lnTo>
                        <a:pt x="80" y="390"/>
                      </a:lnTo>
                      <a:lnTo>
                        <a:pt x="80" y="390"/>
                      </a:lnTo>
                      <a:lnTo>
                        <a:pt x="64" y="388"/>
                      </a:lnTo>
                      <a:lnTo>
                        <a:pt x="50" y="384"/>
                      </a:lnTo>
                      <a:lnTo>
                        <a:pt x="36" y="376"/>
                      </a:lnTo>
                      <a:lnTo>
                        <a:pt x="24" y="368"/>
                      </a:lnTo>
                      <a:lnTo>
                        <a:pt x="14" y="356"/>
                      </a:lnTo>
                      <a:lnTo>
                        <a:pt x="8" y="342"/>
                      </a:lnTo>
                      <a:lnTo>
                        <a:pt x="2" y="326"/>
                      </a:lnTo>
                      <a:lnTo>
                        <a:pt x="0" y="310"/>
                      </a:lnTo>
                      <a:lnTo>
                        <a:pt x="0" y="80"/>
                      </a:lnTo>
                      <a:lnTo>
                        <a:pt x="0" y="80"/>
                      </a:lnTo>
                      <a:lnTo>
                        <a:pt x="2" y="64"/>
                      </a:lnTo>
                      <a:lnTo>
                        <a:pt x="8" y="48"/>
                      </a:lnTo>
                      <a:lnTo>
                        <a:pt x="14" y="34"/>
                      </a:lnTo>
                      <a:lnTo>
                        <a:pt x="24" y="22"/>
                      </a:lnTo>
                      <a:lnTo>
                        <a:pt x="36" y="14"/>
                      </a:lnTo>
                      <a:lnTo>
                        <a:pt x="50" y="6"/>
                      </a:lnTo>
                      <a:lnTo>
                        <a:pt x="64" y="2"/>
                      </a:lnTo>
                      <a:lnTo>
                        <a:pt x="80" y="0"/>
                      </a:lnTo>
                      <a:lnTo>
                        <a:pt x="312" y="0"/>
                      </a:lnTo>
                      <a:lnTo>
                        <a:pt x="312" y="0"/>
                      </a:lnTo>
                      <a:lnTo>
                        <a:pt x="328" y="2"/>
                      </a:lnTo>
                      <a:lnTo>
                        <a:pt x="344" y="6"/>
                      </a:lnTo>
                      <a:lnTo>
                        <a:pt x="356" y="14"/>
                      </a:lnTo>
                      <a:lnTo>
                        <a:pt x="368" y="22"/>
                      </a:lnTo>
                      <a:lnTo>
                        <a:pt x="378" y="34"/>
                      </a:lnTo>
                      <a:lnTo>
                        <a:pt x="386" y="48"/>
                      </a:lnTo>
                      <a:lnTo>
                        <a:pt x="390" y="64"/>
                      </a:lnTo>
                      <a:lnTo>
                        <a:pt x="392" y="80"/>
                      </a:lnTo>
                      <a:lnTo>
                        <a:pt x="392" y="310"/>
                      </a:lnTo>
                      <a:lnTo>
                        <a:pt x="392" y="310"/>
                      </a:lnTo>
                      <a:lnTo>
                        <a:pt x="390" y="326"/>
                      </a:lnTo>
                      <a:lnTo>
                        <a:pt x="386" y="342"/>
                      </a:lnTo>
                      <a:lnTo>
                        <a:pt x="378" y="356"/>
                      </a:lnTo>
                      <a:lnTo>
                        <a:pt x="368" y="368"/>
                      </a:lnTo>
                      <a:lnTo>
                        <a:pt x="356" y="376"/>
                      </a:lnTo>
                      <a:lnTo>
                        <a:pt x="344" y="384"/>
                      </a:lnTo>
                      <a:lnTo>
                        <a:pt x="328" y="388"/>
                      </a:lnTo>
                      <a:lnTo>
                        <a:pt x="312" y="390"/>
                      </a:lnTo>
                      <a:lnTo>
                        <a:pt x="312" y="39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0" tIns="45705" rIns="91410" bIns="45705" numCol="1" anchor="t" anchorCtr="0" compatLnSpc="1">
                  <a:prstTxWarp prst="textNoShape">
                    <a:avLst/>
                  </a:prstTxWarp>
                </a:bodyPr>
                <a:lstStyle/>
                <a:p>
                  <a:endParaRPr lang="en-US" sz="1050" dirty="0">
                    <a:solidFill>
                      <a:srgbClr val="000000"/>
                    </a:solidFill>
                  </a:endParaRPr>
                </a:p>
              </p:txBody>
            </p:sp>
            <p:sp>
              <p:nvSpPr>
                <p:cNvPr id="47" name="Freeform 29"/>
                <p:cNvSpPr>
                  <a:spLocks/>
                </p:cNvSpPr>
                <p:nvPr/>
              </p:nvSpPr>
              <p:spPr bwMode="auto">
                <a:xfrm>
                  <a:off x="2909888" y="2930525"/>
                  <a:ext cx="669925" cy="669925"/>
                </a:xfrm>
                <a:custGeom>
                  <a:avLst/>
                  <a:gdLst>
                    <a:gd name="T0" fmla="*/ 162 w 422"/>
                    <a:gd name="T1" fmla="*/ 402 h 422"/>
                    <a:gd name="T2" fmla="*/ 20 w 422"/>
                    <a:gd name="T3" fmla="*/ 260 h 422"/>
                    <a:gd name="T4" fmla="*/ 20 w 422"/>
                    <a:gd name="T5" fmla="*/ 260 h 422"/>
                    <a:gd name="T6" fmla="*/ 10 w 422"/>
                    <a:gd name="T7" fmla="*/ 250 h 422"/>
                    <a:gd name="T8" fmla="*/ 4 w 422"/>
                    <a:gd name="T9" fmla="*/ 238 h 422"/>
                    <a:gd name="T10" fmla="*/ 0 w 422"/>
                    <a:gd name="T11" fmla="*/ 224 h 422"/>
                    <a:gd name="T12" fmla="*/ 0 w 422"/>
                    <a:gd name="T13" fmla="*/ 210 h 422"/>
                    <a:gd name="T14" fmla="*/ 0 w 422"/>
                    <a:gd name="T15" fmla="*/ 198 h 422"/>
                    <a:gd name="T16" fmla="*/ 4 w 422"/>
                    <a:gd name="T17" fmla="*/ 184 h 422"/>
                    <a:gd name="T18" fmla="*/ 10 w 422"/>
                    <a:gd name="T19" fmla="*/ 172 h 422"/>
                    <a:gd name="T20" fmla="*/ 20 w 422"/>
                    <a:gd name="T21" fmla="*/ 162 h 422"/>
                    <a:gd name="T22" fmla="*/ 162 w 422"/>
                    <a:gd name="T23" fmla="*/ 20 h 422"/>
                    <a:gd name="T24" fmla="*/ 162 w 422"/>
                    <a:gd name="T25" fmla="*/ 20 h 422"/>
                    <a:gd name="T26" fmla="*/ 172 w 422"/>
                    <a:gd name="T27" fmla="*/ 10 h 422"/>
                    <a:gd name="T28" fmla="*/ 184 w 422"/>
                    <a:gd name="T29" fmla="*/ 4 h 422"/>
                    <a:gd name="T30" fmla="*/ 198 w 422"/>
                    <a:gd name="T31" fmla="*/ 0 h 422"/>
                    <a:gd name="T32" fmla="*/ 212 w 422"/>
                    <a:gd name="T33" fmla="*/ 0 h 422"/>
                    <a:gd name="T34" fmla="*/ 224 w 422"/>
                    <a:gd name="T35" fmla="*/ 0 h 422"/>
                    <a:gd name="T36" fmla="*/ 238 w 422"/>
                    <a:gd name="T37" fmla="*/ 4 h 422"/>
                    <a:gd name="T38" fmla="*/ 250 w 422"/>
                    <a:gd name="T39" fmla="*/ 10 h 422"/>
                    <a:gd name="T40" fmla="*/ 260 w 422"/>
                    <a:gd name="T41" fmla="*/ 20 h 422"/>
                    <a:gd name="T42" fmla="*/ 402 w 422"/>
                    <a:gd name="T43" fmla="*/ 162 h 422"/>
                    <a:gd name="T44" fmla="*/ 402 w 422"/>
                    <a:gd name="T45" fmla="*/ 162 h 422"/>
                    <a:gd name="T46" fmla="*/ 412 w 422"/>
                    <a:gd name="T47" fmla="*/ 172 h 422"/>
                    <a:gd name="T48" fmla="*/ 418 w 422"/>
                    <a:gd name="T49" fmla="*/ 184 h 422"/>
                    <a:gd name="T50" fmla="*/ 422 w 422"/>
                    <a:gd name="T51" fmla="*/ 198 h 422"/>
                    <a:gd name="T52" fmla="*/ 422 w 422"/>
                    <a:gd name="T53" fmla="*/ 210 h 422"/>
                    <a:gd name="T54" fmla="*/ 422 w 422"/>
                    <a:gd name="T55" fmla="*/ 224 h 422"/>
                    <a:gd name="T56" fmla="*/ 418 w 422"/>
                    <a:gd name="T57" fmla="*/ 238 h 422"/>
                    <a:gd name="T58" fmla="*/ 412 w 422"/>
                    <a:gd name="T59" fmla="*/ 250 h 422"/>
                    <a:gd name="T60" fmla="*/ 402 w 422"/>
                    <a:gd name="T61" fmla="*/ 260 h 422"/>
                    <a:gd name="T62" fmla="*/ 260 w 422"/>
                    <a:gd name="T63" fmla="*/ 402 h 422"/>
                    <a:gd name="T64" fmla="*/ 260 w 422"/>
                    <a:gd name="T65" fmla="*/ 402 h 422"/>
                    <a:gd name="T66" fmla="*/ 250 w 422"/>
                    <a:gd name="T67" fmla="*/ 412 h 422"/>
                    <a:gd name="T68" fmla="*/ 238 w 422"/>
                    <a:gd name="T69" fmla="*/ 418 h 422"/>
                    <a:gd name="T70" fmla="*/ 224 w 422"/>
                    <a:gd name="T71" fmla="*/ 422 h 422"/>
                    <a:gd name="T72" fmla="*/ 212 w 422"/>
                    <a:gd name="T73" fmla="*/ 422 h 422"/>
                    <a:gd name="T74" fmla="*/ 198 w 422"/>
                    <a:gd name="T75" fmla="*/ 422 h 422"/>
                    <a:gd name="T76" fmla="*/ 184 w 422"/>
                    <a:gd name="T77" fmla="*/ 418 h 422"/>
                    <a:gd name="T78" fmla="*/ 172 w 422"/>
                    <a:gd name="T79" fmla="*/ 412 h 422"/>
                    <a:gd name="T80" fmla="*/ 162 w 422"/>
                    <a:gd name="T81" fmla="*/ 402 h 422"/>
                    <a:gd name="T82" fmla="*/ 162 w 422"/>
                    <a:gd name="T83" fmla="*/ 402 h 4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2" h="422">
                      <a:moveTo>
                        <a:pt x="162" y="402"/>
                      </a:moveTo>
                      <a:lnTo>
                        <a:pt x="20" y="260"/>
                      </a:lnTo>
                      <a:lnTo>
                        <a:pt x="20" y="260"/>
                      </a:lnTo>
                      <a:lnTo>
                        <a:pt x="10" y="250"/>
                      </a:lnTo>
                      <a:lnTo>
                        <a:pt x="4" y="238"/>
                      </a:lnTo>
                      <a:lnTo>
                        <a:pt x="0" y="224"/>
                      </a:lnTo>
                      <a:lnTo>
                        <a:pt x="0" y="210"/>
                      </a:lnTo>
                      <a:lnTo>
                        <a:pt x="0" y="198"/>
                      </a:lnTo>
                      <a:lnTo>
                        <a:pt x="4" y="184"/>
                      </a:lnTo>
                      <a:lnTo>
                        <a:pt x="10" y="172"/>
                      </a:lnTo>
                      <a:lnTo>
                        <a:pt x="20" y="162"/>
                      </a:lnTo>
                      <a:lnTo>
                        <a:pt x="162" y="20"/>
                      </a:lnTo>
                      <a:lnTo>
                        <a:pt x="162" y="20"/>
                      </a:lnTo>
                      <a:lnTo>
                        <a:pt x="172" y="10"/>
                      </a:lnTo>
                      <a:lnTo>
                        <a:pt x="184" y="4"/>
                      </a:lnTo>
                      <a:lnTo>
                        <a:pt x="198" y="0"/>
                      </a:lnTo>
                      <a:lnTo>
                        <a:pt x="212" y="0"/>
                      </a:lnTo>
                      <a:lnTo>
                        <a:pt x="224" y="0"/>
                      </a:lnTo>
                      <a:lnTo>
                        <a:pt x="238" y="4"/>
                      </a:lnTo>
                      <a:lnTo>
                        <a:pt x="250" y="10"/>
                      </a:lnTo>
                      <a:lnTo>
                        <a:pt x="260" y="20"/>
                      </a:lnTo>
                      <a:lnTo>
                        <a:pt x="402" y="162"/>
                      </a:lnTo>
                      <a:lnTo>
                        <a:pt x="402" y="162"/>
                      </a:lnTo>
                      <a:lnTo>
                        <a:pt x="412" y="172"/>
                      </a:lnTo>
                      <a:lnTo>
                        <a:pt x="418" y="184"/>
                      </a:lnTo>
                      <a:lnTo>
                        <a:pt x="422" y="198"/>
                      </a:lnTo>
                      <a:lnTo>
                        <a:pt x="422" y="210"/>
                      </a:lnTo>
                      <a:lnTo>
                        <a:pt x="422" y="224"/>
                      </a:lnTo>
                      <a:lnTo>
                        <a:pt x="418" y="238"/>
                      </a:lnTo>
                      <a:lnTo>
                        <a:pt x="412" y="250"/>
                      </a:lnTo>
                      <a:lnTo>
                        <a:pt x="402" y="260"/>
                      </a:lnTo>
                      <a:lnTo>
                        <a:pt x="260" y="402"/>
                      </a:lnTo>
                      <a:lnTo>
                        <a:pt x="260" y="402"/>
                      </a:lnTo>
                      <a:lnTo>
                        <a:pt x="250" y="412"/>
                      </a:lnTo>
                      <a:lnTo>
                        <a:pt x="238" y="418"/>
                      </a:lnTo>
                      <a:lnTo>
                        <a:pt x="224" y="422"/>
                      </a:lnTo>
                      <a:lnTo>
                        <a:pt x="212" y="422"/>
                      </a:lnTo>
                      <a:lnTo>
                        <a:pt x="198" y="422"/>
                      </a:lnTo>
                      <a:lnTo>
                        <a:pt x="184" y="418"/>
                      </a:lnTo>
                      <a:lnTo>
                        <a:pt x="172" y="412"/>
                      </a:lnTo>
                      <a:lnTo>
                        <a:pt x="162" y="402"/>
                      </a:lnTo>
                      <a:lnTo>
                        <a:pt x="162" y="4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0" tIns="45705" rIns="91410" bIns="45705" numCol="1" anchor="t" anchorCtr="0" compatLnSpc="1">
                  <a:prstTxWarp prst="textNoShape">
                    <a:avLst/>
                  </a:prstTxWarp>
                </a:bodyPr>
                <a:lstStyle/>
                <a:p>
                  <a:endParaRPr lang="en-US" sz="1050" dirty="0">
                    <a:solidFill>
                      <a:srgbClr val="000000"/>
                    </a:solidFill>
                  </a:endParaRPr>
                </a:p>
              </p:txBody>
            </p:sp>
            <p:sp>
              <p:nvSpPr>
                <p:cNvPr id="48" name="Freeform 41"/>
                <p:cNvSpPr>
                  <a:spLocks/>
                </p:cNvSpPr>
                <p:nvPr/>
              </p:nvSpPr>
              <p:spPr bwMode="auto">
                <a:xfrm>
                  <a:off x="2217738" y="3676650"/>
                  <a:ext cx="622300" cy="622300"/>
                </a:xfrm>
                <a:custGeom>
                  <a:avLst/>
                  <a:gdLst>
                    <a:gd name="T0" fmla="*/ 312 w 392"/>
                    <a:gd name="T1" fmla="*/ 392 h 392"/>
                    <a:gd name="T2" fmla="*/ 80 w 392"/>
                    <a:gd name="T3" fmla="*/ 392 h 392"/>
                    <a:gd name="T4" fmla="*/ 80 w 392"/>
                    <a:gd name="T5" fmla="*/ 392 h 392"/>
                    <a:gd name="T6" fmla="*/ 64 w 392"/>
                    <a:gd name="T7" fmla="*/ 390 h 392"/>
                    <a:gd name="T8" fmla="*/ 50 w 392"/>
                    <a:gd name="T9" fmla="*/ 386 h 392"/>
                    <a:gd name="T10" fmla="*/ 36 w 392"/>
                    <a:gd name="T11" fmla="*/ 378 h 392"/>
                    <a:gd name="T12" fmla="*/ 24 w 392"/>
                    <a:gd name="T13" fmla="*/ 368 h 392"/>
                    <a:gd name="T14" fmla="*/ 14 w 392"/>
                    <a:gd name="T15" fmla="*/ 356 h 392"/>
                    <a:gd name="T16" fmla="*/ 8 w 392"/>
                    <a:gd name="T17" fmla="*/ 342 h 392"/>
                    <a:gd name="T18" fmla="*/ 2 w 392"/>
                    <a:gd name="T19" fmla="*/ 328 h 392"/>
                    <a:gd name="T20" fmla="*/ 0 w 392"/>
                    <a:gd name="T21" fmla="*/ 312 h 392"/>
                    <a:gd name="T22" fmla="*/ 0 w 392"/>
                    <a:gd name="T23" fmla="*/ 80 h 392"/>
                    <a:gd name="T24" fmla="*/ 0 w 392"/>
                    <a:gd name="T25" fmla="*/ 80 h 392"/>
                    <a:gd name="T26" fmla="*/ 2 w 392"/>
                    <a:gd name="T27" fmla="*/ 64 h 392"/>
                    <a:gd name="T28" fmla="*/ 8 w 392"/>
                    <a:gd name="T29" fmla="*/ 50 h 392"/>
                    <a:gd name="T30" fmla="*/ 14 w 392"/>
                    <a:gd name="T31" fmla="*/ 36 h 392"/>
                    <a:gd name="T32" fmla="*/ 24 w 392"/>
                    <a:gd name="T33" fmla="*/ 24 h 392"/>
                    <a:gd name="T34" fmla="*/ 36 w 392"/>
                    <a:gd name="T35" fmla="*/ 14 h 392"/>
                    <a:gd name="T36" fmla="*/ 50 w 392"/>
                    <a:gd name="T37" fmla="*/ 6 h 392"/>
                    <a:gd name="T38" fmla="*/ 64 w 392"/>
                    <a:gd name="T39" fmla="*/ 2 h 392"/>
                    <a:gd name="T40" fmla="*/ 80 w 392"/>
                    <a:gd name="T41" fmla="*/ 0 h 392"/>
                    <a:gd name="T42" fmla="*/ 312 w 392"/>
                    <a:gd name="T43" fmla="*/ 0 h 392"/>
                    <a:gd name="T44" fmla="*/ 312 w 392"/>
                    <a:gd name="T45" fmla="*/ 0 h 392"/>
                    <a:gd name="T46" fmla="*/ 328 w 392"/>
                    <a:gd name="T47" fmla="*/ 2 h 392"/>
                    <a:gd name="T48" fmla="*/ 344 w 392"/>
                    <a:gd name="T49" fmla="*/ 6 h 392"/>
                    <a:gd name="T50" fmla="*/ 356 w 392"/>
                    <a:gd name="T51" fmla="*/ 14 h 392"/>
                    <a:gd name="T52" fmla="*/ 368 w 392"/>
                    <a:gd name="T53" fmla="*/ 24 h 392"/>
                    <a:gd name="T54" fmla="*/ 378 w 392"/>
                    <a:gd name="T55" fmla="*/ 36 h 392"/>
                    <a:gd name="T56" fmla="*/ 386 w 392"/>
                    <a:gd name="T57" fmla="*/ 50 h 392"/>
                    <a:gd name="T58" fmla="*/ 390 w 392"/>
                    <a:gd name="T59" fmla="*/ 64 h 392"/>
                    <a:gd name="T60" fmla="*/ 392 w 392"/>
                    <a:gd name="T61" fmla="*/ 80 h 392"/>
                    <a:gd name="T62" fmla="*/ 392 w 392"/>
                    <a:gd name="T63" fmla="*/ 312 h 392"/>
                    <a:gd name="T64" fmla="*/ 392 w 392"/>
                    <a:gd name="T65" fmla="*/ 312 h 392"/>
                    <a:gd name="T66" fmla="*/ 390 w 392"/>
                    <a:gd name="T67" fmla="*/ 328 h 392"/>
                    <a:gd name="T68" fmla="*/ 386 w 392"/>
                    <a:gd name="T69" fmla="*/ 342 h 392"/>
                    <a:gd name="T70" fmla="*/ 378 w 392"/>
                    <a:gd name="T71" fmla="*/ 356 h 392"/>
                    <a:gd name="T72" fmla="*/ 368 w 392"/>
                    <a:gd name="T73" fmla="*/ 368 h 392"/>
                    <a:gd name="T74" fmla="*/ 356 w 392"/>
                    <a:gd name="T75" fmla="*/ 378 h 392"/>
                    <a:gd name="T76" fmla="*/ 344 w 392"/>
                    <a:gd name="T77" fmla="*/ 386 h 392"/>
                    <a:gd name="T78" fmla="*/ 328 w 392"/>
                    <a:gd name="T79" fmla="*/ 390 h 392"/>
                    <a:gd name="T80" fmla="*/ 312 w 392"/>
                    <a:gd name="T81" fmla="*/ 392 h 392"/>
                    <a:gd name="T82" fmla="*/ 312 w 392"/>
                    <a:gd name="T83" fmla="*/ 392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92" h="392">
                      <a:moveTo>
                        <a:pt x="312" y="392"/>
                      </a:moveTo>
                      <a:lnTo>
                        <a:pt x="80" y="392"/>
                      </a:lnTo>
                      <a:lnTo>
                        <a:pt x="80" y="392"/>
                      </a:lnTo>
                      <a:lnTo>
                        <a:pt x="64" y="390"/>
                      </a:lnTo>
                      <a:lnTo>
                        <a:pt x="50" y="386"/>
                      </a:lnTo>
                      <a:lnTo>
                        <a:pt x="36" y="378"/>
                      </a:lnTo>
                      <a:lnTo>
                        <a:pt x="24" y="368"/>
                      </a:lnTo>
                      <a:lnTo>
                        <a:pt x="14" y="356"/>
                      </a:lnTo>
                      <a:lnTo>
                        <a:pt x="8" y="342"/>
                      </a:lnTo>
                      <a:lnTo>
                        <a:pt x="2" y="328"/>
                      </a:lnTo>
                      <a:lnTo>
                        <a:pt x="0" y="312"/>
                      </a:lnTo>
                      <a:lnTo>
                        <a:pt x="0" y="80"/>
                      </a:lnTo>
                      <a:lnTo>
                        <a:pt x="0" y="80"/>
                      </a:lnTo>
                      <a:lnTo>
                        <a:pt x="2" y="64"/>
                      </a:lnTo>
                      <a:lnTo>
                        <a:pt x="8" y="50"/>
                      </a:lnTo>
                      <a:lnTo>
                        <a:pt x="14" y="36"/>
                      </a:lnTo>
                      <a:lnTo>
                        <a:pt x="24" y="24"/>
                      </a:lnTo>
                      <a:lnTo>
                        <a:pt x="36" y="14"/>
                      </a:lnTo>
                      <a:lnTo>
                        <a:pt x="50" y="6"/>
                      </a:lnTo>
                      <a:lnTo>
                        <a:pt x="64" y="2"/>
                      </a:lnTo>
                      <a:lnTo>
                        <a:pt x="80" y="0"/>
                      </a:lnTo>
                      <a:lnTo>
                        <a:pt x="312" y="0"/>
                      </a:lnTo>
                      <a:lnTo>
                        <a:pt x="312" y="0"/>
                      </a:lnTo>
                      <a:lnTo>
                        <a:pt x="328" y="2"/>
                      </a:lnTo>
                      <a:lnTo>
                        <a:pt x="344" y="6"/>
                      </a:lnTo>
                      <a:lnTo>
                        <a:pt x="356" y="14"/>
                      </a:lnTo>
                      <a:lnTo>
                        <a:pt x="368" y="24"/>
                      </a:lnTo>
                      <a:lnTo>
                        <a:pt x="378" y="36"/>
                      </a:lnTo>
                      <a:lnTo>
                        <a:pt x="386" y="50"/>
                      </a:lnTo>
                      <a:lnTo>
                        <a:pt x="390" y="64"/>
                      </a:lnTo>
                      <a:lnTo>
                        <a:pt x="392" y="80"/>
                      </a:lnTo>
                      <a:lnTo>
                        <a:pt x="392" y="312"/>
                      </a:lnTo>
                      <a:lnTo>
                        <a:pt x="392" y="312"/>
                      </a:lnTo>
                      <a:lnTo>
                        <a:pt x="390" y="328"/>
                      </a:lnTo>
                      <a:lnTo>
                        <a:pt x="386" y="342"/>
                      </a:lnTo>
                      <a:lnTo>
                        <a:pt x="378" y="356"/>
                      </a:lnTo>
                      <a:lnTo>
                        <a:pt x="368" y="368"/>
                      </a:lnTo>
                      <a:lnTo>
                        <a:pt x="356" y="378"/>
                      </a:lnTo>
                      <a:lnTo>
                        <a:pt x="344" y="386"/>
                      </a:lnTo>
                      <a:lnTo>
                        <a:pt x="328" y="390"/>
                      </a:lnTo>
                      <a:lnTo>
                        <a:pt x="312" y="392"/>
                      </a:lnTo>
                      <a:lnTo>
                        <a:pt x="312" y="3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0" tIns="45705" rIns="91410" bIns="45705" numCol="1" anchor="t" anchorCtr="0" compatLnSpc="1">
                  <a:prstTxWarp prst="textNoShape">
                    <a:avLst/>
                  </a:prstTxWarp>
                </a:bodyPr>
                <a:lstStyle/>
                <a:p>
                  <a:endParaRPr lang="en-US" sz="1050" dirty="0">
                    <a:solidFill>
                      <a:srgbClr val="000000"/>
                    </a:solidFill>
                  </a:endParaRPr>
                </a:p>
              </p:txBody>
            </p:sp>
            <p:sp>
              <p:nvSpPr>
                <p:cNvPr id="49" name="Freeform 42"/>
                <p:cNvSpPr>
                  <a:spLocks/>
                </p:cNvSpPr>
                <p:nvPr/>
              </p:nvSpPr>
              <p:spPr bwMode="auto">
                <a:xfrm>
                  <a:off x="2935288" y="3676650"/>
                  <a:ext cx="619125" cy="622300"/>
                </a:xfrm>
                <a:custGeom>
                  <a:avLst/>
                  <a:gdLst>
                    <a:gd name="T0" fmla="*/ 310 w 390"/>
                    <a:gd name="T1" fmla="*/ 392 h 392"/>
                    <a:gd name="T2" fmla="*/ 80 w 390"/>
                    <a:gd name="T3" fmla="*/ 392 h 392"/>
                    <a:gd name="T4" fmla="*/ 80 w 390"/>
                    <a:gd name="T5" fmla="*/ 392 h 392"/>
                    <a:gd name="T6" fmla="*/ 64 w 390"/>
                    <a:gd name="T7" fmla="*/ 390 h 392"/>
                    <a:gd name="T8" fmla="*/ 48 w 390"/>
                    <a:gd name="T9" fmla="*/ 386 h 392"/>
                    <a:gd name="T10" fmla="*/ 34 w 390"/>
                    <a:gd name="T11" fmla="*/ 378 h 392"/>
                    <a:gd name="T12" fmla="*/ 22 w 390"/>
                    <a:gd name="T13" fmla="*/ 368 h 392"/>
                    <a:gd name="T14" fmla="*/ 14 w 390"/>
                    <a:gd name="T15" fmla="*/ 356 h 392"/>
                    <a:gd name="T16" fmla="*/ 6 w 390"/>
                    <a:gd name="T17" fmla="*/ 342 h 392"/>
                    <a:gd name="T18" fmla="*/ 2 w 390"/>
                    <a:gd name="T19" fmla="*/ 328 h 392"/>
                    <a:gd name="T20" fmla="*/ 0 w 390"/>
                    <a:gd name="T21" fmla="*/ 312 h 392"/>
                    <a:gd name="T22" fmla="*/ 0 w 390"/>
                    <a:gd name="T23" fmla="*/ 80 h 392"/>
                    <a:gd name="T24" fmla="*/ 0 w 390"/>
                    <a:gd name="T25" fmla="*/ 80 h 392"/>
                    <a:gd name="T26" fmla="*/ 2 w 390"/>
                    <a:gd name="T27" fmla="*/ 64 h 392"/>
                    <a:gd name="T28" fmla="*/ 6 w 390"/>
                    <a:gd name="T29" fmla="*/ 50 h 392"/>
                    <a:gd name="T30" fmla="*/ 14 w 390"/>
                    <a:gd name="T31" fmla="*/ 36 h 392"/>
                    <a:gd name="T32" fmla="*/ 22 w 390"/>
                    <a:gd name="T33" fmla="*/ 24 h 392"/>
                    <a:gd name="T34" fmla="*/ 34 w 390"/>
                    <a:gd name="T35" fmla="*/ 14 h 392"/>
                    <a:gd name="T36" fmla="*/ 48 w 390"/>
                    <a:gd name="T37" fmla="*/ 6 h 392"/>
                    <a:gd name="T38" fmla="*/ 64 w 390"/>
                    <a:gd name="T39" fmla="*/ 2 h 392"/>
                    <a:gd name="T40" fmla="*/ 80 w 390"/>
                    <a:gd name="T41" fmla="*/ 0 h 392"/>
                    <a:gd name="T42" fmla="*/ 310 w 390"/>
                    <a:gd name="T43" fmla="*/ 0 h 392"/>
                    <a:gd name="T44" fmla="*/ 310 w 390"/>
                    <a:gd name="T45" fmla="*/ 0 h 392"/>
                    <a:gd name="T46" fmla="*/ 326 w 390"/>
                    <a:gd name="T47" fmla="*/ 2 h 392"/>
                    <a:gd name="T48" fmla="*/ 342 w 390"/>
                    <a:gd name="T49" fmla="*/ 6 h 392"/>
                    <a:gd name="T50" fmla="*/ 356 w 390"/>
                    <a:gd name="T51" fmla="*/ 14 h 392"/>
                    <a:gd name="T52" fmla="*/ 368 w 390"/>
                    <a:gd name="T53" fmla="*/ 24 h 392"/>
                    <a:gd name="T54" fmla="*/ 376 w 390"/>
                    <a:gd name="T55" fmla="*/ 36 h 392"/>
                    <a:gd name="T56" fmla="*/ 384 w 390"/>
                    <a:gd name="T57" fmla="*/ 50 h 392"/>
                    <a:gd name="T58" fmla="*/ 388 w 390"/>
                    <a:gd name="T59" fmla="*/ 64 h 392"/>
                    <a:gd name="T60" fmla="*/ 390 w 390"/>
                    <a:gd name="T61" fmla="*/ 80 h 392"/>
                    <a:gd name="T62" fmla="*/ 390 w 390"/>
                    <a:gd name="T63" fmla="*/ 312 h 392"/>
                    <a:gd name="T64" fmla="*/ 390 w 390"/>
                    <a:gd name="T65" fmla="*/ 312 h 392"/>
                    <a:gd name="T66" fmla="*/ 388 w 390"/>
                    <a:gd name="T67" fmla="*/ 328 h 392"/>
                    <a:gd name="T68" fmla="*/ 384 w 390"/>
                    <a:gd name="T69" fmla="*/ 342 h 392"/>
                    <a:gd name="T70" fmla="*/ 376 w 390"/>
                    <a:gd name="T71" fmla="*/ 356 h 392"/>
                    <a:gd name="T72" fmla="*/ 368 w 390"/>
                    <a:gd name="T73" fmla="*/ 368 h 392"/>
                    <a:gd name="T74" fmla="*/ 356 w 390"/>
                    <a:gd name="T75" fmla="*/ 378 h 392"/>
                    <a:gd name="T76" fmla="*/ 342 w 390"/>
                    <a:gd name="T77" fmla="*/ 386 h 392"/>
                    <a:gd name="T78" fmla="*/ 326 w 390"/>
                    <a:gd name="T79" fmla="*/ 390 h 392"/>
                    <a:gd name="T80" fmla="*/ 310 w 390"/>
                    <a:gd name="T81" fmla="*/ 392 h 392"/>
                    <a:gd name="T82" fmla="*/ 310 w 390"/>
                    <a:gd name="T83" fmla="*/ 392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90" h="392">
                      <a:moveTo>
                        <a:pt x="310" y="392"/>
                      </a:moveTo>
                      <a:lnTo>
                        <a:pt x="80" y="392"/>
                      </a:lnTo>
                      <a:lnTo>
                        <a:pt x="80" y="392"/>
                      </a:lnTo>
                      <a:lnTo>
                        <a:pt x="64" y="390"/>
                      </a:lnTo>
                      <a:lnTo>
                        <a:pt x="48" y="386"/>
                      </a:lnTo>
                      <a:lnTo>
                        <a:pt x="34" y="378"/>
                      </a:lnTo>
                      <a:lnTo>
                        <a:pt x="22" y="368"/>
                      </a:lnTo>
                      <a:lnTo>
                        <a:pt x="14" y="356"/>
                      </a:lnTo>
                      <a:lnTo>
                        <a:pt x="6" y="342"/>
                      </a:lnTo>
                      <a:lnTo>
                        <a:pt x="2" y="328"/>
                      </a:lnTo>
                      <a:lnTo>
                        <a:pt x="0" y="312"/>
                      </a:lnTo>
                      <a:lnTo>
                        <a:pt x="0" y="80"/>
                      </a:lnTo>
                      <a:lnTo>
                        <a:pt x="0" y="80"/>
                      </a:lnTo>
                      <a:lnTo>
                        <a:pt x="2" y="64"/>
                      </a:lnTo>
                      <a:lnTo>
                        <a:pt x="6" y="50"/>
                      </a:lnTo>
                      <a:lnTo>
                        <a:pt x="14" y="36"/>
                      </a:lnTo>
                      <a:lnTo>
                        <a:pt x="22" y="24"/>
                      </a:lnTo>
                      <a:lnTo>
                        <a:pt x="34" y="14"/>
                      </a:lnTo>
                      <a:lnTo>
                        <a:pt x="48" y="6"/>
                      </a:lnTo>
                      <a:lnTo>
                        <a:pt x="64" y="2"/>
                      </a:lnTo>
                      <a:lnTo>
                        <a:pt x="80" y="0"/>
                      </a:lnTo>
                      <a:lnTo>
                        <a:pt x="310" y="0"/>
                      </a:lnTo>
                      <a:lnTo>
                        <a:pt x="310" y="0"/>
                      </a:lnTo>
                      <a:lnTo>
                        <a:pt x="326" y="2"/>
                      </a:lnTo>
                      <a:lnTo>
                        <a:pt x="342" y="6"/>
                      </a:lnTo>
                      <a:lnTo>
                        <a:pt x="356" y="14"/>
                      </a:lnTo>
                      <a:lnTo>
                        <a:pt x="368" y="24"/>
                      </a:lnTo>
                      <a:lnTo>
                        <a:pt x="376" y="36"/>
                      </a:lnTo>
                      <a:lnTo>
                        <a:pt x="384" y="50"/>
                      </a:lnTo>
                      <a:lnTo>
                        <a:pt x="388" y="64"/>
                      </a:lnTo>
                      <a:lnTo>
                        <a:pt x="390" y="80"/>
                      </a:lnTo>
                      <a:lnTo>
                        <a:pt x="390" y="312"/>
                      </a:lnTo>
                      <a:lnTo>
                        <a:pt x="390" y="312"/>
                      </a:lnTo>
                      <a:lnTo>
                        <a:pt x="388" y="328"/>
                      </a:lnTo>
                      <a:lnTo>
                        <a:pt x="384" y="342"/>
                      </a:lnTo>
                      <a:lnTo>
                        <a:pt x="376" y="356"/>
                      </a:lnTo>
                      <a:lnTo>
                        <a:pt x="368" y="368"/>
                      </a:lnTo>
                      <a:lnTo>
                        <a:pt x="356" y="378"/>
                      </a:lnTo>
                      <a:lnTo>
                        <a:pt x="342" y="386"/>
                      </a:lnTo>
                      <a:lnTo>
                        <a:pt x="326" y="390"/>
                      </a:lnTo>
                      <a:lnTo>
                        <a:pt x="310" y="392"/>
                      </a:lnTo>
                      <a:lnTo>
                        <a:pt x="310" y="3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0" tIns="45705" rIns="91410" bIns="45705" numCol="1" anchor="t" anchorCtr="0" compatLnSpc="1">
                  <a:prstTxWarp prst="textNoShape">
                    <a:avLst/>
                  </a:prstTxWarp>
                </a:bodyPr>
                <a:lstStyle/>
                <a:p>
                  <a:endParaRPr lang="en-US" sz="1050" dirty="0">
                    <a:solidFill>
                      <a:srgbClr val="000000"/>
                    </a:solidFill>
                  </a:endParaRPr>
                </a:p>
              </p:txBody>
            </p:sp>
          </p:grpSp>
        </p:grpSp>
        <p:sp>
          <p:nvSpPr>
            <p:cNvPr id="51" name="Rectangle 17"/>
            <p:cNvSpPr txBox="1">
              <a:spLocks/>
            </p:cNvSpPr>
            <p:nvPr/>
          </p:nvSpPr>
          <p:spPr>
            <a:xfrm>
              <a:off x="3766422" y="4264623"/>
              <a:ext cx="2004534" cy="92333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indent="-192088" defTabSz="895350" eaLnBrk="1" hangingPunct="1">
                <a:buClr>
                  <a:schemeClr val="tx2"/>
                </a:buClr>
                <a:buSzPct val="125000"/>
                <a:buFont typeface="Arial" charset="0"/>
                <a:buChar char="▪"/>
                <a:defRPr baseline="0">
                  <a:latin typeface="+mn-lt"/>
                </a:defRPr>
              </a:lvl2pPr>
              <a:lvl3pPr marL="457200" indent="-261938" defTabSz="895350" eaLnBrk="1" hangingPunct="1">
                <a:buClr>
                  <a:schemeClr val="tx2"/>
                </a:buClr>
                <a:buSzPct val="120000"/>
                <a:buFont typeface="Arial" charset="0"/>
                <a:buChar char="–"/>
                <a:defRPr baseline="0">
                  <a:latin typeface="+mn-lt"/>
                </a:defRPr>
              </a:lvl3pPr>
              <a:lvl4pPr marL="614363" indent="-155575" defTabSz="895350" eaLnBrk="1" hangingPunct="1">
                <a:buClr>
                  <a:schemeClr val="tx2"/>
                </a:buClr>
                <a:buSzPct val="120000"/>
                <a:buFont typeface="Arial" charset="0"/>
                <a:buChar char="▫"/>
                <a:defRPr baseline="0">
                  <a:latin typeface="+mn-lt"/>
                </a:defRPr>
              </a:lvl4pPr>
              <a:lvl5pPr marL="749808"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buClr>
                  <a:srgbClr val="002960"/>
                </a:buClr>
              </a:pPr>
              <a:r>
                <a:rPr lang="en-US" sz="1200" b="1" dirty="0">
                  <a:solidFill>
                    <a:srgbClr val="002960"/>
                  </a:solidFill>
                </a:rPr>
                <a:t>Potential disconnects</a:t>
              </a:r>
            </a:p>
            <a:p>
              <a:pPr>
                <a:buClr>
                  <a:srgbClr val="002960"/>
                </a:buClr>
              </a:pPr>
              <a:r>
                <a:rPr lang="en-US" sz="1200" dirty="0">
                  <a:solidFill>
                    <a:srgbClr val="000000"/>
                  </a:solidFill>
                </a:rPr>
                <a:t>Highlight areas that may require </a:t>
              </a:r>
              <a:r>
                <a:rPr lang="en-US" sz="1200" b="1" dirty="0">
                  <a:solidFill>
                    <a:srgbClr val="002960"/>
                  </a:solidFill>
                </a:rPr>
                <a:t>unilateral change</a:t>
              </a:r>
              <a:r>
                <a:rPr lang="en-US" sz="1200" dirty="0">
                  <a:solidFill>
                    <a:srgbClr val="000000"/>
                  </a:solidFill>
                </a:rPr>
                <a:t>; </a:t>
              </a:r>
              <a:r>
                <a:rPr lang="en-US" sz="1200" b="1" dirty="0">
                  <a:solidFill>
                    <a:srgbClr val="002960"/>
                  </a:solidFill>
                </a:rPr>
                <a:t>identify ‘jewels’ </a:t>
              </a:r>
              <a:r>
                <a:rPr lang="en-US" sz="1200" dirty="0">
                  <a:solidFill>
                    <a:srgbClr val="000000"/>
                  </a:solidFill>
                </a:rPr>
                <a:t>that should not be lost from both sides</a:t>
              </a:r>
            </a:p>
          </p:txBody>
        </p:sp>
        <p:grpSp>
          <p:nvGrpSpPr>
            <p:cNvPr id="52" name="Group 51"/>
            <p:cNvGrpSpPr/>
            <p:nvPr/>
          </p:nvGrpSpPr>
          <p:grpSpPr>
            <a:xfrm>
              <a:off x="3315477" y="4264624"/>
              <a:ext cx="336393" cy="324133"/>
              <a:chOff x="1477024" y="4156522"/>
              <a:chExt cx="820113" cy="820113"/>
            </a:xfrm>
          </p:grpSpPr>
          <p:sp>
            <p:nvSpPr>
              <p:cNvPr id="53" name="Freeform 27"/>
              <p:cNvSpPr>
                <a:spLocks/>
              </p:cNvSpPr>
              <p:nvPr/>
            </p:nvSpPr>
            <p:spPr bwMode="auto">
              <a:xfrm>
                <a:off x="1477024" y="4156522"/>
                <a:ext cx="820113" cy="820113"/>
              </a:xfrm>
              <a:custGeom>
                <a:avLst/>
                <a:gdLst>
                  <a:gd name="T0" fmla="*/ 710 w 710"/>
                  <a:gd name="T1" fmla="*/ 356 h 710"/>
                  <a:gd name="T2" fmla="*/ 704 w 710"/>
                  <a:gd name="T3" fmla="*/ 426 h 710"/>
                  <a:gd name="T4" fmla="*/ 682 w 710"/>
                  <a:gd name="T5" fmla="*/ 494 h 710"/>
                  <a:gd name="T6" fmla="*/ 650 w 710"/>
                  <a:gd name="T7" fmla="*/ 554 h 710"/>
                  <a:gd name="T8" fmla="*/ 606 w 710"/>
                  <a:gd name="T9" fmla="*/ 606 h 710"/>
                  <a:gd name="T10" fmla="*/ 554 w 710"/>
                  <a:gd name="T11" fmla="*/ 650 h 710"/>
                  <a:gd name="T12" fmla="*/ 494 w 710"/>
                  <a:gd name="T13" fmla="*/ 682 h 710"/>
                  <a:gd name="T14" fmla="*/ 426 w 710"/>
                  <a:gd name="T15" fmla="*/ 704 h 710"/>
                  <a:gd name="T16" fmla="*/ 354 w 710"/>
                  <a:gd name="T17" fmla="*/ 710 h 710"/>
                  <a:gd name="T18" fmla="*/ 318 w 710"/>
                  <a:gd name="T19" fmla="*/ 708 h 710"/>
                  <a:gd name="T20" fmla="*/ 250 w 710"/>
                  <a:gd name="T21" fmla="*/ 694 h 710"/>
                  <a:gd name="T22" fmla="*/ 186 w 710"/>
                  <a:gd name="T23" fmla="*/ 668 h 710"/>
                  <a:gd name="T24" fmla="*/ 128 w 710"/>
                  <a:gd name="T25" fmla="*/ 630 h 710"/>
                  <a:gd name="T26" fmla="*/ 80 w 710"/>
                  <a:gd name="T27" fmla="*/ 582 h 710"/>
                  <a:gd name="T28" fmla="*/ 42 w 710"/>
                  <a:gd name="T29" fmla="*/ 524 h 710"/>
                  <a:gd name="T30" fmla="*/ 16 w 710"/>
                  <a:gd name="T31" fmla="*/ 460 h 710"/>
                  <a:gd name="T32" fmla="*/ 2 w 710"/>
                  <a:gd name="T33" fmla="*/ 392 h 710"/>
                  <a:gd name="T34" fmla="*/ 0 w 710"/>
                  <a:gd name="T35" fmla="*/ 356 h 710"/>
                  <a:gd name="T36" fmla="*/ 6 w 710"/>
                  <a:gd name="T37" fmla="*/ 284 h 710"/>
                  <a:gd name="T38" fmla="*/ 28 w 710"/>
                  <a:gd name="T39" fmla="*/ 216 h 710"/>
                  <a:gd name="T40" fmla="*/ 60 w 710"/>
                  <a:gd name="T41" fmla="*/ 156 h 710"/>
                  <a:gd name="T42" fmla="*/ 104 w 710"/>
                  <a:gd name="T43" fmla="*/ 104 h 710"/>
                  <a:gd name="T44" fmla="*/ 156 w 710"/>
                  <a:gd name="T45" fmla="*/ 60 h 710"/>
                  <a:gd name="T46" fmla="*/ 216 w 710"/>
                  <a:gd name="T47" fmla="*/ 28 h 710"/>
                  <a:gd name="T48" fmla="*/ 284 w 710"/>
                  <a:gd name="T49" fmla="*/ 6 h 710"/>
                  <a:gd name="T50" fmla="*/ 354 w 710"/>
                  <a:gd name="T51" fmla="*/ 0 h 710"/>
                  <a:gd name="T52" fmla="*/ 392 w 710"/>
                  <a:gd name="T53" fmla="*/ 2 h 710"/>
                  <a:gd name="T54" fmla="*/ 460 w 710"/>
                  <a:gd name="T55" fmla="*/ 16 h 710"/>
                  <a:gd name="T56" fmla="*/ 524 w 710"/>
                  <a:gd name="T57" fmla="*/ 42 h 710"/>
                  <a:gd name="T58" fmla="*/ 582 w 710"/>
                  <a:gd name="T59" fmla="*/ 80 h 710"/>
                  <a:gd name="T60" fmla="*/ 630 w 710"/>
                  <a:gd name="T61" fmla="*/ 128 h 710"/>
                  <a:gd name="T62" fmla="*/ 668 w 710"/>
                  <a:gd name="T63" fmla="*/ 186 h 710"/>
                  <a:gd name="T64" fmla="*/ 694 w 710"/>
                  <a:gd name="T65" fmla="*/ 250 h 710"/>
                  <a:gd name="T66" fmla="*/ 708 w 710"/>
                  <a:gd name="T67" fmla="*/ 318 h 710"/>
                  <a:gd name="T68" fmla="*/ 710 w 710"/>
                  <a:gd name="T69" fmla="*/ 356 h 7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10" h="710">
                    <a:moveTo>
                      <a:pt x="710" y="356"/>
                    </a:moveTo>
                    <a:lnTo>
                      <a:pt x="710" y="356"/>
                    </a:lnTo>
                    <a:lnTo>
                      <a:pt x="708" y="392"/>
                    </a:lnTo>
                    <a:lnTo>
                      <a:pt x="704" y="426"/>
                    </a:lnTo>
                    <a:lnTo>
                      <a:pt x="694" y="460"/>
                    </a:lnTo>
                    <a:lnTo>
                      <a:pt x="682" y="494"/>
                    </a:lnTo>
                    <a:lnTo>
                      <a:pt x="668" y="524"/>
                    </a:lnTo>
                    <a:lnTo>
                      <a:pt x="650" y="554"/>
                    </a:lnTo>
                    <a:lnTo>
                      <a:pt x="630" y="582"/>
                    </a:lnTo>
                    <a:lnTo>
                      <a:pt x="606" y="606"/>
                    </a:lnTo>
                    <a:lnTo>
                      <a:pt x="582" y="630"/>
                    </a:lnTo>
                    <a:lnTo>
                      <a:pt x="554" y="650"/>
                    </a:lnTo>
                    <a:lnTo>
                      <a:pt x="524" y="668"/>
                    </a:lnTo>
                    <a:lnTo>
                      <a:pt x="494" y="682"/>
                    </a:lnTo>
                    <a:lnTo>
                      <a:pt x="460" y="694"/>
                    </a:lnTo>
                    <a:lnTo>
                      <a:pt x="426" y="704"/>
                    </a:lnTo>
                    <a:lnTo>
                      <a:pt x="392" y="708"/>
                    </a:lnTo>
                    <a:lnTo>
                      <a:pt x="354" y="710"/>
                    </a:lnTo>
                    <a:lnTo>
                      <a:pt x="354" y="710"/>
                    </a:lnTo>
                    <a:lnTo>
                      <a:pt x="318" y="708"/>
                    </a:lnTo>
                    <a:lnTo>
                      <a:pt x="284" y="704"/>
                    </a:lnTo>
                    <a:lnTo>
                      <a:pt x="250" y="694"/>
                    </a:lnTo>
                    <a:lnTo>
                      <a:pt x="216" y="682"/>
                    </a:lnTo>
                    <a:lnTo>
                      <a:pt x="186" y="668"/>
                    </a:lnTo>
                    <a:lnTo>
                      <a:pt x="156" y="650"/>
                    </a:lnTo>
                    <a:lnTo>
                      <a:pt x="128" y="630"/>
                    </a:lnTo>
                    <a:lnTo>
                      <a:pt x="104" y="606"/>
                    </a:lnTo>
                    <a:lnTo>
                      <a:pt x="80" y="582"/>
                    </a:lnTo>
                    <a:lnTo>
                      <a:pt x="60" y="554"/>
                    </a:lnTo>
                    <a:lnTo>
                      <a:pt x="42" y="524"/>
                    </a:lnTo>
                    <a:lnTo>
                      <a:pt x="28" y="494"/>
                    </a:lnTo>
                    <a:lnTo>
                      <a:pt x="16" y="460"/>
                    </a:lnTo>
                    <a:lnTo>
                      <a:pt x="6" y="426"/>
                    </a:lnTo>
                    <a:lnTo>
                      <a:pt x="2" y="392"/>
                    </a:lnTo>
                    <a:lnTo>
                      <a:pt x="0" y="356"/>
                    </a:lnTo>
                    <a:lnTo>
                      <a:pt x="0" y="356"/>
                    </a:lnTo>
                    <a:lnTo>
                      <a:pt x="2" y="318"/>
                    </a:lnTo>
                    <a:lnTo>
                      <a:pt x="6" y="284"/>
                    </a:lnTo>
                    <a:lnTo>
                      <a:pt x="16" y="250"/>
                    </a:lnTo>
                    <a:lnTo>
                      <a:pt x="28" y="216"/>
                    </a:lnTo>
                    <a:lnTo>
                      <a:pt x="42" y="186"/>
                    </a:lnTo>
                    <a:lnTo>
                      <a:pt x="60" y="156"/>
                    </a:lnTo>
                    <a:lnTo>
                      <a:pt x="80" y="128"/>
                    </a:lnTo>
                    <a:lnTo>
                      <a:pt x="104" y="104"/>
                    </a:lnTo>
                    <a:lnTo>
                      <a:pt x="128" y="80"/>
                    </a:lnTo>
                    <a:lnTo>
                      <a:pt x="156" y="60"/>
                    </a:lnTo>
                    <a:lnTo>
                      <a:pt x="186" y="42"/>
                    </a:lnTo>
                    <a:lnTo>
                      <a:pt x="216" y="28"/>
                    </a:lnTo>
                    <a:lnTo>
                      <a:pt x="250" y="16"/>
                    </a:lnTo>
                    <a:lnTo>
                      <a:pt x="284" y="6"/>
                    </a:lnTo>
                    <a:lnTo>
                      <a:pt x="318" y="2"/>
                    </a:lnTo>
                    <a:lnTo>
                      <a:pt x="354" y="0"/>
                    </a:lnTo>
                    <a:lnTo>
                      <a:pt x="354" y="0"/>
                    </a:lnTo>
                    <a:lnTo>
                      <a:pt x="392" y="2"/>
                    </a:lnTo>
                    <a:lnTo>
                      <a:pt x="426" y="6"/>
                    </a:lnTo>
                    <a:lnTo>
                      <a:pt x="460" y="16"/>
                    </a:lnTo>
                    <a:lnTo>
                      <a:pt x="494" y="28"/>
                    </a:lnTo>
                    <a:lnTo>
                      <a:pt x="524" y="42"/>
                    </a:lnTo>
                    <a:lnTo>
                      <a:pt x="554" y="60"/>
                    </a:lnTo>
                    <a:lnTo>
                      <a:pt x="582" y="80"/>
                    </a:lnTo>
                    <a:lnTo>
                      <a:pt x="606" y="104"/>
                    </a:lnTo>
                    <a:lnTo>
                      <a:pt x="630" y="128"/>
                    </a:lnTo>
                    <a:lnTo>
                      <a:pt x="650" y="156"/>
                    </a:lnTo>
                    <a:lnTo>
                      <a:pt x="668" y="186"/>
                    </a:lnTo>
                    <a:lnTo>
                      <a:pt x="682" y="216"/>
                    </a:lnTo>
                    <a:lnTo>
                      <a:pt x="694" y="250"/>
                    </a:lnTo>
                    <a:lnTo>
                      <a:pt x="704" y="284"/>
                    </a:lnTo>
                    <a:lnTo>
                      <a:pt x="708" y="318"/>
                    </a:lnTo>
                    <a:lnTo>
                      <a:pt x="710" y="356"/>
                    </a:lnTo>
                    <a:lnTo>
                      <a:pt x="710" y="356"/>
                    </a:lnTo>
                    <a:close/>
                  </a:path>
                </a:pathLst>
              </a:custGeom>
              <a:solidFill>
                <a:schemeClr val="accent1"/>
              </a:solidFill>
              <a:ln>
                <a:noFill/>
              </a:ln>
            </p:spPr>
            <p:txBody>
              <a:bodyPr vert="horz" wrap="square" lIns="91410" tIns="45705" rIns="91410" bIns="45705" numCol="1" anchor="t" anchorCtr="0" compatLnSpc="1">
                <a:prstTxWarp prst="textNoShape">
                  <a:avLst/>
                </a:prstTxWarp>
              </a:bodyPr>
              <a:lstStyle/>
              <a:p>
                <a:endParaRPr lang="en-US" sz="1050" dirty="0">
                  <a:solidFill>
                    <a:srgbClr val="000000"/>
                  </a:solidFill>
                </a:endParaRPr>
              </a:p>
            </p:txBody>
          </p:sp>
          <p:grpSp>
            <p:nvGrpSpPr>
              <p:cNvPr id="54" name="Group 53"/>
              <p:cNvGrpSpPr/>
              <p:nvPr/>
            </p:nvGrpSpPr>
            <p:grpSpPr>
              <a:xfrm rot="18900000">
                <a:off x="1667830" y="4330978"/>
                <a:ext cx="438501" cy="471200"/>
                <a:chOff x="6500813" y="3397250"/>
                <a:chExt cx="1031875" cy="1079500"/>
              </a:xfrm>
              <a:solidFill>
                <a:schemeClr val="bg1"/>
              </a:solidFill>
            </p:grpSpPr>
            <p:sp>
              <p:nvSpPr>
                <p:cNvPr id="55" name="Freeform 47"/>
                <p:cNvSpPr>
                  <a:spLocks/>
                </p:cNvSpPr>
                <p:nvPr/>
              </p:nvSpPr>
              <p:spPr bwMode="auto">
                <a:xfrm>
                  <a:off x="6500813" y="3692525"/>
                  <a:ext cx="1031875" cy="784225"/>
                </a:xfrm>
                <a:custGeom>
                  <a:avLst/>
                  <a:gdLst>
                    <a:gd name="T0" fmla="*/ 344 w 650"/>
                    <a:gd name="T1" fmla="*/ 286 h 494"/>
                    <a:gd name="T2" fmla="*/ 262 w 650"/>
                    <a:gd name="T3" fmla="*/ 146 h 494"/>
                    <a:gd name="T4" fmla="*/ 0 w 650"/>
                    <a:gd name="T5" fmla="*/ 396 h 494"/>
                    <a:gd name="T6" fmla="*/ 0 w 650"/>
                    <a:gd name="T7" fmla="*/ 396 h 494"/>
                    <a:gd name="T8" fmla="*/ 6 w 650"/>
                    <a:gd name="T9" fmla="*/ 416 h 494"/>
                    <a:gd name="T10" fmla="*/ 16 w 650"/>
                    <a:gd name="T11" fmla="*/ 434 h 494"/>
                    <a:gd name="T12" fmla="*/ 30 w 650"/>
                    <a:gd name="T13" fmla="*/ 452 h 494"/>
                    <a:gd name="T14" fmla="*/ 46 w 650"/>
                    <a:gd name="T15" fmla="*/ 466 h 494"/>
                    <a:gd name="T16" fmla="*/ 64 w 650"/>
                    <a:gd name="T17" fmla="*/ 478 h 494"/>
                    <a:gd name="T18" fmla="*/ 84 w 650"/>
                    <a:gd name="T19" fmla="*/ 488 h 494"/>
                    <a:gd name="T20" fmla="*/ 108 w 650"/>
                    <a:gd name="T21" fmla="*/ 492 h 494"/>
                    <a:gd name="T22" fmla="*/ 132 w 650"/>
                    <a:gd name="T23" fmla="*/ 494 h 494"/>
                    <a:gd name="T24" fmla="*/ 516 w 650"/>
                    <a:gd name="T25" fmla="*/ 494 h 494"/>
                    <a:gd name="T26" fmla="*/ 516 w 650"/>
                    <a:gd name="T27" fmla="*/ 494 h 494"/>
                    <a:gd name="T28" fmla="*/ 530 w 650"/>
                    <a:gd name="T29" fmla="*/ 494 h 494"/>
                    <a:gd name="T30" fmla="*/ 542 w 650"/>
                    <a:gd name="T31" fmla="*/ 492 h 494"/>
                    <a:gd name="T32" fmla="*/ 556 w 650"/>
                    <a:gd name="T33" fmla="*/ 490 h 494"/>
                    <a:gd name="T34" fmla="*/ 568 w 650"/>
                    <a:gd name="T35" fmla="*/ 486 h 494"/>
                    <a:gd name="T36" fmla="*/ 590 w 650"/>
                    <a:gd name="T37" fmla="*/ 474 h 494"/>
                    <a:gd name="T38" fmla="*/ 610 w 650"/>
                    <a:gd name="T39" fmla="*/ 460 h 494"/>
                    <a:gd name="T40" fmla="*/ 626 w 650"/>
                    <a:gd name="T41" fmla="*/ 442 h 494"/>
                    <a:gd name="T42" fmla="*/ 634 w 650"/>
                    <a:gd name="T43" fmla="*/ 432 h 494"/>
                    <a:gd name="T44" fmla="*/ 638 w 650"/>
                    <a:gd name="T45" fmla="*/ 420 h 494"/>
                    <a:gd name="T46" fmla="*/ 644 w 650"/>
                    <a:gd name="T47" fmla="*/ 410 h 494"/>
                    <a:gd name="T48" fmla="*/ 646 w 650"/>
                    <a:gd name="T49" fmla="*/ 398 h 494"/>
                    <a:gd name="T50" fmla="*/ 648 w 650"/>
                    <a:gd name="T51" fmla="*/ 386 h 494"/>
                    <a:gd name="T52" fmla="*/ 650 w 650"/>
                    <a:gd name="T53" fmla="*/ 374 h 494"/>
                    <a:gd name="T54" fmla="*/ 650 w 650"/>
                    <a:gd name="T55" fmla="*/ 26 h 494"/>
                    <a:gd name="T56" fmla="*/ 650 w 650"/>
                    <a:gd name="T57" fmla="*/ 26 h 494"/>
                    <a:gd name="T58" fmla="*/ 648 w 650"/>
                    <a:gd name="T59" fmla="*/ 12 h 494"/>
                    <a:gd name="T60" fmla="*/ 646 w 650"/>
                    <a:gd name="T61" fmla="*/ 0 h 494"/>
                    <a:gd name="T62" fmla="*/ 344 w 650"/>
                    <a:gd name="T63" fmla="*/ 286 h 4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50" h="494">
                      <a:moveTo>
                        <a:pt x="344" y="286"/>
                      </a:moveTo>
                      <a:lnTo>
                        <a:pt x="262" y="146"/>
                      </a:lnTo>
                      <a:lnTo>
                        <a:pt x="0" y="396"/>
                      </a:lnTo>
                      <a:lnTo>
                        <a:pt x="0" y="396"/>
                      </a:lnTo>
                      <a:lnTo>
                        <a:pt x="6" y="416"/>
                      </a:lnTo>
                      <a:lnTo>
                        <a:pt x="16" y="434"/>
                      </a:lnTo>
                      <a:lnTo>
                        <a:pt x="30" y="452"/>
                      </a:lnTo>
                      <a:lnTo>
                        <a:pt x="46" y="466"/>
                      </a:lnTo>
                      <a:lnTo>
                        <a:pt x="64" y="478"/>
                      </a:lnTo>
                      <a:lnTo>
                        <a:pt x="84" y="488"/>
                      </a:lnTo>
                      <a:lnTo>
                        <a:pt x="108" y="492"/>
                      </a:lnTo>
                      <a:lnTo>
                        <a:pt x="132" y="494"/>
                      </a:lnTo>
                      <a:lnTo>
                        <a:pt x="516" y="494"/>
                      </a:lnTo>
                      <a:lnTo>
                        <a:pt x="516" y="494"/>
                      </a:lnTo>
                      <a:lnTo>
                        <a:pt x="530" y="494"/>
                      </a:lnTo>
                      <a:lnTo>
                        <a:pt x="542" y="492"/>
                      </a:lnTo>
                      <a:lnTo>
                        <a:pt x="556" y="490"/>
                      </a:lnTo>
                      <a:lnTo>
                        <a:pt x="568" y="486"/>
                      </a:lnTo>
                      <a:lnTo>
                        <a:pt x="590" y="474"/>
                      </a:lnTo>
                      <a:lnTo>
                        <a:pt x="610" y="460"/>
                      </a:lnTo>
                      <a:lnTo>
                        <a:pt x="626" y="442"/>
                      </a:lnTo>
                      <a:lnTo>
                        <a:pt x="634" y="432"/>
                      </a:lnTo>
                      <a:lnTo>
                        <a:pt x="638" y="420"/>
                      </a:lnTo>
                      <a:lnTo>
                        <a:pt x="644" y="410"/>
                      </a:lnTo>
                      <a:lnTo>
                        <a:pt x="646" y="398"/>
                      </a:lnTo>
                      <a:lnTo>
                        <a:pt x="648" y="386"/>
                      </a:lnTo>
                      <a:lnTo>
                        <a:pt x="650" y="374"/>
                      </a:lnTo>
                      <a:lnTo>
                        <a:pt x="650" y="26"/>
                      </a:lnTo>
                      <a:lnTo>
                        <a:pt x="650" y="26"/>
                      </a:lnTo>
                      <a:lnTo>
                        <a:pt x="648" y="12"/>
                      </a:lnTo>
                      <a:lnTo>
                        <a:pt x="646" y="0"/>
                      </a:lnTo>
                      <a:lnTo>
                        <a:pt x="344" y="28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0" tIns="45705" rIns="91410" bIns="45705" numCol="1" anchor="t" anchorCtr="0" compatLnSpc="1">
                  <a:prstTxWarp prst="textNoShape">
                    <a:avLst/>
                  </a:prstTxWarp>
                </a:bodyPr>
                <a:lstStyle/>
                <a:p>
                  <a:endParaRPr lang="en-US" sz="1050" dirty="0">
                    <a:solidFill>
                      <a:srgbClr val="000000"/>
                    </a:solidFill>
                  </a:endParaRPr>
                </a:p>
              </p:txBody>
            </p:sp>
            <p:sp>
              <p:nvSpPr>
                <p:cNvPr id="56" name="Freeform 48"/>
                <p:cNvSpPr>
                  <a:spLocks/>
                </p:cNvSpPr>
                <p:nvPr/>
              </p:nvSpPr>
              <p:spPr bwMode="auto">
                <a:xfrm>
                  <a:off x="6500813" y="3397250"/>
                  <a:ext cx="1028700" cy="777875"/>
                </a:xfrm>
                <a:custGeom>
                  <a:avLst/>
                  <a:gdLst>
                    <a:gd name="T0" fmla="*/ 348 w 648"/>
                    <a:gd name="T1" fmla="*/ 382 h 490"/>
                    <a:gd name="T2" fmla="*/ 648 w 648"/>
                    <a:gd name="T3" fmla="*/ 94 h 490"/>
                    <a:gd name="T4" fmla="*/ 648 w 648"/>
                    <a:gd name="T5" fmla="*/ 94 h 490"/>
                    <a:gd name="T6" fmla="*/ 642 w 648"/>
                    <a:gd name="T7" fmla="*/ 74 h 490"/>
                    <a:gd name="T8" fmla="*/ 632 w 648"/>
                    <a:gd name="T9" fmla="*/ 56 h 490"/>
                    <a:gd name="T10" fmla="*/ 618 w 648"/>
                    <a:gd name="T11" fmla="*/ 40 h 490"/>
                    <a:gd name="T12" fmla="*/ 602 w 648"/>
                    <a:gd name="T13" fmla="*/ 26 h 490"/>
                    <a:gd name="T14" fmla="*/ 584 w 648"/>
                    <a:gd name="T15" fmla="*/ 16 h 490"/>
                    <a:gd name="T16" fmla="*/ 564 w 648"/>
                    <a:gd name="T17" fmla="*/ 6 h 490"/>
                    <a:gd name="T18" fmla="*/ 542 w 648"/>
                    <a:gd name="T19" fmla="*/ 2 h 490"/>
                    <a:gd name="T20" fmla="*/ 518 w 648"/>
                    <a:gd name="T21" fmla="*/ 0 h 490"/>
                    <a:gd name="T22" fmla="*/ 134 w 648"/>
                    <a:gd name="T23" fmla="*/ 0 h 490"/>
                    <a:gd name="T24" fmla="*/ 134 w 648"/>
                    <a:gd name="T25" fmla="*/ 0 h 490"/>
                    <a:gd name="T26" fmla="*/ 120 w 648"/>
                    <a:gd name="T27" fmla="*/ 0 h 490"/>
                    <a:gd name="T28" fmla="*/ 108 w 648"/>
                    <a:gd name="T29" fmla="*/ 2 h 490"/>
                    <a:gd name="T30" fmla="*/ 94 w 648"/>
                    <a:gd name="T31" fmla="*/ 4 h 490"/>
                    <a:gd name="T32" fmla="*/ 82 w 648"/>
                    <a:gd name="T33" fmla="*/ 8 h 490"/>
                    <a:gd name="T34" fmla="*/ 60 w 648"/>
                    <a:gd name="T35" fmla="*/ 20 h 490"/>
                    <a:gd name="T36" fmla="*/ 40 w 648"/>
                    <a:gd name="T37" fmla="*/ 34 h 490"/>
                    <a:gd name="T38" fmla="*/ 24 w 648"/>
                    <a:gd name="T39" fmla="*/ 52 h 490"/>
                    <a:gd name="T40" fmla="*/ 16 w 648"/>
                    <a:gd name="T41" fmla="*/ 62 h 490"/>
                    <a:gd name="T42" fmla="*/ 12 w 648"/>
                    <a:gd name="T43" fmla="*/ 74 h 490"/>
                    <a:gd name="T44" fmla="*/ 6 w 648"/>
                    <a:gd name="T45" fmla="*/ 84 h 490"/>
                    <a:gd name="T46" fmla="*/ 4 w 648"/>
                    <a:gd name="T47" fmla="*/ 96 h 490"/>
                    <a:gd name="T48" fmla="*/ 2 w 648"/>
                    <a:gd name="T49" fmla="*/ 108 h 490"/>
                    <a:gd name="T50" fmla="*/ 0 w 648"/>
                    <a:gd name="T51" fmla="*/ 120 h 490"/>
                    <a:gd name="T52" fmla="*/ 0 w 648"/>
                    <a:gd name="T53" fmla="*/ 470 h 490"/>
                    <a:gd name="T54" fmla="*/ 0 w 648"/>
                    <a:gd name="T55" fmla="*/ 470 h 490"/>
                    <a:gd name="T56" fmla="*/ 2 w 648"/>
                    <a:gd name="T57" fmla="*/ 490 h 490"/>
                    <a:gd name="T58" fmla="*/ 266 w 648"/>
                    <a:gd name="T59" fmla="*/ 240 h 490"/>
                    <a:gd name="T60" fmla="*/ 348 w 648"/>
                    <a:gd name="T61" fmla="*/ 382 h 4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648" h="490">
                      <a:moveTo>
                        <a:pt x="348" y="382"/>
                      </a:moveTo>
                      <a:lnTo>
                        <a:pt x="648" y="94"/>
                      </a:lnTo>
                      <a:lnTo>
                        <a:pt x="648" y="94"/>
                      </a:lnTo>
                      <a:lnTo>
                        <a:pt x="642" y="74"/>
                      </a:lnTo>
                      <a:lnTo>
                        <a:pt x="632" y="56"/>
                      </a:lnTo>
                      <a:lnTo>
                        <a:pt x="618" y="40"/>
                      </a:lnTo>
                      <a:lnTo>
                        <a:pt x="602" y="26"/>
                      </a:lnTo>
                      <a:lnTo>
                        <a:pt x="584" y="16"/>
                      </a:lnTo>
                      <a:lnTo>
                        <a:pt x="564" y="6"/>
                      </a:lnTo>
                      <a:lnTo>
                        <a:pt x="542" y="2"/>
                      </a:lnTo>
                      <a:lnTo>
                        <a:pt x="518" y="0"/>
                      </a:lnTo>
                      <a:lnTo>
                        <a:pt x="134" y="0"/>
                      </a:lnTo>
                      <a:lnTo>
                        <a:pt x="134" y="0"/>
                      </a:lnTo>
                      <a:lnTo>
                        <a:pt x="120" y="0"/>
                      </a:lnTo>
                      <a:lnTo>
                        <a:pt x="108" y="2"/>
                      </a:lnTo>
                      <a:lnTo>
                        <a:pt x="94" y="4"/>
                      </a:lnTo>
                      <a:lnTo>
                        <a:pt x="82" y="8"/>
                      </a:lnTo>
                      <a:lnTo>
                        <a:pt x="60" y="20"/>
                      </a:lnTo>
                      <a:lnTo>
                        <a:pt x="40" y="34"/>
                      </a:lnTo>
                      <a:lnTo>
                        <a:pt x="24" y="52"/>
                      </a:lnTo>
                      <a:lnTo>
                        <a:pt x="16" y="62"/>
                      </a:lnTo>
                      <a:lnTo>
                        <a:pt x="12" y="74"/>
                      </a:lnTo>
                      <a:lnTo>
                        <a:pt x="6" y="84"/>
                      </a:lnTo>
                      <a:lnTo>
                        <a:pt x="4" y="96"/>
                      </a:lnTo>
                      <a:lnTo>
                        <a:pt x="2" y="108"/>
                      </a:lnTo>
                      <a:lnTo>
                        <a:pt x="0" y="120"/>
                      </a:lnTo>
                      <a:lnTo>
                        <a:pt x="0" y="470"/>
                      </a:lnTo>
                      <a:lnTo>
                        <a:pt x="0" y="470"/>
                      </a:lnTo>
                      <a:lnTo>
                        <a:pt x="2" y="490"/>
                      </a:lnTo>
                      <a:lnTo>
                        <a:pt x="266" y="240"/>
                      </a:lnTo>
                      <a:lnTo>
                        <a:pt x="348" y="38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0" tIns="45705" rIns="91410" bIns="45705" numCol="1" anchor="t" anchorCtr="0" compatLnSpc="1">
                  <a:prstTxWarp prst="textNoShape">
                    <a:avLst/>
                  </a:prstTxWarp>
                </a:bodyPr>
                <a:lstStyle/>
                <a:p>
                  <a:endParaRPr lang="en-US" sz="1050" dirty="0">
                    <a:solidFill>
                      <a:srgbClr val="000000"/>
                    </a:solidFill>
                  </a:endParaRPr>
                </a:p>
              </p:txBody>
            </p:sp>
          </p:grpSp>
        </p:grpSp>
        <p:grpSp>
          <p:nvGrpSpPr>
            <p:cNvPr id="3" name="Group 2"/>
            <p:cNvGrpSpPr/>
            <p:nvPr/>
          </p:nvGrpSpPr>
          <p:grpSpPr>
            <a:xfrm>
              <a:off x="3266333" y="5505728"/>
              <a:ext cx="396531" cy="460393"/>
              <a:chOff x="3702615" y="5761226"/>
              <a:chExt cx="449495" cy="521888"/>
            </a:xfrm>
          </p:grpSpPr>
          <p:grpSp>
            <p:nvGrpSpPr>
              <p:cNvPr id="80" name="Group 79"/>
              <p:cNvGrpSpPr>
                <a:grpSpLocks/>
              </p:cNvGrpSpPr>
              <p:nvPr/>
            </p:nvGrpSpPr>
            <p:grpSpPr>
              <a:xfrm>
                <a:off x="3716535" y="5761226"/>
                <a:ext cx="203977" cy="203190"/>
                <a:chOff x="497719" y="1077857"/>
                <a:chExt cx="804350" cy="695334"/>
              </a:xfrm>
            </p:grpSpPr>
            <p:sp>
              <p:nvSpPr>
                <p:cNvPr id="81" name="Freeform 5"/>
                <p:cNvSpPr>
                  <a:spLocks/>
                </p:cNvSpPr>
                <p:nvPr/>
              </p:nvSpPr>
              <p:spPr bwMode="gray">
                <a:xfrm>
                  <a:off x="765976" y="1077857"/>
                  <a:ext cx="267836" cy="222249"/>
                </a:xfrm>
                <a:custGeom>
                  <a:avLst/>
                  <a:gdLst>
                    <a:gd name="T0" fmla="*/ 3213 w 1527"/>
                    <a:gd name="T1" fmla="*/ 2074 h 1364"/>
                    <a:gd name="T2" fmla="*/ 1605 w 1527"/>
                    <a:gd name="T3" fmla="*/ 0 h 1364"/>
                    <a:gd name="T4" fmla="*/ 0 w 1527"/>
                    <a:gd name="T5" fmla="*/ 2074 h 1364"/>
                    <a:gd name="T6" fmla="*/ 3213 w 1527"/>
                    <a:gd name="T7" fmla="*/ 2074 h 1364"/>
                    <a:gd name="T8" fmla="*/ 0 60000 65536"/>
                    <a:gd name="T9" fmla="*/ 0 60000 65536"/>
                    <a:gd name="T10" fmla="*/ 0 60000 65536"/>
                    <a:gd name="T11" fmla="*/ 0 60000 65536"/>
                    <a:gd name="T12" fmla="*/ 0 w 1527"/>
                    <a:gd name="T13" fmla="*/ 0 h 1364"/>
                    <a:gd name="T14" fmla="*/ 1527 w 1527"/>
                    <a:gd name="T15" fmla="*/ 1364 h 1364"/>
                  </a:gdLst>
                  <a:ahLst/>
                  <a:cxnLst>
                    <a:cxn ang="T8">
                      <a:pos x="T0" y="T1"/>
                    </a:cxn>
                    <a:cxn ang="T9">
                      <a:pos x="T2" y="T3"/>
                    </a:cxn>
                    <a:cxn ang="T10">
                      <a:pos x="T4" y="T5"/>
                    </a:cxn>
                    <a:cxn ang="T11">
                      <a:pos x="T6" y="T7"/>
                    </a:cxn>
                  </a:cxnLst>
                  <a:rect l="T12" t="T13" r="T14" b="T15"/>
                  <a:pathLst>
                    <a:path w="1527" h="1364">
                      <a:moveTo>
                        <a:pt x="1526" y="1363"/>
                      </a:moveTo>
                      <a:lnTo>
                        <a:pt x="763" y="0"/>
                      </a:lnTo>
                      <a:lnTo>
                        <a:pt x="0" y="1363"/>
                      </a:lnTo>
                      <a:lnTo>
                        <a:pt x="1526" y="1363"/>
                      </a:lnTo>
                    </a:path>
                  </a:pathLst>
                </a:custGeom>
                <a:solidFill>
                  <a:srgbClr val="083C52"/>
                </a:solidFill>
                <a:ln w="19050" cap="rnd">
                  <a:noFill/>
                  <a:round/>
                  <a:headEnd/>
                  <a:tailEnd/>
                </a:ln>
                <a:effectLst/>
              </p:spPr>
              <p:txBody>
                <a:bodyPr>
                  <a:noAutofit/>
                </a:bodyPr>
                <a:lstStyle/>
                <a:p>
                  <a:pPr defTabSz="914037">
                    <a:defRPr/>
                  </a:pPr>
                  <a:endParaRPr lang="en-US" sz="1299" b="1" kern="0" dirty="0">
                    <a:solidFill>
                      <a:srgbClr val="0E2A3B"/>
                    </a:solidFill>
                    <a:latin typeface="Arial"/>
                  </a:endParaRPr>
                </a:p>
              </p:txBody>
            </p:sp>
            <p:sp>
              <p:nvSpPr>
                <p:cNvPr id="82" name="Freeform 5"/>
                <p:cNvSpPr>
                  <a:spLocks/>
                </p:cNvSpPr>
                <p:nvPr/>
              </p:nvSpPr>
              <p:spPr bwMode="gray">
                <a:xfrm>
                  <a:off x="631776" y="1313996"/>
                  <a:ext cx="536233" cy="222518"/>
                </a:xfrm>
                <a:custGeom>
                  <a:avLst/>
                  <a:gdLst>
                    <a:gd name="T0" fmla="*/ 3735 w 1784"/>
                    <a:gd name="T1" fmla="*/ 1226 h 796"/>
                    <a:gd name="T2" fmla="*/ 2800 w 1784"/>
                    <a:gd name="T3" fmla="*/ 0 h 796"/>
                    <a:gd name="T4" fmla="*/ 938 w 1784"/>
                    <a:gd name="T5" fmla="*/ 0 h 796"/>
                    <a:gd name="T6" fmla="*/ 0 w 1784"/>
                    <a:gd name="T7" fmla="*/ 1226 h 796"/>
                    <a:gd name="T8" fmla="*/ 3735 w 1784"/>
                    <a:gd name="T9" fmla="*/ 1226 h 796"/>
                    <a:gd name="T10" fmla="*/ 0 60000 65536"/>
                    <a:gd name="T11" fmla="*/ 0 60000 65536"/>
                    <a:gd name="T12" fmla="*/ 0 60000 65536"/>
                    <a:gd name="T13" fmla="*/ 0 60000 65536"/>
                    <a:gd name="T14" fmla="*/ 0 60000 65536"/>
                    <a:gd name="T15" fmla="*/ 0 w 1784"/>
                    <a:gd name="T16" fmla="*/ 0 h 796"/>
                    <a:gd name="T17" fmla="*/ 1784 w 1784"/>
                    <a:gd name="T18" fmla="*/ 796 h 796"/>
                  </a:gdLst>
                  <a:ahLst/>
                  <a:cxnLst>
                    <a:cxn ang="T10">
                      <a:pos x="T0" y="T1"/>
                    </a:cxn>
                    <a:cxn ang="T11">
                      <a:pos x="T2" y="T3"/>
                    </a:cxn>
                    <a:cxn ang="T12">
                      <a:pos x="T4" y="T5"/>
                    </a:cxn>
                    <a:cxn ang="T13">
                      <a:pos x="T6" y="T7"/>
                    </a:cxn>
                    <a:cxn ang="T14">
                      <a:pos x="T8" y="T9"/>
                    </a:cxn>
                  </a:cxnLst>
                  <a:rect l="T15" t="T16" r="T17" b="T18"/>
                  <a:pathLst>
                    <a:path w="1784" h="796">
                      <a:moveTo>
                        <a:pt x="1783" y="795"/>
                      </a:moveTo>
                      <a:lnTo>
                        <a:pt x="1337" y="0"/>
                      </a:lnTo>
                      <a:lnTo>
                        <a:pt x="447" y="0"/>
                      </a:lnTo>
                      <a:lnTo>
                        <a:pt x="0" y="795"/>
                      </a:lnTo>
                      <a:lnTo>
                        <a:pt x="1783" y="795"/>
                      </a:lnTo>
                    </a:path>
                  </a:pathLst>
                </a:custGeom>
                <a:solidFill>
                  <a:srgbClr val="FFC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1305" tIns="45652" rIns="91305" bIns="45652" rtlCol="0" anchor="ctr">
                  <a:noAutofit/>
                </a:bodyPr>
                <a:lstStyle/>
                <a:p>
                  <a:pPr algn="ctr"/>
                  <a:endParaRPr lang="en-US" sz="1299" dirty="0">
                    <a:solidFill>
                      <a:srgbClr val="FFFFFF"/>
                    </a:solidFill>
                    <a:cs typeface="Arial" pitchFamily="34" charset="0"/>
                  </a:endParaRPr>
                </a:p>
              </p:txBody>
            </p:sp>
            <p:sp>
              <p:nvSpPr>
                <p:cNvPr id="83" name="Freeform 4"/>
                <p:cNvSpPr>
                  <a:spLocks/>
                </p:cNvSpPr>
                <p:nvPr/>
              </p:nvSpPr>
              <p:spPr bwMode="gray">
                <a:xfrm>
                  <a:off x="497719" y="1550403"/>
                  <a:ext cx="804350" cy="222788"/>
                </a:xfrm>
                <a:custGeom>
                  <a:avLst/>
                  <a:gdLst>
                    <a:gd name="T0" fmla="*/ 4669 w 2676"/>
                    <a:gd name="T1" fmla="*/ 0 h 798"/>
                    <a:gd name="T2" fmla="*/ 934 w 2676"/>
                    <a:gd name="T3" fmla="*/ 0 h 798"/>
                    <a:gd name="T4" fmla="*/ 0 w 2676"/>
                    <a:gd name="T5" fmla="*/ 1211 h 798"/>
                    <a:gd name="T6" fmla="*/ 5601 w 2676"/>
                    <a:gd name="T7" fmla="*/ 1211 h 798"/>
                    <a:gd name="T8" fmla="*/ 4669 w 2676"/>
                    <a:gd name="T9" fmla="*/ 0 h 798"/>
                    <a:gd name="T10" fmla="*/ 0 60000 65536"/>
                    <a:gd name="T11" fmla="*/ 0 60000 65536"/>
                    <a:gd name="T12" fmla="*/ 0 60000 65536"/>
                    <a:gd name="T13" fmla="*/ 0 60000 65536"/>
                    <a:gd name="T14" fmla="*/ 0 60000 65536"/>
                    <a:gd name="T15" fmla="*/ 0 w 2676"/>
                    <a:gd name="T16" fmla="*/ 0 h 798"/>
                    <a:gd name="T17" fmla="*/ 2676 w 2676"/>
                    <a:gd name="T18" fmla="*/ 798 h 798"/>
                  </a:gdLst>
                  <a:ahLst/>
                  <a:cxnLst>
                    <a:cxn ang="T10">
                      <a:pos x="T0" y="T1"/>
                    </a:cxn>
                    <a:cxn ang="T11">
                      <a:pos x="T2" y="T3"/>
                    </a:cxn>
                    <a:cxn ang="T12">
                      <a:pos x="T4" y="T5"/>
                    </a:cxn>
                    <a:cxn ang="T13">
                      <a:pos x="T6" y="T7"/>
                    </a:cxn>
                    <a:cxn ang="T14">
                      <a:pos x="T8" y="T9"/>
                    </a:cxn>
                  </a:cxnLst>
                  <a:rect l="T15" t="T16" r="T17" b="T18"/>
                  <a:pathLst>
                    <a:path w="2676" h="798">
                      <a:moveTo>
                        <a:pt x="2229" y="0"/>
                      </a:moveTo>
                      <a:lnTo>
                        <a:pt x="446" y="0"/>
                      </a:lnTo>
                      <a:lnTo>
                        <a:pt x="0" y="797"/>
                      </a:lnTo>
                      <a:lnTo>
                        <a:pt x="2675" y="797"/>
                      </a:lnTo>
                      <a:lnTo>
                        <a:pt x="2229" y="0"/>
                      </a:lnTo>
                    </a:path>
                  </a:pathLst>
                </a:custGeom>
                <a:solidFill>
                  <a:srgbClr val="FFC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1305" tIns="45652" rIns="91305" bIns="45652" rtlCol="0" anchor="ctr">
                  <a:noAutofit/>
                </a:bodyPr>
                <a:lstStyle/>
                <a:p>
                  <a:pPr algn="ctr"/>
                  <a:endParaRPr lang="en-US" sz="1299" dirty="0">
                    <a:solidFill>
                      <a:srgbClr val="FFFFFF"/>
                    </a:solidFill>
                    <a:cs typeface="Arial" pitchFamily="34" charset="0"/>
                  </a:endParaRPr>
                </a:p>
              </p:txBody>
            </p:sp>
            <p:cxnSp>
              <p:nvCxnSpPr>
                <p:cNvPr id="84" name="Straight Connector 83"/>
                <p:cNvCxnSpPr/>
                <p:nvPr/>
              </p:nvCxnSpPr>
              <p:spPr bwMode="gray">
                <a:xfrm>
                  <a:off x="899893" y="1339284"/>
                  <a:ext cx="0" cy="365983"/>
                </a:xfrm>
                <a:prstGeom prst="line">
                  <a:avLst/>
                </a:prstGeom>
                <a:noFill/>
                <a:ln w="19050" cap="rnd" cmpd="sng" algn="ctr">
                  <a:solidFill>
                    <a:schemeClr val="accent5">
                      <a:lumMod val="50000"/>
                    </a:schemeClr>
                  </a:solidFill>
                  <a:prstDash val="solid"/>
                  <a:headEnd type="none" w="med" len="med"/>
                  <a:tailEnd type="triangle" w="med" len="med"/>
                </a:ln>
                <a:effectLst/>
              </p:spPr>
            </p:cxnSp>
          </p:grpSp>
          <p:grpSp>
            <p:nvGrpSpPr>
              <p:cNvPr id="85" name="Group 84"/>
              <p:cNvGrpSpPr>
                <a:grpSpLocks/>
              </p:cNvGrpSpPr>
              <p:nvPr/>
            </p:nvGrpSpPr>
            <p:grpSpPr>
              <a:xfrm>
                <a:off x="3946716" y="5761226"/>
                <a:ext cx="203977" cy="203190"/>
                <a:chOff x="5209585" y="1147915"/>
                <a:chExt cx="787030" cy="625277"/>
              </a:xfrm>
            </p:grpSpPr>
            <p:sp>
              <p:nvSpPr>
                <p:cNvPr id="86" name="Rectangle 18"/>
                <p:cNvSpPr>
                  <a:spLocks/>
                </p:cNvSpPr>
                <p:nvPr/>
              </p:nvSpPr>
              <p:spPr bwMode="gray">
                <a:xfrm flipV="1">
                  <a:off x="5230080" y="1147915"/>
                  <a:ext cx="766535" cy="606362"/>
                </a:xfrm>
                <a:custGeom>
                  <a:avLst/>
                  <a:gdLst/>
                  <a:ahLst/>
                  <a:cxnLst/>
                  <a:rect l="l" t="t" r="r" b="b"/>
                  <a:pathLst>
                    <a:path w="1709967" h="1709967">
                      <a:moveTo>
                        <a:pt x="502921" y="0"/>
                      </a:moveTo>
                      <a:lnTo>
                        <a:pt x="1709967" y="0"/>
                      </a:lnTo>
                      <a:lnTo>
                        <a:pt x="1709967" y="1709967"/>
                      </a:lnTo>
                      <a:lnTo>
                        <a:pt x="0" y="1709967"/>
                      </a:lnTo>
                      <a:lnTo>
                        <a:pt x="0" y="502921"/>
                      </a:lnTo>
                      <a:lnTo>
                        <a:pt x="502921" y="502921"/>
                      </a:lnTo>
                      <a:close/>
                    </a:path>
                  </a:pathLst>
                </a:custGeom>
                <a:solidFill>
                  <a:srgbClr val="FFC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1305" tIns="45652" rIns="91305" bIns="45652" rtlCol="0" anchor="ctr">
                  <a:noAutofit/>
                </a:bodyPr>
                <a:lstStyle/>
                <a:p>
                  <a:pPr algn="ctr"/>
                  <a:endParaRPr lang="en-US" sz="1299" dirty="0">
                    <a:solidFill>
                      <a:srgbClr val="FFFFFF"/>
                    </a:solidFill>
                    <a:cs typeface="Arial" pitchFamily="34" charset="0"/>
                  </a:endParaRPr>
                </a:p>
              </p:txBody>
            </p:sp>
            <p:sp>
              <p:nvSpPr>
                <p:cNvPr id="87" name="Rectangle 86"/>
                <p:cNvSpPr>
                  <a:spLocks/>
                </p:cNvSpPr>
                <p:nvPr/>
              </p:nvSpPr>
              <p:spPr bwMode="gray">
                <a:xfrm flipV="1">
                  <a:off x="5209585" y="1594853"/>
                  <a:ext cx="225446" cy="178339"/>
                </a:xfrm>
                <a:prstGeom prst="rect">
                  <a:avLst/>
                </a:prstGeom>
                <a:solidFill>
                  <a:srgbClr val="083C52"/>
                </a:solidFill>
                <a:ln w="19050" cap="rnd">
                  <a:noFill/>
                  <a:round/>
                  <a:headEnd/>
                  <a:tailEnd/>
                </a:ln>
                <a:effectLst/>
              </p:spPr>
              <p:txBody>
                <a:bodyPr>
                  <a:noAutofit/>
                </a:bodyPr>
                <a:lstStyle/>
                <a:p>
                  <a:pPr defTabSz="914037">
                    <a:defRPr/>
                  </a:pPr>
                  <a:endParaRPr lang="en-US" sz="1299" b="1" kern="0" dirty="0">
                    <a:solidFill>
                      <a:srgbClr val="0E2A3B"/>
                    </a:solidFill>
                    <a:latin typeface="Arial"/>
                  </a:endParaRPr>
                </a:p>
              </p:txBody>
            </p:sp>
            <p:cxnSp>
              <p:nvCxnSpPr>
                <p:cNvPr id="88" name="Straight Connector 87"/>
                <p:cNvCxnSpPr/>
                <p:nvPr/>
              </p:nvCxnSpPr>
              <p:spPr bwMode="gray">
                <a:xfrm flipV="1">
                  <a:off x="5478157" y="1224117"/>
                  <a:ext cx="437656" cy="337454"/>
                </a:xfrm>
                <a:prstGeom prst="line">
                  <a:avLst/>
                </a:prstGeom>
                <a:noFill/>
                <a:ln w="19050" cap="rnd" cmpd="sng" algn="ctr">
                  <a:solidFill>
                    <a:schemeClr val="accent5">
                      <a:lumMod val="50000"/>
                    </a:schemeClr>
                  </a:solidFill>
                  <a:prstDash val="solid"/>
                  <a:headEnd type="none" w="med" len="med"/>
                  <a:tailEnd type="triangle" w="med" len="med"/>
                </a:ln>
                <a:effectLst/>
              </p:spPr>
            </p:cxnSp>
          </p:grpSp>
          <p:grpSp>
            <p:nvGrpSpPr>
              <p:cNvPr id="89" name="Group 88"/>
              <p:cNvGrpSpPr>
                <a:grpSpLocks/>
              </p:cNvGrpSpPr>
              <p:nvPr/>
            </p:nvGrpSpPr>
            <p:grpSpPr>
              <a:xfrm>
                <a:off x="3948133" y="6071608"/>
                <a:ext cx="203977" cy="203190"/>
                <a:chOff x="7713960" y="1093347"/>
                <a:chExt cx="715974" cy="679843"/>
              </a:xfrm>
            </p:grpSpPr>
            <p:sp>
              <p:nvSpPr>
                <p:cNvPr id="90" name="Oval 89"/>
                <p:cNvSpPr>
                  <a:spLocks/>
                </p:cNvSpPr>
                <p:nvPr/>
              </p:nvSpPr>
              <p:spPr bwMode="gray">
                <a:xfrm>
                  <a:off x="7713960" y="1093347"/>
                  <a:ext cx="715974" cy="679843"/>
                </a:xfrm>
                <a:prstGeom prst="ellipse">
                  <a:avLst/>
                </a:prstGeom>
                <a:solidFill>
                  <a:srgbClr val="083C52"/>
                </a:solidFill>
                <a:ln w="19050" cap="rnd">
                  <a:noFill/>
                  <a:round/>
                  <a:headEnd/>
                  <a:tailEnd/>
                </a:ln>
                <a:effectLst/>
              </p:spPr>
              <p:txBody>
                <a:bodyPr>
                  <a:noAutofit/>
                </a:bodyPr>
                <a:lstStyle/>
                <a:p>
                  <a:pPr defTabSz="914037">
                    <a:defRPr/>
                  </a:pPr>
                  <a:endParaRPr lang="en-US" sz="1299" b="1" kern="0" dirty="0">
                    <a:solidFill>
                      <a:srgbClr val="0E2A3B"/>
                    </a:solidFill>
                    <a:latin typeface="Arial"/>
                  </a:endParaRPr>
                </a:p>
              </p:txBody>
            </p:sp>
            <p:sp>
              <p:nvSpPr>
                <p:cNvPr id="91" name="Oval 90"/>
                <p:cNvSpPr>
                  <a:spLocks/>
                </p:cNvSpPr>
                <p:nvPr/>
              </p:nvSpPr>
              <p:spPr bwMode="gray">
                <a:xfrm>
                  <a:off x="7884351" y="1255139"/>
                  <a:ext cx="375190" cy="356259"/>
                </a:xfrm>
                <a:prstGeom prst="ellipse">
                  <a:avLst/>
                </a:prstGeom>
                <a:solidFill>
                  <a:srgbClr val="FFC000"/>
                </a:solidFill>
                <a:ln w="19050" cap="rnd">
                  <a:noFill/>
                  <a:round/>
                  <a:headEnd/>
                  <a:tailEnd/>
                </a:ln>
                <a:effectLst/>
              </p:spPr>
              <p:txBody>
                <a:bodyPr>
                  <a:noAutofit/>
                </a:bodyPr>
                <a:lstStyle/>
                <a:p>
                  <a:pPr defTabSz="914037">
                    <a:defRPr/>
                  </a:pPr>
                  <a:endParaRPr lang="en-US" sz="1299" b="1" kern="0" dirty="0">
                    <a:solidFill>
                      <a:srgbClr val="0E2A3B"/>
                    </a:solidFill>
                    <a:latin typeface="Arial"/>
                  </a:endParaRPr>
                </a:p>
              </p:txBody>
            </p:sp>
          </p:grpSp>
          <p:grpSp>
            <p:nvGrpSpPr>
              <p:cNvPr id="92" name="Group 91"/>
              <p:cNvGrpSpPr>
                <a:grpSpLocks/>
              </p:cNvGrpSpPr>
              <p:nvPr/>
            </p:nvGrpSpPr>
            <p:grpSpPr>
              <a:xfrm>
                <a:off x="3702615" y="6079924"/>
                <a:ext cx="203977" cy="203190"/>
                <a:chOff x="2936318" y="1169258"/>
                <a:chExt cx="741967" cy="603934"/>
              </a:xfrm>
            </p:grpSpPr>
            <p:sp>
              <p:nvSpPr>
                <p:cNvPr id="93" name="Rectangle 92"/>
                <p:cNvSpPr>
                  <a:spLocks/>
                </p:cNvSpPr>
                <p:nvPr/>
              </p:nvSpPr>
              <p:spPr bwMode="gray">
                <a:xfrm>
                  <a:off x="2936318" y="1169258"/>
                  <a:ext cx="162222" cy="136165"/>
                </a:xfrm>
                <a:prstGeom prst="rect">
                  <a:avLst/>
                </a:prstGeom>
                <a:solidFill>
                  <a:srgbClr val="083C52"/>
                </a:solidFill>
                <a:ln w="19050" cap="rnd">
                  <a:noFill/>
                  <a:round/>
                  <a:headEnd/>
                  <a:tailEnd/>
                </a:ln>
                <a:effectLst/>
              </p:spPr>
              <p:txBody>
                <a:bodyPr>
                  <a:noAutofit/>
                </a:bodyPr>
                <a:lstStyle/>
                <a:p>
                  <a:pPr defTabSz="914037">
                    <a:defRPr/>
                  </a:pPr>
                  <a:endParaRPr lang="en-US" sz="1299" b="1" kern="0" dirty="0">
                    <a:solidFill>
                      <a:srgbClr val="0E2A3B"/>
                    </a:solidFill>
                    <a:latin typeface="Arial"/>
                  </a:endParaRPr>
                </a:p>
              </p:txBody>
            </p:sp>
            <p:sp>
              <p:nvSpPr>
                <p:cNvPr id="94" name="Rectangle 93"/>
                <p:cNvSpPr>
                  <a:spLocks/>
                </p:cNvSpPr>
                <p:nvPr/>
              </p:nvSpPr>
              <p:spPr bwMode="gray">
                <a:xfrm>
                  <a:off x="3129566" y="1169258"/>
                  <a:ext cx="162222" cy="136165"/>
                </a:xfrm>
                <a:prstGeom prst="rect">
                  <a:avLst/>
                </a:prstGeom>
                <a:solidFill>
                  <a:srgbClr val="083C52"/>
                </a:solidFill>
                <a:ln w="19050" cap="rnd">
                  <a:noFill/>
                  <a:round/>
                  <a:headEnd/>
                  <a:tailEnd/>
                </a:ln>
                <a:effectLst/>
              </p:spPr>
              <p:txBody>
                <a:bodyPr>
                  <a:noAutofit/>
                </a:bodyPr>
                <a:lstStyle/>
                <a:p>
                  <a:pPr defTabSz="914037">
                    <a:defRPr/>
                  </a:pPr>
                  <a:endParaRPr lang="en-US" sz="1299" b="1" kern="0" dirty="0">
                    <a:solidFill>
                      <a:srgbClr val="0E2A3B"/>
                    </a:solidFill>
                    <a:latin typeface="Arial"/>
                  </a:endParaRPr>
                </a:p>
              </p:txBody>
            </p:sp>
            <p:sp>
              <p:nvSpPr>
                <p:cNvPr id="95" name="Rectangle 94"/>
                <p:cNvSpPr>
                  <a:spLocks/>
                </p:cNvSpPr>
                <p:nvPr/>
              </p:nvSpPr>
              <p:spPr bwMode="gray">
                <a:xfrm>
                  <a:off x="3322815" y="1169258"/>
                  <a:ext cx="162222" cy="136165"/>
                </a:xfrm>
                <a:prstGeom prst="rect">
                  <a:avLst/>
                </a:prstGeom>
                <a:solidFill>
                  <a:srgbClr val="083C52"/>
                </a:solidFill>
                <a:ln w="19050" cap="rnd">
                  <a:noFill/>
                  <a:round/>
                  <a:headEnd/>
                  <a:tailEnd/>
                </a:ln>
                <a:effectLst/>
              </p:spPr>
              <p:txBody>
                <a:bodyPr>
                  <a:noAutofit/>
                </a:bodyPr>
                <a:lstStyle/>
                <a:p>
                  <a:pPr defTabSz="914037">
                    <a:defRPr/>
                  </a:pPr>
                  <a:endParaRPr lang="en-US" sz="1299" b="1" kern="0" dirty="0">
                    <a:solidFill>
                      <a:srgbClr val="0E2A3B"/>
                    </a:solidFill>
                    <a:latin typeface="Arial"/>
                  </a:endParaRPr>
                </a:p>
              </p:txBody>
            </p:sp>
            <p:sp>
              <p:nvSpPr>
                <p:cNvPr id="96" name="Rectangle 95"/>
                <p:cNvSpPr>
                  <a:spLocks/>
                </p:cNvSpPr>
                <p:nvPr/>
              </p:nvSpPr>
              <p:spPr bwMode="gray">
                <a:xfrm>
                  <a:off x="3516063" y="1169258"/>
                  <a:ext cx="162222" cy="136165"/>
                </a:xfrm>
                <a:prstGeom prst="rect">
                  <a:avLst/>
                </a:prstGeom>
                <a:solidFill>
                  <a:srgbClr val="083C52"/>
                </a:solidFill>
                <a:ln w="19050" cap="rnd">
                  <a:noFill/>
                  <a:round/>
                  <a:headEnd/>
                  <a:tailEnd/>
                </a:ln>
                <a:effectLst/>
              </p:spPr>
              <p:txBody>
                <a:bodyPr>
                  <a:noAutofit/>
                </a:bodyPr>
                <a:lstStyle/>
                <a:p>
                  <a:pPr defTabSz="914037">
                    <a:defRPr/>
                  </a:pPr>
                  <a:endParaRPr lang="en-US" sz="1299" b="1" kern="0" dirty="0">
                    <a:solidFill>
                      <a:srgbClr val="0E2A3B"/>
                    </a:solidFill>
                    <a:latin typeface="Arial"/>
                  </a:endParaRPr>
                </a:p>
              </p:txBody>
            </p:sp>
            <p:sp>
              <p:nvSpPr>
                <p:cNvPr id="97" name="Rectangle 96"/>
                <p:cNvSpPr>
                  <a:spLocks/>
                </p:cNvSpPr>
                <p:nvPr/>
              </p:nvSpPr>
              <p:spPr bwMode="gray">
                <a:xfrm>
                  <a:off x="2936318" y="1325181"/>
                  <a:ext cx="162222" cy="136165"/>
                </a:xfrm>
                <a:prstGeom prst="rect">
                  <a:avLst/>
                </a:prstGeom>
                <a:solidFill>
                  <a:srgbClr val="083C52"/>
                </a:solidFill>
                <a:ln w="19050" cap="rnd">
                  <a:noFill/>
                  <a:round/>
                  <a:headEnd/>
                  <a:tailEnd/>
                </a:ln>
                <a:effectLst/>
              </p:spPr>
              <p:txBody>
                <a:bodyPr>
                  <a:noAutofit/>
                </a:bodyPr>
                <a:lstStyle/>
                <a:p>
                  <a:pPr defTabSz="914037">
                    <a:defRPr/>
                  </a:pPr>
                  <a:endParaRPr lang="en-US" sz="1299" b="1" kern="0" dirty="0">
                    <a:solidFill>
                      <a:srgbClr val="0E2A3B"/>
                    </a:solidFill>
                    <a:latin typeface="Arial"/>
                  </a:endParaRPr>
                </a:p>
              </p:txBody>
            </p:sp>
            <p:sp>
              <p:nvSpPr>
                <p:cNvPr id="98" name="Rectangle 30"/>
                <p:cNvSpPr>
                  <a:spLocks/>
                </p:cNvSpPr>
                <p:nvPr/>
              </p:nvSpPr>
              <p:spPr bwMode="gray">
                <a:xfrm>
                  <a:off x="3433525" y="1325181"/>
                  <a:ext cx="51513" cy="136165"/>
                </a:xfrm>
                <a:custGeom>
                  <a:avLst/>
                  <a:gdLst/>
                  <a:ahLst/>
                  <a:cxnLst/>
                  <a:rect l="l" t="t" r="r" b="b"/>
                  <a:pathLst>
                    <a:path w="232410" h="464820">
                      <a:moveTo>
                        <a:pt x="0" y="0"/>
                      </a:moveTo>
                      <a:lnTo>
                        <a:pt x="232410" y="0"/>
                      </a:lnTo>
                      <a:lnTo>
                        <a:pt x="232410" y="464820"/>
                      </a:lnTo>
                      <a:lnTo>
                        <a:pt x="0" y="464820"/>
                      </a:lnTo>
                      <a:close/>
                    </a:path>
                  </a:pathLst>
                </a:custGeom>
                <a:solidFill>
                  <a:srgbClr val="083C52"/>
                </a:solidFill>
                <a:ln w="19050" cap="rnd">
                  <a:noFill/>
                  <a:round/>
                  <a:headEnd/>
                  <a:tailEnd/>
                </a:ln>
                <a:effectLst/>
              </p:spPr>
              <p:txBody>
                <a:bodyPr>
                  <a:noAutofit/>
                </a:bodyPr>
                <a:lstStyle/>
                <a:p>
                  <a:pPr defTabSz="914037">
                    <a:defRPr/>
                  </a:pPr>
                  <a:endParaRPr lang="en-US" sz="1299" b="1" kern="0" dirty="0">
                    <a:solidFill>
                      <a:srgbClr val="0E2A3B"/>
                    </a:solidFill>
                    <a:latin typeface="Arial"/>
                  </a:endParaRPr>
                </a:p>
              </p:txBody>
            </p:sp>
            <p:sp>
              <p:nvSpPr>
                <p:cNvPr id="99" name="Rectangle 98"/>
                <p:cNvSpPr>
                  <a:spLocks/>
                </p:cNvSpPr>
                <p:nvPr/>
              </p:nvSpPr>
              <p:spPr bwMode="gray">
                <a:xfrm>
                  <a:off x="3516063" y="1325181"/>
                  <a:ext cx="162222" cy="136165"/>
                </a:xfrm>
                <a:prstGeom prst="rect">
                  <a:avLst/>
                </a:prstGeom>
                <a:solidFill>
                  <a:srgbClr val="083C52"/>
                </a:solidFill>
                <a:ln w="19050" cap="rnd">
                  <a:noFill/>
                  <a:round/>
                  <a:headEnd/>
                  <a:tailEnd/>
                </a:ln>
                <a:effectLst/>
              </p:spPr>
              <p:txBody>
                <a:bodyPr>
                  <a:noAutofit/>
                </a:bodyPr>
                <a:lstStyle/>
                <a:p>
                  <a:pPr defTabSz="914037">
                    <a:defRPr/>
                  </a:pPr>
                  <a:endParaRPr lang="en-US" sz="1299" b="1" kern="0" dirty="0">
                    <a:solidFill>
                      <a:srgbClr val="0E2A3B"/>
                    </a:solidFill>
                    <a:latin typeface="Arial"/>
                  </a:endParaRPr>
                </a:p>
              </p:txBody>
            </p:sp>
            <p:sp>
              <p:nvSpPr>
                <p:cNvPr id="100" name="Rectangle 99"/>
                <p:cNvSpPr>
                  <a:spLocks/>
                </p:cNvSpPr>
                <p:nvPr/>
              </p:nvSpPr>
              <p:spPr bwMode="gray">
                <a:xfrm>
                  <a:off x="2936318" y="1481105"/>
                  <a:ext cx="162222" cy="136165"/>
                </a:xfrm>
                <a:prstGeom prst="rect">
                  <a:avLst/>
                </a:prstGeom>
                <a:solidFill>
                  <a:srgbClr val="083C52"/>
                </a:solidFill>
                <a:ln w="19050" cap="rnd">
                  <a:noFill/>
                  <a:round/>
                  <a:headEnd/>
                  <a:tailEnd/>
                </a:ln>
                <a:effectLst/>
              </p:spPr>
              <p:txBody>
                <a:bodyPr>
                  <a:noAutofit/>
                </a:bodyPr>
                <a:lstStyle/>
                <a:p>
                  <a:pPr defTabSz="914037">
                    <a:defRPr/>
                  </a:pPr>
                  <a:endParaRPr lang="en-US" sz="1299" b="1" kern="0" dirty="0">
                    <a:solidFill>
                      <a:srgbClr val="0E2A3B"/>
                    </a:solidFill>
                    <a:latin typeface="Arial"/>
                  </a:endParaRPr>
                </a:p>
              </p:txBody>
            </p:sp>
            <p:sp>
              <p:nvSpPr>
                <p:cNvPr id="101" name="Rectangle 33"/>
                <p:cNvSpPr>
                  <a:spLocks/>
                </p:cNvSpPr>
                <p:nvPr/>
              </p:nvSpPr>
              <p:spPr bwMode="gray">
                <a:xfrm>
                  <a:off x="3129566" y="1573739"/>
                  <a:ext cx="162222" cy="43528"/>
                </a:xfrm>
                <a:custGeom>
                  <a:avLst/>
                  <a:gdLst/>
                  <a:ahLst/>
                  <a:cxnLst/>
                  <a:rect l="l" t="t" r="r" b="b"/>
                  <a:pathLst>
                    <a:path w="464820" h="199798">
                      <a:moveTo>
                        <a:pt x="0" y="0"/>
                      </a:moveTo>
                      <a:lnTo>
                        <a:pt x="464820" y="0"/>
                      </a:lnTo>
                      <a:lnTo>
                        <a:pt x="464820" y="199798"/>
                      </a:lnTo>
                      <a:lnTo>
                        <a:pt x="0" y="199798"/>
                      </a:lnTo>
                      <a:close/>
                    </a:path>
                  </a:pathLst>
                </a:custGeom>
                <a:solidFill>
                  <a:srgbClr val="083C52"/>
                </a:solidFill>
                <a:ln w="19050" cap="rnd">
                  <a:noFill/>
                  <a:round/>
                  <a:headEnd/>
                  <a:tailEnd/>
                </a:ln>
                <a:effectLst/>
              </p:spPr>
              <p:txBody>
                <a:bodyPr>
                  <a:noAutofit/>
                </a:bodyPr>
                <a:lstStyle/>
                <a:p>
                  <a:pPr defTabSz="914037">
                    <a:defRPr/>
                  </a:pPr>
                  <a:endParaRPr lang="en-US" sz="1299" b="1" kern="0" dirty="0">
                    <a:solidFill>
                      <a:srgbClr val="0E2A3B"/>
                    </a:solidFill>
                    <a:latin typeface="Arial"/>
                  </a:endParaRPr>
                </a:p>
              </p:txBody>
            </p:sp>
            <p:sp>
              <p:nvSpPr>
                <p:cNvPr id="102" name="Rectangle 101"/>
                <p:cNvSpPr>
                  <a:spLocks/>
                </p:cNvSpPr>
                <p:nvPr/>
              </p:nvSpPr>
              <p:spPr bwMode="gray">
                <a:xfrm>
                  <a:off x="3516063" y="1481105"/>
                  <a:ext cx="162222" cy="136165"/>
                </a:xfrm>
                <a:prstGeom prst="rect">
                  <a:avLst/>
                </a:prstGeom>
                <a:solidFill>
                  <a:srgbClr val="083C52"/>
                </a:solidFill>
                <a:ln w="19050" cap="rnd">
                  <a:noFill/>
                  <a:round/>
                  <a:headEnd/>
                  <a:tailEnd/>
                </a:ln>
                <a:effectLst/>
              </p:spPr>
              <p:txBody>
                <a:bodyPr>
                  <a:noAutofit/>
                </a:bodyPr>
                <a:lstStyle/>
                <a:p>
                  <a:pPr defTabSz="914037">
                    <a:defRPr/>
                  </a:pPr>
                  <a:endParaRPr lang="en-US" sz="1299" b="1" kern="0" dirty="0">
                    <a:solidFill>
                      <a:srgbClr val="0E2A3B"/>
                    </a:solidFill>
                    <a:latin typeface="Arial"/>
                  </a:endParaRPr>
                </a:p>
              </p:txBody>
            </p:sp>
            <p:sp>
              <p:nvSpPr>
                <p:cNvPr id="103" name="Rectangle 102"/>
                <p:cNvSpPr>
                  <a:spLocks/>
                </p:cNvSpPr>
                <p:nvPr/>
              </p:nvSpPr>
              <p:spPr bwMode="gray">
                <a:xfrm>
                  <a:off x="3129566" y="1637027"/>
                  <a:ext cx="162222" cy="136165"/>
                </a:xfrm>
                <a:prstGeom prst="rect">
                  <a:avLst/>
                </a:prstGeom>
                <a:solidFill>
                  <a:srgbClr val="083C52"/>
                </a:solidFill>
                <a:ln w="19050" cap="rnd">
                  <a:noFill/>
                  <a:round/>
                  <a:headEnd/>
                  <a:tailEnd/>
                </a:ln>
                <a:effectLst/>
              </p:spPr>
              <p:txBody>
                <a:bodyPr>
                  <a:noAutofit/>
                </a:bodyPr>
                <a:lstStyle/>
                <a:p>
                  <a:pPr defTabSz="914037">
                    <a:defRPr/>
                  </a:pPr>
                  <a:endParaRPr lang="en-US" sz="1299" b="1" kern="0" dirty="0">
                    <a:solidFill>
                      <a:srgbClr val="0E2A3B"/>
                    </a:solidFill>
                    <a:latin typeface="Arial"/>
                  </a:endParaRPr>
                </a:p>
              </p:txBody>
            </p:sp>
            <p:sp>
              <p:nvSpPr>
                <p:cNvPr id="104" name="Rectangle 103"/>
                <p:cNvSpPr>
                  <a:spLocks/>
                </p:cNvSpPr>
                <p:nvPr/>
              </p:nvSpPr>
              <p:spPr bwMode="gray">
                <a:xfrm>
                  <a:off x="3322815" y="1637027"/>
                  <a:ext cx="162222" cy="136165"/>
                </a:xfrm>
                <a:prstGeom prst="rect">
                  <a:avLst/>
                </a:prstGeom>
                <a:solidFill>
                  <a:srgbClr val="083C52"/>
                </a:solidFill>
                <a:ln w="19050" cap="rnd">
                  <a:noFill/>
                  <a:round/>
                  <a:headEnd/>
                  <a:tailEnd/>
                </a:ln>
                <a:effectLst/>
              </p:spPr>
              <p:txBody>
                <a:bodyPr>
                  <a:noAutofit/>
                </a:bodyPr>
                <a:lstStyle/>
                <a:p>
                  <a:pPr defTabSz="914037">
                    <a:defRPr/>
                  </a:pPr>
                  <a:endParaRPr lang="en-US" sz="1299" b="1" kern="0" dirty="0">
                    <a:solidFill>
                      <a:srgbClr val="0E2A3B"/>
                    </a:solidFill>
                    <a:latin typeface="Arial"/>
                  </a:endParaRPr>
                </a:p>
              </p:txBody>
            </p:sp>
            <p:sp>
              <p:nvSpPr>
                <p:cNvPr id="105" name="Rectangle 104"/>
                <p:cNvSpPr>
                  <a:spLocks/>
                </p:cNvSpPr>
                <p:nvPr/>
              </p:nvSpPr>
              <p:spPr bwMode="gray">
                <a:xfrm>
                  <a:off x="2936318" y="1637027"/>
                  <a:ext cx="162222" cy="136165"/>
                </a:xfrm>
                <a:prstGeom prst="rect">
                  <a:avLst/>
                </a:prstGeom>
                <a:solidFill>
                  <a:srgbClr val="083C52"/>
                </a:solidFill>
                <a:ln w="19050" cap="rnd">
                  <a:noFill/>
                  <a:round/>
                  <a:headEnd/>
                  <a:tailEnd/>
                </a:ln>
                <a:effectLst/>
              </p:spPr>
              <p:txBody>
                <a:bodyPr>
                  <a:noAutofit/>
                </a:bodyPr>
                <a:lstStyle/>
                <a:p>
                  <a:pPr defTabSz="914037">
                    <a:defRPr/>
                  </a:pPr>
                  <a:endParaRPr lang="en-US" sz="1299" b="1" kern="0" dirty="0">
                    <a:solidFill>
                      <a:srgbClr val="0E2A3B"/>
                    </a:solidFill>
                    <a:latin typeface="Arial"/>
                  </a:endParaRPr>
                </a:p>
              </p:txBody>
            </p:sp>
            <p:sp>
              <p:nvSpPr>
                <p:cNvPr id="106" name="Rectangle 105"/>
                <p:cNvSpPr>
                  <a:spLocks/>
                </p:cNvSpPr>
                <p:nvPr/>
              </p:nvSpPr>
              <p:spPr bwMode="gray">
                <a:xfrm>
                  <a:off x="3516063" y="1637027"/>
                  <a:ext cx="162222" cy="136165"/>
                </a:xfrm>
                <a:prstGeom prst="rect">
                  <a:avLst/>
                </a:prstGeom>
                <a:solidFill>
                  <a:srgbClr val="083C52"/>
                </a:solidFill>
                <a:ln w="19050" cap="rnd">
                  <a:noFill/>
                  <a:round/>
                  <a:headEnd/>
                  <a:tailEnd/>
                </a:ln>
                <a:effectLst/>
              </p:spPr>
              <p:txBody>
                <a:bodyPr>
                  <a:noAutofit/>
                </a:bodyPr>
                <a:lstStyle/>
                <a:p>
                  <a:pPr defTabSz="914037">
                    <a:defRPr/>
                  </a:pPr>
                  <a:endParaRPr lang="en-US" sz="1299" b="1" kern="0" dirty="0">
                    <a:solidFill>
                      <a:srgbClr val="0E2A3B"/>
                    </a:solidFill>
                    <a:latin typeface="Arial"/>
                  </a:endParaRPr>
                </a:p>
              </p:txBody>
            </p:sp>
            <p:sp>
              <p:nvSpPr>
                <p:cNvPr id="107" name="Rectangle 34"/>
                <p:cNvSpPr>
                  <a:spLocks/>
                </p:cNvSpPr>
                <p:nvPr/>
              </p:nvSpPr>
              <p:spPr bwMode="gray">
                <a:xfrm>
                  <a:off x="3322815" y="1481105"/>
                  <a:ext cx="162222" cy="136165"/>
                </a:xfrm>
                <a:custGeom>
                  <a:avLst/>
                  <a:gdLst>
                    <a:gd name="connsiteX0" fmla="*/ 232410 w 464820"/>
                    <a:gd name="connsiteY0" fmla="*/ 0 h 464820"/>
                    <a:gd name="connsiteX1" fmla="*/ 464820 w 464820"/>
                    <a:gd name="connsiteY1" fmla="*/ 0 h 464820"/>
                    <a:gd name="connsiteX2" fmla="*/ 464820 w 464820"/>
                    <a:gd name="connsiteY2" fmla="*/ 464820 h 464820"/>
                    <a:gd name="connsiteX3" fmla="*/ 0 w 464820"/>
                    <a:gd name="connsiteY3" fmla="*/ 464820 h 464820"/>
                    <a:gd name="connsiteX4" fmla="*/ 0 w 464820"/>
                    <a:gd name="connsiteY4" fmla="*/ 253857 h 464820"/>
                    <a:gd name="connsiteX5" fmla="*/ 320516 w 464820"/>
                    <a:gd name="connsiteY5" fmla="*/ 318150 h 464820"/>
                    <a:gd name="connsiteX6" fmla="*/ 232410 w 464820"/>
                    <a:gd name="connsiteY6" fmla="*/ 0 h 464820"/>
                    <a:gd name="connsiteX0" fmla="*/ 232410 w 464820"/>
                    <a:gd name="connsiteY0" fmla="*/ 0 h 464820"/>
                    <a:gd name="connsiteX1" fmla="*/ 464820 w 464820"/>
                    <a:gd name="connsiteY1" fmla="*/ 0 h 464820"/>
                    <a:gd name="connsiteX2" fmla="*/ 464820 w 464820"/>
                    <a:gd name="connsiteY2" fmla="*/ 464820 h 464820"/>
                    <a:gd name="connsiteX3" fmla="*/ 0 w 464820"/>
                    <a:gd name="connsiteY3" fmla="*/ 464820 h 464820"/>
                    <a:gd name="connsiteX4" fmla="*/ 0 w 464820"/>
                    <a:gd name="connsiteY4" fmla="*/ 253857 h 464820"/>
                    <a:gd name="connsiteX5" fmla="*/ 320516 w 464820"/>
                    <a:gd name="connsiteY5" fmla="*/ 318150 h 464820"/>
                    <a:gd name="connsiteX6" fmla="*/ 232410 w 464820"/>
                    <a:gd name="connsiteY6" fmla="*/ 0 h 464820"/>
                    <a:gd name="connsiteX0" fmla="*/ 232410 w 464820"/>
                    <a:gd name="connsiteY0" fmla="*/ 0 h 464820"/>
                    <a:gd name="connsiteX1" fmla="*/ 464820 w 464820"/>
                    <a:gd name="connsiteY1" fmla="*/ 0 h 464820"/>
                    <a:gd name="connsiteX2" fmla="*/ 464820 w 464820"/>
                    <a:gd name="connsiteY2" fmla="*/ 464820 h 464820"/>
                    <a:gd name="connsiteX3" fmla="*/ 0 w 464820"/>
                    <a:gd name="connsiteY3" fmla="*/ 464820 h 464820"/>
                    <a:gd name="connsiteX4" fmla="*/ 0 w 464820"/>
                    <a:gd name="connsiteY4" fmla="*/ 253857 h 464820"/>
                    <a:gd name="connsiteX5" fmla="*/ 315753 w 464820"/>
                    <a:gd name="connsiteY5" fmla="*/ 315768 h 464820"/>
                    <a:gd name="connsiteX6" fmla="*/ 232410 w 464820"/>
                    <a:gd name="connsiteY6" fmla="*/ 0 h 464820"/>
                    <a:gd name="connsiteX0" fmla="*/ 315753 w 464820"/>
                    <a:gd name="connsiteY0" fmla="*/ 2381 h 464820"/>
                    <a:gd name="connsiteX1" fmla="*/ 464820 w 464820"/>
                    <a:gd name="connsiteY1" fmla="*/ 0 h 464820"/>
                    <a:gd name="connsiteX2" fmla="*/ 464820 w 464820"/>
                    <a:gd name="connsiteY2" fmla="*/ 464820 h 464820"/>
                    <a:gd name="connsiteX3" fmla="*/ 0 w 464820"/>
                    <a:gd name="connsiteY3" fmla="*/ 464820 h 464820"/>
                    <a:gd name="connsiteX4" fmla="*/ 0 w 464820"/>
                    <a:gd name="connsiteY4" fmla="*/ 253857 h 464820"/>
                    <a:gd name="connsiteX5" fmla="*/ 315753 w 464820"/>
                    <a:gd name="connsiteY5" fmla="*/ 315768 h 464820"/>
                    <a:gd name="connsiteX6" fmla="*/ 315753 w 464820"/>
                    <a:gd name="connsiteY6" fmla="*/ 2381 h 464820"/>
                    <a:gd name="connsiteX0" fmla="*/ 315753 w 464820"/>
                    <a:gd name="connsiteY0" fmla="*/ 2381 h 464820"/>
                    <a:gd name="connsiteX1" fmla="*/ 464820 w 464820"/>
                    <a:gd name="connsiteY1" fmla="*/ 0 h 464820"/>
                    <a:gd name="connsiteX2" fmla="*/ 464820 w 464820"/>
                    <a:gd name="connsiteY2" fmla="*/ 464820 h 464820"/>
                    <a:gd name="connsiteX3" fmla="*/ 0 w 464820"/>
                    <a:gd name="connsiteY3" fmla="*/ 464820 h 464820"/>
                    <a:gd name="connsiteX4" fmla="*/ 2382 w 464820"/>
                    <a:gd name="connsiteY4" fmla="*/ 313388 h 464820"/>
                    <a:gd name="connsiteX5" fmla="*/ 315753 w 464820"/>
                    <a:gd name="connsiteY5" fmla="*/ 315768 h 464820"/>
                    <a:gd name="connsiteX6" fmla="*/ 315753 w 464820"/>
                    <a:gd name="connsiteY6" fmla="*/ 2381 h 4648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64820" h="464820">
                      <a:moveTo>
                        <a:pt x="315753" y="2381"/>
                      </a:moveTo>
                      <a:lnTo>
                        <a:pt x="464820" y="0"/>
                      </a:lnTo>
                      <a:lnTo>
                        <a:pt x="464820" y="464820"/>
                      </a:lnTo>
                      <a:lnTo>
                        <a:pt x="0" y="464820"/>
                      </a:lnTo>
                      <a:lnTo>
                        <a:pt x="2382" y="313388"/>
                      </a:lnTo>
                      <a:lnTo>
                        <a:pt x="315753" y="315768"/>
                      </a:lnTo>
                      <a:lnTo>
                        <a:pt x="315753" y="2381"/>
                      </a:lnTo>
                      <a:close/>
                    </a:path>
                  </a:pathLst>
                </a:custGeom>
                <a:solidFill>
                  <a:schemeClr val="accent5">
                    <a:lumMod val="50000"/>
                  </a:schemeClr>
                </a:solidFill>
                <a:ln w="19050" cap="rnd">
                  <a:noFill/>
                  <a:round/>
                  <a:headEnd/>
                  <a:tailEnd/>
                </a:ln>
                <a:effectLst/>
              </p:spPr>
              <p:txBody>
                <a:bodyPr>
                  <a:noAutofit/>
                </a:bodyPr>
                <a:lstStyle/>
                <a:p>
                  <a:pPr defTabSz="914037">
                    <a:defRPr/>
                  </a:pPr>
                  <a:endParaRPr lang="en-US" sz="1299" b="1" kern="0" dirty="0">
                    <a:solidFill>
                      <a:srgbClr val="0E2A3B"/>
                    </a:solidFill>
                    <a:latin typeface="Arial"/>
                  </a:endParaRPr>
                </a:p>
              </p:txBody>
            </p:sp>
            <p:sp>
              <p:nvSpPr>
                <p:cNvPr id="108" name="Rectangle 107"/>
                <p:cNvSpPr>
                  <a:spLocks/>
                </p:cNvSpPr>
                <p:nvPr/>
              </p:nvSpPr>
              <p:spPr bwMode="gray">
                <a:xfrm>
                  <a:off x="3129566" y="1325181"/>
                  <a:ext cx="274359" cy="230288"/>
                </a:xfrm>
                <a:prstGeom prst="rect">
                  <a:avLst/>
                </a:prstGeom>
                <a:solidFill>
                  <a:srgbClr val="FFC000"/>
                </a:solidFill>
                <a:ln w="19050" cap="rnd">
                  <a:noFill/>
                  <a:round/>
                  <a:headEnd/>
                  <a:tailEnd/>
                </a:ln>
                <a:effectLst/>
              </p:spPr>
              <p:txBody>
                <a:bodyPr>
                  <a:noAutofit/>
                </a:bodyPr>
                <a:lstStyle/>
                <a:p>
                  <a:pPr defTabSz="914037">
                    <a:defRPr/>
                  </a:pPr>
                  <a:endParaRPr lang="en-US" sz="1299" b="1" kern="0" dirty="0">
                    <a:solidFill>
                      <a:srgbClr val="0E2A3B"/>
                    </a:solidFill>
                    <a:latin typeface="Arial"/>
                  </a:endParaRPr>
                </a:p>
              </p:txBody>
            </p:sp>
          </p:grpSp>
        </p:grpSp>
        <p:sp>
          <p:nvSpPr>
            <p:cNvPr id="109" name="Rectangle 17"/>
            <p:cNvSpPr txBox="1">
              <a:spLocks/>
            </p:cNvSpPr>
            <p:nvPr/>
          </p:nvSpPr>
          <p:spPr>
            <a:xfrm>
              <a:off x="3766422" y="5437865"/>
              <a:ext cx="2004534" cy="55399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indent="-192088" defTabSz="895350" eaLnBrk="1" hangingPunct="1">
                <a:buClr>
                  <a:schemeClr val="tx2"/>
                </a:buClr>
                <a:buSzPct val="125000"/>
                <a:buFont typeface="Arial" charset="0"/>
                <a:buChar char="▪"/>
                <a:defRPr baseline="0">
                  <a:latin typeface="+mn-lt"/>
                </a:defRPr>
              </a:lvl2pPr>
              <a:lvl3pPr marL="457200" indent="-261938" defTabSz="895350" eaLnBrk="1" hangingPunct="1">
                <a:buClr>
                  <a:schemeClr val="tx2"/>
                </a:buClr>
                <a:buSzPct val="120000"/>
                <a:buFont typeface="Arial" charset="0"/>
                <a:buChar char="–"/>
                <a:defRPr baseline="0">
                  <a:latin typeface="+mn-lt"/>
                </a:defRPr>
              </a:lvl3pPr>
              <a:lvl4pPr marL="614363" indent="-155575" defTabSz="895350" eaLnBrk="1" hangingPunct="1">
                <a:buClr>
                  <a:schemeClr val="tx2"/>
                </a:buClr>
                <a:buSzPct val="120000"/>
                <a:buFont typeface="Arial" charset="0"/>
                <a:buChar char="▫"/>
                <a:defRPr baseline="0">
                  <a:latin typeface="+mn-lt"/>
                </a:defRPr>
              </a:lvl4pPr>
              <a:lvl5pPr marL="749808"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buClr>
                  <a:srgbClr val="002960"/>
                </a:buClr>
              </a:pPr>
              <a:r>
                <a:rPr lang="en-US" sz="1200" b="1" dirty="0">
                  <a:solidFill>
                    <a:srgbClr val="002960"/>
                  </a:solidFill>
                </a:rPr>
                <a:t>Aspiration for NewCo</a:t>
              </a:r>
              <a:r>
                <a:rPr lang="en-US" sz="1200" b="1" baseline="30000" dirty="0">
                  <a:solidFill>
                    <a:srgbClr val="002960"/>
                  </a:solidFill>
                </a:rPr>
                <a:t>1</a:t>
              </a:r>
            </a:p>
            <a:p>
              <a:pPr>
                <a:buClr>
                  <a:srgbClr val="002960"/>
                </a:buClr>
              </a:pPr>
              <a:r>
                <a:rPr lang="en-US" sz="1200" dirty="0">
                  <a:solidFill>
                    <a:srgbClr val="000000"/>
                  </a:solidFill>
                </a:rPr>
                <a:t>Decide </a:t>
              </a:r>
              <a:r>
                <a:rPr lang="en-US" sz="1200" b="1" dirty="0">
                  <a:solidFill>
                    <a:srgbClr val="002960"/>
                  </a:solidFill>
                </a:rPr>
                <a:t>how to configure </a:t>
              </a:r>
              <a:r>
                <a:rPr lang="en-US" sz="1200" dirty="0">
                  <a:solidFill>
                    <a:srgbClr val="000000"/>
                  </a:solidFill>
                </a:rPr>
                <a:t>to deliver the future strategy</a:t>
              </a:r>
            </a:p>
          </p:txBody>
        </p:sp>
        <p:pic>
          <p:nvPicPr>
            <p:cNvPr id="4" name="Picture 3"/>
            <p:cNvPicPr>
              <a:picLocks noChangeAspect="1"/>
            </p:cNvPicPr>
            <p:nvPr/>
          </p:nvPicPr>
          <p:blipFill>
            <a:blip r:embed="rId19" cstate="screen">
              <a:extLst>
                <a:ext uri="{28A0092B-C50C-407E-A947-70E740481C1C}">
                  <a14:useLocalDpi xmlns:a14="http://schemas.microsoft.com/office/drawing/2010/main"/>
                </a:ext>
              </a:extLst>
            </a:blip>
            <a:stretch>
              <a:fillRect/>
            </a:stretch>
          </p:blipFill>
          <p:spPr>
            <a:xfrm>
              <a:off x="6610233" y="2921316"/>
              <a:ext cx="1348977" cy="1000035"/>
            </a:xfrm>
            <a:prstGeom prst="rect">
              <a:avLst/>
            </a:prstGeom>
          </p:spPr>
        </p:pic>
        <p:sp>
          <p:nvSpPr>
            <p:cNvPr id="5" name="Rectangle 4"/>
            <p:cNvSpPr/>
            <p:nvPr/>
          </p:nvSpPr>
          <p:spPr>
            <a:xfrm>
              <a:off x="6026095" y="3979148"/>
              <a:ext cx="2464998" cy="2118080"/>
            </a:xfrm>
            <a:prstGeom prst="rect">
              <a:avLst/>
            </a:prstGeom>
          </p:spPr>
          <p:txBody>
            <a:bodyPr wrap="square" lIns="0" tIns="0" rIns="0" bIns="0">
              <a:spAutoFit/>
            </a:bodyPr>
            <a:lstStyle/>
            <a:p>
              <a:pPr marL="193619" lvl="1" indent="-192032" defTabSz="895090">
                <a:spcBef>
                  <a:spcPct val="49000"/>
                </a:spcBef>
                <a:buClr>
                  <a:srgbClr val="002960"/>
                </a:buClr>
                <a:buSzPct val="125000"/>
                <a:buFont typeface="Arial" charset="0"/>
                <a:buChar char="▪"/>
              </a:pPr>
              <a:r>
                <a:rPr lang="en-US" altLang="ko-KR" sz="1200" dirty="0">
                  <a:solidFill>
                    <a:srgbClr val="000000"/>
                  </a:solidFill>
                  <a:ea typeface="Gulim" pitchFamily="34" charset="-127"/>
                </a:rPr>
                <a:t>Embed health actions in key initiatives and processes to </a:t>
              </a:r>
              <a:r>
                <a:rPr lang="en-US" altLang="ko-KR" sz="1200" b="1" dirty="0">
                  <a:solidFill>
                    <a:srgbClr val="002960"/>
                  </a:solidFill>
                  <a:ea typeface="Gulim" pitchFamily="34" charset="-127"/>
                </a:rPr>
                <a:t>change the day-to-day </a:t>
              </a:r>
            </a:p>
            <a:p>
              <a:pPr marL="193619" lvl="1" indent="-192032" defTabSz="895090">
                <a:spcBef>
                  <a:spcPct val="49000"/>
                </a:spcBef>
                <a:buClr>
                  <a:srgbClr val="002960"/>
                </a:buClr>
                <a:buSzPct val="125000"/>
                <a:buFont typeface="Arial" charset="0"/>
                <a:buChar char="▪"/>
              </a:pPr>
              <a:r>
                <a:rPr lang="en-US" altLang="ko-KR" sz="1200" dirty="0">
                  <a:solidFill>
                    <a:srgbClr val="000000"/>
                  </a:solidFill>
                  <a:ea typeface="Gulim" pitchFamily="34" charset="-127"/>
                </a:rPr>
                <a:t>Use information to </a:t>
              </a:r>
              <a:r>
                <a:rPr lang="en-US" altLang="ko-KR" sz="1200" b="1" dirty="0">
                  <a:solidFill>
                    <a:srgbClr val="002960"/>
                  </a:solidFill>
                  <a:ea typeface="Gulim" pitchFamily="34" charset="-127"/>
                </a:rPr>
                <a:t>shape communications </a:t>
              </a:r>
              <a:r>
                <a:rPr lang="en-US" altLang="ko-KR" sz="1200" dirty="0">
                  <a:solidFill>
                    <a:srgbClr val="000000"/>
                  </a:solidFill>
                  <a:ea typeface="Gulim" pitchFamily="34" charset="-127"/>
                </a:rPr>
                <a:t>– internally and externally</a:t>
              </a:r>
            </a:p>
            <a:p>
              <a:pPr marL="193619" lvl="1" indent="-192032" defTabSz="895090">
                <a:spcBef>
                  <a:spcPct val="49000"/>
                </a:spcBef>
                <a:buClr>
                  <a:srgbClr val="002960"/>
                </a:buClr>
                <a:buSzPct val="125000"/>
                <a:buFont typeface="Arial" charset="0"/>
                <a:buChar char="▪"/>
              </a:pPr>
              <a:r>
                <a:rPr lang="en-US" altLang="ko-KR" sz="1200" b="1" dirty="0">
                  <a:solidFill>
                    <a:srgbClr val="002960"/>
                  </a:solidFill>
                  <a:ea typeface="Gulim" pitchFamily="34" charset="-127"/>
                </a:rPr>
                <a:t>Set targets, identify sponsors and create a plan to deliver</a:t>
              </a:r>
            </a:p>
            <a:p>
              <a:pPr marL="193619" lvl="1" indent="-192032" defTabSz="895090">
                <a:spcBef>
                  <a:spcPct val="49000"/>
                </a:spcBef>
                <a:buClr>
                  <a:srgbClr val="002960"/>
                </a:buClr>
                <a:buSzPct val="125000"/>
                <a:buFont typeface="Arial" charset="0"/>
                <a:buChar char="▪"/>
              </a:pPr>
              <a:r>
                <a:rPr lang="en-US" altLang="ko-KR" sz="1200" dirty="0">
                  <a:solidFill>
                    <a:srgbClr val="000000"/>
                  </a:solidFill>
                  <a:ea typeface="Gulim" pitchFamily="34" charset="-127"/>
                </a:rPr>
                <a:t>Continue to </a:t>
              </a:r>
              <a:r>
                <a:rPr lang="en-US" altLang="ko-KR" sz="1200" b="1" dirty="0">
                  <a:solidFill>
                    <a:srgbClr val="002960"/>
                  </a:solidFill>
                  <a:ea typeface="Gulim" pitchFamily="34" charset="-127"/>
                </a:rPr>
                <a:t>monitor progress </a:t>
              </a:r>
              <a:r>
                <a:rPr lang="en-US" altLang="ko-KR" sz="1200" dirty="0">
                  <a:solidFill>
                    <a:srgbClr val="000000"/>
                  </a:solidFill>
                  <a:ea typeface="Gulim" pitchFamily="34" charset="-127"/>
                </a:rPr>
                <a:t>with ongoing measurement</a:t>
              </a:r>
            </a:p>
          </p:txBody>
        </p:sp>
        <p:pic>
          <p:nvPicPr>
            <p:cNvPr id="122" name="Picture 121"/>
            <p:cNvPicPr>
              <a:picLocks noChangeAspect="1"/>
            </p:cNvPicPr>
            <p:nvPr/>
          </p:nvPicPr>
          <p:blipFill>
            <a:blip r:embed="rId20" cstate="screen">
              <a:extLst>
                <a:ext uri="{28A0092B-C50C-407E-A947-70E740481C1C}">
                  <a14:useLocalDpi xmlns:a14="http://schemas.microsoft.com/office/drawing/2010/main"/>
                </a:ext>
              </a:extLst>
            </a:blip>
            <a:stretch>
              <a:fillRect/>
            </a:stretch>
          </p:blipFill>
          <p:spPr>
            <a:xfrm>
              <a:off x="894134" y="2409612"/>
              <a:ext cx="1639670" cy="1416964"/>
            </a:xfrm>
            <a:prstGeom prst="rect">
              <a:avLst/>
            </a:prstGeom>
          </p:spPr>
        </p:pic>
        <p:sp>
          <p:nvSpPr>
            <p:cNvPr id="123" name="Rectangle 122"/>
            <p:cNvSpPr>
              <a:spLocks noChangeArrowheads="1"/>
            </p:cNvSpPr>
            <p:nvPr>
              <p:custDataLst>
                <p:tags r:id="rId9"/>
              </p:custDataLst>
            </p:nvPr>
          </p:nvSpPr>
          <p:spPr bwMode="auto">
            <a:xfrm>
              <a:off x="3234992" y="2332926"/>
              <a:ext cx="2528409" cy="5539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marL="193619" lvl="1" indent="-192032" defTabSz="895090">
                <a:spcBef>
                  <a:spcPct val="49000"/>
                </a:spcBef>
                <a:buClr>
                  <a:srgbClr val="002960"/>
                </a:buClr>
                <a:buSzPct val="125000"/>
                <a:buFont typeface="Arial" charset="0"/>
                <a:buChar char="▪"/>
              </a:pPr>
              <a:r>
                <a:rPr lang="en-US" altLang="ko-KR" sz="1200" dirty="0">
                  <a:solidFill>
                    <a:srgbClr val="000000"/>
                  </a:solidFill>
                  <a:ea typeface="Gulim" pitchFamily="34" charset="-127"/>
                </a:rPr>
                <a:t>Leaders have an objective discussion based on results, identifying:</a:t>
              </a:r>
            </a:p>
          </p:txBody>
        </p:sp>
      </p:grpSp>
      <p:sp>
        <p:nvSpPr>
          <p:cNvPr id="115" name="4. Footnote"/>
          <p:cNvSpPr txBox="1">
            <a:spLocks noChangeArrowheads="1"/>
          </p:cNvSpPr>
          <p:nvPr/>
        </p:nvSpPr>
        <p:spPr bwMode="auto">
          <a:xfrm>
            <a:off x="119063" y="6305945"/>
            <a:ext cx="8618537" cy="123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defPPr>
              <a:defRPr lang="en-US"/>
            </a:defPPr>
            <a:lvl1pPr marL="104775" indent="-104775" defTabSz="895350">
              <a:defRPr sz="800" baseline="0">
                <a:solidFill>
                  <a:srgbClr val="808080"/>
                </a:solidFill>
                <a:latin typeface="+mn-lt"/>
              </a:defRPr>
            </a:lvl1pPr>
            <a:lvl2pPr marL="1031875" defTabSz="895350">
              <a:defRPr sz="2400"/>
            </a:lvl2pPr>
            <a:lvl3pPr marL="1217613" defTabSz="895350">
              <a:defRPr sz="2400"/>
            </a:lvl3pPr>
            <a:lvl4pPr marL="1404938" defTabSz="895350">
              <a:defRPr sz="2400"/>
            </a:lvl4pPr>
            <a:lvl5pPr marL="1792288" defTabSz="895350">
              <a:defRPr sz="2400"/>
            </a:lvl5pPr>
            <a:lvl6pPr marL="2249488" defTabSz="895350" fontAlgn="base">
              <a:spcBef>
                <a:spcPct val="0"/>
              </a:spcBef>
              <a:spcAft>
                <a:spcPct val="0"/>
              </a:spcAft>
              <a:defRPr sz="2400"/>
            </a:lvl6pPr>
            <a:lvl7pPr marL="2706688" defTabSz="895350" fontAlgn="base">
              <a:spcBef>
                <a:spcPct val="0"/>
              </a:spcBef>
              <a:spcAft>
                <a:spcPct val="0"/>
              </a:spcAft>
              <a:defRPr sz="2400"/>
            </a:lvl7pPr>
            <a:lvl8pPr marL="3163888" defTabSz="895350" fontAlgn="base">
              <a:spcBef>
                <a:spcPct val="0"/>
              </a:spcBef>
              <a:spcAft>
                <a:spcPct val="0"/>
              </a:spcAft>
              <a:defRPr sz="2400"/>
            </a:lvl8pPr>
            <a:lvl9pPr marL="3621088" defTabSz="895350" fontAlgn="base">
              <a:spcBef>
                <a:spcPct val="0"/>
              </a:spcBef>
              <a:spcAft>
                <a:spcPct val="0"/>
              </a:spcAft>
              <a:defRPr sz="2400"/>
            </a:lvl9pPr>
          </a:lstStyle>
          <a:p>
            <a:r>
              <a:rPr lang="en-US" dirty="0">
                <a:solidFill>
                  <a:schemeClr val="accent6"/>
                </a:solidFill>
                <a:latin typeface="Arial" panose="020B0604020202020204" pitchFamily="34" charset="0"/>
              </a:rPr>
              <a:t>1 This may also come later on after the initial 100 days has passed </a:t>
            </a:r>
          </a:p>
        </p:txBody>
      </p:sp>
      <p:sp>
        <p:nvSpPr>
          <p:cNvPr id="114" name="Rectangle 3"/>
          <p:cNvSpPr>
            <a:spLocks noGrp="1" noChangeArrowheads="1"/>
          </p:cNvSpPr>
          <p:nvPr>
            <p:ph type="title"/>
            <p:custDataLst>
              <p:tags r:id="rId3"/>
            </p:custDataLst>
          </p:nvPr>
        </p:nvSpPr>
        <p:spPr bwMode="gray">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marL="465138"/>
            <a:r>
              <a:rPr lang="en-US" altLang="ja-JP" dirty="0"/>
              <a:t>Toolbox: Organizational health and compatibility diagnostic tools</a:t>
            </a:r>
          </a:p>
        </p:txBody>
      </p:sp>
      <p:sp>
        <p:nvSpPr>
          <p:cNvPr id="116" name="3. Unit of measure"/>
          <p:cNvSpPr txBox="1">
            <a:spLocks noChangeArrowheads="1"/>
          </p:cNvSpPr>
          <p:nvPr/>
        </p:nvSpPr>
        <p:spPr bwMode="auto">
          <a:xfrm>
            <a:off x="119063" y="554866"/>
            <a:ext cx="8618537" cy="73866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defPPr>
              <a:defRPr lang="en-US"/>
            </a:defPPr>
            <a:lvl1pPr marL="457200" defTabSz="895350">
              <a:defRPr baseline="0">
                <a:solidFill>
                  <a:schemeClr val="accent6"/>
                </a:solidFill>
                <a:latin typeface="+mn-lt"/>
              </a:defRPr>
            </a:lvl1pPr>
            <a:lvl2pPr marL="447675" defTabSz="895350">
              <a:defRPr sz="2400"/>
            </a:lvl2pPr>
            <a:lvl3pPr marL="895350" defTabSz="895350">
              <a:defRPr sz="2400"/>
            </a:lvl3pPr>
            <a:lvl4pPr marL="1344613" defTabSz="895350">
              <a:defRPr sz="2400"/>
            </a:lvl4pPr>
            <a:lvl5pPr marL="1792288" defTabSz="895350">
              <a:defRPr sz="2400"/>
            </a:lvl5pPr>
            <a:lvl6pPr marL="2249488" defTabSz="895350" fontAlgn="base">
              <a:spcBef>
                <a:spcPct val="0"/>
              </a:spcBef>
              <a:spcAft>
                <a:spcPct val="0"/>
              </a:spcAft>
              <a:defRPr sz="2400"/>
            </a:lvl6pPr>
            <a:lvl7pPr marL="2706688" defTabSz="895350" fontAlgn="base">
              <a:spcBef>
                <a:spcPct val="0"/>
              </a:spcBef>
              <a:spcAft>
                <a:spcPct val="0"/>
              </a:spcAft>
              <a:defRPr sz="2400"/>
            </a:lvl7pPr>
            <a:lvl8pPr marL="3163888" defTabSz="895350" fontAlgn="base">
              <a:spcBef>
                <a:spcPct val="0"/>
              </a:spcBef>
              <a:spcAft>
                <a:spcPct val="0"/>
              </a:spcAft>
              <a:defRPr sz="2400"/>
            </a:lvl8pPr>
            <a:lvl9pPr marL="3621088" defTabSz="895350" fontAlgn="base">
              <a:spcBef>
                <a:spcPct val="0"/>
              </a:spcBef>
              <a:spcAft>
                <a:spcPct val="0"/>
              </a:spcAft>
              <a:defRPr sz="2400"/>
            </a:lvl9pPr>
          </a:lstStyle>
          <a:p>
            <a:r>
              <a:rPr lang="en-US" altLang="zh-CN" dirty="0"/>
              <a:t>Our proprietary culture and compatibility tools (surveys, interview guides, workshops) use a scientific approach to map differences across companies and identify areas that require interventions</a:t>
            </a:r>
          </a:p>
        </p:txBody>
      </p:sp>
      <p:sp>
        <p:nvSpPr>
          <p:cNvPr id="112" name="Title Tracker Circle">
            <a:extLst>
              <a:ext uri="{FF2B5EF4-FFF2-40B4-BE49-F238E27FC236}">
                <a16:creationId xmlns:a16="http://schemas.microsoft.com/office/drawing/2014/main" id="{D66C66E0-C881-4456-A909-9896E966B0DB}"/>
              </a:ext>
            </a:extLst>
          </p:cNvPr>
          <p:cNvSpPr/>
          <p:nvPr/>
        </p:nvSpPr>
        <p:spPr>
          <a:xfrm>
            <a:off x="119063" y="166736"/>
            <a:ext cx="418798" cy="418798"/>
          </a:xfrm>
          <a:prstGeom prst="ellipse">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p>
            <a:pPr algn="ctr"/>
            <a:r>
              <a:rPr lang="en-US" sz="2000" dirty="0">
                <a:solidFill>
                  <a:schemeClr val="tx2"/>
                </a:solidFill>
                <a:latin typeface="+mj-lt"/>
              </a:rPr>
              <a:t>3</a:t>
            </a:r>
          </a:p>
        </p:txBody>
      </p:sp>
    </p:spTree>
    <p:extLst>
      <p:ext uri="{BB962C8B-B14F-4D97-AF65-F5344CB8AC3E}">
        <p14:creationId xmlns:p14="http://schemas.microsoft.com/office/powerpoint/2010/main" val="112551055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322883" name="AutoShape 3" hidden="1"/>
          <p:cNvGraphicFramePr>
            <a:graphicFrameLocks/>
          </p:cNvGraphicFramePr>
          <p:nvPr>
            <p:custDataLst>
              <p:tags r:id="rId3"/>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67303" name="think-cell Slide" r:id="rId16" imgW="0" imgH="0" progId="TCLayout.ActiveDocument.1">
                  <p:embed/>
                </p:oleObj>
              </mc:Choice>
              <mc:Fallback>
                <p:oleObj name="think-cell Slide" r:id="rId16" imgW="0" imgH="0" progId="TCLayout.ActiveDocument.1">
                  <p:embed/>
                  <p:pic>
                    <p:nvPicPr>
                      <p:cNvPr id="3322883" name="AutoShape 3"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322884" name="Rectangle 3" hidden="1"/>
          <p:cNvSpPr>
            <a:spLocks noChangeArrowheads="1"/>
          </p:cNvSpPr>
          <p:nvPr>
            <p:custDataLst>
              <p:tags r:id="rId4"/>
            </p:custDataLst>
          </p:nvPr>
        </p:nvSpPr>
        <p:spPr bwMode="gray">
          <a:xfrm>
            <a:off x="0" y="0"/>
            <a:ext cx="158750" cy="158750"/>
          </a:xfrm>
          <a:prstGeom prst="rect">
            <a:avLst/>
          </a:prstGeom>
          <a:solidFill>
            <a:schemeClr val="accent1"/>
          </a:solidFill>
          <a:ln w="9525" algn="ctr">
            <a:solidFill>
              <a:schemeClr val="tx1"/>
            </a:solidFill>
            <a:miter lim="800000"/>
            <a:headEnd/>
            <a:tailEnd/>
          </a:ln>
        </p:spPr>
        <p:txBody>
          <a:bodyPr vert="horz" wrap="none" lIns="0" tIns="0" rIns="0" bIns="0" numCol="1" spcCol="0" anchor="ctr" anchorCtr="0">
            <a:noAutofit/>
          </a:bodyPr>
          <a:lstStyle/>
          <a:p>
            <a:pPr algn="ctr"/>
            <a:endParaRPr lang="en-US" dirty="0">
              <a:latin typeface="Arial" panose="020B0604020202020204" pitchFamily="34" charset="0"/>
              <a:cs typeface="Arial" panose="020B0604020202020204" pitchFamily="34" charset="0"/>
              <a:sym typeface="Arial" panose="020B0604020202020204" pitchFamily="34" charset="0"/>
            </a:endParaRPr>
          </a:p>
        </p:txBody>
      </p:sp>
      <p:grpSp>
        <p:nvGrpSpPr>
          <p:cNvPr id="3" name="Group 2">
            <a:extLst>
              <a:ext uri="{FF2B5EF4-FFF2-40B4-BE49-F238E27FC236}">
                <a16:creationId xmlns:a16="http://schemas.microsoft.com/office/drawing/2014/main" id="{C497DFA6-E656-4800-B9C8-8F73DEED3ADF}"/>
              </a:ext>
            </a:extLst>
          </p:cNvPr>
          <p:cNvGrpSpPr/>
          <p:nvPr/>
        </p:nvGrpSpPr>
        <p:grpSpPr>
          <a:xfrm>
            <a:off x="220663" y="1100137"/>
            <a:ext cx="4111370" cy="4819149"/>
            <a:chOff x="4657725" y="1100137"/>
            <a:chExt cx="4111370" cy="4819149"/>
          </a:xfrm>
        </p:grpSpPr>
        <p:sp>
          <p:nvSpPr>
            <p:cNvPr id="170" name="Rectangle 169"/>
            <p:cNvSpPr>
              <a:spLocks/>
            </p:cNvSpPr>
            <p:nvPr/>
          </p:nvSpPr>
          <p:spPr>
            <a:xfrm>
              <a:off x="4657725" y="1100137"/>
              <a:ext cx="4111370" cy="4819149"/>
            </a:xfrm>
            <a:prstGeom prst="rect">
              <a:avLst/>
            </a:prstGeom>
            <a:solidFill>
              <a:schemeClr val="bg1"/>
            </a:solidFill>
            <a:ln w="19050" cmpd="sng">
              <a:solidFill>
                <a:schemeClr val="accent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dirty="0">
                <a:solidFill>
                  <a:srgbClr val="000000"/>
                </a:solidFill>
              </a:endParaRPr>
            </a:p>
          </p:txBody>
        </p:sp>
        <p:sp>
          <p:nvSpPr>
            <p:cNvPr id="172" name="Rectangle 171"/>
            <p:cNvSpPr>
              <a:spLocks/>
            </p:cNvSpPr>
            <p:nvPr/>
          </p:nvSpPr>
          <p:spPr>
            <a:xfrm>
              <a:off x="4657725" y="1110897"/>
              <a:ext cx="4111370" cy="584775"/>
            </a:xfrm>
            <a:prstGeom prst="rect">
              <a:avLst/>
            </a:prstGeom>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spAutoFit/>
            </a:bodyPr>
            <a:lstStyle/>
            <a:p>
              <a:r>
                <a:rPr lang="en-US" b="1" dirty="0">
                  <a:solidFill>
                    <a:schemeClr val="accent3"/>
                  </a:solidFill>
                </a:rPr>
                <a:t>Supported more than twice the number of top mergers than the next competitor</a:t>
              </a:r>
            </a:p>
          </p:txBody>
        </p:sp>
        <p:sp>
          <p:nvSpPr>
            <p:cNvPr id="100" name="Rectangle 68"/>
            <p:cNvSpPr txBox="1">
              <a:spLocks noChangeArrowheads="1"/>
            </p:cNvSpPr>
            <p:nvPr/>
          </p:nvSpPr>
          <p:spPr bwMode="gray">
            <a:xfrm>
              <a:off x="4751388" y="1761772"/>
              <a:ext cx="3923961" cy="49244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342900" indent="-342900" algn="l" defTabSz="895350" rtl="0" eaLnBrk="0" fontAlgn="base" hangingPunct="0">
                <a:spcBef>
                  <a:spcPct val="0"/>
                </a:spcBef>
                <a:spcAft>
                  <a:spcPct val="0"/>
                </a:spcAft>
                <a:buClr>
                  <a:schemeClr val="tx2"/>
                </a:buClr>
                <a:defRPr lang="en-US" sz="1600" baseline="0" smtClean="0">
                  <a:solidFill>
                    <a:schemeClr val="tx1"/>
                  </a:solidFill>
                  <a:latin typeface="+mn-lt"/>
                  <a:ea typeface="+mn-ea"/>
                  <a:cs typeface="+mn-cs"/>
                </a:defRPr>
              </a:lvl1pPr>
              <a:lvl2pPr marL="193675" indent="-192088" algn="l" defTabSz="895350" rtl="0" eaLnBrk="0" fontAlgn="base" hangingPunct="0">
                <a:spcBef>
                  <a:spcPct val="0"/>
                </a:spcBef>
                <a:spcAft>
                  <a:spcPct val="0"/>
                </a:spcAft>
                <a:buClr>
                  <a:schemeClr val="tx2"/>
                </a:buClr>
                <a:buSzPct val="125000"/>
                <a:buFont typeface="Arial" charset="0"/>
                <a:buChar char="▪"/>
                <a:defRPr lang="en-US" sz="1600" baseline="0" smtClean="0">
                  <a:solidFill>
                    <a:schemeClr val="tx1"/>
                  </a:solidFill>
                  <a:latin typeface="+mn-lt"/>
                </a:defRPr>
              </a:lvl2pPr>
              <a:lvl3pPr marL="457200" indent="-261938" algn="l" defTabSz="895350" rtl="0" eaLnBrk="0" fontAlgn="base" hangingPunct="0">
                <a:spcBef>
                  <a:spcPct val="0"/>
                </a:spcBef>
                <a:spcAft>
                  <a:spcPct val="0"/>
                </a:spcAft>
                <a:buClr>
                  <a:schemeClr val="tx2"/>
                </a:buClr>
                <a:buSzPct val="120000"/>
                <a:buFont typeface="Arial" charset="0"/>
                <a:buChar char="–"/>
                <a:defRPr lang="en-US" sz="1600" baseline="0" smtClean="0">
                  <a:solidFill>
                    <a:schemeClr val="tx1"/>
                  </a:solidFill>
                  <a:latin typeface="+mn-lt"/>
                </a:defRPr>
              </a:lvl3pPr>
              <a:lvl4pPr marL="614363" indent="-155575" algn="l" defTabSz="895350" rtl="0" eaLnBrk="0" fontAlgn="base" hangingPunct="0">
                <a:spcBef>
                  <a:spcPct val="0"/>
                </a:spcBef>
                <a:spcAft>
                  <a:spcPct val="0"/>
                </a:spcAft>
                <a:buClr>
                  <a:schemeClr val="tx2"/>
                </a:buClr>
                <a:buSzPct val="120000"/>
                <a:buFont typeface="Arial" charset="0"/>
                <a:buChar char="▫"/>
                <a:defRPr lang="en-US" sz="1600" baseline="0" smtClean="0">
                  <a:solidFill>
                    <a:schemeClr val="tx1"/>
                  </a:solidFill>
                  <a:latin typeface="+mn-lt"/>
                </a:defRPr>
              </a:lvl4pPr>
              <a:lvl5pPr marL="746125" indent="-130175" algn="l" defTabSz="895350" rtl="0" eaLnBrk="0" fontAlgn="base" hangingPunct="0">
                <a:spcBef>
                  <a:spcPct val="0"/>
                </a:spcBef>
                <a:spcAft>
                  <a:spcPct val="0"/>
                </a:spcAft>
                <a:buClr>
                  <a:schemeClr val="tx2"/>
                </a:buClr>
                <a:buSzPct val="89000"/>
                <a:buFont typeface="Arial" charset="0"/>
                <a:buChar char="-"/>
                <a:defRPr lang="en-US" sz="1600" baseline="0" smtClean="0">
                  <a:solidFill>
                    <a:schemeClr val="tx1"/>
                  </a:solidFill>
                  <a:latin typeface="+mn-lt"/>
                </a:defRPr>
              </a:lvl5pPr>
              <a:lvl6pPr marL="12033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6pPr>
              <a:lvl7pPr marL="16605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7pPr>
              <a:lvl8pPr marL="21177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8pPr>
              <a:lvl9pPr marL="25749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indent="0" eaLnBrk="1" hangingPunct="1"/>
              <a:r>
                <a:rPr lang="en-US" b="0" dirty="0">
                  <a:solidFill>
                    <a:schemeClr val="accent6"/>
                  </a:solidFill>
                </a:rPr>
                <a:t>Top 50 mergers in last 5 years </a:t>
              </a:r>
              <a:br>
                <a:rPr lang="en-US" b="0" dirty="0">
                  <a:solidFill>
                    <a:schemeClr val="accent6"/>
                  </a:solidFill>
                </a:rPr>
              </a:br>
              <a:r>
                <a:rPr lang="en-US" b="0" dirty="0">
                  <a:solidFill>
                    <a:schemeClr val="accent6"/>
                  </a:solidFill>
                </a:rPr>
                <a:t>(by deal value)</a:t>
              </a:r>
            </a:p>
          </p:txBody>
        </p:sp>
      </p:grpSp>
      <p:graphicFrame>
        <p:nvGraphicFramePr>
          <p:cNvPr id="234" name="Object 233"/>
          <p:cNvGraphicFramePr>
            <a:graphicFrameLocks/>
          </p:cNvGraphicFramePr>
          <p:nvPr>
            <p:custDataLst>
              <p:tags r:id="rId5"/>
            </p:custDataLst>
            <p:extLst/>
          </p:nvPr>
        </p:nvGraphicFramePr>
        <p:xfrm>
          <a:off x="1333500" y="2895601"/>
          <a:ext cx="2328672" cy="2362069"/>
        </p:xfrm>
        <a:graphic>
          <a:graphicData uri="http://schemas.openxmlformats.org/presentationml/2006/ole">
            <mc:AlternateContent xmlns:mc="http://schemas.openxmlformats.org/markup-compatibility/2006">
              <mc:Choice xmlns:v="urn:schemas-microsoft-com:vml" Requires="v">
                <p:oleObj spid="_x0000_s267304" name="Chart" r:id="rId17" imgW="2328711" imgH="2362069" progId="MSGraph.Chart.8">
                  <p:embed followColorScheme="full"/>
                </p:oleObj>
              </mc:Choice>
              <mc:Fallback>
                <p:oleObj name="Chart" r:id="rId17" imgW="2328711" imgH="2362069" progId="MSGraph.Chart.8">
                  <p:embed followColorScheme="full"/>
                  <p:pic>
                    <p:nvPicPr>
                      <p:cNvPr id="234" name="Object 233"/>
                      <p:cNvPicPr/>
                      <p:nvPr/>
                    </p:nvPicPr>
                    <p:blipFill>
                      <a:blip r:embed="rId18"/>
                      <a:stretch>
                        <a:fillRect/>
                      </a:stretch>
                    </p:blipFill>
                    <p:spPr>
                      <a:xfrm>
                        <a:off x="1333500" y="2895601"/>
                        <a:ext cx="2328672" cy="2362069"/>
                      </a:xfrm>
                      <a:prstGeom prst="rect">
                        <a:avLst/>
                      </a:prstGeom>
                    </p:spPr>
                  </p:pic>
                </p:oleObj>
              </mc:Fallback>
            </mc:AlternateContent>
          </a:graphicData>
        </a:graphic>
      </p:graphicFrame>
      <p:sp>
        <p:nvSpPr>
          <p:cNvPr id="239" name="Rectangle 238"/>
          <p:cNvSpPr>
            <a:spLocks noGrp="1" noChangeArrowheads="1"/>
          </p:cNvSpPr>
          <p:nvPr>
            <p:custDataLst>
              <p:tags r:id="rId6"/>
            </p:custDataLst>
          </p:nvPr>
        </p:nvSpPr>
        <p:spPr bwMode="auto">
          <a:xfrm>
            <a:off x="1485900" y="2765425"/>
            <a:ext cx="958850" cy="244475"/>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anchor="ctr" anchorCtr="0" compatLnSpc="1">
            <a:prstTxWarp prst="textNoShape">
              <a:avLst/>
            </a:prstTxWarp>
            <a:noAutofit/>
          </a:bodyPr>
          <a:lstStyle>
            <a:lvl1pPr marL="342900" indent="-342900" algn="l" defTabSz="895350" rtl="0" eaLnBrk="0" fontAlgn="base" hangingPunct="0">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033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6pPr>
            <a:lvl7pPr marL="16605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7pPr>
            <a:lvl8pPr marL="21177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8pPr>
            <a:lvl9pPr marL="25749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indent="0"/>
            <a:fld id="{37769680-E74F-40FE-B240-86C764547E06}" type="datetime'No''''''t'''''''''''''''' ''''''''k''n''o''''''w''''''''''n'''">
              <a:rPr lang="en-US" b="0">
                <a:latin typeface="Arial"/>
                <a:cs typeface="Arial"/>
                <a:sym typeface="Arial"/>
              </a:rPr>
              <a:pPr/>
              <a:t>Not known</a:t>
            </a:fld>
            <a:endParaRPr lang="en-US" b="0" dirty="0">
              <a:latin typeface="Arial"/>
              <a:cs typeface="Arial"/>
              <a:sym typeface="Arial"/>
            </a:endParaRPr>
          </a:p>
        </p:txBody>
      </p:sp>
      <p:sp>
        <p:nvSpPr>
          <p:cNvPr id="235" name="Rectangle 234"/>
          <p:cNvSpPr>
            <a:spLocks noGrp="1" noChangeArrowheads="1"/>
          </p:cNvSpPr>
          <p:nvPr>
            <p:custDataLst>
              <p:tags r:id="rId7"/>
            </p:custDataLst>
          </p:nvPr>
        </p:nvSpPr>
        <p:spPr bwMode="auto">
          <a:xfrm>
            <a:off x="3265488" y="2827338"/>
            <a:ext cx="992188" cy="48895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anchor="ctr" anchorCtr="0" compatLnSpc="1">
            <a:prstTxWarp prst="textNoShape">
              <a:avLst/>
            </a:prstTxWarp>
            <a:noAutofit/>
          </a:bodyPr>
          <a:lstStyle>
            <a:lvl1pPr marL="342900" indent="-342900" algn="l" defTabSz="895350" rtl="0" eaLnBrk="0" fontAlgn="base" hangingPunct="0">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033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6pPr>
            <a:lvl7pPr marL="16605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7pPr>
            <a:lvl8pPr marL="21177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8pPr>
            <a:lvl9pPr marL="25749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indent="0"/>
            <a:r>
              <a:rPr lang="en-US" b="1" dirty="0">
                <a:solidFill>
                  <a:schemeClr val="accent3"/>
                </a:solidFill>
                <a:latin typeface="Arial"/>
                <a:cs typeface="Arial"/>
                <a:sym typeface="Arial"/>
              </a:rPr>
              <a:t>McKinsey</a:t>
            </a:r>
          </a:p>
          <a:p>
            <a:pPr marL="0" indent="0"/>
            <a:r>
              <a:rPr lang="en-US" b="1" dirty="0">
                <a:solidFill>
                  <a:schemeClr val="accent3"/>
                </a:solidFill>
                <a:latin typeface="Arial"/>
                <a:cs typeface="Arial"/>
                <a:sym typeface="Arial"/>
              </a:rPr>
              <a:t>supported</a:t>
            </a:r>
          </a:p>
        </p:txBody>
      </p:sp>
      <p:sp>
        <p:nvSpPr>
          <p:cNvPr id="236" name="Rectangle 235"/>
          <p:cNvSpPr>
            <a:spLocks noGrp="1" noChangeArrowheads="1"/>
          </p:cNvSpPr>
          <p:nvPr>
            <p:custDataLst>
              <p:tags r:id="rId8"/>
            </p:custDataLst>
          </p:nvPr>
        </p:nvSpPr>
        <p:spPr bwMode="gray">
          <a:xfrm>
            <a:off x="2052638" y="4814888"/>
            <a:ext cx="276225" cy="244475"/>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25400" tIns="0" rIns="25400" bIns="0" numCol="1" anchor="ctr" anchorCtr="0" compatLnSpc="1">
            <a:prstTxWarp prst="textNoShape">
              <a:avLst/>
            </a:prstTxWarp>
            <a:noAutofit/>
          </a:bodyPr>
          <a:lstStyle>
            <a:lvl1pPr marL="342900" indent="-342900" algn="l" defTabSz="895350" rtl="0" eaLnBrk="0" fontAlgn="base" hangingPunct="0">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033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6pPr>
            <a:lvl7pPr marL="16605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7pPr>
            <a:lvl8pPr marL="21177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8pPr>
            <a:lvl9pPr marL="25749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indent="0" algn="ctr"/>
            <a:fld id="{83FBA535-F522-4485-B17C-CFE883CD05CB}" type="datetime'''''''''2''''''4'''''''''''''''''''''''''">
              <a:rPr lang="en-US" b="0">
                <a:latin typeface="Arial"/>
                <a:cs typeface="Arial"/>
                <a:sym typeface="Arial"/>
              </a:rPr>
              <a:pPr/>
              <a:t>24</a:t>
            </a:fld>
            <a:endParaRPr lang="en-US" b="0" dirty="0">
              <a:latin typeface="Arial"/>
              <a:cs typeface="Arial"/>
              <a:sym typeface="Arial"/>
            </a:endParaRPr>
          </a:p>
        </p:txBody>
      </p:sp>
      <p:sp>
        <p:nvSpPr>
          <p:cNvPr id="136" name="Text Placeholder 5"/>
          <p:cNvSpPr>
            <a:spLocks noGrp="1"/>
          </p:cNvSpPr>
          <p:nvPr>
            <p:custDataLst>
              <p:tags r:id="rId9"/>
            </p:custDataLst>
          </p:nvPr>
        </p:nvSpPr>
        <p:spPr bwMode="gray">
          <a:xfrm>
            <a:off x="2027238" y="3157538"/>
            <a:ext cx="276225" cy="24447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25400" tIns="0" rIns="25400" bIns="0" numCol="1" anchor="ctr" anchorCtr="0" compatLnSpc="1">
            <a:prstTxWarp prst="textNoShape">
              <a:avLst/>
            </a:prstTxWarp>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ctr"/>
            <a:fld id="{F90A76D5-98BA-4D00-9FC8-27ED3FFDADF6}" type="datetime'''''''''''''''''''''''1''''''''''''''''''''''''''2'''''''''''">
              <a:rPr lang="en-US" b="0" smtClean="0">
                <a:latin typeface="Arial"/>
                <a:cs typeface="Arial"/>
                <a:sym typeface="Arial"/>
              </a:rPr>
              <a:pPr algn="ctr"/>
              <a:t>12</a:t>
            </a:fld>
            <a:endParaRPr lang="en-US" b="0" dirty="0">
              <a:latin typeface="Arial"/>
              <a:cs typeface="Arial"/>
              <a:sym typeface="Arial"/>
            </a:endParaRPr>
          </a:p>
        </p:txBody>
      </p:sp>
      <p:sp>
        <p:nvSpPr>
          <p:cNvPr id="238" name="Rectangle 237"/>
          <p:cNvSpPr>
            <a:spLocks noGrp="1" noChangeArrowheads="1"/>
          </p:cNvSpPr>
          <p:nvPr>
            <p:custDataLst>
              <p:tags r:id="rId10"/>
            </p:custDataLst>
          </p:nvPr>
        </p:nvSpPr>
        <p:spPr bwMode="auto">
          <a:xfrm>
            <a:off x="304800" y="3081338"/>
            <a:ext cx="1228725" cy="48895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anchor="ctr" anchorCtr="0" compatLnSpc="1">
            <a:prstTxWarp prst="textNoShape">
              <a:avLst/>
            </a:prstTxWarp>
            <a:noAutofit/>
          </a:bodyPr>
          <a:lstStyle>
            <a:lvl1pPr marL="342900" indent="-342900" algn="l" defTabSz="895350" rtl="0" eaLnBrk="0" fontAlgn="base" hangingPunct="0">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033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6pPr>
            <a:lvl7pPr marL="16605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7pPr>
            <a:lvl8pPr marL="21177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8pPr>
            <a:lvl9pPr marL="25749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indent="0"/>
            <a:r>
              <a:rPr lang="en-US" b="0" dirty="0">
                <a:latin typeface="Arial"/>
                <a:cs typeface="Arial"/>
                <a:sym typeface="Arial"/>
              </a:rPr>
              <a:t>All other</a:t>
            </a:r>
          </a:p>
          <a:p>
            <a:pPr marL="0" indent="0"/>
            <a:r>
              <a:rPr lang="en-US" b="0" dirty="0">
                <a:latin typeface="Arial"/>
                <a:cs typeface="Arial"/>
                <a:sym typeface="Arial"/>
              </a:rPr>
              <a:t>consultancies</a:t>
            </a:r>
          </a:p>
        </p:txBody>
      </p:sp>
      <p:sp>
        <p:nvSpPr>
          <p:cNvPr id="129" name="Text Placeholder 4"/>
          <p:cNvSpPr>
            <a:spLocks noGrp="1"/>
          </p:cNvSpPr>
          <p:nvPr>
            <p:custDataLst>
              <p:tags r:id="rId11"/>
            </p:custDataLst>
          </p:nvPr>
        </p:nvSpPr>
        <p:spPr bwMode="gray">
          <a:xfrm>
            <a:off x="1470025" y="3819525"/>
            <a:ext cx="276225" cy="24447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25400" tIns="0" rIns="25400" bIns="0" numCol="1" anchor="ctr" anchorCtr="0" compatLnSpc="1">
            <a:prstTxWarp prst="textNoShape">
              <a:avLst/>
            </a:prstTxWarp>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ctr"/>
            <a:fld id="{8143ADA3-8E92-4AF3-A0BC-1B0E38A25FBB}" type="datetime'''''''''''''''''''''''''1''''''''''''''''''''''9'">
              <a:rPr lang="en-US" b="0" smtClean="0">
                <a:latin typeface="Arial"/>
                <a:cs typeface="Arial"/>
                <a:sym typeface="Arial"/>
              </a:rPr>
              <a:pPr algn="ctr"/>
              <a:t>19</a:t>
            </a:fld>
            <a:endParaRPr lang="en-US" b="0">
              <a:latin typeface="Arial"/>
              <a:cs typeface="Arial"/>
              <a:sym typeface="Arial"/>
            </a:endParaRPr>
          </a:p>
        </p:txBody>
      </p:sp>
      <p:sp>
        <p:nvSpPr>
          <p:cNvPr id="237" name="Rectangle 236"/>
          <p:cNvSpPr>
            <a:spLocks noGrp="1" noChangeArrowheads="1"/>
          </p:cNvSpPr>
          <p:nvPr>
            <p:custDataLst>
              <p:tags r:id="rId12"/>
            </p:custDataLst>
          </p:nvPr>
        </p:nvSpPr>
        <p:spPr bwMode="auto">
          <a:xfrm>
            <a:off x="2243138" y="5195888"/>
            <a:ext cx="677863" cy="244475"/>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anchor="ctr" anchorCtr="0" compatLnSpc="1">
            <a:prstTxWarp prst="textNoShape">
              <a:avLst/>
            </a:prstTxWarp>
            <a:noAutofit/>
          </a:bodyPr>
          <a:lstStyle>
            <a:lvl1pPr marL="342900" indent="-342900" algn="l" defTabSz="895350" rtl="0" eaLnBrk="0" fontAlgn="base" hangingPunct="0">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033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6pPr>
            <a:lvl7pPr marL="16605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7pPr>
            <a:lvl8pPr marL="21177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8pPr>
            <a:lvl9pPr marL="25749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indent="0"/>
            <a:fld id="{15F72F54-6420-46C3-8CB6-8CF2D0B7D216}" type="datetime'''I''''''''''n''''t''''''er''''na''''''''''''''''''l'''''">
              <a:rPr lang="en-US" b="0">
                <a:latin typeface="Arial"/>
                <a:cs typeface="Arial"/>
                <a:sym typeface="Arial"/>
              </a:rPr>
              <a:pPr/>
              <a:t>Internal</a:t>
            </a:fld>
            <a:endParaRPr lang="en-US" b="0" dirty="0">
              <a:latin typeface="Arial"/>
              <a:cs typeface="Arial"/>
              <a:sym typeface="Arial"/>
            </a:endParaRPr>
          </a:p>
        </p:txBody>
      </p:sp>
      <p:sp>
        <p:nvSpPr>
          <p:cNvPr id="126" name="Text Placeholder 3"/>
          <p:cNvSpPr>
            <a:spLocks noGrp="1"/>
          </p:cNvSpPr>
          <p:nvPr>
            <p:custDataLst>
              <p:tags r:id="rId13"/>
            </p:custDataLst>
          </p:nvPr>
        </p:nvSpPr>
        <p:spPr bwMode="gray">
          <a:xfrm>
            <a:off x="3249613" y="3790950"/>
            <a:ext cx="276225" cy="24447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25400" tIns="0" rIns="25400" bIns="0" numCol="1" anchor="ctr" anchorCtr="0" compatLnSpc="1">
            <a:prstTxWarp prst="textNoShape">
              <a:avLst/>
            </a:prstTxWarp>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ctr"/>
            <a:fld id="{65E30A93-5EA7-4036-B1E7-2CF212478BED}" type="datetime'''''''''''''4''''2'''''''''''''''''''''''''''">
              <a:rPr lang="en-US" b="1" smtClean="0">
                <a:solidFill>
                  <a:schemeClr val="bg1"/>
                </a:solidFill>
                <a:latin typeface="Arial"/>
                <a:ea typeface="ＭＳ Ｐゴシック"/>
                <a:cs typeface="Arial"/>
                <a:sym typeface="Arial"/>
              </a:rPr>
              <a:pPr algn="ctr"/>
              <a:t>42</a:t>
            </a:fld>
            <a:endParaRPr lang="en-US" b="1">
              <a:solidFill>
                <a:schemeClr val="bg1"/>
              </a:solidFill>
              <a:latin typeface="Arial"/>
              <a:ea typeface="ＭＳ Ｐゴシック"/>
              <a:cs typeface="Arial"/>
              <a:sym typeface="Arial"/>
            </a:endParaRPr>
          </a:p>
        </p:txBody>
      </p:sp>
      <p:sp>
        <p:nvSpPr>
          <p:cNvPr id="53" name="Title Tracker Circle">
            <a:extLst>
              <a:ext uri="{FF2B5EF4-FFF2-40B4-BE49-F238E27FC236}">
                <a16:creationId xmlns:a16="http://schemas.microsoft.com/office/drawing/2014/main" id="{B0D3024C-3B5D-4EA6-83CC-02D002195279}"/>
              </a:ext>
            </a:extLst>
          </p:cNvPr>
          <p:cNvSpPr/>
          <p:nvPr/>
        </p:nvSpPr>
        <p:spPr>
          <a:xfrm>
            <a:off x="119063" y="166736"/>
            <a:ext cx="418798" cy="418798"/>
          </a:xfrm>
          <a:prstGeom prst="ellipse">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p>
            <a:pPr algn="ctr"/>
            <a:r>
              <a:rPr lang="en-US" sz="2000" dirty="0">
                <a:solidFill>
                  <a:schemeClr val="tx2"/>
                </a:solidFill>
                <a:latin typeface="+mj-lt"/>
              </a:rPr>
              <a:t>1</a:t>
            </a:r>
          </a:p>
        </p:txBody>
      </p:sp>
      <p:sp>
        <p:nvSpPr>
          <p:cNvPr id="4" name="Title 3">
            <a:extLst>
              <a:ext uri="{FF2B5EF4-FFF2-40B4-BE49-F238E27FC236}">
                <a16:creationId xmlns:a16="http://schemas.microsoft.com/office/drawing/2014/main" id="{DA3786A0-5E0D-412D-BA3A-E6DE048FC452}"/>
              </a:ext>
            </a:extLst>
          </p:cNvPr>
          <p:cNvSpPr>
            <a:spLocks noGrp="1"/>
          </p:cNvSpPr>
          <p:nvPr>
            <p:ph type="title"/>
          </p:nvPr>
        </p:nvSpPr>
        <p:spPr>
          <a:xfrm>
            <a:off x="119063" y="230188"/>
            <a:ext cx="8618537" cy="615553"/>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marL="465138"/>
            <a:r>
              <a:rPr lang="en-US" dirty="0"/>
              <a:t>We have supported more complex acquisitions and mergers across industries and geographies than any other firm</a:t>
            </a:r>
            <a:endParaRPr lang="en-GB" dirty="0"/>
          </a:p>
        </p:txBody>
      </p:sp>
      <p:sp>
        <p:nvSpPr>
          <p:cNvPr id="55" name="5. Source">
            <a:extLst>
              <a:ext uri="{FF2B5EF4-FFF2-40B4-BE49-F238E27FC236}">
                <a16:creationId xmlns:a16="http://schemas.microsoft.com/office/drawing/2014/main" id="{1C841266-9324-4A2F-9251-01D1E41AB79B}"/>
              </a:ext>
            </a:extLst>
          </p:cNvPr>
          <p:cNvSpPr>
            <a:spLocks noChangeArrowheads="1"/>
          </p:cNvSpPr>
          <p:nvPr/>
        </p:nvSpPr>
        <p:spPr bwMode="auto">
          <a:xfrm>
            <a:off x="119063" y="6507558"/>
            <a:ext cx="7200000" cy="123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marL="609600" indent="-609600" defTabSz="895350">
              <a:tabLst>
                <a:tab pos="612775" algn="l"/>
              </a:tabLst>
            </a:pPr>
            <a:r>
              <a:rPr lang="en-US" sz="800" dirty="0">
                <a:solidFill>
                  <a:schemeClr val="accent6"/>
                </a:solidFill>
                <a:latin typeface="Arial" panose="020B0604020202020204" pitchFamily="34" charset="0"/>
              </a:rPr>
              <a:t>SOURCE: McKinsey Merger Management Practice</a:t>
            </a:r>
          </a:p>
        </p:txBody>
      </p:sp>
      <p:sp>
        <p:nvSpPr>
          <p:cNvPr id="54" name="4. Footnote">
            <a:extLst>
              <a:ext uri="{FF2B5EF4-FFF2-40B4-BE49-F238E27FC236}">
                <a16:creationId xmlns:a16="http://schemas.microsoft.com/office/drawing/2014/main" id="{CEFCCD6C-951E-41CE-8F26-DE305643FA6B}"/>
              </a:ext>
            </a:extLst>
          </p:cNvPr>
          <p:cNvSpPr txBox="1">
            <a:spLocks noChangeArrowheads="1"/>
          </p:cNvSpPr>
          <p:nvPr/>
        </p:nvSpPr>
        <p:spPr bwMode="auto">
          <a:xfrm>
            <a:off x="119063" y="6305945"/>
            <a:ext cx="8618537" cy="123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defPPr>
              <a:defRPr lang="en-US"/>
            </a:defPPr>
            <a:lvl1pPr marL="104775" indent="-104775" defTabSz="895350">
              <a:defRPr sz="800">
                <a:solidFill>
                  <a:srgbClr val="808080"/>
                </a:solidFill>
                <a:latin typeface="Arial"/>
              </a:defRPr>
            </a:lvl1pPr>
            <a:lvl2pPr marL="1031875" defTabSz="895350">
              <a:defRPr sz="2400"/>
            </a:lvl2pPr>
            <a:lvl3pPr marL="1217613" defTabSz="895350">
              <a:defRPr sz="2400"/>
            </a:lvl3pPr>
            <a:lvl4pPr marL="1404938" defTabSz="895350">
              <a:defRPr sz="2400"/>
            </a:lvl4pPr>
            <a:lvl5pPr marL="1792288" defTabSz="895350">
              <a:defRPr sz="2400"/>
            </a:lvl5pPr>
            <a:lvl6pPr marL="2249488" defTabSz="895350" fontAlgn="base">
              <a:spcBef>
                <a:spcPct val="0"/>
              </a:spcBef>
              <a:spcAft>
                <a:spcPct val="0"/>
              </a:spcAft>
              <a:defRPr sz="2400"/>
            </a:lvl6pPr>
            <a:lvl7pPr marL="2706688" defTabSz="895350" fontAlgn="base">
              <a:spcBef>
                <a:spcPct val="0"/>
              </a:spcBef>
              <a:spcAft>
                <a:spcPct val="0"/>
              </a:spcAft>
              <a:defRPr sz="2400"/>
            </a:lvl7pPr>
            <a:lvl8pPr marL="3163888" defTabSz="895350" fontAlgn="base">
              <a:spcBef>
                <a:spcPct val="0"/>
              </a:spcBef>
              <a:spcAft>
                <a:spcPct val="0"/>
              </a:spcAft>
              <a:defRPr sz="2400"/>
            </a:lvl8pPr>
            <a:lvl9pPr marL="3621088" defTabSz="895350" fontAlgn="base">
              <a:spcBef>
                <a:spcPct val="0"/>
              </a:spcBef>
              <a:spcAft>
                <a:spcPct val="0"/>
              </a:spcAft>
              <a:defRPr sz="2400"/>
            </a:lvl9pPr>
          </a:lstStyle>
          <a:p>
            <a:r>
              <a:rPr lang="en-US" dirty="0"/>
              <a:t>1 Primary and secondary studies with functional classification merger; excludes divestitures, spin-offs, and other M&amp;A transactions not involving merger management support </a:t>
            </a:r>
          </a:p>
        </p:txBody>
      </p:sp>
      <p:grpSp>
        <p:nvGrpSpPr>
          <p:cNvPr id="5" name="Group 4">
            <a:extLst>
              <a:ext uri="{FF2B5EF4-FFF2-40B4-BE49-F238E27FC236}">
                <a16:creationId xmlns:a16="http://schemas.microsoft.com/office/drawing/2014/main" id="{6264FDE4-875C-45E2-9413-6CA8E0340E50}"/>
              </a:ext>
            </a:extLst>
          </p:cNvPr>
          <p:cNvGrpSpPr/>
          <p:nvPr/>
        </p:nvGrpSpPr>
        <p:grpSpPr>
          <a:xfrm>
            <a:off x="4413250" y="1100137"/>
            <a:ext cx="4357743" cy="4819148"/>
            <a:chOff x="169863" y="1100138"/>
            <a:chExt cx="4357743" cy="4819148"/>
          </a:xfrm>
        </p:grpSpPr>
        <p:sp>
          <p:nvSpPr>
            <p:cNvPr id="52" name="Rectangle 67">
              <a:extLst>
                <a:ext uri="{FF2B5EF4-FFF2-40B4-BE49-F238E27FC236}">
                  <a16:creationId xmlns:a16="http://schemas.microsoft.com/office/drawing/2014/main" id="{11F5E58C-BFC5-4479-A2E8-BC4F8ABEE64A}"/>
                </a:ext>
              </a:extLst>
            </p:cNvPr>
            <p:cNvSpPr txBox="1">
              <a:spLocks noChangeArrowheads="1"/>
            </p:cNvSpPr>
            <p:nvPr/>
          </p:nvSpPr>
          <p:spPr bwMode="gray">
            <a:xfrm>
              <a:off x="169863" y="1100138"/>
              <a:ext cx="4357743" cy="4819148"/>
            </a:xfrm>
            <a:prstGeom prst="rect">
              <a:avLst/>
            </a:prstGeom>
            <a:solidFill>
              <a:schemeClr val="bg1"/>
            </a:solidFill>
            <a:ln w="19050">
              <a:solidFill>
                <a:schemeClr val="accent1"/>
              </a:solidFill>
              <a:miter lim="800000"/>
              <a:headEnd/>
              <a:tailEnd/>
            </a:ln>
            <a:effectLst>
              <a:outerShdw blurRad="50800" dist="38100" dir="2700000" algn="tl" rotWithShape="0">
                <a:prstClr val="black">
                  <a:alpha val="40000"/>
                </a:prstClr>
              </a:outerShdw>
            </a:effectLst>
            <a:extLst/>
          </p:spPr>
          <p:txBody>
            <a:bodyPr wrap="square" lIns="73152" tIns="73152" rIns="73152" bIns="73152" anchor="ctr" anchorCtr="0">
              <a:noAutofit/>
            </a:bodyPr>
            <a:lstStyle>
              <a:defPPr>
                <a:defRPr lang="en-US"/>
              </a:defPPr>
              <a:lvl1pPr>
                <a:buClr>
                  <a:schemeClr val="tx2"/>
                </a:buClr>
                <a:defRPr sz="1500" b="1">
                  <a:solidFill>
                    <a:schemeClr val="bg1"/>
                  </a:solidFill>
                </a:defRPr>
              </a:lvl1pPr>
            </a:lstStyle>
            <a:p>
              <a:endParaRPr lang="en-US" sz="1400" b="0" dirty="0"/>
            </a:p>
          </p:txBody>
        </p:sp>
        <p:grpSp>
          <p:nvGrpSpPr>
            <p:cNvPr id="56" name="Group 55">
              <a:extLst>
                <a:ext uri="{FF2B5EF4-FFF2-40B4-BE49-F238E27FC236}">
                  <a16:creationId xmlns:a16="http://schemas.microsoft.com/office/drawing/2014/main" id="{505F3D7D-8CFB-4737-B746-AA996FDAAAF6}"/>
                </a:ext>
              </a:extLst>
            </p:cNvPr>
            <p:cNvGrpSpPr/>
            <p:nvPr/>
          </p:nvGrpSpPr>
          <p:grpSpPr>
            <a:xfrm>
              <a:off x="290513" y="1271588"/>
              <a:ext cx="4204529" cy="1871282"/>
              <a:chOff x="290513" y="1271588"/>
              <a:chExt cx="4204529" cy="1871282"/>
            </a:xfrm>
          </p:grpSpPr>
          <p:sp>
            <p:nvSpPr>
              <p:cNvPr id="57" name="Rectangle 2">
                <a:extLst>
                  <a:ext uri="{FF2B5EF4-FFF2-40B4-BE49-F238E27FC236}">
                    <a16:creationId xmlns:a16="http://schemas.microsoft.com/office/drawing/2014/main" id="{E8C4BD17-1023-405D-A1F7-E23B47D09B5F}"/>
                  </a:ext>
                </a:extLst>
              </p:cNvPr>
              <p:cNvSpPr txBox="1">
                <a:spLocks/>
              </p:cNvSpPr>
              <p:nvPr/>
            </p:nvSpPr>
            <p:spPr>
              <a:xfrm>
                <a:off x="574675" y="1271588"/>
                <a:ext cx="3920367" cy="187128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lvl="0" defTabSz="895350">
                  <a:buClr>
                    <a:schemeClr val="tx2"/>
                  </a:buClr>
                  <a:defRPr sz="1600">
                    <a:latin typeface="+mn-lt"/>
                  </a:defRPr>
                </a:lvl1pPr>
                <a:lvl2pPr marL="193675" lvl="1" indent="-192088" defTabSz="895350">
                  <a:buClr>
                    <a:schemeClr val="tx2"/>
                  </a:buClr>
                  <a:buSzPct val="125000"/>
                  <a:buFont typeface="Arial" pitchFamily="34" charset="0"/>
                  <a:buChar char="▪"/>
                  <a:defRPr sz="1600">
                    <a:latin typeface="+mn-lt"/>
                  </a:defRPr>
                </a:lvl2pPr>
                <a:lvl3pPr marL="457200" lvl="2" indent="-261938" defTabSz="895350">
                  <a:buClr>
                    <a:schemeClr val="tx2"/>
                  </a:buClr>
                  <a:buSzPct val="120000"/>
                  <a:buFont typeface="Arial" pitchFamily="34" charset="0"/>
                  <a:buChar char="–"/>
                  <a:defRPr sz="1600">
                    <a:latin typeface="+mn-lt"/>
                  </a:defRPr>
                </a:lvl3pPr>
                <a:lvl4pPr marL="614363" lvl="3" indent="-155575" defTabSz="895350">
                  <a:buClr>
                    <a:schemeClr val="tx2"/>
                  </a:buClr>
                  <a:buSzPct val="120000"/>
                  <a:buFont typeface="Arial" pitchFamily="34" charset="0"/>
                  <a:buChar char="▫"/>
                  <a:defRPr sz="1600">
                    <a:latin typeface="+mn-lt"/>
                  </a:defRPr>
                </a:lvl4pPr>
                <a:lvl5pPr marL="746125" lvl="4" indent="-130175" defTabSz="895350">
                  <a:buClr>
                    <a:schemeClr val="tx2"/>
                  </a:buClr>
                  <a:buSzPct val="89000"/>
                  <a:buFont typeface="Arial" pitchFamily="34" charset="0"/>
                  <a:buChar char="-"/>
                  <a:defRPr sz="1600">
                    <a:latin typeface="+mn-lt"/>
                  </a:defRPr>
                </a:lvl5pPr>
                <a:lvl6pPr marL="1203325" indent="-130175" defTabSz="895350" fontAlgn="base">
                  <a:spcBef>
                    <a:spcPct val="0"/>
                  </a:spcBef>
                  <a:spcAft>
                    <a:spcPct val="0"/>
                  </a:spcAft>
                  <a:buClr>
                    <a:schemeClr val="tx2"/>
                  </a:buClr>
                  <a:buSzPct val="89000"/>
                  <a:buFont typeface="Arial" pitchFamily="34" charset="0"/>
                  <a:buChar char="-"/>
                  <a:defRPr sz="1600">
                    <a:latin typeface="+mn-lt"/>
                  </a:defRPr>
                </a:lvl6pPr>
                <a:lvl7pPr marL="1660525" indent="-130175" defTabSz="895350" fontAlgn="base">
                  <a:spcBef>
                    <a:spcPct val="0"/>
                  </a:spcBef>
                  <a:spcAft>
                    <a:spcPct val="0"/>
                  </a:spcAft>
                  <a:buClr>
                    <a:schemeClr val="tx2"/>
                  </a:buClr>
                  <a:buSzPct val="89000"/>
                  <a:buFont typeface="Arial" pitchFamily="34" charset="0"/>
                  <a:buChar char="-"/>
                  <a:defRPr sz="1600">
                    <a:latin typeface="+mn-lt"/>
                  </a:defRPr>
                </a:lvl7pPr>
                <a:lvl8pPr marL="2117725" indent="-130175" defTabSz="895350" fontAlgn="base">
                  <a:spcBef>
                    <a:spcPct val="0"/>
                  </a:spcBef>
                  <a:spcAft>
                    <a:spcPct val="0"/>
                  </a:spcAft>
                  <a:buClr>
                    <a:schemeClr val="tx2"/>
                  </a:buClr>
                  <a:buSzPct val="89000"/>
                  <a:buFont typeface="Arial" pitchFamily="34" charset="0"/>
                  <a:buChar char="-"/>
                  <a:defRPr sz="1600">
                    <a:latin typeface="+mn-lt"/>
                  </a:defRPr>
                </a:lvl8pPr>
                <a:lvl9pPr marL="2574925" indent="-130175" defTabSz="895350" fontAlgn="base">
                  <a:spcBef>
                    <a:spcPct val="0"/>
                  </a:spcBef>
                  <a:spcAft>
                    <a:spcPct val="0"/>
                  </a:spcAft>
                  <a:buClr>
                    <a:schemeClr val="tx2"/>
                  </a:buClr>
                  <a:buSzPct val="89000"/>
                  <a:buFont typeface="Arial" pitchFamily="34" charset="0"/>
                  <a:buChar char="-"/>
                  <a:defRPr sz="1600">
                    <a:latin typeface="+mn-lt"/>
                  </a:defRPr>
                </a:lvl9pPr>
              </a:lstStyle>
              <a:p>
                <a:pPr>
                  <a:spcBef>
                    <a:spcPct val="60000"/>
                  </a:spcBef>
                  <a:buClr>
                    <a:srgbClr val="002960"/>
                  </a:buClr>
                </a:pPr>
                <a:r>
                  <a:rPr lang="en-US" dirty="0"/>
                  <a:t>More than </a:t>
                </a:r>
                <a:r>
                  <a:rPr lang="en-US" b="1" dirty="0">
                    <a:solidFill>
                      <a:schemeClr val="accent3"/>
                    </a:solidFill>
                  </a:rPr>
                  <a:t>2,300</a:t>
                </a:r>
                <a:r>
                  <a:rPr lang="en-US" b="1" baseline="30000" dirty="0">
                    <a:solidFill>
                      <a:schemeClr val="accent3"/>
                    </a:solidFill>
                  </a:rPr>
                  <a:t>1</a:t>
                </a:r>
                <a:r>
                  <a:rPr lang="en-US" b="1" dirty="0">
                    <a:solidFill>
                      <a:schemeClr val="accent3"/>
                    </a:solidFill>
                  </a:rPr>
                  <a:t> integration strategy and execution engagements </a:t>
                </a:r>
                <a:r>
                  <a:rPr lang="en-US" dirty="0"/>
                  <a:t>over the past 5 years </a:t>
                </a:r>
              </a:p>
              <a:p>
                <a:pPr lvl="1">
                  <a:spcBef>
                    <a:spcPct val="30000"/>
                  </a:spcBef>
                  <a:buClr>
                    <a:srgbClr val="002960"/>
                  </a:buClr>
                </a:pPr>
                <a:r>
                  <a:rPr lang="en-US" dirty="0"/>
                  <a:t>Of which </a:t>
                </a:r>
                <a:r>
                  <a:rPr lang="en-US" b="1" dirty="0">
                    <a:solidFill>
                      <a:schemeClr val="accent3"/>
                    </a:solidFill>
                  </a:rPr>
                  <a:t>430+ engagements in </a:t>
                </a:r>
                <a:br>
                  <a:rPr lang="en-US" b="1" dirty="0">
                    <a:solidFill>
                      <a:schemeClr val="accent3"/>
                    </a:solidFill>
                  </a:rPr>
                </a:br>
                <a:r>
                  <a:rPr lang="en-US" b="1" dirty="0">
                    <a:solidFill>
                      <a:schemeClr val="accent3"/>
                    </a:solidFill>
                  </a:rPr>
                  <a:t>global energy and materials</a:t>
                </a:r>
                <a:endParaRPr lang="en-US" i="1" dirty="0"/>
              </a:p>
              <a:p>
                <a:pPr lvl="1">
                  <a:spcBef>
                    <a:spcPct val="30000"/>
                  </a:spcBef>
                  <a:buClr>
                    <a:srgbClr val="002960"/>
                  </a:buClr>
                </a:pPr>
                <a:r>
                  <a:rPr lang="en-US" b="1" dirty="0">
                    <a:solidFill>
                      <a:schemeClr val="accent3"/>
                    </a:solidFill>
                  </a:rPr>
                  <a:t>Value capture exceeds </a:t>
                </a:r>
                <a:r>
                  <a:rPr lang="en-US" dirty="0"/>
                  <a:t>deal estimates by 30% to 150%</a:t>
                </a:r>
              </a:p>
            </p:txBody>
          </p:sp>
          <p:sp>
            <p:nvSpPr>
              <p:cNvPr id="58" name="Chevron 35">
                <a:extLst>
                  <a:ext uri="{FF2B5EF4-FFF2-40B4-BE49-F238E27FC236}">
                    <a16:creationId xmlns:a16="http://schemas.microsoft.com/office/drawing/2014/main" id="{B643A90D-7AA0-4161-9BB1-F85A9A9629EB}"/>
                  </a:ext>
                </a:extLst>
              </p:cNvPr>
              <p:cNvSpPr/>
              <p:nvPr/>
            </p:nvSpPr>
            <p:spPr>
              <a:xfrm>
                <a:off x="290513" y="1271588"/>
                <a:ext cx="155442" cy="276999"/>
              </a:xfrm>
              <a:prstGeom prst="chevron">
                <a:avLst>
                  <a:gd name="adj" fmla="val 39182"/>
                </a:avLst>
              </a:prstGeom>
              <a:solidFill>
                <a:schemeClr val="accent3"/>
              </a:solidFill>
              <a:ln w="9525" cap="flat" cmpd="sng" algn="ctr">
                <a:noFill/>
                <a:prstDash val="solid"/>
              </a:ln>
              <a:effectLst/>
              <a:extLst>
                <a:ext uri="{91240B29-F687-4F45-9708-019B960494DF}">
                  <a14:hiddenLine xmlns:a14="http://schemas.microsoft.com/office/drawing/2010/main" w="9525" cap="flat" cmpd="sng" algn="ctr">
                    <a:solidFill>
                      <a:schemeClr val="accent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000000"/>
                  </a:solidFill>
                </a:endParaRPr>
              </a:p>
            </p:txBody>
          </p:sp>
        </p:grpSp>
        <p:grpSp>
          <p:nvGrpSpPr>
            <p:cNvPr id="60" name="Group 59">
              <a:extLst>
                <a:ext uri="{FF2B5EF4-FFF2-40B4-BE49-F238E27FC236}">
                  <a16:creationId xmlns:a16="http://schemas.microsoft.com/office/drawing/2014/main" id="{430C5C5D-C8CD-480D-92CA-CAA9F9D6C999}"/>
                </a:ext>
              </a:extLst>
            </p:cNvPr>
            <p:cNvGrpSpPr/>
            <p:nvPr/>
          </p:nvGrpSpPr>
          <p:grpSpPr>
            <a:xfrm>
              <a:off x="290513" y="4824413"/>
              <a:ext cx="4116174" cy="984885"/>
              <a:chOff x="290513" y="4824413"/>
              <a:chExt cx="4116174" cy="984885"/>
            </a:xfrm>
          </p:grpSpPr>
          <p:sp>
            <p:nvSpPr>
              <p:cNvPr id="61" name="Rectangle 10">
                <a:extLst>
                  <a:ext uri="{FF2B5EF4-FFF2-40B4-BE49-F238E27FC236}">
                    <a16:creationId xmlns:a16="http://schemas.microsoft.com/office/drawing/2014/main" id="{F9D446F1-A000-4E32-B753-E0EB0CB0C49D}"/>
                  </a:ext>
                </a:extLst>
              </p:cNvPr>
              <p:cNvSpPr txBox="1">
                <a:spLocks/>
              </p:cNvSpPr>
              <p:nvPr/>
            </p:nvSpPr>
            <p:spPr>
              <a:xfrm>
                <a:off x="574675" y="4824413"/>
                <a:ext cx="3832012" cy="9848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lvl="0" defTabSz="895350">
                  <a:buClr>
                    <a:schemeClr val="tx2"/>
                  </a:buClr>
                  <a:defRPr sz="1600">
                    <a:latin typeface="+mn-lt"/>
                  </a:defRPr>
                </a:lvl1pPr>
                <a:lvl2pPr marL="193675" lvl="1" indent="-192088" defTabSz="895350">
                  <a:buClr>
                    <a:schemeClr val="tx2"/>
                  </a:buClr>
                  <a:buSzPct val="125000"/>
                  <a:buFont typeface="Arial" pitchFamily="34" charset="0"/>
                  <a:buChar char="▪"/>
                  <a:defRPr sz="1600">
                    <a:latin typeface="+mn-lt"/>
                  </a:defRPr>
                </a:lvl2pPr>
                <a:lvl3pPr marL="457200" lvl="2" indent="-261938" defTabSz="895350">
                  <a:buClr>
                    <a:schemeClr val="tx2"/>
                  </a:buClr>
                  <a:buSzPct val="120000"/>
                  <a:buFont typeface="Arial" pitchFamily="34" charset="0"/>
                  <a:buChar char="–"/>
                  <a:defRPr sz="1600">
                    <a:latin typeface="+mn-lt"/>
                  </a:defRPr>
                </a:lvl3pPr>
                <a:lvl4pPr marL="614363" lvl="3" indent="-155575" defTabSz="895350">
                  <a:buClr>
                    <a:schemeClr val="tx2"/>
                  </a:buClr>
                  <a:buSzPct val="120000"/>
                  <a:buFont typeface="Arial" pitchFamily="34" charset="0"/>
                  <a:buChar char="▫"/>
                  <a:defRPr sz="1600">
                    <a:latin typeface="+mn-lt"/>
                  </a:defRPr>
                </a:lvl4pPr>
                <a:lvl5pPr marL="746125" lvl="4" indent="-130175" defTabSz="895350">
                  <a:buClr>
                    <a:schemeClr val="tx2"/>
                  </a:buClr>
                  <a:buSzPct val="89000"/>
                  <a:buFont typeface="Arial" pitchFamily="34" charset="0"/>
                  <a:buChar char="-"/>
                  <a:defRPr sz="1600">
                    <a:latin typeface="+mn-lt"/>
                  </a:defRPr>
                </a:lvl5pPr>
                <a:lvl6pPr marL="1203325" indent="-130175" defTabSz="895350" fontAlgn="base">
                  <a:spcBef>
                    <a:spcPct val="0"/>
                  </a:spcBef>
                  <a:spcAft>
                    <a:spcPct val="0"/>
                  </a:spcAft>
                  <a:buClr>
                    <a:schemeClr val="tx2"/>
                  </a:buClr>
                  <a:buSzPct val="89000"/>
                  <a:buFont typeface="Arial" pitchFamily="34" charset="0"/>
                  <a:buChar char="-"/>
                  <a:defRPr sz="1600">
                    <a:latin typeface="+mn-lt"/>
                  </a:defRPr>
                </a:lvl6pPr>
                <a:lvl7pPr marL="1660525" indent="-130175" defTabSz="895350" fontAlgn="base">
                  <a:spcBef>
                    <a:spcPct val="0"/>
                  </a:spcBef>
                  <a:spcAft>
                    <a:spcPct val="0"/>
                  </a:spcAft>
                  <a:buClr>
                    <a:schemeClr val="tx2"/>
                  </a:buClr>
                  <a:buSzPct val="89000"/>
                  <a:buFont typeface="Arial" pitchFamily="34" charset="0"/>
                  <a:buChar char="-"/>
                  <a:defRPr sz="1600">
                    <a:latin typeface="+mn-lt"/>
                  </a:defRPr>
                </a:lvl7pPr>
                <a:lvl8pPr marL="2117725" indent="-130175" defTabSz="895350" fontAlgn="base">
                  <a:spcBef>
                    <a:spcPct val="0"/>
                  </a:spcBef>
                  <a:spcAft>
                    <a:spcPct val="0"/>
                  </a:spcAft>
                  <a:buClr>
                    <a:schemeClr val="tx2"/>
                  </a:buClr>
                  <a:buSzPct val="89000"/>
                  <a:buFont typeface="Arial" pitchFamily="34" charset="0"/>
                  <a:buChar char="-"/>
                  <a:defRPr sz="1600">
                    <a:latin typeface="+mn-lt"/>
                  </a:defRPr>
                </a:lvl8pPr>
                <a:lvl9pPr marL="2574925" indent="-130175" defTabSz="895350" fontAlgn="base">
                  <a:spcBef>
                    <a:spcPct val="0"/>
                  </a:spcBef>
                  <a:spcAft>
                    <a:spcPct val="0"/>
                  </a:spcAft>
                  <a:buClr>
                    <a:schemeClr val="tx2"/>
                  </a:buClr>
                  <a:buSzPct val="89000"/>
                  <a:buFont typeface="Arial" pitchFamily="34" charset="0"/>
                  <a:buChar char="-"/>
                  <a:defRPr sz="1600">
                    <a:latin typeface="+mn-lt"/>
                  </a:defRPr>
                </a:lvl9pPr>
              </a:lstStyle>
              <a:p>
                <a:pPr>
                  <a:spcBef>
                    <a:spcPct val="60000"/>
                  </a:spcBef>
                  <a:buClr>
                    <a:srgbClr val="002960"/>
                  </a:buClr>
                </a:pPr>
                <a:r>
                  <a:rPr lang="en-US" b="1" dirty="0">
                    <a:solidFill>
                      <a:schemeClr val="accent3"/>
                    </a:solidFill>
                  </a:rPr>
                  <a:t>Annual Conference Board/McKinsey Integration Conference </a:t>
                </a:r>
                <a:r>
                  <a:rPr lang="en-US" dirty="0">
                    <a:solidFill>
                      <a:srgbClr val="000000"/>
                    </a:solidFill>
                  </a:rPr>
                  <a:t>that includes integration thought leaders from </a:t>
                </a:r>
                <a:br>
                  <a:rPr lang="en-US" dirty="0">
                    <a:solidFill>
                      <a:srgbClr val="000000"/>
                    </a:solidFill>
                  </a:rPr>
                </a:br>
                <a:r>
                  <a:rPr lang="en-US" dirty="0">
                    <a:solidFill>
                      <a:srgbClr val="000000"/>
                    </a:solidFill>
                  </a:rPr>
                  <a:t>~300 organizations</a:t>
                </a:r>
              </a:p>
            </p:txBody>
          </p:sp>
          <p:sp>
            <p:nvSpPr>
              <p:cNvPr id="62" name="Chevron 37">
                <a:extLst>
                  <a:ext uri="{FF2B5EF4-FFF2-40B4-BE49-F238E27FC236}">
                    <a16:creationId xmlns:a16="http://schemas.microsoft.com/office/drawing/2014/main" id="{C11EE2D3-260E-4CAF-9B23-819A9C421E2B}"/>
                  </a:ext>
                </a:extLst>
              </p:cNvPr>
              <p:cNvSpPr/>
              <p:nvPr/>
            </p:nvSpPr>
            <p:spPr>
              <a:xfrm>
                <a:off x="290513" y="4824413"/>
                <a:ext cx="155442" cy="276999"/>
              </a:xfrm>
              <a:prstGeom prst="chevron">
                <a:avLst>
                  <a:gd name="adj" fmla="val 39182"/>
                </a:avLst>
              </a:prstGeom>
              <a:solidFill>
                <a:schemeClr val="accent3"/>
              </a:solidFill>
              <a:ln w="9525" cap="flat" cmpd="sng" algn="ctr">
                <a:noFill/>
                <a:prstDash val="solid"/>
              </a:ln>
              <a:effectLst/>
              <a:extLst>
                <a:ext uri="{91240B29-F687-4F45-9708-019B960494DF}">
                  <a14:hiddenLine xmlns:a14="http://schemas.microsoft.com/office/drawing/2010/main" w="9525" cap="flat" cmpd="sng" algn="ctr">
                    <a:solidFill>
                      <a:schemeClr val="accent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000000"/>
                  </a:solidFill>
                </a:endParaRPr>
              </a:p>
            </p:txBody>
          </p:sp>
        </p:grpSp>
        <p:cxnSp>
          <p:nvCxnSpPr>
            <p:cNvPr id="63" name="Straight Connector 62">
              <a:extLst>
                <a:ext uri="{FF2B5EF4-FFF2-40B4-BE49-F238E27FC236}">
                  <a16:creationId xmlns:a16="http://schemas.microsoft.com/office/drawing/2014/main" id="{ED92C4D8-686D-4D97-9A52-30CD5A0394D6}"/>
                </a:ext>
              </a:extLst>
            </p:cNvPr>
            <p:cNvCxnSpPr/>
            <p:nvPr/>
          </p:nvCxnSpPr>
          <p:spPr>
            <a:xfrm>
              <a:off x="290513" y="4527138"/>
              <a:ext cx="4116174" cy="0"/>
            </a:xfrm>
            <a:prstGeom prst="line">
              <a:avLst/>
            </a:prstGeom>
            <a:ln w="9525">
              <a:solidFill>
                <a:schemeClr val="accent6"/>
              </a:solidFill>
              <a:prstDash val="sysDot"/>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7D925C92-2EFA-4FA6-8D41-A353AE681264}"/>
                </a:ext>
              </a:extLst>
            </p:cNvPr>
            <p:cNvCxnSpPr/>
            <p:nvPr/>
          </p:nvCxnSpPr>
          <p:spPr>
            <a:xfrm>
              <a:off x="290513" y="3440145"/>
              <a:ext cx="4116174" cy="0"/>
            </a:xfrm>
            <a:prstGeom prst="line">
              <a:avLst/>
            </a:prstGeom>
            <a:ln w="9525">
              <a:solidFill>
                <a:schemeClr val="accent6"/>
              </a:solidFill>
              <a:prstDash val="sysDot"/>
            </a:ln>
          </p:spPr>
          <p:style>
            <a:lnRef idx="1">
              <a:schemeClr val="accent1"/>
            </a:lnRef>
            <a:fillRef idx="0">
              <a:schemeClr val="accent1"/>
            </a:fillRef>
            <a:effectRef idx="0">
              <a:schemeClr val="accent1"/>
            </a:effectRef>
            <a:fontRef idx="minor">
              <a:schemeClr val="tx1"/>
            </a:fontRef>
          </p:style>
        </p:cxnSp>
        <p:grpSp>
          <p:nvGrpSpPr>
            <p:cNvPr id="65" name="Group 64">
              <a:extLst>
                <a:ext uri="{FF2B5EF4-FFF2-40B4-BE49-F238E27FC236}">
                  <a16:creationId xmlns:a16="http://schemas.microsoft.com/office/drawing/2014/main" id="{C79282BE-33C0-4E53-B84B-F07AFED59837}"/>
                </a:ext>
              </a:extLst>
            </p:cNvPr>
            <p:cNvGrpSpPr/>
            <p:nvPr/>
          </p:nvGrpSpPr>
          <p:grpSpPr>
            <a:xfrm>
              <a:off x="290513" y="3737420"/>
              <a:ext cx="4116174" cy="492443"/>
              <a:chOff x="290513" y="3653478"/>
              <a:chExt cx="4116174" cy="492443"/>
            </a:xfrm>
          </p:grpSpPr>
          <p:sp>
            <p:nvSpPr>
              <p:cNvPr id="66" name="Rectangle 10">
                <a:extLst>
                  <a:ext uri="{FF2B5EF4-FFF2-40B4-BE49-F238E27FC236}">
                    <a16:creationId xmlns:a16="http://schemas.microsoft.com/office/drawing/2014/main" id="{ECAB2B1C-87F3-4283-A915-FD9EF83D1C9D}"/>
                  </a:ext>
                </a:extLst>
              </p:cNvPr>
              <p:cNvSpPr txBox="1">
                <a:spLocks/>
              </p:cNvSpPr>
              <p:nvPr/>
            </p:nvSpPr>
            <p:spPr>
              <a:xfrm>
                <a:off x="574675" y="3653478"/>
                <a:ext cx="3832012" cy="4924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lvl="0" defTabSz="895350">
                  <a:buClr>
                    <a:schemeClr val="tx2"/>
                  </a:buClr>
                  <a:defRPr sz="1600">
                    <a:latin typeface="+mn-lt"/>
                  </a:defRPr>
                </a:lvl1pPr>
                <a:lvl2pPr marL="193675" lvl="1" indent="-192088" defTabSz="895350">
                  <a:buClr>
                    <a:schemeClr val="tx2"/>
                  </a:buClr>
                  <a:buSzPct val="125000"/>
                  <a:buFont typeface="Arial" pitchFamily="34" charset="0"/>
                  <a:buChar char="▪"/>
                  <a:defRPr sz="1600">
                    <a:latin typeface="+mn-lt"/>
                  </a:defRPr>
                </a:lvl2pPr>
                <a:lvl3pPr marL="457200" lvl="2" indent="-261938" defTabSz="895350">
                  <a:buClr>
                    <a:schemeClr val="tx2"/>
                  </a:buClr>
                  <a:buSzPct val="120000"/>
                  <a:buFont typeface="Arial" pitchFamily="34" charset="0"/>
                  <a:buChar char="–"/>
                  <a:defRPr sz="1600">
                    <a:latin typeface="+mn-lt"/>
                  </a:defRPr>
                </a:lvl3pPr>
                <a:lvl4pPr marL="614363" lvl="3" indent="-155575" defTabSz="895350">
                  <a:buClr>
                    <a:schemeClr val="tx2"/>
                  </a:buClr>
                  <a:buSzPct val="120000"/>
                  <a:buFont typeface="Arial" pitchFamily="34" charset="0"/>
                  <a:buChar char="▫"/>
                  <a:defRPr sz="1600">
                    <a:latin typeface="+mn-lt"/>
                  </a:defRPr>
                </a:lvl4pPr>
                <a:lvl5pPr marL="746125" lvl="4" indent="-130175" defTabSz="895350">
                  <a:buClr>
                    <a:schemeClr val="tx2"/>
                  </a:buClr>
                  <a:buSzPct val="89000"/>
                  <a:buFont typeface="Arial" pitchFamily="34" charset="0"/>
                  <a:buChar char="-"/>
                  <a:defRPr sz="1600">
                    <a:latin typeface="+mn-lt"/>
                  </a:defRPr>
                </a:lvl5pPr>
                <a:lvl6pPr marL="1203325" indent="-130175" defTabSz="895350" fontAlgn="base">
                  <a:spcBef>
                    <a:spcPct val="0"/>
                  </a:spcBef>
                  <a:spcAft>
                    <a:spcPct val="0"/>
                  </a:spcAft>
                  <a:buClr>
                    <a:schemeClr val="tx2"/>
                  </a:buClr>
                  <a:buSzPct val="89000"/>
                  <a:buFont typeface="Arial" pitchFamily="34" charset="0"/>
                  <a:buChar char="-"/>
                  <a:defRPr sz="1600">
                    <a:latin typeface="+mn-lt"/>
                  </a:defRPr>
                </a:lvl6pPr>
                <a:lvl7pPr marL="1660525" indent="-130175" defTabSz="895350" fontAlgn="base">
                  <a:spcBef>
                    <a:spcPct val="0"/>
                  </a:spcBef>
                  <a:spcAft>
                    <a:spcPct val="0"/>
                  </a:spcAft>
                  <a:buClr>
                    <a:schemeClr val="tx2"/>
                  </a:buClr>
                  <a:buSzPct val="89000"/>
                  <a:buFont typeface="Arial" pitchFamily="34" charset="0"/>
                  <a:buChar char="-"/>
                  <a:defRPr sz="1600">
                    <a:latin typeface="+mn-lt"/>
                  </a:defRPr>
                </a:lvl7pPr>
                <a:lvl8pPr marL="2117725" indent="-130175" defTabSz="895350" fontAlgn="base">
                  <a:spcBef>
                    <a:spcPct val="0"/>
                  </a:spcBef>
                  <a:spcAft>
                    <a:spcPct val="0"/>
                  </a:spcAft>
                  <a:buClr>
                    <a:schemeClr val="tx2"/>
                  </a:buClr>
                  <a:buSzPct val="89000"/>
                  <a:buFont typeface="Arial" pitchFamily="34" charset="0"/>
                  <a:buChar char="-"/>
                  <a:defRPr sz="1600">
                    <a:latin typeface="+mn-lt"/>
                  </a:defRPr>
                </a:lvl8pPr>
                <a:lvl9pPr marL="2574925" indent="-130175" defTabSz="895350" fontAlgn="base">
                  <a:spcBef>
                    <a:spcPct val="0"/>
                  </a:spcBef>
                  <a:spcAft>
                    <a:spcPct val="0"/>
                  </a:spcAft>
                  <a:buClr>
                    <a:schemeClr val="tx2"/>
                  </a:buClr>
                  <a:buSzPct val="89000"/>
                  <a:buFont typeface="Arial" pitchFamily="34" charset="0"/>
                  <a:buChar char="-"/>
                  <a:defRPr sz="1600">
                    <a:latin typeface="+mn-lt"/>
                  </a:defRPr>
                </a:lvl9pPr>
              </a:lstStyle>
              <a:p>
                <a:pPr>
                  <a:spcBef>
                    <a:spcPct val="30000"/>
                  </a:spcBef>
                  <a:buClr>
                    <a:srgbClr val="002960"/>
                  </a:buClr>
                </a:pPr>
                <a:r>
                  <a:rPr lang="en-US" b="1" dirty="0">
                    <a:solidFill>
                      <a:schemeClr val="accent3"/>
                    </a:solidFill>
                  </a:rPr>
                  <a:t>Multiple deal types </a:t>
                </a:r>
                <a:r>
                  <a:rPr lang="en-US" dirty="0"/>
                  <a:t>(e.g., consolidations, bolt-</a:t>
                </a:r>
                <a:r>
                  <a:rPr lang="en-US" dirty="0" err="1"/>
                  <a:t>ons</a:t>
                </a:r>
                <a:r>
                  <a:rPr lang="en-US" dirty="0"/>
                  <a:t>, geographic expansion, spin-outs) </a:t>
                </a:r>
              </a:p>
            </p:txBody>
          </p:sp>
          <p:sp>
            <p:nvSpPr>
              <p:cNvPr id="67" name="Chevron 42">
                <a:extLst>
                  <a:ext uri="{FF2B5EF4-FFF2-40B4-BE49-F238E27FC236}">
                    <a16:creationId xmlns:a16="http://schemas.microsoft.com/office/drawing/2014/main" id="{6F5136C2-CF55-4A79-A823-E8A92620261F}"/>
                  </a:ext>
                </a:extLst>
              </p:cNvPr>
              <p:cNvSpPr/>
              <p:nvPr/>
            </p:nvSpPr>
            <p:spPr>
              <a:xfrm>
                <a:off x="290513" y="3653478"/>
                <a:ext cx="155442" cy="276999"/>
              </a:xfrm>
              <a:prstGeom prst="chevron">
                <a:avLst>
                  <a:gd name="adj" fmla="val 39182"/>
                </a:avLst>
              </a:prstGeom>
              <a:solidFill>
                <a:schemeClr val="accent3"/>
              </a:solidFill>
              <a:ln w="9525" cap="flat" cmpd="sng" algn="ctr">
                <a:noFill/>
                <a:prstDash val="solid"/>
              </a:ln>
              <a:effectLst/>
              <a:extLst>
                <a:ext uri="{91240B29-F687-4F45-9708-019B960494DF}">
                  <a14:hiddenLine xmlns:a14="http://schemas.microsoft.com/office/drawing/2010/main" w="9525" cap="flat" cmpd="sng" algn="ctr">
                    <a:solidFill>
                      <a:schemeClr val="accent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000000"/>
                  </a:solidFill>
                </a:endParaRPr>
              </a:p>
            </p:txBody>
          </p:sp>
        </p:grpSp>
      </p:grpSp>
    </p:spTree>
    <p:custDataLst>
      <p:tags r:id="rId2"/>
    </p:custDataLst>
    <p:extLst>
      <p:ext uri="{BB962C8B-B14F-4D97-AF65-F5344CB8AC3E}">
        <p14:creationId xmlns:p14="http://schemas.microsoft.com/office/powerpoint/2010/main" val="19255762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91860" name="think-cell Slide" r:id="rId8" imgW="270" imgH="270" progId="TCLayout.ActiveDocument.1">
                  <p:embed/>
                </p:oleObj>
              </mc:Choice>
              <mc:Fallback>
                <p:oleObj name="think-cell Slide" r:id="rId8" imgW="270" imgH="270" progId="TCLayout.ActiveDocument.1">
                  <p:embed/>
                  <p:pic>
                    <p:nvPicPr>
                      <p:cNvPr id="2" name="Object 1" hidden="1"/>
                      <p:cNvPicPr/>
                      <p:nvPr/>
                    </p:nvPicPr>
                    <p:blipFill>
                      <a:blip r:embed="rId9"/>
                      <a:stretch>
                        <a:fillRect/>
                      </a:stretch>
                    </p:blipFill>
                    <p:spPr>
                      <a:xfrm>
                        <a:off x="1588" y="1588"/>
                        <a:ext cx="1587" cy="1587"/>
                      </a:xfrm>
                      <a:prstGeom prst="rect">
                        <a:avLst/>
                      </a:prstGeom>
                    </p:spPr>
                  </p:pic>
                </p:oleObj>
              </mc:Fallback>
            </mc:AlternateContent>
          </a:graphicData>
        </a:graphic>
      </p:graphicFrame>
      <p:sp>
        <p:nvSpPr>
          <p:cNvPr id="9" name="Rectangle 107"/>
          <p:cNvSpPr>
            <a:spLocks noGrp="1" noChangeArrowheads="1"/>
          </p:cNvSpPr>
          <p:nvPr>
            <p:ph type="title"/>
            <p:custDataLst>
              <p:tags r:id="rId4"/>
            </p:custDataLst>
          </p:nvPr>
        </p:nvSpPr>
        <p:spPr bwMode="gray">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marL="465138"/>
            <a:r>
              <a:rPr lang="en-US" dirty="0"/>
              <a:t>Toolbox: Functional integration team charters</a:t>
            </a:r>
          </a:p>
        </p:txBody>
      </p:sp>
      <p:sp>
        <p:nvSpPr>
          <p:cNvPr id="11" name="5. Source"/>
          <p:cNvSpPr>
            <a:spLocks noChangeArrowheads="1"/>
          </p:cNvSpPr>
          <p:nvPr>
            <p:custDataLst>
              <p:tags r:id="rId5"/>
            </p:custDataLst>
          </p:nvPr>
        </p:nvSpPr>
        <p:spPr bwMode="gray">
          <a:xfrm>
            <a:off x="119063" y="6507558"/>
            <a:ext cx="7200000" cy="123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marL="609600" indent="-609600" defTabSz="895350">
              <a:tabLst>
                <a:tab pos="612775" algn="l"/>
              </a:tabLst>
            </a:pPr>
            <a:r>
              <a:rPr lang="en-US" altLang="zh-CN" sz="800" dirty="0">
                <a:solidFill>
                  <a:schemeClr val="accent6"/>
                </a:solidFill>
                <a:latin typeface="Arial" panose="020B0604020202020204" pitchFamily="34" charset="0"/>
              </a:rPr>
              <a:t>SOURCE: McKinsey Merger Management Practice</a:t>
            </a:r>
          </a:p>
        </p:txBody>
      </p:sp>
      <p:grpSp>
        <p:nvGrpSpPr>
          <p:cNvPr id="3" name="Group 2">
            <a:extLst>
              <a:ext uri="{FF2B5EF4-FFF2-40B4-BE49-F238E27FC236}">
                <a16:creationId xmlns:a16="http://schemas.microsoft.com/office/drawing/2014/main" id="{4222D9D7-3016-4B9F-A481-E242F40BE23C}"/>
              </a:ext>
            </a:extLst>
          </p:cNvPr>
          <p:cNvGrpSpPr/>
          <p:nvPr/>
        </p:nvGrpSpPr>
        <p:grpSpPr>
          <a:xfrm>
            <a:off x="278652" y="1007214"/>
            <a:ext cx="8299358" cy="5294216"/>
            <a:chOff x="278652" y="1077544"/>
            <a:chExt cx="8299358" cy="5294216"/>
          </a:xfrm>
        </p:grpSpPr>
        <p:pic>
          <p:nvPicPr>
            <p:cNvPr id="16388" name="Picture 4"/>
            <p:cNvPicPr>
              <a:picLocks noChangeArrowheads="1"/>
            </p:cNvPicPr>
            <p:nvPr/>
          </p:nvPicPr>
          <p:blipFill rotWithShape="1">
            <a:blip r:embed="rId10" cstate="email">
              <a:extLst>
                <a:ext uri="{28A0092B-C50C-407E-A947-70E740481C1C}">
                  <a14:useLocalDpi xmlns:a14="http://schemas.microsoft.com/office/drawing/2010/main"/>
                </a:ext>
              </a:extLst>
            </a:blip>
            <a:srcRect/>
            <a:stretch/>
          </p:blipFill>
          <p:spPr bwMode="auto">
            <a:xfrm>
              <a:off x="278652" y="1077544"/>
              <a:ext cx="5255935" cy="3617081"/>
            </a:xfrm>
            <a:prstGeom prst="rect">
              <a:avLst/>
            </a:prstGeom>
            <a:noFill/>
            <a:ln w="12700">
              <a:solidFill>
                <a:schemeClr val="accent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6389" name="Picture 5"/>
            <p:cNvPicPr>
              <a:picLocks noChangeArrowheads="1"/>
            </p:cNvPicPr>
            <p:nvPr/>
          </p:nvPicPr>
          <p:blipFill rotWithShape="1">
            <a:blip r:embed="rId11" cstate="email">
              <a:extLst>
                <a:ext uri="{28A0092B-C50C-407E-A947-70E740481C1C}">
                  <a14:useLocalDpi xmlns:a14="http://schemas.microsoft.com/office/drawing/2010/main"/>
                </a:ext>
              </a:extLst>
            </a:blip>
            <a:srcRect/>
            <a:stretch/>
          </p:blipFill>
          <p:spPr bwMode="auto">
            <a:xfrm>
              <a:off x="1800364" y="1916111"/>
              <a:ext cx="5255935" cy="3617081"/>
            </a:xfrm>
            <a:prstGeom prst="rect">
              <a:avLst/>
            </a:prstGeom>
            <a:noFill/>
            <a:ln w="12700">
              <a:solidFill>
                <a:schemeClr val="accent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6387" name="Picture 3"/>
            <p:cNvPicPr>
              <a:picLocks noChangeArrowheads="1"/>
            </p:cNvPicPr>
            <p:nvPr/>
          </p:nvPicPr>
          <p:blipFill rotWithShape="1">
            <a:blip r:embed="rId12" cstate="email">
              <a:extLst>
                <a:ext uri="{28A0092B-C50C-407E-A947-70E740481C1C}">
                  <a14:useLocalDpi xmlns:a14="http://schemas.microsoft.com/office/drawing/2010/main"/>
                </a:ext>
              </a:extLst>
            </a:blip>
            <a:srcRect/>
            <a:stretch/>
          </p:blipFill>
          <p:spPr bwMode="auto">
            <a:xfrm>
              <a:off x="3322075" y="2754679"/>
              <a:ext cx="5255935" cy="3617081"/>
            </a:xfrm>
            <a:prstGeom prst="rect">
              <a:avLst/>
            </a:prstGeom>
            <a:noFill/>
            <a:ln w="12700">
              <a:solidFill>
                <a:schemeClr val="accent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grpSp>
      <p:sp>
        <p:nvSpPr>
          <p:cNvPr id="12" name="3. Unit of measure"/>
          <p:cNvSpPr txBox="1">
            <a:spLocks noChangeArrowheads="1"/>
          </p:cNvSpPr>
          <p:nvPr/>
        </p:nvSpPr>
        <p:spPr bwMode="auto">
          <a:xfrm>
            <a:off x="119063" y="554865"/>
            <a:ext cx="8618537"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defPPr>
              <a:defRPr lang="en-US"/>
            </a:defPPr>
            <a:lvl1pPr marL="457200" defTabSz="895350">
              <a:defRPr baseline="0">
                <a:solidFill>
                  <a:schemeClr val="accent6"/>
                </a:solidFill>
                <a:latin typeface="+mn-lt"/>
              </a:defRPr>
            </a:lvl1pPr>
            <a:lvl2pPr marL="447675" defTabSz="895350">
              <a:defRPr sz="2400"/>
            </a:lvl2pPr>
            <a:lvl3pPr marL="895350" defTabSz="895350">
              <a:defRPr sz="2400"/>
            </a:lvl3pPr>
            <a:lvl4pPr marL="1344613" defTabSz="895350">
              <a:defRPr sz="2400"/>
            </a:lvl4pPr>
            <a:lvl5pPr marL="1792288" defTabSz="895350">
              <a:defRPr sz="2400"/>
            </a:lvl5pPr>
            <a:lvl6pPr marL="2249488" defTabSz="895350" fontAlgn="base">
              <a:spcBef>
                <a:spcPct val="0"/>
              </a:spcBef>
              <a:spcAft>
                <a:spcPct val="0"/>
              </a:spcAft>
              <a:defRPr sz="2400"/>
            </a:lvl6pPr>
            <a:lvl7pPr marL="2706688" defTabSz="895350" fontAlgn="base">
              <a:spcBef>
                <a:spcPct val="0"/>
              </a:spcBef>
              <a:spcAft>
                <a:spcPct val="0"/>
              </a:spcAft>
              <a:defRPr sz="2400"/>
            </a:lvl7pPr>
            <a:lvl8pPr marL="3163888" defTabSz="895350" fontAlgn="base">
              <a:spcBef>
                <a:spcPct val="0"/>
              </a:spcBef>
              <a:spcAft>
                <a:spcPct val="0"/>
              </a:spcAft>
              <a:defRPr sz="2400"/>
            </a:lvl8pPr>
            <a:lvl9pPr marL="3621088" defTabSz="895350" fontAlgn="base">
              <a:spcBef>
                <a:spcPct val="0"/>
              </a:spcBef>
              <a:spcAft>
                <a:spcPct val="0"/>
              </a:spcAft>
              <a:defRPr sz="2400"/>
            </a:lvl9pPr>
          </a:lstStyle>
          <a:p>
            <a:r>
              <a:rPr lang="en-US" altLang="zh-CN" dirty="0"/>
              <a:t>Example</a:t>
            </a:r>
          </a:p>
        </p:txBody>
      </p:sp>
      <p:sp>
        <p:nvSpPr>
          <p:cNvPr id="14" name="Title Tracker Circle">
            <a:extLst>
              <a:ext uri="{FF2B5EF4-FFF2-40B4-BE49-F238E27FC236}">
                <a16:creationId xmlns:a16="http://schemas.microsoft.com/office/drawing/2014/main" id="{4FB1A2F8-4067-4B9C-8ED2-9430DFCC0E9F}"/>
              </a:ext>
            </a:extLst>
          </p:cNvPr>
          <p:cNvSpPr/>
          <p:nvPr/>
        </p:nvSpPr>
        <p:spPr>
          <a:xfrm>
            <a:off x="119063" y="166736"/>
            <a:ext cx="418798" cy="418798"/>
          </a:xfrm>
          <a:prstGeom prst="ellipse">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p>
            <a:pPr algn="ctr"/>
            <a:r>
              <a:rPr lang="en-US" sz="2000" dirty="0">
                <a:solidFill>
                  <a:schemeClr val="tx2"/>
                </a:solidFill>
                <a:latin typeface="+mj-lt"/>
              </a:rPr>
              <a:t>5</a:t>
            </a:r>
          </a:p>
        </p:txBody>
      </p:sp>
    </p:spTree>
    <p:custDataLst>
      <p:tags r:id="rId2"/>
    </p:custDataLst>
    <p:extLst>
      <p:ext uri="{BB962C8B-B14F-4D97-AF65-F5344CB8AC3E}">
        <p14:creationId xmlns:p14="http://schemas.microsoft.com/office/powerpoint/2010/main" val="129954328"/>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39014" name="AutoShape 38" hidden="1"/>
          <p:cNvGraphicFramePr>
            <a:graphicFrameLocks/>
          </p:cNvGraphicFramePr>
          <p:nvPr>
            <p:custDataLst>
              <p:tags r:id="rId3"/>
            </p:custDataLst>
            <p:extLst>
              <p:ext uri="{D42A27DB-BD31-4B8C-83A1-F6EECF244321}">
                <p14:modId xmlns:p14="http://schemas.microsoft.com/office/powerpoint/2010/main" val="1789445312"/>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92903" name="think-cell Slide" r:id="rId11" imgW="0" imgH="0" progId="TCLayout.ActiveDocument.1">
                  <p:embed/>
                </p:oleObj>
              </mc:Choice>
              <mc:Fallback>
                <p:oleObj name="think-cell Slide" r:id="rId11" imgW="0" imgH="0" progId="TCLayout.ActiveDocument.1">
                  <p:embed/>
                  <p:pic>
                    <p:nvPicPr>
                      <p:cNvPr id="639014" name="AutoShape 38"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39016" name="Rectangle 3" hidden="1"/>
          <p:cNvSpPr>
            <a:spLocks noChangeArrowheads="1"/>
          </p:cNvSpPr>
          <p:nvPr>
            <p:custDataLst>
              <p:tags r:id="rId4"/>
            </p:custDataLst>
          </p:nvPr>
        </p:nvSpPr>
        <p:spPr bwMode="auto">
          <a:xfrm>
            <a:off x="0" y="0"/>
            <a:ext cx="158750" cy="158750"/>
          </a:xfrm>
          <a:prstGeom prst="rect">
            <a:avLst/>
          </a:prstGeom>
          <a:solidFill>
            <a:schemeClr val="accent1"/>
          </a:solidFill>
          <a:ln w="9525">
            <a:solidFill>
              <a:schemeClr val="tx1"/>
            </a:solidFill>
            <a:miter lim="800000"/>
            <a:headEnd/>
            <a:tailEnd/>
          </a:ln>
        </p:spPr>
        <p:txBody>
          <a:bodyPr wrap="none" lIns="0" tIns="0" rIns="0" bIns="0" anchor="ctr"/>
          <a:lstStyle/>
          <a:p>
            <a:pPr>
              <a:lnSpc>
                <a:spcPct val="90000"/>
              </a:lnSpc>
            </a:pPr>
            <a:r>
              <a:rPr lang="en-US" altLang="ja-JP" dirty="0">
                <a:solidFill>
                  <a:srgbClr val="000000"/>
                </a:solidFill>
                <a:cs typeface="Arial" charset="0"/>
              </a:rPr>
              <a:t> </a:t>
            </a:r>
          </a:p>
        </p:txBody>
      </p:sp>
      <p:sp>
        <p:nvSpPr>
          <p:cNvPr id="34" name="3. Unit of measure"/>
          <p:cNvSpPr txBox="1">
            <a:spLocks noChangeArrowheads="1"/>
          </p:cNvSpPr>
          <p:nvPr/>
        </p:nvSpPr>
        <p:spPr bwMode="auto">
          <a:xfrm>
            <a:off x="119063" y="554865"/>
            <a:ext cx="8618537"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defPPr>
              <a:defRPr lang="en-US"/>
            </a:defPPr>
            <a:lvl1pPr marL="457200" defTabSz="895350">
              <a:defRPr baseline="0">
                <a:solidFill>
                  <a:schemeClr val="accent6"/>
                </a:solidFill>
                <a:latin typeface="+mn-lt"/>
              </a:defRPr>
            </a:lvl1pPr>
            <a:lvl2pPr marL="447675" defTabSz="895350">
              <a:defRPr sz="2400"/>
            </a:lvl2pPr>
            <a:lvl3pPr marL="895350" defTabSz="895350">
              <a:defRPr sz="2400"/>
            </a:lvl3pPr>
            <a:lvl4pPr marL="1344613" defTabSz="895350">
              <a:defRPr sz="2400"/>
            </a:lvl4pPr>
            <a:lvl5pPr marL="1792288" defTabSz="895350">
              <a:defRPr sz="2400"/>
            </a:lvl5pPr>
            <a:lvl6pPr marL="2249488" defTabSz="895350" fontAlgn="base">
              <a:spcBef>
                <a:spcPct val="0"/>
              </a:spcBef>
              <a:spcAft>
                <a:spcPct val="0"/>
              </a:spcAft>
              <a:defRPr sz="2400"/>
            </a:lvl6pPr>
            <a:lvl7pPr marL="2706688" defTabSz="895350" fontAlgn="base">
              <a:spcBef>
                <a:spcPct val="0"/>
              </a:spcBef>
              <a:spcAft>
                <a:spcPct val="0"/>
              </a:spcAft>
              <a:defRPr sz="2400"/>
            </a:lvl7pPr>
            <a:lvl8pPr marL="3163888" defTabSz="895350" fontAlgn="base">
              <a:spcBef>
                <a:spcPct val="0"/>
              </a:spcBef>
              <a:spcAft>
                <a:spcPct val="0"/>
              </a:spcAft>
              <a:defRPr sz="2400"/>
            </a:lvl8pPr>
            <a:lvl9pPr marL="3621088" defTabSz="895350" fontAlgn="base">
              <a:spcBef>
                <a:spcPct val="0"/>
              </a:spcBef>
              <a:spcAft>
                <a:spcPct val="0"/>
              </a:spcAft>
              <a:defRPr sz="2400"/>
            </a:lvl9pPr>
          </a:lstStyle>
          <a:p>
            <a:r>
              <a:rPr lang="en-US" altLang="zh-CN" dirty="0"/>
              <a:t>Example</a:t>
            </a:r>
          </a:p>
        </p:txBody>
      </p:sp>
      <p:sp>
        <p:nvSpPr>
          <p:cNvPr id="3988484" name="Rectangle 4"/>
          <p:cNvSpPr>
            <a:spLocks noChangeArrowheads="1"/>
          </p:cNvSpPr>
          <p:nvPr/>
        </p:nvSpPr>
        <p:spPr bwMode="auto">
          <a:xfrm>
            <a:off x="2867025" y="1004888"/>
            <a:ext cx="5845725" cy="5298929"/>
          </a:xfrm>
          <a:prstGeom prst="rect">
            <a:avLst/>
          </a:prstGeom>
          <a:solidFill>
            <a:schemeClr val="bg2"/>
          </a:solidFill>
          <a:ln w="12700" cmpd="sng">
            <a:solidFill>
              <a:schemeClr val="accent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000" dirty="0">
              <a:solidFill>
                <a:srgbClr val="0065BD"/>
              </a:solidFill>
            </a:endParaRPr>
          </a:p>
        </p:txBody>
      </p:sp>
      <p:sp>
        <p:nvSpPr>
          <p:cNvPr id="639019" name="Rectangle 6"/>
          <p:cNvSpPr>
            <a:spLocks noGrp="1" noChangeArrowheads="1"/>
          </p:cNvSpPr>
          <p:nvPr>
            <p:ph type="title"/>
          </p:nvPr>
        </p:nvSpPr>
        <p:spPr>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marL="465138"/>
            <a:r>
              <a:rPr lang="en-US" altLang="ja-JP" dirty="0"/>
              <a:t>Toolbox: Day 1 dashboard </a:t>
            </a:r>
          </a:p>
        </p:txBody>
      </p:sp>
      <p:graphicFrame>
        <p:nvGraphicFramePr>
          <p:cNvPr id="639015" name="Object 39"/>
          <p:cNvGraphicFramePr>
            <a:graphicFrameLocks/>
          </p:cNvGraphicFramePr>
          <p:nvPr>
            <p:custDataLst>
              <p:tags r:id="rId5"/>
            </p:custDataLst>
            <p:extLst>
              <p:ext uri="{D42A27DB-BD31-4B8C-83A1-F6EECF244321}">
                <p14:modId xmlns:p14="http://schemas.microsoft.com/office/powerpoint/2010/main" val="710968447"/>
              </p:ext>
            </p:extLst>
          </p:nvPr>
        </p:nvGraphicFramePr>
        <p:xfrm>
          <a:off x="5143500" y="1828800"/>
          <a:ext cx="3505299" cy="4514850"/>
        </p:xfrm>
        <a:graphic>
          <a:graphicData uri="http://schemas.openxmlformats.org/presentationml/2006/ole">
            <mc:AlternateContent xmlns:mc="http://schemas.openxmlformats.org/markup-compatibility/2006">
              <mc:Choice xmlns:v="urn:schemas-microsoft-com:vml" Requires="v">
                <p:oleObj spid="_x0000_s292904" name="Chart" r:id="rId12" imgW="3505299" imgH="4514850" progId="MSGraph.Chart.8">
                  <p:embed followColorScheme="full"/>
                </p:oleObj>
              </mc:Choice>
              <mc:Fallback>
                <p:oleObj name="Chart" r:id="rId12" imgW="3505299" imgH="4514850" progId="MSGraph.Chart.8">
                  <p:embed followColorScheme="full"/>
                  <p:pic>
                    <p:nvPicPr>
                      <p:cNvPr id="639015" name="Object 39"/>
                      <p:cNvPicPr>
                        <a:picLocks noChangeArrowheads="1"/>
                      </p:cNvPicPr>
                      <p:nvPr/>
                    </p:nvPicPr>
                    <p:blipFill>
                      <a:blip r:embed="rId13"/>
                      <a:srcRect/>
                      <a:stretch>
                        <a:fillRect/>
                      </a:stretch>
                    </p:blipFill>
                    <p:spPr bwMode="auto">
                      <a:xfrm>
                        <a:off x="5143500" y="1828800"/>
                        <a:ext cx="3505299" cy="45148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 1">
            <a:extLst>
              <a:ext uri="{FF2B5EF4-FFF2-40B4-BE49-F238E27FC236}">
                <a16:creationId xmlns:a16="http://schemas.microsoft.com/office/drawing/2014/main" id="{327E601D-31A0-4B53-8E9E-EC8ADF505064}"/>
              </a:ext>
            </a:extLst>
          </p:cNvPr>
          <p:cNvGrpSpPr/>
          <p:nvPr/>
        </p:nvGrpSpPr>
        <p:grpSpPr>
          <a:xfrm>
            <a:off x="6837821" y="175611"/>
            <a:ext cx="1899779" cy="625475"/>
            <a:chOff x="6837821" y="152337"/>
            <a:chExt cx="1899779" cy="625475"/>
          </a:xfrm>
        </p:grpSpPr>
        <p:sp>
          <p:nvSpPr>
            <p:cNvPr id="639020" name="Legend2"/>
            <p:cNvSpPr>
              <a:spLocks noChangeArrowheads="1"/>
            </p:cNvSpPr>
            <p:nvPr/>
          </p:nvSpPr>
          <p:spPr bwMode="auto">
            <a:xfrm>
              <a:off x="7056294" y="395824"/>
              <a:ext cx="474489" cy="138499"/>
            </a:xfrm>
            <a:prstGeom prst="rect">
              <a:avLst/>
            </a:prstGeom>
            <a:noFill/>
            <a:ln w="9525">
              <a:noFill/>
              <a:miter lim="800000"/>
              <a:headEnd/>
              <a:tailEnd/>
            </a:ln>
          </p:spPr>
          <p:txBody>
            <a:bodyPr wrap="none" lIns="0" tIns="0" rIns="0" bIns="0">
              <a:spAutoFit/>
            </a:bodyPr>
            <a:lstStyle/>
            <a:p>
              <a:pPr marL="341313" indent="-341313" defTabSz="911225" eaLnBrk="0" hangingPunct="0">
                <a:spcBef>
                  <a:spcPct val="20000"/>
                </a:spcBef>
                <a:buFont typeface="Arial" charset="0"/>
                <a:buNone/>
              </a:pPr>
              <a:r>
                <a:rPr lang="en-US" altLang="ja-JP" sz="900" dirty="0">
                  <a:solidFill>
                    <a:srgbClr val="000000"/>
                  </a:solidFill>
                  <a:cs typeface="Arial" charset="0"/>
                </a:rPr>
                <a:t>On Track</a:t>
              </a:r>
            </a:p>
          </p:txBody>
        </p:sp>
        <p:sp>
          <p:nvSpPr>
            <p:cNvPr id="639021" name="LegendRectangle2"/>
            <p:cNvSpPr>
              <a:spLocks noChangeArrowheads="1"/>
            </p:cNvSpPr>
            <p:nvPr/>
          </p:nvSpPr>
          <p:spPr bwMode="auto">
            <a:xfrm>
              <a:off x="6837821" y="383317"/>
              <a:ext cx="169863" cy="163512"/>
            </a:xfrm>
            <a:prstGeom prst="rect">
              <a:avLst/>
            </a:prstGeom>
            <a:solidFill>
              <a:srgbClr val="00A449"/>
            </a:solidFill>
            <a:ln w="9525">
              <a:solidFill>
                <a:schemeClr val="bg2"/>
              </a:solidFill>
              <a:miter lim="800000"/>
              <a:headEnd/>
              <a:tailEnd/>
            </a:ln>
          </p:spPr>
          <p:txBody>
            <a:bodyPr wrap="none" lIns="91430" tIns="45716" rIns="91430" bIns="45716" anchor="ctr"/>
            <a:lstStyle/>
            <a:p>
              <a:pPr defTabSz="912813"/>
              <a:endParaRPr lang="nl-NL" sz="900" dirty="0">
                <a:solidFill>
                  <a:srgbClr val="000000"/>
                </a:solidFill>
                <a:cs typeface="Arial" charset="0"/>
              </a:endParaRPr>
            </a:p>
          </p:txBody>
        </p:sp>
        <p:sp>
          <p:nvSpPr>
            <p:cNvPr id="639024" name="Legend4"/>
            <p:cNvSpPr>
              <a:spLocks noChangeArrowheads="1"/>
            </p:cNvSpPr>
            <p:nvPr/>
          </p:nvSpPr>
          <p:spPr bwMode="auto">
            <a:xfrm>
              <a:off x="8128459" y="395824"/>
              <a:ext cx="474489" cy="138499"/>
            </a:xfrm>
            <a:prstGeom prst="rect">
              <a:avLst/>
            </a:prstGeom>
            <a:noFill/>
            <a:ln w="9525">
              <a:noFill/>
              <a:miter lim="800000"/>
              <a:headEnd/>
              <a:tailEnd/>
            </a:ln>
          </p:spPr>
          <p:txBody>
            <a:bodyPr wrap="none" lIns="0" tIns="0" rIns="0" bIns="0">
              <a:spAutoFit/>
            </a:bodyPr>
            <a:lstStyle/>
            <a:p>
              <a:pPr marL="341313" indent="-341313" defTabSz="911225" eaLnBrk="0" hangingPunct="0">
                <a:spcBef>
                  <a:spcPct val="20000"/>
                </a:spcBef>
                <a:buFont typeface="Arial" charset="0"/>
                <a:buNone/>
              </a:pPr>
              <a:r>
                <a:rPr lang="en-US" altLang="ja-JP" sz="900" dirty="0">
                  <a:solidFill>
                    <a:srgbClr val="000000"/>
                  </a:solidFill>
                  <a:cs typeface="Arial" charset="0"/>
                </a:rPr>
                <a:t>Off Track</a:t>
              </a:r>
            </a:p>
          </p:txBody>
        </p:sp>
        <p:sp>
          <p:nvSpPr>
            <p:cNvPr id="639025" name="LegendRectangle4"/>
            <p:cNvSpPr>
              <a:spLocks noChangeArrowheads="1"/>
            </p:cNvSpPr>
            <p:nvPr/>
          </p:nvSpPr>
          <p:spPr bwMode="auto">
            <a:xfrm>
              <a:off x="7903034" y="383317"/>
              <a:ext cx="168275" cy="163513"/>
            </a:xfrm>
            <a:prstGeom prst="rect">
              <a:avLst/>
            </a:prstGeom>
            <a:solidFill>
              <a:srgbClr val="CC0000"/>
            </a:solidFill>
            <a:ln w="9525">
              <a:solidFill>
                <a:schemeClr val="bg2"/>
              </a:solidFill>
              <a:miter lim="800000"/>
              <a:headEnd/>
              <a:tailEnd/>
            </a:ln>
          </p:spPr>
          <p:txBody>
            <a:bodyPr wrap="none" lIns="91430" tIns="45716" rIns="91430" bIns="45716" anchor="ctr"/>
            <a:lstStyle/>
            <a:p>
              <a:pPr defTabSz="912813"/>
              <a:endParaRPr lang="nl-NL" sz="900" dirty="0">
                <a:solidFill>
                  <a:srgbClr val="000000"/>
                </a:solidFill>
                <a:cs typeface="Arial" charset="0"/>
              </a:endParaRPr>
            </a:p>
          </p:txBody>
        </p:sp>
        <p:sp>
          <p:nvSpPr>
            <p:cNvPr id="639022" name="Legend3"/>
            <p:cNvSpPr>
              <a:spLocks noChangeArrowheads="1"/>
            </p:cNvSpPr>
            <p:nvPr/>
          </p:nvSpPr>
          <p:spPr bwMode="auto">
            <a:xfrm>
              <a:off x="8128459" y="164844"/>
              <a:ext cx="365485" cy="138499"/>
            </a:xfrm>
            <a:prstGeom prst="rect">
              <a:avLst/>
            </a:prstGeom>
            <a:noFill/>
            <a:ln w="9525">
              <a:noFill/>
              <a:miter lim="800000"/>
              <a:headEnd/>
              <a:tailEnd/>
            </a:ln>
          </p:spPr>
          <p:txBody>
            <a:bodyPr wrap="none" lIns="0" tIns="0" rIns="0" bIns="0">
              <a:spAutoFit/>
            </a:bodyPr>
            <a:lstStyle/>
            <a:p>
              <a:pPr marL="341313" indent="-341313" defTabSz="911225" eaLnBrk="0" hangingPunct="0">
                <a:spcBef>
                  <a:spcPct val="20000"/>
                </a:spcBef>
                <a:buFont typeface="Arial" charset="0"/>
                <a:buNone/>
              </a:pPr>
              <a:r>
                <a:rPr lang="en-US" altLang="ja-JP" sz="900" dirty="0">
                  <a:solidFill>
                    <a:srgbClr val="000000"/>
                  </a:solidFill>
                  <a:cs typeface="Arial" charset="0"/>
                </a:rPr>
                <a:t>At Risk</a:t>
              </a:r>
            </a:p>
          </p:txBody>
        </p:sp>
        <p:sp>
          <p:nvSpPr>
            <p:cNvPr id="639023" name="LegendRectangle3"/>
            <p:cNvSpPr>
              <a:spLocks noChangeArrowheads="1"/>
            </p:cNvSpPr>
            <p:nvPr/>
          </p:nvSpPr>
          <p:spPr bwMode="auto">
            <a:xfrm>
              <a:off x="7903034" y="152337"/>
              <a:ext cx="168275" cy="163512"/>
            </a:xfrm>
            <a:prstGeom prst="rect">
              <a:avLst/>
            </a:prstGeom>
            <a:solidFill>
              <a:srgbClr val="FCF67C"/>
            </a:solidFill>
            <a:ln w="9525">
              <a:solidFill>
                <a:schemeClr val="bg2"/>
              </a:solidFill>
              <a:miter lim="800000"/>
              <a:headEnd/>
              <a:tailEnd/>
            </a:ln>
          </p:spPr>
          <p:txBody>
            <a:bodyPr wrap="none" lIns="91430" tIns="45716" rIns="91430" bIns="45716" anchor="ctr"/>
            <a:lstStyle/>
            <a:p>
              <a:pPr defTabSz="912813"/>
              <a:endParaRPr lang="nl-NL" sz="900" dirty="0">
                <a:solidFill>
                  <a:srgbClr val="000000"/>
                </a:solidFill>
                <a:cs typeface="Arial" charset="0"/>
              </a:endParaRPr>
            </a:p>
          </p:txBody>
        </p:sp>
        <p:sp>
          <p:nvSpPr>
            <p:cNvPr id="639026" name="Legend2"/>
            <p:cNvSpPr>
              <a:spLocks noChangeArrowheads="1"/>
            </p:cNvSpPr>
            <p:nvPr/>
          </p:nvSpPr>
          <p:spPr bwMode="auto">
            <a:xfrm>
              <a:off x="7056294" y="164844"/>
              <a:ext cx="493725" cy="138499"/>
            </a:xfrm>
            <a:prstGeom prst="rect">
              <a:avLst/>
            </a:prstGeom>
            <a:noFill/>
            <a:ln w="9525">
              <a:noFill/>
              <a:miter lim="800000"/>
              <a:headEnd/>
              <a:tailEnd/>
            </a:ln>
          </p:spPr>
          <p:txBody>
            <a:bodyPr wrap="none" lIns="0" tIns="0" rIns="0" bIns="0">
              <a:spAutoFit/>
            </a:bodyPr>
            <a:lstStyle/>
            <a:p>
              <a:pPr marL="342900" indent="-342900" defTabSz="895350" eaLnBrk="0" hangingPunct="0">
                <a:spcBef>
                  <a:spcPct val="20000"/>
                </a:spcBef>
                <a:buFont typeface="Arial" charset="0"/>
                <a:buNone/>
              </a:pPr>
              <a:r>
                <a:rPr lang="en-US" altLang="ja-JP" sz="900" dirty="0">
                  <a:solidFill>
                    <a:srgbClr val="000000"/>
                  </a:solidFill>
                  <a:cs typeface="Arial" charset="0"/>
                </a:rPr>
                <a:t>Complete</a:t>
              </a:r>
            </a:p>
          </p:txBody>
        </p:sp>
        <p:sp>
          <p:nvSpPr>
            <p:cNvPr id="639027" name="LegendRectangle2"/>
            <p:cNvSpPr>
              <a:spLocks noChangeArrowheads="1"/>
            </p:cNvSpPr>
            <p:nvPr/>
          </p:nvSpPr>
          <p:spPr bwMode="auto">
            <a:xfrm>
              <a:off x="6837821" y="152337"/>
              <a:ext cx="169863" cy="163512"/>
            </a:xfrm>
            <a:prstGeom prst="rect">
              <a:avLst/>
            </a:prstGeom>
            <a:solidFill>
              <a:srgbClr val="3401FE"/>
            </a:solidFill>
            <a:ln w="9525">
              <a:solidFill>
                <a:schemeClr val="bg2"/>
              </a:solidFill>
              <a:miter lim="800000"/>
              <a:headEnd/>
              <a:tailEnd/>
            </a:ln>
          </p:spPr>
          <p:txBody>
            <a:bodyPr wrap="none" lIns="91430" tIns="45716" rIns="91430" bIns="45716" anchor="ctr"/>
            <a:lstStyle/>
            <a:p>
              <a:pPr defTabSz="912813"/>
              <a:endParaRPr lang="nl-NL" sz="900" dirty="0">
                <a:solidFill>
                  <a:srgbClr val="000000"/>
                </a:solidFill>
                <a:cs typeface="Arial" charset="0"/>
              </a:endParaRPr>
            </a:p>
          </p:txBody>
        </p:sp>
        <p:sp>
          <p:nvSpPr>
            <p:cNvPr id="639044" name="Oval 22"/>
            <p:cNvSpPr>
              <a:spLocks noChangeAspect="1" noChangeArrowheads="1"/>
            </p:cNvSpPr>
            <p:nvPr>
              <p:custDataLst>
                <p:tags r:id="rId7"/>
              </p:custDataLst>
            </p:nvPr>
          </p:nvSpPr>
          <p:spPr bwMode="blackWhite">
            <a:xfrm>
              <a:off x="6844297" y="616704"/>
              <a:ext cx="156911" cy="158702"/>
            </a:xfrm>
            <a:prstGeom prst="ellipse">
              <a:avLst/>
            </a:prstGeom>
            <a:solidFill>
              <a:schemeClr val="accent1"/>
            </a:solidFill>
            <a:ln w="9525">
              <a:solidFill>
                <a:schemeClr val="tx1"/>
              </a:solidFill>
              <a:round/>
              <a:headEnd/>
              <a:tailEnd/>
            </a:ln>
          </p:spPr>
          <p:txBody>
            <a:bodyPr wrap="none" lIns="91430" tIns="45716" rIns="91430" bIns="45716" anchor="ctr"/>
            <a:lstStyle/>
            <a:p>
              <a:pPr defTabSz="912813"/>
              <a:endParaRPr lang="nl-NL" sz="900" dirty="0">
                <a:solidFill>
                  <a:srgbClr val="000000"/>
                </a:solidFill>
                <a:cs typeface="Arial" charset="0"/>
              </a:endParaRPr>
            </a:p>
          </p:txBody>
        </p:sp>
        <p:sp>
          <p:nvSpPr>
            <p:cNvPr id="639045" name="Oval 23"/>
            <p:cNvSpPr>
              <a:spLocks noChangeAspect="1" noChangeArrowheads="1"/>
            </p:cNvSpPr>
            <p:nvPr>
              <p:custDataLst>
                <p:tags r:id="rId8"/>
              </p:custDataLst>
            </p:nvPr>
          </p:nvSpPr>
          <p:spPr bwMode="black">
            <a:xfrm>
              <a:off x="6844297" y="616704"/>
              <a:ext cx="156911" cy="158702"/>
            </a:xfrm>
            <a:prstGeom prst="ellipse">
              <a:avLst/>
            </a:prstGeom>
            <a:solidFill>
              <a:schemeClr val="tx1"/>
            </a:solidFill>
            <a:ln w="9525">
              <a:solidFill>
                <a:schemeClr val="bg2"/>
              </a:solidFill>
              <a:round/>
              <a:headEnd/>
              <a:tailEnd/>
            </a:ln>
          </p:spPr>
          <p:txBody>
            <a:bodyPr wrap="none" lIns="91430" tIns="45716" rIns="91430" bIns="45716" anchor="ctr"/>
            <a:lstStyle/>
            <a:p>
              <a:pPr defTabSz="912813"/>
              <a:endParaRPr lang="nl-NL" sz="900" dirty="0">
                <a:solidFill>
                  <a:srgbClr val="000000"/>
                </a:solidFill>
                <a:cs typeface="Arial" charset="0"/>
              </a:endParaRPr>
            </a:p>
          </p:txBody>
        </p:sp>
        <p:sp>
          <p:nvSpPr>
            <p:cNvPr id="639043" name="Legend5"/>
            <p:cNvSpPr>
              <a:spLocks noChangeArrowheads="1"/>
            </p:cNvSpPr>
            <p:nvPr/>
          </p:nvSpPr>
          <p:spPr bwMode="auto">
            <a:xfrm>
              <a:off x="7056294" y="626521"/>
              <a:ext cx="731174" cy="139069"/>
            </a:xfrm>
            <a:prstGeom prst="rect">
              <a:avLst/>
            </a:prstGeom>
            <a:noFill/>
            <a:ln w="9525">
              <a:noFill/>
              <a:miter lim="800000"/>
              <a:headEnd/>
              <a:tailEnd/>
            </a:ln>
          </p:spPr>
          <p:txBody>
            <a:bodyPr wrap="none" lIns="0" tIns="0" rIns="0" bIns="0">
              <a:spAutoFit/>
            </a:bodyPr>
            <a:lstStyle/>
            <a:p>
              <a:pPr marL="342900" indent="-342900" defTabSz="895350" eaLnBrk="0" hangingPunct="0">
                <a:spcBef>
                  <a:spcPct val="20000"/>
                </a:spcBef>
                <a:buFont typeface="Arial" charset="0"/>
                <a:buNone/>
              </a:pPr>
              <a:r>
                <a:rPr lang="en-US" altLang="ja-JP" sz="900" dirty="0">
                  <a:solidFill>
                    <a:srgbClr val="000000"/>
                  </a:solidFill>
                  <a:cs typeface="Arial" charset="0"/>
                </a:rPr>
                <a:t>Not Submitted</a:t>
              </a:r>
            </a:p>
          </p:txBody>
        </p:sp>
        <p:sp>
          <p:nvSpPr>
            <p:cNvPr id="639029" name="Legend4"/>
            <p:cNvSpPr>
              <a:spLocks noChangeArrowheads="1"/>
            </p:cNvSpPr>
            <p:nvPr/>
          </p:nvSpPr>
          <p:spPr bwMode="auto">
            <a:xfrm>
              <a:off x="8128459" y="626806"/>
              <a:ext cx="609141" cy="138499"/>
            </a:xfrm>
            <a:prstGeom prst="rect">
              <a:avLst/>
            </a:prstGeom>
            <a:noFill/>
            <a:ln w="9525">
              <a:noFill/>
              <a:miter lim="800000"/>
              <a:headEnd/>
              <a:tailEnd/>
            </a:ln>
          </p:spPr>
          <p:txBody>
            <a:bodyPr wrap="none" lIns="0" tIns="0" rIns="0" bIns="0">
              <a:spAutoFit/>
            </a:bodyPr>
            <a:lstStyle/>
            <a:p>
              <a:pPr marL="342900" indent="-342900" defTabSz="895350" eaLnBrk="0" hangingPunct="0">
                <a:spcBef>
                  <a:spcPct val="20000"/>
                </a:spcBef>
                <a:buFont typeface="Arial" charset="0"/>
                <a:buNone/>
              </a:pPr>
              <a:r>
                <a:rPr lang="en-US" altLang="ja-JP" sz="900" dirty="0">
                  <a:solidFill>
                    <a:srgbClr val="000000"/>
                  </a:solidFill>
                  <a:cs typeface="Arial" charset="0"/>
                </a:rPr>
                <a:t>Unassigned</a:t>
              </a:r>
            </a:p>
          </p:txBody>
        </p:sp>
        <p:sp>
          <p:nvSpPr>
            <p:cNvPr id="639030" name="LegendRectangle4"/>
            <p:cNvSpPr>
              <a:spLocks noChangeArrowheads="1"/>
            </p:cNvSpPr>
            <p:nvPr/>
          </p:nvSpPr>
          <p:spPr bwMode="auto">
            <a:xfrm>
              <a:off x="7903034" y="614299"/>
              <a:ext cx="168275" cy="163513"/>
            </a:xfrm>
            <a:prstGeom prst="rect">
              <a:avLst/>
            </a:prstGeom>
            <a:solidFill>
              <a:schemeClr val="bg1"/>
            </a:solidFill>
            <a:ln w="9525">
              <a:solidFill>
                <a:schemeClr val="bg2"/>
              </a:solidFill>
              <a:miter lim="800000"/>
              <a:headEnd/>
              <a:tailEnd/>
            </a:ln>
          </p:spPr>
          <p:txBody>
            <a:bodyPr wrap="none" lIns="91430" tIns="45716" rIns="91430" bIns="45716" anchor="ctr"/>
            <a:lstStyle/>
            <a:p>
              <a:pPr defTabSz="912813"/>
              <a:endParaRPr lang="nl-NL" sz="900" dirty="0">
                <a:solidFill>
                  <a:srgbClr val="000000"/>
                </a:solidFill>
                <a:cs typeface="Arial" charset="0"/>
              </a:endParaRPr>
            </a:p>
          </p:txBody>
        </p:sp>
      </p:grpSp>
      <p:sp>
        <p:nvSpPr>
          <p:cNvPr id="3988485" name="Rectangle 5"/>
          <p:cNvSpPr>
            <a:spLocks noChangeArrowheads="1"/>
          </p:cNvSpPr>
          <p:nvPr/>
        </p:nvSpPr>
        <p:spPr bwMode="auto">
          <a:xfrm>
            <a:off x="106364" y="1004888"/>
            <a:ext cx="2665270" cy="5298929"/>
          </a:xfrm>
          <a:prstGeom prst="rect">
            <a:avLst/>
          </a:prstGeom>
          <a:solidFill>
            <a:schemeClr val="bg2"/>
          </a:solidFill>
          <a:ln w="12700" cmpd="sng">
            <a:solidFill>
              <a:schemeClr val="accent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000" dirty="0">
              <a:solidFill>
                <a:srgbClr val="0065BD"/>
              </a:solidFill>
            </a:endParaRPr>
          </a:p>
        </p:txBody>
      </p:sp>
      <p:sp>
        <p:nvSpPr>
          <p:cNvPr id="639031" name="Rectangle 23"/>
          <p:cNvSpPr>
            <a:spLocks noChangeArrowheads="1"/>
          </p:cNvSpPr>
          <p:nvPr/>
        </p:nvSpPr>
        <p:spPr bwMode="gray">
          <a:xfrm>
            <a:off x="106364" y="1004888"/>
            <a:ext cx="2665270" cy="347123"/>
          </a:xfrm>
          <a:prstGeom prst="rect">
            <a:avLst/>
          </a:prstGeom>
          <a:solidFill>
            <a:schemeClr val="accent1"/>
          </a:solidFill>
          <a:ln w="12700">
            <a:solidFill>
              <a:schemeClr val="accent1"/>
            </a:solidFill>
            <a:miter lim="800000"/>
            <a:headEnd/>
            <a:tailEnd/>
          </a:ln>
        </p:spPr>
        <p:txBody>
          <a:bodyPr wrap="none" anchor="ctr">
            <a:noAutofit/>
          </a:bodyPr>
          <a:lstStyle/>
          <a:p>
            <a:endParaRPr lang="en-CA" dirty="0">
              <a:solidFill>
                <a:srgbClr val="002960"/>
              </a:solidFill>
              <a:cs typeface="Arial" charset="0"/>
            </a:endParaRPr>
          </a:p>
        </p:txBody>
      </p:sp>
      <p:sp>
        <p:nvSpPr>
          <p:cNvPr id="639032" name="Rectangle 24"/>
          <p:cNvSpPr>
            <a:spLocks noChangeArrowheads="1"/>
          </p:cNvSpPr>
          <p:nvPr/>
        </p:nvSpPr>
        <p:spPr bwMode="gray">
          <a:xfrm>
            <a:off x="158750" y="1063625"/>
            <a:ext cx="2559512" cy="230832"/>
          </a:xfrm>
          <a:prstGeom prst="rect">
            <a:avLst/>
          </a:prstGeom>
          <a:noFill/>
          <a:ln w="9525">
            <a:noFill/>
            <a:miter lim="800000"/>
            <a:headEnd/>
            <a:tailEnd/>
          </a:ln>
        </p:spPr>
        <p:txBody>
          <a:bodyPr wrap="square" lIns="0" tIns="0" rIns="0" bIns="0">
            <a:spAutoFit/>
          </a:bodyPr>
          <a:lstStyle/>
          <a:p>
            <a:pPr defTabSz="895350">
              <a:buClr>
                <a:srgbClr val="062859"/>
              </a:buClr>
            </a:pPr>
            <a:r>
              <a:rPr lang="en-US" altLang="ko-KR" sz="1500" b="1" dirty="0">
                <a:solidFill>
                  <a:srgbClr val="0065BD"/>
                </a:solidFill>
                <a:ea typeface="Gulim" pitchFamily="34" charset="-127"/>
                <a:cs typeface="Arial" charset="0"/>
              </a:rPr>
              <a:t>Status for each workstream</a:t>
            </a:r>
          </a:p>
        </p:txBody>
      </p:sp>
      <p:sp>
        <p:nvSpPr>
          <p:cNvPr id="639033" name="Rectangle 25"/>
          <p:cNvSpPr>
            <a:spLocks noChangeArrowheads="1"/>
          </p:cNvSpPr>
          <p:nvPr/>
        </p:nvSpPr>
        <p:spPr bwMode="gray">
          <a:xfrm>
            <a:off x="2867025" y="1004888"/>
            <a:ext cx="5845725" cy="347123"/>
          </a:xfrm>
          <a:prstGeom prst="rect">
            <a:avLst/>
          </a:prstGeom>
          <a:solidFill>
            <a:schemeClr val="accent1"/>
          </a:solidFill>
          <a:ln w="12700">
            <a:solidFill>
              <a:schemeClr val="accent1"/>
            </a:solidFill>
            <a:miter lim="800000"/>
            <a:headEnd/>
            <a:tailEnd/>
          </a:ln>
        </p:spPr>
        <p:txBody>
          <a:bodyPr wrap="none" anchor="ctr"/>
          <a:lstStyle/>
          <a:p>
            <a:endParaRPr lang="nl-NL" dirty="0">
              <a:solidFill>
                <a:srgbClr val="002960"/>
              </a:solidFill>
              <a:cs typeface="Arial" charset="0"/>
            </a:endParaRPr>
          </a:p>
        </p:txBody>
      </p:sp>
      <p:sp>
        <p:nvSpPr>
          <p:cNvPr id="639034" name="Rectangle 26"/>
          <p:cNvSpPr>
            <a:spLocks noChangeArrowheads="1"/>
          </p:cNvSpPr>
          <p:nvPr/>
        </p:nvSpPr>
        <p:spPr bwMode="gray">
          <a:xfrm>
            <a:off x="2909455" y="1063625"/>
            <a:ext cx="5760720" cy="230832"/>
          </a:xfrm>
          <a:prstGeom prst="rect">
            <a:avLst/>
          </a:prstGeom>
          <a:noFill/>
          <a:ln w="9525">
            <a:noFill/>
            <a:miter lim="800000"/>
            <a:headEnd/>
            <a:tailEnd/>
          </a:ln>
        </p:spPr>
        <p:txBody>
          <a:bodyPr wrap="square" lIns="0" tIns="0" rIns="0" bIns="0">
            <a:spAutoFit/>
          </a:bodyPr>
          <a:lstStyle/>
          <a:p>
            <a:pPr defTabSz="895350">
              <a:buClr>
                <a:srgbClr val="062859"/>
              </a:buClr>
            </a:pPr>
            <a:r>
              <a:rPr lang="en-US" altLang="ko-KR" sz="1500" b="1" dirty="0">
                <a:solidFill>
                  <a:srgbClr val="0065BD"/>
                </a:solidFill>
                <a:ea typeface="Gulim" pitchFamily="34" charset="-127"/>
                <a:cs typeface="Arial" charset="0"/>
              </a:rPr>
              <a:t>Overview of all initiatives status distribution</a:t>
            </a:r>
          </a:p>
        </p:txBody>
      </p:sp>
      <p:pic>
        <p:nvPicPr>
          <p:cNvPr id="639036" name="Picture 28"/>
          <p:cNvPicPr>
            <a:picLocks noChangeArrowheads="1"/>
          </p:cNvPicPr>
          <p:nvPr/>
        </p:nvPicPr>
        <p:blipFill>
          <a:blip r:embed="rId14" cstate="email">
            <a:extLst>
              <a:ext uri="{28A0092B-C50C-407E-A947-70E740481C1C}">
                <a14:useLocalDpi xmlns:a14="http://schemas.microsoft.com/office/drawing/2010/main"/>
              </a:ext>
            </a:extLst>
          </a:blip>
          <a:srcRect/>
          <a:stretch>
            <a:fillRect/>
          </a:stretch>
        </p:blipFill>
        <p:spPr bwMode="auto">
          <a:xfrm>
            <a:off x="335608" y="1560513"/>
            <a:ext cx="2206782" cy="4708966"/>
          </a:xfrm>
          <a:prstGeom prst="rect">
            <a:avLst/>
          </a:prstGeom>
          <a:noFill/>
          <a:ln w="9525">
            <a:noFill/>
            <a:miter lim="800000"/>
            <a:headEnd/>
            <a:tailEnd/>
          </a:ln>
        </p:spPr>
      </p:pic>
      <p:pic>
        <p:nvPicPr>
          <p:cNvPr id="639038" name="Picture 30"/>
          <p:cNvPicPr>
            <a:picLocks noChangeAspect="1" noChangeArrowheads="1"/>
          </p:cNvPicPr>
          <p:nvPr/>
        </p:nvPicPr>
        <p:blipFill>
          <a:blip r:embed="rId15" cstate="email">
            <a:extLst>
              <a:ext uri="{28A0092B-C50C-407E-A947-70E740481C1C}">
                <a14:useLocalDpi xmlns:a14="http://schemas.microsoft.com/office/drawing/2010/main"/>
              </a:ext>
            </a:extLst>
          </a:blip>
          <a:srcRect/>
          <a:stretch>
            <a:fillRect/>
          </a:stretch>
        </p:blipFill>
        <p:spPr bwMode="auto">
          <a:xfrm>
            <a:off x="5181600" y="1387475"/>
            <a:ext cx="3432772" cy="522890"/>
          </a:xfrm>
          <a:prstGeom prst="rect">
            <a:avLst/>
          </a:prstGeom>
          <a:noFill/>
          <a:ln w="9525">
            <a:noFill/>
            <a:miter lim="800000"/>
            <a:headEnd/>
            <a:tailEnd/>
          </a:ln>
        </p:spPr>
      </p:pic>
      <p:sp>
        <p:nvSpPr>
          <p:cNvPr id="33" name="5. Source"/>
          <p:cNvSpPr>
            <a:spLocks noChangeArrowheads="1"/>
          </p:cNvSpPr>
          <p:nvPr>
            <p:custDataLst>
              <p:tags r:id="rId6"/>
            </p:custDataLst>
          </p:nvPr>
        </p:nvSpPr>
        <p:spPr bwMode="gray">
          <a:xfrm>
            <a:off x="119063" y="6507558"/>
            <a:ext cx="7200000" cy="123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marL="609600" indent="-609600" defTabSz="895350">
              <a:tabLst>
                <a:tab pos="612775" algn="l"/>
              </a:tabLst>
            </a:pPr>
            <a:r>
              <a:rPr lang="en-US" altLang="zh-CN" sz="800" dirty="0">
                <a:solidFill>
                  <a:schemeClr val="accent6"/>
                </a:solidFill>
                <a:latin typeface="Arial" panose="020B0604020202020204" pitchFamily="34" charset="0"/>
              </a:rPr>
              <a:t>SOURCE: McKinsey Merger Management Practice</a:t>
            </a:r>
          </a:p>
        </p:txBody>
      </p:sp>
      <p:pic>
        <p:nvPicPr>
          <p:cNvPr id="35" name="Picture 29"/>
          <p:cNvPicPr>
            <a:picLocks noChangeArrowheads="1"/>
          </p:cNvPicPr>
          <p:nvPr/>
        </p:nvPicPr>
        <p:blipFill>
          <a:blip r:embed="rId16" cstate="email">
            <a:extLst>
              <a:ext uri="{28A0092B-C50C-407E-A947-70E740481C1C}">
                <a14:useLocalDpi xmlns:a14="http://schemas.microsoft.com/office/drawing/2010/main"/>
              </a:ext>
            </a:extLst>
          </a:blip>
          <a:srcRect/>
          <a:stretch>
            <a:fillRect/>
          </a:stretch>
        </p:blipFill>
        <p:spPr bwMode="auto">
          <a:xfrm>
            <a:off x="2999914" y="1560513"/>
            <a:ext cx="2216213" cy="4708966"/>
          </a:xfrm>
          <a:prstGeom prst="rect">
            <a:avLst/>
          </a:prstGeom>
          <a:noFill/>
          <a:ln w="9525">
            <a:noFill/>
            <a:miter lim="800000"/>
            <a:headEnd/>
            <a:tailEnd/>
          </a:ln>
        </p:spPr>
      </p:pic>
      <p:sp>
        <p:nvSpPr>
          <p:cNvPr id="36" name="Title Tracker Circle">
            <a:extLst>
              <a:ext uri="{FF2B5EF4-FFF2-40B4-BE49-F238E27FC236}">
                <a16:creationId xmlns:a16="http://schemas.microsoft.com/office/drawing/2014/main" id="{D085F5BC-1A10-450E-8E48-8F4228C1D028}"/>
              </a:ext>
            </a:extLst>
          </p:cNvPr>
          <p:cNvSpPr/>
          <p:nvPr/>
        </p:nvSpPr>
        <p:spPr>
          <a:xfrm>
            <a:off x="119063" y="166736"/>
            <a:ext cx="418798" cy="418798"/>
          </a:xfrm>
          <a:prstGeom prst="ellipse">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p>
            <a:pPr algn="ctr"/>
            <a:r>
              <a:rPr lang="en-US" sz="2000" dirty="0">
                <a:solidFill>
                  <a:schemeClr val="tx2"/>
                </a:solidFill>
                <a:latin typeface="+mj-lt"/>
              </a:rPr>
              <a:t>5</a:t>
            </a:r>
          </a:p>
        </p:txBody>
      </p:sp>
    </p:spTree>
    <p:custDataLst>
      <p:tags r:id="rId2"/>
    </p:custDataLst>
    <p:extLst>
      <p:ext uri="{BB962C8B-B14F-4D97-AF65-F5344CB8AC3E}">
        <p14:creationId xmlns:p14="http://schemas.microsoft.com/office/powerpoint/2010/main" val="870165529"/>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43090" name="AutoShape 18" hidden="1"/>
          <p:cNvGraphicFramePr>
            <a:graphicFrameLocks/>
          </p:cNvGraphicFramePr>
          <p:nvPr>
            <p:custDataLst>
              <p:tags r:id="rId3"/>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93908" name="think-cell Slide" r:id="rId8" imgW="0" imgH="0" progId="TCLayout.ActiveDocument.1">
                  <p:embed/>
                </p:oleObj>
              </mc:Choice>
              <mc:Fallback>
                <p:oleObj name="think-cell Slide" r:id="rId8" imgW="0" imgH="0" progId="TCLayout.ActiveDocument.1">
                  <p:embed/>
                  <p:pic>
                    <p:nvPicPr>
                      <p:cNvPr id="643090" name="AutoShape 18"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 1"/>
          <p:cNvGrpSpPr/>
          <p:nvPr/>
        </p:nvGrpSpPr>
        <p:grpSpPr>
          <a:xfrm>
            <a:off x="295732" y="816117"/>
            <a:ext cx="8265198" cy="5460858"/>
            <a:chOff x="119063" y="683324"/>
            <a:chExt cx="8596258" cy="5679590"/>
          </a:xfrm>
        </p:grpSpPr>
        <p:pic>
          <p:nvPicPr>
            <p:cNvPr id="643091" name="Picture 3"/>
            <p:cNvPicPr>
              <a:picLocks noChangeAspect="1" noChangeArrowheads="1"/>
            </p:cNvPicPr>
            <p:nvPr/>
          </p:nvPicPr>
          <p:blipFill>
            <a:blip r:embed="rId9" cstate="email">
              <a:extLst>
                <a:ext uri="{28A0092B-C50C-407E-A947-70E740481C1C}">
                  <a14:useLocalDpi xmlns:a14="http://schemas.microsoft.com/office/drawing/2010/main"/>
                </a:ext>
              </a:extLst>
            </a:blip>
            <a:srcRect/>
            <a:stretch>
              <a:fillRect/>
            </a:stretch>
          </p:blipFill>
          <p:spPr bwMode="auto">
            <a:xfrm>
              <a:off x="119063" y="683324"/>
              <a:ext cx="3546222" cy="2460154"/>
            </a:xfrm>
            <a:prstGeom prst="rect">
              <a:avLst/>
            </a:prstGeom>
            <a:noFill/>
            <a:ln w="12700">
              <a:solidFill>
                <a:schemeClr val="accent1"/>
              </a:solidFill>
              <a:miter lim="800000"/>
              <a:headEnd/>
              <a:tailEnd/>
            </a:ln>
          </p:spPr>
        </p:pic>
        <p:pic>
          <p:nvPicPr>
            <p:cNvPr id="643092" name="Picture 4"/>
            <p:cNvPicPr>
              <a:picLocks noChangeArrowheads="1"/>
            </p:cNvPicPr>
            <p:nvPr/>
          </p:nvPicPr>
          <p:blipFill>
            <a:blip r:embed="rId10" cstate="email">
              <a:extLst>
                <a:ext uri="{28A0092B-C50C-407E-A947-70E740481C1C}">
                  <a14:useLocalDpi xmlns:a14="http://schemas.microsoft.com/office/drawing/2010/main"/>
                </a:ext>
              </a:extLst>
            </a:blip>
            <a:srcRect/>
            <a:stretch>
              <a:fillRect/>
            </a:stretch>
          </p:blipFill>
          <p:spPr bwMode="auto">
            <a:xfrm>
              <a:off x="750317" y="1085754"/>
              <a:ext cx="3546222" cy="2460154"/>
            </a:xfrm>
            <a:prstGeom prst="rect">
              <a:avLst/>
            </a:prstGeom>
            <a:noFill/>
            <a:ln w="12700">
              <a:solidFill>
                <a:schemeClr val="accent1"/>
              </a:solidFill>
              <a:miter lim="800000"/>
              <a:headEnd/>
              <a:tailEnd/>
            </a:ln>
          </p:spPr>
        </p:pic>
        <p:pic>
          <p:nvPicPr>
            <p:cNvPr id="643093" name="Picture 5"/>
            <p:cNvPicPr>
              <a:picLocks noChangeArrowheads="1"/>
            </p:cNvPicPr>
            <p:nvPr/>
          </p:nvPicPr>
          <p:blipFill>
            <a:blip r:embed="rId11" cstate="email">
              <a:extLst>
                <a:ext uri="{28A0092B-C50C-407E-A947-70E740481C1C}">
                  <a14:useLocalDpi xmlns:a14="http://schemas.microsoft.com/office/drawing/2010/main"/>
                </a:ext>
              </a:extLst>
            </a:blip>
            <a:srcRect/>
            <a:stretch>
              <a:fillRect/>
            </a:stretch>
          </p:blipFill>
          <p:spPr bwMode="auto">
            <a:xfrm>
              <a:off x="1381571" y="1488184"/>
              <a:ext cx="3546222" cy="2460154"/>
            </a:xfrm>
            <a:prstGeom prst="rect">
              <a:avLst/>
            </a:prstGeom>
            <a:noFill/>
            <a:ln w="12700">
              <a:solidFill>
                <a:schemeClr val="accent1"/>
              </a:solidFill>
              <a:miter lim="800000"/>
              <a:headEnd/>
              <a:tailEnd/>
            </a:ln>
          </p:spPr>
        </p:pic>
        <p:pic>
          <p:nvPicPr>
            <p:cNvPr id="643094" name="Picture 6"/>
            <p:cNvPicPr>
              <a:picLocks noChangeArrowheads="1"/>
            </p:cNvPicPr>
            <p:nvPr/>
          </p:nvPicPr>
          <p:blipFill>
            <a:blip r:embed="rId12" cstate="email">
              <a:extLst>
                <a:ext uri="{28A0092B-C50C-407E-A947-70E740481C1C}">
                  <a14:useLocalDpi xmlns:a14="http://schemas.microsoft.com/office/drawing/2010/main"/>
                </a:ext>
              </a:extLst>
            </a:blip>
            <a:srcRect/>
            <a:stretch>
              <a:fillRect/>
            </a:stretch>
          </p:blipFill>
          <p:spPr bwMode="auto">
            <a:xfrm>
              <a:off x="2012825" y="1890614"/>
              <a:ext cx="3546222" cy="2460154"/>
            </a:xfrm>
            <a:prstGeom prst="rect">
              <a:avLst/>
            </a:prstGeom>
            <a:noFill/>
            <a:ln w="12700">
              <a:solidFill>
                <a:schemeClr val="accent1"/>
              </a:solidFill>
              <a:miter lim="800000"/>
              <a:headEnd/>
              <a:tailEnd/>
            </a:ln>
          </p:spPr>
        </p:pic>
        <p:pic>
          <p:nvPicPr>
            <p:cNvPr id="643095" name="Picture 7"/>
            <p:cNvPicPr>
              <a:picLocks noChangeArrowheads="1"/>
            </p:cNvPicPr>
            <p:nvPr/>
          </p:nvPicPr>
          <p:blipFill>
            <a:blip r:embed="rId13" cstate="email">
              <a:extLst>
                <a:ext uri="{28A0092B-C50C-407E-A947-70E740481C1C}">
                  <a14:useLocalDpi xmlns:a14="http://schemas.microsoft.com/office/drawing/2010/main"/>
                </a:ext>
              </a:extLst>
            </a:blip>
            <a:srcRect/>
            <a:stretch>
              <a:fillRect/>
            </a:stretch>
          </p:blipFill>
          <p:spPr bwMode="auto">
            <a:xfrm>
              <a:off x="2644079" y="2293044"/>
              <a:ext cx="3546222" cy="2460154"/>
            </a:xfrm>
            <a:prstGeom prst="rect">
              <a:avLst/>
            </a:prstGeom>
            <a:noFill/>
            <a:ln w="12700">
              <a:solidFill>
                <a:schemeClr val="accent1"/>
              </a:solidFill>
              <a:miter lim="800000"/>
              <a:headEnd/>
              <a:tailEnd/>
            </a:ln>
          </p:spPr>
        </p:pic>
        <p:pic>
          <p:nvPicPr>
            <p:cNvPr id="643096" name="Picture 8"/>
            <p:cNvPicPr>
              <a:picLocks noChangeArrowheads="1"/>
            </p:cNvPicPr>
            <p:nvPr/>
          </p:nvPicPr>
          <p:blipFill>
            <a:blip r:embed="rId14" cstate="email">
              <a:extLst>
                <a:ext uri="{28A0092B-C50C-407E-A947-70E740481C1C}">
                  <a14:useLocalDpi xmlns:a14="http://schemas.microsoft.com/office/drawing/2010/main"/>
                </a:ext>
              </a:extLst>
            </a:blip>
            <a:srcRect/>
            <a:stretch>
              <a:fillRect/>
            </a:stretch>
          </p:blipFill>
          <p:spPr bwMode="auto">
            <a:xfrm>
              <a:off x="3275334" y="2695474"/>
              <a:ext cx="3546222" cy="2460154"/>
            </a:xfrm>
            <a:prstGeom prst="rect">
              <a:avLst/>
            </a:prstGeom>
            <a:noFill/>
            <a:ln w="12700">
              <a:solidFill>
                <a:schemeClr val="accent1"/>
              </a:solidFill>
              <a:miter lim="800000"/>
              <a:headEnd/>
              <a:tailEnd/>
            </a:ln>
          </p:spPr>
        </p:pic>
        <p:pic>
          <p:nvPicPr>
            <p:cNvPr id="643097" name="Picture 9"/>
            <p:cNvPicPr>
              <a:picLocks noChangeArrowheads="1"/>
            </p:cNvPicPr>
            <p:nvPr/>
          </p:nvPicPr>
          <p:blipFill>
            <a:blip r:embed="rId15" cstate="email">
              <a:extLst>
                <a:ext uri="{28A0092B-C50C-407E-A947-70E740481C1C}">
                  <a14:useLocalDpi xmlns:a14="http://schemas.microsoft.com/office/drawing/2010/main"/>
                </a:ext>
              </a:extLst>
            </a:blip>
            <a:srcRect/>
            <a:stretch>
              <a:fillRect/>
            </a:stretch>
          </p:blipFill>
          <p:spPr bwMode="auto">
            <a:xfrm>
              <a:off x="3906589" y="3097904"/>
              <a:ext cx="3546222" cy="2460154"/>
            </a:xfrm>
            <a:prstGeom prst="rect">
              <a:avLst/>
            </a:prstGeom>
            <a:noFill/>
            <a:ln w="12700">
              <a:solidFill>
                <a:schemeClr val="accent1"/>
              </a:solidFill>
              <a:miter lim="800000"/>
              <a:headEnd/>
              <a:tailEnd/>
            </a:ln>
          </p:spPr>
        </p:pic>
        <p:pic>
          <p:nvPicPr>
            <p:cNvPr id="643098" name="Picture 10"/>
            <p:cNvPicPr>
              <a:picLocks noChangeArrowheads="1"/>
            </p:cNvPicPr>
            <p:nvPr/>
          </p:nvPicPr>
          <p:blipFill>
            <a:blip r:embed="rId16" cstate="email">
              <a:extLst>
                <a:ext uri="{28A0092B-C50C-407E-A947-70E740481C1C}">
                  <a14:useLocalDpi xmlns:a14="http://schemas.microsoft.com/office/drawing/2010/main"/>
                </a:ext>
              </a:extLst>
            </a:blip>
            <a:srcRect/>
            <a:stretch>
              <a:fillRect/>
            </a:stretch>
          </p:blipFill>
          <p:spPr bwMode="auto">
            <a:xfrm>
              <a:off x="4537844" y="3500334"/>
              <a:ext cx="3546222" cy="2460154"/>
            </a:xfrm>
            <a:prstGeom prst="rect">
              <a:avLst/>
            </a:prstGeom>
            <a:noFill/>
            <a:ln w="12700">
              <a:solidFill>
                <a:schemeClr val="accent1"/>
              </a:solidFill>
              <a:miter lim="800000"/>
              <a:headEnd/>
              <a:tailEnd/>
            </a:ln>
          </p:spPr>
        </p:pic>
        <p:pic>
          <p:nvPicPr>
            <p:cNvPr id="643099" name="Picture 11"/>
            <p:cNvPicPr>
              <a:picLocks noChangeArrowheads="1"/>
            </p:cNvPicPr>
            <p:nvPr/>
          </p:nvPicPr>
          <p:blipFill>
            <a:blip r:embed="rId17" cstate="email">
              <a:extLst>
                <a:ext uri="{28A0092B-C50C-407E-A947-70E740481C1C}">
                  <a14:useLocalDpi xmlns:a14="http://schemas.microsoft.com/office/drawing/2010/main"/>
                </a:ext>
              </a:extLst>
            </a:blip>
            <a:srcRect/>
            <a:stretch>
              <a:fillRect/>
            </a:stretch>
          </p:blipFill>
          <p:spPr bwMode="auto">
            <a:xfrm>
              <a:off x="5169099" y="3902760"/>
              <a:ext cx="3546222" cy="2460154"/>
            </a:xfrm>
            <a:prstGeom prst="rect">
              <a:avLst/>
            </a:prstGeom>
            <a:noFill/>
            <a:ln w="12700">
              <a:solidFill>
                <a:schemeClr val="accent1"/>
              </a:solidFill>
              <a:miter lim="800000"/>
              <a:headEnd/>
              <a:tailEnd/>
            </a:ln>
          </p:spPr>
        </p:pic>
      </p:grpSp>
      <p:sp>
        <p:nvSpPr>
          <p:cNvPr id="643100" name="Rectangle 12"/>
          <p:cNvSpPr>
            <a:spLocks noGrp="1" noChangeArrowheads="1"/>
          </p:cNvSpPr>
          <p:nvPr>
            <p:ph type="title"/>
            <p:custDataLst>
              <p:tags r:id="rId4"/>
            </p:custDataLst>
          </p:nvPr>
        </p:nvSpPr>
        <p:spPr>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marL="465138"/>
            <a:r>
              <a:rPr lang="en-US" altLang="ja-JP" dirty="0"/>
              <a:t>Toolbox: Day 1/Day 100 deliverables by function</a:t>
            </a:r>
          </a:p>
        </p:txBody>
      </p:sp>
      <p:sp>
        <p:nvSpPr>
          <p:cNvPr id="15" name="5. Source"/>
          <p:cNvSpPr>
            <a:spLocks noChangeArrowheads="1"/>
          </p:cNvSpPr>
          <p:nvPr>
            <p:custDataLst>
              <p:tags r:id="rId5"/>
            </p:custDataLst>
          </p:nvPr>
        </p:nvSpPr>
        <p:spPr bwMode="gray">
          <a:xfrm>
            <a:off x="119063" y="6507558"/>
            <a:ext cx="7200000" cy="123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marL="609600" indent="-609600" defTabSz="895350">
              <a:tabLst>
                <a:tab pos="612775" algn="l"/>
              </a:tabLst>
            </a:pPr>
            <a:r>
              <a:rPr lang="en-US" altLang="zh-CN" sz="800" dirty="0">
                <a:solidFill>
                  <a:schemeClr val="accent6"/>
                </a:solidFill>
                <a:latin typeface="Arial" panose="020B0604020202020204" pitchFamily="34" charset="0"/>
              </a:rPr>
              <a:t>SOURCE: McKinsey Merger Management Practice</a:t>
            </a:r>
          </a:p>
        </p:txBody>
      </p:sp>
      <p:sp>
        <p:nvSpPr>
          <p:cNvPr id="17" name="Title Tracker Circle">
            <a:extLst>
              <a:ext uri="{FF2B5EF4-FFF2-40B4-BE49-F238E27FC236}">
                <a16:creationId xmlns:a16="http://schemas.microsoft.com/office/drawing/2014/main" id="{3C8A80DA-B8C5-406A-B497-9C6C3481426F}"/>
              </a:ext>
            </a:extLst>
          </p:cNvPr>
          <p:cNvSpPr/>
          <p:nvPr/>
        </p:nvSpPr>
        <p:spPr>
          <a:xfrm>
            <a:off x="119063" y="166736"/>
            <a:ext cx="418798" cy="418798"/>
          </a:xfrm>
          <a:prstGeom prst="ellipse">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p>
            <a:pPr algn="ctr"/>
            <a:r>
              <a:rPr lang="en-US" sz="2000" dirty="0">
                <a:solidFill>
                  <a:schemeClr val="tx2"/>
                </a:solidFill>
                <a:latin typeface="+mj-lt"/>
              </a:rPr>
              <a:t>5</a:t>
            </a:r>
          </a:p>
        </p:txBody>
      </p:sp>
    </p:spTree>
    <p:custDataLst>
      <p:tags r:id="rId2"/>
    </p:custDataLst>
    <p:extLst>
      <p:ext uri="{BB962C8B-B14F-4D97-AF65-F5344CB8AC3E}">
        <p14:creationId xmlns:p14="http://schemas.microsoft.com/office/powerpoint/2010/main" val="292951550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50258" name="Object 18" hidden="1"/>
          <p:cNvGraphicFramePr>
            <a:graphicFrameLocks noChangeAspect="1"/>
          </p:cNvGraphicFramePr>
          <p:nvPr>
            <p:custDataLst>
              <p:tags r:id="rId3"/>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94932" name="think-cell Slide" r:id="rId10" imgW="360" imgH="360" progId="TCLayout.ActiveDocument.1">
                  <p:embed/>
                </p:oleObj>
              </mc:Choice>
              <mc:Fallback>
                <p:oleObj name="think-cell Slide" r:id="rId10" imgW="360" imgH="360" progId="TCLayout.ActiveDocument.1">
                  <p:embed/>
                  <p:pic>
                    <p:nvPicPr>
                      <p:cNvPr id="650258" name="Object 18" hidden="1"/>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marL="465138"/>
            <a:r>
              <a:rPr lang="en-US" dirty="0"/>
              <a:t>Toolbox: WAVE for Merger Management</a:t>
            </a:r>
          </a:p>
        </p:txBody>
      </p:sp>
      <p:sp>
        <p:nvSpPr>
          <p:cNvPr id="24" name="3. Unit of measure"/>
          <p:cNvSpPr txBox="1">
            <a:spLocks noChangeArrowheads="1"/>
          </p:cNvSpPr>
          <p:nvPr/>
        </p:nvSpPr>
        <p:spPr bwMode="auto">
          <a:xfrm>
            <a:off x="119063" y="554865"/>
            <a:ext cx="8618537"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defPPr>
              <a:defRPr lang="en-US"/>
            </a:defPPr>
            <a:lvl1pPr defTabSz="895350">
              <a:defRPr baseline="0">
                <a:solidFill>
                  <a:schemeClr val="accent6"/>
                </a:solidFill>
                <a:latin typeface="+mn-lt"/>
              </a:defRPr>
            </a:lvl1pPr>
            <a:lvl2pPr marL="447675" defTabSz="895350">
              <a:defRPr sz="2400"/>
            </a:lvl2pPr>
            <a:lvl3pPr marL="895350" defTabSz="895350">
              <a:defRPr sz="2400"/>
            </a:lvl3pPr>
            <a:lvl4pPr marL="1344613" defTabSz="895350">
              <a:defRPr sz="2400"/>
            </a:lvl4pPr>
            <a:lvl5pPr marL="1792288" defTabSz="895350">
              <a:defRPr sz="2400"/>
            </a:lvl5pPr>
            <a:lvl6pPr marL="2249488" defTabSz="895350" fontAlgn="base">
              <a:spcBef>
                <a:spcPct val="0"/>
              </a:spcBef>
              <a:spcAft>
                <a:spcPct val="0"/>
              </a:spcAft>
              <a:defRPr sz="2400"/>
            </a:lvl6pPr>
            <a:lvl7pPr marL="2706688" defTabSz="895350" fontAlgn="base">
              <a:spcBef>
                <a:spcPct val="0"/>
              </a:spcBef>
              <a:spcAft>
                <a:spcPct val="0"/>
              </a:spcAft>
              <a:defRPr sz="2400"/>
            </a:lvl7pPr>
            <a:lvl8pPr marL="3163888" defTabSz="895350" fontAlgn="base">
              <a:spcBef>
                <a:spcPct val="0"/>
              </a:spcBef>
              <a:spcAft>
                <a:spcPct val="0"/>
              </a:spcAft>
              <a:defRPr sz="2400"/>
            </a:lvl8pPr>
            <a:lvl9pPr marL="3621088" defTabSz="895350" fontAlgn="base">
              <a:spcBef>
                <a:spcPct val="0"/>
              </a:spcBef>
              <a:spcAft>
                <a:spcPct val="0"/>
              </a:spcAft>
              <a:defRPr sz="2400"/>
            </a:lvl9pPr>
          </a:lstStyle>
          <a:p>
            <a:pPr marL="457200"/>
            <a:r>
              <a:rPr lang="en-US" altLang="zh-CN" dirty="0"/>
              <a:t>What WAVE allows you to do – key features</a:t>
            </a:r>
          </a:p>
        </p:txBody>
      </p:sp>
      <p:grpSp>
        <p:nvGrpSpPr>
          <p:cNvPr id="7" name="Group 6">
            <a:extLst>
              <a:ext uri="{FF2B5EF4-FFF2-40B4-BE49-F238E27FC236}">
                <a16:creationId xmlns:a16="http://schemas.microsoft.com/office/drawing/2014/main" id="{865ABAC1-3774-4065-9A95-F2C6CF25116C}"/>
              </a:ext>
            </a:extLst>
          </p:cNvPr>
          <p:cNvGrpSpPr/>
          <p:nvPr/>
        </p:nvGrpSpPr>
        <p:grpSpPr>
          <a:xfrm>
            <a:off x="0" y="1219235"/>
            <a:ext cx="8961438" cy="1061928"/>
            <a:chOff x="0" y="1281217"/>
            <a:chExt cx="8961438" cy="1061928"/>
          </a:xfrm>
        </p:grpSpPr>
        <p:sp>
          <p:nvSpPr>
            <p:cNvPr id="8" name="Rectangle 7"/>
            <p:cNvSpPr>
              <a:spLocks/>
            </p:cNvSpPr>
            <p:nvPr/>
          </p:nvSpPr>
          <p:spPr>
            <a:xfrm>
              <a:off x="0" y="1281217"/>
              <a:ext cx="8961438" cy="1061928"/>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650259" name="Rectangle 2"/>
            <p:cNvSpPr>
              <a:spLocks noChangeArrowheads="1"/>
            </p:cNvSpPr>
            <p:nvPr/>
          </p:nvSpPr>
          <p:spPr bwMode="gray">
            <a:xfrm>
              <a:off x="576820" y="1565960"/>
              <a:ext cx="1952617" cy="492443"/>
            </a:xfrm>
            <a:prstGeom prst="rect">
              <a:avLst/>
            </a:prstGeom>
            <a:noFill/>
            <a:ln w="9525">
              <a:noFill/>
              <a:miter lim="800000"/>
              <a:headEnd/>
              <a:tailEnd/>
            </a:ln>
          </p:spPr>
          <p:txBody>
            <a:bodyPr wrap="square" lIns="0" tIns="0" rIns="0" bIns="0" anchor="ctr">
              <a:spAutoFit/>
            </a:bodyPr>
            <a:lstStyle/>
            <a:p>
              <a:r>
                <a:rPr lang="en-US" altLang="ja-JP" b="1" dirty="0">
                  <a:solidFill>
                    <a:srgbClr val="0065BD"/>
                  </a:solidFill>
                  <a:cs typeface="Arial" charset="0"/>
                </a:rPr>
                <a:t>Generate and capture ideas</a:t>
              </a:r>
            </a:p>
          </p:txBody>
        </p:sp>
        <p:sp>
          <p:nvSpPr>
            <p:cNvPr id="650267" name="TextBox 6"/>
            <p:cNvSpPr>
              <a:spLocks noChangeArrowheads="1"/>
            </p:cNvSpPr>
            <p:nvPr>
              <p:custDataLst>
                <p:tags r:id="rId8"/>
              </p:custDataLst>
            </p:nvPr>
          </p:nvSpPr>
          <p:spPr bwMode="auto">
            <a:xfrm rot="21540000">
              <a:off x="239865" y="1680428"/>
              <a:ext cx="264972" cy="263507"/>
            </a:xfrm>
            <a:prstGeom prst="ellipse">
              <a:avLst/>
            </a:prstGeom>
            <a:solidFill>
              <a:schemeClr val="accent3"/>
            </a:solidFill>
            <a:ln w="12700" algn="ctr">
              <a:noFill/>
              <a:round/>
              <a:headEnd/>
              <a:tailEnd/>
            </a:ln>
            <a:effectLst>
              <a:outerShdw blurRad="63500" sx="102000" sy="102000" algn="ctr" rotWithShape="0">
                <a:prstClr val="black">
                  <a:alpha val="40000"/>
                </a:prstClr>
              </a:outerShdw>
            </a:effectLst>
            <a:extLst>
              <a:ext uri="{91240B29-F687-4F45-9708-019B960494DF}">
                <a14:hiddenLine xmlns:a14="http://schemas.microsoft.com/office/drawing/2010/main" w="12700" algn="ctr">
                  <a:solidFill>
                    <a:schemeClr val="bg2"/>
                  </a:solidFill>
                  <a:round/>
                  <a:headEnd/>
                  <a:tailEnd/>
                </a14:hiddenLine>
              </a:ext>
            </a:extLst>
          </p:spPr>
          <p:txBody>
            <a:bodyPr lIns="0" tIns="0" rIns="0" bIns="0" anchor="ctr">
              <a:noAutofit/>
            </a:bodyPr>
            <a:lstStyle/>
            <a:p>
              <a:pPr algn="ctr"/>
              <a:r>
                <a:rPr lang="en-US" altLang="ja-JP" b="1" dirty="0">
                  <a:solidFill>
                    <a:srgbClr val="FFFFFF"/>
                  </a:solidFill>
                  <a:ea typeface="MS PGothic" pitchFamily="34" charset="-128"/>
                </a:rPr>
                <a:t>1</a:t>
              </a:r>
            </a:p>
          </p:txBody>
        </p:sp>
        <p:pic>
          <p:nvPicPr>
            <p:cNvPr id="650260" name="Picture 3"/>
            <p:cNvPicPr>
              <a:picLocks noChangeArrowheads="1"/>
            </p:cNvPicPr>
            <p:nvPr/>
          </p:nvPicPr>
          <p:blipFill>
            <a:blip r:embed="rId12" cstate="email">
              <a:extLst>
                <a:ext uri="{28A0092B-C50C-407E-A947-70E740481C1C}">
                  <a14:useLocalDpi xmlns:a14="http://schemas.microsoft.com/office/drawing/2010/main"/>
                </a:ext>
              </a:extLst>
            </a:blip>
            <a:srcRect/>
            <a:stretch>
              <a:fillRect/>
            </a:stretch>
          </p:blipFill>
          <p:spPr bwMode="auto">
            <a:xfrm>
              <a:off x="2601420" y="1413260"/>
              <a:ext cx="1913325" cy="797842"/>
            </a:xfrm>
            <a:prstGeom prst="rect">
              <a:avLst/>
            </a:prstGeom>
            <a:noFill/>
            <a:ln w="19050" algn="ctr">
              <a:solidFill>
                <a:schemeClr val="accent1"/>
              </a:solidFill>
              <a:miter lim="800000"/>
              <a:headEnd/>
              <a:tailEnd/>
            </a:ln>
          </p:spPr>
        </p:pic>
        <p:sp>
          <p:nvSpPr>
            <p:cNvPr id="650271" name="Rectangle 19"/>
            <p:cNvSpPr>
              <a:spLocks noChangeArrowheads="1"/>
            </p:cNvSpPr>
            <p:nvPr/>
          </p:nvSpPr>
          <p:spPr bwMode="auto">
            <a:xfrm>
              <a:off x="4586727" y="1565960"/>
              <a:ext cx="4134847" cy="492443"/>
            </a:xfrm>
            <a:prstGeom prst="rect">
              <a:avLst/>
            </a:prstGeom>
            <a:noFill/>
            <a:ln w="9525">
              <a:noFill/>
              <a:miter lim="800000"/>
              <a:headEnd/>
              <a:tailEnd/>
            </a:ln>
          </p:spPr>
          <p:txBody>
            <a:bodyPr wrap="square" lIns="0" tIns="0" rIns="0" bIns="0">
              <a:spAutoFit/>
            </a:bodyPr>
            <a:lstStyle/>
            <a:p>
              <a:pPr marL="193675" lvl="1" indent="-192088" defTabSz="895350">
                <a:spcBef>
                  <a:spcPct val="20000"/>
                </a:spcBef>
                <a:buClr>
                  <a:srgbClr val="062859"/>
                </a:buClr>
                <a:buSzPct val="125000"/>
                <a:buFont typeface="Arial" charset="0"/>
                <a:buChar char="▪"/>
              </a:pPr>
              <a:r>
                <a:rPr lang="en-US" altLang="ja-JP" dirty="0">
                  <a:solidFill>
                    <a:srgbClr val="000000"/>
                  </a:solidFill>
                  <a:cs typeface="Arial" charset="0"/>
                </a:rPr>
                <a:t>Capture and share initiatives by typing them into “index cards”</a:t>
              </a:r>
            </a:p>
          </p:txBody>
        </p:sp>
      </p:grpSp>
      <p:grpSp>
        <p:nvGrpSpPr>
          <p:cNvPr id="6" name="Group 5">
            <a:extLst>
              <a:ext uri="{FF2B5EF4-FFF2-40B4-BE49-F238E27FC236}">
                <a16:creationId xmlns:a16="http://schemas.microsoft.com/office/drawing/2014/main" id="{75CB51CF-1037-4BD7-92FA-F1CCC8FB4CB5}"/>
              </a:ext>
            </a:extLst>
          </p:cNvPr>
          <p:cNvGrpSpPr/>
          <p:nvPr/>
        </p:nvGrpSpPr>
        <p:grpSpPr>
          <a:xfrm>
            <a:off x="0" y="2488650"/>
            <a:ext cx="8961438" cy="1061928"/>
            <a:chOff x="0" y="2550632"/>
            <a:chExt cx="8961438" cy="1061928"/>
          </a:xfrm>
        </p:grpSpPr>
        <p:sp>
          <p:nvSpPr>
            <p:cNvPr id="41" name="Rectangle 40"/>
            <p:cNvSpPr>
              <a:spLocks/>
            </p:cNvSpPr>
            <p:nvPr/>
          </p:nvSpPr>
          <p:spPr>
            <a:xfrm>
              <a:off x="0" y="2550632"/>
              <a:ext cx="8961438" cy="1061928"/>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650262" name="Rectangle 2"/>
            <p:cNvSpPr>
              <a:spLocks noChangeArrowheads="1"/>
            </p:cNvSpPr>
            <p:nvPr/>
          </p:nvSpPr>
          <p:spPr bwMode="gray">
            <a:xfrm>
              <a:off x="576820" y="2835375"/>
              <a:ext cx="1952617" cy="492443"/>
            </a:xfrm>
            <a:prstGeom prst="rect">
              <a:avLst/>
            </a:prstGeom>
            <a:noFill/>
            <a:ln w="9525">
              <a:noFill/>
              <a:miter lim="800000"/>
              <a:headEnd/>
              <a:tailEnd/>
            </a:ln>
          </p:spPr>
          <p:txBody>
            <a:bodyPr wrap="square" lIns="0" tIns="0" rIns="0" bIns="0" anchor="ctr">
              <a:spAutoFit/>
            </a:bodyPr>
            <a:lstStyle/>
            <a:p>
              <a:r>
                <a:rPr lang="en-US" altLang="ja-JP" b="1" dirty="0">
                  <a:solidFill>
                    <a:srgbClr val="0065BD"/>
                  </a:solidFill>
                  <a:cs typeface="Arial" charset="0"/>
                </a:rPr>
                <a:t>Prioritize and elaborate initiatives</a:t>
              </a:r>
            </a:p>
          </p:txBody>
        </p:sp>
        <p:sp>
          <p:nvSpPr>
            <p:cNvPr id="650268" name="TextBox 6"/>
            <p:cNvSpPr>
              <a:spLocks noChangeArrowheads="1"/>
            </p:cNvSpPr>
            <p:nvPr>
              <p:custDataLst>
                <p:tags r:id="rId7"/>
              </p:custDataLst>
            </p:nvPr>
          </p:nvSpPr>
          <p:spPr bwMode="auto">
            <a:xfrm rot="21540000">
              <a:off x="242095" y="2949843"/>
              <a:ext cx="262742" cy="263507"/>
            </a:xfrm>
            <a:prstGeom prst="ellipse">
              <a:avLst/>
            </a:prstGeom>
            <a:solidFill>
              <a:schemeClr val="accent3"/>
            </a:solidFill>
            <a:ln w="12700" algn="ctr">
              <a:noFill/>
              <a:round/>
              <a:headEnd/>
              <a:tailEnd/>
            </a:ln>
            <a:effectLst>
              <a:outerShdw blurRad="63500" sx="102000" sy="102000" algn="ctr" rotWithShape="0">
                <a:prstClr val="black">
                  <a:alpha val="40000"/>
                </a:prstClr>
              </a:outerShdw>
            </a:effectLst>
            <a:extLst>
              <a:ext uri="{91240B29-F687-4F45-9708-019B960494DF}">
                <a14:hiddenLine xmlns:a14="http://schemas.microsoft.com/office/drawing/2010/main" w="12700" algn="ctr">
                  <a:solidFill>
                    <a:schemeClr val="bg2"/>
                  </a:solidFill>
                  <a:round/>
                  <a:headEnd/>
                  <a:tailEnd/>
                </a14:hiddenLine>
              </a:ext>
            </a:extLst>
          </p:spPr>
          <p:txBody>
            <a:bodyPr lIns="0" tIns="0" rIns="0" bIns="0" anchor="ctr">
              <a:noAutofit/>
            </a:bodyPr>
            <a:lstStyle/>
            <a:p>
              <a:pPr algn="ctr"/>
              <a:r>
                <a:rPr lang="en-US" altLang="ja-JP" b="1" dirty="0">
                  <a:solidFill>
                    <a:srgbClr val="FFFFFF"/>
                  </a:solidFill>
                  <a:ea typeface="MS PGothic" pitchFamily="34" charset="-128"/>
                </a:rPr>
                <a:t>2</a:t>
              </a:r>
            </a:p>
          </p:txBody>
        </p:sp>
        <p:pic>
          <p:nvPicPr>
            <p:cNvPr id="650261" name="Picture 4"/>
            <p:cNvPicPr>
              <a:picLocks noChangeArrowheads="1"/>
            </p:cNvPicPr>
            <p:nvPr/>
          </p:nvPicPr>
          <p:blipFill>
            <a:blip r:embed="rId13" cstate="email">
              <a:extLst>
                <a:ext uri="{28A0092B-C50C-407E-A947-70E740481C1C}">
                  <a14:useLocalDpi xmlns:a14="http://schemas.microsoft.com/office/drawing/2010/main"/>
                </a:ext>
              </a:extLst>
            </a:blip>
            <a:srcRect/>
            <a:stretch>
              <a:fillRect/>
            </a:stretch>
          </p:blipFill>
          <p:spPr bwMode="auto">
            <a:xfrm>
              <a:off x="2601420" y="2682675"/>
              <a:ext cx="1913325" cy="797842"/>
            </a:xfrm>
            <a:prstGeom prst="rect">
              <a:avLst/>
            </a:prstGeom>
            <a:noFill/>
            <a:ln w="19050" algn="ctr">
              <a:solidFill>
                <a:schemeClr val="accent1"/>
              </a:solidFill>
              <a:miter lim="800000"/>
              <a:headEnd/>
              <a:tailEnd/>
            </a:ln>
          </p:spPr>
        </p:pic>
        <p:sp>
          <p:nvSpPr>
            <p:cNvPr id="650272" name="Rectangle 20"/>
            <p:cNvSpPr>
              <a:spLocks noChangeArrowheads="1"/>
            </p:cNvSpPr>
            <p:nvPr/>
          </p:nvSpPr>
          <p:spPr bwMode="auto">
            <a:xfrm>
              <a:off x="4586727" y="2712264"/>
              <a:ext cx="4134847" cy="738664"/>
            </a:xfrm>
            <a:prstGeom prst="rect">
              <a:avLst/>
            </a:prstGeom>
            <a:noFill/>
            <a:ln w="9525">
              <a:noFill/>
              <a:miter lim="800000"/>
              <a:headEnd/>
              <a:tailEnd/>
            </a:ln>
          </p:spPr>
          <p:txBody>
            <a:bodyPr wrap="square" lIns="0" tIns="0" rIns="0" bIns="0">
              <a:spAutoFit/>
            </a:bodyPr>
            <a:lstStyle/>
            <a:p>
              <a:pPr marL="193675" lvl="1" indent="-192088" defTabSz="895350">
                <a:spcBef>
                  <a:spcPct val="20000"/>
                </a:spcBef>
                <a:buClr>
                  <a:srgbClr val="062859"/>
                </a:buClr>
                <a:buSzPct val="125000"/>
                <a:buFont typeface="Arial" charset="0"/>
                <a:buChar char="▪"/>
              </a:pPr>
              <a:r>
                <a:rPr lang="en-US" altLang="ja-JP" dirty="0">
                  <a:solidFill>
                    <a:srgbClr val="000000"/>
                  </a:solidFill>
                  <a:cs typeface="Arial" charset="0"/>
                </a:rPr>
                <a:t>Define the specific activities and timeline needed to implement each initiative; assign an owner and deadline for each action </a:t>
              </a:r>
            </a:p>
          </p:txBody>
        </p:sp>
      </p:grpSp>
      <p:grpSp>
        <p:nvGrpSpPr>
          <p:cNvPr id="5" name="Group 4">
            <a:extLst>
              <a:ext uri="{FF2B5EF4-FFF2-40B4-BE49-F238E27FC236}">
                <a16:creationId xmlns:a16="http://schemas.microsoft.com/office/drawing/2014/main" id="{FB50AABB-E7C5-42ED-B407-3D35761B6772}"/>
              </a:ext>
            </a:extLst>
          </p:cNvPr>
          <p:cNvGrpSpPr/>
          <p:nvPr/>
        </p:nvGrpSpPr>
        <p:grpSpPr>
          <a:xfrm>
            <a:off x="0" y="3758065"/>
            <a:ext cx="8961438" cy="1061928"/>
            <a:chOff x="0" y="3820047"/>
            <a:chExt cx="8961438" cy="1061928"/>
          </a:xfrm>
        </p:grpSpPr>
        <p:sp>
          <p:nvSpPr>
            <p:cNvPr id="42" name="Rectangle 41"/>
            <p:cNvSpPr>
              <a:spLocks/>
            </p:cNvSpPr>
            <p:nvPr/>
          </p:nvSpPr>
          <p:spPr>
            <a:xfrm>
              <a:off x="0" y="3820047"/>
              <a:ext cx="8961438" cy="1061928"/>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650264" name="Rectangle 2"/>
            <p:cNvSpPr>
              <a:spLocks noChangeArrowheads="1"/>
            </p:cNvSpPr>
            <p:nvPr/>
          </p:nvSpPr>
          <p:spPr bwMode="gray">
            <a:xfrm>
              <a:off x="576820" y="4227901"/>
              <a:ext cx="1952617" cy="246221"/>
            </a:xfrm>
            <a:prstGeom prst="rect">
              <a:avLst/>
            </a:prstGeom>
            <a:noFill/>
            <a:ln w="9525">
              <a:noFill/>
              <a:miter lim="800000"/>
              <a:headEnd/>
              <a:tailEnd/>
            </a:ln>
          </p:spPr>
          <p:txBody>
            <a:bodyPr wrap="square" lIns="0" tIns="0" rIns="0" bIns="0" anchor="ctr">
              <a:spAutoFit/>
            </a:bodyPr>
            <a:lstStyle/>
            <a:p>
              <a:r>
                <a:rPr lang="en-US" altLang="ja-JP" b="1" dirty="0">
                  <a:solidFill>
                    <a:srgbClr val="0065BD"/>
                  </a:solidFill>
                  <a:cs typeface="Arial" charset="0"/>
                </a:rPr>
                <a:t>Evaluate progress</a:t>
              </a:r>
            </a:p>
          </p:txBody>
        </p:sp>
        <p:sp>
          <p:nvSpPr>
            <p:cNvPr id="650269" name="TextBox 6"/>
            <p:cNvSpPr>
              <a:spLocks noChangeArrowheads="1"/>
            </p:cNvSpPr>
            <p:nvPr>
              <p:custDataLst>
                <p:tags r:id="rId6"/>
              </p:custDataLst>
            </p:nvPr>
          </p:nvSpPr>
          <p:spPr bwMode="auto">
            <a:xfrm rot="21540000">
              <a:off x="242095" y="4219258"/>
              <a:ext cx="262742" cy="263507"/>
            </a:xfrm>
            <a:prstGeom prst="ellipse">
              <a:avLst/>
            </a:prstGeom>
            <a:solidFill>
              <a:schemeClr val="accent3"/>
            </a:solidFill>
            <a:ln w="12700" algn="ctr">
              <a:noFill/>
              <a:round/>
              <a:headEnd/>
              <a:tailEnd/>
            </a:ln>
            <a:effectLst>
              <a:outerShdw blurRad="63500" sx="102000" sy="102000" algn="ctr" rotWithShape="0">
                <a:prstClr val="black">
                  <a:alpha val="40000"/>
                </a:prstClr>
              </a:outerShdw>
            </a:effectLst>
            <a:extLst>
              <a:ext uri="{91240B29-F687-4F45-9708-019B960494DF}">
                <a14:hiddenLine xmlns:a14="http://schemas.microsoft.com/office/drawing/2010/main" w="12700" algn="ctr">
                  <a:solidFill>
                    <a:schemeClr val="bg2"/>
                  </a:solidFill>
                  <a:round/>
                  <a:headEnd/>
                  <a:tailEnd/>
                </a14:hiddenLine>
              </a:ext>
            </a:extLst>
          </p:spPr>
          <p:txBody>
            <a:bodyPr lIns="0" tIns="0" rIns="0" bIns="0" anchor="ctr">
              <a:noAutofit/>
            </a:bodyPr>
            <a:lstStyle/>
            <a:p>
              <a:pPr algn="ctr"/>
              <a:r>
                <a:rPr lang="en-US" altLang="ja-JP" b="1" dirty="0">
                  <a:solidFill>
                    <a:srgbClr val="FFFFFF"/>
                  </a:solidFill>
                  <a:ea typeface="MS PGothic" pitchFamily="34" charset="-128"/>
                </a:rPr>
                <a:t>3</a:t>
              </a:r>
            </a:p>
          </p:txBody>
        </p:sp>
        <p:pic>
          <p:nvPicPr>
            <p:cNvPr id="650263" name="Picture 5"/>
            <p:cNvPicPr>
              <a:picLocks noChangeArrowheads="1"/>
            </p:cNvPicPr>
            <p:nvPr/>
          </p:nvPicPr>
          <p:blipFill>
            <a:blip r:embed="rId14" cstate="email">
              <a:extLst>
                <a:ext uri="{28A0092B-C50C-407E-A947-70E740481C1C}">
                  <a14:useLocalDpi xmlns:a14="http://schemas.microsoft.com/office/drawing/2010/main"/>
                </a:ext>
              </a:extLst>
            </a:blip>
            <a:srcRect/>
            <a:stretch>
              <a:fillRect/>
            </a:stretch>
          </p:blipFill>
          <p:spPr bwMode="auto">
            <a:xfrm>
              <a:off x="2601420" y="3952090"/>
              <a:ext cx="1913325" cy="797842"/>
            </a:xfrm>
            <a:prstGeom prst="rect">
              <a:avLst/>
            </a:prstGeom>
            <a:noFill/>
            <a:ln w="19050" algn="ctr">
              <a:solidFill>
                <a:schemeClr val="accent1"/>
              </a:solidFill>
              <a:miter lim="800000"/>
              <a:headEnd/>
              <a:tailEnd/>
            </a:ln>
          </p:spPr>
        </p:pic>
        <p:sp>
          <p:nvSpPr>
            <p:cNvPr id="650273" name="Rectangle 21"/>
            <p:cNvSpPr>
              <a:spLocks noChangeArrowheads="1"/>
            </p:cNvSpPr>
            <p:nvPr/>
          </p:nvSpPr>
          <p:spPr bwMode="auto">
            <a:xfrm>
              <a:off x="4586727" y="3981679"/>
              <a:ext cx="4134847" cy="738664"/>
            </a:xfrm>
            <a:prstGeom prst="rect">
              <a:avLst/>
            </a:prstGeom>
            <a:noFill/>
            <a:ln w="9525">
              <a:noFill/>
              <a:miter lim="800000"/>
              <a:headEnd/>
              <a:tailEnd/>
            </a:ln>
          </p:spPr>
          <p:txBody>
            <a:bodyPr wrap="square" lIns="0" tIns="0" rIns="0" bIns="0">
              <a:spAutoFit/>
            </a:bodyPr>
            <a:lstStyle/>
            <a:p>
              <a:pPr marL="193675" lvl="1" indent="-192088" defTabSz="895350">
                <a:spcBef>
                  <a:spcPct val="20000"/>
                </a:spcBef>
                <a:buClr>
                  <a:srgbClr val="062859"/>
                </a:buClr>
                <a:buSzPct val="125000"/>
                <a:buFont typeface="Arial" charset="0"/>
                <a:buChar char="▪"/>
              </a:pPr>
              <a:r>
                <a:rPr lang="en-US" altLang="ja-JP" dirty="0">
                  <a:solidFill>
                    <a:srgbClr val="000000"/>
                  </a:solidFill>
                  <a:cs typeface="Arial" charset="0"/>
                </a:rPr>
                <a:t>Visualize your progress by viewing the cards in pivot tables sorted by end date, owner, status, department etc.</a:t>
              </a:r>
            </a:p>
          </p:txBody>
        </p:sp>
      </p:grpSp>
      <p:grpSp>
        <p:nvGrpSpPr>
          <p:cNvPr id="4" name="Group 3">
            <a:extLst>
              <a:ext uri="{FF2B5EF4-FFF2-40B4-BE49-F238E27FC236}">
                <a16:creationId xmlns:a16="http://schemas.microsoft.com/office/drawing/2014/main" id="{040E7650-F9AB-4C2A-8D9E-E8C4B1AC4DAF}"/>
              </a:ext>
            </a:extLst>
          </p:cNvPr>
          <p:cNvGrpSpPr/>
          <p:nvPr/>
        </p:nvGrpSpPr>
        <p:grpSpPr>
          <a:xfrm>
            <a:off x="0" y="5027481"/>
            <a:ext cx="8961438" cy="1061928"/>
            <a:chOff x="0" y="5089463"/>
            <a:chExt cx="8961438" cy="1061928"/>
          </a:xfrm>
        </p:grpSpPr>
        <p:sp>
          <p:nvSpPr>
            <p:cNvPr id="43" name="Rectangle 42"/>
            <p:cNvSpPr>
              <a:spLocks/>
            </p:cNvSpPr>
            <p:nvPr/>
          </p:nvSpPr>
          <p:spPr>
            <a:xfrm>
              <a:off x="0" y="5089463"/>
              <a:ext cx="8961438" cy="1061928"/>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650266" name="Rectangle 2"/>
            <p:cNvSpPr>
              <a:spLocks noChangeArrowheads="1"/>
            </p:cNvSpPr>
            <p:nvPr/>
          </p:nvSpPr>
          <p:spPr bwMode="gray">
            <a:xfrm>
              <a:off x="576820" y="5497317"/>
              <a:ext cx="1952617" cy="246221"/>
            </a:xfrm>
            <a:prstGeom prst="rect">
              <a:avLst/>
            </a:prstGeom>
            <a:noFill/>
            <a:ln w="9525">
              <a:noFill/>
              <a:miter lim="800000"/>
              <a:headEnd/>
              <a:tailEnd/>
            </a:ln>
          </p:spPr>
          <p:txBody>
            <a:bodyPr wrap="square" lIns="0" tIns="0" rIns="0" bIns="0" anchor="ctr">
              <a:spAutoFit/>
            </a:bodyPr>
            <a:lstStyle/>
            <a:p>
              <a:r>
                <a:rPr lang="en-US" altLang="ja-JP" b="1" dirty="0">
                  <a:solidFill>
                    <a:srgbClr val="0065BD"/>
                  </a:solidFill>
                  <a:cs typeface="Arial" charset="0"/>
                </a:rPr>
                <a:t>Monitor impact</a:t>
              </a:r>
            </a:p>
          </p:txBody>
        </p:sp>
        <p:sp>
          <p:nvSpPr>
            <p:cNvPr id="650270" name="TextBox 6"/>
            <p:cNvSpPr>
              <a:spLocks noChangeArrowheads="1"/>
            </p:cNvSpPr>
            <p:nvPr>
              <p:custDataLst>
                <p:tags r:id="rId5"/>
              </p:custDataLst>
            </p:nvPr>
          </p:nvSpPr>
          <p:spPr bwMode="auto">
            <a:xfrm rot="21540000">
              <a:off x="242096" y="5488674"/>
              <a:ext cx="262741" cy="263507"/>
            </a:xfrm>
            <a:prstGeom prst="ellipse">
              <a:avLst/>
            </a:prstGeom>
            <a:solidFill>
              <a:schemeClr val="accent3"/>
            </a:solidFill>
            <a:ln w="12700" algn="ctr">
              <a:noFill/>
              <a:round/>
              <a:headEnd/>
              <a:tailEnd/>
            </a:ln>
            <a:effectLst>
              <a:outerShdw blurRad="63500" sx="102000" sy="102000" algn="ctr" rotWithShape="0">
                <a:prstClr val="black">
                  <a:alpha val="40000"/>
                </a:prstClr>
              </a:outerShdw>
            </a:effectLst>
            <a:extLst>
              <a:ext uri="{91240B29-F687-4F45-9708-019B960494DF}">
                <a14:hiddenLine xmlns:a14="http://schemas.microsoft.com/office/drawing/2010/main" w="12700" algn="ctr">
                  <a:solidFill>
                    <a:schemeClr val="bg2"/>
                  </a:solidFill>
                  <a:round/>
                  <a:headEnd/>
                  <a:tailEnd/>
                </a14:hiddenLine>
              </a:ext>
            </a:extLst>
          </p:spPr>
          <p:txBody>
            <a:bodyPr lIns="0" tIns="0" rIns="0" bIns="0" anchor="ctr">
              <a:noAutofit/>
            </a:bodyPr>
            <a:lstStyle/>
            <a:p>
              <a:pPr algn="ctr"/>
              <a:r>
                <a:rPr lang="en-US" altLang="ja-JP" b="1" dirty="0">
                  <a:solidFill>
                    <a:srgbClr val="FFFFFF"/>
                  </a:solidFill>
                  <a:ea typeface="MS PGothic" pitchFamily="34" charset="-128"/>
                </a:rPr>
                <a:t>4</a:t>
              </a:r>
            </a:p>
          </p:txBody>
        </p:sp>
        <p:pic>
          <p:nvPicPr>
            <p:cNvPr id="650265" name="Picture 6" descr="Wave synergy reporting - total"/>
            <p:cNvPicPr>
              <a:picLocks noChangeArrowheads="1"/>
            </p:cNvPicPr>
            <p:nvPr/>
          </p:nvPicPr>
          <p:blipFill>
            <a:blip r:embed="rId15" cstate="email">
              <a:extLst>
                <a:ext uri="{28A0092B-C50C-407E-A947-70E740481C1C}">
                  <a14:useLocalDpi xmlns:a14="http://schemas.microsoft.com/office/drawing/2010/main"/>
                </a:ext>
              </a:extLst>
            </a:blip>
            <a:srcRect/>
            <a:stretch>
              <a:fillRect/>
            </a:stretch>
          </p:blipFill>
          <p:spPr bwMode="auto">
            <a:xfrm>
              <a:off x="2601420" y="5221506"/>
              <a:ext cx="1913325" cy="797842"/>
            </a:xfrm>
            <a:prstGeom prst="rect">
              <a:avLst/>
            </a:prstGeom>
            <a:noFill/>
            <a:ln w="19050">
              <a:solidFill>
                <a:schemeClr val="accent1"/>
              </a:solidFill>
              <a:miter lim="800000"/>
              <a:headEnd/>
              <a:tailEnd/>
            </a:ln>
          </p:spPr>
        </p:pic>
        <p:sp>
          <p:nvSpPr>
            <p:cNvPr id="650274" name="Rectangle 22"/>
            <p:cNvSpPr>
              <a:spLocks noChangeArrowheads="1"/>
            </p:cNvSpPr>
            <p:nvPr/>
          </p:nvSpPr>
          <p:spPr bwMode="auto">
            <a:xfrm>
              <a:off x="4586727" y="5251095"/>
              <a:ext cx="4134847" cy="738664"/>
            </a:xfrm>
            <a:prstGeom prst="rect">
              <a:avLst/>
            </a:prstGeom>
            <a:noFill/>
            <a:ln w="9525">
              <a:noFill/>
              <a:miter lim="800000"/>
              <a:headEnd/>
              <a:tailEnd/>
            </a:ln>
          </p:spPr>
          <p:txBody>
            <a:bodyPr wrap="square" lIns="0" tIns="0" rIns="0" bIns="0">
              <a:spAutoFit/>
            </a:bodyPr>
            <a:lstStyle/>
            <a:p>
              <a:pPr marL="193675" lvl="1" indent="-192088" defTabSz="895350">
                <a:spcBef>
                  <a:spcPct val="20000"/>
                </a:spcBef>
                <a:buClr>
                  <a:srgbClr val="062859"/>
                </a:buClr>
                <a:buSzPct val="125000"/>
                <a:buFont typeface="Arial" charset="0"/>
                <a:buChar char="▪"/>
              </a:pPr>
              <a:r>
                <a:rPr lang="en-US" altLang="ja-JP" dirty="0">
                  <a:solidFill>
                    <a:srgbClr val="000000"/>
                  </a:solidFill>
                  <a:cs typeface="Arial" charset="0"/>
                </a:rPr>
                <a:t>Built-in reporting allows easy monitoring of impact against planned and forecasted numbers</a:t>
              </a:r>
            </a:p>
          </p:txBody>
        </p:sp>
      </p:grpSp>
      <p:sp>
        <p:nvSpPr>
          <p:cNvPr id="26" name="5. Source"/>
          <p:cNvSpPr>
            <a:spLocks noChangeArrowheads="1"/>
          </p:cNvSpPr>
          <p:nvPr>
            <p:custDataLst>
              <p:tags r:id="rId4"/>
            </p:custDataLst>
          </p:nvPr>
        </p:nvSpPr>
        <p:spPr bwMode="gray">
          <a:xfrm>
            <a:off x="119063" y="6507558"/>
            <a:ext cx="7200000"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marL="609600" indent="-609600" defTabSz="895350">
              <a:tabLst>
                <a:tab pos="612775" algn="l"/>
              </a:tabLst>
            </a:pPr>
            <a:r>
              <a:rPr lang="en-US" altLang="zh-CN" sz="800" dirty="0">
                <a:solidFill>
                  <a:schemeClr val="accent6"/>
                </a:solidFill>
                <a:latin typeface="Arial" panose="020B0604020202020204" pitchFamily="34" charset="0"/>
              </a:rPr>
              <a:t>SOURCE: McKinsey Merger Management Practice</a:t>
            </a:r>
          </a:p>
        </p:txBody>
      </p:sp>
      <p:sp>
        <p:nvSpPr>
          <p:cNvPr id="30" name="Title Tracker Circle">
            <a:extLst>
              <a:ext uri="{FF2B5EF4-FFF2-40B4-BE49-F238E27FC236}">
                <a16:creationId xmlns:a16="http://schemas.microsoft.com/office/drawing/2014/main" id="{6AE5B986-D5B9-4E75-B1F0-20ECC9034199}"/>
              </a:ext>
            </a:extLst>
          </p:cNvPr>
          <p:cNvSpPr/>
          <p:nvPr/>
        </p:nvSpPr>
        <p:spPr>
          <a:xfrm>
            <a:off x="119063" y="166736"/>
            <a:ext cx="418798" cy="418798"/>
          </a:xfrm>
          <a:prstGeom prst="ellipse">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p>
            <a:pPr algn="ctr"/>
            <a:r>
              <a:rPr lang="en-US" sz="2000" dirty="0">
                <a:solidFill>
                  <a:schemeClr val="tx2"/>
                </a:solidFill>
                <a:latin typeface="+mj-lt"/>
              </a:rPr>
              <a:t>6</a:t>
            </a:r>
          </a:p>
        </p:txBody>
      </p:sp>
    </p:spTree>
    <p:custDataLst>
      <p:tags r:id="rId2"/>
    </p:custDataLst>
    <p:extLst>
      <p:ext uri="{BB962C8B-B14F-4D97-AF65-F5344CB8AC3E}">
        <p14:creationId xmlns:p14="http://schemas.microsoft.com/office/powerpoint/2010/main" val="3303467586"/>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1341" name="Rectangle 2"/>
          <p:cNvSpPr>
            <a:spLocks noGrp="1" noChangeArrowheads="1"/>
          </p:cNvSpPr>
          <p:nvPr>
            <p:ph type="title"/>
          </p:nvPr>
        </p:nvSpPr>
        <p:spPr>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marL="465138"/>
            <a:r>
              <a:rPr lang="en-US" altLang="ja-JP" dirty="0"/>
              <a:t>Toolbox: Communication plans</a:t>
            </a:r>
          </a:p>
        </p:txBody>
      </p:sp>
      <p:graphicFrame>
        <p:nvGraphicFramePr>
          <p:cNvPr id="651337" name="AutoShape 73" hidden="1"/>
          <p:cNvGraphicFramePr>
            <a:graphicFrameLocks/>
          </p:cNvGraphicFramePr>
          <p:nvPr>
            <p:custDataLst>
              <p:tags r:id="rId3"/>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96013" name="think-cell Slide" r:id="rId8" imgW="0" imgH="0" progId="TCLayout.ActiveDocument.1">
                  <p:embed/>
                </p:oleObj>
              </mc:Choice>
              <mc:Fallback>
                <p:oleObj name="think-cell Slide" r:id="rId8" imgW="0" imgH="0" progId="TCLayout.ActiveDocument.1">
                  <p:embed/>
                  <p:pic>
                    <p:nvPicPr>
                      <p:cNvPr id="651337" name="AutoShape 73"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51342" name="Rectangle 4" hidden="1"/>
          <p:cNvSpPr>
            <a:spLocks noChangeArrowheads="1"/>
          </p:cNvSpPr>
          <p:nvPr>
            <p:custDataLst>
              <p:tags r:id="rId4"/>
            </p:custDataLst>
          </p:nvPr>
        </p:nvSpPr>
        <p:spPr bwMode="gray">
          <a:xfrm>
            <a:off x="0" y="0"/>
            <a:ext cx="158750" cy="158750"/>
          </a:xfrm>
          <a:prstGeom prst="rect">
            <a:avLst/>
          </a:prstGeom>
          <a:solidFill>
            <a:schemeClr val="accent1"/>
          </a:solidFill>
          <a:ln w="9525" algn="ctr">
            <a:solidFill>
              <a:schemeClr val="tx1"/>
            </a:solidFill>
            <a:miter lim="800000"/>
            <a:headEnd/>
            <a:tailEnd/>
          </a:ln>
        </p:spPr>
        <p:txBody>
          <a:bodyPr wrap="none" lIns="15875" tIns="0" rIns="15875" bIns="0" anchor="ctr"/>
          <a:lstStyle/>
          <a:p>
            <a:pPr algn="ctr">
              <a:buSzPct val="120000"/>
            </a:pPr>
            <a:r>
              <a:rPr lang="en-US" altLang="ja-JP" sz="1000" dirty="0">
                <a:solidFill>
                  <a:srgbClr val="000000"/>
                </a:solidFill>
                <a:cs typeface="Arial" charset="0"/>
              </a:rPr>
              <a:t>64</a:t>
            </a:r>
          </a:p>
        </p:txBody>
      </p:sp>
      <p:sp>
        <p:nvSpPr>
          <p:cNvPr id="17" name="5. Source"/>
          <p:cNvSpPr>
            <a:spLocks noChangeArrowheads="1"/>
          </p:cNvSpPr>
          <p:nvPr>
            <p:custDataLst>
              <p:tags r:id="rId5"/>
            </p:custDataLst>
          </p:nvPr>
        </p:nvSpPr>
        <p:spPr bwMode="gray">
          <a:xfrm>
            <a:off x="119063" y="6507558"/>
            <a:ext cx="7200000" cy="123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marL="609600" indent="-609600" defTabSz="895350">
              <a:tabLst>
                <a:tab pos="612775" algn="l"/>
              </a:tabLst>
            </a:pPr>
            <a:r>
              <a:rPr lang="en-US" altLang="zh-CN" sz="800" dirty="0">
                <a:solidFill>
                  <a:schemeClr val="accent6"/>
                </a:solidFill>
                <a:latin typeface="Arial" panose="020B0604020202020204" pitchFamily="34" charset="0"/>
              </a:rPr>
              <a:t>SOURCE: McKinsey Merger Management Practice</a:t>
            </a:r>
          </a:p>
        </p:txBody>
      </p:sp>
      <p:sp>
        <p:nvSpPr>
          <p:cNvPr id="651343" name="Rectangle 5"/>
          <p:cNvSpPr>
            <a:spLocks noChangeArrowheads="1"/>
          </p:cNvSpPr>
          <p:nvPr/>
        </p:nvSpPr>
        <p:spPr bwMode="gray">
          <a:xfrm>
            <a:off x="119063" y="1005454"/>
            <a:ext cx="6399213" cy="4545572"/>
          </a:xfrm>
          <a:prstGeom prst="rect">
            <a:avLst/>
          </a:prstGeom>
          <a:solidFill>
            <a:schemeClr val="bg2"/>
          </a:solidFill>
          <a:ln w="12700" cmpd="sng">
            <a:solidFill>
              <a:schemeClr val="accent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00" dirty="0">
              <a:solidFill>
                <a:srgbClr val="0065BD"/>
              </a:solidFill>
            </a:endParaRPr>
          </a:p>
        </p:txBody>
      </p:sp>
      <p:graphicFrame>
        <p:nvGraphicFramePr>
          <p:cNvPr id="651338" name="Object 74"/>
          <p:cNvGraphicFramePr>
            <a:graphicFrameLocks/>
          </p:cNvGraphicFramePr>
          <p:nvPr>
            <p:extLst/>
          </p:nvPr>
        </p:nvGraphicFramePr>
        <p:xfrm>
          <a:off x="186651" y="1291672"/>
          <a:ext cx="6200680" cy="3617095"/>
        </p:xfrm>
        <a:graphic>
          <a:graphicData uri="http://schemas.openxmlformats.org/presentationml/2006/ole">
            <mc:AlternateContent xmlns:mc="http://schemas.openxmlformats.org/markup-compatibility/2006">
              <mc:Choice xmlns:v="urn:schemas-microsoft-com:vml" Requires="v">
                <p:oleObj spid="_x0000_s296014" name="Document" r:id="rId9" imgW="8033741" imgH="4619900" progId="Word.Document.8">
                  <p:embed/>
                </p:oleObj>
              </mc:Choice>
              <mc:Fallback>
                <p:oleObj name="Document" r:id="rId9" imgW="8033741" imgH="4619900" progId="Word.Document.8">
                  <p:embed/>
                  <p:pic>
                    <p:nvPicPr>
                      <p:cNvPr id="651338" name="Object 74"/>
                      <p:cNvPicPr>
                        <a:picLocks noChangeArrowheads="1"/>
                      </p:cNvPicPr>
                      <p:nvPr/>
                    </p:nvPicPr>
                    <p:blipFill>
                      <a:blip r:embed="rId10">
                        <a:extLst>
                          <a:ext uri="{28A0092B-C50C-407E-A947-70E740481C1C}">
                            <a14:useLocalDpi xmlns:a14="http://schemas.microsoft.com/office/drawing/2010/main" val="0"/>
                          </a:ext>
                        </a:extLst>
                      </a:blip>
                      <a:srcRect r="11981"/>
                      <a:stretch>
                        <a:fillRect/>
                      </a:stretch>
                    </p:blipFill>
                    <p:spPr bwMode="auto">
                      <a:xfrm>
                        <a:off x="186651" y="1291672"/>
                        <a:ext cx="6200680" cy="3617095"/>
                      </a:xfrm>
                      <a:prstGeom prst="rect">
                        <a:avLst/>
                      </a:prstGeom>
                      <a:solidFill>
                        <a:schemeClr val="bg2"/>
                      </a:solidFill>
                      <a:ln>
                        <a:noFill/>
                      </a:ln>
                      <a:effectLst/>
                      <a:extLst/>
                    </p:spPr>
                  </p:pic>
                </p:oleObj>
              </mc:Fallback>
            </mc:AlternateContent>
          </a:graphicData>
        </a:graphic>
      </p:graphicFrame>
      <p:sp>
        <p:nvSpPr>
          <p:cNvPr id="651344" name="Rectangle 7"/>
          <p:cNvSpPr>
            <a:spLocks noChangeArrowheads="1"/>
          </p:cNvSpPr>
          <p:nvPr/>
        </p:nvSpPr>
        <p:spPr bwMode="gray">
          <a:xfrm>
            <a:off x="186651" y="1051861"/>
            <a:ext cx="6200680" cy="184666"/>
          </a:xfrm>
          <a:prstGeom prst="rect">
            <a:avLst/>
          </a:prstGeom>
          <a:noFill/>
          <a:ln w="9525">
            <a:noFill/>
            <a:miter lim="800000"/>
            <a:headEnd/>
            <a:tailEnd/>
          </a:ln>
        </p:spPr>
        <p:txBody>
          <a:bodyPr lIns="0" tIns="0" rIns="0" bIns="0">
            <a:spAutoFit/>
          </a:bodyPr>
          <a:lstStyle/>
          <a:p>
            <a:pPr defTabSz="895350">
              <a:buClr>
                <a:srgbClr val="062859"/>
              </a:buClr>
            </a:pPr>
            <a:r>
              <a:rPr lang="en-US" altLang="ja-JP" sz="1200" b="1" dirty="0">
                <a:solidFill>
                  <a:srgbClr val="0065BD"/>
                </a:solidFill>
                <a:latin typeface="Arial"/>
                <a:cs typeface="Arial" charset="0"/>
              </a:rPr>
              <a:t>External, financial stakeholders</a:t>
            </a:r>
          </a:p>
        </p:txBody>
      </p:sp>
      <p:sp>
        <p:nvSpPr>
          <p:cNvPr id="651345" name="Rectangle 8"/>
          <p:cNvSpPr>
            <a:spLocks noChangeArrowheads="1"/>
          </p:cNvSpPr>
          <p:nvPr/>
        </p:nvSpPr>
        <p:spPr bwMode="gray">
          <a:xfrm>
            <a:off x="1228725" y="1292021"/>
            <a:ext cx="6399213" cy="4645319"/>
          </a:xfrm>
          <a:prstGeom prst="rect">
            <a:avLst/>
          </a:prstGeom>
          <a:solidFill>
            <a:schemeClr val="bg2"/>
          </a:solidFill>
          <a:ln w="12700" cmpd="sng">
            <a:solidFill>
              <a:schemeClr val="accent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00" dirty="0">
              <a:solidFill>
                <a:srgbClr val="0065BD"/>
              </a:solidFill>
            </a:endParaRPr>
          </a:p>
        </p:txBody>
      </p:sp>
      <p:graphicFrame>
        <p:nvGraphicFramePr>
          <p:cNvPr id="651339" name="Object 75"/>
          <p:cNvGraphicFramePr>
            <a:graphicFrameLocks/>
          </p:cNvGraphicFramePr>
          <p:nvPr>
            <p:extLst/>
          </p:nvPr>
        </p:nvGraphicFramePr>
        <p:xfrm>
          <a:off x="1274551" y="1552891"/>
          <a:ext cx="6307562" cy="4356989"/>
        </p:xfrm>
        <a:graphic>
          <a:graphicData uri="http://schemas.openxmlformats.org/presentationml/2006/ole">
            <mc:AlternateContent xmlns:mc="http://schemas.openxmlformats.org/markup-compatibility/2006">
              <mc:Choice xmlns:v="urn:schemas-microsoft-com:vml" Requires="v">
                <p:oleObj spid="_x0000_s296015" name="Document" r:id="rId11" imgW="9104376" imgH="6554724" progId="Word.Document.8">
                  <p:embed/>
                </p:oleObj>
              </mc:Choice>
              <mc:Fallback>
                <p:oleObj name="Document" r:id="rId11" imgW="9104376" imgH="6554724" progId="Word.Document.8">
                  <p:embed/>
                  <p:pic>
                    <p:nvPicPr>
                      <p:cNvPr id="651339" name="Object 75"/>
                      <p:cNvPicPr>
                        <a:picLocks noChangeArrowheads="1"/>
                      </p:cNvPicPr>
                      <p:nvPr/>
                    </p:nvPicPr>
                    <p:blipFill>
                      <a:blip r:embed="rId12">
                        <a:extLst>
                          <a:ext uri="{28A0092B-C50C-407E-A947-70E740481C1C}">
                            <a14:useLocalDpi xmlns:a14="http://schemas.microsoft.com/office/drawing/2010/main" val="0"/>
                          </a:ext>
                        </a:extLst>
                      </a:blip>
                      <a:srcRect r="14288" b="3751"/>
                      <a:stretch>
                        <a:fillRect/>
                      </a:stretch>
                    </p:blipFill>
                    <p:spPr bwMode="auto">
                      <a:xfrm>
                        <a:off x="1274551" y="1552891"/>
                        <a:ext cx="6307562" cy="4356989"/>
                      </a:xfrm>
                      <a:prstGeom prst="rect">
                        <a:avLst/>
                      </a:prstGeom>
                      <a:solidFill>
                        <a:schemeClr val="bg2"/>
                      </a:solidFill>
                      <a:ln>
                        <a:noFill/>
                      </a:ln>
                      <a:effectLst/>
                      <a:extLst/>
                    </p:spPr>
                  </p:pic>
                </p:oleObj>
              </mc:Fallback>
            </mc:AlternateContent>
          </a:graphicData>
        </a:graphic>
      </p:graphicFrame>
      <p:sp>
        <p:nvSpPr>
          <p:cNvPr id="651346" name="Rectangle 10"/>
          <p:cNvSpPr>
            <a:spLocks noChangeArrowheads="1"/>
          </p:cNvSpPr>
          <p:nvPr/>
        </p:nvSpPr>
        <p:spPr bwMode="gray">
          <a:xfrm>
            <a:off x="1274551" y="1307276"/>
            <a:ext cx="6307562" cy="184666"/>
          </a:xfrm>
          <a:prstGeom prst="rect">
            <a:avLst/>
          </a:prstGeom>
          <a:noFill/>
          <a:ln w="9525">
            <a:noFill/>
            <a:miter lim="800000"/>
            <a:headEnd/>
            <a:tailEnd/>
          </a:ln>
        </p:spPr>
        <p:txBody>
          <a:bodyPr lIns="0" tIns="0" rIns="0" bIns="0">
            <a:spAutoFit/>
          </a:bodyPr>
          <a:lstStyle/>
          <a:p>
            <a:pPr defTabSz="895350">
              <a:buClr>
                <a:srgbClr val="062859"/>
              </a:buClr>
            </a:pPr>
            <a:r>
              <a:rPr lang="en-US" altLang="ja-JP" sz="1200" b="1" dirty="0">
                <a:solidFill>
                  <a:srgbClr val="0065BD"/>
                </a:solidFill>
                <a:latin typeface="Arial"/>
                <a:cs typeface="Arial" charset="0"/>
              </a:rPr>
              <a:t>External, non-financial stakeholders</a:t>
            </a:r>
          </a:p>
        </p:txBody>
      </p:sp>
      <p:sp>
        <p:nvSpPr>
          <p:cNvPr id="651347" name="Rectangle 11"/>
          <p:cNvSpPr>
            <a:spLocks noChangeArrowheads="1"/>
          </p:cNvSpPr>
          <p:nvPr/>
        </p:nvSpPr>
        <p:spPr bwMode="gray">
          <a:xfrm>
            <a:off x="2338387" y="1706910"/>
            <a:ext cx="6399213" cy="4645319"/>
          </a:xfrm>
          <a:prstGeom prst="rect">
            <a:avLst/>
          </a:prstGeom>
          <a:solidFill>
            <a:schemeClr val="bg2"/>
          </a:solidFill>
          <a:ln w="12700" cmpd="sng">
            <a:solidFill>
              <a:schemeClr val="accent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00" dirty="0">
              <a:solidFill>
                <a:srgbClr val="0065BD"/>
              </a:solidFill>
            </a:endParaRPr>
          </a:p>
        </p:txBody>
      </p:sp>
      <p:graphicFrame>
        <p:nvGraphicFramePr>
          <p:cNvPr id="651340" name="Object 76"/>
          <p:cNvGraphicFramePr>
            <a:graphicFrameLocks/>
          </p:cNvGraphicFramePr>
          <p:nvPr>
            <p:extLst/>
          </p:nvPr>
        </p:nvGraphicFramePr>
        <p:xfrm>
          <a:off x="2432938" y="1957101"/>
          <a:ext cx="6210111" cy="4317325"/>
        </p:xfrm>
        <a:graphic>
          <a:graphicData uri="http://schemas.openxmlformats.org/presentationml/2006/ole">
            <mc:AlternateContent xmlns:mc="http://schemas.openxmlformats.org/markup-compatibility/2006">
              <mc:Choice xmlns:v="urn:schemas-microsoft-com:vml" Requires="v">
                <p:oleObj spid="_x0000_s296016" name="Document" r:id="rId13" imgW="9292578" imgH="6566882" progId="Word.Document.8">
                  <p:embed/>
                </p:oleObj>
              </mc:Choice>
              <mc:Fallback>
                <p:oleObj name="Document" r:id="rId13" imgW="9292578" imgH="6566882" progId="Word.Document.8">
                  <p:embed/>
                  <p:pic>
                    <p:nvPicPr>
                      <p:cNvPr id="651340" name="Object 76"/>
                      <p:cNvPicPr>
                        <a:picLocks noChangeArrowheads="1"/>
                      </p:cNvPicPr>
                      <p:nvPr/>
                    </p:nvPicPr>
                    <p:blipFill>
                      <a:blip r:embed="rId14">
                        <a:extLst>
                          <a:ext uri="{28A0092B-C50C-407E-A947-70E740481C1C}">
                            <a14:useLocalDpi xmlns:a14="http://schemas.microsoft.com/office/drawing/2010/main" val="0"/>
                          </a:ext>
                        </a:extLst>
                      </a:blip>
                      <a:srcRect r="13696"/>
                      <a:stretch>
                        <a:fillRect/>
                      </a:stretch>
                    </p:blipFill>
                    <p:spPr bwMode="auto">
                      <a:xfrm>
                        <a:off x="2432938" y="1957101"/>
                        <a:ext cx="6210111" cy="4317325"/>
                      </a:xfrm>
                      <a:prstGeom prst="rect">
                        <a:avLst/>
                      </a:prstGeom>
                      <a:solidFill>
                        <a:schemeClr val="bg2"/>
                      </a:solidFill>
                      <a:ln>
                        <a:noFill/>
                      </a:ln>
                      <a:effectLst/>
                      <a:extLst/>
                    </p:spPr>
                  </p:pic>
                </p:oleObj>
              </mc:Fallback>
            </mc:AlternateContent>
          </a:graphicData>
        </a:graphic>
      </p:graphicFrame>
      <p:sp>
        <p:nvSpPr>
          <p:cNvPr id="651348" name="Rectangle 13"/>
          <p:cNvSpPr>
            <a:spLocks noChangeArrowheads="1"/>
          </p:cNvSpPr>
          <p:nvPr/>
        </p:nvSpPr>
        <p:spPr bwMode="gray">
          <a:xfrm>
            <a:off x="2432938" y="1740416"/>
            <a:ext cx="6210111" cy="184666"/>
          </a:xfrm>
          <a:prstGeom prst="rect">
            <a:avLst/>
          </a:prstGeom>
          <a:noFill/>
          <a:ln w="9525">
            <a:noFill/>
            <a:miter lim="800000"/>
            <a:headEnd/>
            <a:tailEnd/>
          </a:ln>
        </p:spPr>
        <p:txBody>
          <a:bodyPr lIns="0" tIns="0" rIns="0" bIns="0">
            <a:spAutoFit/>
          </a:bodyPr>
          <a:lstStyle/>
          <a:p>
            <a:pPr defTabSz="895350">
              <a:buClr>
                <a:srgbClr val="062859"/>
              </a:buClr>
            </a:pPr>
            <a:r>
              <a:rPr lang="en-US" altLang="ja-JP" sz="1200" b="1" dirty="0">
                <a:solidFill>
                  <a:srgbClr val="0065BD"/>
                </a:solidFill>
                <a:latin typeface="Arial"/>
                <a:cs typeface="Arial" charset="0"/>
              </a:rPr>
              <a:t>Internal audience communications plan</a:t>
            </a:r>
          </a:p>
        </p:txBody>
      </p:sp>
      <p:sp>
        <p:nvSpPr>
          <p:cNvPr id="2" name="TextBox 1">
            <a:extLst>
              <a:ext uri="{FF2B5EF4-FFF2-40B4-BE49-F238E27FC236}">
                <a16:creationId xmlns:a16="http://schemas.microsoft.com/office/drawing/2014/main" id="{31232C92-0594-4C10-BDE8-973E155879BC}"/>
              </a:ext>
            </a:extLst>
          </p:cNvPr>
          <p:cNvSpPr txBox="1"/>
          <p:nvPr/>
        </p:nvSpPr>
        <p:spPr>
          <a:xfrm>
            <a:off x="119063" y="703016"/>
            <a:ext cx="8618536" cy="246221"/>
          </a:xfrm>
          <a:prstGeom prst="rect">
            <a:avLst/>
          </a:prstGeom>
        </p:spPr>
        <p:txBody>
          <a:bodyPr vert="horz" wrap="square" lIns="0" tIns="0" rIns="0" bIns="0" rtlCol="0" anchor="t" anchorCtr="0">
            <a:sp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sz="1600" dirty="0"/>
              <a:t>Example: Announcement day communications plan</a:t>
            </a:r>
          </a:p>
        </p:txBody>
      </p:sp>
      <p:sp>
        <p:nvSpPr>
          <p:cNvPr id="23" name="Title Tracker Circle">
            <a:extLst>
              <a:ext uri="{FF2B5EF4-FFF2-40B4-BE49-F238E27FC236}">
                <a16:creationId xmlns:a16="http://schemas.microsoft.com/office/drawing/2014/main" id="{AE2ABCE8-B14D-413D-A3A2-E184EEF61F79}"/>
              </a:ext>
            </a:extLst>
          </p:cNvPr>
          <p:cNvSpPr/>
          <p:nvPr/>
        </p:nvSpPr>
        <p:spPr>
          <a:xfrm>
            <a:off x="119063" y="166736"/>
            <a:ext cx="418798" cy="418798"/>
          </a:xfrm>
          <a:prstGeom prst="ellipse">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p>
            <a:pPr algn="ctr"/>
            <a:r>
              <a:rPr lang="en-US" sz="2000" dirty="0">
                <a:solidFill>
                  <a:schemeClr val="tx2"/>
                </a:solidFill>
                <a:latin typeface="+mj-lt"/>
              </a:rPr>
              <a:t>7</a:t>
            </a:r>
          </a:p>
        </p:txBody>
      </p:sp>
    </p:spTree>
    <p:custDataLst>
      <p:tags r:id="rId2"/>
    </p:custDataLst>
    <p:extLst>
      <p:ext uri="{BB962C8B-B14F-4D97-AF65-F5344CB8AC3E}">
        <p14:creationId xmlns:p14="http://schemas.microsoft.com/office/powerpoint/2010/main" val="2240820980"/>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57426" name="AutoShape 18" hidden="1"/>
          <p:cNvGraphicFramePr>
            <a:graphicFrameLocks/>
          </p:cNvGraphicFramePr>
          <p:nvPr>
            <p:custDataLst>
              <p:tags r:id="rId3"/>
            </p:custDataLst>
            <p:extLst/>
          </p:nvPr>
        </p:nvGraphicFramePr>
        <p:xfrm>
          <a:off x="0" y="0"/>
          <a:ext cx="155575" cy="155575"/>
        </p:xfrm>
        <a:graphic>
          <a:graphicData uri="http://schemas.openxmlformats.org/presentationml/2006/ole">
            <mc:AlternateContent xmlns:mc="http://schemas.openxmlformats.org/markup-compatibility/2006">
              <mc:Choice xmlns:v="urn:schemas-microsoft-com:vml" Requires="v">
                <p:oleObj spid="_x0000_s296980" name="think-cell Slide" r:id="rId22" imgW="0" imgH="0" progId="TCLayout.ActiveDocument.1">
                  <p:embed/>
                </p:oleObj>
              </mc:Choice>
              <mc:Fallback>
                <p:oleObj name="think-cell Slide" r:id="rId22" imgW="0" imgH="0" progId="TCLayout.ActiveDocument.1">
                  <p:embed/>
                  <p:pic>
                    <p:nvPicPr>
                      <p:cNvPr id="657426" name="AutoShape 18"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5575" cy="15557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57481" name="Rectangle 57"/>
          <p:cNvSpPr>
            <a:spLocks noGrp="1" noChangeArrowheads="1"/>
          </p:cNvSpPr>
          <p:nvPr>
            <p:ph type="title"/>
          </p:nvPr>
        </p:nvSpPr>
        <p:spPr>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marL="465138"/>
            <a:r>
              <a:rPr lang="en-US" altLang="ja-JP" dirty="0"/>
              <a:t>Toolbox: Merger Management Bootcamp</a:t>
            </a:r>
          </a:p>
        </p:txBody>
      </p:sp>
      <p:sp>
        <p:nvSpPr>
          <p:cNvPr id="60" name="5. Source"/>
          <p:cNvSpPr>
            <a:spLocks noChangeArrowheads="1"/>
          </p:cNvSpPr>
          <p:nvPr>
            <p:custDataLst>
              <p:tags r:id="rId4"/>
            </p:custDataLst>
          </p:nvPr>
        </p:nvSpPr>
        <p:spPr bwMode="gray">
          <a:xfrm>
            <a:off x="119063" y="6507558"/>
            <a:ext cx="7200000" cy="123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marL="609600" indent="-609600" defTabSz="895350">
              <a:tabLst>
                <a:tab pos="612775" algn="l"/>
              </a:tabLst>
            </a:pPr>
            <a:r>
              <a:rPr lang="en-US" altLang="zh-CN" sz="800" dirty="0">
                <a:solidFill>
                  <a:schemeClr val="accent6"/>
                </a:solidFill>
                <a:latin typeface="Arial" panose="020B0604020202020204" pitchFamily="34" charset="0"/>
              </a:rPr>
              <a:t>SOURCE: McKinsey Merger Management Practice</a:t>
            </a:r>
          </a:p>
        </p:txBody>
      </p:sp>
      <p:sp>
        <p:nvSpPr>
          <p:cNvPr id="63" name="Rectangle 4"/>
          <p:cNvSpPr>
            <a:spLocks noChangeArrowheads="1"/>
          </p:cNvSpPr>
          <p:nvPr/>
        </p:nvSpPr>
        <p:spPr bwMode="gray">
          <a:xfrm>
            <a:off x="198076" y="711744"/>
            <a:ext cx="8460511" cy="5631758"/>
          </a:xfrm>
          <a:prstGeom prst="rect">
            <a:avLst/>
          </a:prstGeom>
          <a:solidFill>
            <a:schemeClr val="bg2"/>
          </a:solidFill>
          <a:ln w="12700" cmpd="sng">
            <a:solidFill>
              <a:schemeClr val="accent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000" dirty="0">
              <a:solidFill>
                <a:srgbClr val="0065BD"/>
              </a:solidFill>
            </a:endParaRPr>
          </a:p>
        </p:txBody>
      </p:sp>
      <p:grpSp>
        <p:nvGrpSpPr>
          <p:cNvPr id="3" name="Group 2">
            <a:extLst>
              <a:ext uri="{FF2B5EF4-FFF2-40B4-BE49-F238E27FC236}">
                <a16:creationId xmlns:a16="http://schemas.microsoft.com/office/drawing/2014/main" id="{96BADBB7-9AA1-4B10-ABAD-8CE0CE7CFBD5}"/>
              </a:ext>
            </a:extLst>
          </p:cNvPr>
          <p:cNvGrpSpPr/>
          <p:nvPr/>
        </p:nvGrpSpPr>
        <p:grpSpPr>
          <a:xfrm>
            <a:off x="261739" y="781362"/>
            <a:ext cx="8333184" cy="5492523"/>
            <a:chOff x="298450" y="841635"/>
            <a:chExt cx="8333184" cy="5492523"/>
          </a:xfrm>
        </p:grpSpPr>
        <p:sp>
          <p:nvSpPr>
            <p:cNvPr id="657428" name="AutoShape 4"/>
            <p:cNvSpPr>
              <a:spLocks noChangeAspect="1" noChangeArrowheads="1"/>
            </p:cNvSpPr>
            <p:nvPr/>
          </p:nvSpPr>
          <p:spPr bwMode="gray">
            <a:xfrm flipH="1" flipV="1">
              <a:off x="3217548" y="1238886"/>
              <a:ext cx="119063" cy="111125"/>
            </a:xfrm>
            <a:prstGeom prst="triangle">
              <a:avLst>
                <a:gd name="adj" fmla="val 50000"/>
              </a:avLst>
            </a:prstGeom>
            <a:solidFill>
              <a:schemeClr val="accent3"/>
            </a:solidFill>
            <a:ln w="9525">
              <a:noFill/>
              <a:miter lim="800000"/>
              <a:headEnd/>
              <a:tailEnd/>
            </a:ln>
          </p:spPr>
          <p:txBody>
            <a:bodyPr rot="10800000" wrap="none" anchor="ctr"/>
            <a:lstStyle/>
            <a:p>
              <a:endParaRPr lang="en-CA" sz="1000" dirty="0">
                <a:solidFill>
                  <a:srgbClr val="000000"/>
                </a:solidFill>
                <a:latin typeface="Arial"/>
                <a:cs typeface="Arial" charset="0"/>
              </a:endParaRPr>
            </a:p>
          </p:txBody>
        </p:sp>
        <p:sp>
          <p:nvSpPr>
            <p:cNvPr id="657429" name="AutoShape 5"/>
            <p:cNvSpPr>
              <a:spLocks noChangeAspect="1" noChangeArrowheads="1"/>
            </p:cNvSpPr>
            <p:nvPr/>
          </p:nvSpPr>
          <p:spPr bwMode="gray">
            <a:xfrm flipH="1" flipV="1">
              <a:off x="6786550" y="1238886"/>
              <a:ext cx="119062" cy="111125"/>
            </a:xfrm>
            <a:prstGeom prst="triangle">
              <a:avLst>
                <a:gd name="adj" fmla="val 50000"/>
              </a:avLst>
            </a:prstGeom>
            <a:solidFill>
              <a:schemeClr val="accent3"/>
            </a:solidFill>
            <a:ln w="9525">
              <a:noFill/>
              <a:miter lim="800000"/>
              <a:headEnd/>
              <a:tailEnd/>
            </a:ln>
          </p:spPr>
          <p:txBody>
            <a:bodyPr rot="10800000" wrap="none" anchor="ctr"/>
            <a:lstStyle/>
            <a:p>
              <a:endParaRPr lang="en-CA" sz="1000" dirty="0">
                <a:solidFill>
                  <a:srgbClr val="000000"/>
                </a:solidFill>
                <a:latin typeface="Arial"/>
                <a:cs typeface="Arial" charset="0"/>
              </a:endParaRPr>
            </a:p>
          </p:txBody>
        </p:sp>
        <p:sp>
          <p:nvSpPr>
            <p:cNvPr id="657435" name="Rectangle 11"/>
            <p:cNvSpPr>
              <a:spLocks noChangeArrowheads="1"/>
            </p:cNvSpPr>
            <p:nvPr/>
          </p:nvSpPr>
          <p:spPr bwMode="gray">
            <a:xfrm>
              <a:off x="2818675" y="995524"/>
              <a:ext cx="932948" cy="153888"/>
            </a:xfrm>
            <a:prstGeom prst="rect">
              <a:avLst/>
            </a:prstGeom>
            <a:noFill/>
            <a:ln w="9525">
              <a:noFill/>
              <a:miter lim="800000"/>
              <a:headEnd/>
              <a:tailEnd/>
            </a:ln>
          </p:spPr>
          <p:txBody>
            <a:bodyPr wrap="none" lIns="0" tIns="0" rIns="0" bIns="0">
              <a:spAutoFit/>
            </a:bodyPr>
            <a:lstStyle/>
            <a:p>
              <a:pPr algn="ctr" defTabSz="895350">
                <a:buClr>
                  <a:srgbClr val="062859"/>
                </a:buClr>
              </a:pPr>
              <a:r>
                <a:rPr lang="en-US" altLang="ja-JP" sz="1000" b="1" dirty="0">
                  <a:solidFill>
                    <a:srgbClr val="0065BD"/>
                  </a:solidFill>
                  <a:latin typeface="Arial"/>
                  <a:cs typeface="Arial" charset="0"/>
                </a:rPr>
                <a:t>Announcement</a:t>
              </a:r>
            </a:p>
          </p:txBody>
        </p:sp>
        <p:sp>
          <p:nvSpPr>
            <p:cNvPr id="657436" name="Rectangle 12"/>
            <p:cNvSpPr>
              <a:spLocks noChangeArrowheads="1"/>
            </p:cNvSpPr>
            <p:nvPr/>
          </p:nvSpPr>
          <p:spPr bwMode="gray">
            <a:xfrm>
              <a:off x="6593608" y="841635"/>
              <a:ext cx="504946" cy="307777"/>
            </a:xfrm>
            <a:prstGeom prst="rect">
              <a:avLst/>
            </a:prstGeom>
            <a:noFill/>
            <a:ln w="9525">
              <a:noFill/>
              <a:miter lim="800000"/>
              <a:headEnd/>
              <a:tailEnd/>
            </a:ln>
          </p:spPr>
          <p:txBody>
            <a:bodyPr wrap="none" lIns="0" tIns="0" rIns="0" bIns="0">
              <a:spAutoFit/>
            </a:bodyPr>
            <a:lstStyle/>
            <a:p>
              <a:pPr algn="ctr" defTabSz="895350">
                <a:buClr>
                  <a:srgbClr val="062859"/>
                </a:buClr>
              </a:pPr>
              <a:r>
                <a:rPr lang="en-US" altLang="ja-JP" sz="1000" b="1" dirty="0">
                  <a:solidFill>
                    <a:srgbClr val="0065BD"/>
                  </a:solidFill>
                  <a:latin typeface="Arial"/>
                  <a:cs typeface="Arial" charset="0"/>
                </a:rPr>
                <a:t>Closing/</a:t>
              </a:r>
              <a:br>
                <a:rPr lang="en-US" altLang="ja-JP" sz="1000" b="1" dirty="0">
                  <a:solidFill>
                    <a:srgbClr val="0065BD"/>
                  </a:solidFill>
                  <a:latin typeface="Arial"/>
                  <a:cs typeface="Arial" charset="0"/>
                </a:rPr>
              </a:br>
              <a:r>
                <a:rPr lang="en-US" altLang="ja-JP" sz="1000" b="1" dirty="0">
                  <a:solidFill>
                    <a:srgbClr val="0065BD"/>
                  </a:solidFill>
                  <a:latin typeface="Arial"/>
                  <a:cs typeface="Arial" charset="0"/>
                </a:rPr>
                <a:t>Day 1</a:t>
              </a:r>
            </a:p>
          </p:txBody>
        </p:sp>
        <p:sp>
          <p:nvSpPr>
            <p:cNvPr id="657438" name="Rectangle 14"/>
            <p:cNvSpPr>
              <a:spLocks noChangeArrowheads="1"/>
            </p:cNvSpPr>
            <p:nvPr>
              <p:custDataLst>
                <p:tags r:id="rId5"/>
              </p:custDataLst>
            </p:nvPr>
          </p:nvSpPr>
          <p:spPr bwMode="gray">
            <a:xfrm>
              <a:off x="331703" y="1519923"/>
              <a:ext cx="1028466" cy="153888"/>
            </a:xfrm>
            <a:prstGeom prst="rect">
              <a:avLst/>
            </a:prstGeom>
            <a:noFill/>
            <a:ln w="9525">
              <a:noFill/>
              <a:miter lim="800000"/>
              <a:headEnd/>
              <a:tailEnd/>
            </a:ln>
          </p:spPr>
          <p:txBody>
            <a:bodyPr wrap="none" lIns="45710" tIns="0" rIns="45710" bIns="0" anchor="ctr">
              <a:noAutofit/>
            </a:bodyPr>
            <a:lstStyle/>
            <a:p>
              <a:pPr defTabSz="895350">
                <a:buClr>
                  <a:srgbClr val="062859"/>
                </a:buClr>
              </a:pPr>
              <a:r>
                <a:rPr lang="en-US" altLang="ja-JP" sz="1000" b="1" dirty="0">
                  <a:solidFill>
                    <a:srgbClr val="0065BD"/>
                  </a:solidFill>
                  <a:latin typeface="Arial"/>
                  <a:cs typeface="Arial" charset="0"/>
                </a:rPr>
                <a:t>Deal evaluation</a:t>
              </a:r>
            </a:p>
          </p:txBody>
        </p:sp>
        <p:sp>
          <p:nvSpPr>
            <p:cNvPr id="657439" name="Rectangle 15"/>
            <p:cNvSpPr>
              <a:spLocks noChangeArrowheads="1"/>
            </p:cNvSpPr>
            <p:nvPr/>
          </p:nvSpPr>
          <p:spPr bwMode="gray">
            <a:xfrm>
              <a:off x="400803" y="1929448"/>
              <a:ext cx="1106488" cy="1676400"/>
            </a:xfrm>
            <a:prstGeom prst="rect">
              <a:avLst/>
            </a:prstGeom>
            <a:noFill/>
            <a:ln w="9525">
              <a:noFill/>
              <a:miter lim="800000"/>
              <a:headEnd/>
              <a:tailEnd/>
            </a:ln>
          </p:spPr>
          <p:txBody>
            <a:bodyPr wrap="square" lIns="0" tIns="0" rIns="0" bIns="0">
              <a:spAutoFit/>
            </a:bodyPr>
            <a:lstStyle/>
            <a:p>
              <a:pPr marL="133350" lvl="1" indent="-131763" defTabSz="787400">
                <a:buClr>
                  <a:srgbClr val="062859"/>
                </a:buClr>
                <a:buSzPct val="125000"/>
                <a:buFont typeface="Arial" charset="0"/>
                <a:buChar char="▪"/>
              </a:pPr>
              <a:r>
                <a:rPr lang="en-US" altLang="ja-JP" sz="1000" b="1" dirty="0">
                  <a:solidFill>
                    <a:srgbClr val="0065BD"/>
                  </a:solidFill>
                  <a:latin typeface="Arial"/>
                  <a:cs typeface="Arial" charset="0"/>
                </a:rPr>
                <a:t>Strategic considerations: </a:t>
              </a:r>
              <a:r>
                <a:rPr lang="en-US" altLang="ja-JP" sz="1000" dirty="0">
                  <a:solidFill>
                    <a:srgbClr val="000000"/>
                  </a:solidFill>
                  <a:latin typeface="Arial"/>
                  <a:cs typeface="Arial" charset="0"/>
                </a:rPr>
                <a:t>Which "transfor-mational" aspects of a merger should be considered up front? (e.g., mergers as transformations, OHI in mergers)</a:t>
              </a:r>
            </a:p>
          </p:txBody>
        </p:sp>
        <p:sp>
          <p:nvSpPr>
            <p:cNvPr id="657440" name="Oval 16"/>
            <p:cNvSpPr>
              <a:spLocks noChangeArrowheads="1"/>
            </p:cNvSpPr>
            <p:nvPr/>
          </p:nvSpPr>
          <p:spPr bwMode="gray">
            <a:xfrm>
              <a:off x="322178" y="1929448"/>
              <a:ext cx="187325" cy="195263"/>
            </a:xfrm>
            <a:prstGeom prst="ellipse">
              <a:avLst/>
            </a:prstGeom>
            <a:solidFill>
              <a:schemeClr val="accent1"/>
            </a:solidFill>
            <a:ln w="12700" algn="ctr">
              <a:noFill/>
              <a:round/>
              <a:headEnd/>
              <a:tailEnd/>
            </a:ln>
            <a:effectLst>
              <a:outerShdw blurRad="63500" sx="102000" sy="102000" algn="ctr" rotWithShape="0">
                <a:prstClr val="black">
                  <a:alpha val="40000"/>
                </a:prstClr>
              </a:outerShdw>
            </a:effectLst>
            <a:extLst/>
          </p:spPr>
          <p:txBody>
            <a:bodyPr lIns="0" tIns="0" rIns="0" bIns="0" anchor="ctr">
              <a:noAutofit/>
            </a:bodyPr>
            <a:lstStyle/>
            <a:p>
              <a:pPr algn="ctr"/>
              <a:r>
                <a:rPr lang="en-US" altLang="ja-JP" sz="1000" b="1" dirty="0">
                  <a:solidFill>
                    <a:srgbClr val="0065BD"/>
                  </a:solidFill>
                  <a:latin typeface="Arial"/>
                  <a:ea typeface="MS PGothic" pitchFamily="34" charset="-128"/>
                </a:rPr>
                <a:t>#</a:t>
              </a:r>
            </a:p>
          </p:txBody>
        </p:sp>
        <p:sp>
          <p:nvSpPr>
            <p:cNvPr id="657441" name="Rectangle 17"/>
            <p:cNvSpPr>
              <a:spLocks noChangeArrowheads="1"/>
            </p:cNvSpPr>
            <p:nvPr/>
          </p:nvSpPr>
          <p:spPr bwMode="gray">
            <a:xfrm>
              <a:off x="1557715" y="3037851"/>
              <a:ext cx="1727434" cy="1023938"/>
            </a:xfrm>
            <a:prstGeom prst="rect">
              <a:avLst/>
            </a:prstGeom>
            <a:solidFill>
              <a:schemeClr val="bg2"/>
            </a:solidFill>
            <a:ln w="12700" cmpd="sng">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000" dirty="0">
                <a:solidFill>
                  <a:srgbClr val="0065BD"/>
                </a:solidFill>
              </a:endParaRPr>
            </a:p>
          </p:txBody>
        </p:sp>
        <p:sp>
          <p:nvSpPr>
            <p:cNvPr id="657442" name="Freeform 18" descr="2c"/>
            <p:cNvSpPr>
              <a:spLocks/>
            </p:cNvSpPr>
            <p:nvPr/>
          </p:nvSpPr>
          <p:spPr bwMode="gray">
            <a:xfrm>
              <a:off x="1570414" y="3037851"/>
              <a:ext cx="620713" cy="1023938"/>
            </a:xfrm>
            <a:custGeom>
              <a:avLst/>
              <a:gdLst>
                <a:gd name="T0" fmla="*/ 2147483647 w 415"/>
                <a:gd name="T1" fmla="*/ 0 h 685"/>
                <a:gd name="T2" fmla="*/ 0 w 415"/>
                <a:gd name="T3" fmla="*/ 2147483647 h 685"/>
                <a:gd name="T4" fmla="*/ 0 w 415"/>
                <a:gd name="T5" fmla="*/ 2147483647 h 685"/>
                <a:gd name="T6" fmla="*/ 2147483647 w 415"/>
                <a:gd name="T7" fmla="*/ 2147483647 h 685"/>
                <a:gd name="T8" fmla="*/ 2147483647 w 415"/>
                <a:gd name="T9" fmla="*/ 2147483647 h 685"/>
                <a:gd name="T10" fmla="*/ 2147483647 w 415"/>
                <a:gd name="T11" fmla="*/ 0 h 685"/>
                <a:gd name="T12" fmla="*/ 2147483647 w 415"/>
                <a:gd name="T13" fmla="*/ 0 h 685"/>
                <a:gd name="T14" fmla="*/ 0 60000 65536"/>
                <a:gd name="T15" fmla="*/ 0 60000 65536"/>
                <a:gd name="T16" fmla="*/ 0 60000 65536"/>
                <a:gd name="T17" fmla="*/ 0 60000 65536"/>
                <a:gd name="T18" fmla="*/ 0 60000 65536"/>
                <a:gd name="T19" fmla="*/ 0 60000 65536"/>
                <a:gd name="T20" fmla="*/ 0 60000 65536"/>
                <a:gd name="T21" fmla="*/ 0 w 415"/>
                <a:gd name="T22" fmla="*/ 0 h 685"/>
                <a:gd name="T23" fmla="*/ 415 w 415"/>
                <a:gd name="T24" fmla="*/ 685 h 68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15" h="685">
                  <a:moveTo>
                    <a:pt x="75" y="0"/>
                  </a:moveTo>
                  <a:cubicBezTo>
                    <a:pt x="33" y="0"/>
                    <a:pt x="0" y="33"/>
                    <a:pt x="0" y="75"/>
                  </a:cubicBezTo>
                  <a:lnTo>
                    <a:pt x="0" y="610"/>
                  </a:lnTo>
                  <a:cubicBezTo>
                    <a:pt x="0" y="652"/>
                    <a:pt x="33" y="685"/>
                    <a:pt x="75" y="685"/>
                  </a:cubicBezTo>
                  <a:lnTo>
                    <a:pt x="415" y="685"/>
                  </a:lnTo>
                  <a:lnTo>
                    <a:pt x="415" y="0"/>
                  </a:lnTo>
                  <a:lnTo>
                    <a:pt x="75" y="0"/>
                  </a:lnTo>
                  <a:close/>
                </a:path>
              </a:pathLst>
            </a:custGeom>
            <a:blipFill dpi="0" rotWithShape="1">
              <a:blip r:embed="rId23">
                <a:extLst>
                  <a:ext uri="{28A0092B-C50C-407E-A947-70E740481C1C}">
                    <a14:useLocalDpi xmlns:a14="http://schemas.microsoft.com/office/drawing/2010/main"/>
                  </a:ext>
                </a:extLst>
              </a:blip>
              <a:srcRect/>
              <a:stretch>
                <a:fillRect/>
              </a:stretch>
            </a:blipFill>
            <a:ln w="19050" cap="rnd" cmpd="sng">
              <a:solidFill>
                <a:schemeClr val="accent6"/>
              </a:solidFill>
              <a:prstDash val="solid"/>
              <a:round/>
              <a:headEnd/>
              <a:tailEnd/>
            </a:ln>
          </p:spPr>
          <p:txBody>
            <a:bodyPr/>
            <a:lstStyle/>
            <a:p>
              <a:endParaRPr lang="en-US" sz="1000" dirty="0">
                <a:solidFill>
                  <a:srgbClr val="000000"/>
                </a:solidFill>
                <a:latin typeface="Arial"/>
                <a:cs typeface="Arial" charset="0"/>
              </a:endParaRPr>
            </a:p>
          </p:txBody>
        </p:sp>
        <p:sp>
          <p:nvSpPr>
            <p:cNvPr id="657443" name="Rectangle 19"/>
            <p:cNvSpPr>
              <a:spLocks noChangeArrowheads="1"/>
            </p:cNvSpPr>
            <p:nvPr/>
          </p:nvSpPr>
          <p:spPr bwMode="gray">
            <a:xfrm>
              <a:off x="2241927" y="3082301"/>
              <a:ext cx="1000747" cy="609600"/>
            </a:xfrm>
            <a:prstGeom prst="rect">
              <a:avLst/>
            </a:prstGeom>
            <a:noFill/>
            <a:ln w="9525">
              <a:noFill/>
              <a:miter lim="800000"/>
              <a:headEnd/>
              <a:tailEnd/>
            </a:ln>
          </p:spPr>
          <p:txBody>
            <a:bodyPr wrap="square" lIns="0" tIns="0" rIns="0" bIns="0">
              <a:spAutoFit/>
            </a:bodyPr>
            <a:lstStyle/>
            <a:p>
              <a:pPr defTabSz="787400">
                <a:buClr>
                  <a:srgbClr val="062859"/>
                </a:buClr>
              </a:pPr>
              <a:r>
                <a:rPr lang="en-US" altLang="ja-JP" sz="1000" b="1" dirty="0">
                  <a:solidFill>
                    <a:srgbClr val="0065BD"/>
                  </a:solidFill>
                  <a:latin typeface="Arial"/>
                  <a:cs typeface="Arial" charset="0"/>
                </a:rPr>
                <a:t>Clean teams: </a:t>
              </a:r>
              <a:r>
                <a:rPr lang="en-US" altLang="ja-JP" sz="1000" dirty="0">
                  <a:solidFill>
                    <a:srgbClr val="000000"/>
                  </a:solidFill>
                  <a:latin typeface="Arial"/>
                  <a:cs typeface="Arial" charset="0"/>
                </a:rPr>
                <a:t>How do we set up and use clean teams?</a:t>
              </a:r>
            </a:p>
          </p:txBody>
        </p:sp>
        <p:sp>
          <p:nvSpPr>
            <p:cNvPr id="657444" name="Oval 20"/>
            <p:cNvSpPr>
              <a:spLocks noChangeArrowheads="1"/>
            </p:cNvSpPr>
            <p:nvPr/>
          </p:nvSpPr>
          <p:spPr bwMode="gray">
            <a:xfrm>
              <a:off x="1783139" y="3064839"/>
              <a:ext cx="195262" cy="195262"/>
            </a:xfrm>
            <a:prstGeom prst="ellipse">
              <a:avLst/>
            </a:prstGeom>
            <a:solidFill>
              <a:schemeClr val="accent1"/>
            </a:solidFill>
            <a:ln w="12700" algn="ctr">
              <a:noFill/>
              <a:round/>
              <a:headEnd/>
              <a:tailEnd/>
            </a:ln>
            <a:effectLst>
              <a:outerShdw blurRad="63500" sx="102000" sy="102000" algn="ctr" rotWithShape="0">
                <a:prstClr val="black">
                  <a:alpha val="40000"/>
                </a:prstClr>
              </a:outerShdw>
            </a:effectLst>
            <a:extLst/>
          </p:spPr>
          <p:txBody>
            <a:bodyPr lIns="0" tIns="0" rIns="0" bIns="0" anchor="ctr">
              <a:noAutofit/>
            </a:bodyPr>
            <a:lstStyle/>
            <a:p>
              <a:pPr algn="ctr"/>
              <a:r>
                <a:rPr lang="en-US" altLang="ja-JP" sz="1000" b="1" dirty="0">
                  <a:solidFill>
                    <a:srgbClr val="0065BD"/>
                  </a:solidFill>
                  <a:latin typeface="Arial"/>
                  <a:ea typeface="MS PGothic" pitchFamily="34" charset="-128"/>
                </a:rPr>
                <a:t>2</a:t>
              </a:r>
            </a:p>
          </p:txBody>
        </p:sp>
        <p:sp>
          <p:nvSpPr>
            <p:cNvPr id="657445" name="Rectangle 21"/>
            <p:cNvSpPr>
              <a:spLocks noChangeArrowheads="1"/>
            </p:cNvSpPr>
            <p:nvPr/>
          </p:nvSpPr>
          <p:spPr bwMode="gray">
            <a:xfrm>
              <a:off x="1557715" y="1902461"/>
              <a:ext cx="1727434" cy="1022350"/>
            </a:xfrm>
            <a:prstGeom prst="rect">
              <a:avLst/>
            </a:prstGeom>
            <a:solidFill>
              <a:schemeClr val="bg2"/>
            </a:solidFill>
            <a:ln w="12700" cmpd="sng">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000" dirty="0">
                <a:solidFill>
                  <a:srgbClr val="0065BD"/>
                </a:solidFill>
              </a:endParaRPr>
            </a:p>
          </p:txBody>
        </p:sp>
        <p:sp>
          <p:nvSpPr>
            <p:cNvPr id="657446" name="Freeform 22" descr="1e"/>
            <p:cNvSpPr>
              <a:spLocks/>
            </p:cNvSpPr>
            <p:nvPr/>
          </p:nvSpPr>
          <p:spPr bwMode="gray">
            <a:xfrm>
              <a:off x="1570414" y="1902461"/>
              <a:ext cx="620713" cy="1022350"/>
            </a:xfrm>
            <a:custGeom>
              <a:avLst/>
              <a:gdLst>
                <a:gd name="T0" fmla="*/ 2147483647 w 415"/>
                <a:gd name="T1" fmla="*/ 0 h 685"/>
                <a:gd name="T2" fmla="*/ 0 w 415"/>
                <a:gd name="T3" fmla="*/ 2147483647 h 685"/>
                <a:gd name="T4" fmla="*/ 0 w 415"/>
                <a:gd name="T5" fmla="*/ 2147483647 h 685"/>
                <a:gd name="T6" fmla="*/ 2147483647 w 415"/>
                <a:gd name="T7" fmla="*/ 2147483647 h 685"/>
                <a:gd name="T8" fmla="*/ 2147483647 w 415"/>
                <a:gd name="T9" fmla="*/ 2147483647 h 685"/>
                <a:gd name="T10" fmla="*/ 2147483647 w 415"/>
                <a:gd name="T11" fmla="*/ 0 h 685"/>
                <a:gd name="T12" fmla="*/ 2147483647 w 415"/>
                <a:gd name="T13" fmla="*/ 0 h 685"/>
                <a:gd name="T14" fmla="*/ 0 60000 65536"/>
                <a:gd name="T15" fmla="*/ 0 60000 65536"/>
                <a:gd name="T16" fmla="*/ 0 60000 65536"/>
                <a:gd name="T17" fmla="*/ 0 60000 65536"/>
                <a:gd name="T18" fmla="*/ 0 60000 65536"/>
                <a:gd name="T19" fmla="*/ 0 60000 65536"/>
                <a:gd name="T20" fmla="*/ 0 60000 65536"/>
                <a:gd name="T21" fmla="*/ 0 w 415"/>
                <a:gd name="T22" fmla="*/ 0 h 685"/>
                <a:gd name="T23" fmla="*/ 415 w 415"/>
                <a:gd name="T24" fmla="*/ 685 h 68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15" h="685">
                  <a:moveTo>
                    <a:pt x="75" y="0"/>
                  </a:moveTo>
                  <a:cubicBezTo>
                    <a:pt x="33" y="0"/>
                    <a:pt x="0" y="33"/>
                    <a:pt x="0" y="75"/>
                  </a:cubicBezTo>
                  <a:lnTo>
                    <a:pt x="0" y="610"/>
                  </a:lnTo>
                  <a:cubicBezTo>
                    <a:pt x="0" y="652"/>
                    <a:pt x="33" y="685"/>
                    <a:pt x="75" y="685"/>
                  </a:cubicBezTo>
                  <a:lnTo>
                    <a:pt x="415" y="685"/>
                  </a:lnTo>
                  <a:lnTo>
                    <a:pt x="415" y="0"/>
                  </a:lnTo>
                  <a:lnTo>
                    <a:pt x="75" y="0"/>
                  </a:lnTo>
                  <a:close/>
                </a:path>
              </a:pathLst>
            </a:custGeom>
            <a:blipFill dpi="0" rotWithShape="1">
              <a:blip r:embed="rId24">
                <a:extLst>
                  <a:ext uri="{28A0092B-C50C-407E-A947-70E740481C1C}">
                    <a14:useLocalDpi xmlns:a14="http://schemas.microsoft.com/office/drawing/2010/main"/>
                  </a:ext>
                </a:extLst>
              </a:blip>
              <a:srcRect/>
              <a:stretch>
                <a:fillRect/>
              </a:stretch>
            </a:blipFill>
            <a:ln w="19050" cap="rnd" cmpd="sng">
              <a:solidFill>
                <a:schemeClr val="accent6"/>
              </a:solidFill>
              <a:prstDash val="solid"/>
              <a:round/>
              <a:headEnd/>
              <a:tailEnd/>
            </a:ln>
          </p:spPr>
          <p:txBody>
            <a:bodyPr/>
            <a:lstStyle/>
            <a:p>
              <a:endParaRPr lang="en-US" sz="1000" dirty="0">
                <a:solidFill>
                  <a:srgbClr val="000000"/>
                </a:solidFill>
                <a:latin typeface="Arial"/>
                <a:cs typeface="Arial" charset="0"/>
              </a:endParaRPr>
            </a:p>
          </p:txBody>
        </p:sp>
        <p:sp>
          <p:nvSpPr>
            <p:cNvPr id="657447" name="Rectangle 23"/>
            <p:cNvSpPr>
              <a:spLocks noChangeArrowheads="1"/>
            </p:cNvSpPr>
            <p:nvPr/>
          </p:nvSpPr>
          <p:spPr bwMode="gray">
            <a:xfrm>
              <a:off x="2241927" y="1946911"/>
              <a:ext cx="1000747" cy="769441"/>
            </a:xfrm>
            <a:prstGeom prst="rect">
              <a:avLst/>
            </a:prstGeom>
            <a:noFill/>
            <a:ln w="9525">
              <a:noFill/>
              <a:miter lim="800000"/>
              <a:headEnd/>
              <a:tailEnd/>
            </a:ln>
          </p:spPr>
          <p:txBody>
            <a:bodyPr wrap="square" lIns="0" tIns="0" rIns="0" bIns="0">
              <a:spAutoFit/>
            </a:bodyPr>
            <a:lstStyle/>
            <a:p>
              <a:pPr defTabSz="787400">
                <a:buClr>
                  <a:srgbClr val="062859"/>
                </a:buClr>
              </a:pPr>
              <a:r>
                <a:rPr lang="en-US" altLang="ja-JP" sz="1000" b="1" dirty="0">
                  <a:solidFill>
                    <a:srgbClr val="0065BD"/>
                  </a:solidFill>
                  <a:latin typeface="Arial"/>
                  <a:cs typeface="Arial" charset="0"/>
                </a:rPr>
                <a:t>IMO and </a:t>
              </a:r>
              <a:r>
                <a:rPr lang="en-US" altLang="ja-JP" sz="1000" b="1" dirty="0" err="1">
                  <a:solidFill>
                    <a:srgbClr val="0065BD"/>
                  </a:solidFill>
                  <a:latin typeface="Arial"/>
                  <a:cs typeface="Arial" charset="0"/>
                </a:rPr>
                <a:t>inte-gration</a:t>
              </a:r>
              <a:r>
                <a:rPr lang="en-US" altLang="ja-JP" sz="1000" b="1" dirty="0">
                  <a:solidFill>
                    <a:srgbClr val="0065BD"/>
                  </a:solidFill>
                  <a:latin typeface="Arial"/>
                  <a:cs typeface="Arial" charset="0"/>
                </a:rPr>
                <a:t> </a:t>
              </a:r>
              <a:r>
                <a:rPr lang="en-US" altLang="ja-JP" sz="1000" b="1" dirty="0" err="1">
                  <a:solidFill>
                    <a:srgbClr val="0065BD"/>
                  </a:solidFill>
                  <a:latin typeface="Arial"/>
                  <a:cs typeface="Arial" charset="0"/>
                </a:rPr>
                <a:t>architec-ture</a:t>
              </a:r>
              <a:r>
                <a:rPr lang="en-US" altLang="ja-JP" sz="1000" b="1" dirty="0">
                  <a:solidFill>
                    <a:srgbClr val="0065BD"/>
                  </a:solidFill>
                  <a:latin typeface="Arial"/>
                  <a:cs typeface="Arial" charset="0"/>
                </a:rPr>
                <a:t>: </a:t>
              </a:r>
              <a:r>
                <a:rPr lang="en-US" altLang="ja-JP" sz="1000" dirty="0">
                  <a:solidFill>
                    <a:srgbClr val="000000"/>
                  </a:solidFill>
                  <a:latin typeface="Arial"/>
                  <a:cs typeface="Arial" charset="0"/>
                </a:rPr>
                <a:t>How do we set up and run an integration office? </a:t>
              </a:r>
            </a:p>
          </p:txBody>
        </p:sp>
        <p:sp>
          <p:nvSpPr>
            <p:cNvPr id="657448" name="Oval 24"/>
            <p:cNvSpPr>
              <a:spLocks noChangeArrowheads="1"/>
            </p:cNvSpPr>
            <p:nvPr/>
          </p:nvSpPr>
          <p:spPr bwMode="gray">
            <a:xfrm>
              <a:off x="1783139" y="1929448"/>
              <a:ext cx="195262" cy="195263"/>
            </a:xfrm>
            <a:prstGeom prst="ellipse">
              <a:avLst/>
            </a:prstGeom>
            <a:solidFill>
              <a:schemeClr val="accent1"/>
            </a:solidFill>
            <a:ln w="12700" algn="ctr">
              <a:noFill/>
              <a:round/>
              <a:headEnd/>
              <a:tailEnd/>
            </a:ln>
            <a:effectLst>
              <a:outerShdw blurRad="63500" sx="102000" sy="102000" algn="ctr" rotWithShape="0">
                <a:prstClr val="black">
                  <a:alpha val="40000"/>
                </a:prstClr>
              </a:outerShdw>
            </a:effectLst>
            <a:extLst/>
          </p:spPr>
          <p:txBody>
            <a:bodyPr lIns="0" tIns="0" rIns="0" bIns="0" anchor="ctr">
              <a:noAutofit/>
            </a:bodyPr>
            <a:lstStyle/>
            <a:p>
              <a:pPr algn="ctr"/>
              <a:r>
                <a:rPr lang="en-US" altLang="ja-JP" sz="1000" b="1" dirty="0">
                  <a:solidFill>
                    <a:srgbClr val="0065BD"/>
                  </a:solidFill>
                  <a:latin typeface="Arial"/>
                  <a:ea typeface="MS PGothic" pitchFamily="34" charset="-128"/>
                </a:rPr>
                <a:t>1</a:t>
              </a:r>
            </a:p>
          </p:txBody>
        </p:sp>
        <p:sp>
          <p:nvSpPr>
            <p:cNvPr id="657449" name="Rectangle 25"/>
            <p:cNvSpPr>
              <a:spLocks noChangeArrowheads="1"/>
            </p:cNvSpPr>
            <p:nvPr/>
          </p:nvSpPr>
          <p:spPr bwMode="gray">
            <a:xfrm>
              <a:off x="6925345" y="1902461"/>
              <a:ext cx="1637545" cy="1022350"/>
            </a:xfrm>
            <a:prstGeom prst="rect">
              <a:avLst/>
            </a:prstGeom>
            <a:solidFill>
              <a:schemeClr val="bg2"/>
            </a:solidFill>
            <a:ln w="12700" cmpd="sng">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CA" sz="1000" dirty="0">
                <a:solidFill>
                  <a:srgbClr val="0065BD"/>
                </a:solidFill>
              </a:endParaRPr>
            </a:p>
          </p:txBody>
        </p:sp>
        <p:sp>
          <p:nvSpPr>
            <p:cNvPr id="657450" name="Freeform 26" descr="9a"/>
            <p:cNvSpPr>
              <a:spLocks/>
            </p:cNvSpPr>
            <p:nvPr/>
          </p:nvSpPr>
          <p:spPr bwMode="gray">
            <a:xfrm>
              <a:off x="6925345" y="1902461"/>
              <a:ext cx="620713" cy="1022350"/>
            </a:xfrm>
            <a:custGeom>
              <a:avLst/>
              <a:gdLst>
                <a:gd name="T0" fmla="*/ 2147483647 w 415"/>
                <a:gd name="T1" fmla="*/ 0 h 685"/>
                <a:gd name="T2" fmla="*/ 0 w 415"/>
                <a:gd name="T3" fmla="*/ 2147483647 h 685"/>
                <a:gd name="T4" fmla="*/ 0 w 415"/>
                <a:gd name="T5" fmla="*/ 2147483647 h 685"/>
                <a:gd name="T6" fmla="*/ 2147483647 w 415"/>
                <a:gd name="T7" fmla="*/ 2147483647 h 685"/>
                <a:gd name="T8" fmla="*/ 2147483647 w 415"/>
                <a:gd name="T9" fmla="*/ 2147483647 h 685"/>
                <a:gd name="T10" fmla="*/ 2147483647 w 415"/>
                <a:gd name="T11" fmla="*/ 0 h 685"/>
                <a:gd name="T12" fmla="*/ 2147483647 w 415"/>
                <a:gd name="T13" fmla="*/ 0 h 685"/>
                <a:gd name="T14" fmla="*/ 0 60000 65536"/>
                <a:gd name="T15" fmla="*/ 0 60000 65536"/>
                <a:gd name="T16" fmla="*/ 0 60000 65536"/>
                <a:gd name="T17" fmla="*/ 0 60000 65536"/>
                <a:gd name="T18" fmla="*/ 0 60000 65536"/>
                <a:gd name="T19" fmla="*/ 0 60000 65536"/>
                <a:gd name="T20" fmla="*/ 0 60000 65536"/>
                <a:gd name="T21" fmla="*/ 0 w 415"/>
                <a:gd name="T22" fmla="*/ 0 h 685"/>
                <a:gd name="T23" fmla="*/ 415 w 415"/>
                <a:gd name="T24" fmla="*/ 685 h 68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15" h="685">
                  <a:moveTo>
                    <a:pt x="75" y="0"/>
                  </a:moveTo>
                  <a:cubicBezTo>
                    <a:pt x="33" y="0"/>
                    <a:pt x="0" y="33"/>
                    <a:pt x="0" y="75"/>
                  </a:cubicBezTo>
                  <a:lnTo>
                    <a:pt x="0" y="610"/>
                  </a:lnTo>
                  <a:cubicBezTo>
                    <a:pt x="0" y="652"/>
                    <a:pt x="33" y="685"/>
                    <a:pt x="75" y="685"/>
                  </a:cubicBezTo>
                  <a:lnTo>
                    <a:pt x="415" y="685"/>
                  </a:lnTo>
                  <a:lnTo>
                    <a:pt x="415" y="0"/>
                  </a:lnTo>
                  <a:lnTo>
                    <a:pt x="75" y="0"/>
                  </a:lnTo>
                  <a:close/>
                </a:path>
              </a:pathLst>
            </a:custGeom>
            <a:blipFill dpi="0" rotWithShape="1">
              <a:blip r:embed="rId25">
                <a:extLst>
                  <a:ext uri="{28A0092B-C50C-407E-A947-70E740481C1C}">
                    <a14:useLocalDpi xmlns:a14="http://schemas.microsoft.com/office/drawing/2010/main"/>
                  </a:ext>
                </a:extLst>
              </a:blip>
              <a:srcRect/>
              <a:stretch>
                <a:fillRect/>
              </a:stretch>
            </a:blipFill>
            <a:ln w="19050" cap="rnd" cmpd="sng">
              <a:solidFill>
                <a:schemeClr val="accent6"/>
              </a:solidFill>
              <a:prstDash val="solid"/>
              <a:round/>
              <a:headEnd/>
              <a:tailEnd/>
            </a:ln>
          </p:spPr>
          <p:txBody>
            <a:bodyPr>
              <a:noAutofit/>
            </a:bodyPr>
            <a:lstStyle/>
            <a:p>
              <a:endParaRPr lang="en-US" sz="1000" dirty="0">
                <a:solidFill>
                  <a:srgbClr val="000000"/>
                </a:solidFill>
                <a:latin typeface="Arial"/>
                <a:cs typeface="Arial" charset="0"/>
              </a:endParaRPr>
            </a:p>
          </p:txBody>
        </p:sp>
        <p:sp>
          <p:nvSpPr>
            <p:cNvPr id="657451" name="Rectangle 27"/>
            <p:cNvSpPr>
              <a:spLocks noChangeArrowheads="1"/>
            </p:cNvSpPr>
            <p:nvPr/>
          </p:nvSpPr>
          <p:spPr bwMode="gray">
            <a:xfrm>
              <a:off x="7590229" y="1946911"/>
              <a:ext cx="942733" cy="923330"/>
            </a:xfrm>
            <a:prstGeom prst="rect">
              <a:avLst/>
            </a:prstGeom>
            <a:noFill/>
            <a:ln w="9525">
              <a:noFill/>
              <a:miter lim="800000"/>
              <a:headEnd/>
              <a:tailEnd/>
            </a:ln>
          </p:spPr>
          <p:txBody>
            <a:bodyPr wrap="square" lIns="0" tIns="0" rIns="0" bIns="0">
              <a:spAutoFit/>
            </a:bodyPr>
            <a:lstStyle/>
            <a:p>
              <a:pPr defTabSz="787400">
                <a:buClr>
                  <a:srgbClr val="062859"/>
                </a:buClr>
              </a:pPr>
              <a:r>
                <a:rPr lang="en-US" altLang="ja-JP" sz="1000" b="1" dirty="0">
                  <a:solidFill>
                    <a:srgbClr val="0065BD"/>
                  </a:solidFill>
                  <a:latin typeface="Arial"/>
                  <a:cs typeface="Arial" charset="0"/>
                </a:rPr>
                <a:t>Progress track-ing: </a:t>
              </a:r>
              <a:r>
                <a:rPr lang="en-US" altLang="ja-JP" sz="1000" dirty="0">
                  <a:solidFill>
                    <a:srgbClr val="000000"/>
                  </a:solidFill>
                  <a:latin typeface="Arial"/>
                  <a:cs typeface="Arial" charset="0"/>
                </a:rPr>
                <a:t>How do we track our progress (e.g., synergies, projects)?</a:t>
              </a:r>
            </a:p>
          </p:txBody>
        </p:sp>
        <p:sp>
          <p:nvSpPr>
            <p:cNvPr id="657452" name="Oval 28"/>
            <p:cNvSpPr>
              <a:spLocks noChangeArrowheads="1"/>
            </p:cNvSpPr>
            <p:nvPr/>
          </p:nvSpPr>
          <p:spPr bwMode="gray">
            <a:xfrm>
              <a:off x="7138070" y="1929448"/>
              <a:ext cx="195263" cy="195263"/>
            </a:xfrm>
            <a:prstGeom prst="ellipse">
              <a:avLst/>
            </a:prstGeom>
            <a:solidFill>
              <a:schemeClr val="accent1"/>
            </a:solidFill>
            <a:ln w="12700" algn="ctr">
              <a:noFill/>
              <a:round/>
              <a:headEnd/>
              <a:tailEnd/>
            </a:ln>
            <a:effectLst>
              <a:outerShdw blurRad="63500" sx="102000" sy="102000" algn="ctr" rotWithShape="0">
                <a:prstClr val="black">
                  <a:alpha val="40000"/>
                </a:prstClr>
              </a:outerShdw>
            </a:effectLst>
            <a:extLst/>
          </p:spPr>
          <p:txBody>
            <a:bodyPr lIns="0" tIns="0" rIns="0" bIns="0" anchor="ctr">
              <a:noAutofit/>
            </a:bodyPr>
            <a:lstStyle/>
            <a:p>
              <a:pPr algn="ctr"/>
              <a:r>
                <a:rPr lang="en-US" altLang="ja-JP" sz="1000" b="1" dirty="0">
                  <a:solidFill>
                    <a:srgbClr val="0065BD"/>
                  </a:solidFill>
                  <a:latin typeface="Arial"/>
                  <a:ea typeface="MS PGothic" pitchFamily="34" charset="-128"/>
                </a:rPr>
                <a:t>9</a:t>
              </a:r>
            </a:p>
          </p:txBody>
        </p:sp>
        <p:sp>
          <p:nvSpPr>
            <p:cNvPr id="657453" name="Rectangle 29"/>
            <p:cNvSpPr>
              <a:spLocks noChangeArrowheads="1"/>
            </p:cNvSpPr>
            <p:nvPr/>
          </p:nvSpPr>
          <p:spPr bwMode="gray">
            <a:xfrm>
              <a:off x="1557715" y="5313395"/>
              <a:ext cx="1727434" cy="1020763"/>
            </a:xfrm>
            <a:prstGeom prst="rect">
              <a:avLst/>
            </a:prstGeom>
            <a:solidFill>
              <a:schemeClr val="bg2"/>
            </a:solidFill>
            <a:ln w="12700" cmpd="sng">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000" dirty="0">
                <a:solidFill>
                  <a:srgbClr val="0065BD"/>
                </a:solidFill>
              </a:endParaRPr>
            </a:p>
          </p:txBody>
        </p:sp>
        <p:sp>
          <p:nvSpPr>
            <p:cNvPr id="657454" name="Freeform 30" descr="3a"/>
            <p:cNvSpPr>
              <a:spLocks/>
            </p:cNvSpPr>
            <p:nvPr/>
          </p:nvSpPr>
          <p:spPr bwMode="gray">
            <a:xfrm>
              <a:off x="1570414" y="5311808"/>
              <a:ext cx="620713" cy="1022350"/>
            </a:xfrm>
            <a:custGeom>
              <a:avLst/>
              <a:gdLst>
                <a:gd name="T0" fmla="*/ 2147483647 w 415"/>
                <a:gd name="T1" fmla="*/ 0 h 685"/>
                <a:gd name="T2" fmla="*/ 0 w 415"/>
                <a:gd name="T3" fmla="*/ 2147483647 h 685"/>
                <a:gd name="T4" fmla="*/ 0 w 415"/>
                <a:gd name="T5" fmla="*/ 2147483647 h 685"/>
                <a:gd name="T6" fmla="*/ 2147483647 w 415"/>
                <a:gd name="T7" fmla="*/ 2147483647 h 685"/>
                <a:gd name="T8" fmla="*/ 2147483647 w 415"/>
                <a:gd name="T9" fmla="*/ 2147483647 h 685"/>
                <a:gd name="T10" fmla="*/ 2147483647 w 415"/>
                <a:gd name="T11" fmla="*/ 0 h 685"/>
                <a:gd name="T12" fmla="*/ 2147483647 w 415"/>
                <a:gd name="T13" fmla="*/ 0 h 685"/>
                <a:gd name="T14" fmla="*/ 0 60000 65536"/>
                <a:gd name="T15" fmla="*/ 0 60000 65536"/>
                <a:gd name="T16" fmla="*/ 0 60000 65536"/>
                <a:gd name="T17" fmla="*/ 0 60000 65536"/>
                <a:gd name="T18" fmla="*/ 0 60000 65536"/>
                <a:gd name="T19" fmla="*/ 0 60000 65536"/>
                <a:gd name="T20" fmla="*/ 0 60000 65536"/>
                <a:gd name="T21" fmla="*/ 0 w 415"/>
                <a:gd name="T22" fmla="*/ 0 h 685"/>
                <a:gd name="T23" fmla="*/ 415 w 415"/>
                <a:gd name="T24" fmla="*/ 685 h 68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15" h="685">
                  <a:moveTo>
                    <a:pt x="75" y="0"/>
                  </a:moveTo>
                  <a:cubicBezTo>
                    <a:pt x="33" y="0"/>
                    <a:pt x="0" y="33"/>
                    <a:pt x="0" y="75"/>
                  </a:cubicBezTo>
                  <a:lnTo>
                    <a:pt x="0" y="610"/>
                  </a:lnTo>
                  <a:cubicBezTo>
                    <a:pt x="0" y="652"/>
                    <a:pt x="33" y="685"/>
                    <a:pt x="75" y="685"/>
                  </a:cubicBezTo>
                  <a:lnTo>
                    <a:pt x="415" y="685"/>
                  </a:lnTo>
                  <a:lnTo>
                    <a:pt x="415" y="0"/>
                  </a:lnTo>
                  <a:lnTo>
                    <a:pt x="75" y="0"/>
                  </a:lnTo>
                  <a:close/>
                </a:path>
              </a:pathLst>
            </a:custGeom>
            <a:blipFill dpi="0" rotWithShape="1">
              <a:blip r:embed="rId26">
                <a:extLst>
                  <a:ext uri="{28A0092B-C50C-407E-A947-70E740481C1C}">
                    <a14:useLocalDpi xmlns:a14="http://schemas.microsoft.com/office/drawing/2010/main"/>
                  </a:ext>
                </a:extLst>
              </a:blip>
              <a:srcRect/>
              <a:stretch>
                <a:fillRect/>
              </a:stretch>
            </a:blipFill>
            <a:ln w="19050" cap="rnd" cmpd="sng">
              <a:solidFill>
                <a:schemeClr val="accent6"/>
              </a:solidFill>
              <a:prstDash val="solid"/>
              <a:round/>
              <a:headEnd/>
              <a:tailEnd/>
            </a:ln>
          </p:spPr>
          <p:txBody>
            <a:bodyPr/>
            <a:lstStyle/>
            <a:p>
              <a:endParaRPr lang="en-US" sz="1000" dirty="0">
                <a:solidFill>
                  <a:srgbClr val="000000"/>
                </a:solidFill>
                <a:latin typeface="Arial"/>
                <a:cs typeface="Arial" charset="0"/>
              </a:endParaRPr>
            </a:p>
          </p:txBody>
        </p:sp>
        <p:sp>
          <p:nvSpPr>
            <p:cNvPr id="657455" name="Rectangle 31"/>
            <p:cNvSpPr>
              <a:spLocks noChangeArrowheads="1"/>
            </p:cNvSpPr>
            <p:nvPr/>
          </p:nvSpPr>
          <p:spPr bwMode="gray">
            <a:xfrm>
              <a:off x="2241927" y="5357845"/>
              <a:ext cx="1000747" cy="914400"/>
            </a:xfrm>
            <a:prstGeom prst="rect">
              <a:avLst/>
            </a:prstGeom>
            <a:noFill/>
            <a:ln w="9525">
              <a:noFill/>
              <a:miter lim="800000"/>
              <a:headEnd/>
              <a:tailEnd/>
            </a:ln>
          </p:spPr>
          <p:txBody>
            <a:bodyPr wrap="square" lIns="0" tIns="0" rIns="0" bIns="0">
              <a:spAutoFit/>
            </a:bodyPr>
            <a:lstStyle/>
            <a:p>
              <a:pPr defTabSz="787400">
                <a:buClr>
                  <a:srgbClr val="062859"/>
                </a:buClr>
              </a:pPr>
              <a:r>
                <a:rPr lang="en-US" altLang="ja-JP" sz="1000" b="1" dirty="0">
                  <a:solidFill>
                    <a:srgbClr val="0065BD"/>
                  </a:solidFill>
                  <a:latin typeface="Arial"/>
                  <a:cs typeface="Arial" charset="0"/>
                </a:rPr>
                <a:t>Communica-tion: </a:t>
              </a:r>
              <a:r>
                <a:rPr lang="en-US" altLang="ja-JP" sz="1000" dirty="0">
                  <a:solidFill>
                    <a:srgbClr val="000000"/>
                  </a:solidFill>
                  <a:latin typeface="Arial"/>
                  <a:cs typeface="Arial" charset="0"/>
                </a:rPr>
                <a:t>How do we develop a merger story and a communication strategy?</a:t>
              </a:r>
            </a:p>
          </p:txBody>
        </p:sp>
        <p:sp>
          <p:nvSpPr>
            <p:cNvPr id="657456" name="Oval 32"/>
            <p:cNvSpPr>
              <a:spLocks noChangeArrowheads="1"/>
            </p:cNvSpPr>
            <p:nvPr/>
          </p:nvSpPr>
          <p:spPr bwMode="gray">
            <a:xfrm>
              <a:off x="1783139" y="5340383"/>
              <a:ext cx="195262" cy="195262"/>
            </a:xfrm>
            <a:prstGeom prst="ellipse">
              <a:avLst/>
            </a:prstGeom>
            <a:solidFill>
              <a:schemeClr val="accent1"/>
            </a:solidFill>
            <a:ln w="12700" algn="ctr">
              <a:noFill/>
              <a:round/>
              <a:headEnd/>
              <a:tailEnd/>
            </a:ln>
            <a:effectLst>
              <a:outerShdw blurRad="63500" sx="102000" sy="102000" algn="ctr" rotWithShape="0">
                <a:prstClr val="black">
                  <a:alpha val="40000"/>
                </a:prstClr>
              </a:outerShdw>
            </a:effectLst>
            <a:extLst/>
          </p:spPr>
          <p:txBody>
            <a:bodyPr lIns="0" tIns="0" rIns="0" bIns="0" anchor="ctr">
              <a:noAutofit/>
            </a:bodyPr>
            <a:lstStyle/>
            <a:p>
              <a:pPr algn="ctr"/>
              <a:r>
                <a:rPr lang="en-US" altLang="ja-JP" sz="1000" b="1" dirty="0">
                  <a:solidFill>
                    <a:srgbClr val="0065BD"/>
                  </a:solidFill>
                  <a:latin typeface="Arial"/>
                  <a:ea typeface="MS PGothic" pitchFamily="34" charset="-128"/>
                </a:rPr>
                <a:t>4</a:t>
              </a:r>
            </a:p>
          </p:txBody>
        </p:sp>
        <p:sp>
          <p:nvSpPr>
            <p:cNvPr id="657457" name="Rectangle 33"/>
            <p:cNvSpPr>
              <a:spLocks noChangeArrowheads="1"/>
            </p:cNvSpPr>
            <p:nvPr/>
          </p:nvSpPr>
          <p:spPr bwMode="gray">
            <a:xfrm>
              <a:off x="1557715" y="4174829"/>
              <a:ext cx="1727434" cy="1023938"/>
            </a:xfrm>
            <a:prstGeom prst="rect">
              <a:avLst/>
            </a:prstGeom>
            <a:solidFill>
              <a:schemeClr val="bg2"/>
            </a:solidFill>
            <a:ln w="12700" cmpd="sng">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000" dirty="0">
                <a:solidFill>
                  <a:srgbClr val="0065BD"/>
                </a:solidFill>
              </a:endParaRPr>
            </a:p>
          </p:txBody>
        </p:sp>
        <p:sp>
          <p:nvSpPr>
            <p:cNvPr id="657458" name="Freeform 34" descr="extra-2"/>
            <p:cNvSpPr>
              <a:spLocks/>
            </p:cNvSpPr>
            <p:nvPr/>
          </p:nvSpPr>
          <p:spPr bwMode="gray">
            <a:xfrm>
              <a:off x="1570414" y="4174829"/>
              <a:ext cx="620713" cy="1023938"/>
            </a:xfrm>
            <a:custGeom>
              <a:avLst/>
              <a:gdLst>
                <a:gd name="T0" fmla="*/ 2147483647 w 415"/>
                <a:gd name="T1" fmla="*/ 0 h 685"/>
                <a:gd name="T2" fmla="*/ 0 w 415"/>
                <a:gd name="T3" fmla="*/ 2147483647 h 685"/>
                <a:gd name="T4" fmla="*/ 0 w 415"/>
                <a:gd name="T5" fmla="*/ 2147483647 h 685"/>
                <a:gd name="T6" fmla="*/ 2147483647 w 415"/>
                <a:gd name="T7" fmla="*/ 2147483647 h 685"/>
                <a:gd name="T8" fmla="*/ 2147483647 w 415"/>
                <a:gd name="T9" fmla="*/ 2147483647 h 685"/>
                <a:gd name="T10" fmla="*/ 2147483647 w 415"/>
                <a:gd name="T11" fmla="*/ 0 h 685"/>
                <a:gd name="T12" fmla="*/ 2147483647 w 415"/>
                <a:gd name="T13" fmla="*/ 0 h 685"/>
                <a:gd name="T14" fmla="*/ 0 60000 65536"/>
                <a:gd name="T15" fmla="*/ 0 60000 65536"/>
                <a:gd name="T16" fmla="*/ 0 60000 65536"/>
                <a:gd name="T17" fmla="*/ 0 60000 65536"/>
                <a:gd name="T18" fmla="*/ 0 60000 65536"/>
                <a:gd name="T19" fmla="*/ 0 60000 65536"/>
                <a:gd name="T20" fmla="*/ 0 60000 65536"/>
                <a:gd name="T21" fmla="*/ 0 w 415"/>
                <a:gd name="T22" fmla="*/ 0 h 685"/>
                <a:gd name="T23" fmla="*/ 415 w 415"/>
                <a:gd name="T24" fmla="*/ 685 h 68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15" h="685">
                  <a:moveTo>
                    <a:pt x="75" y="0"/>
                  </a:moveTo>
                  <a:cubicBezTo>
                    <a:pt x="33" y="0"/>
                    <a:pt x="0" y="33"/>
                    <a:pt x="0" y="75"/>
                  </a:cubicBezTo>
                  <a:lnTo>
                    <a:pt x="0" y="610"/>
                  </a:lnTo>
                  <a:cubicBezTo>
                    <a:pt x="0" y="652"/>
                    <a:pt x="33" y="685"/>
                    <a:pt x="75" y="685"/>
                  </a:cubicBezTo>
                  <a:lnTo>
                    <a:pt x="415" y="685"/>
                  </a:lnTo>
                  <a:lnTo>
                    <a:pt x="415" y="0"/>
                  </a:lnTo>
                  <a:lnTo>
                    <a:pt x="75" y="0"/>
                  </a:lnTo>
                  <a:close/>
                </a:path>
              </a:pathLst>
            </a:custGeom>
            <a:blipFill dpi="0" rotWithShape="1">
              <a:blip r:embed="rId27">
                <a:extLst>
                  <a:ext uri="{28A0092B-C50C-407E-A947-70E740481C1C}">
                    <a14:useLocalDpi xmlns:a14="http://schemas.microsoft.com/office/drawing/2010/main"/>
                  </a:ext>
                </a:extLst>
              </a:blip>
              <a:srcRect/>
              <a:stretch>
                <a:fillRect/>
              </a:stretch>
            </a:blipFill>
            <a:ln w="19050" cap="rnd" cmpd="sng">
              <a:solidFill>
                <a:schemeClr val="accent6"/>
              </a:solidFill>
              <a:prstDash val="solid"/>
              <a:round/>
              <a:headEnd/>
              <a:tailEnd/>
            </a:ln>
          </p:spPr>
          <p:txBody>
            <a:bodyPr/>
            <a:lstStyle/>
            <a:p>
              <a:endParaRPr lang="en-US" sz="1000" dirty="0">
                <a:solidFill>
                  <a:srgbClr val="000000"/>
                </a:solidFill>
                <a:latin typeface="Arial"/>
                <a:cs typeface="Arial" charset="0"/>
              </a:endParaRPr>
            </a:p>
          </p:txBody>
        </p:sp>
        <p:sp>
          <p:nvSpPr>
            <p:cNvPr id="657459" name="Rectangle 35"/>
            <p:cNvSpPr>
              <a:spLocks noChangeArrowheads="1"/>
            </p:cNvSpPr>
            <p:nvPr/>
          </p:nvSpPr>
          <p:spPr bwMode="gray">
            <a:xfrm>
              <a:off x="2241927" y="4219279"/>
              <a:ext cx="1000747" cy="609600"/>
            </a:xfrm>
            <a:prstGeom prst="rect">
              <a:avLst/>
            </a:prstGeom>
            <a:noFill/>
            <a:ln w="9525">
              <a:noFill/>
              <a:miter lim="800000"/>
              <a:headEnd/>
              <a:tailEnd/>
            </a:ln>
          </p:spPr>
          <p:txBody>
            <a:bodyPr wrap="square" lIns="0" tIns="0" rIns="0" bIns="0">
              <a:spAutoFit/>
            </a:bodyPr>
            <a:lstStyle/>
            <a:p>
              <a:pPr defTabSz="787400">
                <a:buClr>
                  <a:srgbClr val="062859"/>
                </a:buClr>
              </a:pPr>
              <a:r>
                <a:rPr lang="en-US" altLang="ja-JP" sz="1000" b="1" dirty="0">
                  <a:solidFill>
                    <a:srgbClr val="0065BD"/>
                  </a:solidFill>
                  <a:latin typeface="Arial"/>
                  <a:cs typeface="Arial" charset="0"/>
                </a:rPr>
                <a:t>Organization: </a:t>
              </a:r>
              <a:r>
                <a:rPr lang="en-US" altLang="ja-JP" sz="1000" dirty="0">
                  <a:solidFill>
                    <a:srgbClr val="000000"/>
                  </a:solidFill>
                  <a:latin typeface="Arial"/>
                  <a:cs typeface="Arial" charset="0"/>
                </a:rPr>
                <a:t>How do we set up the new organization?</a:t>
              </a:r>
            </a:p>
          </p:txBody>
        </p:sp>
        <p:sp>
          <p:nvSpPr>
            <p:cNvPr id="657460" name="Oval 36"/>
            <p:cNvSpPr>
              <a:spLocks noChangeArrowheads="1"/>
            </p:cNvSpPr>
            <p:nvPr/>
          </p:nvSpPr>
          <p:spPr bwMode="gray">
            <a:xfrm>
              <a:off x="1783139" y="4201817"/>
              <a:ext cx="195262" cy="195262"/>
            </a:xfrm>
            <a:prstGeom prst="ellipse">
              <a:avLst/>
            </a:prstGeom>
            <a:solidFill>
              <a:schemeClr val="accent1"/>
            </a:solidFill>
            <a:ln w="12700" algn="ctr">
              <a:noFill/>
              <a:round/>
              <a:headEnd/>
              <a:tailEnd/>
            </a:ln>
            <a:effectLst>
              <a:outerShdw blurRad="63500" sx="102000" sy="102000" algn="ctr" rotWithShape="0">
                <a:prstClr val="black">
                  <a:alpha val="40000"/>
                </a:prstClr>
              </a:outerShdw>
            </a:effectLst>
            <a:extLst/>
          </p:spPr>
          <p:txBody>
            <a:bodyPr lIns="0" tIns="0" rIns="0" bIns="0" anchor="ctr">
              <a:noAutofit/>
            </a:bodyPr>
            <a:lstStyle/>
            <a:p>
              <a:pPr algn="ctr"/>
              <a:r>
                <a:rPr lang="en-US" altLang="ja-JP" sz="1000" b="1" dirty="0">
                  <a:solidFill>
                    <a:srgbClr val="0065BD"/>
                  </a:solidFill>
                  <a:latin typeface="Arial"/>
                  <a:ea typeface="MS PGothic" pitchFamily="34" charset="-128"/>
                </a:rPr>
                <a:t>3</a:t>
              </a:r>
            </a:p>
          </p:txBody>
        </p:sp>
        <p:sp>
          <p:nvSpPr>
            <p:cNvPr id="657461" name="Rectangle 37"/>
            <p:cNvSpPr>
              <a:spLocks noChangeArrowheads="1"/>
            </p:cNvSpPr>
            <p:nvPr/>
          </p:nvSpPr>
          <p:spPr bwMode="gray">
            <a:xfrm>
              <a:off x="3382248" y="3039439"/>
              <a:ext cx="1651863" cy="1022350"/>
            </a:xfrm>
            <a:prstGeom prst="rect">
              <a:avLst/>
            </a:prstGeom>
            <a:solidFill>
              <a:schemeClr val="bg2"/>
            </a:solidFill>
            <a:ln w="12700" cmpd="sng">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CA" sz="1000" dirty="0">
                <a:solidFill>
                  <a:srgbClr val="0065BD"/>
                </a:solidFill>
              </a:endParaRPr>
            </a:p>
          </p:txBody>
        </p:sp>
        <p:sp>
          <p:nvSpPr>
            <p:cNvPr id="657462" name="Freeform 38" descr="1063656_87967310"/>
            <p:cNvSpPr>
              <a:spLocks/>
            </p:cNvSpPr>
            <p:nvPr/>
          </p:nvSpPr>
          <p:spPr bwMode="gray">
            <a:xfrm>
              <a:off x="3382248" y="3039439"/>
              <a:ext cx="620713" cy="1022350"/>
            </a:xfrm>
            <a:custGeom>
              <a:avLst/>
              <a:gdLst>
                <a:gd name="T0" fmla="*/ 2147483647 w 415"/>
                <a:gd name="T1" fmla="*/ 0 h 685"/>
                <a:gd name="T2" fmla="*/ 0 w 415"/>
                <a:gd name="T3" fmla="*/ 2147483647 h 685"/>
                <a:gd name="T4" fmla="*/ 0 w 415"/>
                <a:gd name="T5" fmla="*/ 2147483647 h 685"/>
                <a:gd name="T6" fmla="*/ 2147483647 w 415"/>
                <a:gd name="T7" fmla="*/ 2147483647 h 685"/>
                <a:gd name="T8" fmla="*/ 2147483647 w 415"/>
                <a:gd name="T9" fmla="*/ 2147483647 h 685"/>
                <a:gd name="T10" fmla="*/ 2147483647 w 415"/>
                <a:gd name="T11" fmla="*/ 0 h 685"/>
                <a:gd name="T12" fmla="*/ 2147483647 w 415"/>
                <a:gd name="T13" fmla="*/ 0 h 685"/>
                <a:gd name="T14" fmla="*/ 0 60000 65536"/>
                <a:gd name="T15" fmla="*/ 0 60000 65536"/>
                <a:gd name="T16" fmla="*/ 0 60000 65536"/>
                <a:gd name="T17" fmla="*/ 0 60000 65536"/>
                <a:gd name="T18" fmla="*/ 0 60000 65536"/>
                <a:gd name="T19" fmla="*/ 0 60000 65536"/>
                <a:gd name="T20" fmla="*/ 0 60000 65536"/>
                <a:gd name="T21" fmla="*/ 0 w 415"/>
                <a:gd name="T22" fmla="*/ 0 h 685"/>
                <a:gd name="T23" fmla="*/ 415 w 415"/>
                <a:gd name="T24" fmla="*/ 685 h 68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15" h="685">
                  <a:moveTo>
                    <a:pt x="75" y="0"/>
                  </a:moveTo>
                  <a:cubicBezTo>
                    <a:pt x="33" y="0"/>
                    <a:pt x="0" y="33"/>
                    <a:pt x="0" y="75"/>
                  </a:cubicBezTo>
                  <a:lnTo>
                    <a:pt x="0" y="610"/>
                  </a:lnTo>
                  <a:cubicBezTo>
                    <a:pt x="0" y="652"/>
                    <a:pt x="33" y="685"/>
                    <a:pt x="75" y="685"/>
                  </a:cubicBezTo>
                  <a:lnTo>
                    <a:pt x="415" y="685"/>
                  </a:lnTo>
                  <a:lnTo>
                    <a:pt x="415" y="0"/>
                  </a:lnTo>
                  <a:lnTo>
                    <a:pt x="75" y="0"/>
                  </a:lnTo>
                  <a:close/>
                </a:path>
              </a:pathLst>
            </a:custGeom>
            <a:blipFill dpi="0" rotWithShape="1">
              <a:blip r:embed="rId28">
                <a:extLst>
                  <a:ext uri="{28A0092B-C50C-407E-A947-70E740481C1C}">
                    <a14:useLocalDpi xmlns:a14="http://schemas.microsoft.com/office/drawing/2010/main"/>
                  </a:ext>
                </a:extLst>
              </a:blip>
              <a:srcRect/>
              <a:stretch>
                <a:fillRect/>
              </a:stretch>
            </a:blipFill>
            <a:ln w="19050" cap="rnd" cmpd="sng">
              <a:solidFill>
                <a:schemeClr val="accent6"/>
              </a:solidFill>
              <a:prstDash val="solid"/>
              <a:round/>
              <a:headEnd/>
              <a:tailEnd/>
            </a:ln>
          </p:spPr>
          <p:txBody>
            <a:bodyPr>
              <a:noAutofit/>
            </a:bodyPr>
            <a:lstStyle/>
            <a:p>
              <a:endParaRPr lang="en-US" sz="1000" dirty="0">
                <a:solidFill>
                  <a:srgbClr val="000000"/>
                </a:solidFill>
                <a:latin typeface="Arial"/>
                <a:cs typeface="Arial" charset="0"/>
              </a:endParaRPr>
            </a:p>
          </p:txBody>
        </p:sp>
        <p:sp>
          <p:nvSpPr>
            <p:cNvPr id="657463" name="Rectangle 39"/>
            <p:cNvSpPr>
              <a:spLocks noChangeArrowheads="1"/>
            </p:cNvSpPr>
            <p:nvPr/>
          </p:nvSpPr>
          <p:spPr bwMode="gray">
            <a:xfrm>
              <a:off x="4044896" y="3082301"/>
              <a:ext cx="964277" cy="762000"/>
            </a:xfrm>
            <a:prstGeom prst="rect">
              <a:avLst/>
            </a:prstGeom>
            <a:noFill/>
            <a:ln w="9525">
              <a:noFill/>
              <a:miter lim="800000"/>
              <a:headEnd/>
              <a:tailEnd/>
            </a:ln>
          </p:spPr>
          <p:txBody>
            <a:bodyPr lIns="0" tIns="0" rIns="0" bIns="0">
              <a:spAutoFit/>
            </a:bodyPr>
            <a:lstStyle/>
            <a:p>
              <a:pPr defTabSz="787400">
                <a:buClr>
                  <a:srgbClr val="062859"/>
                </a:buClr>
              </a:pPr>
              <a:r>
                <a:rPr lang="en-US" altLang="ja-JP" sz="1000" b="1" dirty="0">
                  <a:solidFill>
                    <a:srgbClr val="0065BD"/>
                  </a:solidFill>
                  <a:latin typeface="Arial"/>
                  <a:cs typeface="Arial" charset="0"/>
                </a:rPr>
                <a:t>Synergies: </a:t>
              </a:r>
              <a:r>
                <a:rPr lang="en-US" altLang="ja-JP" sz="1000" dirty="0">
                  <a:solidFill>
                    <a:srgbClr val="000000"/>
                  </a:solidFill>
                  <a:latin typeface="Arial"/>
                  <a:cs typeface="Arial" charset="0"/>
                </a:rPr>
                <a:t>How do we indentify, quantify, and capture possible synergies?</a:t>
              </a:r>
            </a:p>
          </p:txBody>
        </p:sp>
        <p:sp>
          <p:nvSpPr>
            <p:cNvPr id="657464" name="Oval 40"/>
            <p:cNvSpPr>
              <a:spLocks noChangeArrowheads="1"/>
            </p:cNvSpPr>
            <p:nvPr/>
          </p:nvSpPr>
          <p:spPr bwMode="gray">
            <a:xfrm>
              <a:off x="3594973" y="3066426"/>
              <a:ext cx="195262" cy="193675"/>
            </a:xfrm>
            <a:prstGeom prst="ellipse">
              <a:avLst/>
            </a:prstGeom>
            <a:solidFill>
              <a:schemeClr val="accent1"/>
            </a:solidFill>
            <a:ln w="12700" algn="ctr">
              <a:noFill/>
              <a:round/>
              <a:headEnd/>
              <a:tailEnd/>
            </a:ln>
            <a:effectLst>
              <a:outerShdw blurRad="63500" sx="102000" sy="102000" algn="ctr" rotWithShape="0">
                <a:prstClr val="black">
                  <a:alpha val="40000"/>
                </a:prstClr>
              </a:outerShdw>
            </a:effectLst>
            <a:extLst/>
          </p:spPr>
          <p:txBody>
            <a:bodyPr lIns="0" tIns="0" rIns="0" bIns="0" anchor="ctr">
              <a:noAutofit/>
            </a:bodyPr>
            <a:lstStyle/>
            <a:p>
              <a:pPr algn="ctr"/>
              <a:r>
                <a:rPr lang="en-US" altLang="ja-JP" sz="1000" b="1" dirty="0">
                  <a:solidFill>
                    <a:srgbClr val="0065BD"/>
                  </a:solidFill>
                  <a:latin typeface="Arial"/>
                  <a:ea typeface="MS PGothic" pitchFamily="34" charset="-128"/>
                </a:rPr>
                <a:t>6</a:t>
              </a:r>
            </a:p>
          </p:txBody>
        </p:sp>
        <p:sp>
          <p:nvSpPr>
            <p:cNvPr id="657465" name="Rectangle 41"/>
            <p:cNvSpPr>
              <a:spLocks noChangeArrowheads="1"/>
            </p:cNvSpPr>
            <p:nvPr/>
          </p:nvSpPr>
          <p:spPr bwMode="gray">
            <a:xfrm>
              <a:off x="5131210" y="1902461"/>
              <a:ext cx="1697037" cy="1022350"/>
            </a:xfrm>
            <a:prstGeom prst="rect">
              <a:avLst/>
            </a:prstGeom>
            <a:solidFill>
              <a:schemeClr val="bg2"/>
            </a:solidFill>
            <a:ln w="12700" cmpd="sng">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CA" sz="1000" dirty="0">
                <a:solidFill>
                  <a:srgbClr val="0065BD"/>
                </a:solidFill>
              </a:endParaRPr>
            </a:p>
          </p:txBody>
        </p:sp>
        <p:sp>
          <p:nvSpPr>
            <p:cNvPr id="657466" name="Freeform 42" descr="5a"/>
            <p:cNvSpPr>
              <a:spLocks/>
            </p:cNvSpPr>
            <p:nvPr/>
          </p:nvSpPr>
          <p:spPr bwMode="gray">
            <a:xfrm>
              <a:off x="5131210" y="1900873"/>
              <a:ext cx="620713" cy="1022350"/>
            </a:xfrm>
            <a:custGeom>
              <a:avLst/>
              <a:gdLst>
                <a:gd name="T0" fmla="*/ 2147483647 w 415"/>
                <a:gd name="T1" fmla="*/ 0 h 685"/>
                <a:gd name="T2" fmla="*/ 0 w 415"/>
                <a:gd name="T3" fmla="*/ 2147483647 h 685"/>
                <a:gd name="T4" fmla="*/ 0 w 415"/>
                <a:gd name="T5" fmla="*/ 2147483647 h 685"/>
                <a:gd name="T6" fmla="*/ 2147483647 w 415"/>
                <a:gd name="T7" fmla="*/ 2147483647 h 685"/>
                <a:gd name="T8" fmla="*/ 2147483647 w 415"/>
                <a:gd name="T9" fmla="*/ 2147483647 h 685"/>
                <a:gd name="T10" fmla="*/ 2147483647 w 415"/>
                <a:gd name="T11" fmla="*/ 0 h 685"/>
                <a:gd name="T12" fmla="*/ 2147483647 w 415"/>
                <a:gd name="T13" fmla="*/ 0 h 685"/>
                <a:gd name="T14" fmla="*/ 0 60000 65536"/>
                <a:gd name="T15" fmla="*/ 0 60000 65536"/>
                <a:gd name="T16" fmla="*/ 0 60000 65536"/>
                <a:gd name="T17" fmla="*/ 0 60000 65536"/>
                <a:gd name="T18" fmla="*/ 0 60000 65536"/>
                <a:gd name="T19" fmla="*/ 0 60000 65536"/>
                <a:gd name="T20" fmla="*/ 0 60000 65536"/>
                <a:gd name="T21" fmla="*/ 0 w 415"/>
                <a:gd name="T22" fmla="*/ 0 h 685"/>
                <a:gd name="T23" fmla="*/ 415 w 415"/>
                <a:gd name="T24" fmla="*/ 685 h 68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15" h="685">
                  <a:moveTo>
                    <a:pt x="75" y="0"/>
                  </a:moveTo>
                  <a:cubicBezTo>
                    <a:pt x="33" y="0"/>
                    <a:pt x="0" y="33"/>
                    <a:pt x="0" y="75"/>
                  </a:cubicBezTo>
                  <a:lnTo>
                    <a:pt x="0" y="610"/>
                  </a:lnTo>
                  <a:cubicBezTo>
                    <a:pt x="0" y="652"/>
                    <a:pt x="33" y="685"/>
                    <a:pt x="75" y="685"/>
                  </a:cubicBezTo>
                  <a:lnTo>
                    <a:pt x="415" y="685"/>
                  </a:lnTo>
                  <a:lnTo>
                    <a:pt x="415" y="0"/>
                  </a:lnTo>
                  <a:lnTo>
                    <a:pt x="75" y="0"/>
                  </a:lnTo>
                  <a:close/>
                </a:path>
              </a:pathLst>
            </a:custGeom>
            <a:blipFill dpi="0" rotWithShape="1">
              <a:blip r:embed="rId29">
                <a:extLst>
                  <a:ext uri="{28A0092B-C50C-407E-A947-70E740481C1C}">
                    <a14:useLocalDpi xmlns:a14="http://schemas.microsoft.com/office/drawing/2010/main"/>
                  </a:ext>
                </a:extLst>
              </a:blip>
              <a:srcRect/>
              <a:stretch>
                <a:fillRect/>
              </a:stretch>
            </a:blipFill>
            <a:ln w="19050" cap="rnd" cmpd="sng">
              <a:solidFill>
                <a:schemeClr val="accent6"/>
              </a:solidFill>
              <a:prstDash val="solid"/>
              <a:round/>
              <a:headEnd/>
              <a:tailEnd/>
            </a:ln>
          </p:spPr>
          <p:txBody>
            <a:bodyPr>
              <a:noAutofit/>
            </a:bodyPr>
            <a:lstStyle/>
            <a:p>
              <a:endParaRPr lang="en-US" sz="1000" dirty="0">
                <a:solidFill>
                  <a:srgbClr val="000000"/>
                </a:solidFill>
                <a:latin typeface="Arial"/>
                <a:cs typeface="Arial" charset="0"/>
              </a:endParaRPr>
            </a:p>
          </p:txBody>
        </p:sp>
        <p:sp>
          <p:nvSpPr>
            <p:cNvPr id="657467" name="Rectangle 43"/>
            <p:cNvSpPr>
              <a:spLocks noChangeArrowheads="1"/>
            </p:cNvSpPr>
            <p:nvPr/>
          </p:nvSpPr>
          <p:spPr bwMode="gray">
            <a:xfrm>
              <a:off x="5801987" y="1945323"/>
              <a:ext cx="954823" cy="457200"/>
            </a:xfrm>
            <a:prstGeom prst="rect">
              <a:avLst/>
            </a:prstGeom>
            <a:noFill/>
            <a:ln w="9525">
              <a:noFill/>
              <a:miter lim="800000"/>
              <a:headEnd/>
              <a:tailEnd/>
            </a:ln>
          </p:spPr>
          <p:txBody>
            <a:bodyPr wrap="square" lIns="0" tIns="0" rIns="0" bIns="0">
              <a:spAutoFit/>
            </a:bodyPr>
            <a:lstStyle/>
            <a:p>
              <a:pPr defTabSz="787400">
                <a:buClr>
                  <a:srgbClr val="062859"/>
                </a:buClr>
              </a:pPr>
              <a:r>
                <a:rPr lang="en-US" altLang="ja-JP" sz="1000" b="1" dirty="0">
                  <a:solidFill>
                    <a:srgbClr val="0065BD"/>
                  </a:solidFill>
                  <a:latin typeface="Arial"/>
                  <a:cs typeface="Arial" charset="0"/>
                </a:rPr>
                <a:t>HR: </a:t>
              </a:r>
              <a:r>
                <a:rPr lang="en-US" altLang="ja-JP" sz="1000" dirty="0">
                  <a:solidFill>
                    <a:srgbClr val="000000"/>
                  </a:solidFill>
                  <a:latin typeface="Arial"/>
                  <a:cs typeface="Arial" charset="0"/>
                </a:rPr>
                <a:t>How do we organize critical HR topics? </a:t>
              </a:r>
            </a:p>
          </p:txBody>
        </p:sp>
        <p:sp>
          <p:nvSpPr>
            <p:cNvPr id="657468" name="Oval 44"/>
            <p:cNvSpPr>
              <a:spLocks noChangeArrowheads="1"/>
            </p:cNvSpPr>
            <p:nvPr/>
          </p:nvSpPr>
          <p:spPr bwMode="gray">
            <a:xfrm>
              <a:off x="5343935" y="1927861"/>
              <a:ext cx="195263" cy="195262"/>
            </a:xfrm>
            <a:prstGeom prst="ellipse">
              <a:avLst/>
            </a:prstGeom>
            <a:solidFill>
              <a:schemeClr val="accent1"/>
            </a:solidFill>
            <a:ln w="12700" algn="ctr">
              <a:noFill/>
              <a:round/>
              <a:headEnd/>
              <a:tailEnd/>
            </a:ln>
            <a:effectLst>
              <a:outerShdw blurRad="63500" sx="102000" sy="102000" algn="ctr" rotWithShape="0">
                <a:prstClr val="black">
                  <a:alpha val="40000"/>
                </a:prstClr>
              </a:outerShdw>
            </a:effectLst>
            <a:extLst/>
          </p:spPr>
          <p:txBody>
            <a:bodyPr lIns="0" tIns="0" rIns="0" bIns="0" anchor="ctr">
              <a:noAutofit/>
            </a:bodyPr>
            <a:lstStyle/>
            <a:p>
              <a:pPr algn="ctr"/>
              <a:r>
                <a:rPr lang="en-US" altLang="ja-JP" sz="1000" b="1" dirty="0">
                  <a:solidFill>
                    <a:srgbClr val="0065BD"/>
                  </a:solidFill>
                  <a:latin typeface="Arial"/>
                  <a:ea typeface="MS PGothic" pitchFamily="34" charset="-128"/>
                </a:rPr>
                <a:t>7</a:t>
              </a:r>
            </a:p>
          </p:txBody>
        </p:sp>
        <p:sp>
          <p:nvSpPr>
            <p:cNvPr id="657469" name="Rectangle 45"/>
            <p:cNvSpPr>
              <a:spLocks noChangeArrowheads="1"/>
            </p:cNvSpPr>
            <p:nvPr/>
          </p:nvSpPr>
          <p:spPr bwMode="gray">
            <a:xfrm>
              <a:off x="3382248" y="1902461"/>
              <a:ext cx="1651863" cy="1022350"/>
            </a:xfrm>
            <a:prstGeom prst="rect">
              <a:avLst/>
            </a:prstGeom>
            <a:solidFill>
              <a:schemeClr val="bg2"/>
            </a:solidFill>
            <a:ln w="12700" cmpd="sng">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CA" sz="1000" dirty="0">
                <a:solidFill>
                  <a:srgbClr val="0065BD"/>
                </a:solidFill>
              </a:endParaRPr>
            </a:p>
          </p:txBody>
        </p:sp>
        <p:sp>
          <p:nvSpPr>
            <p:cNvPr id="657470" name="Freeform 46" descr="8a"/>
            <p:cNvSpPr>
              <a:spLocks/>
            </p:cNvSpPr>
            <p:nvPr/>
          </p:nvSpPr>
          <p:spPr bwMode="gray">
            <a:xfrm>
              <a:off x="3382248" y="1902461"/>
              <a:ext cx="620713" cy="1022350"/>
            </a:xfrm>
            <a:custGeom>
              <a:avLst/>
              <a:gdLst>
                <a:gd name="T0" fmla="*/ 2147483647 w 415"/>
                <a:gd name="T1" fmla="*/ 0 h 685"/>
                <a:gd name="T2" fmla="*/ 0 w 415"/>
                <a:gd name="T3" fmla="*/ 2147483647 h 685"/>
                <a:gd name="T4" fmla="*/ 0 w 415"/>
                <a:gd name="T5" fmla="*/ 2147483647 h 685"/>
                <a:gd name="T6" fmla="*/ 2147483647 w 415"/>
                <a:gd name="T7" fmla="*/ 2147483647 h 685"/>
                <a:gd name="T8" fmla="*/ 2147483647 w 415"/>
                <a:gd name="T9" fmla="*/ 2147483647 h 685"/>
                <a:gd name="T10" fmla="*/ 2147483647 w 415"/>
                <a:gd name="T11" fmla="*/ 0 h 685"/>
                <a:gd name="T12" fmla="*/ 2147483647 w 415"/>
                <a:gd name="T13" fmla="*/ 0 h 685"/>
                <a:gd name="T14" fmla="*/ 0 60000 65536"/>
                <a:gd name="T15" fmla="*/ 0 60000 65536"/>
                <a:gd name="T16" fmla="*/ 0 60000 65536"/>
                <a:gd name="T17" fmla="*/ 0 60000 65536"/>
                <a:gd name="T18" fmla="*/ 0 60000 65536"/>
                <a:gd name="T19" fmla="*/ 0 60000 65536"/>
                <a:gd name="T20" fmla="*/ 0 60000 65536"/>
                <a:gd name="T21" fmla="*/ 0 w 415"/>
                <a:gd name="T22" fmla="*/ 0 h 685"/>
                <a:gd name="T23" fmla="*/ 415 w 415"/>
                <a:gd name="T24" fmla="*/ 685 h 68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15" h="685">
                  <a:moveTo>
                    <a:pt x="75" y="0"/>
                  </a:moveTo>
                  <a:cubicBezTo>
                    <a:pt x="33" y="0"/>
                    <a:pt x="0" y="33"/>
                    <a:pt x="0" y="75"/>
                  </a:cubicBezTo>
                  <a:lnTo>
                    <a:pt x="0" y="610"/>
                  </a:lnTo>
                  <a:cubicBezTo>
                    <a:pt x="0" y="652"/>
                    <a:pt x="33" y="685"/>
                    <a:pt x="75" y="685"/>
                  </a:cubicBezTo>
                  <a:lnTo>
                    <a:pt x="415" y="685"/>
                  </a:lnTo>
                  <a:lnTo>
                    <a:pt x="415" y="0"/>
                  </a:lnTo>
                  <a:lnTo>
                    <a:pt x="75" y="0"/>
                  </a:lnTo>
                  <a:close/>
                </a:path>
              </a:pathLst>
            </a:custGeom>
            <a:blipFill dpi="0" rotWithShape="1">
              <a:blip r:embed="rId30">
                <a:extLst>
                  <a:ext uri="{28A0092B-C50C-407E-A947-70E740481C1C}">
                    <a14:useLocalDpi xmlns:a14="http://schemas.microsoft.com/office/drawing/2010/main"/>
                  </a:ext>
                </a:extLst>
              </a:blip>
              <a:srcRect/>
              <a:stretch>
                <a:fillRect/>
              </a:stretch>
            </a:blipFill>
            <a:ln w="19050" cap="rnd" cmpd="sng">
              <a:solidFill>
                <a:schemeClr val="accent6"/>
              </a:solidFill>
              <a:prstDash val="solid"/>
              <a:round/>
              <a:headEnd/>
              <a:tailEnd/>
            </a:ln>
          </p:spPr>
          <p:txBody>
            <a:bodyPr>
              <a:noAutofit/>
            </a:bodyPr>
            <a:lstStyle/>
            <a:p>
              <a:endParaRPr lang="en-US" sz="1000" dirty="0">
                <a:solidFill>
                  <a:srgbClr val="000000"/>
                </a:solidFill>
                <a:latin typeface="Arial"/>
                <a:cs typeface="Arial" charset="0"/>
              </a:endParaRPr>
            </a:p>
          </p:txBody>
        </p:sp>
        <p:sp>
          <p:nvSpPr>
            <p:cNvPr id="657471" name="Rectangle 47"/>
            <p:cNvSpPr>
              <a:spLocks noChangeArrowheads="1"/>
            </p:cNvSpPr>
            <p:nvPr/>
          </p:nvSpPr>
          <p:spPr bwMode="gray">
            <a:xfrm>
              <a:off x="4044896" y="1946911"/>
              <a:ext cx="964277" cy="762000"/>
            </a:xfrm>
            <a:prstGeom prst="rect">
              <a:avLst/>
            </a:prstGeom>
            <a:noFill/>
            <a:ln w="9525">
              <a:noFill/>
              <a:miter lim="800000"/>
              <a:headEnd/>
              <a:tailEnd/>
            </a:ln>
          </p:spPr>
          <p:txBody>
            <a:bodyPr wrap="square" lIns="0" tIns="0" rIns="0" bIns="0">
              <a:spAutoFit/>
            </a:bodyPr>
            <a:lstStyle/>
            <a:p>
              <a:pPr defTabSz="787400">
                <a:buClr>
                  <a:srgbClr val="062859"/>
                </a:buClr>
              </a:pPr>
              <a:r>
                <a:rPr lang="en-US" altLang="ja-JP" sz="1000" b="1" dirty="0">
                  <a:solidFill>
                    <a:srgbClr val="0065BD"/>
                  </a:solidFill>
                  <a:latin typeface="Arial"/>
                  <a:cs typeface="Arial" charset="0"/>
                </a:rPr>
                <a:t>Day-1 readiness: </a:t>
              </a:r>
              <a:r>
                <a:rPr lang="en-US" altLang="ja-JP" sz="1000" dirty="0">
                  <a:solidFill>
                    <a:srgbClr val="000000"/>
                  </a:solidFill>
                  <a:latin typeface="Arial"/>
                  <a:cs typeface="Arial" charset="0"/>
                </a:rPr>
                <a:t>How do we optimally prepare for day-1?</a:t>
              </a:r>
            </a:p>
          </p:txBody>
        </p:sp>
        <p:sp>
          <p:nvSpPr>
            <p:cNvPr id="657472" name="Oval 48"/>
            <p:cNvSpPr>
              <a:spLocks noChangeArrowheads="1"/>
            </p:cNvSpPr>
            <p:nvPr/>
          </p:nvSpPr>
          <p:spPr bwMode="gray">
            <a:xfrm>
              <a:off x="3594973" y="1929448"/>
              <a:ext cx="195262" cy="195263"/>
            </a:xfrm>
            <a:prstGeom prst="ellipse">
              <a:avLst/>
            </a:prstGeom>
            <a:solidFill>
              <a:schemeClr val="accent1"/>
            </a:solidFill>
            <a:ln w="12700" algn="ctr">
              <a:noFill/>
              <a:round/>
              <a:headEnd/>
              <a:tailEnd/>
            </a:ln>
            <a:effectLst>
              <a:outerShdw blurRad="63500" sx="102000" sy="102000" algn="ctr" rotWithShape="0">
                <a:prstClr val="black">
                  <a:alpha val="40000"/>
                </a:prstClr>
              </a:outerShdw>
            </a:effectLst>
            <a:extLst/>
          </p:spPr>
          <p:txBody>
            <a:bodyPr lIns="0" tIns="0" rIns="0" bIns="0" anchor="ctr">
              <a:noAutofit/>
            </a:bodyPr>
            <a:lstStyle/>
            <a:p>
              <a:pPr algn="ctr"/>
              <a:r>
                <a:rPr lang="en-US" altLang="ja-JP" sz="1000" b="1" dirty="0">
                  <a:solidFill>
                    <a:srgbClr val="0065BD"/>
                  </a:solidFill>
                  <a:latin typeface="Arial"/>
                  <a:ea typeface="MS PGothic" pitchFamily="34" charset="-128"/>
                </a:rPr>
                <a:t>5</a:t>
              </a:r>
            </a:p>
          </p:txBody>
        </p:sp>
        <p:sp>
          <p:nvSpPr>
            <p:cNvPr id="657473" name="Rectangle 49"/>
            <p:cNvSpPr>
              <a:spLocks noChangeArrowheads="1"/>
            </p:cNvSpPr>
            <p:nvPr/>
          </p:nvSpPr>
          <p:spPr bwMode="gray">
            <a:xfrm>
              <a:off x="5131210" y="3039439"/>
              <a:ext cx="1697037" cy="1022350"/>
            </a:xfrm>
            <a:prstGeom prst="rect">
              <a:avLst/>
            </a:prstGeom>
            <a:solidFill>
              <a:schemeClr val="bg2"/>
            </a:solidFill>
            <a:ln w="12700" cmpd="sng">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CA" sz="1000" dirty="0">
                <a:solidFill>
                  <a:srgbClr val="0065BD"/>
                </a:solidFill>
              </a:endParaRPr>
            </a:p>
          </p:txBody>
        </p:sp>
        <p:sp>
          <p:nvSpPr>
            <p:cNvPr id="657474" name="Freeform 50" descr="7c"/>
            <p:cNvSpPr>
              <a:spLocks/>
            </p:cNvSpPr>
            <p:nvPr/>
          </p:nvSpPr>
          <p:spPr bwMode="gray">
            <a:xfrm>
              <a:off x="5131210" y="3039439"/>
              <a:ext cx="620713" cy="1022350"/>
            </a:xfrm>
            <a:custGeom>
              <a:avLst/>
              <a:gdLst>
                <a:gd name="T0" fmla="*/ 2147483647 w 415"/>
                <a:gd name="T1" fmla="*/ 0 h 685"/>
                <a:gd name="T2" fmla="*/ 0 w 415"/>
                <a:gd name="T3" fmla="*/ 2147483647 h 685"/>
                <a:gd name="T4" fmla="*/ 0 w 415"/>
                <a:gd name="T5" fmla="*/ 2147483647 h 685"/>
                <a:gd name="T6" fmla="*/ 2147483647 w 415"/>
                <a:gd name="T7" fmla="*/ 2147483647 h 685"/>
                <a:gd name="T8" fmla="*/ 2147483647 w 415"/>
                <a:gd name="T9" fmla="*/ 2147483647 h 685"/>
                <a:gd name="T10" fmla="*/ 2147483647 w 415"/>
                <a:gd name="T11" fmla="*/ 0 h 685"/>
                <a:gd name="T12" fmla="*/ 2147483647 w 415"/>
                <a:gd name="T13" fmla="*/ 0 h 685"/>
                <a:gd name="T14" fmla="*/ 0 60000 65536"/>
                <a:gd name="T15" fmla="*/ 0 60000 65536"/>
                <a:gd name="T16" fmla="*/ 0 60000 65536"/>
                <a:gd name="T17" fmla="*/ 0 60000 65536"/>
                <a:gd name="T18" fmla="*/ 0 60000 65536"/>
                <a:gd name="T19" fmla="*/ 0 60000 65536"/>
                <a:gd name="T20" fmla="*/ 0 60000 65536"/>
                <a:gd name="T21" fmla="*/ 0 w 415"/>
                <a:gd name="T22" fmla="*/ 0 h 685"/>
                <a:gd name="T23" fmla="*/ 415 w 415"/>
                <a:gd name="T24" fmla="*/ 685 h 68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15" h="685">
                  <a:moveTo>
                    <a:pt x="75" y="0"/>
                  </a:moveTo>
                  <a:cubicBezTo>
                    <a:pt x="33" y="0"/>
                    <a:pt x="0" y="33"/>
                    <a:pt x="0" y="75"/>
                  </a:cubicBezTo>
                  <a:lnTo>
                    <a:pt x="0" y="610"/>
                  </a:lnTo>
                  <a:cubicBezTo>
                    <a:pt x="0" y="652"/>
                    <a:pt x="33" y="685"/>
                    <a:pt x="75" y="685"/>
                  </a:cubicBezTo>
                  <a:lnTo>
                    <a:pt x="415" y="685"/>
                  </a:lnTo>
                  <a:lnTo>
                    <a:pt x="415" y="0"/>
                  </a:lnTo>
                  <a:lnTo>
                    <a:pt x="75" y="0"/>
                  </a:lnTo>
                  <a:close/>
                </a:path>
              </a:pathLst>
            </a:custGeom>
            <a:blipFill dpi="0" rotWithShape="1">
              <a:blip r:embed="rId31">
                <a:extLst>
                  <a:ext uri="{28A0092B-C50C-407E-A947-70E740481C1C}">
                    <a14:useLocalDpi xmlns:a14="http://schemas.microsoft.com/office/drawing/2010/main"/>
                  </a:ext>
                </a:extLst>
              </a:blip>
              <a:srcRect/>
              <a:stretch>
                <a:fillRect/>
              </a:stretch>
            </a:blipFill>
            <a:ln w="19050" cap="rnd" cmpd="sng">
              <a:solidFill>
                <a:schemeClr val="accent6"/>
              </a:solidFill>
              <a:prstDash val="solid"/>
              <a:round/>
              <a:headEnd/>
              <a:tailEnd/>
            </a:ln>
          </p:spPr>
          <p:txBody>
            <a:bodyPr>
              <a:noAutofit/>
            </a:bodyPr>
            <a:lstStyle/>
            <a:p>
              <a:endParaRPr lang="en-US" sz="1000" dirty="0">
                <a:solidFill>
                  <a:srgbClr val="000000"/>
                </a:solidFill>
                <a:latin typeface="Arial"/>
                <a:cs typeface="Arial" charset="0"/>
              </a:endParaRPr>
            </a:p>
          </p:txBody>
        </p:sp>
        <p:sp>
          <p:nvSpPr>
            <p:cNvPr id="657475" name="Rectangle 51"/>
            <p:cNvSpPr>
              <a:spLocks noChangeArrowheads="1"/>
            </p:cNvSpPr>
            <p:nvPr/>
          </p:nvSpPr>
          <p:spPr bwMode="gray">
            <a:xfrm>
              <a:off x="5801987" y="3082301"/>
              <a:ext cx="954823" cy="609600"/>
            </a:xfrm>
            <a:prstGeom prst="rect">
              <a:avLst/>
            </a:prstGeom>
            <a:noFill/>
            <a:ln w="9525">
              <a:noFill/>
              <a:miter lim="800000"/>
              <a:headEnd/>
              <a:tailEnd/>
            </a:ln>
          </p:spPr>
          <p:txBody>
            <a:bodyPr lIns="0" tIns="0" rIns="0" bIns="0">
              <a:spAutoFit/>
            </a:bodyPr>
            <a:lstStyle/>
            <a:p>
              <a:pPr defTabSz="787400">
                <a:buClr>
                  <a:srgbClr val="062859"/>
                </a:buClr>
              </a:pPr>
              <a:r>
                <a:rPr lang="en-US" altLang="ja-JP" sz="1000" b="1" dirty="0">
                  <a:solidFill>
                    <a:srgbClr val="0065BD"/>
                  </a:solidFill>
                  <a:latin typeface="Arial"/>
                  <a:cs typeface="Arial" charset="0"/>
                </a:rPr>
                <a:t>Culture: </a:t>
              </a:r>
              <a:r>
                <a:rPr lang="en-US" altLang="ja-JP" sz="1000" dirty="0">
                  <a:solidFill>
                    <a:srgbClr val="000000"/>
                  </a:solidFill>
                  <a:latin typeface="Arial"/>
                  <a:cs typeface="Arial" charset="0"/>
                </a:rPr>
                <a:t>How do we address cultural differences?</a:t>
              </a:r>
            </a:p>
          </p:txBody>
        </p:sp>
        <p:sp>
          <p:nvSpPr>
            <p:cNvPr id="657476" name="Oval 52"/>
            <p:cNvSpPr>
              <a:spLocks noChangeArrowheads="1"/>
            </p:cNvSpPr>
            <p:nvPr/>
          </p:nvSpPr>
          <p:spPr bwMode="gray">
            <a:xfrm>
              <a:off x="5343936" y="3064839"/>
              <a:ext cx="195262" cy="195262"/>
            </a:xfrm>
            <a:prstGeom prst="ellipse">
              <a:avLst/>
            </a:prstGeom>
            <a:solidFill>
              <a:schemeClr val="accent1"/>
            </a:solidFill>
            <a:ln w="12700" algn="ctr">
              <a:noFill/>
              <a:round/>
              <a:headEnd/>
              <a:tailEnd/>
            </a:ln>
            <a:effectLst>
              <a:outerShdw blurRad="63500" sx="102000" sy="102000" algn="ctr" rotWithShape="0">
                <a:prstClr val="black">
                  <a:alpha val="40000"/>
                </a:prstClr>
              </a:outerShdw>
            </a:effectLst>
            <a:extLst/>
          </p:spPr>
          <p:txBody>
            <a:bodyPr lIns="0" tIns="0" rIns="0" bIns="0" anchor="ctr">
              <a:noAutofit/>
            </a:bodyPr>
            <a:lstStyle/>
            <a:p>
              <a:pPr algn="ctr"/>
              <a:r>
                <a:rPr lang="en-US" altLang="ja-JP" sz="1000" b="1" dirty="0">
                  <a:solidFill>
                    <a:srgbClr val="0065BD"/>
                  </a:solidFill>
                  <a:latin typeface="Arial"/>
                  <a:ea typeface="MS PGothic" pitchFamily="34" charset="-128"/>
                </a:rPr>
                <a:t>8</a:t>
              </a:r>
            </a:p>
          </p:txBody>
        </p:sp>
        <p:sp>
          <p:nvSpPr>
            <p:cNvPr id="657477" name="AutoShape 53"/>
            <p:cNvSpPr>
              <a:spLocks noChangeAspect="1" noChangeArrowheads="1"/>
            </p:cNvSpPr>
            <p:nvPr/>
          </p:nvSpPr>
          <p:spPr bwMode="gray">
            <a:xfrm flipH="1" flipV="1">
              <a:off x="5900653" y="1238886"/>
              <a:ext cx="119063" cy="111125"/>
            </a:xfrm>
            <a:prstGeom prst="triangle">
              <a:avLst>
                <a:gd name="adj" fmla="val 50000"/>
              </a:avLst>
            </a:prstGeom>
            <a:solidFill>
              <a:schemeClr val="accent3"/>
            </a:solidFill>
            <a:ln w="9525">
              <a:noFill/>
              <a:miter lim="800000"/>
              <a:headEnd/>
              <a:tailEnd/>
            </a:ln>
          </p:spPr>
          <p:txBody>
            <a:bodyPr rot="10800000" wrap="none" anchor="ctr"/>
            <a:lstStyle/>
            <a:p>
              <a:endParaRPr lang="en-CA" sz="1000" dirty="0">
                <a:solidFill>
                  <a:srgbClr val="000000"/>
                </a:solidFill>
                <a:latin typeface="Arial"/>
                <a:cs typeface="Arial" charset="0"/>
              </a:endParaRPr>
            </a:p>
          </p:txBody>
        </p:sp>
        <p:sp>
          <p:nvSpPr>
            <p:cNvPr id="657478" name="Rectangle 54"/>
            <p:cNvSpPr>
              <a:spLocks noChangeArrowheads="1"/>
            </p:cNvSpPr>
            <p:nvPr/>
          </p:nvSpPr>
          <p:spPr bwMode="gray">
            <a:xfrm>
              <a:off x="5595625" y="841635"/>
              <a:ext cx="703719" cy="307777"/>
            </a:xfrm>
            <a:prstGeom prst="rect">
              <a:avLst/>
            </a:prstGeom>
            <a:noFill/>
            <a:ln w="9525">
              <a:noFill/>
              <a:miter lim="800000"/>
              <a:headEnd/>
              <a:tailEnd/>
            </a:ln>
          </p:spPr>
          <p:txBody>
            <a:bodyPr wrap="none" lIns="0" tIns="0" rIns="0" bIns="0">
              <a:spAutoFit/>
            </a:bodyPr>
            <a:lstStyle/>
            <a:p>
              <a:pPr algn="ctr" defTabSz="895350">
                <a:buClr>
                  <a:srgbClr val="062859"/>
                </a:buClr>
              </a:pPr>
              <a:r>
                <a:rPr lang="en-US" altLang="ja-JP" sz="1000" b="1" dirty="0">
                  <a:solidFill>
                    <a:srgbClr val="0065BD"/>
                  </a:solidFill>
                  <a:latin typeface="Arial"/>
                  <a:cs typeface="Arial" charset="0"/>
                </a:rPr>
                <a:t>Regulatory </a:t>
              </a:r>
            </a:p>
            <a:p>
              <a:pPr algn="ctr" defTabSz="895350">
                <a:buClr>
                  <a:srgbClr val="062859"/>
                </a:buClr>
              </a:pPr>
              <a:r>
                <a:rPr lang="en-US" altLang="ja-JP" sz="1000" b="1" dirty="0">
                  <a:solidFill>
                    <a:srgbClr val="0065BD"/>
                  </a:solidFill>
                  <a:latin typeface="Arial"/>
                  <a:cs typeface="Arial" charset="0"/>
                </a:rPr>
                <a:t>approval</a:t>
              </a:r>
            </a:p>
          </p:txBody>
        </p:sp>
        <p:sp>
          <p:nvSpPr>
            <p:cNvPr id="657479" name="Oval 55"/>
            <p:cNvSpPr>
              <a:spLocks noChangeArrowheads="1"/>
            </p:cNvSpPr>
            <p:nvPr>
              <p:custDataLst>
                <p:tags r:id="rId6"/>
              </p:custDataLst>
            </p:nvPr>
          </p:nvSpPr>
          <p:spPr bwMode="gray">
            <a:xfrm>
              <a:off x="4494436" y="4847831"/>
              <a:ext cx="3267075" cy="781083"/>
            </a:xfrm>
            <a:prstGeom prst="ellipse">
              <a:avLst/>
            </a:prstGeom>
            <a:solidFill>
              <a:schemeClr val="bg2"/>
            </a:solidFill>
            <a:ln w="12700">
              <a:solidFill>
                <a:schemeClr val="accent2"/>
              </a:solidFill>
              <a:round/>
              <a:headEnd/>
              <a:tailEnd/>
            </a:ln>
          </p:spPr>
          <p:txBody>
            <a:bodyPr wrap="none" anchor="ctr"/>
            <a:lstStyle/>
            <a:p>
              <a:endParaRPr lang="en-CA" sz="1000" dirty="0">
                <a:solidFill>
                  <a:srgbClr val="0065BD"/>
                </a:solidFill>
                <a:latin typeface="Arial"/>
                <a:cs typeface="Arial" charset="0"/>
              </a:endParaRPr>
            </a:p>
          </p:txBody>
        </p:sp>
        <p:sp>
          <p:nvSpPr>
            <p:cNvPr id="657480" name="Rectangle 56"/>
            <p:cNvSpPr>
              <a:spLocks noChangeArrowheads="1"/>
            </p:cNvSpPr>
            <p:nvPr>
              <p:custDataLst>
                <p:tags r:id="rId7"/>
              </p:custDataLst>
            </p:nvPr>
          </p:nvSpPr>
          <p:spPr bwMode="gray">
            <a:xfrm>
              <a:off x="4544442" y="4727197"/>
              <a:ext cx="3167062" cy="1022350"/>
            </a:xfrm>
            <a:prstGeom prst="rect">
              <a:avLst/>
            </a:prstGeom>
            <a:noFill/>
            <a:ln w="9525">
              <a:noFill/>
              <a:miter lim="800000"/>
              <a:headEnd/>
              <a:tailEnd/>
            </a:ln>
          </p:spPr>
          <p:txBody>
            <a:bodyPr lIns="3810" tIns="0" rIns="3810" bIns="0" anchor="ctr"/>
            <a:lstStyle/>
            <a:p>
              <a:pPr algn="ctr" defTabSz="895350">
                <a:buClr>
                  <a:srgbClr val="062859"/>
                </a:buClr>
              </a:pPr>
              <a:r>
                <a:rPr lang="en-US" altLang="ja-JP" sz="1000" b="1" dirty="0">
                  <a:solidFill>
                    <a:srgbClr val="0065BD"/>
                  </a:solidFill>
                  <a:latin typeface="Arial"/>
                  <a:cs typeface="Arial" charset="0"/>
                </a:rPr>
                <a:t>General faculty guide, client brochure </a:t>
              </a:r>
              <a:br>
                <a:rPr lang="en-US" altLang="ja-JP" sz="1000" b="1" dirty="0">
                  <a:solidFill>
                    <a:srgbClr val="0065BD"/>
                  </a:solidFill>
                  <a:latin typeface="Arial"/>
                  <a:cs typeface="Arial" charset="0"/>
                </a:rPr>
              </a:br>
              <a:r>
                <a:rPr lang="en-US" altLang="ja-JP" sz="1000" b="1" dirty="0">
                  <a:solidFill>
                    <a:srgbClr val="0065BD"/>
                  </a:solidFill>
                  <a:latin typeface="Arial"/>
                  <a:cs typeface="Arial" charset="0"/>
                </a:rPr>
                <a:t>and individual modules including workshop structures available</a:t>
              </a:r>
            </a:p>
          </p:txBody>
        </p:sp>
        <p:grpSp>
          <p:nvGrpSpPr>
            <p:cNvPr id="30" name="Group 29"/>
            <p:cNvGrpSpPr/>
            <p:nvPr>
              <p:custDataLst>
                <p:tags r:id="rId8"/>
              </p:custDataLst>
            </p:nvPr>
          </p:nvGrpSpPr>
          <p:grpSpPr>
            <a:xfrm>
              <a:off x="298450" y="1376998"/>
              <a:ext cx="1233403" cy="436342"/>
              <a:chOff x="297740" y="1346217"/>
              <a:chExt cx="1233403" cy="436342"/>
            </a:xfrm>
          </p:grpSpPr>
          <p:sp>
            <p:nvSpPr>
              <p:cNvPr id="71" name="Freeform 70"/>
              <p:cNvSpPr/>
              <p:nvPr>
                <p:custDataLst>
                  <p:tags r:id="rId18"/>
                </p:custDataLst>
              </p:nvPr>
            </p:nvSpPr>
            <p:spPr bwMode="auto">
              <a:xfrm>
                <a:off x="297740" y="1346217"/>
                <a:ext cx="1233403" cy="436342"/>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749399 w 1828800"/>
                  <a:gd name="connsiteY1" fmla="*/ 1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1 h 914400"/>
                  <a:gd name="connsiteX0" fmla="*/ 0 w 1828800"/>
                  <a:gd name="connsiteY0" fmla="*/ 0 h 914402"/>
                  <a:gd name="connsiteX1" fmla="*/ 1749399 w 1828800"/>
                  <a:gd name="connsiteY1" fmla="*/ 1 h 914402"/>
                  <a:gd name="connsiteX2" fmla="*/ 1828800 w 1828800"/>
                  <a:gd name="connsiteY2" fmla="*/ 457200 h 914402"/>
                  <a:gd name="connsiteX3" fmla="*/ 1749399 w 1828800"/>
                  <a:gd name="connsiteY3" fmla="*/ 914402 h 914402"/>
                  <a:gd name="connsiteX4" fmla="*/ 0 w 1828800"/>
                  <a:gd name="connsiteY4" fmla="*/ 914400 h 914402"/>
                  <a:gd name="connsiteX5" fmla="*/ 0 w 1828800"/>
                  <a:gd name="connsiteY5" fmla="*/ 457201 h 914402"/>
                  <a:gd name="connsiteX0" fmla="*/ 0 w 1828800"/>
                  <a:gd name="connsiteY0" fmla="*/ 0 h 914402"/>
                  <a:gd name="connsiteX1" fmla="*/ 1749399 w 1828800"/>
                  <a:gd name="connsiteY1" fmla="*/ 1 h 914402"/>
                  <a:gd name="connsiteX2" fmla="*/ 1828800 w 1828800"/>
                  <a:gd name="connsiteY2" fmla="*/ 457200 h 914402"/>
                  <a:gd name="connsiteX3" fmla="*/ 1749399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710268 w 1828800"/>
                  <a:gd name="connsiteY1" fmla="*/ 0 h 914402"/>
                  <a:gd name="connsiteX2" fmla="*/ 1828800 w 1828800"/>
                  <a:gd name="connsiteY2" fmla="*/ 457200 h 914402"/>
                  <a:gd name="connsiteX3" fmla="*/ 1749399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710268 w 1828800"/>
                  <a:gd name="connsiteY1" fmla="*/ 0 h 914402"/>
                  <a:gd name="connsiteX2" fmla="*/ 1828800 w 1828800"/>
                  <a:gd name="connsiteY2" fmla="*/ 457200 h 914402"/>
                  <a:gd name="connsiteX3" fmla="*/ 1710268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710268 w 1828800"/>
                  <a:gd name="connsiteY1" fmla="*/ 0 h 914402"/>
                  <a:gd name="connsiteX2" fmla="*/ 1828800 w 1828800"/>
                  <a:gd name="connsiteY2" fmla="*/ 457200 h 914402"/>
                  <a:gd name="connsiteX3" fmla="*/ 1710268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4266 w 1828800"/>
                  <a:gd name="connsiteY1" fmla="*/ 0 h 914402"/>
                  <a:gd name="connsiteX2" fmla="*/ 1828800 w 1828800"/>
                  <a:gd name="connsiteY2" fmla="*/ 457200 h 914402"/>
                  <a:gd name="connsiteX3" fmla="*/ 1710268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4266 w 1828800"/>
                  <a:gd name="connsiteY1" fmla="*/ 0 h 914402"/>
                  <a:gd name="connsiteX2" fmla="*/ 1828800 w 1828800"/>
                  <a:gd name="connsiteY2" fmla="*/ 457200 h 914402"/>
                  <a:gd name="connsiteX3" fmla="*/ 1674266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4266 w 1828800"/>
                  <a:gd name="connsiteY1" fmla="*/ 0 h 914402"/>
                  <a:gd name="connsiteX2" fmla="*/ 1828800 w 1828800"/>
                  <a:gd name="connsiteY2" fmla="*/ 457200 h 914402"/>
                  <a:gd name="connsiteX3" fmla="*/ 1674266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4266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1 h 914402"/>
                  <a:gd name="connsiteX0" fmla="*/ 0 w 1828800"/>
                  <a:gd name="connsiteY0" fmla="*/ 0 h 914402"/>
                  <a:gd name="connsiteX1" fmla="*/ 1764153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1 h 914402"/>
                  <a:gd name="connsiteX0" fmla="*/ 0 w 1828800"/>
                  <a:gd name="connsiteY0" fmla="*/ 0 h 914402"/>
                  <a:gd name="connsiteX1" fmla="*/ 1764153 w 1828800"/>
                  <a:gd name="connsiteY1" fmla="*/ 0 h 914402"/>
                  <a:gd name="connsiteX2" fmla="*/ 1828800 w 1828800"/>
                  <a:gd name="connsiteY2" fmla="*/ 457200 h 914402"/>
                  <a:gd name="connsiteX3" fmla="*/ 1764153 w 1828800"/>
                  <a:gd name="connsiteY3" fmla="*/ 914402 h 914402"/>
                  <a:gd name="connsiteX4" fmla="*/ 0 w 1828800"/>
                  <a:gd name="connsiteY4" fmla="*/ 914400 h 914402"/>
                  <a:gd name="connsiteX5" fmla="*/ 0 w 1828800"/>
                  <a:gd name="connsiteY5" fmla="*/ 457201 h 914402"/>
                  <a:gd name="connsiteX0" fmla="*/ 0 w 1828800"/>
                  <a:gd name="connsiteY0" fmla="*/ 0 h 914402"/>
                  <a:gd name="connsiteX1" fmla="*/ 1764153 w 1828800"/>
                  <a:gd name="connsiteY1" fmla="*/ 0 h 914402"/>
                  <a:gd name="connsiteX2" fmla="*/ 1828800 w 1828800"/>
                  <a:gd name="connsiteY2" fmla="*/ 457200 h 914402"/>
                  <a:gd name="connsiteX3" fmla="*/ 1764153 w 1828800"/>
                  <a:gd name="connsiteY3" fmla="*/ 914402 h 914402"/>
                  <a:gd name="connsiteX4" fmla="*/ 0 w 1828800"/>
                  <a:gd name="connsiteY4" fmla="*/ 914400 h 914402"/>
                  <a:gd name="connsiteX5" fmla="*/ 0 w 1828800"/>
                  <a:gd name="connsiteY5" fmla="*/ 457201 h 914402"/>
                  <a:gd name="connsiteX0" fmla="*/ 0 w 1828800"/>
                  <a:gd name="connsiteY0" fmla="*/ 0 h 914402"/>
                  <a:gd name="connsiteX1" fmla="*/ 1712344 w 1828800"/>
                  <a:gd name="connsiteY1" fmla="*/ 0 h 914402"/>
                  <a:gd name="connsiteX2" fmla="*/ 1828800 w 1828800"/>
                  <a:gd name="connsiteY2" fmla="*/ 457200 h 914402"/>
                  <a:gd name="connsiteX3" fmla="*/ 1764153 w 1828800"/>
                  <a:gd name="connsiteY3" fmla="*/ 914402 h 914402"/>
                  <a:gd name="connsiteX4" fmla="*/ 0 w 1828800"/>
                  <a:gd name="connsiteY4" fmla="*/ 914400 h 914402"/>
                  <a:gd name="connsiteX5" fmla="*/ 0 w 1828800"/>
                  <a:gd name="connsiteY5" fmla="*/ 457201 h 914402"/>
                  <a:gd name="connsiteX0" fmla="*/ 0 w 1828800"/>
                  <a:gd name="connsiteY0" fmla="*/ 0 h 914402"/>
                  <a:gd name="connsiteX1" fmla="*/ 1712344 w 1828800"/>
                  <a:gd name="connsiteY1" fmla="*/ 0 h 914402"/>
                  <a:gd name="connsiteX2" fmla="*/ 1828800 w 1828800"/>
                  <a:gd name="connsiteY2" fmla="*/ 457200 h 914402"/>
                  <a:gd name="connsiteX3" fmla="*/ 1712344 w 1828800"/>
                  <a:gd name="connsiteY3" fmla="*/ 914402 h 914402"/>
                  <a:gd name="connsiteX4" fmla="*/ 0 w 1828800"/>
                  <a:gd name="connsiteY4" fmla="*/ 914400 h 914402"/>
                  <a:gd name="connsiteX5" fmla="*/ 0 w 1828800"/>
                  <a:gd name="connsiteY5" fmla="*/ 457201 h 914402"/>
                  <a:gd name="connsiteX0" fmla="*/ 0 w 1828800"/>
                  <a:gd name="connsiteY0" fmla="*/ 0 h 914402"/>
                  <a:gd name="connsiteX1" fmla="*/ 1712344 w 1828800"/>
                  <a:gd name="connsiteY1" fmla="*/ 0 h 914402"/>
                  <a:gd name="connsiteX2" fmla="*/ 1828800 w 1828800"/>
                  <a:gd name="connsiteY2" fmla="*/ 457200 h 914402"/>
                  <a:gd name="connsiteX3" fmla="*/ 1712344 w 1828800"/>
                  <a:gd name="connsiteY3" fmla="*/ 914402 h 914402"/>
                  <a:gd name="connsiteX4" fmla="*/ 0 w 1828800"/>
                  <a:gd name="connsiteY4" fmla="*/ 914400 h 914402"/>
                  <a:gd name="connsiteX5" fmla="*/ 116456 w 1828800"/>
                  <a:gd name="connsiteY5" fmla="*/ 457201 h 914402"/>
                  <a:gd name="connsiteX0" fmla="*/ 0 w 1828800"/>
                  <a:gd name="connsiteY0" fmla="*/ 0 h 914402"/>
                  <a:gd name="connsiteX1" fmla="*/ 1712344 w 1828800"/>
                  <a:gd name="connsiteY1" fmla="*/ 0 h 914402"/>
                  <a:gd name="connsiteX2" fmla="*/ 1828800 w 1828800"/>
                  <a:gd name="connsiteY2" fmla="*/ 457200 h 914402"/>
                  <a:gd name="connsiteX3" fmla="*/ 1712344 w 1828800"/>
                  <a:gd name="connsiteY3" fmla="*/ 914402 h 914402"/>
                  <a:gd name="connsiteX4" fmla="*/ 0 w 1828800"/>
                  <a:gd name="connsiteY4" fmla="*/ 914400 h 914402"/>
                  <a:gd name="connsiteX5" fmla="*/ 116456 w 1828800"/>
                  <a:gd name="connsiteY5" fmla="*/ 457201 h 914402"/>
                  <a:gd name="connsiteX0" fmla="*/ 0 w 1828800"/>
                  <a:gd name="connsiteY0" fmla="*/ 0 h 914402"/>
                  <a:gd name="connsiteX1" fmla="*/ 1712344 w 1828800"/>
                  <a:gd name="connsiteY1" fmla="*/ 0 h 914402"/>
                  <a:gd name="connsiteX2" fmla="*/ 1828800 w 1828800"/>
                  <a:gd name="connsiteY2" fmla="*/ 457200 h 914402"/>
                  <a:gd name="connsiteX3" fmla="*/ 1712344 w 1828800"/>
                  <a:gd name="connsiteY3" fmla="*/ 914402 h 914402"/>
                  <a:gd name="connsiteX4" fmla="*/ 0 w 1828800"/>
                  <a:gd name="connsiteY4" fmla="*/ 914400 h 914402"/>
                  <a:gd name="connsiteX5" fmla="*/ 116456 w 1828800"/>
                  <a:gd name="connsiteY5" fmla="*/ 457201 h 914402"/>
                  <a:gd name="connsiteX0" fmla="*/ 0 w 1828800"/>
                  <a:gd name="connsiteY0" fmla="*/ 0 h 914402"/>
                  <a:gd name="connsiteX1" fmla="*/ 1712344 w 1828800"/>
                  <a:gd name="connsiteY1" fmla="*/ 0 h 914402"/>
                  <a:gd name="connsiteX2" fmla="*/ 1828800 w 1828800"/>
                  <a:gd name="connsiteY2" fmla="*/ 457200 h 914402"/>
                  <a:gd name="connsiteX3" fmla="*/ 1712344 w 1828800"/>
                  <a:gd name="connsiteY3" fmla="*/ 914402 h 914402"/>
                  <a:gd name="connsiteX4" fmla="*/ 0 w 1828800"/>
                  <a:gd name="connsiteY4" fmla="*/ 914400 h 914402"/>
                  <a:gd name="connsiteX5" fmla="*/ 0 w 1828800"/>
                  <a:gd name="connsiteY5" fmla="*/ 457201 h 914402"/>
                  <a:gd name="connsiteX0" fmla="*/ 0 w 1828800"/>
                  <a:gd name="connsiteY0" fmla="*/ 0 h 914402"/>
                  <a:gd name="connsiteX1" fmla="*/ 1712344 w 1828800"/>
                  <a:gd name="connsiteY1" fmla="*/ 0 h 914402"/>
                  <a:gd name="connsiteX2" fmla="*/ 1828800 w 1828800"/>
                  <a:gd name="connsiteY2" fmla="*/ 457200 h 914402"/>
                  <a:gd name="connsiteX3" fmla="*/ 1712344 w 1828800"/>
                  <a:gd name="connsiteY3" fmla="*/ 914402 h 914402"/>
                  <a:gd name="connsiteX4" fmla="*/ 0 w 1828800"/>
                  <a:gd name="connsiteY4" fmla="*/ 914400 h 914402"/>
                  <a:gd name="connsiteX5" fmla="*/ 0 w 1828800"/>
                  <a:gd name="connsiteY5" fmla="*/ 457201 h 914402"/>
                  <a:gd name="connsiteX0" fmla="*/ 0 w 1828800"/>
                  <a:gd name="connsiteY0" fmla="*/ 0 h 914402"/>
                  <a:gd name="connsiteX1" fmla="*/ 1712344 w 1828800"/>
                  <a:gd name="connsiteY1" fmla="*/ 0 h 914402"/>
                  <a:gd name="connsiteX2" fmla="*/ 1828800 w 1828800"/>
                  <a:gd name="connsiteY2" fmla="*/ 457200 h 914402"/>
                  <a:gd name="connsiteX3" fmla="*/ 1712344 w 1828800"/>
                  <a:gd name="connsiteY3" fmla="*/ 914402 h 914402"/>
                  <a:gd name="connsiteX4" fmla="*/ 0 w 1828800"/>
                  <a:gd name="connsiteY4" fmla="*/ 914400 h 914402"/>
                  <a:gd name="connsiteX5" fmla="*/ 0 w 1828800"/>
                  <a:gd name="connsiteY5" fmla="*/ 457201 h 914402"/>
                  <a:gd name="connsiteX0" fmla="*/ 0 w 1828800"/>
                  <a:gd name="connsiteY0" fmla="*/ 0 h 914402"/>
                  <a:gd name="connsiteX1" fmla="*/ 1712344 w 1828800"/>
                  <a:gd name="connsiteY1" fmla="*/ 0 h 914402"/>
                  <a:gd name="connsiteX2" fmla="*/ 1828800 w 1828800"/>
                  <a:gd name="connsiteY2" fmla="*/ 457200 h 914402"/>
                  <a:gd name="connsiteX3" fmla="*/ 1712344 w 1828800"/>
                  <a:gd name="connsiteY3" fmla="*/ 914402 h 914402"/>
                  <a:gd name="connsiteX4" fmla="*/ 0 w 1828800"/>
                  <a:gd name="connsiteY4" fmla="*/ 914400 h 914402"/>
                  <a:gd name="connsiteX5" fmla="*/ 116456 w 1828800"/>
                  <a:gd name="connsiteY5" fmla="*/ 457201 h 914402"/>
                  <a:gd name="connsiteX0" fmla="*/ 0 w 1828800"/>
                  <a:gd name="connsiteY0" fmla="*/ 0 h 914402"/>
                  <a:gd name="connsiteX1" fmla="*/ 1712344 w 1828800"/>
                  <a:gd name="connsiteY1" fmla="*/ 0 h 914402"/>
                  <a:gd name="connsiteX2" fmla="*/ 1828800 w 1828800"/>
                  <a:gd name="connsiteY2" fmla="*/ 457200 h 914402"/>
                  <a:gd name="connsiteX3" fmla="*/ 1712344 w 1828800"/>
                  <a:gd name="connsiteY3" fmla="*/ 914402 h 914402"/>
                  <a:gd name="connsiteX4" fmla="*/ 0 w 1828800"/>
                  <a:gd name="connsiteY4" fmla="*/ 914400 h 914402"/>
                  <a:gd name="connsiteX5" fmla="*/ 116456 w 1828800"/>
                  <a:gd name="connsiteY5" fmla="*/ 457201 h 914402"/>
                  <a:gd name="connsiteX0" fmla="*/ 0 w 1828800"/>
                  <a:gd name="connsiteY0" fmla="*/ 0 h 914402"/>
                  <a:gd name="connsiteX1" fmla="*/ 1712344 w 1828800"/>
                  <a:gd name="connsiteY1" fmla="*/ 0 h 914402"/>
                  <a:gd name="connsiteX2" fmla="*/ 1828800 w 1828800"/>
                  <a:gd name="connsiteY2" fmla="*/ 457200 h 914402"/>
                  <a:gd name="connsiteX3" fmla="*/ 1712344 w 1828800"/>
                  <a:gd name="connsiteY3" fmla="*/ 914402 h 914402"/>
                  <a:gd name="connsiteX4" fmla="*/ 0 w 1828800"/>
                  <a:gd name="connsiteY4" fmla="*/ 914400 h 914402"/>
                  <a:gd name="connsiteX5" fmla="*/ 116456 w 1828800"/>
                  <a:gd name="connsiteY5" fmla="*/ 457201 h 914402"/>
                  <a:gd name="connsiteX0" fmla="*/ 0 w 1828800"/>
                  <a:gd name="connsiteY0" fmla="*/ 0 h 914402"/>
                  <a:gd name="connsiteX1" fmla="*/ 1712344 w 1828800"/>
                  <a:gd name="connsiteY1" fmla="*/ 0 h 914402"/>
                  <a:gd name="connsiteX2" fmla="*/ 1828800 w 1828800"/>
                  <a:gd name="connsiteY2" fmla="*/ 457200 h 914402"/>
                  <a:gd name="connsiteX3" fmla="*/ 1712344 w 1828800"/>
                  <a:gd name="connsiteY3" fmla="*/ 914402 h 914402"/>
                  <a:gd name="connsiteX4" fmla="*/ 0 w 1828800"/>
                  <a:gd name="connsiteY4" fmla="*/ 914400 h 914402"/>
                  <a:gd name="connsiteX5" fmla="*/ 0 w 1828800"/>
                  <a:gd name="connsiteY5" fmla="*/ 457201 h 914402"/>
                  <a:gd name="connsiteX0" fmla="*/ 0 w 1828800"/>
                  <a:gd name="connsiteY0" fmla="*/ 0 h 914402"/>
                  <a:gd name="connsiteX1" fmla="*/ 1712344 w 1828800"/>
                  <a:gd name="connsiteY1" fmla="*/ 0 h 914402"/>
                  <a:gd name="connsiteX2" fmla="*/ 1828800 w 1828800"/>
                  <a:gd name="connsiteY2" fmla="*/ 457200 h 914402"/>
                  <a:gd name="connsiteX3" fmla="*/ 1712344 w 1828800"/>
                  <a:gd name="connsiteY3" fmla="*/ 914402 h 914402"/>
                  <a:gd name="connsiteX4" fmla="*/ 0 w 1828800"/>
                  <a:gd name="connsiteY4" fmla="*/ 914400 h 914402"/>
                  <a:gd name="connsiteX5" fmla="*/ 0 w 1828800"/>
                  <a:gd name="connsiteY5" fmla="*/ 457201 h 914402"/>
                  <a:gd name="connsiteX0" fmla="*/ 0 w 1828800"/>
                  <a:gd name="connsiteY0" fmla="*/ 0 h 914402"/>
                  <a:gd name="connsiteX1" fmla="*/ 1712344 w 1828800"/>
                  <a:gd name="connsiteY1" fmla="*/ 0 h 914402"/>
                  <a:gd name="connsiteX2" fmla="*/ 1828800 w 1828800"/>
                  <a:gd name="connsiteY2" fmla="*/ 457200 h 914402"/>
                  <a:gd name="connsiteX3" fmla="*/ 1712344 w 1828800"/>
                  <a:gd name="connsiteY3" fmla="*/ 914402 h 914402"/>
                  <a:gd name="connsiteX4" fmla="*/ 0 w 1828800"/>
                  <a:gd name="connsiteY4" fmla="*/ 914400 h 914402"/>
                  <a:gd name="connsiteX5" fmla="*/ 0 w 1828800"/>
                  <a:gd name="connsiteY5" fmla="*/ 457201 h 9144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2">
                    <a:moveTo>
                      <a:pt x="0" y="0"/>
                    </a:moveTo>
                    <a:lnTo>
                      <a:pt x="1712344" y="0"/>
                    </a:lnTo>
                    <a:lnTo>
                      <a:pt x="1828800" y="457200"/>
                    </a:lnTo>
                    <a:lnTo>
                      <a:pt x="1712344" y="914402"/>
                    </a:lnTo>
                    <a:lnTo>
                      <a:pt x="0" y="914400"/>
                    </a:lnTo>
                    <a:lnTo>
                      <a:pt x="0" y="457201"/>
                    </a:lnTo>
                    <a:close/>
                  </a:path>
                </a:pathLst>
              </a:custGeom>
              <a:solidFill>
                <a:schemeClr val="accent1"/>
              </a:solidFill>
              <a:ln w="19050">
                <a:solidFill>
                  <a:schemeClr val="accent2"/>
                </a:solidFill>
                <a:prstDash val="dash"/>
                <a:round/>
                <a:headEnd/>
                <a:tailEnd/>
              </a:ln>
            </p:spPr>
            <p:txBody>
              <a:bodyPr wrap="none" rtlCol="0" anchor="ctr"/>
              <a:lstStyle/>
              <a:p>
                <a:pPr algn="ctr"/>
                <a:endParaRPr lang="en-US" sz="1000" b="1" dirty="0">
                  <a:solidFill>
                    <a:srgbClr val="000000"/>
                  </a:solidFill>
                  <a:latin typeface="Arial"/>
                </a:endParaRPr>
              </a:p>
            </p:txBody>
          </p:sp>
          <p:sp>
            <p:nvSpPr>
              <p:cNvPr id="72" name="TextBox 4"/>
              <p:cNvSpPr txBox="1">
                <a:spLocks noChangeArrowheads="1"/>
              </p:cNvSpPr>
              <p:nvPr>
                <p:custDataLst>
                  <p:tags r:id="rId19"/>
                </p:custDataLst>
              </p:nvPr>
            </p:nvSpPr>
            <p:spPr bwMode="auto">
              <a:xfrm>
                <a:off x="361240" y="1487444"/>
                <a:ext cx="1091361"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lvl1pPr marL="0" indent="0" algn="l" defTabSz="895350" rtl="0" eaLnBrk="1" fontAlgn="base" hangingPunct="1">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pPr>
                  <a:buClr>
                    <a:srgbClr val="002960"/>
                  </a:buClr>
                </a:pPr>
                <a:endParaRPr lang="en-US" sz="1000" b="1" dirty="0">
                  <a:solidFill>
                    <a:srgbClr val="000000"/>
                  </a:solidFill>
                </a:endParaRPr>
              </a:p>
            </p:txBody>
          </p:sp>
        </p:grpSp>
        <p:grpSp>
          <p:nvGrpSpPr>
            <p:cNvPr id="31" name="Group 30"/>
            <p:cNvGrpSpPr/>
            <p:nvPr>
              <p:custDataLst>
                <p:tags r:id="rId9"/>
              </p:custDataLst>
            </p:nvPr>
          </p:nvGrpSpPr>
          <p:grpSpPr>
            <a:xfrm>
              <a:off x="1428224" y="1376998"/>
              <a:ext cx="1939092" cy="436342"/>
              <a:chOff x="1417196" y="1346217"/>
              <a:chExt cx="1939092" cy="436342"/>
            </a:xfrm>
            <a:solidFill>
              <a:schemeClr val="accent2"/>
            </a:solidFill>
          </p:grpSpPr>
          <p:sp>
            <p:nvSpPr>
              <p:cNvPr id="68" name="Freeform 67"/>
              <p:cNvSpPr/>
              <p:nvPr>
                <p:custDataLst>
                  <p:tags r:id="rId16"/>
                </p:custDataLst>
              </p:nvPr>
            </p:nvSpPr>
            <p:spPr bwMode="auto">
              <a:xfrm>
                <a:off x="1417196" y="1346217"/>
                <a:ext cx="1939092" cy="436342"/>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749399 w 1828800"/>
                  <a:gd name="connsiteY1" fmla="*/ 1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1 h 914400"/>
                  <a:gd name="connsiteX0" fmla="*/ 0 w 1828800"/>
                  <a:gd name="connsiteY0" fmla="*/ 0 h 914402"/>
                  <a:gd name="connsiteX1" fmla="*/ 1749399 w 1828800"/>
                  <a:gd name="connsiteY1" fmla="*/ 1 h 914402"/>
                  <a:gd name="connsiteX2" fmla="*/ 1828800 w 1828800"/>
                  <a:gd name="connsiteY2" fmla="*/ 457200 h 914402"/>
                  <a:gd name="connsiteX3" fmla="*/ 1749399 w 1828800"/>
                  <a:gd name="connsiteY3" fmla="*/ 914402 h 914402"/>
                  <a:gd name="connsiteX4" fmla="*/ 0 w 1828800"/>
                  <a:gd name="connsiteY4" fmla="*/ 914400 h 914402"/>
                  <a:gd name="connsiteX5" fmla="*/ 0 w 1828800"/>
                  <a:gd name="connsiteY5" fmla="*/ 457201 h 914402"/>
                  <a:gd name="connsiteX0" fmla="*/ 0 w 1828800"/>
                  <a:gd name="connsiteY0" fmla="*/ 0 h 914402"/>
                  <a:gd name="connsiteX1" fmla="*/ 1749399 w 1828800"/>
                  <a:gd name="connsiteY1" fmla="*/ 1 h 914402"/>
                  <a:gd name="connsiteX2" fmla="*/ 1828800 w 1828800"/>
                  <a:gd name="connsiteY2" fmla="*/ 457200 h 914402"/>
                  <a:gd name="connsiteX3" fmla="*/ 1749399 w 1828800"/>
                  <a:gd name="connsiteY3" fmla="*/ 914402 h 914402"/>
                  <a:gd name="connsiteX4" fmla="*/ 0 w 1828800"/>
                  <a:gd name="connsiteY4" fmla="*/ 914400 h 914402"/>
                  <a:gd name="connsiteX5" fmla="*/ 79401 w 1828800"/>
                  <a:gd name="connsiteY5" fmla="*/ 457202 h 914402"/>
                  <a:gd name="connsiteX0" fmla="*/ 0 w 1828800"/>
                  <a:gd name="connsiteY0" fmla="*/ 0 h 914402"/>
                  <a:gd name="connsiteX1" fmla="*/ 1749399 w 1828800"/>
                  <a:gd name="connsiteY1" fmla="*/ 0 h 914402"/>
                  <a:gd name="connsiteX2" fmla="*/ 1828800 w 1828800"/>
                  <a:gd name="connsiteY2" fmla="*/ 457200 h 914402"/>
                  <a:gd name="connsiteX3" fmla="*/ 1749399 w 1828800"/>
                  <a:gd name="connsiteY3" fmla="*/ 914402 h 914402"/>
                  <a:gd name="connsiteX4" fmla="*/ 0 w 1828800"/>
                  <a:gd name="connsiteY4" fmla="*/ 914400 h 914402"/>
                  <a:gd name="connsiteX5" fmla="*/ 79401 w 1828800"/>
                  <a:gd name="connsiteY5" fmla="*/ 457202 h 914402"/>
                  <a:gd name="connsiteX0" fmla="*/ 0 w 1828800"/>
                  <a:gd name="connsiteY0" fmla="*/ 0 h 914402"/>
                  <a:gd name="connsiteX1" fmla="*/ 1749399 w 1828800"/>
                  <a:gd name="connsiteY1" fmla="*/ 0 h 914402"/>
                  <a:gd name="connsiteX2" fmla="*/ 1828800 w 1828800"/>
                  <a:gd name="connsiteY2" fmla="*/ 457200 h 914402"/>
                  <a:gd name="connsiteX3" fmla="*/ 1749399 w 1828800"/>
                  <a:gd name="connsiteY3" fmla="*/ 914402 h 914402"/>
                  <a:gd name="connsiteX4" fmla="*/ 0 w 1828800"/>
                  <a:gd name="connsiteY4" fmla="*/ 914400 h 914402"/>
                  <a:gd name="connsiteX5" fmla="*/ 79401 w 1828800"/>
                  <a:gd name="connsiteY5" fmla="*/ 457202 h 914402"/>
                  <a:gd name="connsiteX0" fmla="*/ 0 w 1828800"/>
                  <a:gd name="connsiteY0" fmla="*/ 0 h 914402"/>
                  <a:gd name="connsiteX1" fmla="*/ 1749399 w 1828800"/>
                  <a:gd name="connsiteY1" fmla="*/ 0 h 914402"/>
                  <a:gd name="connsiteX2" fmla="*/ 1828800 w 1828800"/>
                  <a:gd name="connsiteY2" fmla="*/ 457200 h 914402"/>
                  <a:gd name="connsiteX3" fmla="*/ 1749399 w 1828800"/>
                  <a:gd name="connsiteY3" fmla="*/ 914402 h 914402"/>
                  <a:gd name="connsiteX4" fmla="*/ 0 w 1828800"/>
                  <a:gd name="connsiteY4" fmla="*/ 914400 h 914402"/>
                  <a:gd name="connsiteX5" fmla="*/ 118532 w 1828800"/>
                  <a:gd name="connsiteY5" fmla="*/ 457202 h 914402"/>
                  <a:gd name="connsiteX0" fmla="*/ 0 w 1828800"/>
                  <a:gd name="connsiteY0" fmla="*/ 0 h 914402"/>
                  <a:gd name="connsiteX1" fmla="*/ 1710267 w 1828800"/>
                  <a:gd name="connsiteY1" fmla="*/ 0 h 914402"/>
                  <a:gd name="connsiteX2" fmla="*/ 1828800 w 1828800"/>
                  <a:gd name="connsiteY2" fmla="*/ 457200 h 914402"/>
                  <a:gd name="connsiteX3" fmla="*/ 1749399 w 1828800"/>
                  <a:gd name="connsiteY3" fmla="*/ 914402 h 914402"/>
                  <a:gd name="connsiteX4" fmla="*/ 0 w 1828800"/>
                  <a:gd name="connsiteY4" fmla="*/ 914400 h 914402"/>
                  <a:gd name="connsiteX5" fmla="*/ 118532 w 1828800"/>
                  <a:gd name="connsiteY5" fmla="*/ 457202 h 914402"/>
                  <a:gd name="connsiteX0" fmla="*/ 0 w 1828800"/>
                  <a:gd name="connsiteY0" fmla="*/ 0 h 914402"/>
                  <a:gd name="connsiteX1" fmla="*/ 1710267 w 1828800"/>
                  <a:gd name="connsiteY1" fmla="*/ 0 h 914402"/>
                  <a:gd name="connsiteX2" fmla="*/ 1828800 w 1828800"/>
                  <a:gd name="connsiteY2" fmla="*/ 457200 h 914402"/>
                  <a:gd name="connsiteX3" fmla="*/ 1710267 w 1828800"/>
                  <a:gd name="connsiteY3" fmla="*/ 914402 h 914402"/>
                  <a:gd name="connsiteX4" fmla="*/ 0 w 1828800"/>
                  <a:gd name="connsiteY4" fmla="*/ 914400 h 914402"/>
                  <a:gd name="connsiteX5" fmla="*/ 118532 w 1828800"/>
                  <a:gd name="connsiteY5" fmla="*/ 457202 h 914402"/>
                  <a:gd name="connsiteX0" fmla="*/ 0 w 1828800"/>
                  <a:gd name="connsiteY0" fmla="*/ 0 h 914402"/>
                  <a:gd name="connsiteX1" fmla="*/ 1710267 w 1828800"/>
                  <a:gd name="connsiteY1" fmla="*/ 0 h 914402"/>
                  <a:gd name="connsiteX2" fmla="*/ 1828800 w 1828800"/>
                  <a:gd name="connsiteY2" fmla="*/ 457200 h 914402"/>
                  <a:gd name="connsiteX3" fmla="*/ 1710267 w 1828800"/>
                  <a:gd name="connsiteY3" fmla="*/ 914402 h 914402"/>
                  <a:gd name="connsiteX4" fmla="*/ 0 w 1828800"/>
                  <a:gd name="connsiteY4" fmla="*/ 914400 h 914402"/>
                  <a:gd name="connsiteX5" fmla="*/ 154534 w 1828800"/>
                  <a:gd name="connsiteY5" fmla="*/ 457202 h 914402"/>
                  <a:gd name="connsiteX0" fmla="*/ 0 w 1828800"/>
                  <a:gd name="connsiteY0" fmla="*/ 0 h 914402"/>
                  <a:gd name="connsiteX1" fmla="*/ 1674266 w 1828800"/>
                  <a:gd name="connsiteY1" fmla="*/ 0 h 914402"/>
                  <a:gd name="connsiteX2" fmla="*/ 1828800 w 1828800"/>
                  <a:gd name="connsiteY2" fmla="*/ 457200 h 914402"/>
                  <a:gd name="connsiteX3" fmla="*/ 1710267 w 1828800"/>
                  <a:gd name="connsiteY3" fmla="*/ 914402 h 914402"/>
                  <a:gd name="connsiteX4" fmla="*/ 0 w 1828800"/>
                  <a:gd name="connsiteY4" fmla="*/ 914400 h 914402"/>
                  <a:gd name="connsiteX5" fmla="*/ 154534 w 1828800"/>
                  <a:gd name="connsiteY5" fmla="*/ 457202 h 914402"/>
                  <a:gd name="connsiteX0" fmla="*/ 0 w 1828800"/>
                  <a:gd name="connsiteY0" fmla="*/ 0 h 914402"/>
                  <a:gd name="connsiteX1" fmla="*/ 1674266 w 1828800"/>
                  <a:gd name="connsiteY1" fmla="*/ 0 h 914402"/>
                  <a:gd name="connsiteX2" fmla="*/ 1828800 w 1828800"/>
                  <a:gd name="connsiteY2" fmla="*/ 457200 h 914402"/>
                  <a:gd name="connsiteX3" fmla="*/ 1674266 w 1828800"/>
                  <a:gd name="connsiteY3" fmla="*/ 914402 h 914402"/>
                  <a:gd name="connsiteX4" fmla="*/ 0 w 1828800"/>
                  <a:gd name="connsiteY4" fmla="*/ 914400 h 914402"/>
                  <a:gd name="connsiteX5" fmla="*/ 154534 w 1828800"/>
                  <a:gd name="connsiteY5" fmla="*/ 457202 h 914402"/>
                  <a:gd name="connsiteX0" fmla="*/ 0 w 1828800"/>
                  <a:gd name="connsiteY0" fmla="*/ 0 h 914402"/>
                  <a:gd name="connsiteX1" fmla="*/ 1674266 w 1828800"/>
                  <a:gd name="connsiteY1" fmla="*/ 0 h 914402"/>
                  <a:gd name="connsiteX2" fmla="*/ 1828800 w 1828800"/>
                  <a:gd name="connsiteY2" fmla="*/ 457200 h 914402"/>
                  <a:gd name="connsiteX3" fmla="*/ 1674266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4266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64647 w 1828800"/>
                  <a:gd name="connsiteY5" fmla="*/ 457201 h 914402"/>
                  <a:gd name="connsiteX0" fmla="*/ 0 w 1828800"/>
                  <a:gd name="connsiteY0" fmla="*/ 0 h 914402"/>
                  <a:gd name="connsiteX1" fmla="*/ 1764153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64647 w 1828800"/>
                  <a:gd name="connsiteY5" fmla="*/ 457201 h 914402"/>
                  <a:gd name="connsiteX0" fmla="*/ 0 w 1828800"/>
                  <a:gd name="connsiteY0" fmla="*/ 0 h 914402"/>
                  <a:gd name="connsiteX1" fmla="*/ 1764153 w 1828800"/>
                  <a:gd name="connsiteY1" fmla="*/ 0 h 914402"/>
                  <a:gd name="connsiteX2" fmla="*/ 1828800 w 1828800"/>
                  <a:gd name="connsiteY2" fmla="*/ 457200 h 914402"/>
                  <a:gd name="connsiteX3" fmla="*/ 1764153 w 1828800"/>
                  <a:gd name="connsiteY3" fmla="*/ 914402 h 914402"/>
                  <a:gd name="connsiteX4" fmla="*/ 0 w 1828800"/>
                  <a:gd name="connsiteY4" fmla="*/ 914400 h 914402"/>
                  <a:gd name="connsiteX5" fmla="*/ 64647 w 1828800"/>
                  <a:gd name="connsiteY5" fmla="*/ 457201 h 914402"/>
                  <a:gd name="connsiteX0" fmla="*/ 0 w 1828800"/>
                  <a:gd name="connsiteY0" fmla="*/ 0 h 914402"/>
                  <a:gd name="connsiteX1" fmla="*/ 1764153 w 1828800"/>
                  <a:gd name="connsiteY1" fmla="*/ 0 h 914402"/>
                  <a:gd name="connsiteX2" fmla="*/ 1828800 w 1828800"/>
                  <a:gd name="connsiteY2" fmla="*/ 457200 h 914402"/>
                  <a:gd name="connsiteX3" fmla="*/ 1764153 w 1828800"/>
                  <a:gd name="connsiteY3" fmla="*/ 914402 h 914402"/>
                  <a:gd name="connsiteX4" fmla="*/ 0 w 1828800"/>
                  <a:gd name="connsiteY4" fmla="*/ 914400 h 914402"/>
                  <a:gd name="connsiteX5" fmla="*/ 0 w 1828800"/>
                  <a:gd name="connsiteY5" fmla="*/ 457201 h 914402"/>
                  <a:gd name="connsiteX0" fmla="*/ 0 w 1828800"/>
                  <a:gd name="connsiteY0" fmla="*/ 0 h 914402"/>
                  <a:gd name="connsiteX1" fmla="*/ 1764153 w 1828800"/>
                  <a:gd name="connsiteY1" fmla="*/ 0 h 914402"/>
                  <a:gd name="connsiteX2" fmla="*/ 1828800 w 1828800"/>
                  <a:gd name="connsiteY2" fmla="*/ 457200 h 914402"/>
                  <a:gd name="connsiteX3" fmla="*/ 1764153 w 1828800"/>
                  <a:gd name="connsiteY3" fmla="*/ 914402 h 914402"/>
                  <a:gd name="connsiteX4" fmla="*/ 0 w 1828800"/>
                  <a:gd name="connsiteY4" fmla="*/ 914400 h 914402"/>
                  <a:gd name="connsiteX5" fmla="*/ 0 w 1828800"/>
                  <a:gd name="connsiteY5" fmla="*/ 457201 h 914402"/>
                  <a:gd name="connsiteX0" fmla="*/ 0 w 1828800"/>
                  <a:gd name="connsiteY0" fmla="*/ 0 h 914402"/>
                  <a:gd name="connsiteX1" fmla="*/ 1764153 w 1828800"/>
                  <a:gd name="connsiteY1" fmla="*/ 0 h 914402"/>
                  <a:gd name="connsiteX2" fmla="*/ 1828800 w 1828800"/>
                  <a:gd name="connsiteY2" fmla="*/ 457200 h 914402"/>
                  <a:gd name="connsiteX3" fmla="*/ 1764153 w 1828800"/>
                  <a:gd name="connsiteY3" fmla="*/ 914402 h 914402"/>
                  <a:gd name="connsiteX4" fmla="*/ 0 w 1828800"/>
                  <a:gd name="connsiteY4" fmla="*/ 914400 h 914402"/>
                  <a:gd name="connsiteX5" fmla="*/ 0 w 1828800"/>
                  <a:gd name="connsiteY5" fmla="*/ 457201 h 914402"/>
                  <a:gd name="connsiteX0" fmla="*/ 0 w 1828800"/>
                  <a:gd name="connsiteY0" fmla="*/ 0 h 914402"/>
                  <a:gd name="connsiteX1" fmla="*/ 1764153 w 1828800"/>
                  <a:gd name="connsiteY1" fmla="*/ 0 h 914402"/>
                  <a:gd name="connsiteX2" fmla="*/ 1828800 w 1828800"/>
                  <a:gd name="connsiteY2" fmla="*/ 457200 h 914402"/>
                  <a:gd name="connsiteX3" fmla="*/ 1764153 w 1828800"/>
                  <a:gd name="connsiteY3" fmla="*/ 914402 h 914402"/>
                  <a:gd name="connsiteX4" fmla="*/ 0 w 1828800"/>
                  <a:gd name="connsiteY4" fmla="*/ 914400 h 914402"/>
                  <a:gd name="connsiteX5" fmla="*/ 64647 w 1828800"/>
                  <a:gd name="connsiteY5" fmla="*/ 457201 h 914402"/>
                  <a:gd name="connsiteX0" fmla="*/ 0 w 1828800"/>
                  <a:gd name="connsiteY0" fmla="*/ 0 h 914402"/>
                  <a:gd name="connsiteX1" fmla="*/ 1764153 w 1828800"/>
                  <a:gd name="connsiteY1" fmla="*/ 0 h 914402"/>
                  <a:gd name="connsiteX2" fmla="*/ 1828800 w 1828800"/>
                  <a:gd name="connsiteY2" fmla="*/ 457200 h 914402"/>
                  <a:gd name="connsiteX3" fmla="*/ 1764153 w 1828800"/>
                  <a:gd name="connsiteY3" fmla="*/ 914402 h 914402"/>
                  <a:gd name="connsiteX4" fmla="*/ 0 w 1828800"/>
                  <a:gd name="connsiteY4" fmla="*/ 914400 h 914402"/>
                  <a:gd name="connsiteX5" fmla="*/ 64647 w 1828800"/>
                  <a:gd name="connsiteY5" fmla="*/ 457201 h 914402"/>
                  <a:gd name="connsiteX0" fmla="*/ 0 w 1828800"/>
                  <a:gd name="connsiteY0" fmla="*/ 0 h 914402"/>
                  <a:gd name="connsiteX1" fmla="*/ 1764153 w 1828800"/>
                  <a:gd name="connsiteY1" fmla="*/ 0 h 914402"/>
                  <a:gd name="connsiteX2" fmla="*/ 1828800 w 1828800"/>
                  <a:gd name="connsiteY2" fmla="*/ 457200 h 914402"/>
                  <a:gd name="connsiteX3" fmla="*/ 1764153 w 1828800"/>
                  <a:gd name="connsiteY3" fmla="*/ 914402 h 914402"/>
                  <a:gd name="connsiteX4" fmla="*/ 0 w 1828800"/>
                  <a:gd name="connsiteY4" fmla="*/ 914400 h 914402"/>
                  <a:gd name="connsiteX5" fmla="*/ 64647 w 1828800"/>
                  <a:gd name="connsiteY5" fmla="*/ 457201 h 914402"/>
                  <a:gd name="connsiteX0" fmla="*/ 0 w 1828800"/>
                  <a:gd name="connsiteY0" fmla="*/ 0 h 914402"/>
                  <a:gd name="connsiteX1" fmla="*/ 1764153 w 1828800"/>
                  <a:gd name="connsiteY1" fmla="*/ 0 h 914402"/>
                  <a:gd name="connsiteX2" fmla="*/ 1828800 w 1828800"/>
                  <a:gd name="connsiteY2" fmla="*/ 457200 h 914402"/>
                  <a:gd name="connsiteX3" fmla="*/ 1764153 w 1828800"/>
                  <a:gd name="connsiteY3" fmla="*/ 914402 h 914402"/>
                  <a:gd name="connsiteX4" fmla="*/ 0 w 1828800"/>
                  <a:gd name="connsiteY4" fmla="*/ 914400 h 914402"/>
                  <a:gd name="connsiteX5" fmla="*/ 46273 w 1828800"/>
                  <a:gd name="connsiteY5" fmla="*/ 457201 h 914402"/>
                  <a:gd name="connsiteX0" fmla="*/ 0 w 1828800"/>
                  <a:gd name="connsiteY0" fmla="*/ 0 h 914402"/>
                  <a:gd name="connsiteX1" fmla="*/ 1782527 w 1828800"/>
                  <a:gd name="connsiteY1" fmla="*/ 0 h 914402"/>
                  <a:gd name="connsiteX2" fmla="*/ 1828800 w 1828800"/>
                  <a:gd name="connsiteY2" fmla="*/ 457200 h 914402"/>
                  <a:gd name="connsiteX3" fmla="*/ 1764153 w 1828800"/>
                  <a:gd name="connsiteY3" fmla="*/ 914402 h 914402"/>
                  <a:gd name="connsiteX4" fmla="*/ 0 w 1828800"/>
                  <a:gd name="connsiteY4" fmla="*/ 914400 h 914402"/>
                  <a:gd name="connsiteX5" fmla="*/ 46273 w 1828800"/>
                  <a:gd name="connsiteY5" fmla="*/ 457201 h 914402"/>
                  <a:gd name="connsiteX0" fmla="*/ 0 w 1828800"/>
                  <a:gd name="connsiteY0" fmla="*/ 0 h 914402"/>
                  <a:gd name="connsiteX1" fmla="*/ 1782527 w 1828800"/>
                  <a:gd name="connsiteY1" fmla="*/ 0 h 914402"/>
                  <a:gd name="connsiteX2" fmla="*/ 1828800 w 1828800"/>
                  <a:gd name="connsiteY2" fmla="*/ 457200 h 914402"/>
                  <a:gd name="connsiteX3" fmla="*/ 1782527 w 1828800"/>
                  <a:gd name="connsiteY3" fmla="*/ 914402 h 914402"/>
                  <a:gd name="connsiteX4" fmla="*/ 0 w 1828800"/>
                  <a:gd name="connsiteY4" fmla="*/ 914400 h 914402"/>
                  <a:gd name="connsiteX5" fmla="*/ 46273 w 1828800"/>
                  <a:gd name="connsiteY5" fmla="*/ 457201 h 914402"/>
                  <a:gd name="connsiteX0" fmla="*/ 0 w 1828800"/>
                  <a:gd name="connsiteY0" fmla="*/ 0 h 914402"/>
                  <a:gd name="connsiteX1" fmla="*/ 1782527 w 1828800"/>
                  <a:gd name="connsiteY1" fmla="*/ 0 h 914402"/>
                  <a:gd name="connsiteX2" fmla="*/ 1828800 w 1828800"/>
                  <a:gd name="connsiteY2" fmla="*/ 457200 h 914402"/>
                  <a:gd name="connsiteX3" fmla="*/ 1782527 w 1828800"/>
                  <a:gd name="connsiteY3" fmla="*/ 914402 h 914402"/>
                  <a:gd name="connsiteX4" fmla="*/ 0 w 1828800"/>
                  <a:gd name="connsiteY4" fmla="*/ 914400 h 914402"/>
                  <a:gd name="connsiteX5" fmla="*/ 74075 w 1828800"/>
                  <a:gd name="connsiteY5" fmla="*/ 457201 h 914402"/>
                  <a:gd name="connsiteX0" fmla="*/ 0 w 1828800"/>
                  <a:gd name="connsiteY0" fmla="*/ 0 h 914402"/>
                  <a:gd name="connsiteX1" fmla="*/ 1754725 w 1828800"/>
                  <a:gd name="connsiteY1" fmla="*/ 0 h 914402"/>
                  <a:gd name="connsiteX2" fmla="*/ 1828800 w 1828800"/>
                  <a:gd name="connsiteY2" fmla="*/ 457200 h 914402"/>
                  <a:gd name="connsiteX3" fmla="*/ 1782527 w 1828800"/>
                  <a:gd name="connsiteY3" fmla="*/ 914402 h 914402"/>
                  <a:gd name="connsiteX4" fmla="*/ 0 w 1828800"/>
                  <a:gd name="connsiteY4" fmla="*/ 914400 h 914402"/>
                  <a:gd name="connsiteX5" fmla="*/ 74075 w 1828800"/>
                  <a:gd name="connsiteY5" fmla="*/ 457201 h 914402"/>
                  <a:gd name="connsiteX0" fmla="*/ 0 w 1828800"/>
                  <a:gd name="connsiteY0" fmla="*/ 0 h 914402"/>
                  <a:gd name="connsiteX1" fmla="*/ 1754725 w 1828800"/>
                  <a:gd name="connsiteY1" fmla="*/ 0 h 914402"/>
                  <a:gd name="connsiteX2" fmla="*/ 1828800 w 1828800"/>
                  <a:gd name="connsiteY2" fmla="*/ 457200 h 914402"/>
                  <a:gd name="connsiteX3" fmla="*/ 1754725 w 1828800"/>
                  <a:gd name="connsiteY3" fmla="*/ 914402 h 914402"/>
                  <a:gd name="connsiteX4" fmla="*/ 0 w 1828800"/>
                  <a:gd name="connsiteY4" fmla="*/ 914400 h 914402"/>
                  <a:gd name="connsiteX5" fmla="*/ 74075 w 1828800"/>
                  <a:gd name="connsiteY5" fmla="*/ 457201 h 914402"/>
                  <a:gd name="connsiteX0" fmla="*/ 0 w 1828800"/>
                  <a:gd name="connsiteY0" fmla="*/ 0 h 914402"/>
                  <a:gd name="connsiteX1" fmla="*/ 1754725 w 1828800"/>
                  <a:gd name="connsiteY1" fmla="*/ 0 h 914402"/>
                  <a:gd name="connsiteX2" fmla="*/ 1828800 w 1828800"/>
                  <a:gd name="connsiteY2" fmla="*/ 457200 h 914402"/>
                  <a:gd name="connsiteX3" fmla="*/ 1754725 w 1828800"/>
                  <a:gd name="connsiteY3" fmla="*/ 914402 h 914402"/>
                  <a:gd name="connsiteX4" fmla="*/ 0 w 1828800"/>
                  <a:gd name="connsiteY4" fmla="*/ 914400 h 914402"/>
                  <a:gd name="connsiteX5" fmla="*/ 0 w 1828800"/>
                  <a:gd name="connsiteY5" fmla="*/ 457201 h 914402"/>
                  <a:gd name="connsiteX0" fmla="*/ 0 w 1828800"/>
                  <a:gd name="connsiteY0" fmla="*/ 0 h 914402"/>
                  <a:gd name="connsiteX1" fmla="*/ 1754725 w 1828800"/>
                  <a:gd name="connsiteY1" fmla="*/ 0 h 914402"/>
                  <a:gd name="connsiteX2" fmla="*/ 1828800 w 1828800"/>
                  <a:gd name="connsiteY2" fmla="*/ 457200 h 914402"/>
                  <a:gd name="connsiteX3" fmla="*/ 1754725 w 1828800"/>
                  <a:gd name="connsiteY3" fmla="*/ 914402 h 914402"/>
                  <a:gd name="connsiteX4" fmla="*/ 0 w 1828800"/>
                  <a:gd name="connsiteY4" fmla="*/ 914400 h 914402"/>
                  <a:gd name="connsiteX5" fmla="*/ 0 w 1828800"/>
                  <a:gd name="connsiteY5" fmla="*/ 457201 h 914402"/>
                  <a:gd name="connsiteX0" fmla="*/ 0 w 1828800"/>
                  <a:gd name="connsiteY0" fmla="*/ 0 h 914402"/>
                  <a:gd name="connsiteX1" fmla="*/ 1754725 w 1828800"/>
                  <a:gd name="connsiteY1" fmla="*/ 0 h 914402"/>
                  <a:gd name="connsiteX2" fmla="*/ 1828800 w 1828800"/>
                  <a:gd name="connsiteY2" fmla="*/ 457200 h 914402"/>
                  <a:gd name="connsiteX3" fmla="*/ 1754725 w 1828800"/>
                  <a:gd name="connsiteY3" fmla="*/ 914402 h 914402"/>
                  <a:gd name="connsiteX4" fmla="*/ 0 w 1828800"/>
                  <a:gd name="connsiteY4" fmla="*/ 914400 h 914402"/>
                  <a:gd name="connsiteX5" fmla="*/ 0 w 1828800"/>
                  <a:gd name="connsiteY5" fmla="*/ 457201 h 914402"/>
                  <a:gd name="connsiteX0" fmla="*/ 0 w 1828800"/>
                  <a:gd name="connsiteY0" fmla="*/ 0 h 914402"/>
                  <a:gd name="connsiteX1" fmla="*/ 1754725 w 1828800"/>
                  <a:gd name="connsiteY1" fmla="*/ 0 h 914402"/>
                  <a:gd name="connsiteX2" fmla="*/ 1828800 w 1828800"/>
                  <a:gd name="connsiteY2" fmla="*/ 457200 h 914402"/>
                  <a:gd name="connsiteX3" fmla="*/ 1754725 w 1828800"/>
                  <a:gd name="connsiteY3" fmla="*/ 914402 h 914402"/>
                  <a:gd name="connsiteX4" fmla="*/ 0 w 1828800"/>
                  <a:gd name="connsiteY4" fmla="*/ 914400 h 914402"/>
                  <a:gd name="connsiteX5" fmla="*/ 74074 w 1828800"/>
                  <a:gd name="connsiteY5" fmla="*/ 457201 h 914402"/>
                  <a:gd name="connsiteX0" fmla="*/ 0 w 1828800"/>
                  <a:gd name="connsiteY0" fmla="*/ 0 h 914402"/>
                  <a:gd name="connsiteX1" fmla="*/ 1754725 w 1828800"/>
                  <a:gd name="connsiteY1" fmla="*/ 0 h 914402"/>
                  <a:gd name="connsiteX2" fmla="*/ 1828800 w 1828800"/>
                  <a:gd name="connsiteY2" fmla="*/ 457200 h 914402"/>
                  <a:gd name="connsiteX3" fmla="*/ 1754725 w 1828800"/>
                  <a:gd name="connsiteY3" fmla="*/ 914402 h 914402"/>
                  <a:gd name="connsiteX4" fmla="*/ 0 w 1828800"/>
                  <a:gd name="connsiteY4" fmla="*/ 914400 h 914402"/>
                  <a:gd name="connsiteX5" fmla="*/ 74074 w 1828800"/>
                  <a:gd name="connsiteY5" fmla="*/ 457201 h 914402"/>
                  <a:gd name="connsiteX0" fmla="*/ 0 w 1828800"/>
                  <a:gd name="connsiteY0" fmla="*/ 0 h 914402"/>
                  <a:gd name="connsiteX1" fmla="*/ 1754725 w 1828800"/>
                  <a:gd name="connsiteY1" fmla="*/ 0 h 914402"/>
                  <a:gd name="connsiteX2" fmla="*/ 1828800 w 1828800"/>
                  <a:gd name="connsiteY2" fmla="*/ 457200 h 914402"/>
                  <a:gd name="connsiteX3" fmla="*/ 1754725 w 1828800"/>
                  <a:gd name="connsiteY3" fmla="*/ 914402 h 914402"/>
                  <a:gd name="connsiteX4" fmla="*/ 0 w 1828800"/>
                  <a:gd name="connsiteY4" fmla="*/ 914400 h 914402"/>
                  <a:gd name="connsiteX5" fmla="*/ 74074 w 1828800"/>
                  <a:gd name="connsiteY5" fmla="*/ 457201 h 914402"/>
                  <a:gd name="connsiteX0" fmla="*/ 0 w 1828800"/>
                  <a:gd name="connsiteY0" fmla="*/ 0 h 914402"/>
                  <a:gd name="connsiteX1" fmla="*/ 1754725 w 1828800"/>
                  <a:gd name="connsiteY1" fmla="*/ 0 h 914402"/>
                  <a:gd name="connsiteX2" fmla="*/ 1828800 w 1828800"/>
                  <a:gd name="connsiteY2" fmla="*/ 457200 h 914402"/>
                  <a:gd name="connsiteX3" fmla="*/ 1754725 w 1828800"/>
                  <a:gd name="connsiteY3" fmla="*/ 914402 h 914402"/>
                  <a:gd name="connsiteX4" fmla="*/ 0 w 1828800"/>
                  <a:gd name="connsiteY4" fmla="*/ 914400 h 914402"/>
                  <a:gd name="connsiteX5" fmla="*/ 0 w 1828800"/>
                  <a:gd name="connsiteY5" fmla="*/ 457201 h 914402"/>
                  <a:gd name="connsiteX0" fmla="*/ 0 w 1828800"/>
                  <a:gd name="connsiteY0" fmla="*/ 0 h 914402"/>
                  <a:gd name="connsiteX1" fmla="*/ 1754725 w 1828800"/>
                  <a:gd name="connsiteY1" fmla="*/ 0 h 914402"/>
                  <a:gd name="connsiteX2" fmla="*/ 1828800 w 1828800"/>
                  <a:gd name="connsiteY2" fmla="*/ 457200 h 914402"/>
                  <a:gd name="connsiteX3" fmla="*/ 1754725 w 1828800"/>
                  <a:gd name="connsiteY3" fmla="*/ 914402 h 914402"/>
                  <a:gd name="connsiteX4" fmla="*/ 0 w 1828800"/>
                  <a:gd name="connsiteY4" fmla="*/ 914400 h 914402"/>
                  <a:gd name="connsiteX5" fmla="*/ 0 w 1828800"/>
                  <a:gd name="connsiteY5" fmla="*/ 457201 h 914402"/>
                  <a:gd name="connsiteX0" fmla="*/ 0 w 1828800"/>
                  <a:gd name="connsiteY0" fmla="*/ 0 h 914402"/>
                  <a:gd name="connsiteX1" fmla="*/ 1754725 w 1828800"/>
                  <a:gd name="connsiteY1" fmla="*/ 0 h 914402"/>
                  <a:gd name="connsiteX2" fmla="*/ 1828800 w 1828800"/>
                  <a:gd name="connsiteY2" fmla="*/ 457200 h 914402"/>
                  <a:gd name="connsiteX3" fmla="*/ 1754725 w 1828800"/>
                  <a:gd name="connsiteY3" fmla="*/ 914402 h 914402"/>
                  <a:gd name="connsiteX4" fmla="*/ 0 w 1828800"/>
                  <a:gd name="connsiteY4" fmla="*/ 914400 h 914402"/>
                  <a:gd name="connsiteX5" fmla="*/ 0 w 1828800"/>
                  <a:gd name="connsiteY5" fmla="*/ 457201 h 914402"/>
                  <a:gd name="connsiteX0" fmla="*/ 0 w 1828800"/>
                  <a:gd name="connsiteY0" fmla="*/ 0 h 914402"/>
                  <a:gd name="connsiteX1" fmla="*/ 1754725 w 1828800"/>
                  <a:gd name="connsiteY1" fmla="*/ 0 h 914402"/>
                  <a:gd name="connsiteX2" fmla="*/ 1828800 w 1828800"/>
                  <a:gd name="connsiteY2" fmla="*/ 457200 h 914402"/>
                  <a:gd name="connsiteX3" fmla="*/ 1754725 w 1828800"/>
                  <a:gd name="connsiteY3" fmla="*/ 914402 h 914402"/>
                  <a:gd name="connsiteX4" fmla="*/ 0 w 1828800"/>
                  <a:gd name="connsiteY4" fmla="*/ 914400 h 914402"/>
                  <a:gd name="connsiteX5" fmla="*/ 74074 w 1828800"/>
                  <a:gd name="connsiteY5" fmla="*/ 457201 h 914402"/>
                  <a:gd name="connsiteX0" fmla="*/ 0 w 1828800"/>
                  <a:gd name="connsiteY0" fmla="*/ 0 h 914402"/>
                  <a:gd name="connsiteX1" fmla="*/ 1754725 w 1828800"/>
                  <a:gd name="connsiteY1" fmla="*/ 0 h 914402"/>
                  <a:gd name="connsiteX2" fmla="*/ 1828800 w 1828800"/>
                  <a:gd name="connsiteY2" fmla="*/ 457200 h 914402"/>
                  <a:gd name="connsiteX3" fmla="*/ 1754725 w 1828800"/>
                  <a:gd name="connsiteY3" fmla="*/ 914402 h 914402"/>
                  <a:gd name="connsiteX4" fmla="*/ 0 w 1828800"/>
                  <a:gd name="connsiteY4" fmla="*/ 914400 h 914402"/>
                  <a:gd name="connsiteX5" fmla="*/ 74074 w 1828800"/>
                  <a:gd name="connsiteY5" fmla="*/ 457201 h 914402"/>
                  <a:gd name="connsiteX0" fmla="*/ 0 w 1828800"/>
                  <a:gd name="connsiteY0" fmla="*/ 0 h 914402"/>
                  <a:gd name="connsiteX1" fmla="*/ 1754725 w 1828800"/>
                  <a:gd name="connsiteY1" fmla="*/ 0 h 914402"/>
                  <a:gd name="connsiteX2" fmla="*/ 1828800 w 1828800"/>
                  <a:gd name="connsiteY2" fmla="*/ 457200 h 914402"/>
                  <a:gd name="connsiteX3" fmla="*/ 1754725 w 1828800"/>
                  <a:gd name="connsiteY3" fmla="*/ 914402 h 914402"/>
                  <a:gd name="connsiteX4" fmla="*/ 0 w 1828800"/>
                  <a:gd name="connsiteY4" fmla="*/ 914400 h 914402"/>
                  <a:gd name="connsiteX5" fmla="*/ 74074 w 1828800"/>
                  <a:gd name="connsiteY5" fmla="*/ 457201 h 9144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2">
                    <a:moveTo>
                      <a:pt x="0" y="0"/>
                    </a:moveTo>
                    <a:lnTo>
                      <a:pt x="1754725" y="0"/>
                    </a:lnTo>
                    <a:lnTo>
                      <a:pt x="1828800" y="457200"/>
                    </a:lnTo>
                    <a:lnTo>
                      <a:pt x="1754725" y="914402"/>
                    </a:lnTo>
                    <a:lnTo>
                      <a:pt x="0" y="914400"/>
                    </a:lnTo>
                    <a:lnTo>
                      <a:pt x="74074" y="457201"/>
                    </a:lnTo>
                    <a:close/>
                  </a:path>
                </a:pathLst>
              </a:custGeom>
              <a:grpFill/>
              <a:ln w="19050">
                <a:solidFill>
                  <a:schemeClr val="bg2"/>
                </a:solidFill>
                <a:round/>
                <a:headEnd/>
                <a:tailEnd/>
              </a:ln>
            </p:spPr>
            <p:txBody>
              <a:bodyPr wrap="none" rtlCol="0" anchor="ctr"/>
              <a:lstStyle/>
              <a:p>
                <a:pPr algn="ctr"/>
                <a:endParaRPr lang="en-US" sz="1000" b="1" dirty="0">
                  <a:solidFill>
                    <a:srgbClr val="FFFFFF"/>
                  </a:solidFill>
                  <a:latin typeface="Arial"/>
                </a:endParaRPr>
              </a:p>
            </p:txBody>
          </p:sp>
          <p:sp>
            <p:nvSpPr>
              <p:cNvPr id="69" name="TextBox 4"/>
              <p:cNvSpPr txBox="1">
                <a:spLocks noChangeArrowheads="1"/>
              </p:cNvSpPr>
              <p:nvPr>
                <p:custDataLst>
                  <p:tags r:id="rId17"/>
                </p:custDataLst>
              </p:nvPr>
            </p:nvSpPr>
            <p:spPr bwMode="auto">
              <a:xfrm>
                <a:off x="1546537" y="1487444"/>
                <a:ext cx="1731209" cy="153888"/>
              </a:xfrm>
              <a:prstGeom prst="rect">
                <a:avLst/>
              </a:prstGeom>
              <a:grp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lvl1pPr marL="0" indent="0" algn="l" defTabSz="895350" rtl="0" eaLnBrk="1" fontAlgn="base" hangingPunct="1">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pPr>
                  <a:buClr>
                    <a:srgbClr val="002960"/>
                  </a:buClr>
                </a:pPr>
                <a:r>
                  <a:rPr lang="en-US" sz="1000" b="1" dirty="0">
                    <a:solidFill>
                      <a:srgbClr val="FFFFFF"/>
                    </a:solidFill>
                  </a:rPr>
                  <a:t> Integration design</a:t>
                </a:r>
              </a:p>
            </p:txBody>
          </p:sp>
        </p:grpSp>
        <p:grpSp>
          <p:nvGrpSpPr>
            <p:cNvPr id="38" name="Group 37"/>
            <p:cNvGrpSpPr/>
            <p:nvPr>
              <p:custDataLst>
                <p:tags r:id="rId10"/>
              </p:custDataLst>
            </p:nvPr>
          </p:nvGrpSpPr>
          <p:grpSpPr>
            <a:xfrm>
              <a:off x="3263687" y="1376998"/>
              <a:ext cx="3696269" cy="436342"/>
              <a:chOff x="3284439" y="1346217"/>
              <a:chExt cx="3696269" cy="436342"/>
            </a:xfrm>
            <a:solidFill>
              <a:schemeClr val="accent2"/>
            </a:solidFill>
          </p:grpSpPr>
          <p:sp>
            <p:nvSpPr>
              <p:cNvPr id="74" name="Freeform 73"/>
              <p:cNvSpPr/>
              <p:nvPr>
                <p:custDataLst>
                  <p:tags r:id="rId14"/>
                </p:custDataLst>
              </p:nvPr>
            </p:nvSpPr>
            <p:spPr bwMode="auto">
              <a:xfrm>
                <a:off x="3284439" y="1346217"/>
                <a:ext cx="3696269" cy="436342"/>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749399 w 1828800"/>
                  <a:gd name="connsiteY1" fmla="*/ 1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1 h 914400"/>
                  <a:gd name="connsiteX0" fmla="*/ 0 w 1828800"/>
                  <a:gd name="connsiteY0" fmla="*/ 0 h 914402"/>
                  <a:gd name="connsiteX1" fmla="*/ 1749399 w 1828800"/>
                  <a:gd name="connsiteY1" fmla="*/ 1 h 914402"/>
                  <a:gd name="connsiteX2" fmla="*/ 1828800 w 1828800"/>
                  <a:gd name="connsiteY2" fmla="*/ 457200 h 914402"/>
                  <a:gd name="connsiteX3" fmla="*/ 1749399 w 1828800"/>
                  <a:gd name="connsiteY3" fmla="*/ 914402 h 914402"/>
                  <a:gd name="connsiteX4" fmla="*/ 0 w 1828800"/>
                  <a:gd name="connsiteY4" fmla="*/ 914400 h 914402"/>
                  <a:gd name="connsiteX5" fmla="*/ 0 w 1828800"/>
                  <a:gd name="connsiteY5" fmla="*/ 457201 h 914402"/>
                  <a:gd name="connsiteX0" fmla="*/ 0 w 1828800"/>
                  <a:gd name="connsiteY0" fmla="*/ 0 h 914402"/>
                  <a:gd name="connsiteX1" fmla="*/ 1749399 w 1828800"/>
                  <a:gd name="connsiteY1" fmla="*/ 1 h 914402"/>
                  <a:gd name="connsiteX2" fmla="*/ 1828800 w 1828800"/>
                  <a:gd name="connsiteY2" fmla="*/ 457200 h 914402"/>
                  <a:gd name="connsiteX3" fmla="*/ 1749399 w 1828800"/>
                  <a:gd name="connsiteY3" fmla="*/ 914402 h 914402"/>
                  <a:gd name="connsiteX4" fmla="*/ 0 w 1828800"/>
                  <a:gd name="connsiteY4" fmla="*/ 914400 h 914402"/>
                  <a:gd name="connsiteX5" fmla="*/ 79401 w 1828800"/>
                  <a:gd name="connsiteY5" fmla="*/ 457202 h 914402"/>
                  <a:gd name="connsiteX0" fmla="*/ 0 w 1828800"/>
                  <a:gd name="connsiteY0" fmla="*/ 0 h 914402"/>
                  <a:gd name="connsiteX1" fmla="*/ 1749399 w 1828800"/>
                  <a:gd name="connsiteY1" fmla="*/ 0 h 914402"/>
                  <a:gd name="connsiteX2" fmla="*/ 1828800 w 1828800"/>
                  <a:gd name="connsiteY2" fmla="*/ 457200 h 914402"/>
                  <a:gd name="connsiteX3" fmla="*/ 1749399 w 1828800"/>
                  <a:gd name="connsiteY3" fmla="*/ 914402 h 914402"/>
                  <a:gd name="connsiteX4" fmla="*/ 0 w 1828800"/>
                  <a:gd name="connsiteY4" fmla="*/ 914400 h 914402"/>
                  <a:gd name="connsiteX5" fmla="*/ 79401 w 1828800"/>
                  <a:gd name="connsiteY5" fmla="*/ 457202 h 914402"/>
                  <a:gd name="connsiteX0" fmla="*/ 0 w 1828800"/>
                  <a:gd name="connsiteY0" fmla="*/ 0 h 914402"/>
                  <a:gd name="connsiteX1" fmla="*/ 1749399 w 1828800"/>
                  <a:gd name="connsiteY1" fmla="*/ 0 h 914402"/>
                  <a:gd name="connsiteX2" fmla="*/ 1828800 w 1828800"/>
                  <a:gd name="connsiteY2" fmla="*/ 457200 h 914402"/>
                  <a:gd name="connsiteX3" fmla="*/ 1749399 w 1828800"/>
                  <a:gd name="connsiteY3" fmla="*/ 914402 h 914402"/>
                  <a:gd name="connsiteX4" fmla="*/ 0 w 1828800"/>
                  <a:gd name="connsiteY4" fmla="*/ 914400 h 914402"/>
                  <a:gd name="connsiteX5" fmla="*/ 79401 w 1828800"/>
                  <a:gd name="connsiteY5" fmla="*/ 457202 h 914402"/>
                  <a:gd name="connsiteX0" fmla="*/ 0 w 1828800"/>
                  <a:gd name="connsiteY0" fmla="*/ 0 h 914402"/>
                  <a:gd name="connsiteX1" fmla="*/ 1749399 w 1828800"/>
                  <a:gd name="connsiteY1" fmla="*/ 0 h 914402"/>
                  <a:gd name="connsiteX2" fmla="*/ 1828800 w 1828800"/>
                  <a:gd name="connsiteY2" fmla="*/ 457200 h 914402"/>
                  <a:gd name="connsiteX3" fmla="*/ 1749399 w 1828800"/>
                  <a:gd name="connsiteY3" fmla="*/ 914402 h 914402"/>
                  <a:gd name="connsiteX4" fmla="*/ 0 w 1828800"/>
                  <a:gd name="connsiteY4" fmla="*/ 914400 h 914402"/>
                  <a:gd name="connsiteX5" fmla="*/ 118532 w 1828800"/>
                  <a:gd name="connsiteY5" fmla="*/ 457202 h 914402"/>
                  <a:gd name="connsiteX0" fmla="*/ 0 w 1828800"/>
                  <a:gd name="connsiteY0" fmla="*/ 0 h 914402"/>
                  <a:gd name="connsiteX1" fmla="*/ 1710268 w 1828800"/>
                  <a:gd name="connsiteY1" fmla="*/ 0 h 914402"/>
                  <a:gd name="connsiteX2" fmla="*/ 1828800 w 1828800"/>
                  <a:gd name="connsiteY2" fmla="*/ 457200 h 914402"/>
                  <a:gd name="connsiteX3" fmla="*/ 1749399 w 1828800"/>
                  <a:gd name="connsiteY3" fmla="*/ 914402 h 914402"/>
                  <a:gd name="connsiteX4" fmla="*/ 0 w 1828800"/>
                  <a:gd name="connsiteY4" fmla="*/ 914400 h 914402"/>
                  <a:gd name="connsiteX5" fmla="*/ 118532 w 1828800"/>
                  <a:gd name="connsiteY5" fmla="*/ 457202 h 914402"/>
                  <a:gd name="connsiteX0" fmla="*/ 0 w 1828800"/>
                  <a:gd name="connsiteY0" fmla="*/ 0 h 914402"/>
                  <a:gd name="connsiteX1" fmla="*/ 1710268 w 1828800"/>
                  <a:gd name="connsiteY1" fmla="*/ 0 h 914402"/>
                  <a:gd name="connsiteX2" fmla="*/ 1828800 w 1828800"/>
                  <a:gd name="connsiteY2" fmla="*/ 457200 h 914402"/>
                  <a:gd name="connsiteX3" fmla="*/ 1710268 w 1828800"/>
                  <a:gd name="connsiteY3" fmla="*/ 914402 h 914402"/>
                  <a:gd name="connsiteX4" fmla="*/ 0 w 1828800"/>
                  <a:gd name="connsiteY4" fmla="*/ 914400 h 914402"/>
                  <a:gd name="connsiteX5" fmla="*/ 118532 w 1828800"/>
                  <a:gd name="connsiteY5" fmla="*/ 457202 h 914402"/>
                  <a:gd name="connsiteX0" fmla="*/ 0 w 1828800"/>
                  <a:gd name="connsiteY0" fmla="*/ 0 h 914402"/>
                  <a:gd name="connsiteX1" fmla="*/ 1710268 w 1828800"/>
                  <a:gd name="connsiteY1" fmla="*/ 0 h 914402"/>
                  <a:gd name="connsiteX2" fmla="*/ 1828800 w 1828800"/>
                  <a:gd name="connsiteY2" fmla="*/ 457200 h 914402"/>
                  <a:gd name="connsiteX3" fmla="*/ 1710268 w 1828800"/>
                  <a:gd name="connsiteY3" fmla="*/ 914402 h 914402"/>
                  <a:gd name="connsiteX4" fmla="*/ 0 w 1828800"/>
                  <a:gd name="connsiteY4" fmla="*/ 914400 h 914402"/>
                  <a:gd name="connsiteX5" fmla="*/ 154534 w 1828800"/>
                  <a:gd name="connsiteY5" fmla="*/ 457202 h 914402"/>
                  <a:gd name="connsiteX0" fmla="*/ 0 w 1828800"/>
                  <a:gd name="connsiteY0" fmla="*/ 0 h 914402"/>
                  <a:gd name="connsiteX1" fmla="*/ 1674266 w 1828800"/>
                  <a:gd name="connsiteY1" fmla="*/ 0 h 914402"/>
                  <a:gd name="connsiteX2" fmla="*/ 1828800 w 1828800"/>
                  <a:gd name="connsiteY2" fmla="*/ 457200 h 914402"/>
                  <a:gd name="connsiteX3" fmla="*/ 1710268 w 1828800"/>
                  <a:gd name="connsiteY3" fmla="*/ 914402 h 914402"/>
                  <a:gd name="connsiteX4" fmla="*/ 0 w 1828800"/>
                  <a:gd name="connsiteY4" fmla="*/ 914400 h 914402"/>
                  <a:gd name="connsiteX5" fmla="*/ 154534 w 1828800"/>
                  <a:gd name="connsiteY5" fmla="*/ 457202 h 914402"/>
                  <a:gd name="connsiteX0" fmla="*/ 0 w 1828800"/>
                  <a:gd name="connsiteY0" fmla="*/ 0 h 914402"/>
                  <a:gd name="connsiteX1" fmla="*/ 1674266 w 1828800"/>
                  <a:gd name="connsiteY1" fmla="*/ 0 h 914402"/>
                  <a:gd name="connsiteX2" fmla="*/ 1828800 w 1828800"/>
                  <a:gd name="connsiteY2" fmla="*/ 457200 h 914402"/>
                  <a:gd name="connsiteX3" fmla="*/ 1674266 w 1828800"/>
                  <a:gd name="connsiteY3" fmla="*/ 914402 h 914402"/>
                  <a:gd name="connsiteX4" fmla="*/ 0 w 1828800"/>
                  <a:gd name="connsiteY4" fmla="*/ 914400 h 914402"/>
                  <a:gd name="connsiteX5" fmla="*/ 154534 w 1828800"/>
                  <a:gd name="connsiteY5" fmla="*/ 457202 h 914402"/>
                  <a:gd name="connsiteX0" fmla="*/ 0 w 1828800"/>
                  <a:gd name="connsiteY0" fmla="*/ 0 h 914402"/>
                  <a:gd name="connsiteX1" fmla="*/ 1674266 w 1828800"/>
                  <a:gd name="connsiteY1" fmla="*/ 0 h 914402"/>
                  <a:gd name="connsiteX2" fmla="*/ 1828800 w 1828800"/>
                  <a:gd name="connsiteY2" fmla="*/ 457200 h 914402"/>
                  <a:gd name="connsiteX3" fmla="*/ 1674266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4266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64647 w 1828800"/>
                  <a:gd name="connsiteY5" fmla="*/ 457201 h 914402"/>
                  <a:gd name="connsiteX0" fmla="*/ 0 w 1828800"/>
                  <a:gd name="connsiteY0" fmla="*/ 0 h 914402"/>
                  <a:gd name="connsiteX1" fmla="*/ 1764153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64647 w 1828800"/>
                  <a:gd name="connsiteY5" fmla="*/ 457201 h 914402"/>
                  <a:gd name="connsiteX0" fmla="*/ 0 w 1828800"/>
                  <a:gd name="connsiteY0" fmla="*/ 0 h 914402"/>
                  <a:gd name="connsiteX1" fmla="*/ 1764153 w 1828800"/>
                  <a:gd name="connsiteY1" fmla="*/ 0 h 914402"/>
                  <a:gd name="connsiteX2" fmla="*/ 1828800 w 1828800"/>
                  <a:gd name="connsiteY2" fmla="*/ 457200 h 914402"/>
                  <a:gd name="connsiteX3" fmla="*/ 1764153 w 1828800"/>
                  <a:gd name="connsiteY3" fmla="*/ 914402 h 914402"/>
                  <a:gd name="connsiteX4" fmla="*/ 0 w 1828800"/>
                  <a:gd name="connsiteY4" fmla="*/ 914400 h 914402"/>
                  <a:gd name="connsiteX5" fmla="*/ 64647 w 1828800"/>
                  <a:gd name="connsiteY5" fmla="*/ 457201 h 914402"/>
                  <a:gd name="connsiteX0" fmla="*/ 0 w 1828800"/>
                  <a:gd name="connsiteY0" fmla="*/ 0 h 914402"/>
                  <a:gd name="connsiteX1" fmla="*/ 1764153 w 1828800"/>
                  <a:gd name="connsiteY1" fmla="*/ 0 h 914402"/>
                  <a:gd name="connsiteX2" fmla="*/ 1828800 w 1828800"/>
                  <a:gd name="connsiteY2" fmla="*/ 457200 h 914402"/>
                  <a:gd name="connsiteX3" fmla="*/ 1764153 w 1828800"/>
                  <a:gd name="connsiteY3" fmla="*/ 914402 h 914402"/>
                  <a:gd name="connsiteX4" fmla="*/ 0 w 1828800"/>
                  <a:gd name="connsiteY4" fmla="*/ 914400 h 914402"/>
                  <a:gd name="connsiteX5" fmla="*/ 43783 w 1828800"/>
                  <a:gd name="connsiteY5" fmla="*/ 457201 h 914402"/>
                  <a:gd name="connsiteX0" fmla="*/ 0 w 1828800"/>
                  <a:gd name="connsiteY0" fmla="*/ 0 h 914402"/>
                  <a:gd name="connsiteX1" fmla="*/ 1785017 w 1828800"/>
                  <a:gd name="connsiteY1" fmla="*/ 0 h 914402"/>
                  <a:gd name="connsiteX2" fmla="*/ 1828800 w 1828800"/>
                  <a:gd name="connsiteY2" fmla="*/ 457200 h 914402"/>
                  <a:gd name="connsiteX3" fmla="*/ 1764153 w 1828800"/>
                  <a:gd name="connsiteY3" fmla="*/ 914402 h 914402"/>
                  <a:gd name="connsiteX4" fmla="*/ 0 w 1828800"/>
                  <a:gd name="connsiteY4" fmla="*/ 914400 h 914402"/>
                  <a:gd name="connsiteX5" fmla="*/ 43783 w 1828800"/>
                  <a:gd name="connsiteY5" fmla="*/ 457201 h 914402"/>
                  <a:gd name="connsiteX0" fmla="*/ 0 w 1828800"/>
                  <a:gd name="connsiteY0" fmla="*/ 0 h 914402"/>
                  <a:gd name="connsiteX1" fmla="*/ 1785017 w 1828800"/>
                  <a:gd name="connsiteY1" fmla="*/ 0 h 914402"/>
                  <a:gd name="connsiteX2" fmla="*/ 1828800 w 1828800"/>
                  <a:gd name="connsiteY2" fmla="*/ 457200 h 914402"/>
                  <a:gd name="connsiteX3" fmla="*/ 1785017 w 1828800"/>
                  <a:gd name="connsiteY3" fmla="*/ 914402 h 914402"/>
                  <a:gd name="connsiteX4" fmla="*/ 0 w 1828800"/>
                  <a:gd name="connsiteY4" fmla="*/ 914400 h 914402"/>
                  <a:gd name="connsiteX5" fmla="*/ 43783 w 1828800"/>
                  <a:gd name="connsiteY5" fmla="*/ 457201 h 914402"/>
                  <a:gd name="connsiteX0" fmla="*/ 0 w 1828800"/>
                  <a:gd name="connsiteY0" fmla="*/ 0 h 914402"/>
                  <a:gd name="connsiteX1" fmla="*/ 1785017 w 1828800"/>
                  <a:gd name="connsiteY1" fmla="*/ 0 h 914402"/>
                  <a:gd name="connsiteX2" fmla="*/ 1828800 w 1828800"/>
                  <a:gd name="connsiteY2" fmla="*/ 457200 h 914402"/>
                  <a:gd name="connsiteX3" fmla="*/ 1785017 w 1828800"/>
                  <a:gd name="connsiteY3" fmla="*/ 914402 h 914402"/>
                  <a:gd name="connsiteX4" fmla="*/ 0 w 1828800"/>
                  <a:gd name="connsiteY4" fmla="*/ 914400 h 914402"/>
                  <a:gd name="connsiteX5" fmla="*/ 0 w 1828800"/>
                  <a:gd name="connsiteY5" fmla="*/ 457201 h 914402"/>
                  <a:gd name="connsiteX0" fmla="*/ 0 w 1828800"/>
                  <a:gd name="connsiteY0" fmla="*/ 0 h 914402"/>
                  <a:gd name="connsiteX1" fmla="*/ 1788942 w 1828800"/>
                  <a:gd name="connsiteY1" fmla="*/ 0 h 914402"/>
                  <a:gd name="connsiteX2" fmla="*/ 1828800 w 1828800"/>
                  <a:gd name="connsiteY2" fmla="*/ 457200 h 914402"/>
                  <a:gd name="connsiteX3" fmla="*/ 1785017 w 1828800"/>
                  <a:gd name="connsiteY3" fmla="*/ 914402 h 914402"/>
                  <a:gd name="connsiteX4" fmla="*/ 0 w 1828800"/>
                  <a:gd name="connsiteY4" fmla="*/ 914400 h 914402"/>
                  <a:gd name="connsiteX5" fmla="*/ 0 w 1828800"/>
                  <a:gd name="connsiteY5" fmla="*/ 457201 h 914402"/>
                  <a:gd name="connsiteX0" fmla="*/ 0 w 1828800"/>
                  <a:gd name="connsiteY0" fmla="*/ 0 h 914402"/>
                  <a:gd name="connsiteX1" fmla="*/ 1788942 w 1828800"/>
                  <a:gd name="connsiteY1" fmla="*/ 0 h 914402"/>
                  <a:gd name="connsiteX2" fmla="*/ 1828800 w 1828800"/>
                  <a:gd name="connsiteY2" fmla="*/ 457200 h 914402"/>
                  <a:gd name="connsiteX3" fmla="*/ 1788942 w 1828800"/>
                  <a:gd name="connsiteY3" fmla="*/ 914402 h 914402"/>
                  <a:gd name="connsiteX4" fmla="*/ 0 w 1828800"/>
                  <a:gd name="connsiteY4" fmla="*/ 914400 h 914402"/>
                  <a:gd name="connsiteX5" fmla="*/ 0 w 1828800"/>
                  <a:gd name="connsiteY5" fmla="*/ 457201 h 914402"/>
                  <a:gd name="connsiteX0" fmla="*/ 0 w 1828800"/>
                  <a:gd name="connsiteY0" fmla="*/ 0 h 914402"/>
                  <a:gd name="connsiteX1" fmla="*/ 1788942 w 1828800"/>
                  <a:gd name="connsiteY1" fmla="*/ 0 h 914402"/>
                  <a:gd name="connsiteX2" fmla="*/ 1828800 w 1828800"/>
                  <a:gd name="connsiteY2" fmla="*/ 457200 h 914402"/>
                  <a:gd name="connsiteX3" fmla="*/ 1788942 w 1828800"/>
                  <a:gd name="connsiteY3" fmla="*/ 914402 h 914402"/>
                  <a:gd name="connsiteX4" fmla="*/ 0 w 1828800"/>
                  <a:gd name="connsiteY4" fmla="*/ 914400 h 914402"/>
                  <a:gd name="connsiteX5" fmla="*/ 39858 w 1828800"/>
                  <a:gd name="connsiteY5" fmla="*/ 457201 h 914402"/>
                  <a:gd name="connsiteX0" fmla="*/ 0 w 1828800"/>
                  <a:gd name="connsiteY0" fmla="*/ 0 h 914402"/>
                  <a:gd name="connsiteX1" fmla="*/ 1788942 w 1828800"/>
                  <a:gd name="connsiteY1" fmla="*/ 0 h 914402"/>
                  <a:gd name="connsiteX2" fmla="*/ 1828800 w 1828800"/>
                  <a:gd name="connsiteY2" fmla="*/ 457200 h 914402"/>
                  <a:gd name="connsiteX3" fmla="*/ 1788942 w 1828800"/>
                  <a:gd name="connsiteY3" fmla="*/ 914402 h 914402"/>
                  <a:gd name="connsiteX4" fmla="*/ 0 w 1828800"/>
                  <a:gd name="connsiteY4" fmla="*/ 914400 h 914402"/>
                  <a:gd name="connsiteX5" fmla="*/ 39858 w 1828800"/>
                  <a:gd name="connsiteY5" fmla="*/ 457201 h 914402"/>
                  <a:gd name="connsiteX0" fmla="*/ 0 w 1828800"/>
                  <a:gd name="connsiteY0" fmla="*/ 0 h 914402"/>
                  <a:gd name="connsiteX1" fmla="*/ 1788942 w 1828800"/>
                  <a:gd name="connsiteY1" fmla="*/ 0 h 914402"/>
                  <a:gd name="connsiteX2" fmla="*/ 1828800 w 1828800"/>
                  <a:gd name="connsiteY2" fmla="*/ 457200 h 914402"/>
                  <a:gd name="connsiteX3" fmla="*/ 1788942 w 1828800"/>
                  <a:gd name="connsiteY3" fmla="*/ 914402 h 914402"/>
                  <a:gd name="connsiteX4" fmla="*/ 0 w 1828800"/>
                  <a:gd name="connsiteY4" fmla="*/ 914400 h 914402"/>
                  <a:gd name="connsiteX5" fmla="*/ 39858 w 1828800"/>
                  <a:gd name="connsiteY5" fmla="*/ 457201 h 914402"/>
                  <a:gd name="connsiteX0" fmla="*/ 0 w 1828800"/>
                  <a:gd name="connsiteY0" fmla="*/ 0 h 914402"/>
                  <a:gd name="connsiteX1" fmla="*/ 1788942 w 1828800"/>
                  <a:gd name="connsiteY1" fmla="*/ 0 h 914402"/>
                  <a:gd name="connsiteX2" fmla="*/ 1828800 w 1828800"/>
                  <a:gd name="connsiteY2" fmla="*/ 457200 h 914402"/>
                  <a:gd name="connsiteX3" fmla="*/ 1788942 w 1828800"/>
                  <a:gd name="connsiteY3" fmla="*/ 914402 h 914402"/>
                  <a:gd name="connsiteX4" fmla="*/ 0 w 1828800"/>
                  <a:gd name="connsiteY4" fmla="*/ 914400 h 914402"/>
                  <a:gd name="connsiteX5" fmla="*/ 0 w 1828800"/>
                  <a:gd name="connsiteY5" fmla="*/ 457201 h 914402"/>
                  <a:gd name="connsiteX0" fmla="*/ 0 w 1828800"/>
                  <a:gd name="connsiteY0" fmla="*/ 0 h 914402"/>
                  <a:gd name="connsiteX1" fmla="*/ 1788942 w 1828800"/>
                  <a:gd name="connsiteY1" fmla="*/ 0 h 914402"/>
                  <a:gd name="connsiteX2" fmla="*/ 1828800 w 1828800"/>
                  <a:gd name="connsiteY2" fmla="*/ 457200 h 914402"/>
                  <a:gd name="connsiteX3" fmla="*/ 1788942 w 1828800"/>
                  <a:gd name="connsiteY3" fmla="*/ 914402 h 914402"/>
                  <a:gd name="connsiteX4" fmla="*/ 0 w 1828800"/>
                  <a:gd name="connsiteY4" fmla="*/ 914400 h 914402"/>
                  <a:gd name="connsiteX5" fmla="*/ 0 w 1828800"/>
                  <a:gd name="connsiteY5" fmla="*/ 457201 h 914402"/>
                  <a:gd name="connsiteX0" fmla="*/ 0 w 1828800"/>
                  <a:gd name="connsiteY0" fmla="*/ 0 h 914402"/>
                  <a:gd name="connsiteX1" fmla="*/ 1788942 w 1828800"/>
                  <a:gd name="connsiteY1" fmla="*/ 0 h 914402"/>
                  <a:gd name="connsiteX2" fmla="*/ 1828800 w 1828800"/>
                  <a:gd name="connsiteY2" fmla="*/ 457200 h 914402"/>
                  <a:gd name="connsiteX3" fmla="*/ 1788942 w 1828800"/>
                  <a:gd name="connsiteY3" fmla="*/ 914402 h 914402"/>
                  <a:gd name="connsiteX4" fmla="*/ 0 w 1828800"/>
                  <a:gd name="connsiteY4" fmla="*/ 914400 h 914402"/>
                  <a:gd name="connsiteX5" fmla="*/ 0 w 1828800"/>
                  <a:gd name="connsiteY5" fmla="*/ 457201 h 914402"/>
                  <a:gd name="connsiteX0" fmla="*/ 0 w 1828800"/>
                  <a:gd name="connsiteY0" fmla="*/ 0 h 914402"/>
                  <a:gd name="connsiteX1" fmla="*/ 1788942 w 1828800"/>
                  <a:gd name="connsiteY1" fmla="*/ 0 h 914402"/>
                  <a:gd name="connsiteX2" fmla="*/ 1828800 w 1828800"/>
                  <a:gd name="connsiteY2" fmla="*/ 457200 h 914402"/>
                  <a:gd name="connsiteX3" fmla="*/ 1788942 w 1828800"/>
                  <a:gd name="connsiteY3" fmla="*/ 914402 h 914402"/>
                  <a:gd name="connsiteX4" fmla="*/ 0 w 1828800"/>
                  <a:gd name="connsiteY4" fmla="*/ 914400 h 914402"/>
                  <a:gd name="connsiteX5" fmla="*/ 39858 w 1828800"/>
                  <a:gd name="connsiteY5" fmla="*/ 457201 h 914402"/>
                  <a:gd name="connsiteX0" fmla="*/ 0 w 1828800"/>
                  <a:gd name="connsiteY0" fmla="*/ 0 h 914402"/>
                  <a:gd name="connsiteX1" fmla="*/ 1788942 w 1828800"/>
                  <a:gd name="connsiteY1" fmla="*/ 0 h 914402"/>
                  <a:gd name="connsiteX2" fmla="*/ 1828800 w 1828800"/>
                  <a:gd name="connsiteY2" fmla="*/ 457200 h 914402"/>
                  <a:gd name="connsiteX3" fmla="*/ 1788942 w 1828800"/>
                  <a:gd name="connsiteY3" fmla="*/ 914402 h 914402"/>
                  <a:gd name="connsiteX4" fmla="*/ 0 w 1828800"/>
                  <a:gd name="connsiteY4" fmla="*/ 914400 h 914402"/>
                  <a:gd name="connsiteX5" fmla="*/ 39858 w 1828800"/>
                  <a:gd name="connsiteY5" fmla="*/ 457201 h 914402"/>
                  <a:gd name="connsiteX0" fmla="*/ 0 w 1828800"/>
                  <a:gd name="connsiteY0" fmla="*/ 0 h 914402"/>
                  <a:gd name="connsiteX1" fmla="*/ 1788942 w 1828800"/>
                  <a:gd name="connsiteY1" fmla="*/ 0 h 914402"/>
                  <a:gd name="connsiteX2" fmla="*/ 1828800 w 1828800"/>
                  <a:gd name="connsiteY2" fmla="*/ 457200 h 914402"/>
                  <a:gd name="connsiteX3" fmla="*/ 1788942 w 1828800"/>
                  <a:gd name="connsiteY3" fmla="*/ 914402 h 914402"/>
                  <a:gd name="connsiteX4" fmla="*/ 0 w 1828800"/>
                  <a:gd name="connsiteY4" fmla="*/ 914400 h 914402"/>
                  <a:gd name="connsiteX5" fmla="*/ 39858 w 1828800"/>
                  <a:gd name="connsiteY5" fmla="*/ 457201 h 914402"/>
                  <a:gd name="connsiteX0" fmla="*/ 0 w 1828800"/>
                  <a:gd name="connsiteY0" fmla="*/ 0 h 914402"/>
                  <a:gd name="connsiteX1" fmla="*/ 1788942 w 1828800"/>
                  <a:gd name="connsiteY1" fmla="*/ 0 h 914402"/>
                  <a:gd name="connsiteX2" fmla="*/ 1828800 w 1828800"/>
                  <a:gd name="connsiteY2" fmla="*/ 457200 h 914402"/>
                  <a:gd name="connsiteX3" fmla="*/ 1788942 w 1828800"/>
                  <a:gd name="connsiteY3" fmla="*/ 914402 h 914402"/>
                  <a:gd name="connsiteX4" fmla="*/ 0 w 1828800"/>
                  <a:gd name="connsiteY4" fmla="*/ 914400 h 914402"/>
                  <a:gd name="connsiteX5" fmla="*/ 0 w 1828800"/>
                  <a:gd name="connsiteY5" fmla="*/ 457201 h 914402"/>
                  <a:gd name="connsiteX0" fmla="*/ 0 w 1828800"/>
                  <a:gd name="connsiteY0" fmla="*/ 0 h 914402"/>
                  <a:gd name="connsiteX1" fmla="*/ 1789940 w 1828800"/>
                  <a:gd name="connsiteY1" fmla="*/ 0 h 914402"/>
                  <a:gd name="connsiteX2" fmla="*/ 1828800 w 1828800"/>
                  <a:gd name="connsiteY2" fmla="*/ 457200 h 914402"/>
                  <a:gd name="connsiteX3" fmla="*/ 1788942 w 1828800"/>
                  <a:gd name="connsiteY3" fmla="*/ 914402 h 914402"/>
                  <a:gd name="connsiteX4" fmla="*/ 0 w 1828800"/>
                  <a:gd name="connsiteY4" fmla="*/ 914400 h 914402"/>
                  <a:gd name="connsiteX5" fmla="*/ 0 w 1828800"/>
                  <a:gd name="connsiteY5" fmla="*/ 457201 h 914402"/>
                  <a:gd name="connsiteX0" fmla="*/ 0 w 1828800"/>
                  <a:gd name="connsiteY0" fmla="*/ 0 h 914402"/>
                  <a:gd name="connsiteX1" fmla="*/ 1789940 w 1828800"/>
                  <a:gd name="connsiteY1" fmla="*/ 0 h 914402"/>
                  <a:gd name="connsiteX2" fmla="*/ 1828800 w 1828800"/>
                  <a:gd name="connsiteY2" fmla="*/ 457200 h 914402"/>
                  <a:gd name="connsiteX3" fmla="*/ 1789940 w 1828800"/>
                  <a:gd name="connsiteY3" fmla="*/ 914402 h 914402"/>
                  <a:gd name="connsiteX4" fmla="*/ 0 w 1828800"/>
                  <a:gd name="connsiteY4" fmla="*/ 914400 h 914402"/>
                  <a:gd name="connsiteX5" fmla="*/ 0 w 1828800"/>
                  <a:gd name="connsiteY5" fmla="*/ 457201 h 914402"/>
                  <a:gd name="connsiteX0" fmla="*/ 0 w 1828800"/>
                  <a:gd name="connsiteY0" fmla="*/ 0 h 914402"/>
                  <a:gd name="connsiteX1" fmla="*/ 1789940 w 1828800"/>
                  <a:gd name="connsiteY1" fmla="*/ 0 h 914402"/>
                  <a:gd name="connsiteX2" fmla="*/ 1828800 w 1828800"/>
                  <a:gd name="connsiteY2" fmla="*/ 457200 h 914402"/>
                  <a:gd name="connsiteX3" fmla="*/ 1789940 w 1828800"/>
                  <a:gd name="connsiteY3" fmla="*/ 914402 h 914402"/>
                  <a:gd name="connsiteX4" fmla="*/ 0 w 1828800"/>
                  <a:gd name="connsiteY4" fmla="*/ 914400 h 914402"/>
                  <a:gd name="connsiteX5" fmla="*/ 38860 w 1828800"/>
                  <a:gd name="connsiteY5" fmla="*/ 457201 h 914402"/>
                  <a:gd name="connsiteX0" fmla="*/ 0 w 1828800"/>
                  <a:gd name="connsiteY0" fmla="*/ 0 h 914402"/>
                  <a:gd name="connsiteX1" fmla="*/ 1789940 w 1828800"/>
                  <a:gd name="connsiteY1" fmla="*/ 0 h 914402"/>
                  <a:gd name="connsiteX2" fmla="*/ 1828800 w 1828800"/>
                  <a:gd name="connsiteY2" fmla="*/ 457200 h 914402"/>
                  <a:gd name="connsiteX3" fmla="*/ 1789940 w 1828800"/>
                  <a:gd name="connsiteY3" fmla="*/ 914402 h 914402"/>
                  <a:gd name="connsiteX4" fmla="*/ 0 w 1828800"/>
                  <a:gd name="connsiteY4" fmla="*/ 914400 h 914402"/>
                  <a:gd name="connsiteX5" fmla="*/ 38860 w 1828800"/>
                  <a:gd name="connsiteY5" fmla="*/ 457201 h 914402"/>
                  <a:gd name="connsiteX0" fmla="*/ 0 w 1828800"/>
                  <a:gd name="connsiteY0" fmla="*/ 0 h 914402"/>
                  <a:gd name="connsiteX1" fmla="*/ 1789940 w 1828800"/>
                  <a:gd name="connsiteY1" fmla="*/ 0 h 914402"/>
                  <a:gd name="connsiteX2" fmla="*/ 1828800 w 1828800"/>
                  <a:gd name="connsiteY2" fmla="*/ 457200 h 914402"/>
                  <a:gd name="connsiteX3" fmla="*/ 1789940 w 1828800"/>
                  <a:gd name="connsiteY3" fmla="*/ 914402 h 914402"/>
                  <a:gd name="connsiteX4" fmla="*/ 0 w 1828800"/>
                  <a:gd name="connsiteY4" fmla="*/ 914400 h 914402"/>
                  <a:gd name="connsiteX5" fmla="*/ 38860 w 1828800"/>
                  <a:gd name="connsiteY5" fmla="*/ 457201 h 9144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2">
                    <a:moveTo>
                      <a:pt x="0" y="0"/>
                    </a:moveTo>
                    <a:lnTo>
                      <a:pt x="1789940" y="0"/>
                    </a:lnTo>
                    <a:lnTo>
                      <a:pt x="1828800" y="457200"/>
                    </a:lnTo>
                    <a:lnTo>
                      <a:pt x="1789940" y="914402"/>
                    </a:lnTo>
                    <a:lnTo>
                      <a:pt x="0" y="914400"/>
                    </a:lnTo>
                    <a:lnTo>
                      <a:pt x="38860" y="457201"/>
                    </a:lnTo>
                    <a:close/>
                  </a:path>
                </a:pathLst>
              </a:custGeom>
              <a:grpFill/>
              <a:ln w="19050">
                <a:solidFill>
                  <a:schemeClr val="bg2"/>
                </a:solidFill>
                <a:round/>
                <a:headEnd/>
                <a:tailEnd/>
              </a:ln>
            </p:spPr>
            <p:txBody>
              <a:bodyPr wrap="none" rtlCol="0" anchor="ctr"/>
              <a:lstStyle/>
              <a:p>
                <a:pPr algn="ctr"/>
                <a:endParaRPr lang="en-US" sz="1000" b="1" dirty="0">
                  <a:solidFill>
                    <a:srgbClr val="FFFFFF"/>
                  </a:solidFill>
                  <a:latin typeface="Arial"/>
                </a:endParaRPr>
              </a:p>
            </p:txBody>
          </p:sp>
          <p:sp>
            <p:nvSpPr>
              <p:cNvPr id="75" name="TextBox 4"/>
              <p:cNvSpPr txBox="1">
                <a:spLocks noChangeArrowheads="1"/>
              </p:cNvSpPr>
              <p:nvPr>
                <p:custDataLst>
                  <p:tags r:id="rId15"/>
                </p:custDataLst>
              </p:nvPr>
            </p:nvSpPr>
            <p:spPr bwMode="auto">
              <a:xfrm>
                <a:off x="3413781" y="1487444"/>
                <a:ext cx="3488386" cy="153888"/>
              </a:xfrm>
              <a:prstGeom prst="rect">
                <a:avLst/>
              </a:prstGeom>
              <a:grp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lvl1pPr marL="0" indent="0" algn="l" defTabSz="895350" rtl="0" eaLnBrk="1" fontAlgn="base" hangingPunct="1">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pPr>
                  <a:buClr>
                    <a:srgbClr val="002960"/>
                  </a:buClr>
                </a:pPr>
                <a:r>
                  <a:rPr lang="en-US" sz="1000" b="1" dirty="0">
                    <a:solidFill>
                      <a:srgbClr val="FFFFFF"/>
                    </a:solidFill>
                  </a:rPr>
                  <a:t>Integration planning</a:t>
                </a:r>
              </a:p>
            </p:txBody>
          </p:sp>
        </p:grpSp>
        <p:grpSp>
          <p:nvGrpSpPr>
            <p:cNvPr id="32" name="Group 31"/>
            <p:cNvGrpSpPr/>
            <p:nvPr>
              <p:custDataLst>
                <p:tags r:id="rId11"/>
              </p:custDataLst>
            </p:nvPr>
          </p:nvGrpSpPr>
          <p:grpSpPr>
            <a:xfrm>
              <a:off x="6856327" y="1376998"/>
              <a:ext cx="1775307" cy="436342"/>
              <a:chOff x="6795293" y="1346217"/>
              <a:chExt cx="1835632" cy="436342"/>
            </a:xfrm>
            <a:solidFill>
              <a:schemeClr val="accent2"/>
            </a:solidFill>
          </p:grpSpPr>
          <p:sp>
            <p:nvSpPr>
              <p:cNvPr id="77" name="Freeform 76"/>
              <p:cNvSpPr/>
              <p:nvPr>
                <p:custDataLst>
                  <p:tags r:id="rId12"/>
                </p:custDataLst>
              </p:nvPr>
            </p:nvSpPr>
            <p:spPr bwMode="auto">
              <a:xfrm>
                <a:off x="6795293" y="1346217"/>
                <a:ext cx="1835632" cy="436342"/>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749399 w 1828800"/>
                  <a:gd name="connsiteY1" fmla="*/ 1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1 h 914400"/>
                  <a:gd name="connsiteX0" fmla="*/ 0 w 1828800"/>
                  <a:gd name="connsiteY0" fmla="*/ 0 h 914402"/>
                  <a:gd name="connsiteX1" fmla="*/ 1749399 w 1828800"/>
                  <a:gd name="connsiteY1" fmla="*/ 1 h 914402"/>
                  <a:gd name="connsiteX2" fmla="*/ 1828800 w 1828800"/>
                  <a:gd name="connsiteY2" fmla="*/ 457200 h 914402"/>
                  <a:gd name="connsiteX3" fmla="*/ 1749399 w 1828800"/>
                  <a:gd name="connsiteY3" fmla="*/ 914402 h 914402"/>
                  <a:gd name="connsiteX4" fmla="*/ 0 w 1828800"/>
                  <a:gd name="connsiteY4" fmla="*/ 914400 h 914402"/>
                  <a:gd name="connsiteX5" fmla="*/ 0 w 1828800"/>
                  <a:gd name="connsiteY5" fmla="*/ 457201 h 914402"/>
                  <a:gd name="connsiteX0" fmla="*/ 0 w 1828800"/>
                  <a:gd name="connsiteY0" fmla="*/ 0 h 914402"/>
                  <a:gd name="connsiteX1" fmla="*/ 1749399 w 1828800"/>
                  <a:gd name="connsiteY1" fmla="*/ 1 h 914402"/>
                  <a:gd name="connsiteX2" fmla="*/ 1828800 w 1828800"/>
                  <a:gd name="connsiteY2" fmla="*/ 457200 h 914402"/>
                  <a:gd name="connsiteX3" fmla="*/ 1749399 w 1828800"/>
                  <a:gd name="connsiteY3" fmla="*/ 914402 h 914402"/>
                  <a:gd name="connsiteX4" fmla="*/ 0 w 1828800"/>
                  <a:gd name="connsiteY4" fmla="*/ 914400 h 914402"/>
                  <a:gd name="connsiteX5" fmla="*/ 79401 w 1828800"/>
                  <a:gd name="connsiteY5" fmla="*/ 457202 h 914402"/>
                  <a:gd name="connsiteX0" fmla="*/ 0 w 1828800"/>
                  <a:gd name="connsiteY0" fmla="*/ 0 h 914402"/>
                  <a:gd name="connsiteX1" fmla="*/ 1749399 w 1828800"/>
                  <a:gd name="connsiteY1" fmla="*/ 0 h 914402"/>
                  <a:gd name="connsiteX2" fmla="*/ 1828800 w 1828800"/>
                  <a:gd name="connsiteY2" fmla="*/ 457200 h 914402"/>
                  <a:gd name="connsiteX3" fmla="*/ 1749399 w 1828800"/>
                  <a:gd name="connsiteY3" fmla="*/ 914402 h 914402"/>
                  <a:gd name="connsiteX4" fmla="*/ 0 w 1828800"/>
                  <a:gd name="connsiteY4" fmla="*/ 914400 h 914402"/>
                  <a:gd name="connsiteX5" fmla="*/ 79401 w 1828800"/>
                  <a:gd name="connsiteY5" fmla="*/ 457202 h 914402"/>
                  <a:gd name="connsiteX0" fmla="*/ 0 w 1828800"/>
                  <a:gd name="connsiteY0" fmla="*/ 0 h 914402"/>
                  <a:gd name="connsiteX1" fmla="*/ 1749399 w 1828800"/>
                  <a:gd name="connsiteY1" fmla="*/ 0 h 914402"/>
                  <a:gd name="connsiteX2" fmla="*/ 1828800 w 1828800"/>
                  <a:gd name="connsiteY2" fmla="*/ 457200 h 914402"/>
                  <a:gd name="connsiteX3" fmla="*/ 1749399 w 1828800"/>
                  <a:gd name="connsiteY3" fmla="*/ 914402 h 914402"/>
                  <a:gd name="connsiteX4" fmla="*/ 0 w 1828800"/>
                  <a:gd name="connsiteY4" fmla="*/ 914400 h 914402"/>
                  <a:gd name="connsiteX5" fmla="*/ 79401 w 1828800"/>
                  <a:gd name="connsiteY5" fmla="*/ 457202 h 914402"/>
                  <a:gd name="connsiteX0" fmla="*/ 0 w 1828800"/>
                  <a:gd name="connsiteY0" fmla="*/ 0 h 914402"/>
                  <a:gd name="connsiteX1" fmla="*/ 1749399 w 1828800"/>
                  <a:gd name="connsiteY1" fmla="*/ 0 h 914402"/>
                  <a:gd name="connsiteX2" fmla="*/ 1828800 w 1828800"/>
                  <a:gd name="connsiteY2" fmla="*/ 457200 h 914402"/>
                  <a:gd name="connsiteX3" fmla="*/ 1749399 w 1828800"/>
                  <a:gd name="connsiteY3" fmla="*/ 914402 h 914402"/>
                  <a:gd name="connsiteX4" fmla="*/ 0 w 1828800"/>
                  <a:gd name="connsiteY4" fmla="*/ 914400 h 914402"/>
                  <a:gd name="connsiteX5" fmla="*/ 118532 w 1828800"/>
                  <a:gd name="connsiteY5" fmla="*/ 457202 h 914402"/>
                  <a:gd name="connsiteX0" fmla="*/ 0 w 1828800"/>
                  <a:gd name="connsiteY0" fmla="*/ 0 h 914402"/>
                  <a:gd name="connsiteX1" fmla="*/ 1710268 w 1828800"/>
                  <a:gd name="connsiteY1" fmla="*/ 0 h 914402"/>
                  <a:gd name="connsiteX2" fmla="*/ 1828800 w 1828800"/>
                  <a:gd name="connsiteY2" fmla="*/ 457200 h 914402"/>
                  <a:gd name="connsiteX3" fmla="*/ 1749399 w 1828800"/>
                  <a:gd name="connsiteY3" fmla="*/ 914402 h 914402"/>
                  <a:gd name="connsiteX4" fmla="*/ 0 w 1828800"/>
                  <a:gd name="connsiteY4" fmla="*/ 914400 h 914402"/>
                  <a:gd name="connsiteX5" fmla="*/ 118532 w 1828800"/>
                  <a:gd name="connsiteY5" fmla="*/ 457202 h 914402"/>
                  <a:gd name="connsiteX0" fmla="*/ 0 w 1828800"/>
                  <a:gd name="connsiteY0" fmla="*/ 0 h 914402"/>
                  <a:gd name="connsiteX1" fmla="*/ 1710268 w 1828800"/>
                  <a:gd name="connsiteY1" fmla="*/ 0 h 914402"/>
                  <a:gd name="connsiteX2" fmla="*/ 1828800 w 1828800"/>
                  <a:gd name="connsiteY2" fmla="*/ 457200 h 914402"/>
                  <a:gd name="connsiteX3" fmla="*/ 1710268 w 1828800"/>
                  <a:gd name="connsiteY3" fmla="*/ 914402 h 914402"/>
                  <a:gd name="connsiteX4" fmla="*/ 0 w 1828800"/>
                  <a:gd name="connsiteY4" fmla="*/ 914400 h 914402"/>
                  <a:gd name="connsiteX5" fmla="*/ 118532 w 1828800"/>
                  <a:gd name="connsiteY5" fmla="*/ 457202 h 914402"/>
                  <a:gd name="connsiteX0" fmla="*/ 0 w 1828800"/>
                  <a:gd name="connsiteY0" fmla="*/ 0 h 914402"/>
                  <a:gd name="connsiteX1" fmla="*/ 1710268 w 1828800"/>
                  <a:gd name="connsiteY1" fmla="*/ 0 h 914402"/>
                  <a:gd name="connsiteX2" fmla="*/ 1828800 w 1828800"/>
                  <a:gd name="connsiteY2" fmla="*/ 457200 h 914402"/>
                  <a:gd name="connsiteX3" fmla="*/ 1710268 w 1828800"/>
                  <a:gd name="connsiteY3" fmla="*/ 914402 h 914402"/>
                  <a:gd name="connsiteX4" fmla="*/ 0 w 1828800"/>
                  <a:gd name="connsiteY4" fmla="*/ 914400 h 914402"/>
                  <a:gd name="connsiteX5" fmla="*/ 154534 w 1828800"/>
                  <a:gd name="connsiteY5" fmla="*/ 457202 h 914402"/>
                  <a:gd name="connsiteX0" fmla="*/ 0 w 1828800"/>
                  <a:gd name="connsiteY0" fmla="*/ 0 h 914402"/>
                  <a:gd name="connsiteX1" fmla="*/ 1674266 w 1828800"/>
                  <a:gd name="connsiteY1" fmla="*/ 0 h 914402"/>
                  <a:gd name="connsiteX2" fmla="*/ 1828800 w 1828800"/>
                  <a:gd name="connsiteY2" fmla="*/ 457200 h 914402"/>
                  <a:gd name="connsiteX3" fmla="*/ 1710268 w 1828800"/>
                  <a:gd name="connsiteY3" fmla="*/ 914402 h 914402"/>
                  <a:gd name="connsiteX4" fmla="*/ 0 w 1828800"/>
                  <a:gd name="connsiteY4" fmla="*/ 914400 h 914402"/>
                  <a:gd name="connsiteX5" fmla="*/ 154534 w 1828800"/>
                  <a:gd name="connsiteY5" fmla="*/ 457202 h 914402"/>
                  <a:gd name="connsiteX0" fmla="*/ 0 w 1828800"/>
                  <a:gd name="connsiteY0" fmla="*/ 0 h 914402"/>
                  <a:gd name="connsiteX1" fmla="*/ 1674266 w 1828800"/>
                  <a:gd name="connsiteY1" fmla="*/ 0 h 914402"/>
                  <a:gd name="connsiteX2" fmla="*/ 1828800 w 1828800"/>
                  <a:gd name="connsiteY2" fmla="*/ 457200 h 914402"/>
                  <a:gd name="connsiteX3" fmla="*/ 1674266 w 1828800"/>
                  <a:gd name="connsiteY3" fmla="*/ 914402 h 914402"/>
                  <a:gd name="connsiteX4" fmla="*/ 0 w 1828800"/>
                  <a:gd name="connsiteY4" fmla="*/ 914400 h 914402"/>
                  <a:gd name="connsiteX5" fmla="*/ 154534 w 1828800"/>
                  <a:gd name="connsiteY5" fmla="*/ 457202 h 914402"/>
                  <a:gd name="connsiteX0" fmla="*/ 0 w 1828800"/>
                  <a:gd name="connsiteY0" fmla="*/ 0 h 914402"/>
                  <a:gd name="connsiteX1" fmla="*/ 1674266 w 1828800"/>
                  <a:gd name="connsiteY1" fmla="*/ 0 h 914402"/>
                  <a:gd name="connsiteX2" fmla="*/ 1828800 w 1828800"/>
                  <a:gd name="connsiteY2" fmla="*/ 457200 h 914402"/>
                  <a:gd name="connsiteX3" fmla="*/ 1674266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0 w 1828800"/>
                  <a:gd name="connsiteY1" fmla="*/ 0 h 914402"/>
                  <a:gd name="connsiteX2" fmla="*/ 1828800 w 1828800"/>
                  <a:gd name="connsiteY2" fmla="*/ 457200 h 914402"/>
                  <a:gd name="connsiteX3" fmla="*/ 1674266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0 w 1828800"/>
                  <a:gd name="connsiteY1" fmla="*/ 0 h 914402"/>
                  <a:gd name="connsiteX2" fmla="*/ 1828800 w 1828800"/>
                  <a:gd name="connsiteY2" fmla="*/ 457200 h 914402"/>
                  <a:gd name="connsiteX3" fmla="*/ 1676500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0 w 1828800"/>
                  <a:gd name="connsiteY1" fmla="*/ 0 h 914402"/>
                  <a:gd name="connsiteX2" fmla="*/ 1828800 w 1828800"/>
                  <a:gd name="connsiteY2" fmla="*/ 457200 h 914402"/>
                  <a:gd name="connsiteX3" fmla="*/ 1676500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0 w 1828800"/>
                  <a:gd name="connsiteY1" fmla="*/ 0 h 914402"/>
                  <a:gd name="connsiteX2" fmla="*/ 1828800 w 1828800"/>
                  <a:gd name="connsiteY2" fmla="*/ 457200 h 914402"/>
                  <a:gd name="connsiteX3" fmla="*/ 1676500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0 w 1828800"/>
                  <a:gd name="connsiteY1" fmla="*/ 0 h 914402"/>
                  <a:gd name="connsiteX2" fmla="*/ 1828800 w 1828800"/>
                  <a:gd name="connsiteY2" fmla="*/ 457200 h 914402"/>
                  <a:gd name="connsiteX3" fmla="*/ 1676500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0 w 1828800"/>
                  <a:gd name="connsiteY1" fmla="*/ 0 h 914402"/>
                  <a:gd name="connsiteX2" fmla="*/ 1828800 w 1828800"/>
                  <a:gd name="connsiteY2" fmla="*/ 457200 h 914402"/>
                  <a:gd name="connsiteX3" fmla="*/ 1676500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0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64646 w 1828800"/>
                  <a:gd name="connsiteY5" fmla="*/ 457201 h 914402"/>
                  <a:gd name="connsiteX0" fmla="*/ 0 w 1828800"/>
                  <a:gd name="connsiteY0" fmla="*/ 0 h 914402"/>
                  <a:gd name="connsiteX1" fmla="*/ 1764153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64646 w 1828800"/>
                  <a:gd name="connsiteY5" fmla="*/ 457201 h 914402"/>
                  <a:gd name="connsiteX0" fmla="*/ 0 w 1828800"/>
                  <a:gd name="connsiteY0" fmla="*/ 0 h 914402"/>
                  <a:gd name="connsiteX1" fmla="*/ 1764153 w 1828800"/>
                  <a:gd name="connsiteY1" fmla="*/ 0 h 914402"/>
                  <a:gd name="connsiteX2" fmla="*/ 1828800 w 1828800"/>
                  <a:gd name="connsiteY2" fmla="*/ 457200 h 914402"/>
                  <a:gd name="connsiteX3" fmla="*/ 1764153 w 1828800"/>
                  <a:gd name="connsiteY3" fmla="*/ 914402 h 914402"/>
                  <a:gd name="connsiteX4" fmla="*/ 0 w 1828800"/>
                  <a:gd name="connsiteY4" fmla="*/ 914400 h 914402"/>
                  <a:gd name="connsiteX5" fmla="*/ 64646 w 1828800"/>
                  <a:gd name="connsiteY5" fmla="*/ 457201 h 914402"/>
                  <a:gd name="connsiteX0" fmla="*/ 0 w 1828800"/>
                  <a:gd name="connsiteY0" fmla="*/ 0 h 914402"/>
                  <a:gd name="connsiteX1" fmla="*/ 1764153 w 1828800"/>
                  <a:gd name="connsiteY1" fmla="*/ 0 h 914402"/>
                  <a:gd name="connsiteX2" fmla="*/ 1828800 w 1828800"/>
                  <a:gd name="connsiteY2" fmla="*/ 457200 h 914402"/>
                  <a:gd name="connsiteX3" fmla="*/ 1764153 w 1828800"/>
                  <a:gd name="connsiteY3" fmla="*/ 914402 h 914402"/>
                  <a:gd name="connsiteX4" fmla="*/ 0 w 1828800"/>
                  <a:gd name="connsiteY4" fmla="*/ 914400 h 914402"/>
                  <a:gd name="connsiteX5" fmla="*/ 78250 w 1828800"/>
                  <a:gd name="connsiteY5" fmla="*/ 457201 h 914402"/>
                  <a:gd name="connsiteX0" fmla="*/ 0 w 1828800"/>
                  <a:gd name="connsiteY0" fmla="*/ 0 h 914402"/>
                  <a:gd name="connsiteX1" fmla="*/ 1750550 w 1828800"/>
                  <a:gd name="connsiteY1" fmla="*/ 0 h 914402"/>
                  <a:gd name="connsiteX2" fmla="*/ 1828800 w 1828800"/>
                  <a:gd name="connsiteY2" fmla="*/ 457200 h 914402"/>
                  <a:gd name="connsiteX3" fmla="*/ 1764153 w 1828800"/>
                  <a:gd name="connsiteY3" fmla="*/ 914402 h 914402"/>
                  <a:gd name="connsiteX4" fmla="*/ 0 w 1828800"/>
                  <a:gd name="connsiteY4" fmla="*/ 914400 h 914402"/>
                  <a:gd name="connsiteX5" fmla="*/ 78250 w 1828800"/>
                  <a:gd name="connsiteY5" fmla="*/ 457201 h 914402"/>
                  <a:gd name="connsiteX0" fmla="*/ 0 w 1828800"/>
                  <a:gd name="connsiteY0" fmla="*/ 0 h 914402"/>
                  <a:gd name="connsiteX1" fmla="*/ 1750550 w 1828800"/>
                  <a:gd name="connsiteY1" fmla="*/ 0 h 914402"/>
                  <a:gd name="connsiteX2" fmla="*/ 1828800 w 1828800"/>
                  <a:gd name="connsiteY2" fmla="*/ 457200 h 914402"/>
                  <a:gd name="connsiteX3" fmla="*/ 1750550 w 1828800"/>
                  <a:gd name="connsiteY3" fmla="*/ 914402 h 914402"/>
                  <a:gd name="connsiteX4" fmla="*/ 0 w 1828800"/>
                  <a:gd name="connsiteY4" fmla="*/ 914400 h 914402"/>
                  <a:gd name="connsiteX5" fmla="*/ 78250 w 1828800"/>
                  <a:gd name="connsiteY5" fmla="*/ 457201 h 914402"/>
                  <a:gd name="connsiteX0" fmla="*/ 0 w 1828800"/>
                  <a:gd name="connsiteY0" fmla="*/ 0 h 914402"/>
                  <a:gd name="connsiteX1" fmla="*/ 1750550 w 1828800"/>
                  <a:gd name="connsiteY1" fmla="*/ 0 h 914402"/>
                  <a:gd name="connsiteX2" fmla="*/ 1828800 w 1828800"/>
                  <a:gd name="connsiteY2" fmla="*/ 457200 h 914402"/>
                  <a:gd name="connsiteX3" fmla="*/ 1750550 w 1828800"/>
                  <a:gd name="connsiteY3" fmla="*/ 914402 h 914402"/>
                  <a:gd name="connsiteX4" fmla="*/ 0 w 1828800"/>
                  <a:gd name="connsiteY4" fmla="*/ 914400 h 914402"/>
                  <a:gd name="connsiteX5" fmla="*/ 0 w 1828800"/>
                  <a:gd name="connsiteY5" fmla="*/ 457201 h 914402"/>
                  <a:gd name="connsiteX0" fmla="*/ 0 w 1828800"/>
                  <a:gd name="connsiteY0" fmla="*/ 0 h 914402"/>
                  <a:gd name="connsiteX1" fmla="*/ 1750550 w 1828800"/>
                  <a:gd name="connsiteY1" fmla="*/ 0 h 914402"/>
                  <a:gd name="connsiteX2" fmla="*/ 1828800 w 1828800"/>
                  <a:gd name="connsiteY2" fmla="*/ 457200 h 914402"/>
                  <a:gd name="connsiteX3" fmla="*/ 1750550 w 1828800"/>
                  <a:gd name="connsiteY3" fmla="*/ 914402 h 914402"/>
                  <a:gd name="connsiteX4" fmla="*/ 0 w 1828800"/>
                  <a:gd name="connsiteY4" fmla="*/ 914400 h 914402"/>
                  <a:gd name="connsiteX5" fmla="*/ 0 w 1828800"/>
                  <a:gd name="connsiteY5" fmla="*/ 457201 h 914402"/>
                  <a:gd name="connsiteX0" fmla="*/ 0 w 1828800"/>
                  <a:gd name="connsiteY0" fmla="*/ 0 h 914402"/>
                  <a:gd name="connsiteX1" fmla="*/ 1750550 w 1828800"/>
                  <a:gd name="connsiteY1" fmla="*/ 0 h 914402"/>
                  <a:gd name="connsiteX2" fmla="*/ 1828800 w 1828800"/>
                  <a:gd name="connsiteY2" fmla="*/ 457200 h 914402"/>
                  <a:gd name="connsiteX3" fmla="*/ 1750550 w 1828800"/>
                  <a:gd name="connsiteY3" fmla="*/ 914402 h 914402"/>
                  <a:gd name="connsiteX4" fmla="*/ 0 w 1828800"/>
                  <a:gd name="connsiteY4" fmla="*/ 914400 h 914402"/>
                  <a:gd name="connsiteX5" fmla="*/ 0 w 1828800"/>
                  <a:gd name="connsiteY5" fmla="*/ 457201 h 914402"/>
                  <a:gd name="connsiteX0" fmla="*/ 0 w 1828800"/>
                  <a:gd name="connsiteY0" fmla="*/ 0 h 914402"/>
                  <a:gd name="connsiteX1" fmla="*/ 1750550 w 1828800"/>
                  <a:gd name="connsiteY1" fmla="*/ 0 h 914402"/>
                  <a:gd name="connsiteX2" fmla="*/ 1828800 w 1828800"/>
                  <a:gd name="connsiteY2" fmla="*/ 457200 h 914402"/>
                  <a:gd name="connsiteX3" fmla="*/ 1750550 w 1828800"/>
                  <a:gd name="connsiteY3" fmla="*/ 914402 h 914402"/>
                  <a:gd name="connsiteX4" fmla="*/ 0 w 1828800"/>
                  <a:gd name="connsiteY4" fmla="*/ 914400 h 914402"/>
                  <a:gd name="connsiteX5" fmla="*/ 78250 w 1828800"/>
                  <a:gd name="connsiteY5" fmla="*/ 457201 h 914402"/>
                  <a:gd name="connsiteX0" fmla="*/ 0 w 1828800"/>
                  <a:gd name="connsiteY0" fmla="*/ 0 h 914402"/>
                  <a:gd name="connsiteX1" fmla="*/ 1750550 w 1828800"/>
                  <a:gd name="connsiteY1" fmla="*/ 0 h 914402"/>
                  <a:gd name="connsiteX2" fmla="*/ 1828800 w 1828800"/>
                  <a:gd name="connsiteY2" fmla="*/ 457200 h 914402"/>
                  <a:gd name="connsiteX3" fmla="*/ 1750550 w 1828800"/>
                  <a:gd name="connsiteY3" fmla="*/ 914402 h 914402"/>
                  <a:gd name="connsiteX4" fmla="*/ 0 w 1828800"/>
                  <a:gd name="connsiteY4" fmla="*/ 914400 h 914402"/>
                  <a:gd name="connsiteX5" fmla="*/ 78250 w 1828800"/>
                  <a:gd name="connsiteY5" fmla="*/ 457201 h 914402"/>
                  <a:gd name="connsiteX0" fmla="*/ 0 w 1828800"/>
                  <a:gd name="connsiteY0" fmla="*/ 0 h 914402"/>
                  <a:gd name="connsiteX1" fmla="*/ 1750550 w 1828800"/>
                  <a:gd name="connsiteY1" fmla="*/ 0 h 914402"/>
                  <a:gd name="connsiteX2" fmla="*/ 1828800 w 1828800"/>
                  <a:gd name="connsiteY2" fmla="*/ 457200 h 914402"/>
                  <a:gd name="connsiteX3" fmla="*/ 1750550 w 1828800"/>
                  <a:gd name="connsiteY3" fmla="*/ 914402 h 914402"/>
                  <a:gd name="connsiteX4" fmla="*/ 0 w 1828800"/>
                  <a:gd name="connsiteY4" fmla="*/ 914400 h 914402"/>
                  <a:gd name="connsiteX5" fmla="*/ 78250 w 1828800"/>
                  <a:gd name="connsiteY5" fmla="*/ 457201 h 9144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2">
                    <a:moveTo>
                      <a:pt x="0" y="0"/>
                    </a:moveTo>
                    <a:lnTo>
                      <a:pt x="1750550" y="0"/>
                    </a:lnTo>
                    <a:lnTo>
                      <a:pt x="1828800" y="457200"/>
                    </a:lnTo>
                    <a:lnTo>
                      <a:pt x="1750550" y="914402"/>
                    </a:lnTo>
                    <a:lnTo>
                      <a:pt x="0" y="914400"/>
                    </a:lnTo>
                    <a:lnTo>
                      <a:pt x="78250" y="457201"/>
                    </a:lnTo>
                    <a:close/>
                  </a:path>
                </a:pathLst>
              </a:custGeom>
              <a:grpFill/>
              <a:ln w="19050">
                <a:solidFill>
                  <a:schemeClr val="bg2"/>
                </a:solidFill>
                <a:round/>
                <a:headEnd/>
                <a:tailEnd/>
              </a:ln>
            </p:spPr>
            <p:txBody>
              <a:bodyPr wrap="none" rtlCol="0" anchor="ctr"/>
              <a:lstStyle/>
              <a:p>
                <a:pPr algn="ctr"/>
                <a:endParaRPr lang="en-US" sz="1000" b="1" dirty="0">
                  <a:solidFill>
                    <a:srgbClr val="FFFFFF"/>
                  </a:solidFill>
                  <a:latin typeface="Arial"/>
                </a:endParaRPr>
              </a:p>
            </p:txBody>
          </p:sp>
          <p:sp>
            <p:nvSpPr>
              <p:cNvPr id="78" name="TextBox 4"/>
              <p:cNvSpPr txBox="1">
                <a:spLocks noChangeArrowheads="1"/>
              </p:cNvSpPr>
              <p:nvPr>
                <p:custDataLst>
                  <p:tags r:id="rId13"/>
                </p:custDataLst>
              </p:nvPr>
            </p:nvSpPr>
            <p:spPr bwMode="auto">
              <a:xfrm>
                <a:off x="6924635" y="1487444"/>
                <a:ext cx="1627749" cy="153888"/>
              </a:xfrm>
              <a:prstGeom prst="rect">
                <a:avLst/>
              </a:prstGeom>
              <a:grp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lvl1pPr marL="0" indent="0" algn="l" defTabSz="895350" rtl="0" eaLnBrk="1" fontAlgn="base" hangingPunct="1">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pPr>
                  <a:buClr>
                    <a:srgbClr val="002960"/>
                  </a:buClr>
                </a:pPr>
                <a:r>
                  <a:rPr lang="en-US" sz="1000" b="1" dirty="0">
                    <a:solidFill>
                      <a:srgbClr val="FFFFFF"/>
                    </a:solidFill>
                  </a:rPr>
                  <a:t>Integration execution</a:t>
                </a:r>
              </a:p>
            </p:txBody>
          </p:sp>
        </p:grpSp>
      </p:grpSp>
      <p:sp>
        <p:nvSpPr>
          <p:cNvPr id="70" name="Title Tracker Circle">
            <a:extLst>
              <a:ext uri="{FF2B5EF4-FFF2-40B4-BE49-F238E27FC236}">
                <a16:creationId xmlns:a16="http://schemas.microsoft.com/office/drawing/2014/main" id="{C691B5AB-2F9B-4D43-B08B-0C4C6C6D2EA6}"/>
              </a:ext>
            </a:extLst>
          </p:cNvPr>
          <p:cNvSpPr/>
          <p:nvPr/>
        </p:nvSpPr>
        <p:spPr>
          <a:xfrm>
            <a:off x="119063" y="166736"/>
            <a:ext cx="418798" cy="418798"/>
          </a:xfrm>
          <a:prstGeom prst="ellipse">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p>
            <a:pPr algn="ctr"/>
            <a:r>
              <a:rPr lang="en-US" sz="2000" dirty="0">
                <a:solidFill>
                  <a:schemeClr val="tx2"/>
                </a:solidFill>
                <a:latin typeface="+mj-lt"/>
              </a:rPr>
              <a:t>8</a:t>
            </a:r>
          </a:p>
        </p:txBody>
      </p:sp>
    </p:spTree>
    <p:custDataLst>
      <p:tags r:id="rId2"/>
    </p:custDataLst>
    <p:extLst>
      <p:ext uri="{BB962C8B-B14F-4D97-AF65-F5344CB8AC3E}">
        <p14:creationId xmlns:p14="http://schemas.microsoft.com/office/powerpoint/2010/main" val="2062717872"/>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36229502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98004" name="think-cell Slide" r:id="rId12" imgW="353" imgH="353" progId="TCLayout.ActiveDocument.1">
                  <p:embed/>
                </p:oleObj>
              </mc:Choice>
              <mc:Fallback>
                <p:oleObj name="think-cell Slide" r:id="rId12" imgW="353" imgH="353" progId="TCLayout.ActiveDocument.1">
                  <p:embed/>
                  <p:pic>
                    <p:nvPicPr>
                      <p:cNvPr id="5" name="Object 4" hidden="1"/>
                      <p:cNvPicPr/>
                      <p:nvPr/>
                    </p:nvPicPr>
                    <p:blipFill>
                      <a:blip r:embed="rId13"/>
                      <a:stretch>
                        <a:fillRect/>
                      </a:stretch>
                    </p:blipFill>
                    <p:spPr>
                      <a:xfrm>
                        <a:off x="1588" y="1588"/>
                        <a:ext cx="1587" cy="1587"/>
                      </a:xfrm>
                      <a:prstGeom prst="rect">
                        <a:avLst/>
                      </a:prstGeom>
                    </p:spPr>
                  </p:pic>
                </p:oleObj>
              </mc:Fallback>
            </mc:AlternateContent>
          </a:graphicData>
        </a:graphic>
      </p:graphicFrame>
      <p:sp>
        <p:nvSpPr>
          <p:cNvPr id="4" name="Rectangle 3" hidden="1"/>
          <p:cNvSpPr/>
          <p:nvPr>
            <p:custDataLst>
              <p:tags r:id="rId3"/>
            </p:custDataLst>
          </p:nvPr>
        </p:nvSpPr>
        <p:spPr bwMode="auto">
          <a:xfrm>
            <a:off x="0" y="0"/>
            <a:ext cx="158750" cy="158750"/>
          </a:xfrm>
          <a:prstGeom prst="rect">
            <a:avLst/>
          </a:prstGeom>
          <a:solidFill>
            <a:schemeClr val="bg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2800" dirty="0">
              <a:solidFill>
                <a:schemeClr val="tx1"/>
              </a:solidFill>
              <a:latin typeface="Arial" panose="020B0604020202020204" pitchFamily="34" charset="0"/>
              <a:sym typeface="Arial" panose="020B0604020202020204" pitchFamily="34" charset="0"/>
            </a:endParaRPr>
          </a:p>
        </p:txBody>
      </p:sp>
      <p:sp>
        <p:nvSpPr>
          <p:cNvPr id="2" name="Title 1"/>
          <p:cNvSpPr>
            <a:spLocks noGrp="1"/>
          </p:cNvSpPr>
          <p:nvPr>
            <p:ph type="title"/>
          </p:nvPr>
        </p:nvSpPr>
        <p:spPr bwMode="black">
          <a:xfrm>
            <a:off x="119063" y="230188"/>
            <a:ext cx="8618537" cy="307777"/>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r>
              <a:rPr lang="en-US" dirty="0"/>
              <a:t>Contents</a:t>
            </a:r>
          </a:p>
        </p:txBody>
      </p:sp>
      <p:sp>
        <p:nvSpPr>
          <p:cNvPr id="30" name="Text Placeholder 2">
            <a:hlinkClick r:id="rId14" action="ppaction://hlinksldjump"/>
            <a:extLst>
              <a:ext uri="{FF2B5EF4-FFF2-40B4-BE49-F238E27FC236}">
                <a16:creationId xmlns:a16="http://schemas.microsoft.com/office/drawing/2014/main" id="{D8E1E85D-3DD7-45CF-AC30-9B270CED9BA1}"/>
              </a:ext>
            </a:extLst>
          </p:cNvPr>
          <p:cNvSpPr>
            <a:spLocks noGrp="1"/>
          </p:cNvSpPr>
          <p:nvPr>
            <p:custDataLst>
              <p:tags r:id="rId4"/>
            </p:custDataLst>
          </p:nvPr>
        </p:nvSpPr>
        <p:spPr bwMode="black">
          <a:xfrm>
            <a:off x="125403" y="1225550"/>
            <a:ext cx="6842125" cy="712788"/>
          </a:xfrm>
          <a:prstGeom prst="rect">
            <a:avLst/>
          </a:prstGeom>
          <a:noFill/>
          <a:ln w="9525">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bg2"/>
                </a:solidFill>
              </a14:hiddenLine>
            </a:ext>
          </a:extLst>
        </p:spPr>
        <p:txBody>
          <a:bodyPr vert="horz" wrap="square" lIns="142875" tIns="142875" rIns="0" bIns="142875" numCol="1" spcCol="0" rtlCol="0" anchor="ctr" anchorCtr="0">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buClr>
                <a:schemeClr val="bg1"/>
              </a:buClr>
            </a:pPr>
            <a:r>
              <a:rPr lang="en-US" sz="2800" dirty="0">
                <a:solidFill>
                  <a:schemeClr val="bg1"/>
                </a:solidFill>
                <a:sym typeface="+mn-lt"/>
              </a:rPr>
              <a:t>1. Integration expertise</a:t>
            </a:r>
          </a:p>
        </p:txBody>
      </p:sp>
      <p:sp>
        <p:nvSpPr>
          <p:cNvPr id="15" name="Text Placeholder 2">
            <a:hlinkClick r:id="rId15" action="ppaction://hlinksldjump"/>
            <a:extLst>
              <a:ext uri="{FF2B5EF4-FFF2-40B4-BE49-F238E27FC236}">
                <a16:creationId xmlns:a16="http://schemas.microsoft.com/office/drawing/2014/main" id="{AA84E2BE-2341-41A8-BAC9-EBD1FE2EE433}"/>
              </a:ext>
            </a:extLst>
          </p:cNvPr>
          <p:cNvSpPr>
            <a:spLocks noGrp="1"/>
          </p:cNvSpPr>
          <p:nvPr>
            <p:custDataLst>
              <p:tags r:id="rId5"/>
            </p:custDataLst>
          </p:nvPr>
        </p:nvSpPr>
        <p:spPr bwMode="black">
          <a:xfrm>
            <a:off x="125413" y="1938338"/>
            <a:ext cx="6842125" cy="711200"/>
          </a:xfrm>
          <a:prstGeom prst="rect">
            <a:avLst/>
          </a:prstGeom>
          <a:noFill/>
          <a:ln w="9525">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bg2"/>
                </a:solidFill>
              </a14:hiddenLine>
            </a:ext>
          </a:extLst>
        </p:spPr>
        <p:txBody>
          <a:bodyPr vert="horz" wrap="square" lIns="142875" tIns="141288" rIns="0" bIns="142875" numCol="1" spcCol="0" rtlCol="0" anchor="ctr" anchorCtr="0">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defTabSz="914400">
              <a:buClr>
                <a:schemeClr val="bg1"/>
              </a:buClr>
            </a:pPr>
            <a:r>
              <a:rPr lang="en-US" altLang="en-US" sz="2800" dirty="0">
                <a:solidFill>
                  <a:schemeClr val="bg1"/>
                </a:solidFill>
              </a:rPr>
              <a:t>2. Lessons &amp; tools</a:t>
            </a:r>
            <a:endParaRPr lang="en-US" sz="2800" dirty="0">
              <a:solidFill>
                <a:schemeClr val="bg1"/>
              </a:solidFill>
              <a:latin typeface="Arial" charset="0"/>
              <a:sym typeface="+mn-lt"/>
            </a:endParaRPr>
          </a:p>
        </p:txBody>
      </p:sp>
      <p:sp>
        <p:nvSpPr>
          <p:cNvPr id="17" name="Text Placeholder 2">
            <a:extLst>
              <a:ext uri="{FF2B5EF4-FFF2-40B4-BE49-F238E27FC236}">
                <a16:creationId xmlns:a16="http://schemas.microsoft.com/office/drawing/2014/main" id="{3BA60732-ADCB-4846-835B-602A8F9AC6D6}"/>
              </a:ext>
            </a:extLst>
          </p:cNvPr>
          <p:cNvSpPr>
            <a:spLocks noGrp="1"/>
          </p:cNvSpPr>
          <p:nvPr>
            <p:custDataLst>
              <p:tags r:id="rId6"/>
            </p:custDataLst>
          </p:nvPr>
        </p:nvSpPr>
        <p:spPr bwMode="black">
          <a:xfrm>
            <a:off x="125413" y="2649538"/>
            <a:ext cx="6842125" cy="711200"/>
          </a:xfrm>
          <a:prstGeom prst="rect">
            <a:avLst/>
          </a:prstGeom>
          <a:noFill/>
          <a:ln w="9525">
            <a:solidFill>
              <a:schemeClr val="bg2"/>
            </a:solidFill>
          </a:ln>
          <a:extLst>
            <a:ext uri="{909E8E84-426E-40DD-AFC4-6F175D3DCCD1}">
              <a14:hiddenFill xmlns:a14="http://schemas.microsoft.com/office/drawing/2010/main">
                <a:solidFill>
                  <a:schemeClr val="accent1"/>
                </a:solidFill>
              </a14:hiddenFill>
            </a:ext>
          </a:extLst>
        </p:spPr>
        <p:txBody>
          <a:bodyPr vert="horz" wrap="square" lIns="142875" tIns="141288" rIns="0" bIns="142875" numCol="1" spcCol="0" rtlCol="0" anchor="ctr" anchorCtr="0">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defTabSz="914400">
              <a:buClr>
                <a:schemeClr val="bg1"/>
              </a:buClr>
            </a:pPr>
            <a:r>
              <a:rPr lang="en-US" altLang="en-US" sz="2800" dirty="0">
                <a:solidFill>
                  <a:schemeClr val="bg1"/>
                </a:solidFill>
              </a:rPr>
              <a:t>3. Distinctive team</a:t>
            </a:r>
            <a:endParaRPr lang="en-US" sz="2800" dirty="0">
              <a:solidFill>
                <a:schemeClr val="bg1"/>
              </a:solidFill>
              <a:latin typeface="Arial" charset="0"/>
              <a:sym typeface="+mn-lt"/>
            </a:endParaRPr>
          </a:p>
        </p:txBody>
      </p:sp>
      <p:sp>
        <p:nvSpPr>
          <p:cNvPr id="16" name="Text Placeholder 2">
            <a:hlinkClick r:id="rId16" action="ppaction://hlinksldjump"/>
            <a:extLst>
              <a:ext uri="{FF2B5EF4-FFF2-40B4-BE49-F238E27FC236}">
                <a16:creationId xmlns:a16="http://schemas.microsoft.com/office/drawing/2014/main" id="{4446EAA7-5DD9-49D0-BB5E-73ACBF02991C}"/>
              </a:ext>
            </a:extLst>
          </p:cNvPr>
          <p:cNvSpPr>
            <a:spLocks noGrp="1"/>
          </p:cNvSpPr>
          <p:nvPr>
            <p:custDataLst>
              <p:tags r:id="rId7"/>
            </p:custDataLst>
          </p:nvPr>
        </p:nvSpPr>
        <p:spPr bwMode="black">
          <a:xfrm>
            <a:off x="125412" y="3360738"/>
            <a:ext cx="6842125" cy="711200"/>
          </a:xfrm>
          <a:prstGeom prst="rect">
            <a:avLst/>
          </a:prstGeom>
          <a:noFill/>
          <a:ln w="9525">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bg2"/>
                </a:solidFill>
              </a14:hiddenLine>
            </a:ext>
          </a:extLst>
        </p:spPr>
        <p:txBody>
          <a:bodyPr vert="horz" wrap="square" lIns="142875" tIns="142875" rIns="0" bIns="141288" numCol="1" spcCol="0" rtlCol="0" anchor="ctr" anchorCtr="0">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defTabSz="914400">
              <a:buClr>
                <a:schemeClr val="bg1"/>
              </a:buClr>
            </a:pPr>
            <a:r>
              <a:rPr lang="en-US" altLang="en-US" sz="2800" dirty="0">
                <a:solidFill>
                  <a:schemeClr val="bg1"/>
                </a:solidFill>
              </a:rPr>
              <a:t>4. Turnaround experience &amp; methodology</a:t>
            </a:r>
            <a:endParaRPr lang="en-US" sz="2800" dirty="0">
              <a:solidFill>
                <a:schemeClr val="bg1"/>
              </a:solidFill>
              <a:latin typeface="Arial" charset="0"/>
              <a:sym typeface="+mn-lt"/>
            </a:endParaRPr>
          </a:p>
        </p:txBody>
      </p:sp>
      <p:sp>
        <p:nvSpPr>
          <p:cNvPr id="14" name="Text Placeholder 2">
            <a:hlinkClick r:id="rId17" action="ppaction://hlinksldjump"/>
            <a:extLst>
              <a:ext uri="{FF2B5EF4-FFF2-40B4-BE49-F238E27FC236}">
                <a16:creationId xmlns:a16="http://schemas.microsoft.com/office/drawing/2014/main" id="{9F25A5BB-D64D-4F4B-B42D-85C57A1D5166}"/>
              </a:ext>
            </a:extLst>
          </p:cNvPr>
          <p:cNvSpPr>
            <a:spLocks noGrp="1"/>
          </p:cNvSpPr>
          <p:nvPr>
            <p:custDataLst>
              <p:tags r:id="rId8"/>
            </p:custDataLst>
          </p:nvPr>
        </p:nvSpPr>
        <p:spPr bwMode="black">
          <a:xfrm>
            <a:off x="125412" y="4071938"/>
            <a:ext cx="6842125" cy="711200"/>
          </a:xfrm>
          <a:prstGeom prst="rect">
            <a:avLst/>
          </a:prstGeom>
          <a:noFill/>
          <a:ln w="9525">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bg2"/>
                </a:solidFill>
              </a14:hiddenLine>
            </a:ext>
          </a:extLst>
        </p:spPr>
        <p:txBody>
          <a:bodyPr vert="horz" wrap="square" lIns="142875" tIns="142875" rIns="0" bIns="141288" numCol="1" spcCol="0" rtlCol="0" anchor="ctr" anchorCtr="0">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defTabSz="914400">
              <a:buClr>
                <a:schemeClr val="bg1"/>
              </a:buClr>
            </a:pPr>
            <a:r>
              <a:rPr lang="en-US" altLang="en-US" sz="2800" dirty="0">
                <a:solidFill>
                  <a:schemeClr val="bg1"/>
                </a:solidFill>
              </a:rPr>
              <a:t>5. Functional depth</a:t>
            </a:r>
            <a:endParaRPr lang="en-US" sz="2800" dirty="0">
              <a:solidFill>
                <a:schemeClr val="bg1"/>
              </a:solidFill>
              <a:latin typeface="Arial" charset="0"/>
              <a:sym typeface="+mn-lt"/>
            </a:endParaRPr>
          </a:p>
        </p:txBody>
      </p:sp>
      <p:sp>
        <p:nvSpPr>
          <p:cNvPr id="18" name="Text Placeholder 2">
            <a:hlinkClick r:id="rId18" action="ppaction://hlinksldjump"/>
            <a:extLst>
              <a:ext uri="{FF2B5EF4-FFF2-40B4-BE49-F238E27FC236}">
                <a16:creationId xmlns:a16="http://schemas.microsoft.com/office/drawing/2014/main" id="{1B6A2FF8-B715-4C4D-8341-55CB2659A2DF}"/>
              </a:ext>
            </a:extLst>
          </p:cNvPr>
          <p:cNvSpPr>
            <a:spLocks noGrp="1"/>
          </p:cNvSpPr>
          <p:nvPr>
            <p:custDataLst>
              <p:tags r:id="rId9"/>
            </p:custDataLst>
          </p:nvPr>
        </p:nvSpPr>
        <p:spPr bwMode="black">
          <a:xfrm>
            <a:off x="125412" y="4783138"/>
            <a:ext cx="6842125" cy="712788"/>
          </a:xfrm>
          <a:prstGeom prst="rect">
            <a:avLst/>
          </a:prstGeom>
          <a:noFill/>
          <a:ln w="9525">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bg2"/>
                </a:solidFill>
              </a14:hiddenLine>
            </a:ext>
          </a:extLst>
        </p:spPr>
        <p:txBody>
          <a:bodyPr vert="horz" wrap="square" lIns="142875" tIns="142875" rIns="0" bIns="142875" numCol="1" spcCol="0" rtlCol="0" anchor="ctr" anchorCtr="0">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defTabSz="914400">
              <a:buClr>
                <a:schemeClr val="bg1"/>
              </a:buClr>
            </a:pPr>
            <a:r>
              <a:rPr lang="en-US" altLang="en-US" sz="2800" dirty="0">
                <a:solidFill>
                  <a:schemeClr val="bg1"/>
                </a:solidFill>
              </a:rPr>
              <a:t>6. Industry expertise</a:t>
            </a:r>
            <a:endParaRPr lang="en-US" sz="2800" dirty="0">
              <a:solidFill>
                <a:schemeClr val="bg1"/>
              </a:solidFill>
              <a:latin typeface="Arial" charset="0"/>
              <a:sym typeface="+mn-lt"/>
            </a:endParaRPr>
          </a:p>
        </p:txBody>
      </p:sp>
    </p:spTree>
    <p:extLst>
      <p:ext uri="{BB962C8B-B14F-4D97-AF65-F5344CB8AC3E}">
        <p14:creationId xmlns:p14="http://schemas.microsoft.com/office/powerpoint/2010/main" val="994562589"/>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99028" name="think-cell Slide" r:id="rId22" imgW="353" imgH="353" progId="TCLayout.ActiveDocument.1">
                  <p:embed/>
                </p:oleObj>
              </mc:Choice>
              <mc:Fallback>
                <p:oleObj name="think-cell Slide" r:id="rId22" imgW="353" imgH="353" progId="TCLayout.ActiveDocument.1">
                  <p:embed/>
                  <p:pic>
                    <p:nvPicPr>
                      <p:cNvPr id="17" name="Object 16" hidden="1"/>
                      <p:cNvPicPr/>
                      <p:nvPr/>
                    </p:nvPicPr>
                    <p:blipFill>
                      <a:blip r:embed="rId23"/>
                      <a:stretch>
                        <a:fillRect/>
                      </a:stretch>
                    </p:blipFill>
                    <p:spPr>
                      <a:xfrm>
                        <a:off x="1588" y="1588"/>
                        <a:ext cx="1587" cy="1587"/>
                      </a:xfrm>
                      <a:prstGeom prst="rect">
                        <a:avLst/>
                      </a:prstGeom>
                    </p:spPr>
                  </p:pic>
                </p:oleObj>
              </mc:Fallback>
            </mc:AlternateContent>
          </a:graphicData>
        </a:graphic>
      </p:graphicFrame>
      <p:sp>
        <p:nvSpPr>
          <p:cNvPr id="65" name="Rectangle 64"/>
          <p:cNvSpPr>
            <a:spLocks/>
          </p:cNvSpPr>
          <p:nvPr/>
        </p:nvSpPr>
        <p:spPr>
          <a:xfrm>
            <a:off x="119063" y="1057276"/>
            <a:ext cx="8618537" cy="5286374"/>
          </a:xfrm>
          <a:prstGeom prst="rect">
            <a:avLst/>
          </a:prstGeom>
          <a:solidFill>
            <a:schemeClr val="bg1"/>
          </a:solidFill>
          <a:ln w="19050">
            <a:solidFill>
              <a:schemeClr val="accent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b="1" dirty="0">
              <a:solidFill>
                <a:schemeClr val="lt1"/>
              </a:solidFill>
              <a:latin typeface="+mn-lt"/>
            </a:endParaRPr>
          </a:p>
        </p:txBody>
      </p:sp>
      <p:sp>
        <p:nvSpPr>
          <p:cNvPr id="66" name="Rectangle 4"/>
          <p:cNvSpPr txBox="1">
            <a:spLocks/>
          </p:cNvSpPr>
          <p:nvPr/>
        </p:nvSpPr>
        <p:spPr>
          <a:xfrm>
            <a:off x="119063" y="1057276"/>
            <a:ext cx="8618537" cy="299313"/>
          </a:xfrm>
          <a:prstGeom prst="rect">
            <a:avLst/>
          </a:prstGeom>
          <a:solidFill>
            <a:schemeClr val="accent1"/>
          </a:solid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2009" tIns="72009" rIns="72009" bIns="72009" numCol="1" anchor="ctr" anchorCtr="0" compatLnSpc="1">
            <a:prstTxWarp prst="textNoShape">
              <a:avLst/>
            </a:prstTxWarp>
            <a:noAutofit/>
          </a:bodyPr>
          <a:lstStyle>
            <a:lvl1pPr lvl="0" defTabSz="895350">
              <a:buClr>
                <a:schemeClr val="tx2"/>
              </a:buClr>
              <a:defRPr sz="1600">
                <a:latin typeface="+mn-lt"/>
              </a:defRPr>
            </a:lvl1pPr>
            <a:lvl2pPr marL="193675" lvl="1" indent="-192088" defTabSz="895350">
              <a:buClr>
                <a:schemeClr val="tx2"/>
              </a:buClr>
              <a:buSzPct val="125000"/>
              <a:buFont typeface="Arial" pitchFamily="34" charset="0"/>
              <a:buChar char="▪"/>
              <a:defRPr sz="1600">
                <a:latin typeface="+mn-lt"/>
              </a:defRPr>
            </a:lvl2pPr>
            <a:lvl3pPr marL="457200" lvl="2" indent="-261938" defTabSz="895350">
              <a:buClr>
                <a:schemeClr val="tx2"/>
              </a:buClr>
              <a:buSzPct val="120000"/>
              <a:buFont typeface="Arial" pitchFamily="34" charset="0"/>
              <a:buChar char="–"/>
              <a:defRPr sz="1600">
                <a:latin typeface="+mn-lt"/>
              </a:defRPr>
            </a:lvl3pPr>
            <a:lvl4pPr marL="614363" lvl="3" indent="-155575" defTabSz="895350">
              <a:buClr>
                <a:schemeClr val="tx2"/>
              </a:buClr>
              <a:buSzPct val="120000"/>
              <a:buFont typeface="Arial" pitchFamily="34" charset="0"/>
              <a:buChar char="▫"/>
              <a:defRPr sz="1600">
                <a:latin typeface="+mn-lt"/>
              </a:defRPr>
            </a:lvl4pPr>
            <a:lvl5pPr marL="746125" lvl="4" indent="-130175" defTabSz="895350">
              <a:buClr>
                <a:schemeClr val="tx2"/>
              </a:buClr>
              <a:buSzPct val="89000"/>
              <a:buFont typeface="Arial" pitchFamily="34" charset="0"/>
              <a:buChar char="-"/>
              <a:defRPr sz="1600">
                <a:latin typeface="+mn-lt"/>
              </a:defRPr>
            </a:lvl5pPr>
            <a:lvl6pPr marL="1203325" indent="-130175" defTabSz="895350" fontAlgn="base">
              <a:spcBef>
                <a:spcPct val="0"/>
              </a:spcBef>
              <a:spcAft>
                <a:spcPct val="0"/>
              </a:spcAft>
              <a:buClr>
                <a:schemeClr val="tx2"/>
              </a:buClr>
              <a:buSzPct val="89000"/>
              <a:buFont typeface="Arial" pitchFamily="34" charset="0"/>
              <a:buChar char="-"/>
              <a:defRPr sz="1600">
                <a:latin typeface="+mn-lt"/>
              </a:defRPr>
            </a:lvl6pPr>
            <a:lvl7pPr marL="1660525" indent="-130175" defTabSz="895350" fontAlgn="base">
              <a:spcBef>
                <a:spcPct val="0"/>
              </a:spcBef>
              <a:spcAft>
                <a:spcPct val="0"/>
              </a:spcAft>
              <a:buClr>
                <a:schemeClr val="tx2"/>
              </a:buClr>
              <a:buSzPct val="89000"/>
              <a:buFont typeface="Arial" pitchFamily="34" charset="0"/>
              <a:buChar char="-"/>
              <a:defRPr sz="1600">
                <a:latin typeface="+mn-lt"/>
              </a:defRPr>
            </a:lvl7pPr>
            <a:lvl8pPr marL="2117725" indent="-130175" defTabSz="895350" fontAlgn="base">
              <a:spcBef>
                <a:spcPct val="0"/>
              </a:spcBef>
              <a:spcAft>
                <a:spcPct val="0"/>
              </a:spcAft>
              <a:buClr>
                <a:schemeClr val="tx2"/>
              </a:buClr>
              <a:buSzPct val="89000"/>
              <a:buFont typeface="Arial" pitchFamily="34" charset="0"/>
              <a:buChar char="-"/>
              <a:defRPr sz="1600">
                <a:latin typeface="+mn-lt"/>
              </a:defRPr>
            </a:lvl8pPr>
            <a:lvl9pPr marL="2574925" indent="-130175" defTabSz="895350" fontAlgn="base">
              <a:spcBef>
                <a:spcPct val="0"/>
              </a:spcBef>
              <a:spcAft>
                <a:spcPct val="0"/>
              </a:spcAft>
              <a:buClr>
                <a:schemeClr val="tx2"/>
              </a:buClr>
              <a:buSzPct val="89000"/>
              <a:buFont typeface="Arial" pitchFamily="34" charset="0"/>
              <a:buChar char="-"/>
              <a:defRPr sz="1600">
                <a:latin typeface="+mn-lt"/>
              </a:defRPr>
            </a:lvl9pPr>
          </a:lstStyle>
          <a:p>
            <a:pPr>
              <a:buClr>
                <a:srgbClr val="002960"/>
              </a:buClr>
            </a:pPr>
            <a:r>
              <a:rPr lang="en-US" sz="1000" b="1" dirty="0">
                <a:solidFill>
                  <a:schemeClr val="accent3"/>
                </a:solidFill>
              </a:rPr>
              <a:t>McKinsey Integration Council</a:t>
            </a:r>
          </a:p>
        </p:txBody>
      </p:sp>
      <p:sp>
        <p:nvSpPr>
          <p:cNvPr id="67" name="Rectangle 67"/>
          <p:cNvSpPr>
            <a:spLocks noChangeArrowheads="1"/>
          </p:cNvSpPr>
          <p:nvPr>
            <p:custDataLst>
              <p:tags r:id="rId3"/>
            </p:custDataLst>
          </p:nvPr>
        </p:nvSpPr>
        <p:spPr bwMode="gray">
          <a:xfrm>
            <a:off x="964892" y="1479700"/>
            <a:ext cx="1243038" cy="9848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eaLnBrk="0" hangingPunct="0">
              <a:spcBef>
                <a:spcPct val="20000"/>
              </a:spcBef>
            </a:pPr>
            <a:r>
              <a:rPr lang="en-US" altLang="en-US" sz="1000" b="1" dirty="0">
                <a:solidFill>
                  <a:schemeClr val="accent3"/>
                </a:solidFill>
                <a:latin typeface="Arial"/>
                <a:ea typeface="STKaiti" pitchFamily="2" charset="-122"/>
              </a:rPr>
              <a:t>Nathalie </a:t>
            </a:r>
            <a:r>
              <a:rPr lang="en-US" altLang="en-US" sz="1000" b="1" dirty="0" err="1">
                <a:solidFill>
                  <a:schemeClr val="accent3"/>
                </a:solidFill>
                <a:latin typeface="Arial"/>
                <a:ea typeface="STKaiti" pitchFamily="2" charset="-122"/>
              </a:rPr>
              <a:t>Benzing</a:t>
            </a:r>
            <a:endParaRPr lang="en-US" altLang="en-US" sz="1000" b="1" dirty="0">
              <a:solidFill>
                <a:schemeClr val="accent3"/>
              </a:solidFill>
              <a:latin typeface="Arial"/>
              <a:ea typeface="STKaiti" pitchFamily="2" charset="-122"/>
            </a:endParaRPr>
          </a:p>
          <a:p>
            <a:pPr eaLnBrk="0" hangingPunct="0">
              <a:spcBef>
                <a:spcPct val="20000"/>
              </a:spcBef>
            </a:pPr>
            <a:r>
              <a:rPr lang="en-US" altLang="en-US" sz="1000" dirty="0">
                <a:solidFill>
                  <a:srgbClr val="000000"/>
                </a:solidFill>
                <a:latin typeface="Arial"/>
                <a:ea typeface="STKaiti" pitchFamily="2" charset="-122"/>
              </a:rPr>
              <a:t>COO, </a:t>
            </a:r>
            <a:r>
              <a:rPr lang="en-US" altLang="en-US" sz="1000" dirty="0" err="1">
                <a:solidFill>
                  <a:srgbClr val="000000"/>
                </a:solidFill>
                <a:latin typeface="Arial"/>
                <a:ea typeface="STKaiti" pitchFamily="2" charset="-122"/>
              </a:rPr>
              <a:t>TradeGecko</a:t>
            </a:r>
            <a:br>
              <a:rPr lang="en-US" altLang="en-US" sz="1000" dirty="0">
                <a:solidFill>
                  <a:srgbClr val="000000"/>
                </a:solidFill>
                <a:latin typeface="Arial"/>
                <a:ea typeface="STKaiti" pitchFamily="2" charset="-122"/>
              </a:rPr>
            </a:br>
            <a:r>
              <a:rPr lang="en-US" altLang="en-US" sz="1000" dirty="0">
                <a:solidFill>
                  <a:srgbClr val="000000"/>
                </a:solidFill>
                <a:latin typeface="Arial"/>
                <a:ea typeface="STKaiti" pitchFamily="2" charset="-122"/>
              </a:rPr>
              <a:t>Former Global Head of Acquisition Integration</a:t>
            </a:r>
          </a:p>
          <a:p>
            <a:pPr eaLnBrk="0" hangingPunct="0">
              <a:spcBef>
                <a:spcPct val="20000"/>
              </a:spcBef>
            </a:pPr>
            <a:r>
              <a:rPr lang="en-US" altLang="en-US" sz="1000" dirty="0">
                <a:solidFill>
                  <a:srgbClr val="000000"/>
                </a:solidFill>
                <a:latin typeface="Arial"/>
                <a:ea typeface="STKaiti" pitchFamily="2" charset="-122"/>
              </a:rPr>
              <a:t>Autodesk</a:t>
            </a:r>
          </a:p>
        </p:txBody>
      </p:sp>
      <p:pic>
        <p:nvPicPr>
          <p:cNvPr id="68" name="Picture 21" descr="Nathalie Benzing"/>
          <p:cNvPicPr>
            <a:picLocks noChangeAspect="1" noChangeArrowheads="1"/>
          </p:cNvPicPr>
          <p:nvPr/>
        </p:nvPicPr>
        <p:blipFill rotWithShape="1">
          <a:blip r:embed="rId24" cstate="screen">
            <a:extLst>
              <a:ext uri="{28A0092B-C50C-407E-A947-70E740481C1C}">
                <a14:useLocalDpi xmlns:a14="http://schemas.microsoft.com/office/drawing/2010/main"/>
              </a:ext>
            </a:extLst>
          </a:blip>
          <a:srcRect/>
          <a:stretch/>
        </p:blipFill>
        <p:spPr bwMode="auto">
          <a:xfrm>
            <a:off x="188219" y="1479700"/>
            <a:ext cx="722285" cy="932688"/>
          </a:xfrm>
          <a:prstGeom prst="rect">
            <a:avLst/>
          </a:prstGeom>
          <a:noFill/>
          <a:effectLst/>
          <a:extLst>
            <a:ext uri="{909E8E84-426E-40DD-AFC4-6F175D3DCCD1}">
              <a14:hiddenFill xmlns:a14="http://schemas.microsoft.com/office/drawing/2010/main">
                <a:solidFill>
                  <a:srgbClr val="FFFFFF"/>
                </a:solidFill>
              </a14:hiddenFill>
            </a:ext>
          </a:extLst>
        </p:spPr>
      </p:pic>
      <p:sp>
        <p:nvSpPr>
          <p:cNvPr id="69" name="Rectangle 18"/>
          <p:cNvSpPr>
            <a:spLocks noChangeArrowheads="1"/>
          </p:cNvSpPr>
          <p:nvPr>
            <p:custDataLst>
              <p:tags r:id="rId4"/>
            </p:custDataLst>
          </p:nvPr>
        </p:nvSpPr>
        <p:spPr bwMode="gray">
          <a:xfrm>
            <a:off x="3135290" y="1479700"/>
            <a:ext cx="1243038" cy="5232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eaLnBrk="0" hangingPunct="0">
              <a:spcBef>
                <a:spcPct val="20000"/>
              </a:spcBef>
            </a:pPr>
            <a:r>
              <a:rPr lang="en-US" altLang="en-US" sz="1000" b="1" dirty="0">
                <a:solidFill>
                  <a:schemeClr val="accent3"/>
                </a:solidFill>
                <a:latin typeface="Arial"/>
                <a:ea typeface="STKaiti" pitchFamily="2" charset="-122"/>
              </a:rPr>
              <a:t>Elena </a:t>
            </a:r>
            <a:r>
              <a:rPr lang="en-US" altLang="en-US" sz="1000" b="1" dirty="0" err="1">
                <a:solidFill>
                  <a:schemeClr val="accent3"/>
                </a:solidFill>
                <a:latin typeface="Arial"/>
                <a:ea typeface="STKaiti" pitchFamily="2" charset="-122"/>
              </a:rPr>
              <a:t>Botelho</a:t>
            </a:r>
            <a:endParaRPr lang="en-US" altLang="en-US" sz="1000" b="1" dirty="0">
              <a:solidFill>
                <a:schemeClr val="accent3"/>
              </a:solidFill>
              <a:latin typeface="Arial"/>
              <a:ea typeface="STKaiti" pitchFamily="2" charset="-122"/>
            </a:endParaRPr>
          </a:p>
          <a:p>
            <a:pPr eaLnBrk="0" hangingPunct="0">
              <a:spcBef>
                <a:spcPct val="20000"/>
              </a:spcBef>
            </a:pPr>
            <a:r>
              <a:rPr lang="en-US" altLang="en-US" sz="1000" dirty="0">
                <a:solidFill>
                  <a:srgbClr val="000000"/>
                </a:solidFill>
                <a:latin typeface="Arial"/>
                <a:ea typeface="STKaiti" pitchFamily="2" charset="-122"/>
              </a:rPr>
              <a:t>Partner</a:t>
            </a:r>
          </a:p>
          <a:p>
            <a:pPr eaLnBrk="0" hangingPunct="0">
              <a:spcBef>
                <a:spcPct val="20000"/>
              </a:spcBef>
            </a:pPr>
            <a:r>
              <a:rPr lang="en-US" altLang="en-US" sz="1000" dirty="0" err="1">
                <a:solidFill>
                  <a:srgbClr val="000000"/>
                </a:solidFill>
                <a:latin typeface="Arial"/>
                <a:ea typeface="STKaiti" pitchFamily="2" charset="-122"/>
              </a:rPr>
              <a:t>ghSmart</a:t>
            </a:r>
            <a:r>
              <a:rPr lang="en-US" altLang="en-US" sz="1000" dirty="0">
                <a:solidFill>
                  <a:srgbClr val="000000"/>
                </a:solidFill>
                <a:latin typeface="Arial"/>
                <a:ea typeface="STKaiti" pitchFamily="2" charset="-122"/>
              </a:rPr>
              <a:t> &amp; Company</a:t>
            </a:r>
          </a:p>
        </p:txBody>
      </p:sp>
      <p:pic>
        <p:nvPicPr>
          <p:cNvPr id="70" name="Picture 24"/>
          <p:cNvPicPr>
            <a:picLocks noChangeAspect="1" noChangeArrowheads="1"/>
          </p:cNvPicPr>
          <p:nvPr/>
        </p:nvPicPr>
        <p:blipFill>
          <a:blip r:embed="rId25">
            <a:extLst>
              <a:ext uri="{28A0092B-C50C-407E-A947-70E740481C1C}">
                <a14:useLocalDpi xmlns:a14="http://schemas.microsoft.com/office/drawing/2010/main"/>
              </a:ext>
            </a:extLst>
          </a:blip>
          <a:srcRect/>
          <a:stretch>
            <a:fillRect/>
          </a:stretch>
        </p:blipFill>
        <p:spPr bwMode="auto">
          <a:xfrm>
            <a:off x="2358368" y="1479700"/>
            <a:ext cx="722285" cy="9326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1" name="Rectangle 24"/>
          <p:cNvSpPr>
            <a:spLocks noChangeArrowheads="1"/>
          </p:cNvSpPr>
          <p:nvPr>
            <p:custDataLst>
              <p:tags r:id="rId5"/>
            </p:custDataLst>
          </p:nvPr>
        </p:nvSpPr>
        <p:spPr bwMode="gray">
          <a:xfrm>
            <a:off x="5305191" y="1479700"/>
            <a:ext cx="1243038" cy="9848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eaLnBrk="0" hangingPunct="0">
              <a:spcBef>
                <a:spcPct val="20000"/>
              </a:spcBef>
            </a:pPr>
            <a:r>
              <a:rPr lang="en-US" altLang="en-US" sz="1000" b="1" dirty="0">
                <a:solidFill>
                  <a:schemeClr val="accent3"/>
                </a:solidFill>
                <a:latin typeface="Arial"/>
                <a:ea typeface="STKaiti" pitchFamily="2" charset="-122"/>
              </a:rPr>
              <a:t>Marc </a:t>
            </a:r>
            <a:r>
              <a:rPr lang="en-US" altLang="en-US" sz="1000" b="1" dirty="0" err="1">
                <a:solidFill>
                  <a:schemeClr val="accent3"/>
                </a:solidFill>
                <a:latin typeface="Arial"/>
                <a:ea typeface="STKaiti" pitchFamily="2" charset="-122"/>
              </a:rPr>
              <a:t>Coroler</a:t>
            </a:r>
            <a:r>
              <a:rPr lang="en-US" altLang="en-US" sz="1000" b="1" dirty="0">
                <a:solidFill>
                  <a:schemeClr val="accent3"/>
                </a:solidFill>
                <a:latin typeface="Arial"/>
                <a:ea typeface="STKaiti" pitchFamily="2" charset="-122"/>
              </a:rPr>
              <a:t> </a:t>
            </a:r>
          </a:p>
          <a:p>
            <a:pPr eaLnBrk="0" hangingPunct="0">
              <a:spcBef>
                <a:spcPct val="20000"/>
              </a:spcBef>
            </a:pPr>
            <a:r>
              <a:rPr lang="en-US" altLang="en-US" sz="1000" dirty="0" err="1">
                <a:solidFill>
                  <a:srgbClr val="000000"/>
                </a:solidFill>
                <a:latin typeface="Arial"/>
                <a:ea typeface="STKaiti" pitchFamily="2" charset="-122"/>
              </a:rPr>
              <a:t>SVP</a:t>
            </a:r>
            <a:r>
              <a:rPr lang="en-US" altLang="en-US" sz="1000" dirty="0">
                <a:solidFill>
                  <a:srgbClr val="000000"/>
                </a:solidFill>
                <a:latin typeface="Arial"/>
                <a:ea typeface="STKaiti" pitchFamily="2" charset="-122"/>
              </a:rPr>
              <a:t>, Digital Customer Experience and Former </a:t>
            </a:r>
            <a:r>
              <a:rPr lang="en-US" altLang="en-US" sz="1000" dirty="0" err="1">
                <a:solidFill>
                  <a:srgbClr val="000000"/>
                </a:solidFill>
                <a:latin typeface="Arial"/>
                <a:ea typeface="STKaiti" pitchFamily="2" charset="-122"/>
              </a:rPr>
              <a:t>SVP</a:t>
            </a:r>
            <a:r>
              <a:rPr lang="en-US" altLang="en-US" sz="1000" dirty="0">
                <a:solidFill>
                  <a:srgbClr val="000000"/>
                </a:solidFill>
                <a:latin typeface="Arial"/>
                <a:ea typeface="STKaiti" pitchFamily="2" charset="-122"/>
              </a:rPr>
              <a:t>, Invensys Integration</a:t>
            </a:r>
          </a:p>
          <a:p>
            <a:pPr eaLnBrk="0" hangingPunct="0">
              <a:spcBef>
                <a:spcPct val="20000"/>
              </a:spcBef>
            </a:pPr>
            <a:r>
              <a:rPr lang="en-US" altLang="en-US" sz="1000" dirty="0">
                <a:solidFill>
                  <a:srgbClr val="000000"/>
                </a:solidFill>
                <a:latin typeface="Arial"/>
                <a:ea typeface="STKaiti" pitchFamily="2" charset="-122"/>
              </a:rPr>
              <a:t>Schneider Electric</a:t>
            </a:r>
          </a:p>
        </p:txBody>
      </p:sp>
      <p:pic>
        <p:nvPicPr>
          <p:cNvPr id="72" name="Picture 24" descr="Marc Coroler"/>
          <p:cNvPicPr>
            <a:picLocks noChangeAspect="1" noChangeArrowheads="1"/>
          </p:cNvPicPr>
          <p:nvPr/>
        </p:nvPicPr>
        <p:blipFill rotWithShape="1">
          <a:blip r:embed="rId26" cstate="screen">
            <a:extLst>
              <a:ext uri="{28A0092B-C50C-407E-A947-70E740481C1C}">
                <a14:useLocalDpi xmlns:a14="http://schemas.microsoft.com/office/drawing/2010/main"/>
              </a:ext>
            </a:extLst>
          </a:blip>
          <a:srcRect/>
          <a:stretch/>
        </p:blipFill>
        <p:spPr bwMode="auto">
          <a:xfrm>
            <a:off x="4527992" y="1479700"/>
            <a:ext cx="722285" cy="932688"/>
          </a:xfrm>
          <a:prstGeom prst="rect">
            <a:avLst/>
          </a:prstGeom>
          <a:noFill/>
          <a:effectLst/>
          <a:extLst>
            <a:ext uri="{909E8E84-426E-40DD-AFC4-6F175D3DCCD1}">
              <a14:hiddenFill xmlns:a14="http://schemas.microsoft.com/office/drawing/2010/main">
                <a:solidFill>
                  <a:srgbClr val="FFFFFF"/>
                </a:solidFill>
              </a14:hiddenFill>
            </a:ext>
          </a:extLst>
        </p:spPr>
      </p:pic>
      <p:sp>
        <p:nvSpPr>
          <p:cNvPr id="73" name="Rectangle 20"/>
          <p:cNvSpPr>
            <a:spLocks noChangeArrowheads="1"/>
          </p:cNvSpPr>
          <p:nvPr>
            <p:custDataLst>
              <p:tags r:id="rId6"/>
            </p:custDataLst>
          </p:nvPr>
        </p:nvSpPr>
        <p:spPr bwMode="gray">
          <a:xfrm>
            <a:off x="7473312" y="1479700"/>
            <a:ext cx="1243038" cy="9848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eaLnBrk="0" hangingPunct="0">
              <a:spcBef>
                <a:spcPct val="20000"/>
              </a:spcBef>
            </a:pPr>
            <a:r>
              <a:rPr lang="en-US" altLang="en-US" sz="1000" b="1" dirty="0">
                <a:solidFill>
                  <a:schemeClr val="accent3"/>
                </a:solidFill>
                <a:latin typeface="Arial"/>
                <a:ea typeface="STKaiti" pitchFamily="2" charset="-122"/>
              </a:rPr>
              <a:t>Dwight </a:t>
            </a:r>
            <a:r>
              <a:rPr lang="en-US" altLang="en-US" sz="1000" b="1" dirty="0" err="1">
                <a:solidFill>
                  <a:schemeClr val="accent3"/>
                </a:solidFill>
                <a:latin typeface="Arial"/>
                <a:ea typeface="STKaiti" pitchFamily="2" charset="-122"/>
              </a:rPr>
              <a:t>Fontilla</a:t>
            </a:r>
            <a:endParaRPr lang="en-US" altLang="en-US" sz="1000" b="1" dirty="0">
              <a:solidFill>
                <a:schemeClr val="accent3"/>
              </a:solidFill>
              <a:latin typeface="Arial"/>
              <a:ea typeface="STKaiti" pitchFamily="2" charset="-122"/>
            </a:endParaRPr>
          </a:p>
          <a:p>
            <a:pPr eaLnBrk="0" hangingPunct="0">
              <a:spcBef>
                <a:spcPct val="20000"/>
              </a:spcBef>
            </a:pPr>
            <a:r>
              <a:rPr lang="en-US" altLang="en-US" sz="1000" dirty="0">
                <a:solidFill>
                  <a:srgbClr val="000000"/>
                </a:solidFill>
                <a:latin typeface="Arial"/>
                <a:ea typeface="STKaiti" pitchFamily="2" charset="-122"/>
              </a:rPr>
              <a:t>Assistant Vice President, Corporate Development Integration</a:t>
            </a:r>
          </a:p>
          <a:p>
            <a:pPr eaLnBrk="0" hangingPunct="0">
              <a:spcBef>
                <a:spcPct val="20000"/>
              </a:spcBef>
            </a:pPr>
            <a:r>
              <a:rPr lang="en-US" altLang="en-US" sz="1000" dirty="0">
                <a:solidFill>
                  <a:srgbClr val="000000"/>
                </a:solidFill>
                <a:latin typeface="Arial"/>
                <a:ea typeface="STKaiti" pitchFamily="2" charset="-122"/>
              </a:rPr>
              <a:t>Cognizant</a:t>
            </a:r>
          </a:p>
        </p:txBody>
      </p:sp>
      <p:pic>
        <p:nvPicPr>
          <p:cNvPr id="74" name="Picture 106" descr="C:\Users\JUDIBO~1\AppData\Local\Temp\notes123585\Dwight Fontilla Profile Picture.jpg"/>
          <p:cNvPicPr>
            <a:picLocks noChangeAspect="1" noChangeArrowheads="1"/>
          </p:cNvPicPr>
          <p:nvPr/>
        </p:nvPicPr>
        <p:blipFill rotWithShape="1">
          <a:blip r:embed="rId27" cstate="print">
            <a:extLst>
              <a:ext uri="{28A0092B-C50C-407E-A947-70E740481C1C}">
                <a14:useLocalDpi xmlns:a14="http://schemas.microsoft.com/office/drawing/2010/main"/>
              </a:ext>
            </a:extLst>
          </a:blip>
          <a:srcRect/>
          <a:stretch/>
        </p:blipFill>
        <p:spPr bwMode="auto">
          <a:xfrm>
            <a:off x="6698668" y="1479700"/>
            <a:ext cx="722285" cy="932688"/>
          </a:xfrm>
          <a:prstGeom prst="rect">
            <a:avLst/>
          </a:prstGeom>
          <a:noFill/>
          <a:ln w="19050">
            <a:noFill/>
            <a:miter lim="800000"/>
            <a:headEnd/>
            <a:tailEnd/>
          </a:ln>
          <a:effectLst/>
          <a:extLst>
            <a:ext uri="{909E8E84-426E-40DD-AFC4-6F175D3DCCD1}">
              <a14:hiddenFill xmlns:a14="http://schemas.microsoft.com/office/drawing/2010/main">
                <a:solidFill>
                  <a:srgbClr val="FFFFFF"/>
                </a:solidFill>
              </a14:hiddenFill>
            </a:ext>
          </a:extLst>
        </p:spPr>
      </p:pic>
      <p:sp>
        <p:nvSpPr>
          <p:cNvPr id="75" name="Rectangle 24"/>
          <p:cNvSpPr>
            <a:spLocks noChangeArrowheads="1"/>
          </p:cNvSpPr>
          <p:nvPr>
            <p:custDataLst>
              <p:tags r:id="rId7"/>
            </p:custDataLst>
          </p:nvPr>
        </p:nvSpPr>
        <p:spPr bwMode="gray">
          <a:xfrm>
            <a:off x="964892" y="5129019"/>
            <a:ext cx="1243038" cy="11079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eaLnBrk="0" hangingPunct="0">
              <a:spcBef>
                <a:spcPct val="20000"/>
              </a:spcBef>
            </a:pPr>
            <a:r>
              <a:rPr lang="en-US" altLang="en-US" sz="1000" b="1" dirty="0">
                <a:solidFill>
                  <a:schemeClr val="accent3"/>
                </a:solidFill>
                <a:latin typeface="Arial"/>
                <a:ea typeface="STKaiti" pitchFamily="2" charset="-122"/>
              </a:rPr>
              <a:t>Duncan O'Brien</a:t>
            </a:r>
          </a:p>
          <a:p>
            <a:pPr eaLnBrk="0" hangingPunct="0">
              <a:spcBef>
                <a:spcPct val="20000"/>
              </a:spcBef>
            </a:pPr>
            <a:r>
              <a:rPr lang="en-US" altLang="en-US" sz="1000" dirty="0" err="1">
                <a:solidFill>
                  <a:srgbClr val="000000"/>
                </a:solidFill>
                <a:latin typeface="Arial"/>
                <a:ea typeface="STKaiti" pitchFamily="2" charset="-122"/>
              </a:rPr>
              <a:t>SVP</a:t>
            </a:r>
            <a:r>
              <a:rPr lang="en-US" altLang="en-US" sz="1000" dirty="0">
                <a:solidFill>
                  <a:srgbClr val="000000"/>
                </a:solidFill>
                <a:latin typeface="Arial"/>
                <a:ea typeface="STKaiti" pitchFamily="2" charset="-122"/>
              </a:rPr>
              <a:t>, Corporate Strategy &amp; Investments</a:t>
            </a:r>
            <a:br>
              <a:rPr lang="en-US" altLang="en-US" sz="1000" dirty="0">
                <a:solidFill>
                  <a:srgbClr val="000000"/>
                </a:solidFill>
                <a:latin typeface="Arial"/>
                <a:ea typeface="STKaiti" pitchFamily="2" charset="-122"/>
              </a:rPr>
            </a:br>
            <a:r>
              <a:rPr lang="en-US" altLang="en-US" sz="1000" dirty="0">
                <a:solidFill>
                  <a:srgbClr val="000000"/>
                </a:solidFill>
                <a:latin typeface="Arial"/>
                <a:ea typeface="STKaiti" pitchFamily="2" charset="-122"/>
              </a:rPr>
              <a:t>Cox Enterprises </a:t>
            </a:r>
            <a:br>
              <a:rPr lang="en-US" altLang="en-US" sz="1000" dirty="0">
                <a:solidFill>
                  <a:srgbClr val="000000"/>
                </a:solidFill>
                <a:latin typeface="Arial"/>
                <a:ea typeface="STKaiti" pitchFamily="2" charset="-122"/>
              </a:rPr>
            </a:br>
            <a:r>
              <a:rPr lang="en-US" altLang="en-US" sz="1000" dirty="0">
                <a:solidFill>
                  <a:srgbClr val="000000"/>
                </a:solidFill>
                <a:latin typeface="Arial"/>
                <a:ea typeface="STKaiti" pitchFamily="2" charset="-122"/>
              </a:rPr>
              <a:t>Former GM, Corp BD</a:t>
            </a:r>
            <a:br>
              <a:rPr lang="en-US" altLang="en-US" sz="1000" dirty="0">
                <a:solidFill>
                  <a:srgbClr val="000000"/>
                </a:solidFill>
                <a:latin typeface="Arial"/>
                <a:ea typeface="STKaiti" pitchFamily="2" charset="-122"/>
              </a:rPr>
            </a:br>
            <a:r>
              <a:rPr lang="en-US" altLang="en-US" sz="1000" dirty="0">
                <a:solidFill>
                  <a:srgbClr val="000000"/>
                </a:solidFill>
                <a:latin typeface="Arial"/>
                <a:ea typeface="STKaiti" pitchFamily="2" charset="-122"/>
              </a:rPr>
              <a:t>General Electric</a:t>
            </a:r>
          </a:p>
        </p:txBody>
      </p:sp>
      <p:pic>
        <p:nvPicPr>
          <p:cNvPr id="76" name="Picture 30"/>
          <p:cNvPicPr>
            <a:picLocks noChangeAspect="1" noChangeArrowheads="1"/>
          </p:cNvPicPr>
          <p:nvPr/>
        </p:nvPicPr>
        <p:blipFill rotWithShape="1">
          <a:blip r:embed="rId28" cstate="print">
            <a:extLst>
              <a:ext uri="{28A0092B-C50C-407E-A947-70E740481C1C}">
                <a14:useLocalDpi xmlns:a14="http://schemas.microsoft.com/office/drawing/2010/main"/>
              </a:ext>
            </a:extLst>
          </a:blip>
          <a:srcRect/>
          <a:stretch/>
        </p:blipFill>
        <p:spPr bwMode="gray">
          <a:xfrm rot="21540000">
            <a:off x="188803" y="5129019"/>
            <a:ext cx="722285" cy="932688"/>
          </a:xfrm>
          <a:prstGeom prst="rect">
            <a:avLst/>
          </a:prstGeom>
          <a:noFill/>
          <a:ln w="9525">
            <a:solidFill>
              <a:schemeClr val="bg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7" name="Rectangle 20"/>
          <p:cNvSpPr>
            <a:spLocks noChangeArrowheads="1"/>
          </p:cNvSpPr>
          <p:nvPr>
            <p:custDataLst>
              <p:tags r:id="rId8"/>
            </p:custDataLst>
          </p:nvPr>
        </p:nvSpPr>
        <p:spPr bwMode="gray">
          <a:xfrm>
            <a:off x="3135290" y="5129019"/>
            <a:ext cx="1243038" cy="67710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eaLnBrk="0" hangingPunct="0">
              <a:spcBef>
                <a:spcPct val="20000"/>
              </a:spcBef>
            </a:pPr>
            <a:r>
              <a:rPr lang="en-US" altLang="en-US" sz="1000" b="1" dirty="0">
                <a:solidFill>
                  <a:schemeClr val="accent3"/>
                </a:solidFill>
                <a:latin typeface="Arial"/>
                <a:ea typeface="STKaiti" pitchFamily="2" charset="-122"/>
              </a:rPr>
              <a:t>Justin Smith</a:t>
            </a:r>
          </a:p>
          <a:p>
            <a:pPr eaLnBrk="0" hangingPunct="0">
              <a:spcBef>
                <a:spcPct val="20000"/>
              </a:spcBef>
            </a:pPr>
            <a:r>
              <a:rPr lang="en-US" altLang="en-US" sz="1000" dirty="0">
                <a:solidFill>
                  <a:srgbClr val="000000"/>
                </a:solidFill>
                <a:latin typeface="Arial"/>
                <a:ea typeface="STKaiti" pitchFamily="2" charset="-122"/>
              </a:rPr>
              <a:t>Principal, Corporate Development</a:t>
            </a:r>
          </a:p>
          <a:p>
            <a:pPr eaLnBrk="0" hangingPunct="0">
              <a:spcBef>
                <a:spcPct val="20000"/>
              </a:spcBef>
            </a:pPr>
            <a:r>
              <a:rPr lang="en-US" altLang="en-US" sz="1000" dirty="0">
                <a:solidFill>
                  <a:srgbClr val="000000"/>
                </a:solidFill>
                <a:latin typeface="Arial"/>
                <a:ea typeface="STKaiti" pitchFamily="2" charset="-122"/>
              </a:rPr>
              <a:t>Google</a:t>
            </a:r>
          </a:p>
        </p:txBody>
      </p:sp>
      <p:pic>
        <p:nvPicPr>
          <p:cNvPr id="78" name="Picture 27" descr="Justin Smith"/>
          <p:cNvPicPr>
            <a:picLocks noChangeAspect="1" noChangeArrowheads="1"/>
          </p:cNvPicPr>
          <p:nvPr/>
        </p:nvPicPr>
        <p:blipFill rotWithShape="1">
          <a:blip r:embed="rId29" cstate="screen">
            <a:extLst>
              <a:ext uri="{28A0092B-C50C-407E-A947-70E740481C1C}">
                <a14:useLocalDpi xmlns:a14="http://schemas.microsoft.com/office/drawing/2010/main"/>
              </a:ext>
            </a:extLst>
          </a:blip>
          <a:srcRect/>
          <a:stretch/>
        </p:blipFill>
        <p:spPr bwMode="auto">
          <a:xfrm>
            <a:off x="2358366" y="5129019"/>
            <a:ext cx="722285" cy="932688"/>
          </a:xfrm>
          <a:prstGeom prst="rect">
            <a:avLst/>
          </a:prstGeom>
          <a:noFill/>
          <a:effectLst>
            <a:outerShdw blurRad="63500" sx="102000" sy="102000" algn="ctr"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79" name="Rectangle 24"/>
          <p:cNvSpPr>
            <a:spLocks noChangeArrowheads="1"/>
          </p:cNvSpPr>
          <p:nvPr>
            <p:custDataLst>
              <p:tags r:id="rId9"/>
            </p:custDataLst>
          </p:nvPr>
        </p:nvSpPr>
        <p:spPr bwMode="gray">
          <a:xfrm>
            <a:off x="5305191" y="5129019"/>
            <a:ext cx="1243038" cy="8309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eaLnBrk="0" hangingPunct="0">
              <a:spcBef>
                <a:spcPct val="20000"/>
              </a:spcBef>
            </a:pPr>
            <a:r>
              <a:rPr lang="en-US" altLang="en-US" sz="1000" b="1" dirty="0">
                <a:solidFill>
                  <a:schemeClr val="accent3"/>
                </a:solidFill>
                <a:latin typeface="Arial"/>
                <a:ea typeface="STKaiti" pitchFamily="2" charset="-122"/>
              </a:rPr>
              <a:t>Aileen </a:t>
            </a:r>
            <a:r>
              <a:rPr lang="en-US" altLang="en-US" sz="1000" b="1" dirty="0" err="1">
                <a:solidFill>
                  <a:schemeClr val="accent3"/>
                </a:solidFill>
                <a:latin typeface="Arial"/>
                <a:ea typeface="STKaiti" pitchFamily="2" charset="-122"/>
              </a:rPr>
              <a:t>Stockburger</a:t>
            </a:r>
            <a:endParaRPr lang="en-US" altLang="en-US" sz="1000" b="1" dirty="0">
              <a:solidFill>
                <a:schemeClr val="accent3"/>
              </a:solidFill>
              <a:latin typeface="Arial"/>
              <a:ea typeface="STKaiti" pitchFamily="2" charset="-122"/>
            </a:endParaRPr>
          </a:p>
          <a:p>
            <a:pPr eaLnBrk="0" hangingPunct="0">
              <a:spcBef>
                <a:spcPct val="20000"/>
              </a:spcBef>
            </a:pPr>
            <a:r>
              <a:rPr lang="en-US" altLang="en-US" sz="1000" dirty="0">
                <a:solidFill>
                  <a:srgbClr val="000000"/>
                </a:solidFill>
                <a:latin typeface="Arial"/>
                <a:ea typeface="STKaiti" pitchFamily="2" charset="-122"/>
              </a:rPr>
              <a:t>Vice President Worldwide Business Development</a:t>
            </a:r>
          </a:p>
          <a:p>
            <a:pPr eaLnBrk="0" hangingPunct="0">
              <a:spcBef>
                <a:spcPct val="20000"/>
              </a:spcBef>
            </a:pPr>
            <a:r>
              <a:rPr lang="en-US" altLang="en-US" sz="1000" dirty="0">
                <a:solidFill>
                  <a:srgbClr val="000000"/>
                </a:solidFill>
                <a:latin typeface="Arial"/>
                <a:ea typeface="STKaiti" pitchFamily="2" charset="-122"/>
              </a:rPr>
              <a:t>Johnson &amp; Johnson</a:t>
            </a:r>
          </a:p>
        </p:txBody>
      </p:sp>
      <p:pic>
        <p:nvPicPr>
          <p:cNvPr id="80" name="Picture 93" descr="C:\Users\JUDIBO~1\AppData\Local\Temp\notes123585\Stockburger Aileen WW Vice President Business Development.JPG"/>
          <p:cNvPicPr>
            <a:picLocks noChangeAspect="1" noChangeArrowheads="1"/>
          </p:cNvPicPr>
          <p:nvPr/>
        </p:nvPicPr>
        <p:blipFill rotWithShape="1">
          <a:blip r:embed="rId30" cstate="screen">
            <a:extLst>
              <a:ext uri="{28A0092B-C50C-407E-A947-70E740481C1C}">
                <a14:useLocalDpi xmlns:a14="http://schemas.microsoft.com/office/drawing/2010/main"/>
              </a:ext>
            </a:extLst>
          </a:blip>
          <a:srcRect/>
          <a:stretch/>
        </p:blipFill>
        <p:spPr bwMode="auto">
          <a:xfrm>
            <a:off x="4546007" y="5129019"/>
            <a:ext cx="722285" cy="932688"/>
          </a:xfrm>
          <a:prstGeom prst="rect">
            <a:avLst/>
          </a:prstGeom>
          <a:noFill/>
          <a:ln w="19050">
            <a:noFill/>
            <a:miter lim="800000"/>
            <a:headEnd/>
            <a:tailEnd/>
          </a:ln>
          <a:effectLst/>
          <a:extLst>
            <a:ext uri="{909E8E84-426E-40DD-AFC4-6F175D3DCCD1}">
              <a14:hiddenFill xmlns:a14="http://schemas.microsoft.com/office/drawing/2010/main">
                <a:solidFill>
                  <a:srgbClr val="FFFFFF"/>
                </a:solidFill>
              </a14:hiddenFill>
            </a:ext>
          </a:extLst>
        </p:spPr>
      </p:pic>
      <p:sp>
        <p:nvSpPr>
          <p:cNvPr id="81" name="Rectangle 51"/>
          <p:cNvSpPr>
            <a:spLocks noChangeArrowheads="1"/>
          </p:cNvSpPr>
          <p:nvPr>
            <p:custDataLst>
              <p:tags r:id="rId10"/>
            </p:custDataLst>
          </p:nvPr>
        </p:nvSpPr>
        <p:spPr bwMode="gray">
          <a:xfrm>
            <a:off x="7473312" y="5129019"/>
            <a:ext cx="1243038" cy="8309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eaLnBrk="0" hangingPunct="0">
              <a:spcBef>
                <a:spcPct val="20000"/>
              </a:spcBef>
            </a:pPr>
            <a:r>
              <a:rPr lang="en-US" altLang="en-US" sz="1000" b="1" dirty="0">
                <a:solidFill>
                  <a:schemeClr val="accent3"/>
                </a:solidFill>
                <a:latin typeface="Arial"/>
                <a:ea typeface="STKaiti" pitchFamily="2" charset="-122"/>
              </a:rPr>
              <a:t>Kathy Woods</a:t>
            </a:r>
          </a:p>
          <a:p>
            <a:pPr eaLnBrk="0" hangingPunct="0">
              <a:spcBef>
                <a:spcPct val="20000"/>
              </a:spcBef>
            </a:pPr>
            <a:r>
              <a:rPr lang="en-US" altLang="en-US" sz="1000" dirty="0">
                <a:solidFill>
                  <a:srgbClr val="000000"/>
                </a:solidFill>
                <a:latin typeface="Arial"/>
                <a:ea typeface="STKaiti" pitchFamily="2" charset="-122"/>
              </a:rPr>
              <a:t>Senior Director, Mergers &amp; Acquisition Integration</a:t>
            </a:r>
          </a:p>
          <a:p>
            <a:pPr eaLnBrk="0" hangingPunct="0">
              <a:spcBef>
                <a:spcPct val="20000"/>
              </a:spcBef>
            </a:pPr>
            <a:r>
              <a:rPr lang="en-US" altLang="en-US" sz="1000" dirty="0">
                <a:solidFill>
                  <a:srgbClr val="000000"/>
                </a:solidFill>
                <a:latin typeface="Arial"/>
                <a:ea typeface="STKaiti" pitchFamily="2" charset="-122"/>
              </a:rPr>
              <a:t>Applied Materials</a:t>
            </a:r>
          </a:p>
        </p:txBody>
      </p:sp>
      <p:pic>
        <p:nvPicPr>
          <p:cNvPr id="82" name="Picture 45" descr="C:\Users\EMILYO~1\AppData\Local\Temp\notes230BF5\K Woods.JPG"/>
          <p:cNvPicPr>
            <a:picLocks noChangeAspect="1" noChangeArrowheads="1"/>
          </p:cNvPicPr>
          <p:nvPr/>
        </p:nvPicPr>
        <p:blipFill rotWithShape="1">
          <a:blip r:embed="rId31" cstate="print">
            <a:extLst>
              <a:ext uri="{28A0092B-C50C-407E-A947-70E740481C1C}">
                <a14:useLocalDpi xmlns:a14="http://schemas.microsoft.com/office/drawing/2010/main"/>
              </a:ext>
            </a:extLst>
          </a:blip>
          <a:srcRect/>
          <a:stretch/>
        </p:blipFill>
        <p:spPr bwMode="auto">
          <a:xfrm>
            <a:off x="6698665" y="5129019"/>
            <a:ext cx="722285" cy="932688"/>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83" name="Rectangle 14"/>
          <p:cNvSpPr>
            <a:spLocks noChangeArrowheads="1"/>
          </p:cNvSpPr>
          <p:nvPr>
            <p:custDataLst>
              <p:tags r:id="rId11"/>
            </p:custDataLst>
          </p:nvPr>
        </p:nvSpPr>
        <p:spPr bwMode="gray">
          <a:xfrm>
            <a:off x="3135290" y="2662243"/>
            <a:ext cx="1243038" cy="95410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eaLnBrk="0" hangingPunct="0">
              <a:spcBef>
                <a:spcPct val="20000"/>
              </a:spcBef>
            </a:pPr>
            <a:r>
              <a:rPr lang="en-US" altLang="en-US" sz="1000" b="1" dirty="0">
                <a:solidFill>
                  <a:schemeClr val="accent3"/>
                </a:solidFill>
                <a:latin typeface="Arial"/>
                <a:ea typeface="STKaiti" pitchFamily="2" charset="-122"/>
              </a:rPr>
              <a:t>Steve Kaufman</a:t>
            </a:r>
          </a:p>
          <a:p>
            <a:pPr eaLnBrk="0" hangingPunct="0">
              <a:spcBef>
                <a:spcPct val="20000"/>
              </a:spcBef>
            </a:pPr>
            <a:r>
              <a:rPr lang="en-US" altLang="en-US" sz="1000" dirty="0">
                <a:solidFill>
                  <a:srgbClr val="000000"/>
                </a:solidFill>
                <a:latin typeface="Arial"/>
                <a:ea typeface="STKaiti" pitchFamily="2" charset="-122"/>
              </a:rPr>
              <a:t>Senior Lecturer, Harvard Business School and Former Chairman &amp; CEO, Arrow Electronics</a:t>
            </a:r>
          </a:p>
        </p:txBody>
      </p:sp>
      <p:pic>
        <p:nvPicPr>
          <p:cNvPr id="84" name="Picture 83"/>
          <p:cNvPicPr>
            <a:picLocks noChangeAspect="1"/>
          </p:cNvPicPr>
          <p:nvPr/>
        </p:nvPicPr>
        <p:blipFill rotWithShape="1">
          <a:blip r:embed="rId32" cstate="screen">
            <a:extLst>
              <a:ext uri="{28A0092B-C50C-407E-A947-70E740481C1C}">
                <a14:useLocalDpi xmlns:a14="http://schemas.microsoft.com/office/drawing/2010/main"/>
              </a:ext>
            </a:extLst>
          </a:blip>
          <a:srcRect r="-1"/>
          <a:stretch/>
        </p:blipFill>
        <p:spPr>
          <a:xfrm>
            <a:off x="2358369" y="2662243"/>
            <a:ext cx="722285" cy="932688"/>
          </a:xfrm>
          <a:prstGeom prst="rect">
            <a:avLst/>
          </a:prstGeom>
        </p:spPr>
      </p:pic>
      <p:sp>
        <p:nvSpPr>
          <p:cNvPr id="85" name="Rectangle 67"/>
          <p:cNvSpPr>
            <a:spLocks noChangeArrowheads="1"/>
          </p:cNvSpPr>
          <p:nvPr>
            <p:custDataLst>
              <p:tags r:id="rId12"/>
            </p:custDataLst>
          </p:nvPr>
        </p:nvSpPr>
        <p:spPr bwMode="gray">
          <a:xfrm>
            <a:off x="5305191" y="2662243"/>
            <a:ext cx="1243038" cy="11079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eaLnBrk="0" hangingPunct="0">
              <a:spcBef>
                <a:spcPct val="20000"/>
              </a:spcBef>
            </a:pPr>
            <a:r>
              <a:rPr lang="en-US" altLang="en-US" sz="1000" b="1" dirty="0">
                <a:solidFill>
                  <a:schemeClr val="accent3"/>
                </a:solidFill>
                <a:latin typeface="Arial"/>
                <a:ea typeface="STKaiti" pitchFamily="2" charset="-122"/>
              </a:rPr>
              <a:t>Brian P. Kelley</a:t>
            </a:r>
          </a:p>
          <a:p>
            <a:pPr eaLnBrk="0" hangingPunct="0">
              <a:spcBef>
                <a:spcPct val="20000"/>
              </a:spcBef>
            </a:pPr>
            <a:r>
              <a:rPr lang="en-US" altLang="en-US" sz="1000" dirty="0">
                <a:solidFill>
                  <a:srgbClr val="000000"/>
                </a:solidFill>
                <a:latin typeface="Arial"/>
                <a:ea typeface="STKaiti" pitchFamily="2" charset="-122"/>
              </a:rPr>
              <a:t>CEO, Green Mountain Coffee Roasters, and Former President/GM, Still Bev &amp; Supply, </a:t>
            </a:r>
            <a:br>
              <a:rPr lang="en-US" altLang="en-US" sz="1000" dirty="0">
                <a:solidFill>
                  <a:srgbClr val="000000"/>
                </a:solidFill>
                <a:latin typeface="Arial"/>
                <a:ea typeface="STKaiti" pitchFamily="2" charset="-122"/>
              </a:rPr>
            </a:br>
            <a:r>
              <a:rPr lang="en-US" altLang="en-US" sz="1000" dirty="0">
                <a:solidFill>
                  <a:srgbClr val="000000"/>
                </a:solidFill>
                <a:latin typeface="Arial"/>
                <a:ea typeface="STKaiti" pitchFamily="2" charset="-122"/>
              </a:rPr>
              <a:t>Coca-Cola NA</a:t>
            </a:r>
          </a:p>
        </p:txBody>
      </p:sp>
      <p:pic>
        <p:nvPicPr>
          <p:cNvPr id="87" name="Picture 53"/>
          <p:cNvPicPr>
            <a:picLocks noChangeAspect="1" noChangeArrowheads="1"/>
          </p:cNvPicPr>
          <p:nvPr/>
        </p:nvPicPr>
        <p:blipFill>
          <a:blip r:embed="rId33" cstate="screen">
            <a:extLst>
              <a:ext uri="{28A0092B-C50C-407E-A947-70E740481C1C}">
                <a14:useLocalDpi xmlns:a14="http://schemas.microsoft.com/office/drawing/2010/main"/>
              </a:ext>
            </a:extLst>
          </a:blip>
          <a:srcRect/>
          <a:stretch>
            <a:fillRect/>
          </a:stretch>
        </p:blipFill>
        <p:spPr bwMode="gray">
          <a:xfrm>
            <a:off x="4528518" y="2662243"/>
            <a:ext cx="722285" cy="932688"/>
          </a:xfrm>
          <a:prstGeom prst="rect">
            <a:avLst/>
          </a:prstGeom>
          <a:noFill/>
          <a:ln w="9525">
            <a:solidFill>
              <a:schemeClr val="bg1"/>
            </a:solidFill>
            <a:miter lim="800000"/>
            <a:headEnd/>
            <a:tailEnd/>
          </a:ln>
          <a:extLst>
            <a:ext uri="{909E8E84-426E-40DD-AFC4-6F175D3DCCD1}">
              <a14:hiddenFill xmlns:a14="http://schemas.microsoft.com/office/drawing/2010/main">
                <a:solidFill>
                  <a:srgbClr val="FFFFFF"/>
                </a:solidFill>
              </a14:hiddenFill>
            </a:ext>
          </a:extLst>
        </p:spPr>
      </p:pic>
      <p:sp>
        <p:nvSpPr>
          <p:cNvPr id="88" name="Rectangle 67"/>
          <p:cNvSpPr>
            <a:spLocks noChangeArrowheads="1"/>
          </p:cNvSpPr>
          <p:nvPr>
            <p:custDataLst>
              <p:tags r:id="rId13"/>
            </p:custDataLst>
          </p:nvPr>
        </p:nvSpPr>
        <p:spPr bwMode="gray">
          <a:xfrm>
            <a:off x="7473312" y="2662243"/>
            <a:ext cx="1243038" cy="8002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eaLnBrk="0" hangingPunct="0">
              <a:spcBef>
                <a:spcPct val="20000"/>
              </a:spcBef>
            </a:pPr>
            <a:r>
              <a:rPr lang="en-US" altLang="en-US" sz="1000" b="1" dirty="0">
                <a:solidFill>
                  <a:schemeClr val="accent3"/>
                </a:solidFill>
                <a:latin typeface="Arial"/>
                <a:ea typeface="STKaiti" pitchFamily="2" charset="-122"/>
              </a:rPr>
              <a:t>Robert King</a:t>
            </a:r>
          </a:p>
          <a:p>
            <a:pPr eaLnBrk="0" hangingPunct="0">
              <a:spcBef>
                <a:spcPct val="20000"/>
              </a:spcBef>
            </a:pPr>
            <a:r>
              <a:rPr lang="en-US" altLang="en-US" sz="1000" dirty="0">
                <a:solidFill>
                  <a:srgbClr val="000000"/>
                </a:solidFill>
                <a:latin typeface="Arial"/>
                <a:ea typeface="STKaiti" pitchFamily="2" charset="-122"/>
              </a:rPr>
              <a:t>Senior Partner, Global Healthcare Group, Goldman Sachs</a:t>
            </a:r>
          </a:p>
        </p:txBody>
      </p:sp>
      <p:pic>
        <p:nvPicPr>
          <p:cNvPr id="89" name="Picture 88"/>
          <p:cNvPicPr>
            <a:picLocks noChangeAspect="1"/>
          </p:cNvPicPr>
          <p:nvPr/>
        </p:nvPicPr>
        <p:blipFill rotWithShape="1">
          <a:blip r:embed="rId34" cstate="print">
            <a:extLst>
              <a:ext uri="{28A0092B-C50C-407E-A947-70E740481C1C}">
                <a14:useLocalDpi xmlns:a14="http://schemas.microsoft.com/office/drawing/2010/main"/>
              </a:ext>
            </a:extLst>
          </a:blip>
          <a:srcRect/>
          <a:stretch/>
        </p:blipFill>
        <p:spPr>
          <a:xfrm>
            <a:off x="6698142" y="2662243"/>
            <a:ext cx="722285" cy="932688"/>
          </a:xfrm>
          <a:prstGeom prst="rect">
            <a:avLst/>
          </a:prstGeom>
        </p:spPr>
      </p:pic>
      <p:sp>
        <p:nvSpPr>
          <p:cNvPr id="90" name="Rectangle 20"/>
          <p:cNvSpPr>
            <a:spLocks noChangeArrowheads="1"/>
          </p:cNvSpPr>
          <p:nvPr>
            <p:custDataLst>
              <p:tags r:id="rId14"/>
            </p:custDataLst>
          </p:nvPr>
        </p:nvSpPr>
        <p:spPr bwMode="gray">
          <a:xfrm>
            <a:off x="964892" y="2662243"/>
            <a:ext cx="1243038" cy="113877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eaLnBrk="0" hangingPunct="0">
              <a:spcBef>
                <a:spcPct val="20000"/>
              </a:spcBef>
            </a:pPr>
            <a:r>
              <a:rPr lang="en-US" altLang="en-US" sz="1000" b="1" dirty="0">
                <a:solidFill>
                  <a:schemeClr val="accent3"/>
                </a:solidFill>
                <a:latin typeface="Arial"/>
                <a:ea typeface="STKaiti" pitchFamily="2" charset="-122"/>
              </a:rPr>
              <a:t>Carrie Frey</a:t>
            </a:r>
          </a:p>
          <a:p>
            <a:pPr eaLnBrk="0" hangingPunct="0">
              <a:spcBef>
                <a:spcPct val="20000"/>
              </a:spcBef>
            </a:pPr>
            <a:r>
              <a:rPr lang="en-US" altLang="en-US" sz="1000" dirty="0">
                <a:solidFill>
                  <a:srgbClr val="000000"/>
                </a:solidFill>
                <a:latin typeface="Arial"/>
                <a:ea typeface="STKaiti" pitchFamily="2" charset="-122"/>
              </a:rPr>
              <a:t>Former </a:t>
            </a:r>
            <a:r>
              <a:rPr lang="en-US" altLang="en-US" sz="1000" dirty="0" err="1">
                <a:solidFill>
                  <a:srgbClr val="000000"/>
                </a:solidFill>
                <a:latin typeface="Arial"/>
                <a:ea typeface="STKaiti" pitchFamily="2" charset="-122"/>
              </a:rPr>
              <a:t>SVP</a:t>
            </a:r>
            <a:r>
              <a:rPr lang="en-US" altLang="en-US" sz="1000" dirty="0">
                <a:solidFill>
                  <a:srgbClr val="000000"/>
                </a:solidFill>
                <a:latin typeface="Arial"/>
                <a:ea typeface="STKaiti" pitchFamily="2" charset="-122"/>
              </a:rPr>
              <a:t>, Corporate Planning &amp; Program Management and Integration Leader</a:t>
            </a:r>
          </a:p>
          <a:p>
            <a:pPr eaLnBrk="0" hangingPunct="0">
              <a:spcBef>
                <a:spcPct val="20000"/>
              </a:spcBef>
            </a:pPr>
            <a:r>
              <a:rPr lang="en-US" altLang="en-US" sz="1000" dirty="0">
                <a:solidFill>
                  <a:srgbClr val="000000"/>
                </a:solidFill>
                <a:latin typeface="Arial"/>
                <a:ea typeface="STKaiti" pitchFamily="2" charset="-122"/>
              </a:rPr>
              <a:t>Shire </a:t>
            </a:r>
          </a:p>
        </p:txBody>
      </p:sp>
      <p:pic>
        <p:nvPicPr>
          <p:cNvPr id="91" name="Picture 11" descr="https://media.licdn.com/mpr/mpr/shrinknp_400_400/p/4/000/12e/03f/2093301.jpg"/>
          <p:cNvPicPr>
            <a:picLocks noChangeAspect="1" noChangeArrowheads="1"/>
          </p:cNvPicPr>
          <p:nvPr/>
        </p:nvPicPr>
        <p:blipFill rotWithShape="1">
          <a:blip r:embed="rId35" cstate="screen">
            <a:extLst>
              <a:ext uri="{28A0092B-C50C-407E-A947-70E740481C1C}">
                <a14:useLocalDpi xmlns:a14="http://schemas.microsoft.com/office/drawing/2010/main"/>
              </a:ext>
            </a:extLst>
          </a:blip>
          <a:srcRect/>
          <a:stretch/>
        </p:blipFill>
        <p:spPr bwMode="auto">
          <a:xfrm>
            <a:off x="187696" y="2662243"/>
            <a:ext cx="722285" cy="932688"/>
          </a:xfrm>
          <a:prstGeom prst="rect">
            <a:avLst/>
          </a:prstGeom>
          <a:noFill/>
          <a:extLst>
            <a:ext uri="{909E8E84-426E-40DD-AFC4-6F175D3DCCD1}">
              <a14:hiddenFill xmlns:a14="http://schemas.microsoft.com/office/drawing/2010/main">
                <a:solidFill>
                  <a:srgbClr val="FFFFFF"/>
                </a:solidFill>
              </a14:hiddenFill>
            </a:ext>
          </a:extLst>
        </p:spPr>
      </p:pic>
      <p:sp>
        <p:nvSpPr>
          <p:cNvPr id="92" name="Rectangle 10"/>
          <p:cNvSpPr>
            <a:spLocks noChangeArrowheads="1"/>
          </p:cNvSpPr>
          <p:nvPr>
            <p:custDataLst>
              <p:tags r:id="rId15"/>
            </p:custDataLst>
          </p:nvPr>
        </p:nvSpPr>
        <p:spPr bwMode="gray">
          <a:xfrm>
            <a:off x="3135290" y="3998674"/>
            <a:ext cx="1243038" cy="8002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eaLnBrk="0" hangingPunct="0">
              <a:spcBef>
                <a:spcPct val="20000"/>
              </a:spcBef>
            </a:pPr>
            <a:r>
              <a:rPr lang="en-US" altLang="en-US" sz="1000" b="1" dirty="0">
                <a:solidFill>
                  <a:schemeClr val="accent3"/>
                </a:solidFill>
                <a:latin typeface="Arial"/>
                <a:ea typeface="STKaiti" pitchFamily="2" charset="-122"/>
              </a:rPr>
              <a:t>Ed Mackey</a:t>
            </a:r>
          </a:p>
          <a:p>
            <a:pPr eaLnBrk="0" hangingPunct="0">
              <a:spcBef>
                <a:spcPct val="20000"/>
              </a:spcBef>
            </a:pPr>
            <a:r>
              <a:rPr lang="en-US" altLang="en-US" sz="1000" dirty="0">
                <a:solidFill>
                  <a:srgbClr val="000000"/>
                </a:solidFill>
                <a:latin typeface="Arial"/>
                <a:ea typeface="STKaiti" pitchFamily="2" charset="-122"/>
              </a:rPr>
              <a:t>Exec VP, Operations</a:t>
            </a:r>
            <a:br>
              <a:rPr lang="en-US" altLang="en-US" sz="1000" dirty="0">
                <a:solidFill>
                  <a:srgbClr val="000000"/>
                </a:solidFill>
                <a:latin typeface="Arial"/>
                <a:ea typeface="STKaiti" pitchFamily="2" charset="-122"/>
              </a:rPr>
            </a:br>
            <a:r>
              <a:rPr lang="en-US" altLang="en-US" sz="1000" dirty="0">
                <a:solidFill>
                  <a:srgbClr val="000000"/>
                </a:solidFill>
                <a:latin typeface="Arial"/>
                <a:ea typeface="STKaiti" pitchFamily="2" charset="-122"/>
              </a:rPr>
              <a:t>Boston Scientific </a:t>
            </a:r>
            <a:br>
              <a:rPr lang="en-US" altLang="en-US" sz="1000" dirty="0">
                <a:solidFill>
                  <a:srgbClr val="000000"/>
                </a:solidFill>
                <a:latin typeface="Arial"/>
                <a:ea typeface="STKaiti" pitchFamily="2" charset="-122"/>
              </a:rPr>
            </a:br>
            <a:r>
              <a:rPr lang="en-US" altLang="en-US" sz="1000" dirty="0">
                <a:solidFill>
                  <a:srgbClr val="000000"/>
                </a:solidFill>
                <a:latin typeface="Arial"/>
                <a:ea typeface="STKaiti" pitchFamily="2" charset="-122"/>
              </a:rPr>
              <a:t>Former IMO Leader for </a:t>
            </a:r>
            <a:r>
              <a:rPr lang="en-US" altLang="en-US" sz="1000" dirty="0" err="1">
                <a:solidFill>
                  <a:srgbClr val="000000"/>
                </a:solidFill>
                <a:latin typeface="Arial"/>
                <a:ea typeface="STKaiti" pitchFamily="2" charset="-122"/>
              </a:rPr>
              <a:t>DePuy</a:t>
            </a:r>
            <a:r>
              <a:rPr lang="en-US" altLang="en-US" sz="1000" dirty="0">
                <a:solidFill>
                  <a:srgbClr val="000000"/>
                </a:solidFill>
                <a:latin typeface="Arial"/>
                <a:ea typeface="STKaiti" pitchFamily="2" charset="-122"/>
              </a:rPr>
              <a:t> </a:t>
            </a:r>
            <a:r>
              <a:rPr lang="en-US" altLang="en-US" sz="1000" dirty="0" err="1">
                <a:solidFill>
                  <a:srgbClr val="000000"/>
                </a:solidFill>
                <a:latin typeface="Arial"/>
                <a:ea typeface="STKaiti" pitchFamily="2" charset="-122"/>
              </a:rPr>
              <a:t>Synthes</a:t>
            </a:r>
            <a:r>
              <a:rPr lang="en-US" altLang="en-US" sz="1000" dirty="0">
                <a:solidFill>
                  <a:srgbClr val="000000"/>
                </a:solidFill>
                <a:latin typeface="Arial"/>
                <a:ea typeface="STKaiti" pitchFamily="2" charset="-122"/>
              </a:rPr>
              <a:t> </a:t>
            </a:r>
          </a:p>
        </p:txBody>
      </p:sp>
      <p:sp>
        <p:nvSpPr>
          <p:cNvPr id="93" name="Rectangle 16"/>
          <p:cNvSpPr>
            <a:spLocks noChangeArrowheads="1"/>
          </p:cNvSpPr>
          <p:nvPr>
            <p:custDataLst>
              <p:tags r:id="rId16"/>
            </p:custDataLst>
          </p:nvPr>
        </p:nvSpPr>
        <p:spPr bwMode="gray">
          <a:xfrm>
            <a:off x="5305191" y="3998674"/>
            <a:ext cx="1243038" cy="8309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eaLnBrk="0" hangingPunct="0">
              <a:spcBef>
                <a:spcPct val="20000"/>
              </a:spcBef>
            </a:pPr>
            <a:r>
              <a:rPr lang="en-US" altLang="en-US" sz="1000" b="1" dirty="0">
                <a:solidFill>
                  <a:schemeClr val="accent3"/>
                </a:solidFill>
                <a:latin typeface="Arial"/>
                <a:ea typeface="STKaiti" pitchFamily="2" charset="-122"/>
              </a:rPr>
              <a:t>Damien McDonald</a:t>
            </a:r>
          </a:p>
          <a:p>
            <a:pPr eaLnBrk="0" hangingPunct="0">
              <a:spcBef>
                <a:spcPct val="20000"/>
              </a:spcBef>
            </a:pPr>
            <a:r>
              <a:rPr lang="en-US" altLang="en-US" sz="1000" dirty="0">
                <a:solidFill>
                  <a:srgbClr val="000000"/>
                </a:solidFill>
                <a:latin typeface="Arial"/>
                <a:ea typeface="STKaiti" pitchFamily="2" charset="-122"/>
              </a:rPr>
              <a:t>President</a:t>
            </a:r>
            <a:br>
              <a:rPr lang="en-US" altLang="en-US" sz="1000" dirty="0">
                <a:solidFill>
                  <a:srgbClr val="000000"/>
                </a:solidFill>
                <a:latin typeface="Arial"/>
                <a:ea typeface="STKaiti" pitchFamily="2" charset="-122"/>
              </a:rPr>
            </a:br>
            <a:r>
              <a:rPr lang="en-US" altLang="en-US" sz="1000" dirty="0">
                <a:solidFill>
                  <a:srgbClr val="000000"/>
                </a:solidFill>
                <a:latin typeface="Arial"/>
                <a:ea typeface="STKaiti" pitchFamily="2" charset="-122"/>
              </a:rPr>
              <a:t>Kerr Corp/Sybron Dental Specialties</a:t>
            </a:r>
          </a:p>
          <a:p>
            <a:pPr eaLnBrk="0" hangingPunct="0">
              <a:spcBef>
                <a:spcPct val="20000"/>
              </a:spcBef>
            </a:pPr>
            <a:r>
              <a:rPr lang="en-US" altLang="en-US" sz="1000" dirty="0">
                <a:solidFill>
                  <a:srgbClr val="000000"/>
                </a:solidFill>
                <a:latin typeface="Arial"/>
                <a:ea typeface="STKaiti" pitchFamily="2" charset="-122"/>
              </a:rPr>
              <a:t>Danaher Corp</a:t>
            </a:r>
          </a:p>
        </p:txBody>
      </p:sp>
      <p:pic>
        <p:nvPicPr>
          <p:cNvPr id="94" name="Picture 64"/>
          <p:cNvPicPr>
            <a:picLocks noChangeAspect="1" noChangeArrowheads="1"/>
          </p:cNvPicPr>
          <p:nvPr/>
        </p:nvPicPr>
        <p:blipFill rotWithShape="1">
          <a:blip r:embed="rId36" cstate="print">
            <a:extLst>
              <a:ext uri="{28A0092B-C50C-407E-A947-70E740481C1C}">
                <a14:useLocalDpi xmlns:a14="http://schemas.microsoft.com/office/drawing/2010/main"/>
              </a:ext>
            </a:extLst>
          </a:blip>
          <a:srcRect/>
          <a:stretch/>
        </p:blipFill>
        <p:spPr bwMode="gray">
          <a:xfrm>
            <a:off x="4528516" y="3998674"/>
            <a:ext cx="722285" cy="932688"/>
          </a:xfrm>
          <a:prstGeom prst="rect">
            <a:avLst/>
          </a:prstGeom>
          <a:noFill/>
          <a:ln w="9525">
            <a:solidFill>
              <a:schemeClr val="bg1"/>
            </a:solidFill>
            <a:miter lim="800000"/>
            <a:headEnd/>
            <a:tailEnd/>
          </a:ln>
          <a:extLst>
            <a:ext uri="{909E8E84-426E-40DD-AFC4-6F175D3DCCD1}">
              <a14:hiddenFill xmlns:a14="http://schemas.microsoft.com/office/drawing/2010/main">
                <a:solidFill>
                  <a:srgbClr val="FFFFFF"/>
                </a:solidFill>
              </a14:hiddenFill>
            </a:ext>
          </a:extLst>
        </p:spPr>
      </p:pic>
      <p:sp>
        <p:nvSpPr>
          <p:cNvPr id="96" name="Rectangle 18"/>
          <p:cNvSpPr>
            <a:spLocks noChangeArrowheads="1"/>
          </p:cNvSpPr>
          <p:nvPr>
            <p:custDataLst>
              <p:tags r:id="rId17"/>
            </p:custDataLst>
          </p:nvPr>
        </p:nvSpPr>
        <p:spPr bwMode="gray">
          <a:xfrm>
            <a:off x="7473312" y="3998674"/>
            <a:ext cx="1243038" cy="8309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eaLnBrk="0" hangingPunct="0">
              <a:spcBef>
                <a:spcPct val="20000"/>
              </a:spcBef>
            </a:pPr>
            <a:r>
              <a:rPr lang="en-US" altLang="en-US" sz="1000" b="1" dirty="0" err="1">
                <a:solidFill>
                  <a:schemeClr val="accent3"/>
                </a:solidFill>
                <a:latin typeface="Arial"/>
                <a:ea typeface="STKaiti" pitchFamily="2" charset="-122"/>
              </a:rPr>
              <a:t>Moni</a:t>
            </a:r>
            <a:r>
              <a:rPr lang="en-US" altLang="en-US" sz="1000" b="1" dirty="0">
                <a:solidFill>
                  <a:schemeClr val="accent3"/>
                </a:solidFill>
                <a:latin typeface="Arial"/>
                <a:ea typeface="STKaiti" pitchFamily="2" charset="-122"/>
              </a:rPr>
              <a:t> Miyashita</a:t>
            </a:r>
          </a:p>
          <a:p>
            <a:pPr eaLnBrk="0" hangingPunct="0">
              <a:spcBef>
                <a:spcPct val="20000"/>
              </a:spcBef>
            </a:pPr>
            <a:r>
              <a:rPr lang="en-US" altLang="en-US" sz="1000" dirty="0">
                <a:solidFill>
                  <a:srgbClr val="000000"/>
                </a:solidFill>
                <a:latin typeface="Arial"/>
                <a:ea typeface="STKaiti" pitchFamily="2" charset="-122"/>
              </a:rPr>
              <a:t>Partner, </a:t>
            </a:r>
            <a:r>
              <a:rPr lang="en-US" altLang="en-US" sz="1000" dirty="0" err="1">
                <a:solidFill>
                  <a:srgbClr val="000000"/>
                </a:solidFill>
                <a:latin typeface="Arial"/>
                <a:ea typeface="STKaiti" pitchFamily="2" charset="-122"/>
              </a:rPr>
              <a:t>Innosight</a:t>
            </a:r>
            <a:endParaRPr lang="en-US" altLang="en-US" sz="1000" dirty="0">
              <a:solidFill>
                <a:srgbClr val="000000"/>
              </a:solidFill>
              <a:latin typeface="Arial"/>
              <a:ea typeface="STKaiti" pitchFamily="2" charset="-122"/>
            </a:endParaRPr>
          </a:p>
          <a:p>
            <a:pPr eaLnBrk="0" hangingPunct="0">
              <a:spcBef>
                <a:spcPct val="20000"/>
              </a:spcBef>
            </a:pPr>
            <a:r>
              <a:rPr lang="en-US" altLang="en-US" sz="1000" dirty="0">
                <a:solidFill>
                  <a:srgbClr val="000000"/>
                </a:solidFill>
                <a:latin typeface="Arial"/>
                <a:ea typeface="STKaiti" pitchFamily="2" charset="-122"/>
              </a:rPr>
              <a:t>Former VP, </a:t>
            </a:r>
            <a:r>
              <a:rPr lang="en-US" altLang="en-US" sz="1000" dirty="0" err="1">
                <a:solidFill>
                  <a:srgbClr val="000000"/>
                </a:solidFill>
                <a:latin typeface="Arial"/>
                <a:ea typeface="STKaiti" pitchFamily="2" charset="-122"/>
              </a:rPr>
              <a:t>M&amp;A</a:t>
            </a:r>
            <a:r>
              <a:rPr lang="en-US" altLang="en-US" sz="1000" dirty="0">
                <a:solidFill>
                  <a:srgbClr val="000000"/>
                </a:solidFill>
                <a:latin typeface="Arial"/>
                <a:ea typeface="STKaiti" pitchFamily="2" charset="-122"/>
              </a:rPr>
              <a:t> Strategy,</a:t>
            </a:r>
            <a:br>
              <a:rPr lang="en-US" altLang="en-US" sz="1000" dirty="0">
                <a:solidFill>
                  <a:srgbClr val="000000"/>
                </a:solidFill>
                <a:latin typeface="Arial"/>
                <a:ea typeface="STKaiti" pitchFamily="2" charset="-122"/>
              </a:rPr>
            </a:br>
            <a:r>
              <a:rPr lang="en-US" altLang="en-US" sz="1000" dirty="0">
                <a:solidFill>
                  <a:srgbClr val="000000"/>
                </a:solidFill>
                <a:latin typeface="Arial"/>
                <a:ea typeface="STKaiti" pitchFamily="2" charset="-122"/>
              </a:rPr>
              <a:t>IBM Corporation</a:t>
            </a:r>
          </a:p>
        </p:txBody>
      </p:sp>
      <p:pic>
        <p:nvPicPr>
          <p:cNvPr id="97" name="Picture 71" descr="Moni Miyashita hi-res"/>
          <p:cNvPicPr>
            <a:picLocks noChangeAspect="1" noChangeArrowheads="1"/>
          </p:cNvPicPr>
          <p:nvPr/>
        </p:nvPicPr>
        <p:blipFill rotWithShape="1">
          <a:blip r:embed="rId37" cstate="screen">
            <a:extLst>
              <a:ext uri="{28A0092B-C50C-407E-A947-70E740481C1C}">
                <a14:useLocalDpi xmlns:a14="http://schemas.microsoft.com/office/drawing/2010/main"/>
              </a:ext>
            </a:extLst>
          </a:blip>
          <a:srcRect/>
          <a:stretch/>
        </p:blipFill>
        <p:spPr bwMode="auto">
          <a:xfrm>
            <a:off x="6698665" y="3998674"/>
            <a:ext cx="722285" cy="932688"/>
          </a:xfrm>
          <a:prstGeom prst="rect">
            <a:avLst/>
          </a:prstGeom>
          <a:noFill/>
          <a:extLst>
            <a:ext uri="{909E8E84-426E-40DD-AFC4-6F175D3DCCD1}">
              <a14:hiddenFill xmlns:a14="http://schemas.microsoft.com/office/drawing/2010/main">
                <a:solidFill>
                  <a:srgbClr val="FFFFFF"/>
                </a:solidFill>
              </a14:hiddenFill>
            </a:ext>
          </a:extLst>
        </p:spPr>
      </p:pic>
      <p:sp>
        <p:nvSpPr>
          <p:cNvPr id="98" name="Rectangle 67"/>
          <p:cNvSpPr>
            <a:spLocks noChangeArrowheads="1"/>
          </p:cNvSpPr>
          <p:nvPr>
            <p:custDataLst>
              <p:tags r:id="rId18"/>
            </p:custDataLst>
          </p:nvPr>
        </p:nvSpPr>
        <p:spPr bwMode="gray">
          <a:xfrm>
            <a:off x="964892" y="3998674"/>
            <a:ext cx="1243038" cy="67710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eaLnBrk="0" hangingPunct="0">
              <a:spcBef>
                <a:spcPct val="20000"/>
              </a:spcBef>
            </a:pPr>
            <a:r>
              <a:rPr lang="en-US" altLang="en-US" sz="1000" b="1" dirty="0">
                <a:solidFill>
                  <a:schemeClr val="accent3"/>
                </a:solidFill>
                <a:latin typeface="Arial"/>
                <a:ea typeface="STKaiti" pitchFamily="2" charset="-122"/>
              </a:rPr>
              <a:t>William </a:t>
            </a:r>
            <a:r>
              <a:rPr lang="en-US" altLang="en-US" sz="1000" b="1" dirty="0" err="1">
                <a:solidFill>
                  <a:schemeClr val="accent3"/>
                </a:solidFill>
                <a:latin typeface="Arial"/>
                <a:ea typeface="STKaiti" pitchFamily="2" charset="-122"/>
              </a:rPr>
              <a:t>Kozy</a:t>
            </a:r>
            <a:endParaRPr lang="en-US" altLang="en-US" sz="1000" b="1" dirty="0">
              <a:solidFill>
                <a:schemeClr val="accent3"/>
              </a:solidFill>
              <a:latin typeface="Arial"/>
              <a:ea typeface="STKaiti" pitchFamily="2" charset="-122"/>
            </a:endParaRPr>
          </a:p>
          <a:p>
            <a:pPr eaLnBrk="0" hangingPunct="0">
              <a:spcBef>
                <a:spcPct val="20000"/>
              </a:spcBef>
            </a:pPr>
            <a:r>
              <a:rPr lang="en-US" altLang="en-US" sz="1000" dirty="0">
                <a:solidFill>
                  <a:srgbClr val="000000"/>
                </a:solidFill>
                <a:latin typeface="Arial"/>
                <a:ea typeface="STKaiti" pitchFamily="2" charset="-122"/>
              </a:rPr>
              <a:t>Executive Vice President &amp; COO</a:t>
            </a:r>
          </a:p>
          <a:p>
            <a:pPr eaLnBrk="0" hangingPunct="0">
              <a:spcBef>
                <a:spcPct val="20000"/>
              </a:spcBef>
            </a:pPr>
            <a:r>
              <a:rPr lang="en-US" altLang="en-US" sz="1000" dirty="0">
                <a:solidFill>
                  <a:srgbClr val="000000"/>
                </a:solidFill>
                <a:latin typeface="Arial"/>
                <a:ea typeface="STKaiti" pitchFamily="2" charset="-122"/>
              </a:rPr>
              <a:t>Becton Dickinson</a:t>
            </a:r>
          </a:p>
        </p:txBody>
      </p:sp>
      <p:pic>
        <p:nvPicPr>
          <p:cNvPr id="99" name="Picture 98"/>
          <p:cNvPicPr>
            <a:picLocks noChangeAspect="1"/>
          </p:cNvPicPr>
          <p:nvPr/>
        </p:nvPicPr>
        <p:blipFill>
          <a:blip r:embed="rId38" cstate="screen">
            <a:extLst>
              <a:ext uri="{28A0092B-C50C-407E-A947-70E740481C1C}">
                <a14:useLocalDpi xmlns:a14="http://schemas.microsoft.com/office/drawing/2010/main"/>
              </a:ext>
            </a:extLst>
          </a:blip>
          <a:srcRect/>
          <a:stretch>
            <a:fillRect/>
          </a:stretch>
        </p:blipFill>
        <p:spPr bwMode="auto">
          <a:xfrm>
            <a:off x="180721" y="3998674"/>
            <a:ext cx="722285" cy="932688"/>
          </a:xfrm>
          <a:prstGeom prst="rect">
            <a:avLst/>
          </a:prstGeom>
          <a:noFill/>
          <a:ln>
            <a:noFill/>
          </a:ln>
          <a:effectLst/>
          <a:extLst/>
        </p:spPr>
      </p:pic>
      <p:pic>
        <p:nvPicPr>
          <p:cNvPr id="100" name="Picture 21"/>
          <p:cNvPicPr>
            <a:picLocks noChangeAspect="1" noChangeArrowheads="1"/>
          </p:cNvPicPr>
          <p:nvPr/>
        </p:nvPicPr>
        <p:blipFill>
          <a:blip r:embed="rId39" cstate="screen">
            <a:extLst>
              <a:ext uri="{28A0092B-C50C-407E-A947-70E740481C1C}">
                <a14:useLocalDpi xmlns:a14="http://schemas.microsoft.com/office/drawing/2010/main"/>
              </a:ext>
            </a:extLst>
          </a:blip>
          <a:srcRect/>
          <a:stretch>
            <a:fillRect/>
          </a:stretch>
        </p:blipFill>
        <p:spPr bwMode="auto">
          <a:xfrm>
            <a:off x="2358367" y="3998674"/>
            <a:ext cx="722285" cy="9326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101" name="Straight Connector 100"/>
          <p:cNvCxnSpPr>
            <a:cxnSpLocks/>
          </p:cNvCxnSpPr>
          <p:nvPr/>
        </p:nvCxnSpPr>
        <p:spPr>
          <a:xfrm>
            <a:off x="188803" y="5030191"/>
            <a:ext cx="8527547" cy="0"/>
          </a:xfrm>
          <a:prstGeom prst="line">
            <a:avLst/>
          </a:prstGeom>
          <a:noFill/>
          <a:ln w="12700">
            <a:solidFill>
              <a:schemeClr val="accent6"/>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02" name="Straight Connector 101"/>
          <p:cNvCxnSpPr>
            <a:cxnSpLocks/>
          </p:cNvCxnSpPr>
          <p:nvPr/>
        </p:nvCxnSpPr>
        <p:spPr>
          <a:xfrm>
            <a:off x="188803" y="3899845"/>
            <a:ext cx="8527547" cy="0"/>
          </a:xfrm>
          <a:prstGeom prst="line">
            <a:avLst/>
          </a:prstGeom>
          <a:noFill/>
          <a:ln w="12700">
            <a:solidFill>
              <a:schemeClr val="accent6"/>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05" name="Straight Connector 104"/>
          <p:cNvCxnSpPr>
            <a:cxnSpLocks/>
          </p:cNvCxnSpPr>
          <p:nvPr/>
        </p:nvCxnSpPr>
        <p:spPr>
          <a:xfrm>
            <a:off x="188803" y="2563414"/>
            <a:ext cx="8527547" cy="0"/>
          </a:xfrm>
          <a:prstGeom prst="line">
            <a:avLst/>
          </a:prstGeom>
          <a:noFill/>
          <a:ln w="12700">
            <a:solidFill>
              <a:schemeClr val="accent6"/>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4" name="Title 3">
            <a:extLst>
              <a:ext uri="{FF2B5EF4-FFF2-40B4-BE49-F238E27FC236}">
                <a16:creationId xmlns:a16="http://schemas.microsoft.com/office/drawing/2014/main" id="{5FFCC8BD-A9E1-40DD-96D1-CAB6662A12E6}"/>
              </a:ext>
            </a:extLst>
          </p:cNvPr>
          <p:cNvSpPr>
            <a:spLocks noGrp="1"/>
          </p:cNvSpPr>
          <p:nvPr>
            <p:ph type="title"/>
          </p:nvPr>
        </p:nvSpPr>
        <p:spPr>
          <a:xfrm>
            <a:off x="119063" y="230188"/>
            <a:ext cx="8618537" cy="615553"/>
          </a:xfrm>
        </p:spPr>
        <p:txBody>
          <a:bodyPr/>
          <a:lstStyle/>
          <a:p>
            <a:r>
              <a:rPr lang="en-US" dirty="0"/>
              <a:t>Our integration council includes seasoned integration executives that can serve as your sounding board during this integration journey</a:t>
            </a:r>
            <a:endParaRPr lang="en-GB" dirty="0"/>
          </a:p>
        </p:txBody>
      </p:sp>
      <p:sp>
        <p:nvSpPr>
          <p:cNvPr id="43" name="5. Source">
            <a:extLst>
              <a:ext uri="{FF2B5EF4-FFF2-40B4-BE49-F238E27FC236}">
                <a16:creationId xmlns:a16="http://schemas.microsoft.com/office/drawing/2014/main" id="{226CB28C-BBDC-4F6E-8E18-9CA414ED2AF1}"/>
              </a:ext>
            </a:extLst>
          </p:cNvPr>
          <p:cNvSpPr>
            <a:spLocks noChangeArrowheads="1"/>
          </p:cNvSpPr>
          <p:nvPr>
            <p:custDataLst>
              <p:tags r:id="rId19"/>
            </p:custDataLst>
          </p:nvPr>
        </p:nvSpPr>
        <p:spPr bwMode="gray">
          <a:xfrm>
            <a:off x="119063" y="6507558"/>
            <a:ext cx="7200000" cy="123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marL="609600" indent="-609600" defTabSz="895350">
              <a:tabLst>
                <a:tab pos="612775" algn="l"/>
              </a:tabLst>
            </a:pPr>
            <a:r>
              <a:rPr lang="en-US" altLang="zh-CN" sz="800" dirty="0">
                <a:solidFill>
                  <a:schemeClr val="accent6"/>
                </a:solidFill>
                <a:latin typeface="Arial" panose="020B0604020202020204" pitchFamily="34" charset="0"/>
              </a:rPr>
              <a:t>SOURCE: McKinsey Merger Management Practice</a:t>
            </a:r>
          </a:p>
        </p:txBody>
      </p:sp>
    </p:spTree>
    <p:extLst>
      <p:ext uri="{BB962C8B-B14F-4D97-AF65-F5344CB8AC3E}">
        <p14:creationId xmlns:p14="http://schemas.microsoft.com/office/powerpoint/2010/main" val="871422251"/>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0052" name="think-cell Slide" r:id="rId7" imgW="353" imgH="353" progId="TCLayout.ActiveDocument.1">
                  <p:embed/>
                </p:oleObj>
              </mc:Choice>
              <mc:Fallback>
                <p:oleObj name="think-cell Slide" r:id="rId7" imgW="353" imgH="353" progId="TCLayout.ActiveDocument.1">
                  <p:embed/>
                  <p:pic>
                    <p:nvPicPr>
                      <p:cNvPr id="17" name="Object 16" hidden="1"/>
                      <p:cNvPicPr/>
                      <p:nvPr/>
                    </p:nvPicPr>
                    <p:blipFill>
                      <a:blip r:embed="rId8"/>
                      <a:stretch>
                        <a:fillRect/>
                      </a:stretch>
                    </p:blipFill>
                    <p:spPr>
                      <a:xfrm>
                        <a:off x="1588" y="1588"/>
                        <a:ext cx="1587" cy="1587"/>
                      </a:xfrm>
                      <a:prstGeom prst="rect">
                        <a:avLst/>
                      </a:prstGeom>
                    </p:spPr>
                  </p:pic>
                </p:oleObj>
              </mc:Fallback>
            </mc:AlternateContent>
          </a:graphicData>
        </a:graphic>
      </p:graphicFrame>
      <p:sp>
        <p:nvSpPr>
          <p:cNvPr id="23" name="Rectangle: Rounded Corners 22">
            <a:extLst>
              <a:ext uri="{FF2B5EF4-FFF2-40B4-BE49-F238E27FC236}">
                <a16:creationId xmlns:a16="http://schemas.microsoft.com/office/drawing/2014/main" id="{1375898D-8462-4A52-9DFC-E734D5D071B3}"/>
              </a:ext>
            </a:extLst>
          </p:cNvPr>
          <p:cNvSpPr>
            <a:spLocks/>
          </p:cNvSpPr>
          <p:nvPr/>
        </p:nvSpPr>
        <p:spPr>
          <a:xfrm>
            <a:off x="148749" y="998024"/>
            <a:ext cx="8663940" cy="395751"/>
          </a:xfrm>
          <a:prstGeom prst="roundRect">
            <a:avLst>
              <a:gd name="adj" fmla="val 42294"/>
            </a:avLst>
          </a:prstGeom>
          <a:solidFill>
            <a:schemeClr val="accent2">
              <a:alpha val="7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chemeClr val="tx1"/>
              </a:solidFill>
            </a:endParaRPr>
          </a:p>
        </p:txBody>
      </p:sp>
      <p:sp>
        <p:nvSpPr>
          <p:cNvPr id="34" name="Rectangle 67">
            <a:extLst>
              <a:ext uri="{FF2B5EF4-FFF2-40B4-BE49-F238E27FC236}">
                <a16:creationId xmlns:a16="http://schemas.microsoft.com/office/drawing/2014/main" id="{19D69DC5-2544-418D-A044-5853F93CB4FB}"/>
              </a:ext>
            </a:extLst>
          </p:cNvPr>
          <p:cNvSpPr>
            <a:spLocks noChangeArrowheads="1"/>
          </p:cNvSpPr>
          <p:nvPr>
            <p:custDataLst>
              <p:tags r:id="rId3"/>
            </p:custDataLst>
          </p:nvPr>
        </p:nvSpPr>
        <p:spPr bwMode="gray">
          <a:xfrm>
            <a:off x="345766" y="1088177"/>
            <a:ext cx="6906899"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buClr>
                <a:srgbClr val="002960"/>
              </a:buClr>
            </a:pPr>
            <a:r>
              <a:rPr lang="en-US" sz="1400" b="1" dirty="0">
                <a:solidFill>
                  <a:schemeClr val="accent4"/>
                </a:solidFill>
                <a:latin typeface="+mn-lt"/>
              </a:rPr>
              <a:t>Selected merger management expert profiles</a:t>
            </a:r>
          </a:p>
        </p:txBody>
      </p:sp>
      <p:grpSp>
        <p:nvGrpSpPr>
          <p:cNvPr id="73" name="Group 72">
            <a:extLst>
              <a:ext uri="{FF2B5EF4-FFF2-40B4-BE49-F238E27FC236}">
                <a16:creationId xmlns:a16="http://schemas.microsoft.com/office/drawing/2014/main" id="{D80E6994-7900-442E-8616-49403145D79A}"/>
              </a:ext>
            </a:extLst>
          </p:cNvPr>
          <p:cNvGrpSpPr/>
          <p:nvPr/>
        </p:nvGrpSpPr>
        <p:grpSpPr>
          <a:xfrm>
            <a:off x="3152052" y="2633282"/>
            <a:ext cx="5616028" cy="2532358"/>
            <a:chOff x="3152052" y="2633282"/>
            <a:chExt cx="5616028" cy="2532358"/>
          </a:xfrm>
        </p:grpSpPr>
        <p:cxnSp>
          <p:nvCxnSpPr>
            <p:cNvPr id="54" name="Straight Connector 53">
              <a:extLst>
                <a:ext uri="{FF2B5EF4-FFF2-40B4-BE49-F238E27FC236}">
                  <a16:creationId xmlns:a16="http://schemas.microsoft.com/office/drawing/2014/main" id="{050A00D9-E79B-4ED6-8366-F5CC5F8B00A9}"/>
                </a:ext>
              </a:extLst>
            </p:cNvPr>
            <p:cNvCxnSpPr>
              <a:cxnSpLocks/>
            </p:cNvCxnSpPr>
            <p:nvPr/>
          </p:nvCxnSpPr>
          <p:spPr>
            <a:xfrm>
              <a:off x="3152052" y="2633282"/>
              <a:ext cx="5616028" cy="0"/>
            </a:xfrm>
            <a:prstGeom prst="line">
              <a:avLst/>
            </a:prstGeom>
            <a:noFill/>
            <a:ln w="6350">
              <a:solidFill>
                <a:schemeClr val="accent4"/>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59" name="Straight Connector 58">
              <a:extLst>
                <a:ext uri="{FF2B5EF4-FFF2-40B4-BE49-F238E27FC236}">
                  <a16:creationId xmlns:a16="http://schemas.microsoft.com/office/drawing/2014/main" id="{094B88BB-1DA9-479B-9B6D-B615FF468785}"/>
                </a:ext>
              </a:extLst>
            </p:cNvPr>
            <p:cNvCxnSpPr>
              <a:cxnSpLocks/>
            </p:cNvCxnSpPr>
            <p:nvPr/>
          </p:nvCxnSpPr>
          <p:spPr>
            <a:xfrm>
              <a:off x="3152052" y="3968811"/>
              <a:ext cx="5616028" cy="0"/>
            </a:xfrm>
            <a:prstGeom prst="line">
              <a:avLst/>
            </a:prstGeom>
            <a:noFill/>
            <a:ln w="6350">
              <a:solidFill>
                <a:schemeClr val="accent4"/>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60" name="Straight Connector 59">
              <a:extLst>
                <a:ext uri="{FF2B5EF4-FFF2-40B4-BE49-F238E27FC236}">
                  <a16:creationId xmlns:a16="http://schemas.microsoft.com/office/drawing/2014/main" id="{96B1E45E-6489-4295-AB63-E336AC597BB1}"/>
                </a:ext>
              </a:extLst>
            </p:cNvPr>
            <p:cNvCxnSpPr>
              <a:cxnSpLocks/>
            </p:cNvCxnSpPr>
            <p:nvPr/>
          </p:nvCxnSpPr>
          <p:spPr>
            <a:xfrm>
              <a:off x="3152052" y="5165640"/>
              <a:ext cx="5616028" cy="0"/>
            </a:xfrm>
            <a:prstGeom prst="line">
              <a:avLst/>
            </a:prstGeom>
            <a:noFill/>
            <a:ln w="6350">
              <a:solidFill>
                <a:schemeClr val="accent4"/>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grpSp>
      <p:sp>
        <p:nvSpPr>
          <p:cNvPr id="27" name="TextBox 26">
            <a:extLst>
              <a:ext uri="{FF2B5EF4-FFF2-40B4-BE49-F238E27FC236}">
                <a16:creationId xmlns:a16="http://schemas.microsoft.com/office/drawing/2014/main" id="{4AA931B1-6D52-4B91-9F6F-A1831507126A}"/>
              </a:ext>
            </a:extLst>
          </p:cNvPr>
          <p:cNvSpPr txBox="1">
            <a:spLocks/>
          </p:cNvSpPr>
          <p:nvPr/>
        </p:nvSpPr>
        <p:spPr>
          <a:xfrm>
            <a:off x="1192514" y="5419341"/>
            <a:ext cx="1735698" cy="689420"/>
          </a:xfrm>
          <a:prstGeom prst="rect">
            <a:avLst/>
          </a:prstGeom>
        </p:spPr>
        <p:txBody>
          <a:bodyPr vert="horz" wrap="square" lIns="0" tIns="0" rIns="0" bIns="0" rtlCol="0" anchor="t" anchorCtr="0">
            <a:sp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spcBef>
                <a:spcPct val="20000"/>
              </a:spcBef>
            </a:pPr>
            <a:r>
              <a:rPr lang="en-US" b="1" dirty="0">
                <a:solidFill>
                  <a:schemeClr val="accent4"/>
                </a:solidFill>
              </a:rPr>
              <a:t>Yves </a:t>
            </a:r>
            <a:r>
              <a:rPr lang="en-US" b="1" dirty="0" err="1">
                <a:solidFill>
                  <a:schemeClr val="accent4"/>
                </a:solidFill>
              </a:rPr>
              <a:t>Slachmuylders</a:t>
            </a:r>
            <a:endParaRPr lang="en-US" b="1" dirty="0">
              <a:solidFill>
                <a:schemeClr val="accent4"/>
              </a:solidFill>
            </a:endParaRPr>
          </a:p>
          <a:p>
            <a:pPr>
              <a:spcBef>
                <a:spcPct val="20000"/>
              </a:spcBef>
            </a:pPr>
            <a:r>
              <a:rPr lang="en-US" b="1" dirty="0">
                <a:solidFill>
                  <a:schemeClr val="accent4"/>
                </a:solidFill>
              </a:rPr>
              <a:t>Partner </a:t>
            </a:r>
            <a:r>
              <a:rPr lang="en-US" dirty="0"/>
              <a:t>in the </a:t>
            </a:r>
            <a:r>
              <a:rPr lang="en-US" i="1" dirty="0"/>
              <a:t>Brussels Office</a:t>
            </a:r>
            <a:endParaRPr lang="en-US" b="1" i="1" dirty="0"/>
          </a:p>
        </p:txBody>
      </p:sp>
      <p:sp>
        <p:nvSpPr>
          <p:cNvPr id="48" name="TextBox 47">
            <a:extLst>
              <a:ext uri="{FF2B5EF4-FFF2-40B4-BE49-F238E27FC236}">
                <a16:creationId xmlns:a16="http://schemas.microsoft.com/office/drawing/2014/main" id="{D1946007-05DA-483C-A167-5A34BC4A8118}"/>
              </a:ext>
            </a:extLst>
          </p:cNvPr>
          <p:cNvSpPr txBox="1">
            <a:spLocks/>
          </p:cNvSpPr>
          <p:nvPr/>
        </p:nvSpPr>
        <p:spPr>
          <a:xfrm>
            <a:off x="3152052" y="5440886"/>
            <a:ext cx="5616028" cy="646331"/>
          </a:xfrm>
          <a:prstGeom prst="rect">
            <a:avLst/>
          </a:prstGeom>
        </p:spPr>
        <p:txBody>
          <a:bodyPr vert="horz" wrap="square" lIns="0" tIns="0" rIns="0" bIns="0" rtlCol="0" anchor="t" anchorCtr="0">
            <a:sp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1">
              <a:spcBef>
                <a:spcPct val="30000"/>
              </a:spcBef>
              <a:buClr>
                <a:schemeClr val="bg1"/>
              </a:buClr>
            </a:pPr>
            <a:r>
              <a:rPr lang="en-US" dirty="0">
                <a:ea typeface="STKaiti" panose="02010600040101010101" pitchFamily="2" charset="-122"/>
              </a:rPr>
              <a:t>He is a leader in </a:t>
            </a:r>
            <a:r>
              <a:rPr lang="en-US" b="1" dirty="0">
                <a:solidFill>
                  <a:schemeClr val="accent4"/>
                </a:solidFill>
                <a:ea typeface="STKaiti" panose="02010600040101010101" pitchFamily="2" charset="-122"/>
              </a:rPr>
              <a:t>McKinsey’s Merger Management service line </a:t>
            </a:r>
            <a:r>
              <a:rPr lang="en-US" dirty="0">
                <a:cs typeface="Arial" panose="020B0604020202020204" pitchFamily="34" charset="0"/>
              </a:rPr>
              <a:t>and has advised 35+ clients across Europe and the Americas in the last 5 years, with a focus on mining and chemicals</a:t>
            </a:r>
          </a:p>
        </p:txBody>
      </p:sp>
      <p:pic>
        <p:nvPicPr>
          <p:cNvPr id="12" name="Picture 11">
            <a:extLst>
              <a:ext uri="{FF2B5EF4-FFF2-40B4-BE49-F238E27FC236}">
                <a16:creationId xmlns:a16="http://schemas.microsoft.com/office/drawing/2014/main" id="{26A0749A-CABD-4447-9111-7172E69858B0}"/>
              </a:ext>
            </a:extLst>
          </p:cNvPr>
          <p:cNvPicPr>
            <a:picLocks/>
          </p:cNvPicPr>
          <p:nvPr/>
        </p:nvPicPr>
        <p:blipFill rotWithShape="1">
          <a:blip r:embed="rId9" cstate="print">
            <a:extLst>
              <a:ext uri="{28A0092B-C50C-407E-A947-70E740481C1C}">
                <a14:useLocalDpi xmlns:a14="http://schemas.microsoft.com/office/drawing/2010/main" val="0"/>
              </a:ext>
            </a:extLst>
          </a:blip>
          <a:srcRect l="16559" t="4194" r="24299" b="46314"/>
          <a:stretch/>
        </p:blipFill>
        <p:spPr>
          <a:xfrm flipH="1">
            <a:off x="148748" y="5262476"/>
            <a:ext cx="931189" cy="1003151"/>
          </a:xfrm>
          <a:prstGeom prst="round1Rect">
            <a:avLst/>
          </a:prstGeom>
          <a:effectLst>
            <a:outerShdw blurRad="50800" dist="38100" dir="2700000" algn="tl" rotWithShape="0">
              <a:prstClr val="black">
                <a:alpha val="40000"/>
              </a:prstClr>
            </a:outerShdw>
          </a:effectLst>
        </p:spPr>
      </p:pic>
      <p:sp>
        <p:nvSpPr>
          <p:cNvPr id="49" name="TextBox 48">
            <a:extLst>
              <a:ext uri="{FF2B5EF4-FFF2-40B4-BE49-F238E27FC236}">
                <a16:creationId xmlns:a16="http://schemas.microsoft.com/office/drawing/2014/main" id="{18531E88-5F7E-48E0-A1DA-EA42532967D7}"/>
              </a:ext>
            </a:extLst>
          </p:cNvPr>
          <p:cNvSpPr txBox="1">
            <a:spLocks/>
          </p:cNvSpPr>
          <p:nvPr/>
        </p:nvSpPr>
        <p:spPr>
          <a:xfrm>
            <a:off x="3152052" y="2730121"/>
            <a:ext cx="5616028" cy="1141851"/>
          </a:xfrm>
          <a:prstGeom prst="rect">
            <a:avLst/>
          </a:prstGeom>
        </p:spPr>
        <p:txBody>
          <a:bodyPr vert="horz" wrap="square" lIns="0" tIns="0" rIns="0" bIns="0" rtlCol="0" anchor="t" anchorCtr="0">
            <a:sp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1">
              <a:spcBef>
                <a:spcPct val="30000"/>
              </a:spcBef>
              <a:buClr>
                <a:schemeClr val="bg1"/>
              </a:buClr>
            </a:pPr>
            <a:r>
              <a:rPr lang="en-US" dirty="0">
                <a:cs typeface="Arial" panose="020B0604020202020204" pitchFamily="34" charset="0"/>
              </a:rPr>
              <a:t>He is a </a:t>
            </a:r>
            <a:r>
              <a:rPr lang="en-US" b="1" dirty="0">
                <a:solidFill>
                  <a:schemeClr val="accent4"/>
                </a:solidFill>
                <a:cs typeface="Arial" panose="020B0604020202020204" pitchFamily="34" charset="0"/>
              </a:rPr>
              <a:t>core member of the global Merger Management service line </a:t>
            </a:r>
            <a:r>
              <a:rPr lang="en-US" dirty="0">
                <a:cs typeface="Arial" panose="020B0604020202020204" pitchFamily="34" charset="0"/>
              </a:rPr>
              <a:t>and has </a:t>
            </a:r>
            <a:r>
              <a:rPr lang="en-US" b="1" dirty="0">
                <a:solidFill>
                  <a:schemeClr val="accent4"/>
                </a:solidFill>
                <a:cs typeface="Arial" panose="020B0604020202020204" pitchFamily="34" charset="0"/>
              </a:rPr>
              <a:t>deep experience in M&amp;A/transactions and merger management, with a particular focus on the chemical industry</a:t>
            </a:r>
            <a:r>
              <a:rPr lang="en-US" dirty="0">
                <a:cs typeface="Arial" panose="020B0604020202020204" pitchFamily="34" charset="0"/>
              </a:rPr>
              <a:t>.</a:t>
            </a:r>
          </a:p>
          <a:p>
            <a:pPr lvl="1">
              <a:spcBef>
                <a:spcPct val="30000"/>
              </a:spcBef>
              <a:buClr>
                <a:schemeClr val="bg1"/>
              </a:buClr>
            </a:pPr>
            <a:r>
              <a:rPr lang="en-US" dirty="0">
                <a:cs typeface="Arial" panose="020B0604020202020204" pitchFamily="34" charset="0"/>
              </a:rPr>
              <a:t>He also leads the Joint Venture between Merger Management and our Global Energy and Materials sector</a:t>
            </a:r>
            <a:endParaRPr lang="en-US" dirty="0"/>
          </a:p>
        </p:txBody>
      </p:sp>
      <p:sp>
        <p:nvSpPr>
          <p:cNvPr id="29" name="TextBox 28">
            <a:extLst>
              <a:ext uri="{FF2B5EF4-FFF2-40B4-BE49-F238E27FC236}">
                <a16:creationId xmlns:a16="http://schemas.microsoft.com/office/drawing/2014/main" id="{14AA2EF0-79F1-4CFB-AB22-E79F14FB46FF}"/>
              </a:ext>
            </a:extLst>
          </p:cNvPr>
          <p:cNvSpPr txBox="1">
            <a:spLocks/>
          </p:cNvSpPr>
          <p:nvPr/>
        </p:nvSpPr>
        <p:spPr>
          <a:xfrm>
            <a:off x="1192514" y="2956336"/>
            <a:ext cx="1735698" cy="689420"/>
          </a:xfrm>
          <a:prstGeom prst="rect">
            <a:avLst/>
          </a:prstGeom>
        </p:spPr>
        <p:txBody>
          <a:bodyPr vert="horz" wrap="square" lIns="0" tIns="0" rIns="0" bIns="0" rtlCol="0" anchor="t" anchorCtr="0">
            <a:sp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spcBef>
                <a:spcPct val="20000"/>
              </a:spcBef>
            </a:pPr>
            <a:r>
              <a:rPr lang="en-US" b="1" dirty="0">
                <a:solidFill>
                  <a:schemeClr val="accent4"/>
                </a:solidFill>
              </a:rPr>
              <a:t>Ulrich </a:t>
            </a:r>
            <a:r>
              <a:rPr lang="en-US" b="1" dirty="0" err="1">
                <a:solidFill>
                  <a:schemeClr val="accent4"/>
                </a:solidFill>
              </a:rPr>
              <a:t>Weihe</a:t>
            </a:r>
            <a:endParaRPr lang="en-US" b="1" dirty="0">
              <a:solidFill>
                <a:schemeClr val="accent4"/>
              </a:solidFill>
            </a:endParaRPr>
          </a:p>
          <a:p>
            <a:pPr>
              <a:spcBef>
                <a:spcPct val="20000"/>
              </a:spcBef>
            </a:pPr>
            <a:r>
              <a:rPr lang="en-US" b="1" dirty="0">
                <a:solidFill>
                  <a:schemeClr val="accent4"/>
                </a:solidFill>
              </a:rPr>
              <a:t>Partner </a:t>
            </a:r>
            <a:r>
              <a:rPr lang="en-US" dirty="0"/>
              <a:t>in the </a:t>
            </a:r>
            <a:r>
              <a:rPr lang="en-US" i="1" dirty="0"/>
              <a:t>Frankfurt Office </a:t>
            </a:r>
          </a:p>
        </p:txBody>
      </p:sp>
      <p:pic>
        <p:nvPicPr>
          <p:cNvPr id="8" name="Picture 7">
            <a:extLst>
              <a:ext uri="{FF2B5EF4-FFF2-40B4-BE49-F238E27FC236}">
                <a16:creationId xmlns:a16="http://schemas.microsoft.com/office/drawing/2014/main" id="{81FC79AA-E76E-4C18-A16B-7593D2967FE3}"/>
              </a:ext>
            </a:extLst>
          </p:cNvPr>
          <p:cNvPicPr>
            <a:picLocks/>
          </p:cNvPicPr>
          <p:nvPr/>
        </p:nvPicPr>
        <p:blipFill rotWithShape="1">
          <a:blip r:embed="rId10" cstate="print">
            <a:extLst>
              <a:ext uri="{28A0092B-C50C-407E-A947-70E740481C1C}">
                <a14:useLocalDpi xmlns:a14="http://schemas.microsoft.com/office/drawing/2010/main" val="0"/>
              </a:ext>
            </a:extLst>
          </a:blip>
          <a:srcRect l="14214" t="9002" r="11818" b="29098"/>
          <a:stretch/>
        </p:blipFill>
        <p:spPr>
          <a:xfrm flipH="1">
            <a:off x="148748" y="2799471"/>
            <a:ext cx="931189" cy="1003151"/>
          </a:xfrm>
          <a:prstGeom prst="round1Rect">
            <a:avLst/>
          </a:prstGeom>
          <a:effectLst>
            <a:outerShdw blurRad="50800" dist="38100" dir="2700000" algn="tl" rotWithShape="0">
              <a:prstClr val="black">
                <a:alpha val="40000"/>
              </a:prstClr>
            </a:outerShdw>
          </a:effectLst>
        </p:spPr>
      </p:pic>
      <p:sp>
        <p:nvSpPr>
          <p:cNvPr id="50" name="TextBox 49">
            <a:extLst>
              <a:ext uri="{FF2B5EF4-FFF2-40B4-BE49-F238E27FC236}">
                <a16:creationId xmlns:a16="http://schemas.microsoft.com/office/drawing/2014/main" id="{03ACC82C-24F6-4E00-A711-85C423EB799F}"/>
              </a:ext>
            </a:extLst>
          </p:cNvPr>
          <p:cNvSpPr txBox="1">
            <a:spLocks/>
          </p:cNvSpPr>
          <p:nvPr/>
        </p:nvSpPr>
        <p:spPr>
          <a:xfrm>
            <a:off x="3152052" y="4244060"/>
            <a:ext cx="5616028" cy="646331"/>
          </a:xfrm>
          <a:prstGeom prst="rect">
            <a:avLst/>
          </a:prstGeom>
        </p:spPr>
        <p:txBody>
          <a:bodyPr vert="horz" wrap="square" lIns="0" tIns="0" rIns="0" bIns="0" rtlCol="0" anchor="t" anchorCtr="0">
            <a:sp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1">
              <a:spcBef>
                <a:spcPct val="30000"/>
              </a:spcBef>
              <a:buClr>
                <a:schemeClr val="bg1"/>
              </a:buClr>
            </a:pPr>
            <a:r>
              <a:rPr lang="en-US" dirty="0">
                <a:ea typeface="STKaiti" panose="02010600040101010101" pitchFamily="2" charset="-122"/>
              </a:rPr>
              <a:t>He is a leader in </a:t>
            </a:r>
            <a:r>
              <a:rPr lang="en-US" b="1" dirty="0">
                <a:solidFill>
                  <a:schemeClr val="accent4"/>
                </a:solidFill>
                <a:ea typeface="STKaiti" panose="02010600040101010101" pitchFamily="2" charset="-122"/>
              </a:rPr>
              <a:t>McKinsey’s Merger Management service line </a:t>
            </a:r>
            <a:r>
              <a:rPr lang="en-US" dirty="0">
                <a:cs typeface="Arial" panose="020B0604020202020204" pitchFamily="34" charset="0"/>
              </a:rPr>
              <a:t>and has advised 20+ clients across Europe and the Americas in the last 5 years, with a focus on basic materials and steel</a:t>
            </a:r>
          </a:p>
        </p:txBody>
      </p:sp>
      <p:sp>
        <p:nvSpPr>
          <p:cNvPr id="31" name="TextBox 30">
            <a:extLst>
              <a:ext uri="{FF2B5EF4-FFF2-40B4-BE49-F238E27FC236}">
                <a16:creationId xmlns:a16="http://schemas.microsoft.com/office/drawing/2014/main" id="{D1D55EF6-528D-4B8B-8789-C87C6188D1AC}"/>
              </a:ext>
            </a:extLst>
          </p:cNvPr>
          <p:cNvSpPr txBox="1">
            <a:spLocks/>
          </p:cNvSpPr>
          <p:nvPr/>
        </p:nvSpPr>
        <p:spPr>
          <a:xfrm>
            <a:off x="1192514" y="4222515"/>
            <a:ext cx="1735698" cy="689420"/>
          </a:xfrm>
          <a:prstGeom prst="rect">
            <a:avLst/>
          </a:prstGeom>
        </p:spPr>
        <p:txBody>
          <a:bodyPr vert="horz" wrap="square" lIns="0" tIns="0" rIns="0" bIns="0" rtlCol="0" anchor="t" anchorCtr="0">
            <a:sp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spcBef>
                <a:spcPct val="20000"/>
              </a:spcBef>
            </a:pPr>
            <a:r>
              <a:rPr lang="nl-NL" b="1" dirty="0">
                <a:solidFill>
                  <a:schemeClr val="accent4"/>
                </a:solidFill>
              </a:rPr>
              <a:t>Ruben Verhoeven</a:t>
            </a:r>
          </a:p>
          <a:p>
            <a:pPr>
              <a:spcBef>
                <a:spcPct val="20000"/>
              </a:spcBef>
            </a:pPr>
            <a:r>
              <a:rPr lang="nl-NL" b="1" dirty="0">
                <a:solidFill>
                  <a:schemeClr val="accent4"/>
                </a:solidFill>
              </a:rPr>
              <a:t>Partner </a:t>
            </a:r>
            <a:r>
              <a:rPr lang="nl-NL" dirty="0"/>
              <a:t>in the </a:t>
            </a:r>
            <a:r>
              <a:rPr lang="nl-NL" i="1" dirty="0"/>
              <a:t>Antwerp Office</a:t>
            </a:r>
            <a:endParaRPr lang="en-US" b="1" i="1" dirty="0"/>
          </a:p>
        </p:txBody>
      </p:sp>
      <p:pic>
        <p:nvPicPr>
          <p:cNvPr id="10" name="Picture 9">
            <a:extLst>
              <a:ext uri="{FF2B5EF4-FFF2-40B4-BE49-F238E27FC236}">
                <a16:creationId xmlns:a16="http://schemas.microsoft.com/office/drawing/2014/main" id="{B183EEAC-A9BD-4406-BAB5-B65A4B1746F2}"/>
              </a:ext>
            </a:extLst>
          </p:cNvPr>
          <p:cNvPicPr>
            <a:picLocks/>
          </p:cNvPicPr>
          <p:nvPr/>
        </p:nvPicPr>
        <p:blipFill rotWithShape="1">
          <a:blip r:embed="rId11" cstate="print">
            <a:extLst>
              <a:ext uri="{28A0092B-C50C-407E-A947-70E740481C1C}">
                <a14:useLocalDpi xmlns:a14="http://schemas.microsoft.com/office/drawing/2010/main" val="0"/>
              </a:ext>
            </a:extLst>
          </a:blip>
          <a:srcRect l="37724" t="11414" r="28371" b="43548"/>
          <a:stretch/>
        </p:blipFill>
        <p:spPr>
          <a:xfrm flipH="1">
            <a:off x="148748" y="4065650"/>
            <a:ext cx="931189" cy="1003151"/>
          </a:xfrm>
          <a:prstGeom prst="round1Rect">
            <a:avLst/>
          </a:prstGeom>
          <a:effectLst>
            <a:outerShdw blurRad="50800" dist="38100" dir="2700000" algn="tl" rotWithShape="0">
              <a:prstClr val="black">
                <a:alpha val="40000"/>
              </a:prstClr>
            </a:outerShdw>
          </a:effectLst>
        </p:spPr>
      </p:pic>
      <p:sp>
        <p:nvSpPr>
          <p:cNvPr id="24" name="TextBox 23">
            <a:extLst>
              <a:ext uri="{FF2B5EF4-FFF2-40B4-BE49-F238E27FC236}">
                <a16:creationId xmlns:a16="http://schemas.microsoft.com/office/drawing/2014/main" id="{5EC925E3-0752-4639-9B9F-308C7ACEA0EE}"/>
              </a:ext>
            </a:extLst>
          </p:cNvPr>
          <p:cNvSpPr txBox="1">
            <a:spLocks/>
          </p:cNvSpPr>
          <p:nvPr/>
        </p:nvSpPr>
        <p:spPr>
          <a:xfrm>
            <a:off x="1192514" y="1690157"/>
            <a:ext cx="1735698" cy="689420"/>
          </a:xfrm>
          <a:prstGeom prst="rect">
            <a:avLst/>
          </a:prstGeom>
        </p:spPr>
        <p:txBody>
          <a:bodyPr vert="horz" wrap="square" lIns="0" tIns="0" rIns="0" bIns="0" rtlCol="0" anchor="t" anchorCtr="0">
            <a:sp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spcBef>
                <a:spcPct val="20000"/>
              </a:spcBef>
            </a:pPr>
            <a:r>
              <a:rPr lang="en-US" b="1" dirty="0">
                <a:solidFill>
                  <a:schemeClr val="accent4"/>
                </a:solidFill>
              </a:rPr>
              <a:t>Michel Van </a:t>
            </a:r>
            <a:r>
              <a:rPr lang="en-US" b="1" dirty="0" err="1">
                <a:solidFill>
                  <a:schemeClr val="accent4"/>
                </a:solidFill>
              </a:rPr>
              <a:t>Hoey</a:t>
            </a:r>
            <a:endParaRPr lang="en-US" b="1" dirty="0">
              <a:solidFill>
                <a:schemeClr val="accent4"/>
              </a:solidFill>
            </a:endParaRPr>
          </a:p>
          <a:p>
            <a:pPr>
              <a:spcBef>
                <a:spcPct val="20000"/>
              </a:spcBef>
            </a:pPr>
            <a:r>
              <a:rPr lang="en-US" b="1" dirty="0">
                <a:solidFill>
                  <a:schemeClr val="accent4"/>
                </a:solidFill>
              </a:rPr>
              <a:t>Partner</a:t>
            </a:r>
            <a:r>
              <a:rPr lang="en-US" dirty="0">
                <a:cs typeface="Arial" panose="020B0604020202020204" pitchFamily="34" charset="0"/>
              </a:rPr>
              <a:t> in the </a:t>
            </a:r>
            <a:r>
              <a:rPr lang="en-US" i="1" dirty="0" err="1">
                <a:cs typeface="Arial" panose="020B0604020202020204" pitchFamily="34" charset="0"/>
              </a:rPr>
              <a:t>Luxemborg</a:t>
            </a:r>
            <a:r>
              <a:rPr lang="en-US" i="1" dirty="0">
                <a:cs typeface="Arial" panose="020B0604020202020204" pitchFamily="34" charset="0"/>
              </a:rPr>
              <a:t> Office</a:t>
            </a:r>
            <a:endParaRPr lang="en-US" b="1" i="1" dirty="0">
              <a:cs typeface="Arial" panose="020B0604020202020204" pitchFamily="34" charset="0"/>
            </a:endParaRPr>
          </a:p>
        </p:txBody>
      </p:sp>
      <p:sp>
        <p:nvSpPr>
          <p:cNvPr id="47" name="TextBox 46">
            <a:extLst>
              <a:ext uri="{FF2B5EF4-FFF2-40B4-BE49-F238E27FC236}">
                <a16:creationId xmlns:a16="http://schemas.microsoft.com/office/drawing/2014/main" id="{C54638FB-EDDA-4282-9C53-1E85A83F0A4E}"/>
              </a:ext>
            </a:extLst>
          </p:cNvPr>
          <p:cNvSpPr txBox="1">
            <a:spLocks/>
          </p:cNvSpPr>
          <p:nvPr/>
        </p:nvSpPr>
        <p:spPr>
          <a:xfrm>
            <a:off x="3152052" y="1711702"/>
            <a:ext cx="5616028" cy="646331"/>
          </a:xfrm>
          <a:prstGeom prst="rect">
            <a:avLst/>
          </a:prstGeom>
        </p:spPr>
        <p:txBody>
          <a:bodyPr vert="horz" wrap="square" lIns="0" tIns="0" rIns="0" bIns="0" rtlCol="0" anchor="t" anchorCtr="0">
            <a:sp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1">
              <a:spcBef>
                <a:spcPct val="30000"/>
              </a:spcBef>
              <a:buClr>
                <a:schemeClr val="bg1"/>
              </a:buClr>
            </a:pPr>
            <a:r>
              <a:rPr lang="en-US" dirty="0">
                <a:ea typeface="STKaiti" panose="02010600040101010101" pitchFamily="2" charset="-122"/>
              </a:rPr>
              <a:t>He is a leader in </a:t>
            </a:r>
            <a:r>
              <a:rPr lang="en-US" b="1" dirty="0">
                <a:solidFill>
                  <a:schemeClr val="accent4"/>
                </a:solidFill>
                <a:ea typeface="STKaiti" panose="02010600040101010101" pitchFamily="2" charset="-122"/>
              </a:rPr>
              <a:t>McKinsey’s metals practice service</a:t>
            </a:r>
            <a:r>
              <a:rPr lang="en-US" dirty="0">
                <a:cs typeface="Arial" panose="020B0604020202020204" pitchFamily="34" charset="0"/>
              </a:rPr>
              <a:t> and of McKinsey’s value-in-use service line and has been instrumental in supporting </a:t>
            </a:r>
            <a:r>
              <a:rPr lang="en-US" b="1" dirty="0">
                <a:solidFill>
                  <a:schemeClr val="accent4"/>
                </a:solidFill>
                <a:cs typeface="Arial" panose="020B0604020202020204" pitchFamily="34" charset="0"/>
              </a:rPr>
              <a:t>some of the largest M&amp;A in the steel sector globally</a:t>
            </a:r>
          </a:p>
        </p:txBody>
      </p:sp>
      <p:pic>
        <p:nvPicPr>
          <p:cNvPr id="4" name="Picture 3">
            <a:extLst>
              <a:ext uri="{FF2B5EF4-FFF2-40B4-BE49-F238E27FC236}">
                <a16:creationId xmlns:a16="http://schemas.microsoft.com/office/drawing/2014/main" id="{5BFBEEC5-9ABA-43E6-9044-D60BDA33D553}"/>
              </a:ext>
            </a:extLst>
          </p:cNvPr>
          <p:cNvPicPr>
            <a:picLocks/>
          </p:cNvPicPr>
          <p:nvPr/>
        </p:nvPicPr>
        <p:blipFill rotWithShape="1">
          <a:blip r:embed="rId12" cstate="print">
            <a:extLst>
              <a:ext uri="{28A0092B-C50C-407E-A947-70E740481C1C}">
                <a14:useLocalDpi xmlns:a14="http://schemas.microsoft.com/office/drawing/2010/main" val="0"/>
              </a:ext>
            </a:extLst>
          </a:blip>
          <a:srcRect l="7827" t="14052" r="27431" b="31770"/>
          <a:stretch/>
        </p:blipFill>
        <p:spPr>
          <a:xfrm flipH="1">
            <a:off x="148748" y="1533292"/>
            <a:ext cx="931189" cy="1003151"/>
          </a:xfrm>
          <a:prstGeom prst="round1Rect">
            <a:avLst/>
          </a:prstGeom>
          <a:effectLst>
            <a:outerShdw blurRad="50800" dist="38100" dir="2700000" algn="tl" rotWithShape="0">
              <a:prstClr val="black">
                <a:alpha val="40000"/>
              </a:prstClr>
            </a:outerShdw>
          </a:effectLst>
        </p:spPr>
      </p:pic>
      <p:sp>
        <p:nvSpPr>
          <p:cNvPr id="57" name="Rectangle: Top Corners Rounded 56">
            <a:extLst>
              <a:ext uri="{FF2B5EF4-FFF2-40B4-BE49-F238E27FC236}">
                <a16:creationId xmlns:a16="http://schemas.microsoft.com/office/drawing/2014/main" id="{FE13CBDC-5682-49B1-9D86-A6C51C3EE17F}"/>
              </a:ext>
            </a:extLst>
          </p:cNvPr>
          <p:cNvSpPr>
            <a:spLocks/>
          </p:cNvSpPr>
          <p:nvPr/>
        </p:nvSpPr>
        <p:spPr>
          <a:xfrm flipH="1">
            <a:off x="148748" y="1533292"/>
            <a:ext cx="2879482" cy="1003151"/>
          </a:xfrm>
          <a:prstGeom prst="round2SameRect">
            <a:avLst/>
          </a:prstGeom>
          <a:no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400" dirty="0" err="1">
              <a:solidFill>
                <a:schemeClr val="tx1"/>
              </a:solidFill>
            </a:endParaRPr>
          </a:p>
        </p:txBody>
      </p:sp>
      <p:sp>
        <p:nvSpPr>
          <p:cNvPr id="79" name="Rectangle: Top Corners Rounded 78">
            <a:extLst>
              <a:ext uri="{FF2B5EF4-FFF2-40B4-BE49-F238E27FC236}">
                <a16:creationId xmlns:a16="http://schemas.microsoft.com/office/drawing/2014/main" id="{0F1F0DE9-76B7-4BDA-B7FC-ED2EAC27240F}"/>
              </a:ext>
            </a:extLst>
          </p:cNvPr>
          <p:cNvSpPr>
            <a:spLocks/>
          </p:cNvSpPr>
          <p:nvPr/>
        </p:nvSpPr>
        <p:spPr>
          <a:xfrm flipH="1">
            <a:off x="148748" y="2799471"/>
            <a:ext cx="2879482" cy="1003151"/>
          </a:xfrm>
          <a:prstGeom prst="round2SameRect">
            <a:avLst/>
          </a:prstGeom>
          <a:no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400" dirty="0" err="1">
              <a:solidFill>
                <a:schemeClr val="tx1"/>
              </a:solidFill>
            </a:endParaRPr>
          </a:p>
        </p:txBody>
      </p:sp>
      <p:sp>
        <p:nvSpPr>
          <p:cNvPr id="80" name="Rectangle: Top Corners Rounded 79">
            <a:extLst>
              <a:ext uri="{FF2B5EF4-FFF2-40B4-BE49-F238E27FC236}">
                <a16:creationId xmlns:a16="http://schemas.microsoft.com/office/drawing/2014/main" id="{77AC29B3-52D0-47AC-9AD4-E09428DD2F17}"/>
              </a:ext>
            </a:extLst>
          </p:cNvPr>
          <p:cNvSpPr>
            <a:spLocks/>
          </p:cNvSpPr>
          <p:nvPr/>
        </p:nvSpPr>
        <p:spPr>
          <a:xfrm flipH="1">
            <a:off x="148748" y="4065650"/>
            <a:ext cx="2879482" cy="1003151"/>
          </a:xfrm>
          <a:prstGeom prst="round2SameRect">
            <a:avLst/>
          </a:prstGeom>
          <a:no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400" dirty="0" err="1">
              <a:solidFill>
                <a:schemeClr val="tx1"/>
              </a:solidFill>
            </a:endParaRPr>
          </a:p>
        </p:txBody>
      </p:sp>
      <p:sp>
        <p:nvSpPr>
          <p:cNvPr id="81" name="Rectangle: Top Corners Rounded 80">
            <a:extLst>
              <a:ext uri="{FF2B5EF4-FFF2-40B4-BE49-F238E27FC236}">
                <a16:creationId xmlns:a16="http://schemas.microsoft.com/office/drawing/2014/main" id="{FC42AA69-CB63-4C98-A78D-BE0AAD092914}"/>
              </a:ext>
            </a:extLst>
          </p:cNvPr>
          <p:cNvSpPr>
            <a:spLocks/>
          </p:cNvSpPr>
          <p:nvPr/>
        </p:nvSpPr>
        <p:spPr>
          <a:xfrm flipH="1">
            <a:off x="148748" y="5262476"/>
            <a:ext cx="2879482" cy="1003151"/>
          </a:xfrm>
          <a:prstGeom prst="round2SameRect">
            <a:avLst/>
          </a:prstGeom>
          <a:no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400" dirty="0" err="1">
              <a:solidFill>
                <a:schemeClr val="tx1"/>
              </a:solidFill>
            </a:endParaRPr>
          </a:p>
        </p:txBody>
      </p:sp>
      <p:sp>
        <p:nvSpPr>
          <p:cNvPr id="5" name="Title 4">
            <a:extLst>
              <a:ext uri="{FF2B5EF4-FFF2-40B4-BE49-F238E27FC236}">
                <a16:creationId xmlns:a16="http://schemas.microsoft.com/office/drawing/2014/main" id="{7958146C-0CDA-4AB7-A172-509D9B2C7463}"/>
              </a:ext>
            </a:extLst>
          </p:cNvPr>
          <p:cNvSpPr>
            <a:spLocks noGrp="1"/>
          </p:cNvSpPr>
          <p:nvPr>
            <p:ph type="title"/>
          </p:nvPr>
        </p:nvSpPr>
        <p:spPr/>
        <p:txBody>
          <a:bodyPr/>
          <a:lstStyle/>
          <a:p>
            <a:r>
              <a:rPr lang="en-US" dirty="0"/>
              <a:t>Selected profiles of merger management experts in the energy and materials sectors</a:t>
            </a:r>
            <a:endParaRPr lang="en-GB" dirty="0"/>
          </a:p>
        </p:txBody>
      </p:sp>
      <p:sp>
        <p:nvSpPr>
          <p:cNvPr id="32" name="5. Source">
            <a:extLst>
              <a:ext uri="{FF2B5EF4-FFF2-40B4-BE49-F238E27FC236}">
                <a16:creationId xmlns:a16="http://schemas.microsoft.com/office/drawing/2014/main" id="{EC27A502-F44B-4DDB-85F6-6B7FAE474B0B}"/>
              </a:ext>
            </a:extLst>
          </p:cNvPr>
          <p:cNvSpPr>
            <a:spLocks noChangeArrowheads="1"/>
          </p:cNvSpPr>
          <p:nvPr>
            <p:custDataLst>
              <p:tags r:id="rId4"/>
            </p:custDataLst>
          </p:nvPr>
        </p:nvSpPr>
        <p:spPr bwMode="gray">
          <a:xfrm>
            <a:off x="119063" y="6507558"/>
            <a:ext cx="7200000" cy="123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marL="609600" indent="-609600" defTabSz="895350">
              <a:tabLst>
                <a:tab pos="612775" algn="l"/>
              </a:tabLst>
            </a:pPr>
            <a:r>
              <a:rPr lang="en-US" altLang="zh-CN" sz="800" dirty="0">
                <a:solidFill>
                  <a:schemeClr val="accent6"/>
                </a:solidFill>
                <a:latin typeface="Arial" panose="020B0604020202020204" pitchFamily="34" charset="0"/>
              </a:rPr>
              <a:t>SOURCE: McKinsey</a:t>
            </a:r>
          </a:p>
        </p:txBody>
      </p:sp>
    </p:spTree>
    <p:extLst>
      <p:ext uri="{BB962C8B-B14F-4D97-AF65-F5344CB8AC3E}">
        <p14:creationId xmlns:p14="http://schemas.microsoft.com/office/powerpoint/2010/main" val="1110435295"/>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309562180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1076" name="think-cell Slide" r:id="rId12" imgW="353" imgH="353" progId="TCLayout.ActiveDocument.1">
                  <p:embed/>
                </p:oleObj>
              </mc:Choice>
              <mc:Fallback>
                <p:oleObj name="think-cell Slide" r:id="rId12" imgW="353" imgH="353" progId="TCLayout.ActiveDocument.1">
                  <p:embed/>
                  <p:pic>
                    <p:nvPicPr>
                      <p:cNvPr id="5" name="Object 4" hidden="1"/>
                      <p:cNvPicPr/>
                      <p:nvPr/>
                    </p:nvPicPr>
                    <p:blipFill>
                      <a:blip r:embed="rId13"/>
                      <a:stretch>
                        <a:fillRect/>
                      </a:stretch>
                    </p:blipFill>
                    <p:spPr>
                      <a:xfrm>
                        <a:off x="1588" y="1588"/>
                        <a:ext cx="1587" cy="1587"/>
                      </a:xfrm>
                      <a:prstGeom prst="rect">
                        <a:avLst/>
                      </a:prstGeom>
                    </p:spPr>
                  </p:pic>
                </p:oleObj>
              </mc:Fallback>
            </mc:AlternateContent>
          </a:graphicData>
        </a:graphic>
      </p:graphicFrame>
      <p:sp>
        <p:nvSpPr>
          <p:cNvPr id="4" name="Rectangle 3" hidden="1"/>
          <p:cNvSpPr/>
          <p:nvPr>
            <p:custDataLst>
              <p:tags r:id="rId3"/>
            </p:custDataLst>
          </p:nvPr>
        </p:nvSpPr>
        <p:spPr bwMode="auto">
          <a:xfrm>
            <a:off x="0" y="0"/>
            <a:ext cx="158750" cy="158750"/>
          </a:xfrm>
          <a:prstGeom prst="rect">
            <a:avLst/>
          </a:prstGeom>
          <a:solidFill>
            <a:schemeClr val="bg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2800" dirty="0">
              <a:solidFill>
                <a:schemeClr val="tx1"/>
              </a:solidFill>
              <a:latin typeface="Arial" panose="020B0604020202020204" pitchFamily="34" charset="0"/>
              <a:sym typeface="Arial" panose="020B0604020202020204" pitchFamily="34" charset="0"/>
            </a:endParaRPr>
          </a:p>
        </p:txBody>
      </p:sp>
      <p:sp>
        <p:nvSpPr>
          <p:cNvPr id="2" name="Title 1"/>
          <p:cNvSpPr>
            <a:spLocks noGrp="1"/>
          </p:cNvSpPr>
          <p:nvPr>
            <p:ph type="title"/>
          </p:nvPr>
        </p:nvSpPr>
        <p:spPr bwMode="black">
          <a:xfrm>
            <a:off x="119063" y="230188"/>
            <a:ext cx="8618537" cy="307777"/>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r>
              <a:rPr lang="en-US" dirty="0"/>
              <a:t>Contents</a:t>
            </a:r>
          </a:p>
        </p:txBody>
      </p:sp>
      <p:sp>
        <p:nvSpPr>
          <p:cNvPr id="32" name="Text Placeholder 2">
            <a:hlinkClick r:id="rId14" action="ppaction://hlinksldjump"/>
            <a:extLst>
              <a:ext uri="{FF2B5EF4-FFF2-40B4-BE49-F238E27FC236}">
                <a16:creationId xmlns:a16="http://schemas.microsoft.com/office/drawing/2014/main" id="{87623098-5B46-4FB7-8F48-9AA358DE1887}"/>
              </a:ext>
            </a:extLst>
          </p:cNvPr>
          <p:cNvSpPr>
            <a:spLocks noGrp="1"/>
          </p:cNvSpPr>
          <p:nvPr>
            <p:custDataLst>
              <p:tags r:id="rId4"/>
            </p:custDataLst>
          </p:nvPr>
        </p:nvSpPr>
        <p:spPr bwMode="black">
          <a:xfrm>
            <a:off x="125403" y="1225550"/>
            <a:ext cx="6842125" cy="712788"/>
          </a:xfrm>
          <a:prstGeom prst="rect">
            <a:avLst/>
          </a:prstGeom>
          <a:noFill/>
          <a:ln w="9525">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bg2"/>
                </a:solidFill>
              </a14:hiddenLine>
            </a:ext>
          </a:extLst>
        </p:spPr>
        <p:txBody>
          <a:bodyPr vert="horz" wrap="square" lIns="142875" tIns="142875" rIns="0" bIns="142875" numCol="1" spcCol="0" rtlCol="0" anchor="ctr" anchorCtr="0">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buClr>
                <a:schemeClr val="bg1"/>
              </a:buClr>
            </a:pPr>
            <a:r>
              <a:rPr lang="en-US" sz="2800" dirty="0">
                <a:solidFill>
                  <a:schemeClr val="bg1"/>
                </a:solidFill>
                <a:sym typeface="+mn-lt"/>
              </a:rPr>
              <a:t>1. Integration expertise</a:t>
            </a:r>
          </a:p>
        </p:txBody>
      </p:sp>
      <p:sp>
        <p:nvSpPr>
          <p:cNvPr id="12" name="Text Placeholder 2">
            <a:hlinkClick r:id="rId15" action="ppaction://hlinksldjump"/>
            <a:extLst>
              <a:ext uri="{FF2B5EF4-FFF2-40B4-BE49-F238E27FC236}">
                <a16:creationId xmlns:a16="http://schemas.microsoft.com/office/drawing/2014/main" id="{81A036DD-A9A6-437A-A127-6B5408433CA7}"/>
              </a:ext>
            </a:extLst>
          </p:cNvPr>
          <p:cNvSpPr>
            <a:spLocks noGrp="1"/>
          </p:cNvSpPr>
          <p:nvPr>
            <p:custDataLst>
              <p:tags r:id="rId5"/>
            </p:custDataLst>
          </p:nvPr>
        </p:nvSpPr>
        <p:spPr bwMode="black">
          <a:xfrm>
            <a:off x="125413" y="1938338"/>
            <a:ext cx="6842125" cy="711200"/>
          </a:xfrm>
          <a:prstGeom prst="rect">
            <a:avLst/>
          </a:prstGeom>
          <a:noFill/>
          <a:ln w="9525">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bg2"/>
                </a:solidFill>
              </a14:hiddenLine>
            </a:ext>
          </a:extLst>
        </p:spPr>
        <p:txBody>
          <a:bodyPr vert="horz" wrap="square" lIns="142875" tIns="141288" rIns="0" bIns="142875" numCol="1" spcCol="0" rtlCol="0" anchor="ctr" anchorCtr="0">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defTabSz="914400">
              <a:buClr>
                <a:schemeClr val="bg1"/>
              </a:buClr>
            </a:pPr>
            <a:r>
              <a:rPr lang="en-US" altLang="en-US" sz="2800" dirty="0">
                <a:solidFill>
                  <a:schemeClr val="bg1"/>
                </a:solidFill>
              </a:rPr>
              <a:t>2. Lessons &amp; tools</a:t>
            </a:r>
            <a:endParaRPr lang="en-US" sz="2800" dirty="0">
              <a:solidFill>
                <a:schemeClr val="bg1"/>
              </a:solidFill>
              <a:latin typeface="Arial" charset="0"/>
              <a:sym typeface="+mn-lt"/>
            </a:endParaRPr>
          </a:p>
        </p:txBody>
      </p:sp>
      <p:sp>
        <p:nvSpPr>
          <p:cNvPr id="15" name="Text Placeholder 2">
            <a:hlinkClick r:id="rId16" action="ppaction://hlinksldjump"/>
            <a:extLst>
              <a:ext uri="{FF2B5EF4-FFF2-40B4-BE49-F238E27FC236}">
                <a16:creationId xmlns:a16="http://schemas.microsoft.com/office/drawing/2014/main" id="{6DCF1EA3-67B4-4077-895C-FC4592F245F8}"/>
              </a:ext>
            </a:extLst>
          </p:cNvPr>
          <p:cNvSpPr>
            <a:spLocks noGrp="1"/>
          </p:cNvSpPr>
          <p:nvPr>
            <p:custDataLst>
              <p:tags r:id="rId6"/>
            </p:custDataLst>
          </p:nvPr>
        </p:nvSpPr>
        <p:spPr bwMode="black">
          <a:xfrm>
            <a:off x="125413" y="2649538"/>
            <a:ext cx="6842125" cy="711200"/>
          </a:xfrm>
          <a:prstGeom prst="rect">
            <a:avLst/>
          </a:prstGeom>
          <a:noFill/>
          <a:ln w="9525">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bg2"/>
                </a:solidFill>
              </a14:hiddenLine>
            </a:ext>
          </a:extLst>
        </p:spPr>
        <p:txBody>
          <a:bodyPr vert="horz" wrap="square" lIns="142875" tIns="141288" rIns="0" bIns="142875" numCol="1" spcCol="0" rtlCol="0" anchor="ctr" anchorCtr="0">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defTabSz="914400">
              <a:buClr>
                <a:schemeClr val="bg1"/>
              </a:buClr>
            </a:pPr>
            <a:r>
              <a:rPr lang="en-US" altLang="en-US" sz="2800" dirty="0">
                <a:solidFill>
                  <a:schemeClr val="bg1"/>
                </a:solidFill>
              </a:rPr>
              <a:t>3. Distinctive team</a:t>
            </a:r>
            <a:endParaRPr lang="en-US" sz="2800" dirty="0">
              <a:solidFill>
                <a:schemeClr val="bg1"/>
              </a:solidFill>
              <a:latin typeface="Arial" charset="0"/>
              <a:sym typeface="+mn-lt"/>
            </a:endParaRPr>
          </a:p>
        </p:txBody>
      </p:sp>
      <p:sp>
        <p:nvSpPr>
          <p:cNvPr id="16" name="Text Placeholder 2">
            <a:extLst>
              <a:ext uri="{FF2B5EF4-FFF2-40B4-BE49-F238E27FC236}">
                <a16:creationId xmlns:a16="http://schemas.microsoft.com/office/drawing/2014/main" id="{8A59A8B4-F619-4EF1-9BCA-C0CD4491F73C}"/>
              </a:ext>
            </a:extLst>
          </p:cNvPr>
          <p:cNvSpPr>
            <a:spLocks noGrp="1"/>
          </p:cNvSpPr>
          <p:nvPr>
            <p:custDataLst>
              <p:tags r:id="rId7"/>
            </p:custDataLst>
          </p:nvPr>
        </p:nvSpPr>
        <p:spPr bwMode="black">
          <a:xfrm>
            <a:off x="125412" y="3360738"/>
            <a:ext cx="6842125" cy="711200"/>
          </a:xfrm>
          <a:prstGeom prst="rect">
            <a:avLst/>
          </a:prstGeom>
          <a:noFill/>
          <a:ln w="9525">
            <a:solidFill>
              <a:schemeClr val="bg2"/>
            </a:solidFill>
          </a:ln>
          <a:extLst>
            <a:ext uri="{909E8E84-426E-40DD-AFC4-6F175D3DCCD1}">
              <a14:hiddenFill xmlns:a14="http://schemas.microsoft.com/office/drawing/2010/main">
                <a:solidFill>
                  <a:schemeClr val="accent1"/>
                </a:solidFill>
              </a14:hiddenFill>
            </a:ext>
          </a:extLst>
        </p:spPr>
        <p:txBody>
          <a:bodyPr vert="horz" wrap="square" lIns="142875" tIns="142875" rIns="0" bIns="141288" numCol="1" spcCol="0" rtlCol="0" anchor="ctr" anchorCtr="0">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defTabSz="914400">
              <a:buClr>
                <a:schemeClr val="bg1"/>
              </a:buClr>
            </a:pPr>
            <a:r>
              <a:rPr lang="en-US" altLang="en-US" sz="2800" dirty="0">
                <a:solidFill>
                  <a:schemeClr val="bg1"/>
                </a:solidFill>
              </a:rPr>
              <a:t>4. Turnaround experience &amp; methodology</a:t>
            </a:r>
            <a:endParaRPr lang="en-US" sz="2800" dirty="0">
              <a:solidFill>
                <a:schemeClr val="bg1"/>
              </a:solidFill>
              <a:latin typeface="Arial" charset="0"/>
              <a:sym typeface="+mn-lt"/>
            </a:endParaRPr>
          </a:p>
        </p:txBody>
      </p:sp>
      <p:sp>
        <p:nvSpPr>
          <p:cNvPr id="21" name="Text Placeholder 2">
            <a:hlinkClick r:id="rId17" action="ppaction://hlinksldjump"/>
            <a:extLst>
              <a:ext uri="{FF2B5EF4-FFF2-40B4-BE49-F238E27FC236}">
                <a16:creationId xmlns:a16="http://schemas.microsoft.com/office/drawing/2014/main" id="{40270349-A619-48EA-8C6F-61E85718F2AC}"/>
              </a:ext>
            </a:extLst>
          </p:cNvPr>
          <p:cNvSpPr>
            <a:spLocks noGrp="1"/>
          </p:cNvSpPr>
          <p:nvPr>
            <p:custDataLst>
              <p:tags r:id="rId8"/>
            </p:custDataLst>
          </p:nvPr>
        </p:nvSpPr>
        <p:spPr bwMode="black">
          <a:xfrm>
            <a:off x="125412" y="4071938"/>
            <a:ext cx="6842125" cy="711200"/>
          </a:xfrm>
          <a:prstGeom prst="rect">
            <a:avLst/>
          </a:prstGeom>
          <a:noFill/>
          <a:ln w="9525">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bg2"/>
                </a:solidFill>
              </a14:hiddenLine>
            </a:ext>
          </a:extLst>
        </p:spPr>
        <p:txBody>
          <a:bodyPr vert="horz" wrap="square" lIns="142875" tIns="142875" rIns="0" bIns="141288" numCol="1" spcCol="0" rtlCol="0" anchor="ctr" anchorCtr="0">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defTabSz="914400">
              <a:buClr>
                <a:schemeClr val="bg1"/>
              </a:buClr>
            </a:pPr>
            <a:r>
              <a:rPr lang="en-US" altLang="en-US" sz="2800" dirty="0">
                <a:solidFill>
                  <a:schemeClr val="bg1"/>
                </a:solidFill>
              </a:rPr>
              <a:t>5. Functional depth</a:t>
            </a:r>
            <a:endParaRPr lang="en-US" sz="2800" dirty="0">
              <a:solidFill>
                <a:schemeClr val="bg1"/>
              </a:solidFill>
              <a:latin typeface="Arial" charset="0"/>
              <a:sym typeface="+mn-lt"/>
            </a:endParaRPr>
          </a:p>
        </p:txBody>
      </p:sp>
      <p:sp>
        <p:nvSpPr>
          <p:cNvPr id="23" name="Text Placeholder 2">
            <a:hlinkClick r:id="rId18" action="ppaction://hlinksldjump"/>
            <a:extLst>
              <a:ext uri="{FF2B5EF4-FFF2-40B4-BE49-F238E27FC236}">
                <a16:creationId xmlns:a16="http://schemas.microsoft.com/office/drawing/2014/main" id="{4D541406-4656-4603-8797-6C8DEBED3B9F}"/>
              </a:ext>
            </a:extLst>
          </p:cNvPr>
          <p:cNvSpPr>
            <a:spLocks noGrp="1"/>
          </p:cNvSpPr>
          <p:nvPr>
            <p:custDataLst>
              <p:tags r:id="rId9"/>
            </p:custDataLst>
          </p:nvPr>
        </p:nvSpPr>
        <p:spPr bwMode="black">
          <a:xfrm>
            <a:off x="125412" y="4783138"/>
            <a:ext cx="6842125" cy="712788"/>
          </a:xfrm>
          <a:prstGeom prst="rect">
            <a:avLst/>
          </a:prstGeom>
          <a:noFill/>
          <a:ln w="9525">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bg2"/>
                </a:solidFill>
              </a14:hiddenLine>
            </a:ext>
          </a:extLst>
        </p:spPr>
        <p:txBody>
          <a:bodyPr vert="horz" wrap="square" lIns="142875" tIns="142875" rIns="0" bIns="142875" numCol="1" spcCol="0" rtlCol="0" anchor="ctr" anchorCtr="0">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defTabSz="914400">
              <a:buClr>
                <a:schemeClr val="bg1"/>
              </a:buClr>
            </a:pPr>
            <a:r>
              <a:rPr lang="en-US" altLang="en-US" sz="2800" dirty="0">
                <a:solidFill>
                  <a:schemeClr val="bg1"/>
                </a:solidFill>
              </a:rPr>
              <a:t>6. Industry expertise</a:t>
            </a:r>
            <a:endParaRPr lang="en-US" sz="2800" dirty="0">
              <a:solidFill>
                <a:schemeClr val="bg1"/>
              </a:solidFill>
              <a:latin typeface="Arial" charset="0"/>
              <a:sym typeface="+mn-lt"/>
            </a:endParaRPr>
          </a:p>
        </p:txBody>
      </p:sp>
    </p:spTree>
    <p:extLst>
      <p:ext uri="{BB962C8B-B14F-4D97-AF65-F5344CB8AC3E}">
        <p14:creationId xmlns:p14="http://schemas.microsoft.com/office/powerpoint/2010/main" val="303981852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322883" name="AutoShape 3" hidden="1"/>
          <p:cNvGraphicFramePr>
            <a:graphicFrameLocks/>
          </p:cNvGraphicFramePr>
          <p:nvPr>
            <p:custDataLst>
              <p:tags r:id="rId3"/>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68308" name="think-cell Slide" r:id="rId8" imgW="0" imgH="0" progId="TCLayout.ActiveDocument.1">
                  <p:embed/>
                </p:oleObj>
              </mc:Choice>
              <mc:Fallback>
                <p:oleObj name="think-cell Slide" r:id="rId8" imgW="0" imgH="0" progId="TCLayout.ActiveDocument.1">
                  <p:embed/>
                  <p:pic>
                    <p:nvPicPr>
                      <p:cNvPr id="3322883" name="AutoShape 3"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322884" name="Rectangle 3" hidden="1"/>
          <p:cNvSpPr>
            <a:spLocks noChangeArrowheads="1"/>
          </p:cNvSpPr>
          <p:nvPr>
            <p:custDataLst>
              <p:tags r:id="rId4"/>
            </p:custDataLst>
          </p:nvPr>
        </p:nvSpPr>
        <p:spPr bwMode="gray">
          <a:xfrm>
            <a:off x="0" y="0"/>
            <a:ext cx="158750" cy="158750"/>
          </a:xfrm>
          <a:prstGeom prst="rect">
            <a:avLst/>
          </a:prstGeom>
          <a:solidFill>
            <a:schemeClr val="accent1"/>
          </a:solidFill>
          <a:ln w="9525" algn="ctr">
            <a:solidFill>
              <a:schemeClr val="tx1"/>
            </a:solidFill>
            <a:miter lim="800000"/>
            <a:headEnd/>
            <a:tailEnd/>
          </a:ln>
        </p:spPr>
        <p:txBody>
          <a:bodyPr vert="horz" wrap="none" lIns="0" tIns="0" rIns="0" bIns="0" numCol="1" spcCol="0" anchor="ctr" anchorCtr="0">
            <a:noAutofit/>
          </a:bodyPr>
          <a:lstStyle/>
          <a:p>
            <a:pPr algn="ctr"/>
            <a:endParaRPr lang="en-US" dirty="0">
              <a:latin typeface="Arial" panose="020B0604020202020204" pitchFamily="34" charset="0"/>
              <a:cs typeface="Arial" panose="020B0604020202020204" pitchFamily="34" charset="0"/>
              <a:sym typeface="Arial" panose="020B0604020202020204" pitchFamily="34" charset="0"/>
            </a:endParaRPr>
          </a:p>
        </p:txBody>
      </p:sp>
      <p:sp>
        <p:nvSpPr>
          <p:cNvPr id="43" name="Rectangle 13">
            <a:extLst>
              <a:ext uri="{FF2B5EF4-FFF2-40B4-BE49-F238E27FC236}">
                <a16:creationId xmlns:a16="http://schemas.microsoft.com/office/drawing/2014/main" id="{2A12DEB9-0228-44D8-989C-CFCFD2E159F4}"/>
              </a:ext>
            </a:extLst>
          </p:cNvPr>
          <p:cNvSpPr txBox="1">
            <a:spLocks/>
          </p:cNvSpPr>
          <p:nvPr>
            <p:custDataLst>
              <p:tags r:id="rId5"/>
            </p:custDataLst>
          </p:nvPr>
        </p:nvSpPr>
        <p:spPr>
          <a:xfrm>
            <a:off x="240466" y="648985"/>
            <a:ext cx="8394652" cy="5716095"/>
          </a:xfrm>
          <a:prstGeom prst="rect">
            <a:avLst/>
          </a:prstGeom>
          <a:solidFill>
            <a:schemeClr val="bg1"/>
          </a:solidFill>
          <a:ln w="19050">
            <a:solidFill>
              <a:schemeClr val="accent1"/>
            </a:solidFill>
            <a:miter lim="800000"/>
            <a:headEnd/>
            <a:tailEnd/>
          </a:ln>
          <a:effectLst>
            <a:outerShdw blurRad="50800" dist="38100" dir="2700000" algn="tl" rotWithShape="0">
              <a:prstClr val="black">
                <a:alpha val="40000"/>
              </a:prstClr>
            </a:outerShdw>
          </a:effectLst>
          <a:extLst/>
        </p:spPr>
        <p:txBody>
          <a:bodyPr wrap="square" lIns="73152" tIns="73152" rIns="73152" bIns="73152" anchor="ctr" anchorCtr="0">
            <a:noAutofit/>
          </a:bodyPr>
          <a:lstStyle>
            <a:defPPr>
              <a:defRPr lang="en-US"/>
            </a:defPPr>
            <a:lvl1pPr>
              <a:buClr>
                <a:schemeClr val="tx2"/>
              </a:buClr>
              <a:defRPr sz="1400" b="0">
                <a:solidFill>
                  <a:schemeClr val="bg1"/>
                </a:solidFill>
              </a:defRPr>
            </a:lvl1pPr>
          </a:lstStyle>
          <a:p>
            <a:endParaRPr lang="en-US" altLang="ko-KR" dirty="0"/>
          </a:p>
        </p:txBody>
      </p:sp>
      <p:sp>
        <p:nvSpPr>
          <p:cNvPr id="53" name="Title Tracker Circle">
            <a:extLst>
              <a:ext uri="{FF2B5EF4-FFF2-40B4-BE49-F238E27FC236}">
                <a16:creationId xmlns:a16="http://schemas.microsoft.com/office/drawing/2014/main" id="{B0D3024C-3B5D-4EA6-83CC-02D002195279}"/>
              </a:ext>
            </a:extLst>
          </p:cNvPr>
          <p:cNvSpPr/>
          <p:nvPr/>
        </p:nvSpPr>
        <p:spPr>
          <a:xfrm>
            <a:off x="119063" y="166736"/>
            <a:ext cx="418798" cy="418798"/>
          </a:xfrm>
          <a:prstGeom prst="ellipse">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p>
            <a:pPr algn="ctr"/>
            <a:r>
              <a:rPr lang="en-US" sz="2000" dirty="0">
                <a:solidFill>
                  <a:schemeClr val="tx2"/>
                </a:solidFill>
                <a:latin typeface="+mj-lt"/>
              </a:rPr>
              <a:t>1</a:t>
            </a:r>
          </a:p>
        </p:txBody>
      </p:sp>
      <p:sp>
        <p:nvSpPr>
          <p:cNvPr id="4" name="Title 3">
            <a:extLst>
              <a:ext uri="{FF2B5EF4-FFF2-40B4-BE49-F238E27FC236}">
                <a16:creationId xmlns:a16="http://schemas.microsoft.com/office/drawing/2014/main" id="{DA3786A0-5E0D-412D-BA3A-E6DE048FC452}"/>
              </a:ext>
            </a:extLst>
          </p:cNvPr>
          <p:cNvSpPr>
            <a:spLocks noGrp="1"/>
          </p:cNvSpPr>
          <p:nvPr>
            <p:ph type="title"/>
          </p:nvPr>
        </p:nvSpPr>
        <p:spPr>
          <a:xfrm>
            <a:off x="119063" y="230188"/>
            <a:ext cx="8618537" cy="307777"/>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marL="465138"/>
            <a:r>
              <a:rPr lang="en-US" dirty="0"/>
              <a:t>Selected, relevant reference cases</a:t>
            </a:r>
            <a:endParaRPr lang="en-GB" dirty="0"/>
          </a:p>
        </p:txBody>
      </p:sp>
      <p:sp>
        <p:nvSpPr>
          <p:cNvPr id="55" name="5. Source">
            <a:extLst>
              <a:ext uri="{FF2B5EF4-FFF2-40B4-BE49-F238E27FC236}">
                <a16:creationId xmlns:a16="http://schemas.microsoft.com/office/drawing/2014/main" id="{1C841266-9324-4A2F-9251-01D1E41AB79B}"/>
              </a:ext>
            </a:extLst>
          </p:cNvPr>
          <p:cNvSpPr>
            <a:spLocks noChangeArrowheads="1"/>
          </p:cNvSpPr>
          <p:nvPr/>
        </p:nvSpPr>
        <p:spPr bwMode="auto">
          <a:xfrm>
            <a:off x="119063" y="6507558"/>
            <a:ext cx="7200000" cy="123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marL="609600" indent="-609600" defTabSz="895350">
              <a:tabLst>
                <a:tab pos="612775" algn="l"/>
              </a:tabLst>
            </a:pPr>
            <a:r>
              <a:rPr lang="en-US" sz="800" dirty="0">
                <a:solidFill>
                  <a:schemeClr val="accent6"/>
                </a:solidFill>
                <a:latin typeface="Arial" panose="020B0604020202020204" pitchFamily="34" charset="0"/>
              </a:rPr>
              <a:t>SOURCE: McKinsey Merger Management Practice</a:t>
            </a:r>
          </a:p>
        </p:txBody>
      </p:sp>
      <p:sp>
        <p:nvSpPr>
          <p:cNvPr id="7" name="TextBox 6">
            <a:extLst>
              <a:ext uri="{FF2B5EF4-FFF2-40B4-BE49-F238E27FC236}">
                <a16:creationId xmlns:a16="http://schemas.microsoft.com/office/drawing/2014/main" id="{399154A2-C954-4C2D-AE4B-44FFDA6FC732}"/>
              </a:ext>
            </a:extLst>
          </p:cNvPr>
          <p:cNvSpPr txBox="1"/>
          <p:nvPr/>
        </p:nvSpPr>
        <p:spPr>
          <a:xfrm>
            <a:off x="391741" y="754001"/>
            <a:ext cx="1320976" cy="169277"/>
          </a:xfrm>
          <a:prstGeom prst="rect">
            <a:avLst/>
          </a:prstGeom>
        </p:spPr>
        <p:txBody>
          <a:bodyPr vert="horz" wrap="square" lIns="0" tIns="0" rIns="0" bIns="0" rtlCol="0">
            <a:sp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GB" sz="1100" b="1" dirty="0">
                <a:solidFill>
                  <a:schemeClr val="tx2"/>
                </a:solidFill>
              </a:rPr>
              <a:t>Company</a:t>
            </a:r>
          </a:p>
        </p:txBody>
      </p:sp>
      <p:cxnSp>
        <p:nvCxnSpPr>
          <p:cNvPr id="8" name="Straight Connector 7">
            <a:extLst>
              <a:ext uri="{FF2B5EF4-FFF2-40B4-BE49-F238E27FC236}">
                <a16:creationId xmlns:a16="http://schemas.microsoft.com/office/drawing/2014/main" id="{011543F6-CA31-4683-A648-0A36D8C9DF46}"/>
              </a:ext>
            </a:extLst>
          </p:cNvPr>
          <p:cNvCxnSpPr>
            <a:cxnSpLocks/>
          </p:cNvCxnSpPr>
          <p:nvPr/>
        </p:nvCxnSpPr>
        <p:spPr>
          <a:xfrm>
            <a:off x="378093" y="969445"/>
            <a:ext cx="2991718"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C7EC861C-D41A-40E3-AC7E-26D51F35B343}"/>
              </a:ext>
            </a:extLst>
          </p:cNvPr>
          <p:cNvSpPr txBox="1"/>
          <p:nvPr/>
        </p:nvSpPr>
        <p:spPr>
          <a:xfrm>
            <a:off x="3605788" y="754001"/>
            <a:ext cx="1320976" cy="169277"/>
          </a:xfrm>
          <a:prstGeom prst="rect">
            <a:avLst/>
          </a:prstGeom>
        </p:spPr>
        <p:txBody>
          <a:bodyPr vert="horz" wrap="square" lIns="0" tIns="0" rIns="0" bIns="0" rtlCol="0">
            <a:sp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GB" sz="1100" b="1" dirty="0">
                <a:solidFill>
                  <a:schemeClr val="tx2"/>
                </a:solidFill>
              </a:rPr>
              <a:t>Description</a:t>
            </a:r>
          </a:p>
        </p:txBody>
      </p:sp>
      <p:cxnSp>
        <p:nvCxnSpPr>
          <p:cNvPr id="10" name="Straight Connector 9">
            <a:extLst>
              <a:ext uri="{FF2B5EF4-FFF2-40B4-BE49-F238E27FC236}">
                <a16:creationId xmlns:a16="http://schemas.microsoft.com/office/drawing/2014/main" id="{6759654E-0243-49D9-BC46-7B8E5119F812}"/>
              </a:ext>
            </a:extLst>
          </p:cNvPr>
          <p:cNvCxnSpPr>
            <a:cxnSpLocks/>
          </p:cNvCxnSpPr>
          <p:nvPr/>
        </p:nvCxnSpPr>
        <p:spPr>
          <a:xfrm>
            <a:off x="3592140" y="969445"/>
            <a:ext cx="4929701"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pic>
        <p:nvPicPr>
          <p:cNvPr id="11" name="Picture 25" descr="http://upload.wikimedia.org/wikipedia/en/4/48/Arcelor_logo.png">
            <a:extLst>
              <a:ext uri="{FF2B5EF4-FFF2-40B4-BE49-F238E27FC236}">
                <a16:creationId xmlns:a16="http://schemas.microsoft.com/office/drawing/2014/main" id="{68D940A9-E7C2-49FB-BCEA-BB237ABD3C46}"/>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378093" y="1891497"/>
            <a:ext cx="1406341" cy="388152"/>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33" descr="http://archiwum.rig.katowice.pl/upload_i/Dzia%C5%82%20Samorz%C4%85dowy/logo_MITTAL.jpg">
            <a:extLst>
              <a:ext uri="{FF2B5EF4-FFF2-40B4-BE49-F238E27FC236}">
                <a16:creationId xmlns:a16="http://schemas.microsoft.com/office/drawing/2014/main" id="{27E5343E-4D91-4ACB-BD25-8A5F822D8507}"/>
              </a:ext>
            </a:extLst>
          </p:cNvPr>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1974058" y="1937516"/>
            <a:ext cx="1116664" cy="296114"/>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17">
            <a:extLst>
              <a:ext uri="{FF2B5EF4-FFF2-40B4-BE49-F238E27FC236}">
                <a16:creationId xmlns:a16="http://schemas.microsoft.com/office/drawing/2014/main" id="{8E371603-86E4-4288-B6E9-C7DF3AC1989C}"/>
              </a:ext>
            </a:extLst>
          </p:cNvPr>
          <p:cNvPicPr>
            <a:picLocks noChangeAspect="1"/>
          </p:cNvPicPr>
          <p:nvPr/>
        </p:nvPicPr>
        <p:blipFill>
          <a:blip r:embed="rId11"/>
          <a:stretch>
            <a:fillRect/>
          </a:stretch>
        </p:blipFill>
        <p:spPr>
          <a:xfrm>
            <a:off x="606613" y="2741169"/>
            <a:ext cx="572733" cy="693418"/>
          </a:xfrm>
          <a:prstGeom prst="rect">
            <a:avLst/>
          </a:prstGeom>
        </p:spPr>
      </p:pic>
      <p:pic>
        <p:nvPicPr>
          <p:cNvPr id="19" name="Picture 25" descr="Image result for ranbaxy">
            <a:extLst>
              <a:ext uri="{FF2B5EF4-FFF2-40B4-BE49-F238E27FC236}">
                <a16:creationId xmlns:a16="http://schemas.microsoft.com/office/drawing/2014/main" id="{F8C3AB94-CADB-4741-B106-9E48D7D86D6C}"/>
              </a:ext>
            </a:extLst>
          </p:cNvPr>
          <p:cNvPicPr>
            <a:picLocks noChangeAspect="1" noChangeArrowheads="1"/>
          </p:cNvPicPr>
          <p:nvPr/>
        </p:nvPicPr>
        <p:blipFill rotWithShape="1">
          <a:blip r:embed="rId12" cstate="print">
            <a:extLst>
              <a:ext uri="{28A0092B-C50C-407E-A947-70E740481C1C}">
                <a14:useLocalDpi xmlns:a14="http://schemas.microsoft.com/office/drawing/2010/main" val="0"/>
              </a:ext>
            </a:extLst>
          </a:blip>
          <a:srcRect t="29422" b="29422"/>
          <a:stretch/>
        </p:blipFill>
        <p:spPr bwMode="auto">
          <a:xfrm>
            <a:off x="1508571" y="2800576"/>
            <a:ext cx="1765376" cy="386894"/>
          </a:xfrm>
          <a:prstGeom prst="rect">
            <a:avLst/>
          </a:prstGeom>
          <a:noFill/>
          <a:extLst>
            <a:ext uri="{909E8E84-426E-40DD-AFC4-6F175D3DCCD1}">
              <a14:hiddenFill xmlns:a14="http://schemas.microsoft.com/office/drawing/2010/main">
                <a:solidFill>
                  <a:srgbClr val="FFFFFF"/>
                </a:solidFill>
              </a14:hiddenFill>
            </a:ext>
          </a:extLst>
        </p:spPr>
      </p:pic>
      <p:pic>
        <p:nvPicPr>
          <p:cNvPr id="20" name="Picture 27" descr="Image result for kotak">
            <a:extLst>
              <a:ext uri="{FF2B5EF4-FFF2-40B4-BE49-F238E27FC236}">
                <a16:creationId xmlns:a16="http://schemas.microsoft.com/office/drawing/2014/main" id="{C0730ECD-C655-435C-81F2-52AD21110A2B}"/>
              </a:ext>
            </a:extLst>
          </p:cNvPr>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1685930" y="3719402"/>
            <a:ext cx="1588017" cy="468669"/>
          </a:xfrm>
          <a:prstGeom prst="rect">
            <a:avLst/>
          </a:prstGeom>
          <a:noFill/>
          <a:extLst>
            <a:ext uri="{909E8E84-426E-40DD-AFC4-6F175D3DCCD1}">
              <a14:hiddenFill xmlns:a14="http://schemas.microsoft.com/office/drawing/2010/main">
                <a:solidFill>
                  <a:srgbClr val="FFFFFF"/>
                </a:solidFill>
              </a14:hiddenFill>
            </a:ext>
          </a:extLst>
        </p:spPr>
      </p:pic>
      <p:pic>
        <p:nvPicPr>
          <p:cNvPr id="21" name="Picture 29" descr="Image result for ing vysya logo">
            <a:extLst>
              <a:ext uri="{FF2B5EF4-FFF2-40B4-BE49-F238E27FC236}">
                <a16:creationId xmlns:a16="http://schemas.microsoft.com/office/drawing/2014/main" id="{682F5014-8A24-40F8-B049-4BD2EDDE87D5}"/>
              </a:ext>
            </a:extLst>
          </p:cNvPr>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415355" y="3711384"/>
            <a:ext cx="1122759" cy="484706"/>
          </a:xfrm>
          <a:prstGeom prst="rect">
            <a:avLst/>
          </a:prstGeom>
          <a:noFill/>
          <a:extLst>
            <a:ext uri="{909E8E84-426E-40DD-AFC4-6F175D3DCCD1}">
              <a14:hiddenFill xmlns:a14="http://schemas.microsoft.com/office/drawing/2010/main">
                <a:solidFill>
                  <a:srgbClr val="FFFFFF"/>
                </a:solidFill>
              </a14:hiddenFill>
            </a:ext>
          </a:extLst>
        </p:spPr>
      </p:pic>
      <p:pic>
        <p:nvPicPr>
          <p:cNvPr id="22" name="Picture 21">
            <a:extLst>
              <a:ext uri="{FF2B5EF4-FFF2-40B4-BE49-F238E27FC236}">
                <a16:creationId xmlns:a16="http://schemas.microsoft.com/office/drawing/2014/main" id="{D882D2BB-97D4-4E75-A17D-026ACD140C5B}"/>
              </a:ext>
            </a:extLst>
          </p:cNvPr>
          <p:cNvPicPr>
            <a:picLocks noChangeAspect="1"/>
          </p:cNvPicPr>
          <p:nvPr/>
        </p:nvPicPr>
        <p:blipFill rotWithShape="1">
          <a:blip r:embed="rId15">
            <a:clrChange>
              <a:clrFrom>
                <a:srgbClr val="FFFFFF"/>
              </a:clrFrom>
              <a:clrTo>
                <a:srgbClr val="FFFFFF">
                  <a:alpha val="0"/>
                </a:srgbClr>
              </a:clrTo>
            </a:clrChange>
          </a:blip>
          <a:srcRect l="19229" t="33158" r="13608" b="24172"/>
          <a:stretch/>
        </p:blipFill>
        <p:spPr>
          <a:xfrm>
            <a:off x="606613" y="5772981"/>
            <a:ext cx="959049" cy="233022"/>
          </a:xfrm>
          <a:prstGeom prst="rect">
            <a:avLst/>
          </a:prstGeom>
        </p:spPr>
      </p:pic>
      <p:pic>
        <p:nvPicPr>
          <p:cNvPr id="23" name="Picture 33" descr="Image result for SIEMENS">
            <a:extLst>
              <a:ext uri="{FF2B5EF4-FFF2-40B4-BE49-F238E27FC236}">
                <a16:creationId xmlns:a16="http://schemas.microsoft.com/office/drawing/2014/main" id="{D3EF9708-CC70-45D5-BC8D-D84803C75E31}"/>
              </a:ext>
            </a:extLst>
          </p:cNvPr>
          <p:cNvPicPr>
            <a:picLocks noChangeAspect="1" noChangeArrowheads="1"/>
          </p:cNvPicPr>
          <p:nvPr/>
        </p:nvPicPr>
        <p:blipFill rotWithShape="1">
          <a:blip r:embed="rId16" cstate="print">
            <a:extLst>
              <a:ext uri="{28A0092B-C50C-407E-A947-70E740481C1C}">
                <a14:useLocalDpi xmlns:a14="http://schemas.microsoft.com/office/drawing/2010/main" val="0"/>
              </a:ext>
            </a:extLst>
          </a:blip>
          <a:srcRect t="38960" b="39500"/>
          <a:stretch/>
        </p:blipFill>
        <p:spPr bwMode="auto">
          <a:xfrm>
            <a:off x="1841525" y="5769262"/>
            <a:ext cx="1099077" cy="236741"/>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2" descr="Image result for holcim">
            <a:extLst>
              <a:ext uri="{FF2B5EF4-FFF2-40B4-BE49-F238E27FC236}">
                <a16:creationId xmlns:a16="http://schemas.microsoft.com/office/drawing/2014/main" id="{2B028C3F-398A-4F8C-B8A5-E2B4CEDCAFF8}"/>
              </a:ext>
            </a:extLst>
          </p:cNvPr>
          <p:cNvPicPr>
            <a:picLocks noChangeAspect="1" noChangeArrowheads="1"/>
          </p:cNvPicPr>
          <p:nvPr/>
        </p:nvPicPr>
        <p:blipFill rotWithShape="1">
          <a:blip r:embed="rId17">
            <a:extLst>
              <a:ext uri="{28A0092B-C50C-407E-A947-70E740481C1C}">
                <a14:useLocalDpi xmlns:a14="http://schemas.microsoft.com/office/drawing/2010/main" val="0"/>
              </a:ext>
            </a:extLst>
          </a:blip>
          <a:srcRect t="32889" r="46590" b="31921"/>
          <a:stretch/>
        </p:blipFill>
        <p:spPr bwMode="auto">
          <a:xfrm>
            <a:off x="513859" y="4955296"/>
            <a:ext cx="1173423" cy="455849"/>
          </a:xfrm>
          <a:prstGeom prst="rect">
            <a:avLst/>
          </a:prstGeom>
          <a:noFill/>
          <a:extLst>
            <a:ext uri="{909E8E84-426E-40DD-AFC4-6F175D3DCCD1}">
              <a14:hiddenFill xmlns:a14="http://schemas.microsoft.com/office/drawing/2010/main">
                <a:solidFill>
                  <a:srgbClr val="FFFFFF"/>
                </a:solidFill>
              </a14:hiddenFill>
            </a:ext>
          </a:extLst>
        </p:spPr>
      </p:pic>
      <p:pic>
        <p:nvPicPr>
          <p:cNvPr id="25" name="Picture 2" descr="Image result for holcim">
            <a:extLst>
              <a:ext uri="{FF2B5EF4-FFF2-40B4-BE49-F238E27FC236}">
                <a16:creationId xmlns:a16="http://schemas.microsoft.com/office/drawing/2014/main" id="{37F441AB-41D1-442F-AE5F-8327BCF3555A}"/>
              </a:ext>
            </a:extLst>
          </p:cNvPr>
          <p:cNvPicPr>
            <a:picLocks noChangeAspect="1" noChangeArrowheads="1"/>
          </p:cNvPicPr>
          <p:nvPr/>
        </p:nvPicPr>
        <p:blipFill rotWithShape="1">
          <a:blip r:embed="rId17">
            <a:extLst>
              <a:ext uri="{28A0092B-C50C-407E-A947-70E740481C1C}">
                <a14:useLocalDpi xmlns:a14="http://schemas.microsoft.com/office/drawing/2010/main" val="0"/>
              </a:ext>
            </a:extLst>
          </a:blip>
          <a:srcRect l="50907" t="32889" b="27478"/>
          <a:stretch/>
        </p:blipFill>
        <p:spPr bwMode="auto">
          <a:xfrm>
            <a:off x="1784434" y="4902769"/>
            <a:ext cx="1369084" cy="651678"/>
          </a:xfrm>
          <a:prstGeom prst="rect">
            <a:avLst/>
          </a:prstGeom>
          <a:noFill/>
          <a:extLst>
            <a:ext uri="{909E8E84-426E-40DD-AFC4-6F175D3DCCD1}">
              <a14:hiddenFill xmlns:a14="http://schemas.microsoft.com/office/drawing/2010/main">
                <a:solidFill>
                  <a:srgbClr val="FFFFFF"/>
                </a:solidFill>
              </a14:hiddenFill>
            </a:ext>
          </a:extLst>
        </p:spPr>
      </p:pic>
      <p:sp>
        <p:nvSpPr>
          <p:cNvPr id="26" name="Rectangle 25">
            <a:extLst>
              <a:ext uri="{FF2B5EF4-FFF2-40B4-BE49-F238E27FC236}">
                <a16:creationId xmlns:a16="http://schemas.microsoft.com/office/drawing/2014/main" id="{63F74099-856F-4D16-BB94-D21E3E7B6BBE}"/>
              </a:ext>
            </a:extLst>
          </p:cNvPr>
          <p:cNvSpPr/>
          <p:nvPr/>
        </p:nvSpPr>
        <p:spPr>
          <a:xfrm>
            <a:off x="3523846" y="1729481"/>
            <a:ext cx="4936580" cy="854080"/>
          </a:xfrm>
          <a:prstGeom prst="rect">
            <a:avLst/>
          </a:prstGeom>
        </p:spPr>
        <p:txBody>
          <a:bodyPr wrap="square">
            <a:spAutoFit/>
          </a:bodyPr>
          <a:lstStyle/>
          <a:p>
            <a:pPr marL="173037" lvl="1" indent="-171450" defTabSz="895350" eaLnBrk="0" hangingPunct="0">
              <a:spcBef>
                <a:spcPct val="25000"/>
              </a:spcBef>
              <a:buClr>
                <a:srgbClr val="002960"/>
              </a:buClr>
              <a:buSzPct val="125000"/>
              <a:buFont typeface="Wingdings" panose="05000000000000000000" pitchFamily="2" charset="2"/>
              <a:buChar char="§"/>
              <a:defRPr/>
            </a:pPr>
            <a:r>
              <a:rPr lang="en-US" sz="1100" dirty="0">
                <a:solidFill>
                  <a:srgbClr val="000000"/>
                </a:solidFill>
              </a:rPr>
              <a:t>Set-up the </a:t>
            </a:r>
            <a:r>
              <a:rPr lang="en-US" sz="1100" b="1" dirty="0">
                <a:solidFill>
                  <a:srgbClr val="0563BB"/>
                </a:solidFill>
              </a:rPr>
              <a:t>Integration Management Office (IMO)</a:t>
            </a:r>
            <a:endParaRPr lang="en-US" sz="1100" dirty="0">
              <a:solidFill>
                <a:srgbClr val="000000"/>
              </a:solidFill>
            </a:endParaRPr>
          </a:p>
          <a:p>
            <a:pPr marL="173037" lvl="1" indent="-171450" defTabSz="895350" eaLnBrk="0" hangingPunct="0">
              <a:spcBef>
                <a:spcPct val="25000"/>
              </a:spcBef>
              <a:buClr>
                <a:srgbClr val="002960"/>
              </a:buClr>
              <a:buSzPct val="125000"/>
              <a:buFont typeface="Wingdings" panose="05000000000000000000" pitchFamily="2" charset="2"/>
              <a:buChar char="§"/>
              <a:defRPr/>
            </a:pPr>
            <a:r>
              <a:rPr lang="en-US" altLang="en-US" sz="1100" dirty="0"/>
              <a:t>Developed </a:t>
            </a:r>
            <a:r>
              <a:rPr lang="en-US" altLang="en-US" sz="1100" b="1" dirty="0">
                <a:solidFill>
                  <a:srgbClr val="0066CC"/>
                </a:solidFill>
              </a:rPr>
              <a:t>baseline, taskforce coordination</a:t>
            </a:r>
          </a:p>
          <a:p>
            <a:pPr marL="173037" lvl="1" indent="-171450" defTabSz="895350" eaLnBrk="0" hangingPunct="0">
              <a:spcBef>
                <a:spcPct val="25000"/>
              </a:spcBef>
              <a:buClr>
                <a:srgbClr val="002960"/>
              </a:buClr>
              <a:buSzPct val="125000"/>
              <a:buFont typeface="Wingdings" panose="05000000000000000000" pitchFamily="2" charset="2"/>
              <a:buChar char="§"/>
              <a:defRPr/>
            </a:pPr>
            <a:r>
              <a:rPr lang="en-US" altLang="en-US" sz="1100" b="1" dirty="0">
                <a:solidFill>
                  <a:srgbClr val="0066CC"/>
                </a:solidFill>
              </a:rPr>
              <a:t>Post merger execution support</a:t>
            </a:r>
            <a:r>
              <a:rPr lang="en-US" altLang="en-US" sz="1100" dirty="0">
                <a:solidFill>
                  <a:srgbClr val="000000"/>
                </a:solidFill>
              </a:rPr>
              <a:t> (including Tracking tools, action plans, communication of top-down targets)</a:t>
            </a:r>
          </a:p>
        </p:txBody>
      </p:sp>
      <p:sp>
        <p:nvSpPr>
          <p:cNvPr id="27" name="Rectangle 26">
            <a:extLst>
              <a:ext uri="{FF2B5EF4-FFF2-40B4-BE49-F238E27FC236}">
                <a16:creationId xmlns:a16="http://schemas.microsoft.com/office/drawing/2014/main" id="{80C94475-524E-40A2-9791-303F4AF10CFF}"/>
              </a:ext>
            </a:extLst>
          </p:cNvPr>
          <p:cNvSpPr/>
          <p:nvPr/>
        </p:nvSpPr>
        <p:spPr>
          <a:xfrm>
            <a:off x="3523846" y="4848909"/>
            <a:ext cx="5048654" cy="642484"/>
          </a:xfrm>
          <a:prstGeom prst="rect">
            <a:avLst/>
          </a:prstGeom>
        </p:spPr>
        <p:txBody>
          <a:bodyPr wrap="square">
            <a:spAutoFit/>
          </a:bodyPr>
          <a:lstStyle/>
          <a:p>
            <a:pPr marL="173037" lvl="1" indent="-171450" defTabSz="895350" eaLnBrk="0" hangingPunct="0">
              <a:spcBef>
                <a:spcPct val="25000"/>
              </a:spcBef>
              <a:buClr>
                <a:srgbClr val="002960"/>
              </a:buClr>
              <a:buSzPct val="125000"/>
              <a:buFont typeface="Wingdings" panose="05000000000000000000" pitchFamily="2" charset="2"/>
              <a:buChar char="§"/>
              <a:defRPr/>
            </a:pPr>
            <a:r>
              <a:rPr lang="en-US" sz="1100" b="1" dirty="0">
                <a:solidFill>
                  <a:srgbClr val="0066CC"/>
                </a:solidFill>
              </a:rPr>
              <a:t>Pre-close integration support </a:t>
            </a:r>
            <a:r>
              <a:rPr lang="en-US" sz="1100" dirty="0"/>
              <a:t>(including divestment asset selection, integration planning and value capture across countries)</a:t>
            </a:r>
          </a:p>
          <a:p>
            <a:pPr marL="173037" lvl="1" indent="-171450" defTabSz="895350" eaLnBrk="0" hangingPunct="0">
              <a:spcBef>
                <a:spcPct val="25000"/>
              </a:spcBef>
              <a:buClr>
                <a:srgbClr val="002960"/>
              </a:buClr>
              <a:buSzPct val="125000"/>
              <a:buFont typeface="Wingdings" panose="05000000000000000000" pitchFamily="2" charset="2"/>
              <a:buChar char="§"/>
              <a:defRPr/>
            </a:pPr>
            <a:r>
              <a:rPr lang="en-US" sz="1100" dirty="0"/>
              <a:t>Set up the </a:t>
            </a:r>
            <a:r>
              <a:rPr lang="en-US" sz="1100" b="1" dirty="0">
                <a:solidFill>
                  <a:srgbClr val="0563BB"/>
                </a:solidFill>
              </a:rPr>
              <a:t>Integration Management Office</a:t>
            </a:r>
            <a:r>
              <a:rPr lang="en-US" sz="1100" dirty="0"/>
              <a:t>, </a:t>
            </a:r>
          </a:p>
        </p:txBody>
      </p:sp>
      <p:sp>
        <p:nvSpPr>
          <p:cNvPr id="28" name="Rectangle 27">
            <a:extLst>
              <a:ext uri="{FF2B5EF4-FFF2-40B4-BE49-F238E27FC236}">
                <a16:creationId xmlns:a16="http://schemas.microsoft.com/office/drawing/2014/main" id="{8A81EA96-A16A-4358-BE74-F74E8DEA3E6E}"/>
              </a:ext>
            </a:extLst>
          </p:cNvPr>
          <p:cNvSpPr/>
          <p:nvPr/>
        </p:nvSpPr>
        <p:spPr>
          <a:xfrm>
            <a:off x="3523846" y="2668420"/>
            <a:ext cx="4936580" cy="642484"/>
          </a:xfrm>
          <a:prstGeom prst="rect">
            <a:avLst/>
          </a:prstGeom>
        </p:spPr>
        <p:txBody>
          <a:bodyPr wrap="square">
            <a:spAutoFit/>
          </a:bodyPr>
          <a:lstStyle/>
          <a:p>
            <a:pPr marL="173037" lvl="1" indent="-171450" defTabSz="895350" eaLnBrk="0" hangingPunct="0">
              <a:spcBef>
                <a:spcPct val="25000"/>
              </a:spcBef>
              <a:buClr>
                <a:srgbClr val="002960"/>
              </a:buClr>
              <a:buSzPct val="125000"/>
              <a:buFont typeface="Wingdings" panose="05000000000000000000" pitchFamily="2" charset="2"/>
              <a:buChar char="§"/>
              <a:defRPr/>
            </a:pPr>
            <a:r>
              <a:rPr lang="en-US" sz="1100" b="1" dirty="0">
                <a:solidFill>
                  <a:srgbClr val="0563BB"/>
                </a:solidFill>
              </a:rPr>
              <a:t>Set-up the IMO </a:t>
            </a:r>
            <a:r>
              <a:rPr lang="en-US" sz="1100" dirty="0">
                <a:solidFill>
                  <a:srgbClr val="000000"/>
                </a:solidFill>
              </a:rPr>
              <a:t>with focus on organization and culture </a:t>
            </a:r>
          </a:p>
          <a:p>
            <a:pPr marL="173037" lvl="1" indent="-171450" defTabSz="895350" eaLnBrk="0" hangingPunct="0">
              <a:spcBef>
                <a:spcPct val="25000"/>
              </a:spcBef>
              <a:buClr>
                <a:srgbClr val="002960"/>
              </a:buClr>
              <a:buSzPct val="125000"/>
              <a:buFont typeface="Wingdings" panose="05000000000000000000" pitchFamily="2" charset="2"/>
              <a:buChar char="§"/>
              <a:defRPr/>
            </a:pPr>
            <a:r>
              <a:rPr lang="en-US" sz="1100" dirty="0">
                <a:solidFill>
                  <a:srgbClr val="000000"/>
                </a:solidFill>
              </a:rPr>
              <a:t>Included </a:t>
            </a:r>
            <a:r>
              <a:rPr lang="en-US" sz="1100" b="1" dirty="0">
                <a:solidFill>
                  <a:srgbClr val="0563BB"/>
                </a:solidFill>
              </a:rPr>
              <a:t>culture integration workshops</a:t>
            </a:r>
            <a:r>
              <a:rPr lang="en-US" sz="1100" dirty="0">
                <a:solidFill>
                  <a:srgbClr val="000000"/>
                </a:solidFill>
              </a:rPr>
              <a:t>, </a:t>
            </a:r>
            <a:r>
              <a:rPr lang="en-US" sz="1100" b="1" dirty="0">
                <a:solidFill>
                  <a:srgbClr val="0563BB"/>
                </a:solidFill>
              </a:rPr>
              <a:t>pulse check surveys, </a:t>
            </a:r>
            <a:r>
              <a:rPr lang="en-US" sz="1100" dirty="0">
                <a:solidFill>
                  <a:srgbClr val="000000"/>
                </a:solidFill>
              </a:rPr>
              <a:t>organization transparency exercises</a:t>
            </a:r>
          </a:p>
        </p:txBody>
      </p:sp>
      <p:cxnSp>
        <p:nvCxnSpPr>
          <p:cNvPr id="29" name="Straight Connector 28">
            <a:extLst>
              <a:ext uri="{FF2B5EF4-FFF2-40B4-BE49-F238E27FC236}">
                <a16:creationId xmlns:a16="http://schemas.microsoft.com/office/drawing/2014/main" id="{258D88EA-0296-499D-92F8-C705F139926E}"/>
              </a:ext>
            </a:extLst>
          </p:cNvPr>
          <p:cNvCxnSpPr>
            <a:cxnSpLocks/>
          </p:cNvCxnSpPr>
          <p:nvPr/>
        </p:nvCxnSpPr>
        <p:spPr>
          <a:xfrm>
            <a:off x="378093" y="2598622"/>
            <a:ext cx="8100000" cy="0"/>
          </a:xfrm>
          <a:prstGeom prst="line">
            <a:avLst/>
          </a:prstGeom>
          <a:ln>
            <a:solidFill>
              <a:schemeClr val="accent6"/>
            </a:solidFill>
            <a:prstDash val="dash"/>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235C69DD-35B4-4BC6-BA46-A19F2B535B91}"/>
              </a:ext>
            </a:extLst>
          </p:cNvPr>
          <p:cNvCxnSpPr>
            <a:cxnSpLocks/>
          </p:cNvCxnSpPr>
          <p:nvPr/>
        </p:nvCxnSpPr>
        <p:spPr>
          <a:xfrm>
            <a:off x="378093" y="3552365"/>
            <a:ext cx="8100000" cy="0"/>
          </a:xfrm>
          <a:prstGeom prst="line">
            <a:avLst/>
          </a:prstGeom>
          <a:ln>
            <a:solidFill>
              <a:schemeClr val="accent6"/>
            </a:solidFill>
            <a:prstDash val="dash"/>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0972AE6B-8AED-407D-9209-65513DA5123F}"/>
              </a:ext>
            </a:extLst>
          </p:cNvPr>
          <p:cNvCxnSpPr>
            <a:cxnSpLocks/>
          </p:cNvCxnSpPr>
          <p:nvPr/>
        </p:nvCxnSpPr>
        <p:spPr>
          <a:xfrm>
            <a:off x="378093" y="4691636"/>
            <a:ext cx="8100000" cy="0"/>
          </a:xfrm>
          <a:prstGeom prst="line">
            <a:avLst/>
          </a:prstGeom>
          <a:ln>
            <a:solidFill>
              <a:schemeClr val="accent6"/>
            </a:solidFill>
            <a:prstDash val="dash"/>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5F4E070D-13D3-40A4-A39D-3D10618D8D9C}"/>
              </a:ext>
            </a:extLst>
          </p:cNvPr>
          <p:cNvCxnSpPr>
            <a:cxnSpLocks/>
          </p:cNvCxnSpPr>
          <p:nvPr/>
        </p:nvCxnSpPr>
        <p:spPr>
          <a:xfrm>
            <a:off x="391741" y="5547114"/>
            <a:ext cx="8100000" cy="0"/>
          </a:xfrm>
          <a:prstGeom prst="line">
            <a:avLst/>
          </a:prstGeom>
          <a:ln>
            <a:solidFill>
              <a:schemeClr val="accent6"/>
            </a:solidFill>
            <a:prstDash val="dash"/>
          </a:ln>
        </p:spPr>
        <p:style>
          <a:lnRef idx="1">
            <a:schemeClr val="accent1"/>
          </a:lnRef>
          <a:fillRef idx="0">
            <a:schemeClr val="accent1"/>
          </a:fillRef>
          <a:effectRef idx="0">
            <a:schemeClr val="accent1"/>
          </a:effectRef>
          <a:fontRef idx="minor">
            <a:schemeClr val="tx1"/>
          </a:fontRef>
        </p:style>
      </p:cxnSp>
      <p:sp>
        <p:nvSpPr>
          <p:cNvPr id="33" name="Rectangle 32">
            <a:extLst>
              <a:ext uri="{FF2B5EF4-FFF2-40B4-BE49-F238E27FC236}">
                <a16:creationId xmlns:a16="http://schemas.microsoft.com/office/drawing/2014/main" id="{99CC88E2-B2F6-43C3-9A0A-AAFEF05B746E}"/>
              </a:ext>
            </a:extLst>
          </p:cNvPr>
          <p:cNvSpPr/>
          <p:nvPr/>
        </p:nvSpPr>
        <p:spPr>
          <a:xfrm>
            <a:off x="3523846" y="3654257"/>
            <a:ext cx="4936580" cy="1023357"/>
          </a:xfrm>
          <a:prstGeom prst="rect">
            <a:avLst/>
          </a:prstGeom>
        </p:spPr>
        <p:txBody>
          <a:bodyPr wrap="square">
            <a:spAutoFit/>
          </a:bodyPr>
          <a:lstStyle/>
          <a:p>
            <a:pPr marL="173037" lvl="1" indent="-171450" defTabSz="895350" eaLnBrk="0" hangingPunct="0">
              <a:spcBef>
                <a:spcPct val="25000"/>
              </a:spcBef>
              <a:buClr>
                <a:srgbClr val="002960"/>
              </a:buClr>
              <a:buSzPct val="125000"/>
              <a:buFont typeface="Wingdings" panose="05000000000000000000" pitchFamily="2" charset="2"/>
              <a:buChar char="§"/>
              <a:defRPr/>
            </a:pPr>
            <a:r>
              <a:rPr lang="en-US" sz="1100" dirty="0">
                <a:solidFill>
                  <a:srgbClr val="000000"/>
                </a:solidFill>
              </a:rPr>
              <a:t>Set-up the </a:t>
            </a:r>
            <a:r>
              <a:rPr lang="en-US" sz="1100" b="1" dirty="0">
                <a:solidFill>
                  <a:schemeClr val="accent3"/>
                </a:solidFill>
              </a:rPr>
              <a:t>Project Management Office (PMO), IMO, and </a:t>
            </a:r>
            <a:r>
              <a:rPr lang="en-US" sz="1100" b="1" dirty="0">
                <a:solidFill>
                  <a:srgbClr val="0563BB"/>
                </a:solidFill>
              </a:rPr>
              <a:t>working groups </a:t>
            </a:r>
          </a:p>
          <a:p>
            <a:pPr marL="173037" lvl="1" indent="-171450" defTabSz="895350" eaLnBrk="0" hangingPunct="0">
              <a:spcBef>
                <a:spcPct val="25000"/>
              </a:spcBef>
              <a:buClr>
                <a:srgbClr val="002960"/>
              </a:buClr>
              <a:buSzPct val="125000"/>
              <a:buFont typeface="Wingdings" panose="05000000000000000000" pitchFamily="2" charset="2"/>
              <a:buChar char="§"/>
              <a:defRPr/>
            </a:pPr>
            <a:r>
              <a:rPr lang="en-US" sz="1100" b="1" dirty="0">
                <a:solidFill>
                  <a:srgbClr val="0563BB"/>
                </a:solidFill>
              </a:rPr>
              <a:t>Master plan </a:t>
            </a:r>
            <a:r>
              <a:rPr lang="en-US" sz="1100" dirty="0">
                <a:solidFill>
                  <a:srgbClr val="000000"/>
                </a:solidFill>
              </a:rPr>
              <a:t>prepared pre-Day 0</a:t>
            </a:r>
          </a:p>
          <a:p>
            <a:pPr marL="173037" lvl="1" indent="-171450" defTabSz="895350" eaLnBrk="0" hangingPunct="0">
              <a:spcBef>
                <a:spcPct val="25000"/>
              </a:spcBef>
              <a:buClr>
                <a:srgbClr val="002960"/>
              </a:buClr>
              <a:buSzPct val="125000"/>
              <a:buFont typeface="Wingdings" panose="05000000000000000000" pitchFamily="2" charset="2"/>
              <a:buChar char="§"/>
              <a:defRPr/>
            </a:pPr>
            <a:r>
              <a:rPr lang="en-US" sz="1100" dirty="0">
                <a:solidFill>
                  <a:srgbClr val="000000"/>
                </a:solidFill>
              </a:rPr>
              <a:t>Designed the </a:t>
            </a:r>
            <a:r>
              <a:rPr lang="en-US" sz="1100" b="1" dirty="0">
                <a:solidFill>
                  <a:srgbClr val="0066CC"/>
                </a:solidFill>
              </a:rPr>
              <a:t>end-state organization design</a:t>
            </a:r>
            <a:r>
              <a:rPr lang="en-US" sz="1100" dirty="0">
                <a:solidFill>
                  <a:srgbClr val="000000"/>
                </a:solidFill>
              </a:rPr>
              <a:t>, cultural integration, and value capture</a:t>
            </a:r>
          </a:p>
        </p:txBody>
      </p:sp>
      <p:sp>
        <p:nvSpPr>
          <p:cNvPr id="34" name="Rectangle 33">
            <a:extLst>
              <a:ext uri="{FF2B5EF4-FFF2-40B4-BE49-F238E27FC236}">
                <a16:creationId xmlns:a16="http://schemas.microsoft.com/office/drawing/2014/main" id="{C281C202-2D2A-4A6E-9FB7-C3DD26B7430D}"/>
              </a:ext>
            </a:extLst>
          </p:cNvPr>
          <p:cNvSpPr/>
          <p:nvPr/>
        </p:nvSpPr>
        <p:spPr>
          <a:xfrm>
            <a:off x="3523846" y="5614076"/>
            <a:ext cx="4936580" cy="642484"/>
          </a:xfrm>
          <a:prstGeom prst="rect">
            <a:avLst/>
          </a:prstGeom>
        </p:spPr>
        <p:txBody>
          <a:bodyPr wrap="square">
            <a:spAutoFit/>
          </a:bodyPr>
          <a:lstStyle/>
          <a:p>
            <a:pPr marL="173037" lvl="1" indent="-171450" defTabSz="895350" eaLnBrk="0" hangingPunct="0">
              <a:spcBef>
                <a:spcPct val="25000"/>
              </a:spcBef>
              <a:buClr>
                <a:srgbClr val="002960"/>
              </a:buClr>
              <a:buSzPct val="125000"/>
              <a:buFont typeface="Wingdings" panose="05000000000000000000" pitchFamily="2" charset="2"/>
              <a:buChar char="§"/>
              <a:defRPr/>
            </a:pPr>
            <a:r>
              <a:rPr lang="en-US" sz="1100" dirty="0"/>
              <a:t>Engaged right </a:t>
            </a:r>
            <a:r>
              <a:rPr lang="en-US" sz="1100" b="1" dirty="0">
                <a:solidFill>
                  <a:srgbClr val="0066CC"/>
                </a:solidFill>
              </a:rPr>
              <a:t>after the announcement</a:t>
            </a:r>
            <a:r>
              <a:rPr lang="en-US" sz="1100" dirty="0"/>
              <a:t> for a period of 9 months </a:t>
            </a:r>
          </a:p>
          <a:p>
            <a:pPr marL="173037" lvl="1" indent="-171450" defTabSz="895350" eaLnBrk="0" hangingPunct="0">
              <a:spcBef>
                <a:spcPct val="25000"/>
              </a:spcBef>
              <a:buClr>
                <a:srgbClr val="002960"/>
              </a:buClr>
              <a:buSzPct val="125000"/>
              <a:buFont typeface="Wingdings" panose="05000000000000000000" pitchFamily="2" charset="2"/>
              <a:buChar char="§"/>
              <a:defRPr/>
            </a:pPr>
            <a:r>
              <a:rPr lang="en-US" altLang="en-US" sz="1100" dirty="0"/>
              <a:t>Support included </a:t>
            </a:r>
            <a:r>
              <a:rPr lang="en-US" altLang="en-US" sz="1100" b="1" dirty="0">
                <a:solidFill>
                  <a:srgbClr val="0066CC"/>
                </a:solidFill>
              </a:rPr>
              <a:t>corporate design, </a:t>
            </a:r>
            <a:r>
              <a:rPr lang="en-US" altLang="en-US" sz="1100" dirty="0"/>
              <a:t>set up the </a:t>
            </a:r>
            <a:r>
              <a:rPr lang="en-US" altLang="en-US" sz="1100" b="1" dirty="0">
                <a:solidFill>
                  <a:srgbClr val="0066CC"/>
                </a:solidFill>
              </a:rPr>
              <a:t>IMO, and workstreams across all 7 regions</a:t>
            </a:r>
          </a:p>
        </p:txBody>
      </p:sp>
      <p:sp>
        <p:nvSpPr>
          <p:cNvPr id="3" name="TextBox 2">
            <a:extLst>
              <a:ext uri="{FF2B5EF4-FFF2-40B4-BE49-F238E27FC236}">
                <a16:creationId xmlns:a16="http://schemas.microsoft.com/office/drawing/2014/main" id="{493DA5A9-5033-4089-A067-B368B1CFC04F}"/>
              </a:ext>
            </a:extLst>
          </p:cNvPr>
          <p:cNvSpPr txBox="1"/>
          <p:nvPr/>
        </p:nvSpPr>
        <p:spPr>
          <a:xfrm>
            <a:off x="1508571" y="4397674"/>
            <a:ext cx="1376361" cy="169277"/>
          </a:xfrm>
          <a:prstGeom prst="rect">
            <a:avLst/>
          </a:prstGeom>
        </p:spPr>
        <p:txBody>
          <a:bodyPr vert="horz" wrap="square" lIns="0" tIns="0" rIns="0" bIns="0" rtlCol="0">
            <a:sp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GB" sz="1100" dirty="0"/>
              <a:t>India</a:t>
            </a:r>
          </a:p>
        </p:txBody>
      </p:sp>
      <p:sp>
        <p:nvSpPr>
          <p:cNvPr id="38" name="TextBox 37">
            <a:extLst>
              <a:ext uri="{FF2B5EF4-FFF2-40B4-BE49-F238E27FC236}">
                <a16:creationId xmlns:a16="http://schemas.microsoft.com/office/drawing/2014/main" id="{6B9B9629-3FB1-4C41-9716-5150A0166B8C}"/>
              </a:ext>
            </a:extLst>
          </p:cNvPr>
          <p:cNvSpPr txBox="1"/>
          <p:nvPr/>
        </p:nvSpPr>
        <p:spPr>
          <a:xfrm>
            <a:off x="1508570" y="3298342"/>
            <a:ext cx="1376361" cy="169277"/>
          </a:xfrm>
          <a:prstGeom prst="rect">
            <a:avLst/>
          </a:prstGeom>
        </p:spPr>
        <p:txBody>
          <a:bodyPr vert="horz" wrap="square" lIns="0" tIns="0" rIns="0" bIns="0" rtlCol="0">
            <a:sp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GB" sz="1100" dirty="0"/>
              <a:t>India</a:t>
            </a:r>
          </a:p>
        </p:txBody>
      </p:sp>
      <p:pic>
        <p:nvPicPr>
          <p:cNvPr id="41" name="Picture 25" descr="http://upload.wikimedia.org/wikipedia/en/4/48/Arcelor_logo.png">
            <a:extLst>
              <a:ext uri="{FF2B5EF4-FFF2-40B4-BE49-F238E27FC236}">
                <a16:creationId xmlns:a16="http://schemas.microsoft.com/office/drawing/2014/main" id="{3E8296FD-3C97-4E49-A5B4-83BE6CAD0CB0}"/>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378093" y="1041056"/>
            <a:ext cx="1406341" cy="388152"/>
          </a:xfrm>
          <a:prstGeom prst="rect">
            <a:avLst/>
          </a:prstGeom>
          <a:noFill/>
          <a:extLst>
            <a:ext uri="{909E8E84-426E-40DD-AFC4-6F175D3DCCD1}">
              <a14:hiddenFill xmlns:a14="http://schemas.microsoft.com/office/drawing/2010/main">
                <a:solidFill>
                  <a:srgbClr val="FFFFFF"/>
                </a:solidFill>
              </a14:hiddenFill>
            </a:ext>
          </a:extLst>
        </p:spPr>
      </p:pic>
      <p:cxnSp>
        <p:nvCxnSpPr>
          <p:cNvPr id="42" name="Straight Connector 41">
            <a:extLst>
              <a:ext uri="{FF2B5EF4-FFF2-40B4-BE49-F238E27FC236}">
                <a16:creationId xmlns:a16="http://schemas.microsoft.com/office/drawing/2014/main" id="{61EE2F72-AA99-4319-9BF3-606D785B7483}"/>
              </a:ext>
            </a:extLst>
          </p:cNvPr>
          <p:cNvCxnSpPr>
            <a:cxnSpLocks/>
          </p:cNvCxnSpPr>
          <p:nvPr/>
        </p:nvCxnSpPr>
        <p:spPr>
          <a:xfrm>
            <a:off x="378093" y="1698967"/>
            <a:ext cx="8100000" cy="0"/>
          </a:xfrm>
          <a:prstGeom prst="line">
            <a:avLst/>
          </a:prstGeom>
          <a:ln>
            <a:solidFill>
              <a:schemeClr val="accent6"/>
            </a:solidFill>
            <a:prstDash val="dash"/>
          </a:ln>
        </p:spPr>
        <p:style>
          <a:lnRef idx="1">
            <a:schemeClr val="accent1"/>
          </a:lnRef>
          <a:fillRef idx="0">
            <a:schemeClr val="accent1"/>
          </a:fillRef>
          <a:effectRef idx="0">
            <a:schemeClr val="accent1"/>
          </a:effectRef>
          <a:fontRef idx="minor">
            <a:schemeClr val="tx1"/>
          </a:fontRef>
        </p:style>
      </p:cxnSp>
      <p:sp>
        <p:nvSpPr>
          <p:cNvPr id="44" name="Rectangle 43">
            <a:extLst>
              <a:ext uri="{FF2B5EF4-FFF2-40B4-BE49-F238E27FC236}">
                <a16:creationId xmlns:a16="http://schemas.microsoft.com/office/drawing/2014/main" id="{2C249DEE-9626-4549-B16E-2BA4755E8B88}"/>
              </a:ext>
            </a:extLst>
          </p:cNvPr>
          <p:cNvSpPr/>
          <p:nvPr/>
        </p:nvSpPr>
        <p:spPr>
          <a:xfrm>
            <a:off x="3523846" y="1015020"/>
            <a:ext cx="4936580" cy="642484"/>
          </a:xfrm>
          <a:prstGeom prst="rect">
            <a:avLst/>
          </a:prstGeom>
        </p:spPr>
        <p:txBody>
          <a:bodyPr wrap="square">
            <a:spAutoFit/>
          </a:bodyPr>
          <a:lstStyle/>
          <a:p>
            <a:pPr marL="173037" lvl="1" indent="-171450" defTabSz="895350" eaLnBrk="0" hangingPunct="0">
              <a:spcBef>
                <a:spcPct val="25000"/>
              </a:spcBef>
              <a:buClr>
                <a:srgbClr val="002960"/>
              </a:buClr>
              <a:buSzPct val="125000"/>
              <a:buFont typeface="Wingdings" panose="05000000000000000000" pitchFamily="2" charset="2"/>
              <a:buChar char="§"/>
              <a:defRPr/>
            </a:pPr>
            <a:r>
              <a:rPr lang="en-US" sz="1100" dirty="0">
                <a:solidFill>
                  <a:srgbClr val="000000"/>
                </a:solidFill>
              </a:rPr>
              <a:t>Set-up the </a:t>
            </a:r>
            <a:r>
              <a:rPr lang="en-US" sz="1100" b="1" dirty="0">
                <a:solidFill>
                  <a:srgbClr val="0563BB"/>
                </a:solidFill>
              </a:rPr>
              <a:t>Integration Management Office (IMO)</a:t>
            </a:r>
          </a:p>
          <a:p>
            <a:pPr marL="173037" lvl="1" indent="-171450" defTabSz="895350" eaLnBrk="0" hangingPunct="0">
              <a:spcBef>
                <a:spcPct val="25000"/>
              </a:spcBef>
              <a:buClr>
                <a:srgbClr val="002960"/>
              </a:buClr>
              <a:buSzPct val="125000"/>
              <a:buFont typeface="Wingdings" panose="05000000000000000000" pitchFamily="2" charset="2"/>
              <a:buChar char="§"/>
              <a:defRPr/>
            </a:pPr>
            <a:r>
              <a:rPr lang="en-US" altLang="en-US" sz="1100" b="1" dirty="0">
                <a:solidFill>
                  <a:srgbClr val="0066CC"/>
                </a:solidFill>
              </a:rPr>
              <a:t>Post merger execution support</a:t>
            </a:r>
            <a:r>
              <a:rPr lang="en-US" altLang="en-US" sz="1100" dirty="0">
                <a:solidFill>
                  <a:srgbClr val="000000"/>
                </a:solidFill>
              </a:rPr>
              <a:t> (including Tracking tools, action plans, communication of top-down targets)</a:t>
            </a:r>
          </a:p>
        </p:txBody>
      </p:sp>
    </p:spTree>
    <p:custDataLst>
      <p:tags r:id="rId2"/>
    </p:custDataLst>
    <p:extLst>
      <p:ext uri="{BB962C8B-B14F-4D97-AF65-F5344CB8AC3E}">
        <p14:creationId xmlns:p14="http://schemas.microsoft.com/office/powerpoint/2010/main" val="24108817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7677" name="Object 29" hidden="1"/>
          <p:cNvGraphicFramePr>
            <a:graphicFrameLocks/>
          </p:cNvGraphicFramePr>
          <p:nvPr>
            <p:custDataLst>
              <p:tags r:id="rId2"/>
            </p:custDataLst>
            <p:extLst/>
          </p:nvPr>
        </p:nvGraphicFramePr>
        <p:xfrm>
          <a:off x="1120329" y="840296"/>
          <a:ext cx="119057" cy="119057"/>
        </p:xfrm>
        <a:graphic>
          <a:graphicData uri="http://schemas.openxmlformats.org/presentationml/2006/ole">
            <mc:AlternateContent xmlns:mc="http://schemas.openxmlformats.org/markup-compatibility/2006">
              <mc:Choice xmlns:v="urn:schemas-microsoft-com:vml" Requires="v">
                <p:oleObj spid="_x0000_s302100" name="think-cell Slide" r:id="rId6" imgW="360" imgH="360" progId="TCLayout.ActiveDocument.1">
                  <p:embed/>
                </p:oleObj>
              </mc:Choice>
              <mc:Fallback>
                <p:oleObj name="think-cell Slide" r:id="rId6" imgW="360" imgH="360" progId="TCLayout.ActiveDocument.1">
                  <p:embed/>
                  <p:pic>
                    <p:nvPicPr>
                      <p:cNvPr id="27677" name="Object 29"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120329" y="840296"/>
                        <a:ext cx="119057" cy="11905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7680" name="Title 1"/>
          <p:cNvSpPr>
            <a:spLocks noGrp="1"/>
          </p:cNvSpPr>
          <p:nvPr>
            <p:ph type="title"/>
            <p:custDataLst>
              <p:tags r:id="rId3"/>
            </p:custDataLst>
          </p:nvPr>
        </p:nvSpPr>
        <p:spPr>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r>
              <a:rPr lang="en-US" dirty="0"/>
              <a:t>McKinsey RTS – We do performance partnerships to accelerate turnaround of companies</a:t>
            </a:r>
          </a:p>
        </p:txBody>
      </p:sp>
      <p:sp>
        <p:nvSpPr>
          <p:cNvPr id="51" name="Rectangle 50">
            <a:extLst>
              <a:ext uri="{FF2B5EF4-FFF2-40B4-BE49-F238E27FC236}">
                <a16:creationId xmlns:a16="http://schemas.microsoft.com/office/drawing/2014/main" id="{E49202A0-7CBC-4074-B894-2EB995CA8E29}"/>
              </a:ext>
            </a:extLst>
          </p:cNvPr>
          <p:cNvSpPr>
            <a:spLocks/>
          </p:cNvSpPr>
          <p:nvPr/>
        </p:nvSpPr>
        <p:spPr>
          <a:xfrm>
            <a:off x="119062" y="1000125"/>
            <a:ext cx="8618537" cy="5385307"/>
          </a:xfrm>
          <a:prstGeom prst="rect">
            <a:avLst/>
          </a:prstGeom>
          <a:solidFill>
            <a:schemeClr val="bg1"/>
          </a:solidFill>
          <a:ln w="190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32" name="TextBox 31">
            <a:extLst>
              <a:ext uri="{FF2B5EF4-FFF2-40B4-BE49-F238E27FC236}">
                <a16:creationId xmlns:a16="http://schemas.microsoft.com/office/drawing/2014/main" id="{7C6BDF3E-793A-43C8-8227-777E20BD25B7}"/>
              </a:ext>
            </a:extLst>
          </p:cNvPr>
          <p:cNvSpPr txBox="1">
            <a:spLocks/>
          </p:cNvSpPr>
          <p:nvPr/>
        </p:nvSpPr>
        <p:spPr>
          <a:xfrm>
            <a:off x="218019" y="1079315"/>
            <a:ext cx="8397343" cy="992706"/>
          </a:xfrm>
          <a:prstGeom prst="rect">
            <a:avLst/>
          </a:prstGeom>
        </p:spPr>
        <p:txBody>
          <a:bodyPr vert="horz" wrap="square" lIns="0" tIns="0" rIns="0" bIns="0" rtlCol="0" anchor="t" anchorCtr="0">
            <a:no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sz="1600" dirty="0"/>
              <a:t>McKinsey RTS is a special unit of McKinsey, founded in 2010 by leadership of our Private Equity Practice in order to bring </a:t>
            </a:r>
            <a:r>
              <a:rPr lang="en-US" sz="1600" b="1" dirty="0">
                <a:solidFill>
                  <a:schemeClr val="accent4"/>
                </a:solidFill>
              </a:rPr>
              <a:t>rapid performance improvements companies.</a:t>
            </a:r>
          </a:p>
        </p:txBody>
      </p:sp>
      <p:cxnSp>
        <p:nvCxnSpPr>
          <p:cNvPr id="61" name="Straight Connector 60">
            <a:extLst>
              <a:ext uri="{FF2B5EF4-FFF2-40B4-BE49-F238E27FC236}">
                <a16:creationId xmlns:a16="http://schemas.microsoft.com/office/drawing/2014/main" id="{549EA191-B431-4851-8552-25933466E545}"/>
              </a:ext>
            </a:extLst>
          </p:cNvPr>
          <p:cNvCxnSpPr>
            <a:cxnSpLocks/>
          </p:cNvCxnSpPr>
          <p:nvPr/>
        </p:nvCxnSpPr>
        <p:spPr>
          <a:xfrm>
            <a:off x="344584" y="2761830"/>
            <a:ext cx="6404936" cy="0"/>
          </a:xfrm>
          <a:prstGeom prst="line">
            <a:avLst/>
          </a:prstGeom>
          <a:ln>
            <a:solidFill>
              <a:schemeClr val="accent6"/>
            </a:solidFill>
            <a:prstDash val="sysDot"/>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74056B00-DF05-45CB-9D1E-4C95FE0C0347}"/>
              </a:ext>
            </a:extLst>
          </p:cNvPr>
          <p:cNvCxnSpPr>
            <a:cxnSpLocks/>
          </p:cNvCxnSpPr>
          <p:nvPr/>
        </p:nvCxnSpPr>
        <p:spPr>
          <a:xfrm>
            <a:off x="344584" y="3604463"/>
            <a:ext cx="6404936" cy="0"/>
          </a:xfrm>
          <a:prstGeom prst="line">
            <a:avLst/>
          </a:prstGeom>
          <a:ln>
            <a:solidFill>
              <a:schemeClr val="accent6"/>
            </a:solidFill>
            <a:prstDash val="sysDot"/>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8084B038-D410-4BFD-A335-1B6E7348AF30}"/>
              </a:ext>
            </a:extLst>
          </p:cNvPr>
          <p:cNvCxnSpPr>
            <a:cxnSpLocks/>
          </p:cNvCxnSpPr>
          <p:nvPr/>
        </p:nvCxnSpPr>
        <p:spPr>
          <a:xfrm>
            <a:off x="344584" y="4447095"/>
            <a:ext cx="6404936" cy="0"/>
          </a:xfrm>
          <a:prstGeom prst="line">
            <a:avLst/>
          </a:prstGeom>
          <a:ln>
            <a:solidFill>
              <a:schemeClr val="accent6"/>
            </a:solidFill>
            <a:prstDash val="sysDot"/>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323B037F-1A73-47B1-A6E7-B3E38F092586}"/>
              </a:ext>
            </a:extLst>
          </p:cNvPr>
          <p:cNvCxnSpPr>
            <a:cxnSpLocks/>
          </p:cNvCxnSpPr>
          <p:nvPr/>
        </p:nvCxnSpPr>
        <p:spPr>
          <a:xfrm>
            <a:off x="344584" y="5289728"/>
            <a:ext cx="6404936" cy="0"/>
          </a:xfrm>
          <a:prstGeom prst="line">
            <a:avLst/>
          </a:prstGeom>
          <a:ln>
            <a:solidFill>
              <a:schemeClr val="accent6"/>
            </a:solidFill>
            <a:prstDash val="sysDot"/>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2BA7A84F-2974-4D04-BA11-C7C553FF5775}"/>
              </a:ext>
            </a:extLst>
          </p:cNvPr>
          <p:cNvSpPr txBox="1">
            <a:spLocks/>
          </p:cNvSpPr>
          <p:nvPr/>
        </p:nvSpPr>
        <p:spPr>
          <a:xfrm>
            <a:off x="1224069" y="2806323"/>
            <a:ext cx="7391293" cy="744530"/>
          </a:xfrm>
          <a:prstGeom prst="rect">
            <a:avLst/>
          </a:prstGeom>
        </p:spPr>
        <p:txBody>
          <a:bodyPr vert="horz" wrap="square" lIns="0" tIns="0" rIns="0" bIns="0" rtlCol="0" anchor="t" anchorCtr="0">
            <a:no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sz="1600" b="1" dirty="0">
                <a:solidFill>
                  <a:schemeClr val="accent4"/>
                </a:solidFill>
              </a:rPr>
              <a:t>Different kinds of professionals. </a:t>
            </a:r>
            <a:r>
              <a:rPr lang="en-US" sz="1600" dirty="0"/>
              <a:t>We are specialists in transformation, not “smart generalists”; we bring the experience of multiple transformation journeys</a:t>
            </a:r>
          </a:p>
        </p:txBody>
      </p:sp>
      <p:sp>
        <p:nvSpPr>
          <p:cNvPr id="12" name="TextBox 11">
            <a:extLst>
              <a:ext uri="{FF2B5EF4-FFF2-40B4-BE49-F238E27FC236}">
                <a16:creationId xmlns:a16="http://schemas.microsoft.com/office/drawing/2014/main" id="{57E9E1DD-E122-4EFD-A66B-F7F9BD2F084E}"/>
              </a:ext>
            </a:extLst>
          </p:cNvPr>
          <p:cNvSpPr txBox="1">
            <a:spLocks/>
          </p:cNvSpPr>
          <p:nvPr/>
        </p:nvSpPr>
        <p:spPr>
          <a:xfrm>
            <a:off x="1224069" y="1963689"/>
            <a:ext cx="7391293" cy="744530"/>
          </a:xfrm>
          <a:prstGeom prst="rect">
            <a:avLst/>
          </a:prstGeom>
        </p:spPr>
        <p:txBody>
          <a:bodyPr vert="horz" wrap="square" lIns="0" tIns="0" rIns="0" bIns="0" rtlCol="0" anchor="t" anchorCtr="0">
            <a:no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sz="1600" b="1" dirty="0">
                <a:solidFill>
                  <a:schemeClr val="accent4"/>
                </a:solidFill>
              </a:rPr>
              <a:t>Holistic programs. </a:t>
            </a:r>
            <a:r>
              <a:rPr lang="en-US" sz="1600" dirty="0"/>
              <a:t>Not a single lever and not just “cost cutting”. Our focus is driving organizational change (including recruitment) and sustainable performance improvement</a:t>
            </a:r>
          </a:p>
        </p:txBody>
      </p:sp>
      <p:sp>
        <p:nvSpPr>
          <p:cNvPr id="20" name="TextBox 19">
            <a:extLst>
              <a:ext uri="{FF2B5EF4-FFF2-40B4-BE49-F238E27FC236}">
                <a16:creationId xmlns:a16="http://schemas.microsoft.com/office/drawing/2014/main" id="{735B3A2F-0FB5-4867-A2D6-9F8E75A58170}"/>
              </a:ext>
            </a:extLst>
          </p:cNvPr>
          <p:cNvSpPr txBox="1">
            <a:spLocks/>
          </p:cNvSpPr>
          <p:nvPr/>
        </p:nvSpPr>
        <p:spPr>
          <a:xfrm>
            <a:off x="1224069" y="3648955"/>
            <a:ext cx="7391293" cy="744530"/>
          </a:xfrm>
          <a:prstGeom prst="rect">
            <a:avLst/>
          </a:prstGeom>
        </p:spPr>
        <p:txBody>
          <a:bodyPr vert="horz" wrap="square" lIns="0" tIns="0" rIns="0" bIns="0" rtlCol="0" anchor="t" anchorCtr="0">
            <a:no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sz="1600" b="1" dirty="0">
                <a:solidFill>
                  <a:schemeClr val="accent4"/>
                </a:solidFill>
              </a:rPr>
              <a:t>Proven formula.  </a:t>
            </a:r>
            <a:r>
              <a:rPr lang="en-US" sz="1600" dirty="0"/>
              <a:t>Approach has been used successfully across geographies and industries to drive sustainable, step change improvements in performance</a:t>
            </a:r>
          </a:p>
        </p:txBody>
      </p:sp>
      <p:sp>
        <p:nvSpPr>
          <p:cNvPr id="23" name="TextBox 22">
            <a:extLst>
              <a:ext uri="{FF2B5EF4-FFF2-40B4-BE49-F238E27FC236}">
                <a16:creationId xmlns:a16="http://schemas.microsoft.com/office/drawing/2014/main" id="{D24BC1E2-047C-482F-BC5B-FAE0C1C24816}"/>
              </a:ext>
            </a:extLst>
          </p:cNvPr>
          <p:cNvSpPr txBox="1">
            <a:spLocks/>
          </p:cNvSpPr>
          <p:nvPr/>
        </p:nvSpPr>
        <p:spPr>
          <a:xfrm>
            <a:off x="1224069" y="4491589"/>
            <a:ext cx="7391293" cy="744530"/>
          </a:xfrm>
          <a:prstGeom prst="rect">
            <a:avLst/>
          </a:prstGeom>
        </p:spPr>
        <p:txBody>
          <a:bodyPr vert="horz" wrap="square" lIns="0" tIns="0" rIns="0" bIns="0" rtlCol="0" anchor="t" anchorCtr="0">
            <a:no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sz="1600" b="1" dirty="0">
                <a:solidFill>
                  <a:schemeClr val="accent4"/>
                </a:solidFill>
              </a:rPr>
              <a:t>Emphasis on building an execution engine.  </a:t>
            </a:r>
            <a:r>
              <a:rPr lang="en-US" sz="1600" dirty="0"/>
              <a:t>The real impact of RTS is felt after the transformation, when the company inherits an engine capable of execution in the future</a:t>
            </a:r>
          </a:p>
        </p:txBody>
      </p:sp>
      <p:sp>
        <p:nvSpPr>
          <p:cNvPr id="25" name="TextBox 24">
            <a:extLst>
              <a:ext uri="{FF2B5EF4-FFF2-40B4-BE49-F238E27FC236}">
                <a16:creationId xmlns:a16="http://schemas.microsoft.com/office/drawing/2014/main" id="{6BEB8858-CB55-456D-BE63-ABF33C3865DA}"/>
              </a:ext>
            </a:extLst>
          </p:cNvPr>
          <p:cNvSpPr txBox="1">
            <a:spLocks/>
          </p:cNvSpPr>
          <p:nvPr/>
        </p:nvSpPr>
        <p:spPr>
          <a:xfrm>
            <a:off x="1224069" y="5334223"/>
            <a:ext cx="7391293" cy="744530"/>
          </a:xfrm>
          <a:prstGeom prst="rect">
            <a:avLst/>
          </a:prstGeom>
        </p:spPr>
        <p:txBody>
          <a:bodyPr vert="horz" wrap="square" lIns="0" tIns="0" rIns="0" bIns="0" rtlCol="0" anchor="t" anchorCtr="0">
            <a:no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sz="1600" b="1" dirty="0">
                <a:solidFill>
                  <a:schemeClr val="accent4"/>
                </a:solidFill>
              </a:rPr>
              <a:t>Put our money where our mouth is.  </a:t>
            </a:r>
            <a:r>
              <a:rPr lang="en-US" sz="1600" dirty="0"/>
              <a:t>RTS uses flexible fee structures, including performance-linked compensation arrangements</a:t>
            </a:r>
          </a:p>
        </p:txBody>
      </p:sp>
      <p:sp>
        <p:nvSpPr>
          <p:cNvPr id="71" name="Rectangle 70">
            <a:extLst>
              <a:ext uri="{FF2B5EF4-FFF2-40B4-BE49-F238E27FC236}">
                <a16:creationId xmlns:a16="http://schemas.microsoft.com/office/drawing/2014/main" id="{9058FE38-D40D-48F5-B578-11D5DF66B70D}"/>
              </a:ext>
            </a:extLst>
          </p:cNvPr>
          <p:cNvSpPr>
            <a:spLocks/>
          </p:cNvSpPr>
          <p:nvPr/>
        </p:nvSpPr>
        <p:spPr>
          <a:xfrm>
            <a:off x="344584" y="1963689"/>
            <a:ext cx="802606" cy="753650"/>
          </a:xfrm>
          <a:prstGeom prst="rect">
            <a:avLst/>
          </a:prstGeom>
          <a:solidFill>
            <a:schemeClr val="accent2"/>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err="1">
              <a:solidFill>
                <a:schemeClr val="tx1"/>
              </a:solidFill>
            </a:endParaRPr>
          </a:p>
        </p:txBody>
      </p:sp>
      <p:sp>
        <p:nvSpPr>
          <p:cNvPr id="72" name="Rectangle 71">
            <a:extLst>
              <a:ext uri="{FF2B5EF4-FFF2-40B4-BE49-F238E27FC236}">
                <a16:creationId xmlns:a16="http://schemas.microsoft.com/office/drawing/2014/main" id="{BF432EA6-3AB8-40CC-8DF4-CA9CB4084F14}"/>
              </a:ext>
            </a:extLst>
          </p:cNvPr>
          <p:cNvSpPr>
            <a:spLocks/>
          </p:cNvSpPr>
          <p:nvPr/>
        </p:nvSpPr>
        <p:spPr>
          <a:xfrm>
            <a:off x="344584" y="2806322"/>
            <a:ext cx="802606" cy="753650"/>
          </a:xfrm>
          <a:prstGeom prst="rect">
            <a:avLst/>
          </a:prstGeom>
          <a:solidFill>
            <a:schemeClr val="accent2"/>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err="1">
              <a:solidFill>
                <a:schemeClr val="tx1"/>
              </a:solidFill>
            </a:endParaRPr>
          </a:p>
        </p:txBody>
      </p:sp>
      <p:sp>
        <p:nvSpPr>
          <p:cNvPr id="74" name="Rectangle 73">
            <a:extLst>
              <a:ext uri="{FF2B5EF4-FFF2-40B4-BE49-F238E27FC236}">
                <a16:creationId xmlns:a16="http://schemas.microsoft.com/office/drawing/2014/main" id="{4593FB93-4A1F-45D2-8A4B-000135623831}"/>
              </a:ext>
            </a:extLst>
          </p:cNvPr>
          <p:cNvSpPr>
            <a:spLocks/>
          </p:cNvSpPr>
          <p:nvPr/>
        </p:nvSpPr>
        <p:spPr>
          <a:xfrm>
            <a:off x="344584" y="3648954"/>
            <a:ext cx="802606" cy="753650"/>
          </a:xfrm>
          <a:prstGeom prst="rect">
            <a:avLst/>
          </a:prstGeom>
          <a:solidFill>
            <a:schemeClr val="accent2"/>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err="1">
              <a:solidFill>
                <a:schemeClr val="tx1"/>
              </a:solidFill>
            </a:endParaRPr>
          </a:p>
        </p:txBody>
      </p:sp>
      <p:sp>
        <p:nvSpPr>
          <p:cNvPr id="75" name="Rectangle 74">
            <a:extLst>
              <a:ext uri="{FF2B5EF4-FFF2-40B4-BE49-F238E27FC236}">
                <a16:creationId xmlns:a16="http://schemas.microsoft.com/office/drawing/2014/main" id="{7695D21E-1030-43B6-9125-E4D181035CDD}"/>
              </a:ext>
            </a:extLst>
          </p:cNvPr>
          <p:cNvSpPr>
            <a:spLocks/>
          </p:cNvSpPr>
          <p:nvPr/>
        </p:nvSpPr>
        <p:spPr>
          <a:xfrm>
            <a:off x="344584" y="4491587"/>
            <a:ext cx="802606" cy="753650"/>
          </a:xfrm>
          <a:prstGeom prst="rect">
            <a:avLst/>
          </a:prstGeom>
          <a:solidFill>
            <a:schemeClr val="accent2"/>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err="1">
              <a:solidFill>
                <a:schemeClr val="tx1"/>
              </a:solidFill>
            </a:endParaRPr>
          </a:p>
        </p:txBody>
      </p:sp>
      <p:sp>
        <p:nvSpPr>
          <p:cNvPr id="77" name="Rectangle 76">
            <a:extLst>
              <a:ext uri="{FF2B5EF4-FFF2-40B4-BE49-F238E27FC236}">
                <a16:creationId xmlns:a16="http://schemas.microsoft.com/office/drawing/2014/main" id="{560EDF00-AE59-4CB9-A10A-118F6E1638B1}"/>
              </a:ext>
            </a:extLst>
          </p:cNvPr>
          <p:cNvSpPr>
            <a:spLocks/>
          </p:cNvSpPr>
          <p:nvPr/>
        </p:nvSpPr>
        <p:spPr>
          <a:xfrm>
            <a:off x="344584" y="5334223"/>
            <a:ext cx="802606" cy="753650"/>
          </a:xfrm>
          <a:prstGeom prst="rect">
            <a:avLst/>
          </a:prstGeom>
          <a:solidFill>
            <a:schemeClr val="accent2"/>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err="1">
              <a:solidFill>
                <a:schemeClr val="tx1"/>
              </a:solidFill>
            </a:endParaRPr>
          </a:p>
        </p:txBody>
      </p:sp>
      <p:grpSp>
        <p:nvGrpSpPr>
          <p:cNvPr id="2" name="Group 1">
            <a:extLst>
              <a:ext uri="{FF2B5EF4-FFF2-40B4-BE49-F238E27FC236}">
                <a16:creationId xmlns:a16="http://schemas.microsoft.com/office/drawing/2014/main" id="{06154D4F-1F09-4155-BF8C-D2200CA56952}"/>
              </a:ext>
            </a:extLst>
          </p:cNvPr>
          <p:cNvGrpSpPr/>
          <p:nvPr/>
        </p:nvGrpSpPr>
        <p:grpSpPr>
          <a:xfrm>
            <a:off x="548654" y="2216922"/>
            <a:ext cx="394466" cy="247184"/>
            <a:chOff x="608179" y="2435290"/>
            <a:chExt cx="394466" cy="247184"/>
          </a:xfrm>
        </p:grpSpPr>
        <p:sp>
          <p:nvSpPr>
            <p:cNvPr id="30" name="Freeform 31"/>
            <p:cNvSpPr>
              <a:spLocks/>
            </p:cNvSpPr>
            <p:nvPr/>
          </p:nvSpPr>
          <p:spPr bwMode="auto">
            <a:xfrm>
              <a:off x="608179" y="2435290"/>
              <a:ext cx="171038" cy="218471"/>
            </a:xfrm>
            <a:custGeom>
              <a:avLst/>
              <a:gdLst>
                <a:gd name="T0" fmla="*/ 957 w 1413"/>
                <a:gd name="T1" fmla="*/ 1172 h 1802"/>
                <a:gd name="T2" fmla="*/ 1243 w 1413"/>
                <a:gd name="T3" fmla="*/ 885 h 1802"/>
                <a:gd name="T4" fmla="*/ 1413 w 1413"/>
                <a:gd name="T5" fmla="*/ 941 h 1802"/>
                <a:gd name="T6" fmla="*/ 1413 w 1413"/>
                <a:gd name="T7" fmla="*/ 599 h 1802"/>
                <a:gd name="T8" fmla="*/ 1292 w 1413"/>
                <a:gd name="T9" fmla="*/ 478 h 1802"/>
                <a:gd name="T10" fmla="*/ 918 w 1413"/>
                <a:gd name="T11" fmla="*/ 478 h 1802"/>
                <a:gd name="T12" fmla="*/ 993 w 1413"/>
                <a:gd name="T13" fmla="*/ 286 h 1802"/>
                <a:gd name="T14" fmla="*/ 706 w 1413"/>
                <a:gd name="T15" fmla="*/ 0 h 1802"/>
                <a:gd name="T16" fmla="*/ 420 w 1413"/>
                <a:gd name="T17" fmla="*/ 286 h 1802"/>
                <a:gd name="T18" fmla="*/ 494 w 1413"/>
                <a:gd name="T19" fmla="*/ 478 h 1802"/>
                <a:gd name="T20" fmla="*/ 121 w 1413"/>
                <a:gd name="T21" fmla="*/ 478 h 1802"/>
                <a:gd name="T22" fmla="*/ 0 w 1413"/>
                <a:gd name="T23" fmla="*/ 599 h 1802"/>
                <a:gd name="T24" fmla="*/ 0 w 1413"/>
                <a:gd name="T25" fmla="*/ 938 h 1802"/>
                <a:gd name="T26" fmla="*/ 165 w 1413"/>
                <a:gd name="T27" fmla="*/ 885 h 1802"/>
                <a:gd name="T28" fmla="*/ 452 w 1413"/>
                <a:gd name="T29" fmla="*/ 1172 h 1802"/>
                <a:gd name="T30" fmla="*/ 165 w 1413"/>
                <a:gd name="T31" fmla="*/ 1458 h 1802"/>
                <a:gd name="T32" fmla="*/ 0 w 1413"/>
                <a:gd name="T33" fmla="*/ 1405 h 1802"/>
                <a:gd name="T34" fmla="*/ 0 w 1413"/>
                <a:gd name="T35" fmla="*/ 1681 h 1802"/>
                <a:gd name="T36" fmla="*/ 121 w 1413"/>
                <a:gd name="T37" fmla="*/ 1802 h 1802"/>
                <a:gd name="T38" fmla="*/ 1292 w 1413"/>
                <a:gd name="T39" fmla="*/ 1802 h 1802"/>
                <a:gd name="T40" fmla="*/ 1413 w 1413"/>
                <a:gd name="T41" fmla="*/ 1681 h 1802"/>
                <a:gd name="T42" fmla="*/ 1413 w 1413"/>
                <a:gd name="T43" fmla="*/ 1402 h 1802"/>
                <a:gd name="T44" fmla="*/ 1243 w 1413"/>
                <a:gd name="T45" fmla="*/ 1458 h 1802"/>
                <a:gd name="T46" fmla="*/ 957 w 1413"/>
                <a:gd name="T47" fmla="*/ 1172 h 18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413" h="1802">
                  <a:moveTo>
                    <a:pt x="957" y="1172"/>
                  </a:moveTo>
                  <a:cubicBezTo>
                    <a:pt x="957" y="1013"/>
                    <a:pt x="1085" y="885"/>
                    <a:pt x="1243" y="885"/>
                  </a:cubicBezTo>
                  <a:cubicBezTo>
                    <a:pt x="1307" y="885"/>
                    <a:pt x="1366" y="906"/>
                    <a:pt x="1413" y="941"/>
                  </a:cubicBezTo>
                  <a:cubicBezTo>
                    <a:pt x="1413" y="599"/>
                    <a:pt x="1413" y="599"/>
                    <a:pt x="1413" y="599"/>
                  </a:cubicBezTo>
                  <a:cubicBezTo>
                    <a:pt x="1413" y="532"/>
                    <a:pt x="1359" y="478"/>
                    <a:pt x="1292" y="478"/>
                  </a:cubicBezTo>
                  <a:cubicBezTo>
                    <a:pt x="918" y="478"/>
                    <a:pt x="918" y="478"/>
                    <a:pt x="918" y="478"/>
                  </a:cubicBezTo>
                  <a:cubicBezTo>
                    <a:pt x="965" y="428"/>
                    <a:pt x="993" y="360"/>
                    <a:pt x="993" y="286"/>
                  </a:cubicBezTo>
                  <a:cubicBezTo>
                    <a:pt x="993" y="128"/>
                    <a:pt x="865" y="0"/>
                    <a:pt x="706" y="0"/>
                  </a:cubicBezTo>
                  <a:cubicBezTo>
                    <a:pt x="548" y="0"/>
                    <a:pt x="420" y="128"/>
                    <a:pt x="420" y="286"/>
                  </a:cubicBezTo>
                  <a:cubicBezTo>
                    <a:pt x="420" y="360"/>
                    <a:pt x="448" y="428"/>
                    <a:pt x="494" y="478"/>
                  </a:cubicBezTo>
                  <a:cubicBezTo>
                    <a:pt x="121" y="478"/>
                    <a:pt x="121" y="478"/>
                    <a:pt x="121" y="478"/>
                  </a:cubicBezTo>
                  <a:cubicBezTo>
                    <a:pt x="54" y="478"/>
                    <a:pt x="0" y="532"/>
                    <a:pt x="0" y="599"/>
                  </a:cubicBezTo>
                  <a:cubicBezTo>
                    <a:pt x="0" y="938"/>
                    <a:pt x="0" y="938"/>
                    <a:pt x="0" y="938"/>
                  </a:cubicBezTo>
                  <a:cubicBezTo>
                    <a:pt x="47" y="905"/>
                    <a:pt x="104" y="885"/>
                    <a:pt x="165" y="885"/>
                  </a:cubicBezTo>
                  <a:cubicBezTo>
                    <a:pt x="323" y="885"/>
                    <a:pt x="452" y="1013"/>
                    <a:pt x="452" y="1172"/>
                  </a:cubicBezTo>
                  <a:cubicBezTo>
                    <a:pt x="452" y="1330"/>
                    <a:pt x="323" y="1458"/>
                    <a:pt x="165" y="1458"/>
                  </a:cubicBezTo>
                  <a:cubicBezTo>
                    <a:pt x="104" y="1458"/>
                    <a:pt x="47" y="1438"/>
                    <a:pt x="0" y="1405"/>
                  </a:cubicBezTo>
                  <a:cubicBezTo>
                    <a:pt x="0" y="1681"/>
                    <a:pt x="0" y="1681"/>
                    <a:pt x="0" y="1681"/>
                  </a:cubicBezTo>
                  <a:cubicBezTo>
                    <a:pt x="0" y="1748"/>
                    <a:pt x="54" y="1802"/>
                    <a:pt x="121" y="1802"/>
                  </a:cubicBezTo>
                  <a:cubicBezTo>
                    <a:pt x="1292" y="1802"/>
                    <a:pt x="1292" y="1802"/>
                    <a:pt x="1292" y="1802"/>
                  </a:cubicBezTo>
                  <a:cubicBezTo>
                    <a:pt x="1359" y="1802"/>
                    <a:pt x="1413" y="1748"/>
                    <a:pt x="1413" y="1681"/>
                  </a:cubicBezTo>
                  <a:cubicBezTo>
                    <a:pt x="1413" y="1402"/>
                    <a:pt x="1413" y="1402"/>
                    <a:pt x="1413" y="1402"/>
                  </a:cubicBezTo>
                  <a:cubicBezTo>
                    <a:pt x="1366" y="1437"/>
                    <a:pt x="1307" y="1458"/>
                    <a:pt x="1243" y="1458"/>
                  </a:cubicBezTo>
                  <a:cubicBezTo>
                    <a:pt x="1085" y="1458"/>
                    <a:pt x="957" y="1330"/>
                    <a:pt x="957" y="1172"/>
                  </a:cubicBezTo>
                  <a:close/>
                </a:path>
              </a:pathLst>
            </a:custGeom>
            <a:solidFill>
              <a:schemeClr val="bg1"/>
            </a:solidFill>
            <a:ln w="9525">
              <a:solidFill>
                <a:schemeClr val="bg1"/>
              </a:solidFill>
            </a:ln>
            <a:extLst/>
          </p:spPr>
          <p:txBody>
            <a:bodyPr vert="horz" wrap="square" lIns="68577" tIns="34288" rIns="68577" bIns="34288" numCol="1" anchor="t" anchorCtr="0" compatLnSpc="1">
              <a:prstTxWarp prst="textNoShape">
                <a:avLst/>
              </a:prstTxWarp>
              <a:noAutofit/>
            </a:bodyPr>
            <a:lstStyle/>
            <a:p>
              <a:endParaRPr lang="en-US" dirty="0">
                <a:solidFill>
                  <a:srgbClr val="7F7F7F"/>
                </a:solidFill>
                <a:latin typeface="+mn-lt"/>
              </a:endParaRPr>
            </a:p>
          </p:txBody>
        </p:sp>
        <p:sp>
          <p:nvSpPr>
            <p:cNvPr id="31" name="Freeform 31"/>
            <p:cNvSpPr>
              <a:spLocks/>
            </p:cNvSpPr>
            <p:nvPr/>
          </p:nvSpPr>
          <p:spPr bwMode="auto">
            <a:xfrm rot="17100000">
              <a:off x="807866" y="2487696"/>
              <a:ext cx="170869" cy="218688"/>
            </a:xfrm>
            <a:custGeom>
              <a:avLst/>
              <a:gdLst>
                <a:gd name="T0" fmla="*/ 957 w 1413"/>
                <a:gd name="T1" fmla="*/ 1172 h 1802"/>
                <a:gd name="T2" fmla="*/ 1243 w 1413"/>
                <a:gd name="T3" fmla="*/ 885 h 1802"/>
                <a:gd name="T4" fmla="*/ 1413 w 1413"/>
                <a:gd name="T5" fmla="*/ 941 h 1802"/>
                <a:gd name="T6" fmla="*/ 1413 w 1413"/>
                <a:gd name="T7" fmla="*/ 599 h 1802"/>
                <a:gd name="T8" fmla="*/ 1292 w 1413"/>
                <a:gd name="T9" fmla="*/ 478 h 1802"/>
                <a:gd name="T10" fmla="*/ 918 w 1413"/>
                <a:gd name="T11" fmla="*/ 478 h 1802"/>
                <a:gd name="T12" fmla="*/ 993 w 1413"/>
                <a:gd name="T13" fmla="*/ 286 h 1802"/>
                <a:gd name="T14" fmla="*/ 706 w 1413"/>
                <a:gd name="T15" fmla="*/ 0 h 1802"/>
                <a:gd name="T16" fmla="*/ 420 w 1413"/>
                <a:gd name="T17" fmla="*/ 286 h 1802"/>
                <a:gd name="T18" fmla="*/ 494 w 1413"/>
                <a:gd name="T19" fmla="*/ 478 h 1802"/>
                <a:gd name="T20" fmla="*/ 121 w 1413"/>
                <a:gd name="T21" fmla="*/ 478 h 1802"/>
                <a:gd name="T22" fmla="*/ 0 w 1413"/>
                <a:gd name="T23" fmla="*/ 599 h 1802"/>
                <a:gd name="T24" fmla="*/ 0 w 1413"/>
                <a:gd name="T25" fmla="*/ 938 h 1802"/>
                <a:gd name="T26" fmla="*/ 165 w 1413"/>
                <a:gd name="T27" fmla="*/ 885 h 1802"/>
                <a:gd name="T28" fmla="*/ 452 w 1413"/>
                <a:gd name="T29" fmla="*/ 1172 h 1802"/>
                <a:gd name="T30" fmla="*/ 165 w 1413"/>
                <a:gd name="T31" fmla="*/ 1458 h 1802"/>
                <a:gd name="T32" fmla="*/ 0 w 1413"/>
                <a:gd name="T33" fmla="*/ 1405 h 1802"/>
                <a:gd name="T34" fmla="*/ 0 w 1413"/>
                <a:gd name="T35" fmla="*/ 1681 h 1802"/>
                <a:gd name="T36" fmla="*/ 121 w 1413"/>
                <a:gd name="T37" fmla="*/ 1802 h 1802"/>
                <a:gd name="T38" fmla="*/ 1292 w 1413"/>
                <a:gd name="T39" fmla="*/ 1802 h 1802"/>
                <a:gd name="T40" fmla="*/ 1413 w 1413"/>
                <a:gd name="T41" fmla="*/ 1681 h 1802"/>
                <a:gd name="T42" fmla="*/ 1413 w 1413"/>
                <a:gd name="T43" fmla="*/ 1402 h 1802"/>
                <a:gd name="T44" fmla="*/ 1243 w 1413"/>
                <a:gd name="T45" fmla="*/ 1458 h 1802"/>
                <a:gd name="T46" fmla="*/ 957 w 1413"/>
                <a:gd name="T47" fmla="*/ 1172 h 18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413" h="1802">
                  <a:moveTo>
                    <a:pt x="957" y="1172"/>
                  </a:moveTo>
                  <a:cubicBezTo>
                    <a:pt x="957" y="1013"/>
                    <a:pt x="1085" y="885"/>
                    <a:pt x="1243" y="885"/>
                  </a:cubicBezTo>
                  <a:cubicBezTo>
                    <a:pt x="1307" y="885"/>
                    <a:pt x="1366" y="906"/>
                    <a:pt x="1413" y="941"/>
                  </a:cubicBezTo>
                  <a:cubicBezTo>
                    <a:pt x="1413" y="599"/>
                    <a:pt x="1413" y="599"/>
                    <a:pt x="1413" y="599"/>
                  </a:cubicBezTo>
                  <a:cubicBezTo>
                    <a:pt x="1413" y="532"/>
                    <a:pt x="1359" y="478"/>
                    <a:pt x="1292" y="478"/>
                  </a:cubicBezTo>
                  <a:cubicBezTo>
                    <a:pt x="918" y="478"/>
                    <a:pt x="918" y="478"/>
                    <a:pt x="918" y="478"/>
                  </a:cubicBezTo>
                  <a:cubicBezTo>
                    <a:pt x="965" y="428"/>
                    <a:pt x="993" y="360"/>
                    <a:pt x="993" y="286"/>
                  </a:cubicBezTo>
                  <a:cubicBezTo>
                    <a:pt x="993" y="128"/>
                    <a:pt x="865" y="0"/>
                    <a:pt x="706" y="0"/>
                  </a:cubicBezTo>
                  <a:cubicBezTo>
                    <a:pt x="548" y="0"/>
                    <a:pt x="420" y="128"/>
                    <a:pt x="420" y="286"/>
                  </a:cubicBezTo>
                  <a:cubicBezTo>
                    <a:pt x="420" y="360"/>
                    <a:pt x="448" y="428"/>
                    <a:pt x="494" y="478"/>
                  </a:cubicBezTo>
                  <a:cubicBezTo>
                    <a:pt x="121" y="478"/>
                    <a:pt x="121" y="478"/>
                    <a:pt x="121" y="478"/>
                  </a:cubicBezTo>
                  <a:cubicBezTo>
                    <a:pt x="54" y="478"/>
                    <a:pt x="0" y="532"/>
                    <a:pt x="0" y="599"/>
                  </a:cubicBezTo>
                  <a:cubicBezTo>
                    <a:pt x="0" y="938"/>
                    <a:pt x="0" y="938"/>
                    <a:pt x="0" y="938"/>
                  </a:cubicBezTo>
                  <a:cubicBezTo>
                    <a:pt x="47" y="905"/>
                    <a:pt x="104" y="885"/>
                    <a:pt x="165" y="885"/>
                  </a:cubicBezTo>
                  <a:cubicBezTo>
                    <a:pt x="323" y="885"/>
                    <a:pt x="452" y="1013"/>
                    <a:pt x="452" y="1172"/>
                  </a:cubicBezTo>
                  <a:cubicBezTo>
                    <a:pt x="452" y="1330"/>
                    <a:pt x="323" y="1458"/>
                    <a:pt x="165" y="1458"/>
                  </a:cubicBezTo>
                  <a:cubicBezTo>
                    <a:pt x="104" y="1458"/>
                    <a:pt x="47" y="1438"/>
                    <a:pt x="0" y="1405"/>
                  </a:cubicBezTo>
                  <a:cubicBezTo>
                    <a:pt x="0" y="1681"/>
                    <a:pt x="0" y="1681"/>
                    <a:pt x="0" y="1681"/>
                  </a:cubicBezTo>
                  <a:cubicBezTo>
                    <a:pt x="0" y="1748"/>
                    <a:pt x="54" y="1802"/>
                    <a:pt x="121" y="1802"/>
                  </a:cubicBezTo>
                  <a:cubicBezTo>
                    <a:pt x="1292" y="1802"/>
                    <a:pt x="1292" y="1802"/>
                    <a:pt x="1292" y="1802"/>
                  </a:cubicBezTo>
                  <a:cubicBezTo>
                    <a:pt x="1359" y="1802"/>
                    <a:pt x="1413" y="1748"/>
                    <a:pt x="1413" y="1681"/>
                  </a:cubicBezTo>
                  <a:cubicBezTo>
                    <a:pt x="1413" y="1402"/>
                    <a:pt x="1413" y="1402"/>
                    <a:pt x="1413" y="1402"/>
                  </a:cubicBezTo>
                  <a:cubicBezTo>
                    <a:pt x="1366" y="1437"/>
                    <a:pt x="1307" y="1458"/>
                    <a:pt x="1243" y="1458"/>
                  </a:cubicBezTo>
                  <a:cubicBezTo>
                    <a:pt x="1085" y="1458"/>
                    <a:pt x="957" y="1330"/>
                    <a:pt x="957" y="1172"/>
                  </a:cubicBezTo>
                  <a:close/>
                </a:path>
              </a:pathLst>
            </a:custGeom>
            <a:solidFill>
              <a:schemeClr val="bg1"/>
            </a:solidFill>
            <a:ln w="9525">
              <a:solidFill>
                <a:schemeClr val="bg1"/>
              </a:solidFill>
            </a:ln>
            <a:extLst/>
          </p:spPr>
          <p:txBody>
            <a:bodyPr vert="horz" wrap="square" lIns="68577" tIns="34288" rIns="68577" bIns="34288" numCol="1" anchor="t" anchorCtr="0" compatLnSpc="1">
              <a:prstTxWarp prst="textNoShape">
                <a:avLst/>
              </a:prstTxWarp>
              <a:noAutofit/>
            </a:bodyPr>
            <a:lstStyle/>
            <a:p>
              <a:endParaRPr lang="en-US" dirty="0">
                <a:solidFill>
                  <a:srgbClr val="7F7F7F"/>
                </a:solidFill>
                <a:latin typeface="+mn-lt"/>
              </a:endParaRPr>
            </a:p>
          </p:txBody>
        </p:sp>
      </p:grpSp>
      <p:grpSp>
        <p:nvGrpSpPr>
          <p:cNvPr id="3" name="Group 2">
            <a:extLst>
              <a:ext uri="{FF2B5EF4-FFF2-40B4-BE49-F238E27FC236}">
                <a16:creationId xmlns:a16="http://schemas.microsoft.com/office/drawing/2014/main" id="{FDCE323C-9011-4A48-BC83-FBEB89FA591A}"/>
              </a:ext>
            </a:extLst>
          </p:cNvPr>
          <p:cNvGrpSpPr/>
          <p:nvPr/>
        </p:nvGrpSpPr>
        <p:grpSpPr>
          <a:xfrm>
            <a:off x="473377" y="3016994"/>
            <a:ext cx="545020" cy="332306"/>
            <a:chOff x="532901" y="3235361"/>
            <a:chExt cx="545020" cy="332306"/>
          </a:xfrm>
        </p:grpSpPr>
        <p:sp>
          <p:nvSpPr>
            <p:cNvPr id="34" name="Freeform 33"/>
            <p:cNvSpPr/>
            <p:nvPr/>
          </p:nvSpPr>
          <p:spPr>
            <a:xfrm>
              <a:off x="688334" y="3261502"/>
              <a:ext cx="244227" cy="306165"/>
            </a:xfrm>
            <a:custGeom>
              <a:avLst/>
              <a:gdLst/>
              <a:ahLst/>
              <a:cxnLst/>
              <a:rect l="l" t="t" r="r" b="b"/>
              <a:pathLst>
                <a:path w="1962309" h="2238535">
                  <a:moveTo>
                    <a:pt x="1174597" y="424767"/>
                  </a:moveTo>
                  <a:cubicBezTo>
                    <a:pt x="1152157" y="423494"/>
                    <a:pt x="1127882" y="425346"/>
                    <a:pt x="1102217" y="431960"/>
                  </a:cubicBezTo>
                  <a:cubicBezTo>
                    <a:pt x="1111742" y="466885"/>
                    <a:pt x="1153017" y="524035"/>
                    <a:pt x="1273667" y="565310"/>
                  </a:cubicBezTo>
                  <a:cubicBezTo>
                    <a:pt x="1113859" y="603410"/>
                    <a:pt x="877850" y="631985"/>
                    <a:pt x="641842" y="508160"/>
                  </a:cubicBezTo>
                  <a:cubicBezTo>
                    <a:pt x="578342" y="661618"/>
                    <a:pt x="591042" y="942077"/>
                    <a:pt x="746617" y="1101885"/>
                  </a:cubicBezTo>
                  <a:cubicBezTo>
                    <a:pt x="747675" y="1165385"/>
                    <a:pt x="748734" y="1228885"/>
                    <a:pt x="749792" y="1292385"/>
                  </a:cubicBezTo>
                  <a:lnTo>
                    <a:pt x="600567" y="1336835"/>
                  </a:lnTo>
                  <a:cubicBezTo>
                    <a:pt x="655600" y="1482885"/>
                    <a:pt x="672534" y="1578135"/>
                    <a:pt x="698992" y="1755935"/>
                  </a:cubicBezTo>
                  <a:cubicBezTo>
                    <a:pt x="856684" y="1858593"/>
                    <a:pt x="1115975" y="1872352"/>
                    <a:pt x="1276842" y="1740060"/>
                  </a:cubicBezTo>
                  <a:cubicBezTo>
                    <a:pt x="1290600" y="1628935"/>
                    <a:pt x="1320234" y="1473360"/>
                    <a:pt x="1365742" y="1340010"/>
                  </a:cubicBezTo>
                  <a:lnTo>
                    <a:pt x="1216517" y="1295560"/>
                  </a:lnTo>
                  <a:lnTo>
                    <a:pt x="1222867" y="1101885"/>
                  </a:lnTo>
                  <a:cubicBezTo>
                    <a:pt x="1326584" y="979118"/>
                    <a:pt x="1408075" y="751577"/>
                    <a:pt x="1314942" y="476410"/>
                  </a:cubicBezTo>
                  <a:cubicBezTo>
                    <a:pt x="1292717" y="460535"/>
                    <a:pt x="1241917" y="428587"/>
                    <a:pt x="1174597" y="424767"/>
                  </a:cubicBezTo>
                  <a:close/>
                  <a:moveTo>
                    <a:pt x="987917" y="160"/>
                  </a:moveTo>
                  <a:cubicBezTo>
                    <a:pt x="1455700" y="1218"/>
                    <a:pt x="1621859" y="453127"/>
                    <a:pt x="1591167" y="651035"/>
                  </a:cubicBezTo>
                  <a:cubicBezTo>
                    <a:pt x="1580584" y="865877"/>
                    <a:pt x="1474750" y="1185493"/>
                    <a:pt x="1521317" y="1276510"/>
                  </a:cubicBezTo>
                  <a:cubicBezTo>
                    <a:pt x="1599634" y="1414093"/>
                    <a:pt x="1747800" y="1345302"/>
                    <a:pt x="1889617" y="1527335"/>
                  </a:cubicBezTo>
                  <a:cubicBezTo>
                    <a:pt x="2007092" y="1703018"/>
                    <a:pt x="1949942" y="1888227"/>
                    <a:pt x="1937242" y="2235360"/>
                  </a:cubicBezTo>
                  <a:lnTo>
                    <a:pt x="1226042" y="2235360"/>
                  </a:lnTo>
                  <a:cubicBezTo>
                    <a:pt x="1217575" y="2121060"/>
                    <a:pt x="1231334" y="2006760"/>
                    <a:pt x="1248267" y="1892460"/>
                  </a:cubicBezTo>
                  <a:cubicBezTo>
                    <a:pt x="1084225" y="1957018"/>
                    <a:pt x="936059" y="1986652"/>
                    <a:pt x="718042" y="1905160"/>
                  </a:cubicBezTo>
                  <a:cubicBezTo>
                    <a:pt x="728625" y="1984535"/>
                    <a:pt x="755084" y="2111535"/>
                    <a:pt x="730742" y="2238535"/>
                  </a:cubicBezTo>
                  <a:lnTo>
                    <a:pt x="19542" y="2238535"/>
                  </a:lnTo>
                  <a:cubicBezTo>
                    <a:pt x="30125" y="2010993"/>
                    <a:pt x="-48623" y="1760615"/>
                    <a:pt x="51292" y="1555910"/>
                  </a:cubicBezTo>
                  <a:cubicBezTo>
                    <a:pt x="138075" y="1378110"/>
                    <a:pt x="332809" y="1413035"/>
                    <a:pt x="406892" y="1317785"/>
                  </a:cubicBezTo>
                  <a:cubicBezTo>
                    <a:pt x="486267" y="1236293"/>
                    <a:pt x="359267" y="859527"/>
                    <a:pt x="368792" y="597060"/>
                  </a:cubicBezTo>
                  <a:cubicBezTo>
                    <a:pt x="387842" y="242518"/>
                    <a:pt x="629142" y="-7248"/>
                    <a:pt x="987917" y="160"/>
                  </a:cubicBezTo>
                  <a:close/>
                </a:path>
              </a:pathLst>
            </a:cu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a:solidFill>
                  <a:srgbClr val="7F7F7F"/>
                </a:solidFill>
              </a:endParaRPr>
            </a:p>
          </p:txBody>
        </p:sp>
        <p:sp>
          <p:nvSpPr>
            <p:cNvPr id="35" name="Freeform 34"/>
            <p:cNvSpPr/>
            <p:nvPr/>
          </p:nvSpPr>
          <p:spPr>
            <a:xfrm>
              <a:off x="532901" y="3368566"/>
              <a:ext cx="146818" cy="144604"/>
            </a:xfrm>
            <a:custGeom>
              <a:avLst/>
              <a:gdLst>
                <a:gd name="connsiteX0" fmla="*/ 0 w 1166812"/>
                <a:gd name="connsiteY0" fmla="*/ 1057275 h 1057275"/>
                <a:gd name="connsiteX1" fmla="*/ 1109662 w 1166812"/>
                <a:gd name="connsiteY1" fmla="*/ 1057275 h 1057275"/>
                <a:gd name="connsiteX2" fmla="*/ 1147762 w 1166812"/>
                <a:gd name="connsiteY2" fmla="*/ 781050 h 1057275"/>
                <a:gd name="connsiteX3" fmla="*/ 1114425 w 1166812"/>
                <a:gd name="connsiteY3" fmla="*/ 461962 h 1057275"/>
                <a:gd name="connsiteX4" fmla="*/ 1162050 w 1166812"/>
                <a:gd name="connsiteY4" fmla="*/ 400050 h 1057275"/>
                <a:gd name="connsiteX5" fmla="*/ 1166812 w 1166812"/>
                <a:gd name="connsiteY5" fmla="*/ 328612 h 1057275"/>
                <a:gd name="connsiteX6" fmla="*/ 1071562 w 1166812"/>
                <a:gd name="connsiteY6" fmla="*/ 247650 h 1057275"/>
                <a:gd name="connsiteX7" fmla="*/ 1009650 w 1166812"/>
                <a:gd name="connsiteY7" fmla="*/ 247650 h 1057275"/>
                <a:gd name="connsiteX8" fmla="*/ 923925 w 1166812"/>
                <a:gd name="connsiteY8" fmla="*/ 323850 h 1057275"/>
                <a:gd name="connsiteX9" fmla="*/ 914400 w 1166812"/>
                <a:gd name="connsiteY9" fmla="*/ 385762 h 1057275"/>
                <a:gd name="connsiteX10" fmla="*/ 962025 w 1166812"/>
                <a:gd name="connsiteY10" fmla="*/ 457200 h 1057275"/>
                <a:gd name="connsiteX11" fmla="*/ 919162 w 1166812"/>
                <a:gd name="connsiteY11" fmla="*/ 857250 h 1057275"/>
                <a:gd name="connsiteX12" fmla="*/ 776287 w 1166812"/>
                <a:gd name="connsiteY12" fmla="*/ 128587 h 1057275"/>
                <a:gd name="connsiteX13" fmla="*/ 776287 w 1166812"/>
                <a:gd name="connsiteY13" fmla="*/ 0 h 1057275"/>
                <a:gd name="connsiteX14" fmla="*/ 614362 w 1166812"/>
                <a:gd name="connsiteY14" fmla="*/ 128587 h 1057275"/>
                <a:gd name="connsiteX15" fmla="*/ 180975 w 1166812"/>
                <a:gd name="connsiteY15" fmla="*/ 285750 h 1057275"/>
                <a:gd name="connsiteX16" fmla="*/ 0 w 1166812"/>
                <a:gd name="connsiteY16" fmla="*/ 1057275 h 1057275"/>
                <a:gd name="connsiteX0" fmla="*/ 0 w 1166812"/>
                <a:gd name="connsiteY0" fmla="*/ 1057275 h 1057275"/>
                <a:gd name="connsiteX1" fmla="*/ 1109662 w 1166812"/>
                <a:gd name="connsiteY1" fmla="*/ 1057275 h 1057275"/>
                <a:gd name="connsiteX2" fmla="*/ 1147762 w 1166812"/>
                <a:gd name="connsiteY2" fmla="*/ 781050 h 1057275"/>
                <a:gd name="connsiteX3" fmla="*/ 1114425 w 1166812"/>
                <a:gd name="connsiteY3" fmla="*/ 461962 h 1057275"/>
                <a:gd name="connsiteX4" fmla="*/ 1162050 w 1166812"/>
                <a:gd name="connsiteY4" fmla="*/ 400050 h 1057275"/>
                <a:gd name="connsiteX5" fmla="*/ 1166812 w 1166812"/>
                <a:gd name="connsiteY5" fmla="*/ 328612 h 1057275"/>
                <a:gd name="connsiteX6" fmla="*/ 1071562 w 1166812"/>
                <a:gd name="connsiteY6" fmla="*/ 247650 h 1057275"/>
                <a:gd name="connsiteX7" fmla="*/ 1009650 w 1166812"/>
                <a:gd name="connsiteY7" fmla="*/ 247650 h 1057275"/>
                <a:gd name="connsiteX8" fmla="*/ 923925 w 1166812"/>
                <a:gd name="connsiteY8" fmla="*/ 323850 h 1057275"/>
                <a:gd name="connsiteX9" fmla="*/ 914400 w 1166812"/>
                <a:gd name="connsiteY9" fmla="*/ 385762 h 1057275"/>
                <a:gd name="connsiteX10" fmla="*/ 962025 w 1166812"/>
                <a:gd name="connsiteY10" fmla="*/ 457200 h 1057275"/>
                <a:gd name="connsiteX11" fmla="*/ 919162 w 1166812"/>
                <a:gd name="connsiteY11" fmla="*/ 857250 h 1057275"/>
                <a:gd name="connsiteX12" fmla="*/ 776287 w 1166812"/>
                <a:gd name="connsiteY12" fmla="*/ 128587 h 1057275"/>
                <a:gd name="connsiteX13" fmla="*/ 776287 w 1166812"/>
                <a:gd name="connsiteY13" fmla="*/ 0 h 1057275"/>
                <a:gd name="connsiteX14" fmla="*/ 614362 w 1166812"/>
                <a:gd name="connsiteY14" fmla="*/ 128587 h 1057275"/>
                <a:gd name="connsiteX15" fmla="*/ 180975 w 1166812"/>
                <a:gd name="connsiteY15" fmla="*/ 285750 h 1057275"/>
                <a:gd name="connsiteX16" fmla="*/ 0 w 1166812"/>
                <a:gd name="connsiteY16" fmla="*/ 1057275 h 1057275"/>
                <a:gd name="connsiteX0" fmla="*/ 0 w 1166812"/>
                <a:gd name="connsiteY0" fmla="*/ 1057275 h 1057275"/>
                <a:gd name="connsiteX1" fmla="*/ 1109662 w 1166812"/>
                <a:gd name="connsiteY1" fmla="*/ 1057275 h 1057275"/>
                <a:gd name="connsiteX2" fmla="*/ 1147762 w 1166812"/>
                <a:gd name="connsiteY2" fmla="*/ 781050 h 1057275"/>
                <a:gd name="connsiteX3" fmla="*/ 1114425 w 1166812"/>
                <a:gd name="connsiteY3" fmla="*/ 461962 h 1057275"/>
                <a:gd name="connsiteX4" fmla="*/ 1162050 w 1166812"/>
                <a:gd name="connsiteY4" fmla="*/ 400050 h 1057275"/>
                <a:gd name="connsiteX5" fmla="*/ 1166812 w 1166812"/>
                <a:gd name="connsiteY5" fmla="*/ 328612 h 1057275"/>
                <a:gd name="connsiteX6" fmla="*/ 1071562 w 1166812"/>
                <a:gd name="connsiteY6" fmla="*/ 247650 h 1057275"/>
                <a:gd name="connsiteX7" fmla="*/ 1009650 w 1166812"/>
                <a:gd name="connsiteY7" fmla="*/ 247650 h 1057275"/>
                <a:gd name="connsiteX8" fmla="*/ 923925 w 1166812"/>
                <a:gd name="connsiteY8" fmla="*/ 323850 h 1057275"/>
                <a:gd name="connsiteX9" fmla="*/ 914400 w 1166812"/>
                <a:gd name="connsiteY9" fmla="*/ 385762 h 1057275"/>
                <a:gd name="connsiteX10" fmla="*/ 962025 w 1166812"/>
                <a:gd name="connsiteY10" fmla="*/ 457200 h 1057275"/>
                <a:gd name="connsiteX11" fmla="*/ 919162 w 1166812"/>
                <a:gd name="connsiteY11" fmla="*/ 857250 h 1057275"/>
                <a:gd name="connsiteX12" fmla="*/ 776287 w 1166812"/>
                <a:gd name="connsiteY12" fmla="*/ 128587 h 1057275"/>
                <a:gd name="connsiteX13" fmla="*/ 776287 w 1166812"/>
                <a:gd name="connsiteY13" fmla="*/ 0 h 1057275"/>
                <a:gd name="connsiteX14" fmla="*/ 614362 w 1166812"/>
                <a:gd name="connsiteY14" fmla="*/ 128587 h 1057275"/>
                <a:gd name="connsiteX15" fmla="*/ 180975 w 1166812"/>
                <a:gd name="connsiteY15" fmla="*/ 285750 h 1057275"/>
                <a:gd name="connsiteX16" fmla="*/ 0 w 1166812"/>
                <a:gd name="connsiteY16" fmla="*/ 1057275 h 1057275"/>
                <a:gd name="connsiteX0" fmla="*/ 0 w 1166812"/>
                <a:gd name="connsiteY0" fmla="*/ 1057275 h 1057275"/>
                <a:gd name="connsiteX1" fmla="*/ 1109662 w 1166812"/>
                <a:gd name="connsiteY1" fmla="*/ 1057275 h 1057275"/>
                <a:gd name="connsiteX2" fmla="*/ 1147762 w 1166812"/>
                <a:gd name="connsiteY2" fmla="*/ 781050 h 1057275"/>
                <a:gd name="connsiteX3" fmla="*/ 1114425 w 1166812"/>
                <a:gd name="connsiteY3" fmla="*/ 461962 h 1057275"/>
                <a:gd name="connsiteX4" fmla="*/ 1162050 w 1166812"/>
                <a:gd name="connsiteY4" fmla="*/ 400050 h 1057275"/>
                <a:gd name="connsiteX5" fmla="*/ 1166812 w 1166812"/>
                <a:gd name="connsiteY5" fmla="*/ 328612 h 1057275"/>
                <a:gd name="connsiteX6" fmla="*/ 1071562 w 1166812"/>
                <a:gd name="connsiteY6" fmla="*/ 247650 h 1057275"/>
                <a:gd name="connsiteX7" fmla="*/ 1009650 w 1166812"/>
                <a:gd name="connsiteY7" fmla="*/ 247650 h 1057275"/>
                <a:gd name="connsiteX8" fmla="*/ 923925 w 1166812"/>
                <a:gd name="connsiteY8" fmla="*/ 323850 h 1057275"/>
                <a:gd name="connsiteX9" fmla="*/ 914400 w 1166812"/>
                <a:gd name="connsiteY9" fmla="*/ 385762 h 1057275"/>
                <a:gd name="connsiteX10" fmla="*/ 962025 w 1166812"/>
                <a:gd name="connsiteY10" fmla="*/ 457200 h 1057275"/>
                <a:gd name="connsiteX11" fmla="*/ 919162 w 1166812"/>
                <a:gd name="connsiteY11" fmla="*/ 857250 h 1057275"/>
                <a:gd name="connsiteX12" fmla="*/ 776287 w 1166812"/>
                <a:gd name="connsiteY12" fmla="*/ 128587 h 1057275"/>
                <a:gd name="connsiteX13" fmla="*/ 776287 w 1166812"/>
                <a:gd name="connsiteY13" fmla="*/ 0 h 1057275"/>
                <a:gd name="connsiteX14" fmla="*/ 614362 w 1166812"/>
                <a:gd name="connsiteY14" fmla="*/ 128587 h 1057275"/>
                <a:gd name="connsiteX15" fmla="*/ 180975 w 1166812"/>
                <a:gd name="connsiteY15" fmla="*/ 285750 h 1057275"/>
                <a:gd name="connsiteX16" fmla="*/ 0 w 1166812"/>
                <a:gd name="connsiteY16" fmla="*/ 1057275 h 1057275"/>
                <a:gd name="connsiteX0" fmla="*/ 0 w 1166812"/>
                <a:gd name="connsiteY0" fmla="*/ 1057275 h 1057275"/>
                <a:gd name="connsiteX1" fmla="*/ 1109662 w 1166812"/>
                <a:gd name="connsiteY1" fmla="*/ 1057275 h 1057275"/>
                <a:gd name="connsiteX2" fmla="*/ 1147762 w 1166812"/>
                <a:gd name="connsiteY2" fmla="*/ 781050 h 1057275"/>
                <a:gd name="connsiteX3" fmla="*/ 1114425 w 1166812"/>
                <a:gd name="connsiteY3" fmla="*/ 461962 h 1057275"/>
                <a:gd name="connsiteX4" fmla="*/ 1162050 w 1166812"/>
                <a:gd name="connsiteY4" fmla="*/ 400050 h 1057275"/>
                <a:gd name="connsiteX5" fmla="*/ 1166812 w 1166812"/>
                <a:gd name="connsiteY5" fmla="*/ 328612 h 1057275"/>
                <a:gd name="connsiteX6" fmla="*/ 1071562 w 1166812"/>
                <a:gd name="connsiteY6" fmla="*/ 247650 h 1057275"/>
                <a:gd name="connsiteX7" fmla="*/ 1009650 w 1166812"/>
                <a:gd name="connsiteY7" fmla="*/ 247650 h 1057275"/>
                <a:gd name="connsiteX8" fmla="*/ 923925 w 1166812"/>
                <a:gd name="connsiteY8" fmla="*/ 323850 h 1057275"/>
                <a:gd name="connsiteX9" fmla="*/ 914400 w 1166812"/>
                <a:gd name="connsiteY9" fmla="*/ 385762 h 1057275"/>
                <a:gd name="connsiteX10" fmla="*/ 962025 w 1166812"/>
                <a:gd name="connsiteY10" fmla="*/ 457200 h 1057275"/>
                <a:gd name="connsiteX11" fmla="*/ 919162 w 1166812"/>
                <a:gd name="connsiteY11" fmla="*/ 857250 h 1057275"/>
                <a:gd name="connsiteX12" fmla="*/ 776287 w 1166812"/>
                <a:gd name="connsiteY12" fmla="*/ 128587 h 1057275"/>
                <a:gd name="connsiteX13" fmla="*/ 776287 w 1166812"/>
                <a:gd name="connsiteY13" fmla="*/ 0 h 1057275"/>
                <a:gd name="connsiteX14" fmla="*/ 614362 w 1166812"/>
                <a:gd name="connsiteY14" fmla="*/ 128587 h 1057275"/>
                <a:gd name="connsiteX15" fmla="*/ 180975 w 1166812"/>
                <a:gd name="connsiteY15" fmla="*/ 285750 h 1057275"/>
                <a:gd name="connsiteX16" fmla="*/ 0 w 1166812"/>
                <a:gd name="connsiteY16" fmla="*/ 1057275 h 1057275"/>
                <a:gd name="connsiteX0" fmla="*/ 0 w 1166812"/>
                <a:gd name="connsiteY0" fmla="*/ 1057275 h 1057275"/>
                <a:gd name="connsiteX1" fmla="*/ 1109662 w 1166812"/>
                <a:gd name="connsiteY1" fmla="*/ 1057275 h 1057275"/>
                <a:gd name="connsiteX2" fmla="*/ 1147762 w 1166812"/>
                <a:gd name="connsiteY2" fmla="*/ 781050 h 1057275"/>
                <a:gd name="connsiteX3" fmla="*/ 1114425 w 1166812"/>
                <a:gd name="connsiteY3" fmla="*/ 461962 h 1057275"/>
                <a:gd name="connsiteX4" fmla="*/ 1162050 w 1166812"/>
                <a:gd name="connsiteY4" fmla="*/ 400050 h 1057275"/>
                <a:gd name="connsiteX5" fmla="*/ 1166812 w 1166812"/>
                <a:gd name="connsiteY5" fmla="*/ 328612 h 1057275"/>
                <a:gd name="connsiteX6" fmla="*/ 1071562 w 1166812"/>
                <a:gd name="connsiteY6" fmla="*/ 247650 h 1057275"/>
                <a:gd name="connsiteX7" fmla="*/ 1009650 w 1166812"/>
                <a:gd name="connsiteY7" fmla="*/ 247650 h 1057275"/>
                <a:gd name="connsiteX8" fmla="*/ 923925 w 1166812"/>
                <a:gd name="connsiteY8" fmla="*/ 323850 h 1057275"/>
                <a:gd name="connsiteX9" fmla="*/ 914400 w 1166812"/>
                <a:gd name="connsiteY9" fmla="*/ 385762 h 1057275"/>
                <a:gd name="connsiteX10" fmla="*/ 962025 w 1166812"/>
                <a:gd name="connsiteY10" fmla="*/ 457200 h 1057275"/>
                <a:gd name="connsiteX11" fmla="*/ 919162 w 1166812"/>
                <a:gd name="connsiteY11" fmla="*/ 857250 h 1057275"/>
                <a:gd name="connsiteX12" fmla="*/ 776287 w 1166812"/>
                <a:gd name="connsiteY12" fmla="*/ 128587 h 1057275"/>
                <a:gd name="connsiteX13" fmla="*/ 776287 w 1166812"/>
                <a:gd name="connsiteY13" fmla="*/ 0 h 1057275"/>
                <a:gd name="connsiteX14" fmla="*/ 614362 w 1166812"/>
                <a:gd name="connsiteY14" fmla="*/ 128587 h 1057275"/>
                <a:gd name="connsiteX15" fmla="*/ 180975 w 1166812"/>
                <a:gd name="connsiteY15" fmla="*/ 285750 h 1057275"/>
                <a:gd name="connsiteX16" fmla="*/ 0 w 1166812"/>
                <a:gd name="connsiteY16" fmla="*/ 1057275 h 1057275"/>
                <a:gd name="connsiteX0" fmla="*/ 0 w 1166812"/>
                <a:gd name="connsiteY0" fmla="*/ 1057275 h 1057275"/>
                <a:gd name="connsiteX1" fmla="*/ 1109662 w 1166812"/>
                <a:gd name="connsiteY1" fmla="*/ 1057275 h 1057275"/>
                <a:gd name="connsiteX2" fmla="*/ 1147762 w 1166812"/>
                <a:gd name="connsiteY2" fmla="*/ 781050 h 1057275"/>
                <a:gd name="connsiteX3" fmla="*/ 1114425 w 1166812"/>
                <a:gd name="connsiteY3" fmla="*/ 461962 h 1057275"/>
                <a:gd name="connsiteX4" fmla="*/ 1162050 w 1166812"/>
                <a:gd name="connsiteY4" fmla="*/ 400050 h 1057275"/>
                <a:gd name="connsiteX5" fmla="*/ 1166812 w 1166812"/>
                <a:gd name="connsiteY5" fmla="*/ 328612 h 1057275"/>
                <a:gd name="connsiteX6" fmla="*/ 1071562 w 1166812"/>
                <a:gd name="connsiteY6" fmla="*/ 247650 h 1057275"/>
                <a:gd name="connsiteX7" fmla="*/ 1009650 w 1166812"/>
                <a:gd name="connsiteY7" fmla="*/ 247650 h 1057275"/>
                <a:gd name="connsiteX8" fmla="*/ 923925 w 1166812"/>
                <a:gd name="connsiteY8" fmla="*/ 323850 h 1057275"/>
                <a:gd name="connsiteX9" fmla="*/ 914400 w 1166812"/>
                <a:gd name="connsiteY9" fmla="*/ 385762 h 1057275"/>
                <a:gd name="connsiteX10" fmla="*/ 962025 w 1166812"/>
                <a:gd name="connsiteY10" fmla="*/ 457200 h 1057275"/>
                <a:gd name="connsiteX11" fmla="*/ 919162 w 1166812"/>
                <a:gd name="connsiteY11" fmla="*/ 857250 h 1057275"/>
                <a:gd name="connsiteX12" fmla="*/ 776287 w 1166812"/>
                <a:gd name="connsiteY12" fmla="*/ 128587 h 1057275"/>
                <a:gd name="connsiteX13" fmla="*/ 776287 w 1166812"/>
                <a:gd name="connsiteY13" fmla="*/ 0 h 1057275"/>
                <a:gd name="connsiteX14" fmla="*/ 614362 w 1166812"/>
                <a:gd name="connsiteY14" fmla="*/ 128587 h 1057275"/>
                <a:gd name="connsiteX15" fmla="*/ 180975 w 1166812"/>
                <a:gd name="connsiteY15" fmla="*/ 285750 h 1057275"/>
                <a:gd name="connsiteX16" fmla="*/ 0 w 1166812"/>
                <a:gd name="connsiteY16" fmla="*/ 1057275 h 1057275"/>
                <a:gd name="connsiteX0" fmla="*/ 0 w 1166812"/>
                <a:gd name="connsiteY0" fmla="*/ 1057275 h 1057275"/>
                <a:gd name="connsiteX1" fmla="*/ 1109662 w 1166812"/>
                <a:gd name="connsiteY1" fmla="*/ 1057275 h 1057275"/>
                <a:gd name="connsiteX2" fmla="*/ 1147762 w 1166812"/>
                <a:gd name="connsiteY2" fmla="*/ 781050 h 1057275"/>
                <a:gd name="connsiteX3" fmla="*/ 1114425 w 1166812"/>
                <a:gd name="connsiteY3" fmla="*/ 461962 h 1057275"/>
                <a:gd name="connsiteX4" fmla="*/ 1162050 w 1166812"/>
                <a:gd name="connsiteY4" fmla="*/ 400050 h 1057275"/>
                <a:gd name="connsiteX5" fmla="*/ 1166812 w 1166812"/>
                <a:gd name="connsiteY5" fmla="*/ 328612 h 1057275"/>
                <a:gd name="connsiteX6" fmla="*/ 1071562 w 1166812"/>
                <a:gd name="connsiteY6" fmla="*/ 247650 h 1057275"/>
                <a:gd name="connsiteX7" fmla="*/ 1009650 w 1166812"/>
                <a:gd name="connsiteY7" fmla="*/ 247650 h 1057275"/>
                <a:gd name="connsiteX8" fmla="*/ 923925 w 1166812"/>
                <a:gd name="connsiteY8" fmla="*/ 323850 h 1057275"/>
                <a:gd name="connsiteX9" fmla="*/ 914400 w 1166812"/>
                <a:gd name="connsiteY9" fmla="*/ 385762 h 1057275"/>
                <a:gd name="connsiteX10" fmla="*/ 962025 w 1166812"/>
                <a:gd name="connsiteY10" fmla="*/ 457200 h 1057275"/>
                <a:gd name="connsiteX11" fmla="*/ 919162 w 1166812"/>
                <a:gd name="connsiteY11" fmla="*/ 857250 h 1057275"/>
                <a:gd name="connsiteX12" fmla="*/ 776287 w 1166812"/>
                <a:gd name="connsiteY12" fmla="*/ 128587 h 1057275"/>
                <a:gd name="connsiteX13" fmla="*/ 776287 w 1166812"/>
                <a:gd name="connsiteY13" fmla="*/ 0 h 1057275"/>
                <a:gd name="connsiteX14" fmla="*/ 614362 w 1166812"/>
                <a:gd name="connsiteY14" fmla="*/ 128587 h 1057275"/>
                <a:gd name="connsiteX15" fmla="*/ 180975 w 1166812"/>
                <a:gd name="connsiteY15" fmla="*/ 285750 h 1057275"/>
                <a:gd name="connsiteX16" fmla="*/ 0 w 1166812"/>
                <a:gd name="connsiteY16" fmla="*/ 1057275 h 1057275"/>
                <a:gd name="connsiteX0" fmla="*/ 0 w 1166812"/>
                <a:gd name="connsiteY0" fmla="*/ 1057275 h 1057275"/>
                <a:gd name="connsiteX1" fmla="*/ 1109662 w 1166812"/>
                <a:gd name="connsiteY1" fmla="*/ 1057275 h 1057275"/>
                <a:gd name="connsiteX2" fmla="*/ 1147762 w 1166812"/>
                <a:gd name="connsiteY2" fmla="*/ 781050 h 1057275"/>
                <a:gd name="connsiteX3" fmla="*/ 1114425 w 1166812"/>
                <a:gd name="connsiteY3" fmla="*/ 461962 h 1057275"/>
                <a:gd name="connsiteX4" fmla="*/ 1162050 w 1166812"/>
                <a:gd name="connsiteY4" fmla="*/ 400050 h 1057275"/>
                <a:gd name="connsiteX5" fmla="*/ 1166812 w 1166812"/>
                <a:gd name="connsiteY5" fmla="*/ 328612 h 1057275"/>
                <a:gd name="connsiteX6" fmla="*/ 1071562 w 1166812"/>
                <a:gd name="connsiteY6" fmla="*/ 247650 h 1057275"/>
                <a:gd name="connsiteX7" fmla="*/ 1009650 w 1166812"/>
                <a:gd name="connsiteY7" fmla="*/ 247650 h 1057275"/>
                <a:gd name="connsiteX8" fmla="*/ 923925 w 1166812"/>
                <a:gd name="connsiteY8" fmla="*/ 323850 h 1057275"/>
                <a:gd name="connsiteX9" fmla="*/ 914400 w 1166812"/>
                <a:gd name="connsiteY9" fmla="*/ 385762 h 1057275"/>
                <a:gd name="connsiteX10" fmla="*/ 962025 w 1166812"/>
                <a:gd name="connsiteY10" fmla="*/ 457200 h 1057275"/>
                <a:gd name="connsiteX11" fmla="*/ 919162 w 1166812"/>
                <a:gd name="connsiteY11" fmla="*/ 857250 h 1057275"/>
                <a:gd name="connsiteX12" fmla="*/ 776287 w 1166812"/>
                <a:gd name="connsiteY12" fmla="*/ 128587 h 1057275"/>
                <a:gd name="connsiteX13" fmla="*/ 776287 w 1166812"/>
                <a:gd name="connsiteY13" fmla="*/ 0 h 1057275"/>
                <a:gd name="connsiteX14" fmla="*/ 614362 w 1166812"/>
                <a:gd name="connsiteY14" fmla="*/ 128587 h 1057275"/>
                <a:gd name="connsiteX15" fmla="*/ 180975 w 1166812"/>
                <a:gd name="connsiteY15" fmla="*/ 285750 h 1057275"/>
                <a:gd name="connsiteX16" fmla="*/ 0 w 1166812"/>
                <a:gd name="connsiteY16" fmla="*/ 1057275 h 1057275"/>
                <a:gd name="connsiteX0" fmla="*/ 0 w 1166812"/>
                <a:gd name="connsiteY0" fmla="*/ 1057275 h 1057275"/>
                <a:gd name="connsiteX1" fmla="*/ 1109662 w 1166812"/>
                <a:gd name="connsiteY1" fmla="*/ 1057275 h 1057275"/>
                <a:gd name="connsiteX2" fmla="*/ 1147762 w 1166812"/>
                <a:gd name="connsiteY2" fmla="*/ 781050 h 1057275"/>
                <a:gd name="connsiteX3" fmla="*/ 1114425 w 1166812"/>
                <a:gd name="connsiteY3" fmla="*/ 461962 h 1057275"/>
                <a:gd name="connsiteX4" fmla="*/ 1162050 w 1166812"/>
                <a:gd name="connsiteY4" fmla="*/ 400050 h 1057275"/>
                <a:gd name="connsiteX5" fmla="*/ 1166812 w 1166812"/>
                <a:gd name="connsiteY5" fmla="*/ 328612 h 1057275"/>
                <a:gd name="connsiteX6" fmla="*/ 1071562 w 1166812"/>
                <a:gd name="connsiteY6" fmla="*/ 247650 h 1057275"/>
                <a:gd name="connsiteX7" fmla="*/ 1009650 w 1166812"/>
                <a:gd name="connsiteY7" fmla="*/ 247650 h 1057275"/>
                <a:gd name="connsiteX8" fmla="*/ 923925 w 1166812"/>
                <a:gd name="connsiteY8" fmla="*/ 323850 h 1057275"/>
                <a:gd name="connsiteX9" fmla="*/ 914400 w 1166812"/>
                <a:gd name="connsiteY9" fmla="*/ 385762 h 1057275"/>
                <a:gd name="connsiteX10" fmla="*/ 962025 w 1166812"/>
                <a:gd name="connsiteY10" fmla="*/ 457200 h 1057275"/>
                <a:gd name="connsiteX11" fmla="*/ 919162 w 1166812"/>
                <a:gd name="connsiteY11" fmla="*/ 857250 h 1057275"/>
                <a:gd name="connsiteX12" fmla="*/ 776287 w 1166812"/>
                <a:gd name="connsiteY12" fmla="*/ 128587 h 1057275"/>
                <a:gd name="connsiteX13" fmla="*/ 776287 w 1166812"/>
                <a:gd name="connsiteY13" fmla="*/ 0 h 1057275"/>
                <a:gd name="connsiteX14" fmla="*/ 614362 w 1166812"/>
                <a:gd name="connsiteY14" fmla="*/ 128587 h 1057275"/>
                <a:gd name="connsiteX15" fmla="*/ 180975 w 1166812"/>
                <a:gd name="connsiteY15" fmla="*/ 285750 h 1057275"/>
                <a:gd name="connsiteX16" fmla="*/ 0 w 1166812"/>
                <a:gd name="connsiteY16" fmla="*/ 1057275 h 1057275"/>
                <a:gd name="connsiteX0" fmla="*/ 0 w 1166812"/>
                <a:gd name="connsiteY0" fmla="*/ 1057275 h 1057275"/>
                <a:gd name="connsiteX1" fmla="*/ 1109662 w 1166812"/>
                <a:gd name="connsiteY1" fmla="*/ 1057275 h 1057275"/>
                <a:gd name="connsiteX2" fmla="*/ 1147762 w 1166812"/>
                <a:gd name="connsiteY2" fmla="*/ 781050 h 1057275"/>
                <a:gd name="connsiteX3" fmla="*/ 1114425 w 1166812"/>
                <a:gd name="connsiteY3" fmla="*/ 461962 h 1057275"/>
                <a:gd name="connsiteX4" fmla="*/ 1162050 w 1166812"/>
                <a:gd name="connsiteY4" fmla="*/ 400050 h 1057275"/>
                <a:gd name="connsiteX5" fmla="*/ 1166812 w 1166812"/>
                <a:gd name="connsiteY5" fmla="*/ 328612 h 1057275"/>
                <a:gd name="connsiteX6" fmla="*/ 1071562 w 1166812"/>
                <a:gd name="connsiteY6" fmla="*/ 247650 h 1057275"/>
                <a:gd name="connsiteX7" fmla="*/ 1009650 w 1166812"/>
                <a:gd name="connsiteY7" fmla="*/ 247650 h 1057275"/>
                <a:gd name="connsiteX8" fmla="*/ 923925 w 1166812"/>
                <a:gd name="connsiteY8" fmla="*/ 323850 h 1057275"/>
                <a:gd name="connsiteX9" fmla="*/ 914400 w 1166812"/>
                <a:gd name="connsiteY9" fmla="*/ 385762 h 1057275"/>
                <a:gd name="connsiteX10" fmla="*/ 962025 w 1166812"/>
                <a:gd name="connsiteY10" fmla="*/ 457200 h 1057275"/>
                <a:gd name="connsiteX11" fmla="*/ 919162 w 1166812"/>
                <a:gd name="connsiteY11" fmla="*/ 857250 h 1057275"/>
                <a:gd name="connsiteX12" fmla="*/ 776287 w 1166812"/>
                <a:gd name="connsiteY12" fmla="*/ 128587 h 1057275"/>
                <a:gd name="connsiteX13" fmla="*/ 776287 w 1166812"/>
                <a:gd name="connsiteY13" fmla="*/ 0 h 1057275"/>
                <a:gd name="connsiteX14" fmla="*/ 614362 w 1166812"/>
                <a:gd name="connsiteY14" fmla="*/ 128587 h 1057275"/>
                <a:gd name="connsiteX15" fmla="*/ 180975 w 1166812"/>
                <a:gd name="connsiteY15" fmla="*/ 285750 h 1057275"/>
                <a:gd name="connsiteX16" fmla="*/ 0 w 1166812"/>
                <a:gd name="connsiteY16" fmla="*/ 1057275 h 1057275"/>
                <a:gd name="connsiteX0" fmla="*/ 0 w 1166812"/>
                <a:gd name="connsiteY0" fmla="*/ 1057275 h 1057275"/>
                <a:gd name="connsiteX1" fmla="*/ 1109662 w 1166812"/>
                <a:gd name="connsiteY1" fmla="*/ 1057275 h 1057275"/>
                <a:gd name="connsiteX2" fmla="*/ 1147762 w 1166812"/>
                <a:gd name="connsiteY2" fmla="*/ 781050 h 1057275"/>
                <a:gd name="connsiteX3" fmla="*/ 1114425 w 1166812"/>
                <a:gd name="connsiteY3" fmla="*/ 461962 h 1057275"/>
                <a:gd name="connsiteX4" fmla="*/ 1162050 w 1166812"/>
                <a:gd name="connsiteY4" fmla="*/ 400050 h 1057275"/>
                <a:gd name="connsiteX5" fmla="*/ 1166812 w 1166812"/>
                <a:gd name="connsiteY5" fmla="*/ 328612 h 1057275"/>
                <a:gd name="connsiteX6" fmla="*/ 1071562 w 1166812"/>
                <a:gd name="connsiteY6" fmla="*/ 247650 h 1057275"/>
                <a:gd name="connsiteX7" fmla="*/ 1009650 w 1166812"/>
                <a:gd name="connsiteY7" fmla="*/ 247650 h 1057275"/>
                <a:gd name="connsiteX8" fmla="*/ 923925 w 1166812"/>
                <a:gd name="connsiteY8" fmla="*/ 323850 h 1057275"/>
                <a:gd name="connsiteX9" fmla="*/ 914400 w 1166812"/>
                <a:gd name="connsiteY9" fmla="*/ 385762 h 1057275"/>
                <a:gd name="connsiteX10" fmla="*/ 962025 w 1166812"/>
                <a:gd name="connsiteY10" fmla="*/ 457200 h 1057275"/>
                <a:gd name="connsiteX11" fmla="*/ 919162 w 1166812"/>
                <a:gd name="connsiteY11" fmla="*/ 857250 h 1057275"/>
                <a:gd name="connsiteX12" fmla="*/ 776287 w 1166812"/>
                <a:gd name="connsiteY12" fmla="*/ 128587 h 1057275"/>
                <a:gd name="connsiteX13" fmla="*/ 776287 w 1166812"/>
                <a:gd name="connsiteY13" fmla="*/ 0 h 1057275"/>
                <a:gd name="connsiteX14" fmla="*/ 614362 w 1166812"/>
                <a:gd name="connsiteY14" fmla="*/ 128587 h 1057275"/>
                <a:gd name="connsiteX15" fmla="*/ 180975 w 1166812"/>
                <a:gd name="connsiteY15" fmla="*/ 285750 h 1057275"/>
                <a:gd name="connsiteX16" fmla="*/ 0 w 1166812"/>
                <a:gd name="connsiteY16" fmla="*/ 1057275 h 1057275"/>
                <a:gd name="connsiteX0" fmla="*/ 0 w 1166812"/>
                <a:gd name="connsiteY0" fmla="*/ 1057275 h 1057275"/>
                <a:gd name="connsiteX1" fmla="*/ 1109662 w 1166812"/>
                <a:gd name="connsiteY1" fmla="*/ 1057275 h 1057275"/>
                <a:gd name="connsiteX2" fmla="*/ 1147762 w 1166812"/>
                <a:gd name="connsiteY2" fmla="*/ 781050 h 1057275"/>
                <a:gd name="connsiteX3" fmla="*/ 1114425 w 1166812"/>
                <a:gd name="connsiteY3" fmla="*/ 461962 h 1057275"/>
                <a:gd name="connsiteX4" fmla="*/ 1162050 w 1166812"/>
                <a:gd name="connsiteY4" fmla="*/ 400050 h 1057275"/>
                <a:gd name="connsiteX5" fmla="*/ 1166812 w 1166812"/>
                <a:gd name="connsiteY5" fmla="*/ 328612 h 1057275"/>
                <a:gd name="connsiteX6" fmla="*/ 1071562 w 1166812"/>
                <a:gd name="connsiteY6" fmla="*/ 247650 h 1057275"/>
                <a:gd name="connsiteX7" fmla="*/ 1009650 w 1166812"/>
                <a:gd name="connsiteY7" fmla="*/ 247650 h 1057275"/>
                <a:gd name="connsiteX8" fmla="*/ 923925 w 1166812"/>
                <a:gd name="connsiteY8" fmla="*/ 323850 h 1057275"/>
                <a:gd name="connsiteX9" fmla="*/ 914400 w 1166812"/>
                <a:gd name="connsiteY9" fmla="*/ 385762 h 1057275"/>
                <a:gd name="connsiteX10" fmla="*/ 962025 w 1166812"/>
                <a:gd name="connsiteY10" fmla="*/ 457200 h 1057275"/>
                <a:gd name="connsiteX11" fmla="*/ 919162 w 1166812"/>
                <a:gd name="connsiteY11" fmla="*/ 857250 h 1057275"/>
                <a:gd name="connsiteX12" fmla="*/ 776287 w 1166812"/>
                <a:gd name="connsiteY12" fmla="*/ 128587 h 1057275"/>
                <a:gd name="connsiteX13" fmla="*/ 776287 w 1166812"/>
                <a:gd name="connsiteY13" fmla="*/ 0 h 1057275"/>
                <a:gd name="connsiteX14" fmla="*/ 614362 w 1166812"/>
                <a:gd name="connsiteY14" fmla="*/ 128587 h 1057275"/>
                <a:gd name="connsiteX15" fmla="*/ 180975 w 1166812"/>
                <a:gd name="connsiteY15" fmla="*/ 285750 h 1057275"/>
                <a:gd name="connsiteX16" fmla="*/ 0 w 1166812"/>
                <a:gd name="connsiteY16" fmla="*/ 1057275 h 1057275"/>
                <a:gd name="connsiteX0" fmla="*/ 0 w 1166812"/>
                <a:gd name="connsiteY0" fmla="*/ 1057275 h 1057275"/>
                <a:gd name="connsiteX1" fmla="*/ 1109662 w 1166812"/>
                <a:gd name="connsiteY1" fmla="*/ 1057275 h 1057275"/>
                <a:gd name="connsiteX2" fmla="*/ 1147762 w 1166812"/>
                <a:gd name="connsiteY2" fmla="*/ 781050 h 1057275"/>
                <a:gd name="connsiteX3" fmla="*/ 1114425 w 1166812"/>
                <a:gd name="connsiteY3" fmla="*/ 461962 h 1057275"/>
                <a:gd name="connsiteX4" fmla="*/ 1162050 w 1166812"/>
                <a:gd name="connsiteY4" fmla="*/ 400050 h 1057275"/>
                <a:gd name="connsiteX5" fmla="*/ 1166812 w 1166812"/>
                <a:gd name="connsiteY5" fmla="*/ 328612 h 1057275"/>
                <a:gd name="connsiteX6" fmla="*/ 1071562 w 1166812"/>
                <a:gd name="connsiteY6" fmla="*/ 247650 h 1057275"/>
                <a:gd name="connsiteX7" fmla="*/ 1009650 w 1166812"/>
                <a:gd name="connsiteY7" fmla="*/ 247650 h 1057275"/>
                <a:gd name="connsiteX8" fmla="*/ 923925 w 1166812"/>
                <a:gd name="connsiteY8" fmla="*/ 323850 h 1057275"/>
                <a:gd name="connsiteX9" fmla="*/ 914400 w 1166812"/>
                <a:gd name="connsiteY9" fmla="*/ 385762 h 1057275"/>
                <a:gd name="connsiteX10" fmla="*/ 962025 w 1166812"/>
                <a:gd name="connsiteY10" fmla="*/ 457200 h 1057275"/>
                <a:gd name="connsiteX11" fmla="*/ 919162 w 1166812"/>
                <a:gd name="connsiteY11" fmla="*/ 857250 h 1057275"/>
                <a:gd name="connsiteX12" fmla="*/ 776287 w 1166812"/>
                <a:gd name="connsiteY12" fmla="*/ 128587 h 1057275"/>
                <a:gd name="connsiteX13" fmla="*/ 776287 w 1166812"/>
                <a:gd name="connsiteY13" fmla="*/ 0 h 1057275"/>
                <a:gd name="connsiteX14" fmla="*/ 614362 w 1166812"/>
                <a:gd name="connsiteY14" fmla="*/ 128587 h 1057275"/>
                <a:gd name="connsiteX15" fmla="*/ 180975 w 1166812"/>
                <a:gd name="connsiteY15" fmla="*/ 285750 h 1057275"/>
                <a:gd name="connsiteX16" fmla="*/ 0 w 1166812"/>
                <a:gd name="connsiteY16" fmla="*/ 1057275 h 1057275"/>
                <a:gd name="connsiteX0" fmla="*/ 0 w 1171700"/>
                <a:gd name="connsiteY0" fmla="*/ 1057275 h 1057275"/>
                <a:gd name="connsiteX1" fmla="*/ 1109662 w 1171700"/>
                <a:gd name="connsiteY1" fmla="*/ 1057275 h 1057275"/>
                <a:gd name="connsiteX2" fmla="*/ 1147762 w 1171700"/>
                <a:gd name="connsiteY2" fmla="*/ 781050 h 1057275"/>
                <a:gd name="connsiteX3" fmla="*/ 1114425 w 1171700"/>
                <a:gd name="connsiteY3" fmla="*/ 461962 h 1057275"/>
                <a:gd name="connsiteX4" fmla="*/ 1162050 w 1171700"/>
                <a:gd name="connsiteY4" fmla="*/ 400050 h 1057275"/>
                <a:gd name="connsiteX5" fmla="*/ 1166812 w 1171700"/>
                <a:gd name="connsiteY5" fmla="*/ 328612 h 1057275"/>
                <a:gd name="connsiteX6" fmla="*/ 1071562 w 1171700"/>
                <a:gd name="connsiteY6" fmla="*/ 247650 h 1057275"/>
                <a:gd name="connsiteX7" fmla="*/ 1009650 w 1171700"/>
                <a:gd name="connsiteY7" fmla="*/ 247650 h 1057275"/>
                <a:gd name="connsiteX8" fmla="*/ 923925 w 1171700"/>
                <a:gd name="connsiteY8" fmla="*/ 323850 h 1057275"/>
                <a:gd name="connsiteX9" fmla="*/ 914400 w 1171700"/>
                <a:gd name="connsiteY9" fmla="*/ 385762 h 1057275"/>
                <a:gd name="connsiteX10" fmla="*/ 962025 w 1171700"/>
                <a:gd name="connsiteY10" fmla="*/ 457200 h 1057275"/>
                <a:gd name="connsiteX11" fmla="*/ 919162 w 1171700"/>
                <a:gd name="connsiteY11" fmla="*/ 857250 h 1057275"/>
                <a:gd name="connsiteX12" fmla="*/ 776287 w 1171700"/>
                <a:gd name="connsiteY12" fmla="*/ 128587 h 1057275"/>
                <a:gd name="connsiteX13" fmla="*/ 776287 w 1171700"/>
                <a:gd name="connsiteY13" fmla="*/ 0 h 1057275"/>
                <a:gd name="connsiteX14" fmla="*/ 614362 w 1171700"/>
                <a:gd name="connsiteY14" fmla="*/ 128587 h 1057275"/>
                <a:gd name="connsiteX15" fmla="*/ 180975 w 1171700"/>
                <a:gd name="connsiteY15" fmla="*/ 285750 h 1057275"/>
                <a:gd name="connsiteX16" fmla="*/ 0 w 1171700"/>
                <a:gd name="connsiteY16" fmla="*/ 1057275 h 1057275"/>
                <a:gd name="connsiteX0" fmla="*/ 0 w 1177826"/>
                <a:gd name="connsiteY0" fmla="*/ 1057275 h 1057275"/>
                <a:gd name="connsiteX1" fmla="*/ 1109662 w 1177826"/>
                <a:gd name="connsiteY1" fmla="*/ 1057275 h 1057275"/>
                <a:gd name="connsiteX2" fmla="*/ 1147762 w 1177826"/>
                <a:gd name="connsiteY2" fmla="*/ 781050 h 1057275"/>
                <a:gd name="connsiteX3" fmla="*/ 1114425 w 1177826"/>
                <a:gd name="connsiteY3" fmla="*/ 461962 h 1057275"/>
                <a:gd name="connsiteX4" fmla="*/ 1162050 w 1177826"/>
                <a:gd name="connsiteY4" fmla="*/ 400050 h 1057275"/>
                <a:gd name="connsiteX5" fmla="*/ 1166812 w 1177826"/>
                <a:gd name="connsiteY5" fmla="*/ 328612 h 1057275"/>
                <a:gd name="connsiteX6" fmla="*/ 1071562 w 1177826"/>
                <a:gd name="connsiteY6" fmla="*/ 247650 h 1057275"/>
                <a:gd name="connsiteX7" fmla="*/ 1009650 w 1177826"/>
                <a:gd name="connsiteY7" fmla="*/ 247650 h 1057275"/>
                <a:gd name="connsiteX8" fmla="*/ 923925 w 1177826"/>
                <a:gd name="connsiteY8" fmla="*/ 323850 h 1057275"/>
                <a:gd name="connsiteX9" fmla="*/ 914400 w 1177826"/>
                <a:gd name="connsiteY9" fmla="*/ 385762 h 1057275"/>
                <a:gd name="connsiteX10" fmla="*/ 962025 w 1177826"/>
                <a:gd name="connsiteY10" fmla="*/ 457200 h 1057275"/>
                <a:gd name="connsiteX11" fmla="*/ 919162 w 1177826"/>
                <a:gd name="connsiteY11" fmla="*/ 857250 h 1057275"/>
                <a:gd name="connsiteX12" fmla="*/ 776287 w 1177826"/>
                <a:gd name="connsiteY12" fmla="*/ 128587 h 1057275"/>
                <a:gd name="connsiteX13" fmla="*/ 776287 w 1177826"/>
                <a:gd name="connsiteY13" fmla="*/ 0 h 1057275"/>
                <a:gd name="connsiteX14" fmla="*/ 614362 w 1177826"/>
                <a:gd name="connsiteY14" fmla="*/ 128587 h 1057275"/>
                <a:gd name="connsiteX15" fmla="*/ 180975 w 1177826"/>
                <a:gd name="connsiteY15" fmla="*/ 285750 h 1057275"/>
                <a:gd name="connsiteX16" fmla="*/ 0 w 1177826"/>
                <a:gd name="connsiteY16" fmla="*/ 1057275 h 1057275"/>
                <a:gd name="connsiteX0" fmla="*/ 0 w 1179647"/>
                <a:gd name="connsiteY0" fmla="*/ 1057275 h 1057275"/>
                <a:gd name="connsiteX1" fmla="*/ 1109662 w 1179647"/>
                <a:gd name="connsiteY1" fmla="*/ 1057275 h 1057275"/>
                <a:gd name="connsiteX2" fmla="*/ 1147762 w 1179647"/>
                <a:gd name="connsiteY2" fmla="*/ 781050 h 1057275"/>
                <a:gd name="connsiteX3" fmla="*/ 1114425 w 1179647"/>
                <a:gd name="connsiteY3" fmla="*/ 461962 h 1057275"/>
                <a:gd name="connsiteX4" fmla="*/ 1162050 w 1179647"/>
                <a:gd name="connsiteY4" fmla="*/ 400050 h 1057275"/>
                <a:gd name="connsiteX5" fmla="*/ 1166812 w 1179647"/>
                <a:gd name="connsiteY5" fmla="*/ 328612 h 1057275"/>
                <a:gd name="connsiteX6" fmla="*/ 1071562 w 1179647"/>
                <a:gd name="connsiteY6" fmla="*/ 247650 h 1057275"/>
                <a:gd name="connsiteX7" fmla="*/ 1009650 w 1179647"/>
                <a:gd name="connsiteY7" fmla="*/ 247650 h 1057275"/>
                <a:gd name="connsiteX8" fmla="*/ 923925 w 1179647"/>
                <a:gd name="connsiteY8" fmla="*/ 323850 h 1057275"/>
                <a:gd name="connsiteX9" fmla="*/ 914400 w 1179647"/>
                <a:gd name="connsiteY9" fmla="*/ 385762 h 1057275"/>
                <a:gd name="connsiteX10" fmla="*/ 962025 w 1179647"/>
                <a:gd name="connsiteY10" fmla="*/ 457200 h 1057275"/>
                <a:gd name="connsiteX11" fmla="*/ 919162 w 1179647"/>
                <a:gd name="connsiteY11" fmla="*/ 857250 h 1057275"/>
                <a:gd name="connsiteX12" fmla="*/ 776287 w 1179647"/>
                <a:gd name="connsiteY12" fmla="*/ 128587 h 1057275"/>
                <a:gd name="connsiteX13" fmla="*/ 776287 w 1179647"/>
                <a:gd name="connsiteY13" fmla="*/ 0 h 1057275"/>
                <a:gd name="connsiteX14" fmla="*/ 614362 w 1179647"/>
                <a:gd name="connsiteY14" fmla="*/ 128587 h 1057275"/>
                <a:gd name="connsiteX15" fmla="*/ 180975 w 1179647"/>
                <a:gd name="connsiteY15" fmla="*/ 285750 h 1057275"/>
                <a:gd name="connsiteX16" fmla="*/ 0 w 1179647"/>
                <a:gd name="connsiteY16" fmla="*/ 1057275 h 1057275"/>
                <a:gd name="connsiteX0" fmla="*/ 0 w 1179647"/>
                <a:gd name="connsiteY0" fmla="*/ 1057275 h 1057275"/>
                <a:gd name="connsiteX1" fmla="*/ 1109662 w 1179647"/>
                <a:gd name="connsiteY1" fmla="*/ 1057275 h 1057275"/>
                <a:gd name="connsiteX2" fmla="*/ 1147762 w 1179647"/>
                <a:gd name="connsiteY2" fmla="*/ 781050 h 1057275"/>
                <a:gd name="connsiteX3" fmla="*/ 1114425 w 1179647"/>
                <a:gd name="connsiteY3" fmla="*/ 461962 h 1057275"/>
                <a:gd name="connsiteX4" fmla="*/ 1162050 w 1179647"/>
                <a:gd name="connsiteY4" fmla="*/ 400050 h 1057275"/>
                <a:gd name="connsiteX5" fmla="*/ 1166812 w 1179647"/>
                <a:gd name="connsiteY5" fmla="*/ 328612 h 1057275"/>
                <a:gd name="connsiteX6" fmla="*/ 1071562 w 1179647"/>
                <a:gd name="connsiteY6" fmla="*/ 247650 h 1057275"/>
                <a:gd name="connsiteX7" fmla="*/ 1009650 w 1179647"/>
                <a:gd name="connsiteY7" fmla="*/ 247650 h 1057275"/>
                <a:gd name="connsiteX8" fmla="*/ 923925 w 1179647"/>
                <a:gd name="connsiteY8" fmla="*/ 323850 h 1057275"/>
                <a:gd name="connsiteX9" fmla="*/ 914400 w 1179647"/>
                <a:gd name="connsiteY9" fmla="*/ 385762 h 1057275"/>
                <a:gd name="connsiteX10" fmla="*/ 962025 w 1179647"/>
                <a:gd name="connsiteY10" fmla="*/ 457200 h 1057275"/>
                <a:gd name="connsiteX11" fmla="*/ 919162 w 1179647"/>
                <a:gd name="connsiteY11" fmla="*/ 857250 h 1057275"/>
                <a:gd name="connsiteX12" fmla="*/ 776287 w 1179647"/>
                <a:gd name="connsiteY12" fmla="*/ 128587 h 1057275"/>
                <a:gd name="connsiteX13" fmla="*/ 776287 w 1179647"/>
                <a:gd name="connsiteY13" fmla="*/ 0 h 1057275"/>
                <a:gd name="connsiteX14" fmla="*/ 614362 w 1179647"/>
                <a:gd name="connsiteY14" fmla="*/ 128587 h 1057275"/>
                <a:gd name="connsiteX15" fmla="*/ 180975 w 1179647"/>
                <a:gd name="connsiteY15" fmla="*/ 285750 h 1057275"/>
                <a:gd name="connsiteX16" fmla="*/ 0 w 1179647"/>
                <a:gd name="connsiteY16" fmla="*/ 1057275 h 1057275"/>
                <a:gd name="connsiteX0" fmla="*/ 0 w 1179647"/>
                <a:gd name="connsiteY0" fmla="*/ 1057275 h 1057275"/>
                <a:gd name="connsiteX1" fmla="*/ 1109662 w 1179647"/>
                <a:gd name="connsiteY1" fmla="*/ 1057275 h 1057275"/>
                <a:gd name="connsiteX2" fmla="*/ 1147762 w 1179647"/>
                <a:gd name="connsiteY2" fmla="*/ 781050 h 1057275"/>
                <a:gd name="connsiteX3" fmla="*/ 1114425 w 1179647"/>
                <a:gd name="connsiteY3" fmla="*/ 461962 h 1057275"/>
                <a:gd name="connsiteX4" fmla="*/ 1162050 w 1179647"/>
                <a:gd name="connsiteY4" fmla="*/ 400050 h 1057275"/>
                <a:gd name="connsiteX5" fmla="*/ 1166812 w 1179647"/>
                <a:gd name="connsiteY5" fmla="*/ 328612 h 1057275"/>
                <a:gd name="connsiteX6" fmla="*/ 1071562 w 1179647"/>
                <a:gd name="connsiteY6" fmla="*/ 247650 h 1057275"/>
                <a:gd name="connsiteX7" fmla="*/ 1009650 w 1179647"/>
                <a:gd name="connsiteY7" fmla="*/ 247650 h 1057275"/>
                <a:gd name="connsiteX8" fmla="*/ 923925 w 1179647"/>
                <a:gd name="connsiteY8" fmla="*/ 323850 h 1057275"/>
                <a:gd name="connsiteX9" fmla="*/ 914400 w 1179647"/>
                <a:gd name="connsiteY9" fmla="*/ 385762 h 1057275"/>
                <a:gd name="connsiteX10" fmla="*/ 962025 w 1179647"/>
                <a:gd name="connsiteY10" fmla="*/ 457200 h 1057275"/>
                <a:gd name="connsiteX11" fmla="*/ 919162 w 1179647"/>
                <a:gd name="connsiteY11" fmla="*/ 857250 h 1057275"/>
                <a:gd name="connsiteX12" fmla="*/ 776287 w 1179647"/>
                <a:gd name="connsiteY12" fmla="*/ 128587 h 1057275"/>
                <a:gd name="connsiteX13" fmla="*/ 776287 w 1179647"/>
                <a:gd name="connsiteY13" fmla="*/ 0 h 1057275"/>
                <a:gd name="connsiteX14" fmla="*/ 614362 w 1179647"/>
                <a:gd name="connsiteY14" fmla="*/ 128587 h 1057275"/>
                <a:gd name="connsiteX15" fmla="*/ 180975 w 1179647"/>
                <a:gd name="connsiteY15" fmla="*/ 285750 h 1057275"/>
                <a:gd name="connsiteX16" fmla="*/ 0 w 1179647"/>
                <a:gd name="connsiteY16" fmla="*/ 1057275 h 1057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179647" h="1057275">
                  <a:moveTo>
                    <a:pt x="0" y="1057275"/>
                  </a:moveTo>
                  <a:lnTo>
                    <a:pt x="1109662" y="1057275"/>
                  </a:lnTo>
                  <a:cubicBezTo>
                    <a:pt x="1110456" y="984250"/>
                    <a:pt x="1096962" y="870744"/>
                    <a:pt x="1147762" y="781050"/>
                  </a:cubicBezTo>
                  <a:lnTo>
                    <a:pt x="1114425" y="461962"/>
                  </a:lnTo>
                  <a:lnTo>
                    <a:pt x="1162050" y="400050"/>
                  </a:lnTo>
                  <a:cubicBezTo>
                    <a:pt x="1185068" y="378618"/>
                    <a:pt x="1184274" y="342900"/>
                    <a:pt x="1166812" y="328612"/>
                  </a:cubicBezTo>
                  <a:lnTo>
                    <a:pt x="1071562" y="247650"/>
                  </a:lnTo>
                  <a:cubicBezTo>
                    <a:pt x="1050925" y="238125"/>
                    <a:pt x="1030287" y="230981"/>
                    <a:pt x="1009650" y="247650"/>
                  </a:cubicBezTo>
                  <a:lnTo>
                    <a:pt x="923925" y="323850"/>
                  </a:lnTo>
                  <a:cubicBezTo>
                    <a:pt x="894556" y="344487"/>
                    <a:pt x="898525" y="369887"/>
                    <a:pt x="914400" y="385762"/>
                  </a:cubicBezTo>
                  <a:lnTo>
                    <a:pt x="962025" y="457200"/>
                  </a:lnTo>
                  <a:lnTo>
                    <a:pt x="919162" y="857250"/>
                  </a:lnTo>
                  <a:cubicBezTo>
                    <a:pt x="852487" y="766762"/>
                    <a:pt x="657224" y="376238"/>
                    <a:pt x="776287" y="128587"/>
                  </a:cubicBezTo>
                  <a:lnTo>
                    <a:pt x="776287" y="0"/>
                  </a:lnTo>
                  <a:cubicBezTo>
                    <a:pt x="698499" y="42862"/>
                    <a:pt x="668337" y="61913"/>
                    <a:pt x="614362" y="128587"/>
                  </a:cubicBezTo>
                  <a:cubicBezTo>
                    <a:pt x="474663" y="161925"/>
                    <a:pt x="320675" y="190500"/>
                    <a:pt x="180975" y="285750"/>
                  </a:cubicBezTo>
                  <a:cubicBezTo>
                    <a:pt x="96838" y="414337"/>
                    <a:pt x="7937" y="752475"/>
                    <a:pt x="0" y="1057275"/>
                  </a:cubicBezTo>
                  <a:close/>
                </a:path>
              </a:pathLst>
            </a:cu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a:solidFill>
                  <a:srgbClr val="7F7F7F"/>
                </a:solidFill>
              </a:endParaRPr>
            </a:p>
          </p:txBody>
        </p:sp>
        <p:sp>
          <p:nvSpPr>
            <p:cNvPr id="36" name="Freeform 35"/>
            <p:cNvSpPr/>
            <p:nvPr/>
          </p:nvSpPr>
          <p:spPr>
            <a:xfrm>
              <a:off x="691161" y="3368566"/>
              <a:ext cx="34082" cy="82398"/>
            </a:xfrm>
            <a:custGeom>
              <a:avLst/>
              <a:gdLst>
                <a:gd name="connsiteX0" fmla="*/ 0 w 273844"/>
                <a:gd name="connsiteY0" fmla="*/ 602456 h 602456"/>
                <a:gd name="connsiteX1" fmla="*/ 273844 w 273844"/>
                <a:gd name="connsiteY1" fmla="*/ 452437 h 602456"/>
                <a:gd name="connsiteX2" fmla="*/ 240506 w 273844"/>
                <a:gd name="connsiteY2" fmla="*/ 133350 h 602456"/>
                <a:gd name="connsiteX3" fmla="*/ 197644 w 273844"/>
                <a:gd name="connsiteY3" fmla="*/ 133350 h 602456"/>
                <a:gd name="connsiteX4" fmla="*/ 28575 w 273844"/>
                <a:gd name="connsiteY4" fmla="*/ 0 h 602456"/>
                <a:gd name="connsiteX5" fmla="*/ 28575 w 273844"/>
                <a:gd name="connsiteY5" fmla="*/ 135731 h 602456"/>
                <a:gd name="connsiteX6" fmla="*/ 0 w 273844"/>
                <a:gd name="connsiteY6" fmla="*/ 602456 h 602456"/>
                <a:gd name="connsiteX0" fmla="*/ 0 w 273844"/>
                <a:gd name="connsiteY0" fmla="*/ 602456 h 602456"/>
                <a:gd name="connsiteX1" fmla="*/ 273844 w 273844"/>
                <a:gd name="connsiteY1" fmla="*/ 452437 h 602456"/>
                <a:gd name="connsiteX2" fmla="*/ 240506 w 273844"/>
                <a:gd name="connsiteY2" fmla="*/ 133350 h 602456"/>
                <a:gd name="connsiteX3" fmla="*/ 197644 w 273844"/>
                <a:gd name="connsiteY3" fmla="*/ 133350 h 602456"/>
                <a:gd name="connsiteX4" fmla="*/ 28575 w 273844"/>
                <a:gd name="connsiteY4" fmla="*/ 0 h 602456"/>
                <a:gd name="connsiteX5" fmla="*/ 28575 w 273844"/>
                <a:gd name="connsiteY5" fmla="*/ 135731 h 602456"/>
                <a:gd name="connsiteX6" fmla="*/ 0 w 273844"/>
                <a:gd name="connsiteY6" fmla="*/ 602456 h 602456"/>
                <a:gd name="connsiteX0" fmla="*/ 0 w 273844"/>
                <a:gd name="connsiteY0" fmla="*/ 602456 h 602456"/>
                <a:gd name="connsiteX1" fmla="*/ 273844 w 273844"/>
                <a:gd name="connsiteY1" fmla="*/ 452437 h 602456"/>
                <a:gd name="connsiteX2" fmla="*/ 240506 w 273844"/>
                <a:gd name="connsiteY2" fmla="*/ 133350 h 602456"/>
                <a:gd name="connsiteX3" fmla="*/ 197644 w 273844"/>
                <a:gd name="connsiteY3" fmla="*/ 133350 h 602456"/>
                <a:gd name="connsiteX4" fmla="*/ 28575 w 273844"/>
                <a:gd name="connsiteY4" fmla="*/ 0 h 602456"/>
                <a:gd name="connsiteX5" fmla="*/ 28575 w 273844"/>
                <a:gd name="connsiteY5" fmla="*/ 135731 h 602456"/>
                <a:gd name="connsiteX6" fmla="*/ 0 w 273844"/>
                <a:gd name="connsiteY6" fmla="*/ 602456 h 602456"/>
                <a:gd name="connsiteX0" fmla="*/ 0 w 273844"/>
                <a:gd name="connsiteY0" fmla="*/ 602456 h 602456"/>
                <a:gd name="connsiteX1" fmla="*/ 273844 w 273844"/>
                <a:gd name="connsiteY1" fmla="*/ 452437 h 602456"/>
                <a:gd name="connsiteX2" fmla="*/ 240506 w 273844"/>
                <a:gd name="connsiteY2" fmla="*/ 133350 h 602456"/>
                <a:gd name="connsiteX3" fmla="*/ 197644 w 273844"/>
                <a:gd name="connsiteY3" fmla="*/ 133350 h 602456"/>
                <a:gd name="connsiteX4" fmla="*/ 28575 w 273844"/>
                <a:gd name="connsiteY4" fmla="*/ 0 h 602456"/>
                <a:gd name="connsiteX5" fmla="*/ 28575 w 273844"/>
                <a:gd name="connsiteY5" fmla="*/ 135731 h 602456"/>
                <a:gd name="connsiteX6" fmla="*/ 0 w 273844"/>
                <a:gd name="connsiteY6" fmla="*/ 602456 h 602456"/>
                <a:gd name="connsiteX0" fmla="*/ 0 w 273844"/>
                <a:gd name="connsiteY0" fmla="*/ 602456 h 602456"/>
                <a:gd name="connsiteX1" fmla="*/ 273844 w 273844"/>
                <a:gd name="connsiteY1" fmla="*/ 452437 h 602456"/>
                <a:gd name="connsiteX2" fmla="*/ 240506 w 273844"/>
                <a:gd name="connsiteY2" fmla="*/ 133350 h 602456"/>
                <a:gd name="connsiteX3" fmla="*/ 197644 w 273844"/>
                <a:gd name="connsiteY3" fmla="*/ 133350 h 602456"/>
                <a:gd name="connsiteX4" fmla="*/ 28575 w 273844"/>
                <a:gd name="connsiteY4" fmla="*/ 0 h 602456"/>
                <a:gd name="connsiteX5" fmla="*/ 28575 w 273844"/>
                <a:gd name="connsiteY5" fmla="*/ 135731 h 602456"/>
                <a:gd name="connsiteX6" fmla="*/ 0 w 273844"/>
                <a:gd name="connsiteY6" fmla="*/ 602456 h 602456"/>
                <a:gd name="connsiteX0" fmla="*/ 0 w 273844"/>
                <a:gd name="connsiteY0" fmla="*/ 602456 h 602456"/>
                <a:gd name="connsiteX1" fmla="*/ 273844 w 273844"/>
                <a:gd name="connsiteY1" fmla="*/ 452437 h 602456"/>
                <a:gd name="connsiteX2" fmla="*/ 240506 w 273844"/>
                <a:gd name="connsiteY2" fmla="*/ 133350 h 602456"/>
                <a:gd name="connsiteX3" fmla="*/ 197644 w 273844"/>
                <a:gd name="connsiteY3" fmla="*/ 133350 h 602456"/>
                <a:gd name="connsiteX4" fmla="*/ 28575 w 273844"/>
                <a:gd name="connsiteY4" fmla="*/ 0 h 602456"/>
                <a:gd name="connsiteX5" fmla="*/ 28575 w 273844"/>
                <a:gd name="connsiteY5" fmla="*/ 135731 h 602456"/>
                <a:gd name="connsiteX6" fmla="*/ 0 w 273844"/>
                <a:gd name="connsiteY6" fmla="*/ 602456 h 602456"/>
                <a:gd name="connsiteX0" fmla="*/ 0 w 273844"/>
                <a:gd name="connsiteY0" fmla="*/ 602456 h 602456"/>
                <a:gd name="connsiteX1" fmla="*/ 273844 w 273844"/>
                <a:gd name="connsiteY1" fmla="*/ 452437 h 602456"/>
                <a:gd name="connsiteX2" fmla="*/ 240506 w 273844"/>
                <a:gd name="connsiteY2" fmla="*/ 133350 h 602456"/>
                <a:gd name="connsiteX3" fmla="*/ 197644 w 273844"/>
                <a:gd name="connsiteY3" fmla="*/ 133350 h 602456"/>
                <a:gd name="connsiteX4" fmla="*/ 28575 w 273844"/>
                <a:gd name="connsiteY4" fmla="*/ 0 h 602456"/>
                <a:gd name="connsiteX5" fmla="*/ 28575 w 273844"/>
                <a:gd name="connsiteY5" fmla="*/ 135731 h 602456"/>
                <a:gd name="connsiteX6" fmla="*/ 0 w 273844"/>
                <a:gd name="connsiteY6" fmla="*/ 602456 h 602456"/>
                <a:gd name="connsiteX0" fmla="*/ 0 w 273844"/>
                <a:gd name="connsiteY0" fmla="*/ 602456 h 602456"/>
                <a:gd name="connsiteX1" fmla="*/ 273844 w 273844"/>
                <a:gd name="connsiteY1" fmla="*/ 452437 h 602456"/>
                <a:gd name="connsiteX2" fmla="*/ 240506 w 273844"/>
                <a:gd name="connsiteY2" fmla="*/ 133350 h 602456"/>
                <a:gd name="connsiteX3" fmla="*/ 197644 w 273844"/>
                <a:gd name="connsiteY3" fmla="*/ 133350 h 602456"/>
                <a:gd name="connsiteX4" fmla="*/ 28575 w 273844"/>
                <a:gd name="connsiteY4" fmla="*/ 0 h 602456"/>
                <a:gd name="connsiteX5" fmla="*/ 28575 w 273844"/>
                <a:gd name="connsiteY5" fmla="*/ 135731 h 602456"/>
                <a:gd name="connsiteX6" fmla="*/ 0 w 273844"/>
                <a:gd name="connsiteY6" fmla="*/ 602456 h 602456"/>
                <a:gd name="connsiteX0" fmla="*/ 0 w 273844"/>
                <a:gd name="connsiteY0" fmla="*/ 602456 h 602456"/>
                <a:gd name="connsiteX1" fmla="*/ 273844 w 273844"/>
                <a:gd name="connsiteY1" fmla="*/ 452437 h 602456"/>
                <a:gd name="connsiteX2" fmla="*/ 240506 w 273844"/>
                <a:gd name="connsiteY2" fmla="*/ 133350 h 602456"/>
                <a:gd name="connsiteX3" fmla="*/ 197644 w 273844"/>
                <a:gd name="connsiteY3" fmla="*/ 133350 h 602456"/>
                <a:gd name="connsiteX4" fmla="*/ 28575 w 273844"/>
                <a:gd name="connsiteY4" fmla="*/ 0 h 602456"/>
                <a:gd name="connsiteX5" fmla="*/ 28575 w 273844"/>
                <a:gd name="connsiteY5" fmla="*/ 135731 h 602456"/>
                <a:gd name="connsiteX6" fmla="*/ 0 w 273844"/>
                <a:gd name="connsiteY6" fmla="*/ 602456 h 602456"/>
                <a:gd name="connsiteX0" fmla="*/ 0 w 273844"/>
                <a:gd name="connsiteY0" fmla="*/ 602456 h 602456"/>
                <a:gd name="connsiteX1" fmla="*/ 273844 w 273844"/>
                <a:gd name="connsiteY1" fmla="*/ 452437 h 602456"/>
                <a:gd name="connsiteX2" fmla="*/ 240506 w 273844"/>
                <a:gd name="connsiteY2" fmla="*/ 133350 h 602456"/>
                <a:gd name="connsiteX3" fmla="*/ 197644 w 273844"/>
                <a:gd name="connsiteY3" fmla="*/ 133350 h 602456"/>
                <a:gd name="connsiteX4" fmla="*/ 28575 w 273844"/>
                <a:gd name="connsiteY4" fmla="*/ 0 h 602456"/>
                <a:gd name="connsiteX5" fmla="*/ 28575 w 273844"/>
                <a:gd name="connsiteY5" fmla="*/ 135731 h 602456"/>
                <a:gd name="connsiteX6" fmla="*/ 0 w 273844"/>
                <a:gd name="connsiteY6" fmla="*/ 602456 h 6024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73844" h="602456">
                  <a:moveTo>
                    <a:pt x="0" y="602456"/>
                  </a:moveTo>
                  <a:cubicBezTo>
                    <a:pt x="55562" y="545307"/>
                    <a:pt x="146845" y="492918"/>
                    <a:pt x="273844" y="452437"/>
                  </a:cubicBezTo>
                  <a:cubicBezTo>
                    <a:pt x="269875" y="346075"/>
                    <a:pt x="268288" y="244474"/>
                    <a:pt x="240506" y="133350"/>
                  </a:cubicBezTo>
                  <a:lnTo>
                    <a:pt x="197644" y="133350"/>
                  </a:lnTo>
                  <a:cubicBezTo>
                    <a:pt x="155575" y="65088"/>
                    <a:pt x="96837" y="39687"/>
                    <a:pt x="28575" y="0"/>
                  </a:cubicBezTo>
                  <a:lnTo>
                    <a:pt x="28575" y="135731"/>
                  </a:lnTo>
                  <a:cubicBezTo>
                    <a:pt x="116681" y="236537"/>
                    <a:pt x="45244" y="430212"/>
                    <a:pt x="0" y="602456"/>
                  </a:cubicBezTo>
                  <a:close/>
                </a:path>
              </a:pathLst>
            </a:cu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a:solidFill>
                  <a:srgbClr val="7F7F7F"/>
                </a:solidFill>
              </a:endParaRPr>
            </a:p>
          </p:txBody>
        </p:sp>
        <p:sp>
          <p:nvSpPr>
            <p:cNvPr id="37" name="Freeform 36"/>
            <p:cNvSpPr/>
            <p:nvPr/>
          </p:nvSpPr>
          <p:spPr>
            <a:xfrm>
              <a:off x="605765" y="3235361"/>
              <a:ext cx="113102" cy="100636"/>
            </a:xfrm>
            <a:custGeom>
              <a:avLst/>
              <a:gdLst>
                <a:gd name="connsiteX0" fmla="*/ 0 w 707231"/>
                <a:gd name="connsiteY0" fmla="*/ 735807 h 735807"/>
                <a:gd name="connsiteX1" fmla="*/ 214312 w 707231"/>
                <a:gd name="connsiteY1" fmla="*/ 419100 h 735807"/>
                <a:gd name="connsiteX2" fmla="*/ 657225 w 707231"/>
                <a:gd name="connsiteY2" fmla="*/ 431007 h 735807"/>
                <a:gd name="connsiteX3" fmla="*/ 707231 w 707231"/>
                <a:gd name="connsiteY3" fmla="*/ 723900 h 735807"/>
                <a:gd name="connsiteX4" fmla="*/ 364331 w 707231"/>
                <a:gd name="connsiteY4" fmla="*/ 0 h 735807"/>
                <a:gd name="connsiteX5" fmla="*/ 0 w 707231"/>
                <a:gd name="connsiteY5" fmla="*/ 735807 h 735807"/>
                <a:gd name="connsiteX0" fmla="*/ 0 w 707231"/>
                <a:gd name="connsiteY0" fmla="*/ 735807 h 735807"/>
                <a:gd name="connsiteX1" fmla="*/ 214312 w 707231"/>
                <a:gd name="connsiteY1" fmla="*/ 419100 h 735807"/>
                <a:gd name="connsiteX2" fmla="*/ 657225 w 707231"/>
                <a:gd name="connsiteY2" fmla="*/ 431007 h 735807"/>
                <a:gd name="connsiteX3" fmla="*/ 707231 w 707231"/>
                <a:gd name="connsiteY3" fmla="*/ 723900 h 735807"/>
                <a:gd name="connsiteX4" fmla="*/ 364331 w 707231"/>
                <a:gd name="connsiteY4" fmla="*/ 0 h 735807"/>
                <a:gd name="connsiteX5" fmla="*/ 0 w 707231"/>
                <a:gd name="connsiteY5" fmla="*/ 735807 h 735807"/>
                <a:gd name="connsiteX0" fmla="*/ 0 w 707231"/>
                <a:gd name="connsiteY0" fmla="*/ 738452 h 738452"/>
                <a:gd name="connsiteX1" fmla="*/ 214312 w 707231"/>
                <a:gd name="connsiteY1" fmla="*/ 421745 h 738452"/>
                <a:gd name="connsiteX2" fmla="*/ 657225 w 707231"/>
                <a:gd name="connsiteY2" fmla="*/ 433652 h 738452"/>
                <a:gd name="connsiteX3" fmla="*/ 707231 w 707231"/>
                <a:gd name="connsiteY3" fmla="*/ 726545 h 738452"/>
                <a:gd name="connsiteX4" fmla="*/ 364331 w 707231"/>
                <a:gd name="connsiteY4" fmla="*/ 2645 h 738452"/>
                <a:gd name="connsiteX5" fmla="*/ 0 w 707231"/>
                <a:gd name="connsiteY5" fmla="*/ 738452 h 738452"/>
                <a:gd name="connsiteX0" fmla="*/ 102731 w 809962"/>
                <a:gd name="connsiteY0" fmla="*/ 738452 h 738452"/>
                <a:gd name="connsiteX1" fmla="*/ 317043 w 809962"/>
                <a:gd name="connsiteY1" fmla="*/ 421745 h 738452"/>
                <a:gd name="connsiteX2" fmla="*/ 759956 w 809962"/>
                <a:gd name="connsiteY2" fmla="*/ 433652 h 738452"/>
                <a:gd name="connsiteX3" fmla="*/ 809962 w 809962"/>
                <a:gd name="connsiteY3" fmla="*/ 726545 h 738452"/>
                <a:gd name="connsiteX4" fmla="*/ 467062 w 809962"/>
                <a:gd name="connsiteY4" fmla="*/ 2645 h 738452"/>
                <a:gd name="connsiteX5" fmla="*/ 102731 w 809962"/>
                <a:gd name="connsiteY5" fmla="*/ 738452 h 738452"/>
                <a:gd name="connsiteX0" fmla="*/ 102731 w 809962"/>
                <a:gd name="connsiteY0" fmla="*/ 735807 h 735807"/>
                <a:gd name="connsiteX1" fmla="*/ 317043 w 809962"/>
                <a:gd name="connsiteY1" fmla="*/ 419100 h 735807"/>
                <a:gd name="connsiteX2" fmla="*/ 759956 w 809962"/>
                <a:gd name="connsiteY2" fmla="*/ 431007 h 735807"/>
                <a:gd name="connsiteX3" fmla="*/ 809962 w 809962"/>
                <a:gd name="connsiteY3" fmla="*/ 723900 h 735807"/>
                <a:gd name="connsiteX4" fmla="*/ 467062 w 809962"/>
                <a:gd name="connsiteY4" fmla="*/ 0 h 735807"/>
                <a:gd name="connsiteX5" fmla="*/ 102731 w 809962"/>
                <a:gd name="connsiteY5" fmla="*/ 735807 h 735807"/>
                <a:gd name="connsiteX0" fmla="*/ 102731 w 908488"/>
                <a:gd name="connsiteY0" fmla="*/ 735807 h 735807"/>
                <a:gd name="connsiteX1" fmla="*/ 317043 w 908488"/>
                <a:gd name="connsiteY1" fmla="*/ 419100 h 735807"/>
                <a:gd name="connsiteX2" fmla="*/ 759956 w 908488"/>
                <a:gd name="connsiteY2" fmla="*/ 431007 h 735807"/>
                <a:gd name="connsiteX3" fmla="*/ 809962 w 908488"/>
                <a:gd name="connsiteY3" fmla="*/ 723900 h 735807"/>
                <a:gd name="connsiteX4" fmla="*/ 467062 w 908488"/>
                <a:gd name="connsiteY4" fmla="*/ 0 h 735807"/>
                <a:gd name="connsiteX5" fmla="*/ 102731 w 908488"/>
                <a:gd name="connsiteY5" fmla="*/ 735807 h 735807"/>
                <a:gd name="connsiteX0" fmla="*/ 102731 w 896093"/>
                <a:gd name="connsiteY0" fmla="*/ 735807 h 735807"/>
                <a:gd name="connsiteX1" fmla="*/ 317043 w 896093"/>
                <a:gd name="connsiteY1" fmla="*/ 419100 h 735807"/>
                <a:gd name="connsiteX2" fmla="*/ 759956 w 896093"/>
                <a:gd name="connsiteY2" fmla="*/ 431007 h 735807"/>
                <a:gd name="connsiteX3" fmla="*/ 809962 w 896093"/>
                <a:gd name="connsiteY3" fmla="*/ 723900 h 735807"/>
                <a:gd name="connsiteX4" fmla="*/ 467062 w 896093"/>
                <a:gd name="connsiteY4" fmla="*/ 0 h 735807"/>
                <a:gd name="connsiteX5" fmla="*/ 102731 w 896093"/>
                <a:gd name="connsiteY5" fmla="*/ 735807 h 735807"/>
                <a:gd name="connsiteX0" fmla="*/ 102731 w 908757"/>
                <a:gd name="connsiteY0" fmla="*/ 735807 h 735807"/>
                <a:gd name="connsiteX1" fmla="*/ 317043 w 908757"/>
                <a:gd name="connsiteY1" fmla="*/ 419100 h 735807"/>
                <a:gd name="connsiteX2" fmla="*/ 759956 w 908757"/>
                <a:gd name="connsiteY2" fmla="*/ 431007 h 735807"/>
                <a:gd name="connsiteX3" fmla="*/ 809962 w 908757"/>
                <a:gd name="connsiteY3" fmla="*/ 723900 h 735807"/>
                <a:gd name="connsiteX4" fmla="*/ 467062 w 908757"/>
                <a:gd name="connsiteY4" fmla="*/ 0 h 735807"/>
                <a:gd name="connsiteX5" fmla="*/ 102731 w 908757"/>
                <a:gd name="connsiteY5" fmla="*/ 735807 h 735807"/>
                <a:gd name="connsiteX0" fmla="*/ 102731 w 908757"/>
                <a:gd name="connsiteY0" fmla="*/ 735807 h 735807"/>
                <a:gd name="connsiteX1" fmla="*/ 317043 w 908757"/>
                <a:gd name="connsiteY1" fmla="*/ 419100 h 735807"/>
                <a:gd name="connsiteX2" fmla="*/ 759956 w 908757"/>
                <a:gd name="connsiteY2" fmla="*/ 431007 h 735807"/>
                <a:gd name="connsiteX3" fmla="*/ 809962 w 908757"/>
                <a:gd name="connsiteY3" fmla="*/ 723900 h 735807"/>
                <a:gd name="connsiteX4" fmla="*/ 467062 w 908757"/>
                <a:gd name="connsiteY4" fmla="*/ 0 h 735807"/>
                <a:gd name="connsiteX5" fmla="*/ 102731 w 908757"/>
                <a:gd name="connsiteY5" fmla="*/ 735807 h 735807"/>
                <a:gd name="connsiteX0" fmla="*/ 102731 w 908757"/>
                <a:gd name="connsiteY0" fmla="*/ 735807 h 735807"/>
                <a:gd name="connsiteX1" fmla="*/ 317043 w 908757"/>
                <a:gd name="connsiteY1" fmla="*/ 419100 h 735807"/>
                <a:gd name="connsiteX2" fmla="*/ 759956 w 908757"/>
                <a:gd name="connsiteY2" fmla="*/ 431007 h 735807"/>
                <a:gd name="connsiteX3" fmla="*/ 809962 w 908757"/>
                <a:gd name="connsiteY3" fmla="*/ 723900 h 735807"/>
                <a:gd name="connsiteX4" fmla="*/ 467062 w 908757"/>
                <a:gd name="connsiteY4" fmla="*/ 0 h 735807"/>
                <a:gd name="connsiteX5" fmla="*/ 102731 w 908757"/>
                <a:gd name="connsiteY5" fmla="*/ 735807 h 735807"/>
                <a:gd name="connsiteX0" fmla="*/ 102731 w 908757"/>
                <a:gd name="connsiteY0" fmla="*/ 735807 h 735807"/>
                <a:gd name="connsiteX1" fmla="*/ 317043 w 908757"/>
                <a:gd name="connsiteY1" fmla="*/ 419100 h 735807"/>
                <a:gd name="connsiteX2" fmla="*/ 759956 w 908757"/>
                <a:gd name="connsiteY2" fmla="*/ 431007 h 735807"/>
                <a:gd name="connsiteX3" fmla="*/ 809962 w 908757"/>
                <a:gd name="connsiteY3" fmla="*/ 723900 h 735807"/>
                <a:gd name="connsiteX4" fmla="*/ 467062 w 908757"/>
                <a:gd name="connsiteY4" fmla="*/ 0 h 735807"/>
                <a:gd name="connsiteX5" fmla="*/ 102731 w 908757"/>
                <a:gd name="connsiteY5" fmla="*/ 735807 h 735807"/>
                <a:gd name="connsiteX0" fmla="*/ 102731 w 908757"/>
                <a:gd name="connsiteY0" fmla="*/ 735807 h 735807"/>
                <a:gd name="connsiteX1" fmla="*/ 317043 w 908757"/>
                <a:gd name="connsiteY1" fmla="*/ 419100 h 735807"/>
                <a:gd name="connsiteX2" fmla="*/ 759956 w 908757"/>
                <a:gd name="connsiteY2" fmla="*/ 431007 h 735807"/>
                <a:gd name="connsiteX3" fmla="*/ 809962 w 908757"/>
                <a:gd name="connsiteY3" fmla="*/ 723900 h 735807"/>
                <a:gd name="connsiteX4" fmla="*/ 467062 w 908757"/>
                <a:gd name="connsiteY4" fmla="*/ 0 h 735807"/>
                <a:gd name="connsiteX5" fmla="*/ 102731 w 908757"/>
                <a:gd name="connsiteY5" fmla="*/ 735807 h 735807"/>
                <a:gd name="connsiteX0" fmla="*/ 102731 w 908757"/>
                <a:gd name="connsiteY0" fmla="*/ 735807 h 735807"/>
                <a:gd name="connsiteX1" fmla="*/ 317043 w 908757"/>
                <a:gd name="connsiteY1" fmla="*/ 419100 h 735807"/>
                <a:gd name="connsiteX2" fmla="*/ 759956 w 908757"/>
                <a:gd name="connsiteY2" fmla="*/ 431007 h 735807"/>
                <a:gd name="connsiteX3" fmla="*/ 809962 w 908757"/>
                <a:gd name="connsiteY3" fmla="*/ 723900 h 735807"/>
                <a:gd name="connsiteX4" fmla="*/ 467062 w 908757"/>
                <a:gd name="connsiteY4" fmla="*/ 0 h 735807"/>
                <a:gd name="connsiteX5" fmla="*/ 102731 w 908757"/>
                <a:gd name="connsiteY5" fmla="*/ 735807 h 735807"/>
                <a:gd name="connsiteX0" fmla="*/ 102731 w 908757"/>
                <a:gd name="connsiteY0" fmla="*/ 735807 h 735807"/>
                <a:gd name="connsiteX1" fmla="*/ 317043 w 908757"/>
                <a:gd name="connsiteY1" fmla="*/ 419100 h 735807"/>
                <a:gd name="connsiteX2" fmla="*/ 759956 w 908757"/>
                <a:gd name="connsiteY2" fmla="*/ 431007 h 735807"/>
                <a:gd name="connsiteX3" fmla="*/ 809962 w 908757"/>
                <a:gd name="connsiteY3" fmla="*/ 723900 h 735807"/>
                <a:gd name="connsiteX4" fmla="*/ 467062 w 908757"/>
                <a:gd name="connsiteY4" fmla="*/ 0 h 735807"/>
                <a:gd name="connsiteX5" fmla="*/ 102731 w 908757"/>
                <a:gd name="connsiteY5" fmla="*/ 735807 h 735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08757" h="735807">
                  <a:moveTo>
                    <a:pt x="102731" y="735807"/>
                  </a:moveTo>
                  <a:cubicBezTo>
                    <a:pt x="64631" y="468313"/>
                    <a:pt x="171787" y="372269"/>
                    <a:pt x="317043" y="419100"/>
                  </a:cubicBezTo>
                  <a:cubicBezTo>
                    <a:pt x="486112" y="475456"/>
                    <a:pt x="614699" y="524670"/>
                    <a:pt x="759956" y="431007"/>
                  </a:cubicBezTo>
                  <a:cubicBezTo>
                    <a:pt x="821868" y="519113"/>
                    <a:pt x="821868" y="611982"/>
                    <a:pt x="809962" y="723900"/>
                  </a:cubicBezTo>
                  <a:cubicBezTo>
                    <a:pt x="1021894" y="515937"/>
                    <a:pt x="886161" y="10319"/>
                    <a:pt x="467062" y="0"/>
                  </a:cubicBezTo>
                  <a:cubicBezTo>
                    <a:pt x="97968" y="4763"/>
                    <a:pt x="-149682" y="421482"/>
                    <a:pt x="102731" y="735807"/>
                  </a:cubicBezTo>
                  <a:close/>
                </a:path>
              </a:pathLst>
            </a:cu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a:solidFill>
                  <a:srgbClr val="7F7F7F"/>
                </a:solidFill>
              </a:endParaRPr>
            </a:p>
          </p:txBody>
        </p:sp>
        <p:sp>
          <p:nvSpPr>
            <p:cNvPr id="38" name="Freeform 37"/>
            <p:cNvSpPr/>
            <p:nvPr/>
          </p:nvSpPr>
          <p:spPr>
            <a:xfrm flipH="1">
              <a:off x="900983" y="3235361"/>
              <a:ext cx="113102" cy="100636"/>
            </a:xfrm>
            <a:custGeom>
              <a:avLst/>
              <a:gdLst>
                <a:gd name="connsiteX0" fmla="*/ 0 w 707231"/>
                <a:gd name="connsiteY0" fmla="*/ 735807 h 735807"/>
                <a:gd name="connsiteX1" fmla="*/ 214312 w 707231"/>
                <a:gd name="connsiteY1" fmla="*/ 419100 h 735807"/>
                <a:gd name="connsiteX2" fmla="*/ 657225 w 707231"/>
                <a:gd name="connsiteY2" fmla="*/ 431007 h 735807"/>
                <a:gd name="connsiteX3" fmla="*/ 707231 w 707231"/>
                <a:gd name="connsiteY3" fmla="*/ 723900 h 735807"/>
                <a:gd name="connsiteX4" fmla="*/ 364331 w 707231"/>
                <a:gd name="connsiteY4" fmla="*/ 0 h 735807"/>
                <a:gd name="connsiteX5" fmla="*/ 0 w 707231"/>
                <a:gd name="connsiteY5" fmla="*/ 735807 h 735807"/>
                <a:gd name="connsiteX0" fmla="*/ 0 w 707231"/>
                <a:gd name="connsiteY0" fmla="*/ 735807 h 735807"/>
                <a:gd name="connsiteX1" fmla="*/ 214312 w 707231"/>
                <a:gd name="connsiteY1" fmla="*/ 419100 h 735807"/>
                <a:gd name="connsiteX2" fmla="*/ 657225 w 707231"/>
                <a:gd name="connsiteY2" fmla="*/ 431007 h 735807"/>
                <a:gd name="connsiteX3" fmla="*/ 707231 w 707231"/>
                <a:gd name="connsiteY3" fmla="*/ 723900 h 735807"/>
                <a:gd name="connsiteX4" fmla="*/ 364331 w 707231"/>
                <a:gd name="connsiteY4" fmla="*/ 0 h 735807"/>
                <a:gd name="connsiteX5" fmla="*/ 0 w 707231"/>
                <a:gd name="connsiteY5" fmla="*/ 735807 h 735807"/>
                <a:gd name="connsiteX0" fmla="*/ 0 w 707231"/>
                <a:gd name="connsiteY0" fmla="*/ 738452 h 738452"/>
                <a:gd name="connsiteX1" fmla="*/ 214312 w 707231"/>
                <a:gd name="connsiteY1" fmla="*/ 421745 h 738452"/>
                <a:gd name="connsiteX2" fmla="*/ 657225 w 707231"/>
                <a:gd name="connsiteY2" fmla="*/ 433652 h 738452"/>
                <a:gd name="connsiteX3" fmla="*/ 707231 w 707231"/>
                <a:gd name="connsiteY3" fmla="*/ 726545 h 738452"/>
                <a:gd name="connsiteX4" fmla="*/ 364331 w 707231"/>
                <a:gd name="connsiteY4" fmla="*/ 2645 h 738452"/>
                <a:gd name="connsiteX5" fmla="*/ 0 w 707231"/>
                <a:gd name="connsiteY5" fmla="*/ 738452 h 738452"/>
                <a:gd name="connsiteX0" fmla="*/ 102731 w 809962"/>
                <a:gd name="connsiteY0" fmla="*/ 738452 h 738452"/>
                <a:gd name="connsiteX1" fmla="*/ 317043 w 809962"/>
                <a:gd name="connsiteY1" fmla="*/ 421745 h 738452"/>
                <a:gd name="connsiteX2" fmla="*/ 759956 w 809962"/>
                <a:gd name="connsiteY2" fmla="*/ 433652 h 738452"/>
                <a:gd name="connsiteX3" fmla="*/ 809962 w 809962"/>
                <a:gd name="connsiteY3" fmla="*/ 726545 h 738452"/>
                <a:gd name="connsiteX4" fmla="*/ 467062 w 809962"/>
                <a:gd name="connsiteY4" fmla="*/ 2645 h 738452"/>
                <a:gd name="connsiteX5" fmla="*/ 102731 w 809962"/>
                <a:gd name="connsiteY5" fmla="*/ 738452 h 738452"/>
                <a:gd name="connsiteX0" fmla="*/ 102731 w 809962"/>
                <a:gd name="connsiteY0" fmla="*/ 735807 h 735807"/>
                <a:gd name="connsiteX1" fmla="*/ 317043 w 809962"/>
                <a:gd name="connsiteY1" fmla="*/ 419100 h 735807"/>
                <a:gd name="connsiteX2" fmla="*/ 759956 w 809962"/>
                <a:gd name="connsiteY2" fmla="*/ 431007 h 735807"/>
                <a:gd name="connsiteX3" fmla="*/ 809962 w 809962"/>
                <a:gd name="connsiteY3" fmla="*/ 723900 h 735807"/>
                <a:gd name="connsiteX4" fmla="*/ 467062 w 809962"/>
                <a:gd name="connsiteY4" fmla="*/ 0 h 735807"/>
                <a:gd name="connsiteX5" fmla="*/ 102731 w 809962"/>
                <a:gd name="connsiteY5" fmla="*/ 735807 h 735807"/>
                <a:gd name="connsiteX0" fmla="*/ 102731 w 908488"/>
                <a:gd name="connsiteY0" fmla="*/ 735807 h 735807"/>
                <a:gd name="connsiteX1" fmla="*/ 317043 w 908488"/>
                <a:gd name="connsiteY1" fmla="*/ 419100 h 735807"/>
                <a:gd name="connsiteX2" fmla="*/ 759956 w 908488"/>
                <a:gd name="connsiteY2" fmla="*/ 431007 h 735807"/>
                <a:gd name="connsiteX3" fmla="*/ 809962 w 908488"/>
                <a:gd name="connsiteY3" fmla="*/ 723900 h 735807"/>
                <a:gd name="connsiteX4" fmla="*/ 467062 w 908488"/>
                <a:gd name="connsiteY4" fmla="*/ 0 h 735807"/>
                <a:gd name="connsiteX5" fmla="*/ 102731 w 908488"/>
                <a:gd name="connsiteY5" fmla="*/ 735807 h 735807"/>
                <a:gd name="connsiteX0" fmla="*/ 102731 w 896093"/>
                <a:gd name="connsiteY0" fmla="*/ 735807 h 735807"/>
                <a:gd name="connsiteX1" fmla="*/ 317043 w 896093"/>
                <a:gd name="connsiteY1" fmla="*/ 419100 h 735807"/>
                <a:gd name="connsiteX2" fmla="*/ 759956 w 896093"/>
                <a:gd name="connsiteY2" fmla="*/ 431007 h 735807"/>
                <a:gd name="connsiteX3" fmla="*/ 809962 w 896093"/>
                <a:gd name="connsiteY3" fmla="*/ 723900 h 735807"/>
                <a:gd name="connsiteX4" fmla="*/ 467062 w 896093"/>
                <a:gd name="connsiteY4" fmla="*/ 0 h 735807"/>
                <a:gd name="connsiteX5" fmla="*/ 102731 w 896093"/>
                <a:gd name="connsiteY5" fmla="*/ 735807 h 735807"/>
                <a:gd name="connsiteX0" fmla="*/ 102731 w 908757"/>
                <a:gd name="connsiteY0" fmla="*/ 735807 h 735807"/>
                <a:gd name="connsiteX1" fmla="*/ 317043 w 908757"/>
                <a:gd name="connsiteY1" fmla="*/ 419100 h 735807"/>
                <a:gd name="connsiteX2" fmla="*/ 759956 w 908757"/>
                <a:gd name="connsiteY2" fmla="*/ 431007 h 735807"/>
                <a:gd name="connsiteX3" fmla="*/ 809962 w 908757"/>
                <a:gd name="connsiteY3" fmla="*/ 723900 h 735807"/>
                <a:gd name="connsiteX4" fmla="*/ 467062 w 908757"/>
                <a:gd name="connsiteY4" fmla="*/ 0 h 735807"/>
                <a:gd name="connsiteX5" fmla="*/ 102731 w 908757"/>
                <a:gd name="connsiteY5" fmla="*/ 735807 h 735807"/>
                <a:gd name="connsiteX0" fmla="*/ 102731 w 908757"/>
                <a:gd name="connsiteY0" fmla="*/ 735807 h 735807"/>
                <a:gd name="connsiteX1" fmla="*/ 317043 w 908757"/>
                <a:gd name="connsiteY1" fmla="*/ 419100 h 735807"/>
                <a:gd name="connsiteX2" fmla="*/ 759956 w 908757"/>
                <a:gd name="connsiteY2" fmla="*/ 431007 h 735807"/>
                <a:gd name="connsiteX3" fmla="*/ 809962 w 908757"/>
                <a:gd name="connsiteY3" fmla="*/ 723900 h 735807"/>
                <a:gd name="connsiteX4" fmla="*/ 467062 w 908757"/>
                <a:gd name="connsiteY4" fmla="*/ 0 h 735807"/>
                <a:gd name="connsiteX5" fmla="*/ 102731 w 908757"/>
                <a:gd name="connsiteY5" fmla="*/ 735807 h 735807"/>
                <a:gd name="connsiteX0" fmla="*/ 102731 w 908757"/>
                <a:gd name="connsiteY0" fmla="*/ 735807 h 735807"/>
                <a:gd name="connsiteX1" fmla="*/ 317043 w 908757"/>
                <a:gd name="connsiteY1" fmla="*/ 419100 h 735807"/>
                <a:gd name="connsiteX2" fmla="*/ 759956 w 908757"/>
                <a:gd name="connsiteY2" fmla="*/ 431007 h 735807"/>
                <a:gd name="connsiteX3" fmla="*/ 809962 w 908757"/>
                <a:gd name="connsiteY3" fmla="*/ 723900 h 735807"/>
                <a:gd name="connsiteX4" fmla="*/ 467062 w 908757"/>
                <a:gd name="connsiteY4" fmla="*/ 0 h 735807"/>
                <a:gd name="connsiteX5" fmla="*/ 102731 w 908757"/>
                <a:gd name="connsiteY5" fmla="*/ 735807 h 735807"/>
                <a:gd name="connsiteX0" fmla="*/ 102731 w 908757"/>
                <a:gd name="connsiteY0" fmla="*/ 735807 h 735807"/>
                <a:gd name="connsiteX1" fmla="*/ 317043 w 908757"/>
                <a:gd name="connsiteY1" fmla="*/ 419100 h 735807"/>
                <a:gd name="connsiteX2" fmla="*/ 759956 w 908757"/>
                <a:gd name="connsiteY2" fmla="*/ 431007 h 735807"/>
                <a:gd name="connsiteX3" fmla="*/ 809962 w 908757"/>
                <a:gd name="connsiteY3" fmla="*/ 723900 h 735807"/>
                <a:gd name="connsiteX4" fmla="*/ 467062 w 908757"/>
                <a:gd name="connsiteY4" fmla="*/ 0 h 735807"/>
                <a:gd name="connsiteX5" fmla="*/ 102731 w 908757"/>
                <a:gd name="connsiteY5" fmla="*/ 735807 h 735807"/>
                <a:gd name="connsiteX0" fmla="*/ 102731 w 908757"/>
                <a:gd name="connsiteY0" fmla="*/ 735807 h 735807"/>
                <a:gd name="connsiteX1" fmla="*/ 317043 w 908757"/>
                <a:gd name="connsiteY1" fmla="*/ 419100 h 735807"/>
                <a:gd name="connsiteX2" fmla="*/ 759956 w 908757"/>
                <a:gd name="connsiteY2" fmla="*/ 431007 h 735807"/>
                <a:gd name="connsiteX3" fmla="*/ 809962 w 908757"/>
                <a:gd name="connsiteY3" fmla="*/ 723900 h 735807"/>
                <a:gd name="connsiteX4" fmla="*/ 467062 w 908757"/>
                <a:gd name="connsiteY4" fmla="*/ 0 h 735807"/>
                <a:gd name="connsiteX5" fmla="*/ 102731 w 908757"/>
                <a:gd name="connsiteY5" fmla="*/ 735807 h 735807"/>
                <a:gd name="connsiteX0" fmla="*/ 102731 w 908757"/>
                <a:gd name="connsiteY0" fmla="*/ 735807 h 735807"/>
                <a:gd name="connsiteX1" fmla="*/ 317043 w 908757"/>
                <a:gd name="connsiteY1" fmla="*/ 419100 h 735807"/>
                <a:gd name="connsiteX2" fmla="*/ 759956 w 908757"/>
                <a:gd name="connsiteY2" fmla="*/ 431007 h 735807"/>
                <a:gd name="connsiteX3" fmla="*/ 809962 w 908757"/>
                <a:gd name="connsiteY3" fmla="*/ 723900 h 735807"/>
                <a:gd name="connsiteX4" fmla="*/ 467062 w 908757"/>
                <a:gd name="connsiteY4" fmla="*/ 0 h 735807"/>
                <a:gd name="connsiteX5" fmla="*/ 102731 w 908757"/>
                <a:gd name="connsiteY5" fmla="*/ 735807 h 735807"/>
                <a:gd name="connsiteX0" fmla="*/ 102731 w 908757"/>
                <a:gd name="connsiteY0" fmla="*/ 735807 h 735807"/>
                <a:gd name="connsiteX1" fmla="*/ 317043 w 908757"/>
                <a:gd name="connsiteY1" fmla="*/ 419100 h 735807"/>
                <a:gd name="connsiteX2" fmla="*/ 759956 w 908757"/>
                <a:gd name="connsiteY2" fmla="*/ 431007 h 735807"/>
                <a:gd name="connsiteX3" fmla="*/ 809962 w 908757"/>
                <a:gd name="connsiteY3" fmla="*/ 723900 h 735807"/>
                <a:gd name="connsiteX4" fmla="*/ 467062 w 908757"/>
                <a:gd name="connsiteY4" fmla="*/ 0 h 735807"/>
                <a:gd name="connsiteX5" fmla="*/ 102731 w 908757"/>
                <a:gd name="connsiteY5" fmla="*/ 735807 h 735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08757" h="735807">
                  <a:moveTo>
                    <a:pt x="102731" y="735807"/>
                  </a:moveTo>
                  <a:cubicBezTo>
                    <a:pt x="64631" y="468313"/>
                    <a:pt x="171787" y="372269"/>
                    <a:pt x="317043" y="419100"/>
                  </a:cubicBezTo>
                  <a:cubicBezTo>
                    <a:pt x="486112" y="475456"/>
                    <a:pt x="614699" y="524670"/>
                    <a:pt x="759956" y="431007"/>
                  </a:cubicBezTo>
                  <a:cubicBezTo>
                    <a:pt x="821868" y="519113"/>
                    <a:pt x="821868" y="611982"/>
                    <a:pt x="809962" y="723900"/>
                  </a:cubicBezTo>
                  <a:cubicBezTo>
                    <a:pt x="1021894" y="515937"/>
                    <a:pt x="886161" y="10319"/>
                    <a:pt x="467062" y="0"/>
                  </a:cubicBezTo>
                  <a:cubicBezTo>
                    <a:pt x="97968" y="4763"/>
                    <a:pt x="-149682" y="421482"/>
                    <a:pt x="102731" y="735807"/>
                  </a:cubicBezTo>
                  <a:close/>
                </a:path>
              </a:pathLst>
            </a:cu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a:solidFill>
                  <a:srgbClr val="7F7F7F"/>
                </a:solidFill>
              </a:endParaRPr>
            </a:p>
          </p:txBody>
        </p:sp>
        <p:sp>
          <p:nvSpPr>
            <p:cNvPr id="39" name="Freeform 38"/>
            <p:cNvSpPr/>
            <p:nvPr/>
          </p:nvSpPr>
          <p:spPr>
            <a:xfrm>
              <a:off x="989604" y="3370520"/>
              <a:ext cx="88317" cy="137113"/>
            </a:xfrm>
            <a:custGeom>
              <a:avLst/>
              <a:gdLst>
                <a:gd name="connsiteX0" fmla="*/ 569119 w 709612"/>
                <a:gd name="connsiteY0" fmla="*/ 1002506 h 1002506"/>
                <a:gd name="connsiteX1" fmla="*/ 709612 w 709612"/>
                <a:gd name="connsiteY1" fmla="*/ 1002506 h 1002506"/>
                <a:gd name="connsiteX2" fmla="*/ 557212 w 709612"/>
                <a:gd name="connsiteY2" fmla="*/ 252413 h 1002506"/>
                <a:gd name="connsiteX3" fmla="*/ 135731 w 709612"/>
                <a:gd name="connsiteY3" fmla="*/ 95250 h 1002506"/>
                <a:gd name="connsiteX4" fmla="*/ 0 w 709612"/>
                <a:gd name="connsiteY4" fmla="*/ 0 h 1002506"/>
                <a:gd name="connsiteX5" fmla="*/ 0 w 709612"/>
                <a:gd name="connsiteY5" fmla="*/ 157163 h 1002506"/>
                <a:gd name="connsiteX6" fmla="*/ 66675 w 709612"/>
                <a:gd name="connsiteY6" fmla="*/ 211931 h 1002506"/>
                <a:gd name="connsiteX7" fmla="*/ 447675 w 709612"/>
                <a:gd name="connsiteY7" fmla="*/ 338138 h 1002506"/>
                <a:gd name="connsiteX8" fmla="*/ 569119 w 709612"/>
                <a:gd name="connsiteY8" fmla="*/ 1002506 h 1002506"/>
                <a:gd name="connsiteX0" fmla="*/ 569119 w 709612"/>
                <a:gd name="connsiteY0" fmla="*/ 1002506 h 1002506"/>
                <a:gd name="connsiteX1" fmla="*/ 709612 w 709612"/>
                <a:gd name="connsiteY1" fmla="*/ 1002506 h 1002506"/>
                <a:gd name="connsiteX2" fmla="*/ 557212 w 709612"/>
                <a:gd name="connsiteY2" fmla="*/ 252413 h 1002506"/>
                <a:gd name="connsiteX3" fmla="*/ 135731 w 709612"/>
                <a:gd name="connsiteY3" fmla="*/ 95250 h 1002506"/>
                <a:gd name="connsiteX4" fmla="*/ 0 w 709612"/>
                <a:gd name="connsiteY4" fmla="*/ 0 h 1002506"/>
                <a:gd name="connsiteX5" fmla="*/ 0 w 709612"/>
                <a:gd name="connsiteY5" fmla="*/ 157163 h 1002506"/>
                <a:gd name="connsiteX6" fmla="*/ 66675 w 709612"/>
                <a:gd name="connsiteY6" fmla="*/ 211931 h 1002506"/>
                <a:gd name="connsiteX7" fmla="*/ 447675 w 709612"/>
                <a:gd name="connsiteY7" fmla="*/ 338138 h 1002506"/>
                <a:gd name="connsiteX8" fmla="*/ 569119 w 709612"/>
                <a:gd name="connsiteY8" fmla="*/ 1002506 h 1002506"/>
                <a:gd name="connsiteX0" fmla="*/ 569119 w 709612"/>
                <a:gd name="connsiteY0" fmla="*/ 1002506 h 1002506"/>
                <a:gd name="connsiteX1" fmla="*/ 709612 w 709612"/>
                <a:gd name="connsiteY1" fmla="*/ 1002506 h 1002506"/>
                <a:gd name="connsiteX2" fmla="*/ 557212 w 709612"/>
                <a:gd name="connsiteY2" fmla="*/ 252413 h 1002506"/>
                <a:gd name="connsiteX3" fmla="*/ 135731 w 709612"/>
                <a:gd name="connsiteY3" fmla="*/ 95250 h 1002506"/>
                <a:gd name="connsiteX4" fmla="*/ 0 w 709612"/>
                <a:gd name="connsiteY4" fmla="*/ 0 h 1002506"/>
                <a:gd name="connsiteX5" fmla="*/ 0 w 709612"/>
                <a:gd name="connsiteY5" fmla="*/ 157163 h 1002506"/>
                <a:gd name="connsiteX6" fmla="*/ 66675 w 709612"/>
                <a:gd name="connsiteY6" fmla="*/ 211931 h 1002506"/>
                <a:gd name="connsiteX7" fmla="*/ 447675 w 709612"/>
                <a:gd name="connsiteY7" fmla="*/ 338138 h 1002506"/>
                <a:gd name="connsiteX8" fmla="*/ 569119 w 709612"/>
                <a:gd name="connsiteY8" fmla="*/ 1002506 h 1002506"/>
                <a:gd name="connsiteX0" fmla="*/ 569119 w 709612"/>
                <a:gd name="connsiteY0" fmla="*/ 1002506 h 1002506"/>
                <a:gd name="connsiteX1" fmla="*/ 709612 w 709612"/>
                <a:gd name="connsiteY1" fmla="*/ 1002506 h 1002506"/>
                <a:gd name="connsiteX2" fmla="*/ 557212 w 709612"/>
                <a:gd name="connsiteY2" fmla="*/ 252413 h 1002506"/>
                <a:gd name="connsiteX3" fmla="*/ 135731 w 709612"/>
                <a:gd name="connsiteY3" fmla="*/ 95250 h 1002506"/>
                <a:gd name="connsiteX4" fmla="*/ 0 w 709612"/>
                <a:gd name="connsiteY4" fmla="*/ 0 h 1002506"/>
                <a:gd name="connsiteX5" fmla="*/ 0 w 709612"/>
                <a:gd name="connsiteY5" fmla="*/ 157163 h 1002506"/>
                <a:gd name="connsiteX6" fmla="*/ 66675 w 709612"/>
                <a:gd name="connsiteY6" fmla="*/ 211931 h 1002506"/>
                <a:gd name="connsiteX7" fmla="*/ 447675 w 709612"/>
                <a:gd name="connsiteY7" fmla="*/ 338138 h 1002506"/>
                <a:gd name="connsiteX8" fmla="*/ 569119 w 709612"/>
                <a:gd name="connsiteY8" fmla="*/ 1002506 h 1002506"/>
                <a:gd name="connsiteX0" fmla="*/ 569119 w 709612"/>
                <a:gd name="connsiteY0" fmla="*/ 1002506 h 1002506"/>
                <a:gd name="connsiteX1" fmla="*/ 709612 w 709612"/>
                <a:gd name="connsiteY1" fmla="*/ 1002506 h 1002506"/>
                <a:gd name="connsiteX2" fmla="*/ 557212 w 709612"/>
                <a:gd name="connsiteY2" fmla="*/ 252413 h 1002506"/>
                <a:gd name="connsiteX3" fmla="*/ 135731 w 709612"/>
                <a:gd name="connsiteY3" fmla="*/ 95250 h 1002506"/>
                <a:gd name="connsiteX4" fmla="*/ 0 w 709612"/>
                <a:gd name="connsiteY4" fmla="*/ 0 h 1002506"/>
                <a:gd name="connsiteX5" fmla="*/ 0 w 709612"/>
                <a:gd name="connsiteY5" fmla="*/ 157163 h 1002506"/>
                <a:gd name="connsiteX6" fmla="*/ 66675 w 709612"/>
                <a:gd name="connsiteY6" fmla="*/ 211931 h 1002506"/>
                <a:gd name="connsiteX7" fmla="*/ 447675 w 709612"/>
                <a:gd name="connsiteY7" fmla="*/ 338138 h 1002506"/>
                <a:gd name="connsiteX8" fmla="*/ 569119 w 709612"/>
                <a:gd name="connsiteY8" fmla="*/ 1002506 h 1002506"/>
                <a:gd name="connsiteX0" fmla="*/ 569119 w 709612"/>
                <a:gd name="connsiteY0" fmla="*/ 1002506 h 1002506"/>
                <a:gd name="connsiteX1" fmla="*/ 709612 w 709612"/>
                <a:gd name="connsiteY1" fmla="*/ 1002506 h 1002506"/>
                <a:gd name="connsiteX2" fmla="*/ 557212 w 709612"/>
                <a:gd name="connsiteY2" fmla="*/ 252413 h 1002506"/>
                <a:gd name="connsiteX3" fmla="*/ 135731 w 709612"/>
                <a:gd name="connsiteY3" fmla="*/ 95250 h 1002506"/>
                <a:gd name="connsiteX4" fmla="*/ 0 w 709612"/>
                <a:gd name="connsiteY4" fmla="*/ 0 h 1002506"/>
                <a:gd name="connsiteX5" fmla="*/ 0 w 709612"/>
                <a:gd name="connsiteY5" fmla="*/ 157163 h 1002506"/>
                <a:gd name="connsiteX6" fmla="*/ 66675 w 709612"/>
                <a:gd name="connsiteY6" fmla="*/ 211931 h 1002506"/>
                <a:gd name="connsiteX7" fmla="*/ 447675 w 709612"/>
                <a:gd name="connsiteY7" fmla="*/ 338138 h 1002506"/>
                <a:gd name="connsiteX8" fmla="*/ 569119 w 709612"/>
                <a:gd name="connsiteY8" fmla="*/ 1002506 h 1002506"/>
                <a:gd name="connsiteX0" fmla="*/ 569119 w 709612"/>
                <a:gd name="connsiteY0" fmla="*/ 1002506 h 1002506"/>
                <a:gd name="connsiteX1" fmla="*/ 709612 w 709612"/>
                <a:gd name="connsiteY1" fmla="*/ 1002506 h 1002506"/>
                <a:gd name="connsiteX2" fmla="*/ 557212 w 709612"/>
                <a:gd name="connsiteY2" fmla="*/ 252413 h 1002506"/>
                <a:gd name="connsiteX3" fmla="*/ 135731 w 709612"/>
                <a:gd name="connsiteY3" fmla="*/ 95250 h 1002506"/>
                <a:gd name="connsiteX4" fmla="*/ 0 w 709612"/>
                <a:gd name="connsiteY4" fmla="*/ 0 h 1002506"/>
                <a:gd name="connsiteX5" fmla="*/ 0 w 709612"/>
                <a:gd name="connsiteY5" fmla="*/ 157163 h 1002506"/>
                <a:gd name="connsiteX6" fmla="*/ 66675 w 709612"/>
                <a:gd name="connsiteY6" fmla="*/ 211931 h 1002506"/>
                <a:gd name="connsiteX7" fmla="*/ 447675 w 709612"/>
                <a:gd name="connsiteY7" fmla="*/ 338138 h 1002506"/>
                <a:gd name="connsiteX8" fmla="*/ 569119 w 709612"/>
                <a:gd name="connsiteY8" fmla="*/ 1002506 h 1002506"/>
                <a:gd name="connsiteX0" fmla="*/ 569119 w 709612"/>
                <a:gd name="connsiteY0" fmla="*/ 1002506 h 1002506"/>
                <a:gd name="connsiteX1" fmla="*/ 709612 w 709612"/>
                <a:gd name="connsiteY1" fmla="*/ 1002506 h 1002506"/>
                <a:gd name="connsiteX2" fmla="*/ 557212 w 709612"/>
                <a:gd name="connsiteY2" fmla="*/ 252413 h 1002506"/>
                <a:gd name="connsiteX3" fmla="*/ 135731 w 709612"/>
                <a:gd name="connsiteY3" fmla="*/ 95250 h 1002506"/>
                <a:gd name="connsiteX4" fmla="*/ 0 w 709612"/>
                <a:gd name="connsiteY4" fmla="*/ 0 h 1002506"/>
                <a:gd name="connsiteX5" fmla="*/ 0 w 709612"/>
                <a:gd name="connsiteY5" fmla="*/ 157163 h 1002506"/>
                <a:gd name="connsiteX6" fmla="*/ 66675 w 709612"/>
                <a:gd name="connsiteY6" fmla="*/ 211931 h 1002506"/>
                <a:gd name="connsiteX7" fmla="*/ 447675 w 709612"/>
                <a:gd name="connsiteY7" fmla="*/ 338138 h 1002506"/>
                <a:gd name="connsiteX8" fmla="*/ 569119 w 709612"/>
                <a:gd name="connsiteY8" fmla="*/ 1002506 h 1002506"/>
                <a:gd name="connsiteX0" fmla="*/ 569119 w 709612"/>
                <a:gd name="connsiteY0" fmla="*/ 1002506 h 1002506"/>
                <a:gd name="connsiteX1" fmla="*/ 709612 w 709612"/>
                <a:gd name="connsiteY1" fmla="*/ 1002506 h 1002506"/>
                <a:gd name="connsiteX2" fmla="*/ 557212 w 709612"/>
                <a:gd name="connsiteY2" fmla="*/ 252413 h 1002506"/>
                <a:gd name="connsiteX3" fmla="*/ 135731 w 709612"/>
                <a:gd name="connsiteY3" fmla="*/ 95250 h 1002506"/>
                <a:gd name="connsiteX4" fmla="*/ 0 w 709612"/>
                <a:gd name="connsiteY4" fmla="*/ 0 h 1002506"/>
                <a:gd name="connsiteX5" fmla="*/ 0 w 709612"/>
                <a:gd name="connsiteY5" fmla="*/ 157163 h 1002506"/>
                <a:gd name="connsiteX6" fmla="*/ 66675 w 709612"/>
                <a:gd name="connsiteY6" fmla="*/ 211931 h 1002506"/>
                <a:gd name="connsiteX7" fmla="*/ 447675 w 709612"/>
                <a:gd name="connsiteY7" fmla="*/ 338138 h 1002506"/>
                <a:gd name="connsiteX8" fmla="*/ 569119 w 709612"/>
                <a:gd name="connsiteY8" fmla="*/ 1002506 h 1002506"/>
                <a:gd name="connsiteX0" fmla="*/ 569119 w 709612"/>
                <a:gd name="connsiteY0" fmla="*/ 1002506 h 1002506"/>
                <a:gd name="connsiteX1" fmla="*/ 709612 w 709612"/>
                <a:gd name="connsiteY1" fmla="*/ 1002506 h 1002506"/>
                <a:gd name="connsiteX2" fmla="*/ 557212 w 709612"/>
                <a:gd name="connsiteY2" fmla="*/ 252413 h 1002506"/>
                <a:gd name="connsiteX3" fmla="*/ 135731 w 709612"/>
                <a:gd name="connsiteY3" fmla="*/ 95250 h 1002506"/>
                <a:gd name="connsiteX4" fmla="*/ 0 w 709612"/>
                <a:gd name="connsiteY4" fmla="*/ 0 h 1002506"/>
                <a:gd name="connsiteX5" fmla="*/ 0 w 709612"/>
                <a:gd name="connsiteY5" fmla="*/ 157163 h 1002506"/>
                <a:gd name="connsiteX6" fmla="*/ 66675 w 709612"/>
                <a:gd name="connsiteY6" fmla="*/ 211931 h 1002506"/>
                <a:gd name="connsiteX7" fmla="*/ 447675 w 709612"/>
                <a:gd name="connsiteY7" fmla="*/ 338138 h 1002506"/>
                <a:gd name="connsiteX8" fmla="*/ 569119 w 709612"/>
                <a:gd name="connsiteY8" fmla="*/ 1002506 h 1002506"/>
                <a:gd name="connsiteX0" fmla="*/ 569119 w 709612"/>
                <a:gd name="connsiteY0" fmla="*/ 1002506 h 1002506"/>
                <a:gd name="connsiteX1" fmla="*/ 709612 w 709612"/>
                <a:gd name="connsiteY1" fmla="*/ 1002506 h 1002506"/>
                <a:gd name="connsiteX2" fmla="*/ 557212 w 709612"/>
                <a:gd name="connsiteY2" fmla="*/ 252413 h 1002506"/>
                <a:gd name="connsiteX3" fmla="*/ 135731 w 709612"/>
                <a:gd name="connsiteY3" fmla="*/ 95250 h 1002506"/>
                <a:gd name="connsiteX4" fmla="*/ 0 w 709612"/>
                <a:gd name="connsiteY4" fmla="*/ 0 h 1002506"/>
                <a:gd name="connsiteX5" fmla="*/ 0 w 709612"/>
                <a:gd name="connsiteY5" fmla="*/ 157163 h 1002506"/>
                <a:gd name="connsiteX6" fmla="*/ 66675 w 709612"/>
                <a:gd name="connsiteY6" fmla="*/ 211931 h 1002506"/>
                <a:gd name="connsiteX7" fmla="*/ 447675 w 709612"/>
                <a:gd name="connsiteY7" fmla="*/ 338138 h 1002506"/>
                <a:gd name="connsiteX8" fmla="*/ 569119 w 709612"/>
                <a:gd name="connsiteY8" fmla="*/ 1002506 h 1002506"/>
                <a:gd name="connsiteX0" fmla="*/ 569119 w 709612"/>
                <a:gd name="connsiteY0" fmla="*/ 1002506 h 1002506"/>
                <a:gd name="connsiteX1" fmla="*/ 709612 w 709612"/>
                <a:gd name="connsiteY1" fmla="*/ 1002506 h 1002506"/>
                <a:gd name="connsiteX2" fmla="*/ 557212 w 709612"/>
                <a:gd name="connsiteY2" fmla="*/ 252413 h 1002506"/>
                <a:gd name="connsiteX3" fmla="*/ 135731 w 709612"/>
                <a:gd name="connsiteY3" fmla="*/ 95250 h 1002506"/>
                <a:gd name="connsiteX4" fmla="*/ 0 w 709612"/>
                <a:gd name="connsiteY4" fmla="*/ 0 h 1002506"/>
                <a:gd name="connsiteX5" fmla="*/ 0 w 709612"/>
                <a:gd name="connsiteY5" fmla="*/ 157163 h 1002506"/>
                <a:gd name="connsiteX6" fmla="*/ 66675 w 709612"/>
                <a:gd name="connsiteY6" fmla="*/ 211931 h 1002506"/>
                <a:gd name="connsiteX7" fmla="*/ 447675 w 709612"/>
                <a:gd name="connsiteY7" fmla="*/ 338138 h 1002506"/>
                <a:gd name="connsiteX8" fmla="*/ 569119 w 709612"/>
                <a:gd name="connsiteY8" fmla="*/ 1002506 h 1002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09612" h="1002506">
                  <a:moveTo>
                    <a:pt x="569119" y="1002506"/>
                  </a:moveTo>
                  <a:lnTo>
                    <a:pt x="709612" y="1002506"/>
                  </a:lnTo>
                  <a:cubicBezTo>
                    <a:pt x="670719" y="616743"/>
                    <a:pt x="638969" y="438150"/>
                    <a:pt x="557212" y="252413"/>
                  </a:cubicBezTo>
                  <a:cubicBezTo>
                    <a:pt x="481012" y="176213"/>
                    <a:pt x="292893" y="142875"/>
                    <a:pt x="135731" y="95250"/>
                  </a:cubicBezTo>
                  <a:cubicBezTo>
                    <a:pt x="88106" y="46832"/>
                    <a:pt x="45244" y="19844"/>
                    <a:pt x="0" y="0"/>
                  </a:cubicBezTo>
                  <a:lnTo>
                    <a:pt x="0" y="157163"/>
                  </a:lnTo>
                  <a:lnTo>
                    <a:pt x="66675" y="211931"/>
                  </a:lnTo>
                  <a:cubicBezTo>
                    <a:pt x="193675" y="254000"/>
                    <a:pt x="313531" y="281781"/>
                    <a:pt x="447675" y="338138"/>
                  </a:cubicBezTo>
                  <a:cubicBezTo>
                    <a:pt x="535781" y="576263"/>
                    <a:pt x="557213" y="795338"/>
                    <a:pt x="569119" y="1002506"/>
                  </a:cubicBezTo>
                  <a:close/>
                </a:path>
              </a:pathLst>
            </a:cu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a:solidFill>
                  <a:srgbClr val="7F7F7F"/>
                </a:solidFill>
              </a:endParaRPr>
            </a:p>
          </p:txBody>
        </p:sp>
        <p:sp>
          <p:nvSpPr>
            <p:cNvPr id="40" name="Freeform 39"/>
            <p:cNvSpPr/>
            <p:nvPr/>
          </p:nvSpPr>
          <p:spPr>
            <a:xfrm>
              <a:off x="896840" y="3369543"/>
              <a:ext cx="25783" cy="35500"/>
            </a:xfrm>
            <a:custGeom>
              <a:avLst/>
              <a:gdLst>
                <a:gd name="connsiteX0" fmla="*/ 26193 w 207168"/>
                <a:gd name="connsiteY0" fmla="*/ 107157 h 259557"/>
                <a:gd name="connsiteX1" fmla="*/ 0 w 207168"/>
                <a:gd name="connsiteY1" fmla="*/ 259557 h 259557"/>
                <a:gd name="connsiteX2" fmla="*/ 145256 w 207168"/>
                <a:gd name="connsiteY2" fmla="*/ 223838 h 259557"/>
                <a:gd name="connsiteX3" fmla="*/ 207168 w 207168"/>
                <a:gd name="connsiteY3" fmla="*/ 157163 h 259557"/>
                <a:gd name="connsiteX4" fmla="*/ 207168 w 207168"/>
                <a:gd name="connsiteY4" fmla="*/ 0 h 259557"/>
                <a:gd name="connsiteX5" fmla="*/ 26193 w 207168"/>
                <a:gd name="connsiteY5" fmla="*/ 107157 h 259557"/>
                <a:gd name="connsiteX0" fmla="*/ 26193 w 207168"/>
                <a:gd name="connsiteY0" fmla="*/ 107157 h 259557"/>
                <a:gd name="connsiteX1" fmla="*/ 0 w 207168"/>
                <a:gd name="connsiteY1" fmla="*/ 259557 h 259557"/>
                <a:gd name="connsiteX2" fmla="*/ 145256 w 207168"/>
                <a:gd name="connsiteY2" fmla="*/ 223838 h 259557"/>
                <a:gd name="connsiteX3" fmla="*/ 207168 w 207168"/>
                <a:gd name="connsiteY3" fmla="*/ 157163 h 259557"/>
                <a:gd name="connsiteX4" fmla="*/ 207168 w 207168"/>
                <a:gd name="connsiteY4" fmla="*/ 0 h 259557"/>
                <a:gd name="connsiteX5" fmla="*/ 73818 w 207168"/>
                <a:gd name="connsiteY5" fmla="*/ 100013 h 259557"/>
                <a:gd name="connsiteX6" fmla="*/ 26193 w 207168"/>
                <a:gd name="connsiteY6" fmla="*/ 107157 h 259557"/>
                <a:gd name="connsiteX0" fmla="*/ 26193 w 207168"/>
                <a:gd name="connsiteY0" fmla="*/ 107157 h 259557"/>
                <a:gd name="connsiteX1" fmla="*/ 0 w 207168"/>
                <a:gd name="connsiteY1" fmla="*/ 259557 h 259557"/>
                <a:gd name="connsiteX2" fmla="*/ 145256 w 207168"/>
                <a:gd name="connsiteY2" fmla="*/ 223838 h 259557"/>
                <a:gd name="connsiteX3" fmla="*/ 207168 w 207168"/>
                <a:gd name="connsiteY3" fmla="*/ 157163 h 259557"/>
                <a:gd name="connsiteX4" fmla="*/ 207168 w 207168"/>
                <a:gd name="connsiteY4" fmla="*/ 0 h 259557"/>
                <a:gd name="connsiteX5" fmla="*/ 73818 w 207168"/>
                <a:gd name="connsiteY5" fmla="*/ 100013 h 259557"/>
                <a:gd name="connsiteX6" fmla="*/ 26193 w 207168"/>
                <a:gd name="connsiteY6" fmla="*/ 107157 h 259557"/>
                <a:gd name="connsiteX0" fmla="*/ 26193 w 207168"/>
                <a:gd name="connsiteY0" fmla="*/ 107157 h 259557"/>
                <a:gd name="connsiteX1" fmla="*/ 0 w 207168"/>
                <a:gd name="connsiteY1" fmla="*/ 259557 h 259557"/>
                <a:gd name="connsiteX2" fmla="*/ 145256 w 207168"/>
                <a:gd name="connsiteY2" fmla="*/ 223838 h 259557"/>
                <a:gd name="connsiteX3" fmla="*/ 207168 w 207168"/>
                <a:gd name="connsiteY3" fmla="*/ 157163 h 259557"/>
                <a:gd name="connsiteX4" fmla="*/ 207168 w 207168"/>
                <a:gd name="connsiteY4" fmla="*/ 0 h 259557"/>
                <a:gd name="connsiteX5" fmla="*/ 73818 w 207168"/>
                <a:gd name="connsiteY5" fmla="*/ 100013 h 259557"/>
                <a:gd name="connsiteX6" fmla="*/ 26193 w 207168"/>
                <a:gd name="connsiteY6" fmla="*/ 107157 h 259557"/>
                <a:gd name="connsiteX0" fmla="*/ 26193 w 207168"/>
                <a:gd name="connsiteY0" fmla="*/ 107157 h 259557"/>
                <a:gd name="connsiteX1" fmla="*/ 0 w 207168"/>
                <a:gd name="connsiteY1" fmla="*/ 259557 h 259557"/>
                <a:gd name="connsiteX2" fmla="*/ 145256 w 207168"/>
                <a:gd name="connsiteY2" fmla="*/ 223838 h 259557"/>
                <a:gd name="connsiteX3" fmla="*/ 207168 w 207168"/>
                <a:gd name="connsiteY3" fmla="*/ 157163 h 259557"/>
                <a:gd name="connsiteX4" fmla="*/ 207168 w 207168"/>
                <a:gd name="connsiteY4" fmla="*/ 0 h 259557"/>
                <a:gd name="connsiteX5" fmla="*/ 73818 w 207168"/>
                <a:gd name="connsiteY5" fmla="*/ 100013 h 259557"/>
                <a:gd name="connsiteX6" fmla="*/ 26193 w 207168"/>
                <a:gd name="connsiteY6" fmla="*/ 107157 h 259557"/>
                <a:gd name="connsiteX0" fmla="*/ 26193 w 207168"/>
                <a:gd name="connsiteY0" fmla="*/ 107157 h 259557"/>
                <a:gd name="connsiteX1" fmla="*/ 0 w 207168"/>
                <a:gd name="connsiteY1" fmla="*/ 259557 h 259557"/>
                <a:gd name="connsiteX2" fmla="*/ 145256 w 207168"/>
                <a:gd name="connsiteY2" fmla="*/ 223838 h 259557"/>
                <a:gd name="connsiteX3" fmla="*/ 207168 w 207168"/>
                <a:gd name="connsiteY3" fmla="*/ 157163 h 259557"/>
                <a:gd name="connsiteX4" fmla="*/ 207168 w 207168"/>
                <a:gd name="connsiteY4" fmla="*/ 0 h 259557"/>
                <a:gd name="connsiteX5" fmla="*/ 73818 w 207168"/>
                <a:gd name="connsiteY5" fmla="*/ 100013 h 259557"/>
                <a:gd name="connsiteX6" fmla="*/ 26193 w 207168"/>
                <a:gd name="connsiteY6" fmla="*/ 107157 h 2595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7168" h="259557">
                  <a:moveTo>
                    <a:pt x="26193" y="107157"/>
                  </a:moveTo>
                  <a:lnTo>
                    <a:pt x="0" y="259557"/>
                  </a:lnTo>
                  <a:cubicBezTo>
                    <a:pt x="36512" y="247651"/>
                    <a:pt x="80168" y="233363"/>
                    <a:pt x="145256" y="223838"/>
                  </a:cubicBezTo>
                  <a:lnTo>
                    <a:pt x="207168" y="157163"/>
                  </a:lnTo>
                  <a:lnTo>
                    <a:pt x="207168" y="0"/>
                  </a:lnTo>
                  <a:cubicBezTo>
                    <a:pt x="166687" y="24607"/>
                    <a:pt x="116681" y="53975"/>
                    <a:pt x="73818" y="100013"/>
                  </a:cubicBezTo>
                  <a:lnTo>
                    <a:pt x="26193" y="107157"/>
                  </a:lnTo>
                  <a:close/>
                </a:path>
              </a:pathLst>
            </a:cu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a:solidFill>
                  <a:srgbClr val="7F7F7F"/>
                </a:solidFill>
              </a:endParaRPr>
            </a:p>
          </p:txBody>
        </p:sp>
        <p:sp>
          <p:nvSpPr>
            <p:cNvPr id="41" name="Freeform 40"/>
            <p:cNvSpPr/>
            <p:nvPr/>
          </p:nvSpPr>
          <p:spPr>
            <a:xfrm>
              <a:off x="938920" y="3392015"/>
              <a:ext cx="35273" cy="115943"/>
            </a:xfrm>
            <a:custGeom>
              <a:avLst/>
              <a:gdLst>
                <a:gd name="connsiteX0" fmla="*/ 90488 w 283369"/>
                <a:gd name="connsiteY0" fmla="*/ 847725 h 847725"/>
                <a:gd name="connsiteX1" fmla="*/ 271463 w 283369"/>
                <a:gd name="connsiteY1" fmla="*/ 847725 h 847725"/>
                <a:gd name="connsiteX2" fmla="*/ 204788 w 283369"/>
                <a:gd name="connsiteY2" fmla="*/ 219075 h 847725"/>
                <a:gd name="connsiteX3" fmla="*/ 283369 w 283369"/>
                <a:gd name="connsiteY3" fmla="*/ 147637 h 847725"/>
                <a:gd name="connsiteX4" fmla="*/ 135731 w 283369"/>
                <a:gd name="connsiteY4" fmla="*/ 0 h 847725"/>
                <a:gd name="connsiteX5" fmla="*/ 0 w 283369"/>
                <a:gd name="connsiteY5" fmla="*/ 150018 h 847725"/>
                <a:gd name="connsiteX6" fmla="*/ 66675 w 283369"/>
                <a:gd name="connsiteY6" fmla="*/ 219075 h 847725"/>
                <a:gd name="connsiteX7" fmla="*/ 26194 w 283369"/>
                <a:gd name="connsiteY7" fmla="*/ 566737 h 847725"/>
                <a:gd name="connsiteX8" fmla="*/ 90488 w 283369"/>
                <a:gd name="connsiteY8" fmla="*/ 847725 h 847725"/>
                <a:gd name="connsiteX0" fmla="*/ 90488 w 283369"/>
                <a:gd name="connsiteY0" fmla="*/ 847725 h 847725"/>
                <a:gd name="connsiteX1" fmla="*/ 271463 w 283369"/>
                <a:gd name="connsiteY1" fmla="*/ 847725 h 847725"/>
                <a:gd name="connsiteX2" fmla="*/ 204788 w 283369"/>
                <a:gd name="connsiteY2" fmla="*/ 219075 h 847725"/>
                <a:gd name="connsiteX3" fmla="*/ 283369 w 283369"/>
                <a:gd name="connsiteY3" fmla="*/ 147637 h 847725"/>
                <a:gd name="connsiteX4" fmla="*/ 135731 w 283369"/>
                <a:gd name="connsiteY4" fmla="*/ 0 h 847725"/>
                <a:gd name="connsiteX5" fmla="*/ 0 w 283369"/>
                <a:gd name="connsiteY5" fmla="*/ 150018 h 847725"/>
                <a:gd name="connsiteX6" fmla="*/ 66675 w 283369"/>
                <a:gd name="connsiteY6" fmla="*/ 219075 h 847725"/>
                <a:gd name="connsiteX7" fmla="*/ 26194 w 283369"/>
                <a:gd name="connsiteY7" fmla="*/ 566737 h 847725"/>
                <a:gd name="connsiteX8" fmla="*/ 90488 w 283369"/>
                <a:gd name="connsiteY8" fmla="*/ 847725 h 847725"/>
                <a:gd name="connsiteX0" fmla="*/ 90488 w 283369"/>
                <a:gd name="connsiteY0" fmla="*/ 847725 h 847725"/>
                <a:gd name="connsiteX1" fmla="*/ 271463 w 283369"/>
                <a:gd name="connsiteY1" fmla="*/ 847725 h 847725"/>
                <a:gd name="connsiteX2" fmla="*/ 204788 w 283369"/>
                <a:gd name="connsiteY2" fmla="*/ 219075 h 847725"/>
                <a:gd name="connsiteX3" fmla="*/ 283369 w 283369"/>
                <a:gd name="connsiteY3" fmla="*/ 147637 h 847725"/>
                <a:gd name="connsiteX4" fmla="*/ 135731 w 283369"/>
                <a:gd name="connsiteY4" fmla="*/ 0 h 847725"/>
                <a:gd name="connsiteX5" fmla="*/ 0 w 283369"/>
                <a:gd name="connsiteY5" fmla="*/ 150018 h 847725"/>
                <a:gd name="connsiteX6" fmla="*/ 66675 w 283369"/>
                <a:gd name="connsiteY6" fmla="*/ 219075 h 847725"/>
                <a:gd name="connsiteX7" fmla="*/ 26194 w 283369"/>
                <a:gd name="connsiteY7" fmla="*/ 566737 h 847725"/>
                <a:gd name="connsiteX8" fmla="*/ 90488 w 283369"/>
                <a:gd name="connsiteY8" fmla="*/ 847725 h 847725"/>
                <a:gd name="connsiteX0" fmla="*/ 90528 w 283409"/>
                <a:gd name="connsiteY0" fmla="*/ 847725 h 847725"/>
                <a:gd name="connsiteX1" fmla="*/ 271503 w 283409"/>
                <a:gd name="connsiteY1" fmla="*/ 847725 h 847725"/>
                <a:gd name="connsiteX2" fmla="*/ 204828 w 283409"/>
                <a:gd name="connsiteY2" fmla="*/ 219075 h 847725"/>
                <a:gd name="connsiteX3" fmla="*/ 283409 w 283409"/>
                <a:gd name="connsiteY3" fmla="*/ 147637 h 847725"/>
                <a:gd name="connsiteX4" fmla="*/ 135771 w 283409"/>
                <a:gd name="connsiteY4" fmla="*/ 0 h 847725"/>
                <a:gd name="connsiteX5" fmla="*/ 40 w 283409"/>
                <a:gd name="connsiteY5" fmla="*/ 150018 h 847725"/>
                <a:gd name="connsiteX6" fmla="*/ 66715 w 283409"/>
                <a:gd name="connsiteY6" fmla="*/ 219075 h 847725"/>
                <a:gd name="connsiteX7" fmla="*/ 26234 w 283409"/>
                <a:gd name="connsiteY7" fmla="*/ 566737 h 847725"/>
                <a:gd name="connsiteX8" fmla="*/ 90528 w 283409"/>
                <a:gd name="connsiteY8" fmla="*/ 847725 h 847725"/>
                <a:gd name="connsiteX0" fmla="*/ 90532 w 283413"/>
                <a:gd name="connsiteY0" fmla="*/ 847725 h 847725"/>
                <a:gd name="connsiteX1" fmla="*/ 271507 w 283413"/>
                <a:gd name="connsiteY1" fmla="*/ 847725 h 847725"/>
                <a:gd name="connsiteX2" fmla="*/ 204832 w 283413"/>
                <a:gd name="connsiteY2" fmla="*/ 219075 h 847725"/>
                <a:gd name="connsiteX3" fmla="*/ 283413 w 283413"/>
                <a:gd name="connsiteY3" fmla="*/ 147637 h 847725"/>
                <a:gd name="connsiteX4" fmla="*/ 135775 w 283413"/>
                <a:gd name="connsiteY4" fmla="*/ 0 h 847725"/>
                <a:gd name="connsiteX5" fmla="*/ 44 w 283413"/>
                <a:gd name="connsiteY5" fmla="*/ 150018 h 847725"/>
                <a:gd name="connsiteX6" fmla="*/ 66719 w 283413"/>
                <a:gd name="connsiteY6" fmla="*/ 219075 h 847725"/>
                <a:gd name="connsiteX7" fmla="*/ 26238 w 283413"/>
                <a:gd name="connsiteY7" fmla="*/ 566737 h 847725"/>
                <a:gd name="connsiteX8" fmla="*/ 90532 w 283413"/>
                <a:gd name="connsiteY8" fmla="*/ 847725 h 847725"/>
                <a:gd name="connsiteX0" fmla="*/ 90529 w 283410"/>
                <a:gd name="connsiteY0" fmla="*/ 847725 h 847725"/>
                <a:gd name="connsiteX1" fmla="*/ 271504 w 283410"/>
                <a:gd name="connsiteY1" fmla="*/ 847725 h 847725"/>
                <a:gd name="connsiteX2" fmla="*/ 204829 w 283410"/>
                <a:gd name="connsiteY2" fmla="*/ 219075 h 847725"/>
                <a:gd name="connsiteX3" fmla="*/ 283410 w 283410"/>
                <a:gd name="connsiteY3" fmla="*/ 147637 h 847725"/>
                <a:gd name="connsiteX4" fmla="*/ 135772 w 283410"/>
                <a:gd name="connsiteY4" fmla="*/ 0 h 847725"/>
                <a:gd name="connsiteX5" fmla="*/ 41 w 283410"/>
                <a:gd name="connsiteY5" fmla="*/ 150018 h 847725"/>
                <a:gd name="connsiteX6" fmla="*/ 66716 w 283410"/>
                <a:gd name="connsiteY6" fmla="*/ 219075 h 847725"/>
                <a:gd name="connsiteX7" fmla="*/ 26235 w 283410"/>
                <a:gd name="connsiteY7" fmla="*/ 566737 h 847725"/>
                <a:gd name="connsiteX8" fmla="*/ 90529 w 283410"/>
                <a:gd name="connsiteY8" fmla="*/ 847725 h 847725"/>
                <a:gd name="connsiteX0" fmla="*/ 90529 w 283410"/>
                <a:gd name="connsiteY0" fmla="*/ 847725 h 847725"/>
                <a:gd name="connsiteX1" fmla="*/ 271504 w 283410"/>
                <a:gd name="connsiteY1" fmla="*/ 847725 h 847725"/>
                <a:gd name="connsiteX2" fmla="*/ 204829 w 283410"/>
                <a:gd name="connsiteY2" fmla="*/ 219075 h 847725"/>
                <a:gd name="connsiteX3" fmla="*/ 283410 w 283410"/>
                <a:gd name="connsiteY3" fmla="*/ 147637 h 847725"/>
                <a:gd name="connsiteX4" fmla="*/ 135772 w 283410"/>
                <a:gd name="connsiteY4" fmla="*/ 0 h 847725"/>
                <a:gd name="connsiteX5" fmla="*/ 41 w 283410"/>
                <a:gd name="connsiteY5" fmla="*/ 150018 h 847725"/>
                <a:gd name="connsiteX6" fmla="*/ 66716 w 283410"/>
                <a:gd name="connsiteY6" fmla="*/ 219075 h 847725"/>
                <a:gd name="connsiteX7" fmla="*/ 26235 w 283410"/>
                <a:gd name="connsiteY7" fmla="*/ 566737 h 847725"/>
                <a:gd name="connsiteX8" fmla="*/ 90529 w 283410"/>
                <a:gd name="connsiteY8" fmla="*/ 847725 h 847725"/>
                <a:gd name="connsiteX0" fmla="*/ 90529 w 283410"/>
                <a:gd name="connsiteY0" fmla="*/ 847725 h 847725"/>
                <a:gd name="connsiteX1" fmla="*/ 271504 w 283410"/>
                <a:gd name="connsiteY1" fmla="*/ 847725 h 847725"/>
                <a:gd name="connsiteX2" fmla="*/ 204829 w 283410"/>
                <a:gd name="connsiteY2" fmla="*/ 219075 h 847725"/>
                <a:gd name="connsiteX3" fmla="*/ 283410 w 283410"/>
                <a:gd name="connsiteY3" fmla="*/ 147637 h 847725"/>
                <a:gd name="connsiteX4" fmla="*/ 135772 w 283410"/>
                <a:gd name="connsiteY4" fmla="*/ 0 h 847725"/>
                <a:gd name="connsiteX5" fmla="*/ 41 w 283410"/>
                <a:gd name="connsiteY5" fmla="*/ 150018 h 847725"/>
                <a:gd name="connsiteX6" fmla="*/ 66716 w 283410"/>
                <a:gd name="connsiteY6" fmla="*/ 219075 h 847725"/>
                <a:gd name="connsiteX7" fmla="*/ 26235 w 283410"/>
                <a:gd name="connsiteY7" fmla="*/ 566737 h 847725"/>
                <a:gd name="connsiteX8" fmla="*/ 90529 w 283410"/>
                <a:gd name="connsiteY8" fmla="*/ 847725 h 847725"/>
                <a:gd name="connsiteX0" fmla="*/ 90529 w 283410"/>
                <a:gd name="connsiteY0" fmla="*/ 847725 h 847725"/>
                <a:gd name="connsiteX1" fmla="*/ 271504 w 283410"/>
                <a:gd name="connsiteY1" fmla="*/ 847725 h 847725"/>
                <a:gd name="connsiteX2" fmla="*/ 204829 w 283410"/>
                <a:gd name="connsiteY2" fmla="*/ 219075 h 847725"/>
                <a:gd name="connsiteX3" fmla="*/ 283410 w 283410"/>
                <a:gd name="connsiteY3" fmla="*/ 147637 h 847725"/>
                <a:gd name="connsiteX4" fmla="*/ 135772 w 283410"/>
                <a:gd name="connsiteY4" fmla="*/ 0 h 847725"/>
                <a:gd name="connsiteX5" fmla="*/ 41 w 283410"/>
                <a:gd name="connsiteY5" fmla="*/ 150018 h 847725"/>
                <a:gd name="connsiteX6" fmla="*/ 66716 w 283410"/>
                <a:gd name="connsiteY6" fmla="*/ 219075 h 847725"/>
                <a:gd name="connsiteX7" fmla="*/ 26235 w 283410"/>
                <a:gd name="connsiteY7" fmla="*/ 566737 h 847725"/>
                <a:gd name="connsiteX8" fmla="*/ 90529 w 283410"/>
                <a:gd name="connsiteY8" fmla="*/ 847725 h 847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3410" h="847725">
                  <a:moveTo>
                    <a:pt x="90529" y="847725"/>
                  </a:moveTo>
                  <a:lnTo>
                    <a:pt x="271504" y="847725"/>
                  </a:lnTo>
                  <a:lnTo>
                    <a:pt x="204829" y="219075"/>
                  </a:lnTo>
                  <a:cubicBezTo>
                    <a:pt x="231023" y="195262"/>
                    <a:pt x="281029" y="173831"/>
                    <a:pt x="283410" y="147637"/>
                  </a:cubicBezTo>
                  <a:cubicBezTo>
                    <a:pt x="279441" y="124619"/>
                    <a:pt x="154029" y="1587"/>
                    <a:pt x="135772" y="0"/>
                  </a:cubicBezTo>
                  <a:cubicBezTo>
                    <a:pt x="111959" y="2381"/>
                    <a:pt x="-2340" y="133350"/>
                    <a:pt x="41" y="150018"/>
                  </a:cubicBezTo>
                  <a:cubicBezTo>
                    <a:pt x="-1547" y="175418"/>
                    <a:pt x="44491" y="196056"/>
                    <a:pt x="66716" y="219075"/>
                  </a:cubicBezTo>
                  <a:lnTo>
                    <a:pt x="26235" y="566737"/>
                  </a:lnTo>
                  <a:cubicBezTo>
                    <a:pt x="73860" y="643731"/>
                    <a:pt x="90529" y="696912"/>
                    <a:pt x="90529" y="847725"/>
                  </a:cubicBezTo>
                  <a:close/>
                </a:path>
              </a:pathLst>
            </a:cu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a:solidFill>
                  <a:srgbClr val="7F7F7F"/>
                </a:solidFill>
              </a:endParaRPr>
            </a:p>
          </p:txBody>
        </p:sp>
      </p:grpSp>
      <p:grpSp>
        <p:nvGrpSpPr>
          <p:cNvPr id="4" name="Group 3">
            <a:extLst>
              <a:ext uri="{FF2B5EF4-FFF2-40B4-BE49-F238E27FC236}">
                <a16:creationId xmlns:a16="http://schemas.microsoft.com/office/drawing/2014/main" id="{A3E58079-7DAA-4784-88C6-E1AC8E29893B}"/>
              </a:ext>
            </a:extLst>
          </p:cNvPr>
          <p:cNvGrpSpPr/>
          <p:nvPr/>
        </p:nvGrpSpPr>
        <p:grpSpPr>
          <a:xfrm>
            <a:off x="546599" y="3743656"/>
            <a:ext cx="398576" cy="564247"/>
            <a:chOff x="606123" y="3962023"/>
            <a:chExt cx="398576" cy="564247"/>
          </a:xfrm>
        </p:grpSpPr>
        <p:sp>
          <p:nvSpPr>
            <p:cNvPr id="43" name="Freeform 35"/>
            <p:cNvSpPr>
              <a:spLocks noEditPoints="1"/>
            </p:cNvSpPr>
            <p:nvPr/>
          </p:nvSpPr>
          <p:spPr bwMode="auto">
            <a:xfrm>
              <a:off x="606123" y="3962023"/>
              <a:ext cx="398576" cy="564247"/>
            </a:xfrm>
            <a:custGeom>
              <a:avLst/>
              <a:gdLst>
                <a:gd name="T0" fmla="*/ 1169 w 1275"/>
                <a:gd name="T1" fmla="*/ 1 h 1806"/>
                <a:gd name="T2" fmla="*/ 394 w 1275"/>
                <a:gd name="T3" fmla="*/ 1 h 1806"/>
                <a:gd name="T4" fmla="*/ 363 w 1275"/>
                <a:gd name="T5" fmla="*/ 14 h 1806"/>
                <a:gd name="T6" fmla="*/ 15 w 1275"/>
                <a:gd name="T7" fmla="*/ 337 h 1806"/>
                <a:gd name="T8" fmla="*/ 1 w 1275"/>
                <a:gd name="T9" fmla="*/ 369 h 1806"/>
                <a:gd name="T10" fmla="*/ 1 w 1275"/>
                <a:gd name="T11" fmla="*/ 1700 h 1806"/>
                <a:gd name="T12" fmla="*/ 106 w 1275"/>
                <a:gd name="T13" fmla="*/ 1806 h 1806"/>
                <a:gd name="T14" fmla="*/ 1169 w 1275"/>
                <a:gd name="T15" fmla="*/ 1806 h 1806"/>
                <a:gd name="T16" fmla="*/ 1275 w 1275"/>
                <a:gd name="T17" fmla="*/ 1700 h 1806"/>
                <a:gd name="T18" fmla="*/ 1275 w 1275"/>
                <a:gd name="T19" fmla="*/ 107 h 1806"/>
                <a:gd name="T20" fmla="*/ 1169 w 1275"/>
                <a:gd name="T21" fmla="*/ 1 h 1806"/>
                <a:gd name="T22" fmla="*/ 1205 w 1275"/>
                <a:gd name="T23" fmla="*/ 1700 h 1806"/>
                <a:gd name="T24" fmla="*/ 1169 w 1275"/>
                <a:gd name="T25" fmla="*/ 1736 h 1806"/>
                <a:gd name="T26" fmla="*/ 106 w 1275"/>
                <a:gd name="T27" fmla="*/ 1736 h 1806"/>
                <a:gd name="T28" fmla="*/ 71 w 1275"/>
                <a:gd name="T29" fmla="*/ 1700 h 1806"/>
                <a:gd name="T30" fmla="*/ 71 w 1275"/>
                <a:gd name="T31" fmla="*/ 381 h 1806"/>
                <a:gd name="T32" fmla="*/ 71 w 1275"/>
                <a:gd name="T33" fmla="*/ 380 h 1806"/>
                <a:gd name="T34" fmla="*/ 381 w 1275"/>
                <a:gd name="T35" fmla="*/ 380 h 1806"/>
                <a:gd name="T36" fmla="*/ 420 w 1275"/>
                <a:gd name="T37" fmla="*/ 340 h 1806"/>
                <a:gd name="T38" fmla="*/ 420 w 1275"/>
                <a:gd name="T39" fmla="*/ 71 h 1806"/>
                <a:gd name="T40" fmla="*/ 1169 w 1275"/>
                <a:gd name="T41" fmla="*/ 71 h 1806"/>
                <a:gd name="T42" fmla="*/ 1205 w 1275"/>
                <a:gd name="T43" fmla="*/ 107 h 1806"/>
                <a:gd name="T44" fmla="*/ 1205 w 1275"/>
                <a:gd name="T45" fmla="*/ 1700 h 18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275" h="1806">
                  <a:moveTo>
                    <a:pt x="1169" y="1"/>
                  </a:moveTo>
                  <a:cubicBezTo>
                    <a:pt x="394" y="1"/>
                    <a:pt x="394" y="1"/>
                    <a:pt x="394" y="1"/>
                  </a:cubicBezTo>
                  <a:cubicBezTo>
                    <a:pt x="394" y="1"/>
                    <a:pt x="377" y="0"/>
                    <a:pt x="363" y="14"/>
                  </a:cubicBezTo>
                  <a:cubicBezTo>
                    <a:pt x="15" y="337"/>
                    <a:pt x="15" y="337"/>
                    <a:pt x="15" y="337"/>
                  </a:cubicBezTo>
                  <a:cubicBezTo>
                    <a:pt x="15" y="337"/>
                    <a:pt x="0" y="350"/>
                    <a:pt x="1" y="369"/>
                  </a:cubicBezTo>
                  <a:cubicBezTo>
                    <a:pt x="1" y="1700"/>
                    <a:pt x="1" y="1700"/>
                    <a:pt x="1" y="1700"/>
                  </a:cubicBezTo>
                  <a:cubicBezTo>
                    <a:pt x="1" y="1758"/>
                    <a:pt x="48" y="1806"/>
                    <a:pt x="106" y="1806"/>
                  </a:cubicBezTo>
                  <a:cubicBezTo>
                    <a:pt x="1169" y="1806"/>
                    <a:pt x="1169" y="1806"/>
                    <a:pt x="1169" y="1806"/>
                  </a:cubicBezTo>
                  <a:cubicBezTo>
                    <a:pt x="1228" y="1806"/>
                    <a:pt x="1275" y="1758"/>
                    <a:pt x="1275" y="1700"/>
                  </a:cubicBezTo>
                  <a:cubicBezTo>
                    <a:pt x="1275" y="107"/>
                    <a:pt x="1275" y="107"/>
                    <a:pt x="1275" y="107"/>
                  </a:cubicBezTo>
                  <a:cubicBezTo>
                    <a:pt x="1275" y="49"/>
                    <a:pt x="1228" y="1"/>
                    <a:pt x="1169" y="1"/>
                  </a:cubicBezTo>
                  <a:close/>
                  <a:moveTo>
                    <a:pt x="1205" y="1700"/>
                  </a:moveTo>
                  <a:cubicBezTo>
                    <a:pt x="1205" y="1719"/>
                    <a:pt x="1189" y="1736"/>
                    <a:pt x="1169" y="1736"/>
                  </a:cubicBezTo>
                  <a:cubicBezTo>
                    <a:pt x="106" y="1736"/>
                    <a:pt x="106" y="1736"/>
                    <a:pt x="106" y="1736"/>
                  </a:cubicBezTo>
                  <a:cubicBezTo>
                    <a:pt x="87" y="1736"/>
                    <a:pt x="71" y="1719"/>
                    <a:pt x="71" y="1700"/>
                  </a:cubicBezTo>
                  <a:cubicBezTo>
                    <a:pt x="71" y="381"/>
                    <a:pt x="71" y="381"/>
                    <a:pt x="71" y="381"/>
                  </a:cubicBezTo>
                  <a:cubicBezTo>
                    <a:pt x="71" y="380"/>
                    <a:pt x="71" y="380"/>
                    <a:pt x="71" y="380"/>
                  </a:cubicBezTo>
                  <a:cubicBezTo>
                    <a:pt x="381" y="380"/>
                    <a:pt x="381" y="380"/>
                    <a:pt x="381" y="380"/>
                  </a:cubicBezTo>
                  <a:cubicBezTo>
                    <a:pt x="381" y="380"/>
                    <a:pt x="420" y="382"/>
                    <a:pt x="420" y="340"/>
                  </a:cubicBezTo>
                  <a:cubicBezTo>
                    <a:pt x="420" y="71"/>
                    <a:pt x="420" y="71"/>
                    <a:pt x="420" y="71"/>
                  </a:cubicBezTo>
                  <a:cubicBezTo>
                    <a:pt x="1169" y="71"/>
                    <a:pt x="1169" y="71"/>
                    <a:pt x="1169" y="71"/>
                  </a:cubicBezTo>
                  <a:cubicBezTo>
                    <a:pt x="1189" y="71"/>
                    <a:pt x="1205" y="87"/>
                    <a:pt x="1205" y="107"/>
                  </a:cubicBezTo>
                  <a:lnTo>
                    <a:pt x="1205" y="1700"/>
                  </a:lnTo>
                  <a:close/>
                </a:path>
              </a:pathLst>
            </a:custGeom>
            <a:solidFill>
              <a:schemeClr val="bg1"/>
            </a:solidFill>
            <a:ln w="9525">
              <a:solidFill>
                <a:schemeClr val="bg1"/>
              </a:solidFill>
              <a:round/>
              <a:headEnd/>
              <a:tailEnd/>
            </a:ln>
            <a:extLst/>
          </p:spPr>
          <p:txBody>
            <a:bodyPr vert="horz" wrap="square" lIns="68577" tIns="34288" rIns="68577" bIns="34288" numCol="1" anchor="t" anchorCtr="0" compatLnSpc="1">
              <a:prstTxWarp prst="textNoShape">
                <a:avLst/>
              </a:prstTxWarp>
              <a:noAutofit/>
            </a:bodyPr>
            <a:lstStyle/>
            <a:p>
              <a:endParaRPr lang="en-US" dirty="0">
                <a:solidFill>
                  <a:srgbClr val="7F7F7F"/>
                </a:solidFill>
                <a:latin typeface="+mn-lt"/>
              </a:endParaRPr>
            </a:p>
          </p:txBody>
        </p:sp>
        <p:sp>
          <p:nvSpPr>
            <p:cNvPr id="44" name="Freeform 36"/>
            <p:cNvSpPr>
              <a:spLocks/>
            </p:cNvSpPr>
            <p:nvPr/>
          </p:nvSpPr>
          <p:spPr bwMode="auto">
            <a:xfrm>
              <a:off x="673164" y="4130836"/>
              <a:ext cx="260819" cy="23854"/>
            </a:xfrm>
            <a:custGeom>
              <a:avLst/>
              <a:gdLst>
                <a:gd name="T0" fmla="*/ 37 w 831"/>
                <a:gd name="T1" fmla="*/ 74 h 74"/>
                <a:gd name="T2" fmla="*/ 794 w 831"/>
                <a:gd name="T3" fmla="*/ 74 h 74"/>
                <a:gd name="T4" fmla="*/ 831 w 831"/>
                <a:gd name="T5" fmla="*/ 37 h 74"/>
                <a:gd name="T6" fmla="*/ 794 w 831"/>
                <a:gd name="T7" fmla="*/ 0 h 74"/>
                <a:gd name="T8" fmla="*/ 37 w 831"/>
                <a:gd name="T9" fmla="*/ 0 h 74"/>
                <a:gd name="T10" fmla="*/ 0 w 831"/>
                <a:gd name="T11" fmla="*/ 37 h 74"/>
                <a:gd name="T12" fmla="*/ 37 w 831"/>
                <a:gd name="T13" fmla="*/ 74 h 74"/>
              </a:gdLst>
              <a:ahLst/>
              <a:cxnLst>
                <a:cxn ang="0">
                  <a:pos x="T0" y="T1"/>
                </a:cxn>
                <a:cxn ang="0">
                  <a:pos x="T2" y="T3"/>
                </a:cxn>
                <a:cxn ang="0">
                  <a:pos x="T4" y="T5"/>
                </a:cxn>
                <a:cxn ang="0">
                  <a:pos x="T6" y="T7"/>
                </a:cxn>
                <a:cxn ang="0">
                  <a:pos x="T8" y="T9"/>
                </a:cxn>
                <a:cxn ang="0">
                  <a:pos x="T10" y="T11"/>
                </a:cxn>
                <a:cxn ang="0">
                  <a:pos x="T12" y="T13"/>
                </a:cxn>
              </a:cxnLst>
              <a:rect l="0" t="0" r="r" b="b"/>
              <a:pathLst>
                <a:path w="831" h="74">
                  <a:moveTo>
                    <a:pt x="37" y="74"/>
                  </a:moveTo>
                  <a:cubicBezTo>
                    <a:pt x="794" y="74"/>
                    <a:pt x="794" y="74"/>
                    <a:pt x="794" y="74"/>
                  </a:cubicBezTo>
                  <a:cubicBezTo>
                    <a:pt x="815" y="74"/>
                    <a:pt x="831" y="58"/>
                    <a:pt x="831" y="37"/>
                  </a:cubicBezTo>
                  <a:cubicBezTo>
                    <a:pt x="831" y="17"/>
                    <a:pt x="815" y="0"/>
                    <a:pt x="794" y="0"/>
                  </a:cubicBezTo>
                  <a:cubicBezTo>
                    <a:pt x="37" y="0"/>
                    <a:pt x="37" y="0"/>
                    <a:pt x="37" y="0"/>
                  </a:cubicBezTo>
                  <a:cubicBezTo>
                    <a:pt x="17" y="0"/>
                    <a:pt x="0" y="17"/>
                    <a:pt x="0" y="37"/>
                  </a:cubicBezTo>
                  <a:cubicBezTo>
                    <a:pt x="0" y="58"/>
                    <a:pt x="17" y="74"/>
                    <a:pt x="37" y="74"/>
                  </a:cubicBezTo>
                  <a:close/>
                </a:path>
              </a:pathLst>
            </a:custGeom>
            <a:solidFill>
              <a:schemeClr val="bg1"/>
            </a:solidFill>
            <a:ln w="9525">
              <a:solidFill>
                <a:schemeClr val="bg1"/>
              </a:solidFill>
              <a:round/>
              <a:headEnd/>
              <a:tailEnd/>
            </a:ln>
            <a:extLst/>
          </p:spPr>
          <p:txBody>
            <a:bodyPr vert="horz" wrap="square" lIns="68577" tIns="34288" rIns="68577" bIns="34288" numCol="1" anchor="t" anchorCtr="0" compatLnSpc="1">
              <a:prstTxWarp prst="textNoShape">
                <a:avLst/>
              </a:prstTxWarp>
              <a:noAutofit/>
            </a:bodyPr>
            <a:lstStyle/>
            <a:p>
              <a:endParaRPr lang="en-US" dirty="0">
                <a:solidFill>
                  <a:srgbClr val="7F7F7F"/>
                </a:solidFill>
                <a:latin typeface="+mn-lt"/>
              </a:endParaRPr>
            </a:p>
          </p:txBody>
        </p:sp>
        <p:sp>
          <p:nvSpPr>
            <p:cNvPr id="45" name="Freeform 37"/>
            <p:cNvSpPr>
              <a:spLocks/>
            </p:cNvSpPr>
            <p:nvPr/>
          </p:nvSpPr>
          <p:spPr bwMode="auto">
            <a:xfrm>
              <a:off x="673164" y="4191390"/>
              <a:ext cx="260819" cy="22938"/>
            </a:xfrm>
            <a:custGeom>
              <a:avLst/>
              <a:gdLst>
                <a:gd name="T0" fmla="*/ 37 w 831"/>
                <a:gd name="T1" fmla="*/ 74 h 74"/>
                <a:gd name="T2" fmla="*/ 794 w 831"/>
                <a:gd name="T3" fmla="*/ 74 h 74"/>
                <a:gd name="T4" fmla="*/ 831 w 831"/>
                <a:gd name="T5" fmla="*/ 37 h 74"/>
                <a:gd name="T6" fmla="*/ 794 w 831"/>
                <a:gd name="T7" fmla="*/ 0 h 74"/>
                <a:gd name="T8" fmla="*/ 37 w 831"/>
                <a:gd name="T9" fmla="*/ 0 h 74"/>
                <a:gd name="T10" fmla="*/ 0 w 831"/>
                <a:gd name="T11" fmla="*/ 37 h 74"/>
                <a:gd name="T12" fmla="*/ 37 w 831"/>
                <a:gd name="T13" fmla="*/ 74 h 74"/>
              </a:gdLst>
              <a:ahLst/>
              <a:cxnLst>
                <a:cxn ang="0">
                  <a:pos x="T0" y="T1"/>
                </a:cxn>
                <a:cxn ang="0">
                  <a:pos x="T2" y="T3"/>
                </a:cxn>
                <a:cxn ang="0">
                  <a:pos x="T4" y="T5"/>
                </a:cxn>
                <a:cxn ang="0">
                  <a:pos x="T6" y="T7"/>
                </a:cxn>
                <a:cxn ang="0">
                  <a:pos x="T8" y="T9"/>
                </a:cxn>
                <a:cxn ang="0">
                  <a:pos x="T10" y="T11"/>
                </a:cxn>
                <a:cxn ang="0">
                  <a:pos x="T12" y="T13"/>
                </a:cxn>
              </a:cxnLst>
              <a:rect l="0" t="0" r="r" b="b"/>
              <a:pathLst>
                <a:path w="831" h="74">
                  <a:moveTo>
                    <a:pt x="37" y="74"/>
                  </a:moveTo>
                  <a:cubicBezTo>
                    <a:pt x="794" y="74"/>
                    <a:pt x="794" y="74"/>
                    <a:pt x="794" y="74"/>
                  </a:cubicBezTo>
                  <a:cubicBezTo>
                    <a:pt x="815" y="74"/>
                    <a:pt x="831" y="58"/>
                    <a:pt x="831" y="37"/>
                  </a:cubicBezTo>
                  <a:cubicBezTo>
                    <a:pt x="831" y="17"/>
                    <a:pt x="815" y="0"/>
                    <a:pt x="794" y="0"/>
                  </a:cubicBezTo>
                  <a:cubicBezTo>
                    <a:pt x="37" y="0"/>
                    <a:pt x="37" y="0"/>
                    <a:pt x="37" y="0"/>
                  </a:cubicBezTo>
                  <a:cubicBezTo>
                    <a:pt x="17" y="0"/>
                    <a:pt x="0" y="17"/>
                    <a:pt x="0" y="37"/>
                  </a:cubicBezTo>
                  <a:cubicBezTo>
                    <a:pt x="0" y="58"/>
                    <a:pt x="17" y="74"/>
                    <a:pt x="37" y="74"/>
                  </a:cubicBezTo>
                  <a:close/>
                </a:path>
              </a:pathLst>
            </a:custGeom>
            <a:solidFill>
              <a:schemeClr val="bg1"/>
            </a:solidFill>
            <a:ln w="9525">
              <a:solidFill>
                <a:schemeClr val="bg1"/>
              </a:solidFill>
              <a:round/>
              <a:headEnd/>
              <a:tailEnd/>
            </a:ln>
            <a:extLst/>
          </p:spPr>
          <p:txBody>
            <a:bodyPr vert="horz" wrap="square" lIns="68577" tIns="34288" rIns="68577" bIns="34288" numCol="1" anchor="t" anchorCtr="0" compatLnSpc="1">
              <a:prstTxWarp prst="textNoShape">
                <a:avLst/>
              </a:prstTxWarp>
              <a:noAutofit/>
            </a:bodyPr>
            <a:lstStyle/>
            <a:p>
              <a:endParaRPr lang="en-US" dirty="0">
                <a:solidFill>
                  <a:srgbClr val="7F7F7F"/>
                </a:solidFill>
                <a:latin typeface="+mn-lt"/>
              </a:endParaRPr>
            </a:p>
          </p:txBody>
        </p:sp>
        <p:sp>
          <p:nvSpPr>
            <p:cNvPr id="46" name="Freeform 38"/>
            <p:cNvSpPr>
              <a:spLocks/>
            </p:cNvSpPr>
            <p:nvPr/>
          </p:nvSpPr>
          <p:spPr bwMode="auto">
            <a:xfrm>
              <a:off x="673159" y="4251941"/>
              <a:ext cx="260819" cy="23854"/>
            </a:xfrm>
            <a:custGeom>
              <a:avLst/>
              <a:gdLst>
                <a:gd name="T0" fmla="*/ 37 w 831"/>
                <a:gd name="T1" fmla="*/ 75 h 75"/>
                <a:gd name="T2" fmla="*/ 794 w 831"/>
                <a:gd name="T3" fmla="*/ 75 h 75"/>
                <a:gd name="T4" fmla="*/ 831 w 831"/>
                <a:gd name="T5" fmla="*/ 38 h 75"/>
                <a:gd name="T6" fmla="*/ 794 w 831"/>
                <a:gd name="T7" fmla="*/ 0 h 75"/>
                <a:gd name="T8" fmla="*/ 37 w 831"/>
                <a:gd name="T9" fmla="*/ 0 h 75"/>
                <a:gd name="T10" fmla="*/ 0 w 831"/>
                <a:gd name="T11" fmla="*/ 38 h 75"/>
                <a:gd name="T12" fmla="*/ 37 w 831"/>
                <a:gd name="T13" fmla="*/ 75 h 75"/>
              </a:gdLst>
              <a:ahLst/>
              <a:cxnLst>
                <a:cxn ang="0">
                  <a:pos x="T0" y="T1"/>
                </a:cxn>
                <a:cxn ang="0">
                  <a:pos x="T2" y="T3"/>
                </a:cxn>
                <a:cxn ang="0">
                  <a:pos x="T4" y="T5"/>
                </a:cxn>
                <a:cxn ang="0">
                  <a:pos x="T6" y="T7"/>
                </a:cxn>
                <a:cxn ang="0">
                  <a:pos x="T8" y="T9"/>
                </a:cxn>
                <a:cxn ang="0">
                  <a:pos x="T10" y="T11"/>
                </a:cxn>
                <a:cxn ang="0">
                  <a:pos x="T12" y="T13"/>
                </a:cxn>
              </a:cxnLst>
              <a:rect l="0" t="0" r="r" b="b"/>
              <a:pathLst>
                <a:path w="831" h="75">
                  <a:moveTo>
                    <a:pt x="37" y="75"/>
                  </a:moveTo>
                  <a:cubicBezTo>
                    <a:pt x="794" y="75"/>
                    <a:pt x="794" y="75"/>
                    <a:pt x="794" y="75"/>
                  </a:cubicBezTo>
                  <a:cubicBezTo>
                    <a:pt x="815" y="75"/>
                    <a:pt x="831" y="58"/>
                    <a:pt x="831" y="38"/>
                  </a:cubicBezTo>
                  <a:cubicBezTo>
                    <a:pt x="831" y="17"/>
                    <a:pt x="815" y="0"/>
                    <a:pt x="794" y="0"/>
                  </a:cubicBezTo>
                  <a:cubicBezTo>
                    <a:pt x="37" y="0"/>
                    <a:pt x="37" y="0"/>
                    <a:pt x="37" y="0"/>
                  </a:cubicBezTo>
                  <a:cubicBezTo>
                    <a:pt x="17" y="0"/>
                    <a:pt x="0" y="17"/>
                    <a:pt x="0" y="38"/>
                  </a:cubicBezTo>
                  <a:cubicBezTo>
                    <a:pt x="0" y="58"/>
                    <a:pt x="17" y="75"/>
                    <a:pt x="37" y="75"/>
                  </a:cubicBezTo>
                  <a:close/>
                </a:path>
              </a:pathLst>
            </a:custGeom>
            <a:solidFill>
              <a:schemeClr val="bg1"/>
            </a:solidFill>
            <a:ln w="9525">
              <a:solidFill>
                <a:schemeClr val="bg1"/>
              </a:solidFill>
              <a:round/>
              <a:headEnd/>
              <a:tailEnd/>
            </a:ln>
            <a:extLst/>
          </p:spPr>
          <p:txBody>
            <a:bodyPr vert="horz" wrap="square" lIns="68577" tIns="34288" rIns="68577" bIns="34288" numCol="1" anchor="t" anchorCtr="0" compatLnSpc="1">
              <a:prstTxWarp prst="textNoShape">
                <a:avLst/>
              </a:prstTxWarp>
              <a:noAutofit/>
            </a:bodyPr>
            <a:lstStyle/>
            <a:p>
              <a:endParaRPr lang="en-US" dirty="0">
                <a:solidFill>
                  <a:srgbClr val="7F7F7F"/>
                </a:solidFill>
                <a:latin typeface="+mn-lt"/>
              </a:endParaRPr>
            </a:p>
          </p:txBody>
        </p:sp>
        <p:sp>
          <p:nvSpPr>
            <p:cNvPr id="47" name="Freeform 39"/>
            <p:cNvSpPr>
              <a:spLocks/>
            </p:cNvSpPr>
            <p:nvPr/>
          </p:nvSpPr>
          <p:spPr bwMode="auto">
            <a:xfrm>
              <a:off x="673160" y="4404242"/>
              <a:ext cx="118471" cy="22938"/>
            </a:xfrm>
            <a:custGeom>
              <a:avLst/>
              <a:gdLst>
                <a:gd name="T0" fmla="*/ 341 w 378"/>
                <a:gd name="T1" fmla="*/ 0 h 74"/>
                <a:gd name="T2" fmla="*/ 37 w 378"/>
                <a:gd name="T3" fmla="*/ 0 h 74"/>
                <a:gd name="T4" fmla="*/ 0 w 378"/>
                <a:gd name="T5" fmla="*/ 37 h 74"/>
                <a:gd name="T6" fmla="*/ 37 w 378"/>
                <a:gd name="T7" fmla="*/ 74 h 74"/>
                <a:gd name="T8" fmla="*/ 341 w 378"/>
                <a:gd name="T9" fmla="*/ 74 h 74"/>
                <a:gd name="T10" fmla="*/ 378 w 378"/>
                <a:gd name="T11" fmla="*/ 37 h 74"/>
                <a:gd name="T12" fmla="*/ 341 w 378"/>
                <a:gd name="T13" fmla="*/ 0 h 74"/>
              </a:gdLst>
              <a:ahLst/>
              <a:cxnLst>
                <a:cxn ang="0">
                  <a:pos x="T0" y="T1"/>
                </a:cxn>
                <a:cxn ang="0">
                  <a:pos x="T2" y="T3"/>
                </a:cxn>
                <a:cxn ang="0">
                  <a:pos x="T4" y="T5"/>
                </a:cxn>
                <a:cxn ang="0">
                  <a:pos x="T6" y="T7"/>
                </a:cxn>
                <a:cxn ang="0">
                  <a:pos x="T8" y="T9"/>
                </a:cxn>
                <a:cxn ang="0">
                  <a:pos x="T10" y="T11"/>
                </a:cxn>
                <a:cxn ang="0">
                  <a:pos x="T12" y="T13"/>
                </a:cxn>
              </a:cxnLst>
              <a:rect l="0" t="0" r="r" b="b"/>
              <a:pathLst>
                <a:path w="378" h="74">
                  <a:moveTo>
                    <a:pt x="341" y="0"/>
                  </a:moveTo>
                  <a:cubicBezTo>
                    <a:pt x="37" y="0"/>
                    <a:pt x="37" y="0"/>
                    <a:pt x="37" y="0"/>
                  </a:cubicBezTo>
                  <a:cubicBezTo>
                    <a:pt x="17" y="0"/>
                    <a:pt x="0" y="17"/>
                    <a:pt x="0" y="37"/>
                  </a:cubicBezTo>
                  <a:cubicBezTo>
                    <a:pt x="0" y="58"/>
                    <a:pt x="17" y="74"/>
                    <a:pt x="37" y="74"/>
                  </a:cubicBezTo>
                  <a:cubicBezTo>
                    <a:pt x="341" y="74"/>
                    <a:pt x="341" y="74"/>
                    <a:pt x="341" y="74"/>
                  </a:cubicBezTo>
                  <a:cubicBezTo>
                    <a:pt x="361" y="74"/>
                    <a:pt x="378" y="58"/>
                    <a:pt x="378" y="37"/>
                  </a:cubicBezTo>
                  <a:cubicBezTo>
                    <a:pt x="378" y="17"/>
                    <a:pt x="361" y="0"/>
                    <a:pt x="341" y="0"/>
                  </a:cubicBezTo>
                  <a:close/>
                </a:path>
              </a:pathLst>
            </a:custGeom>
            <a:solidFill>
              <a:schemeClr val="bg1"/>
            </a:solidFill>
            <a:ln w="9525">
              <a:solidFill>
                <a:schemeClr val="bg1"/>
              </a:solidFill>
              <a:round/>
              <a:headEnd/>
              <a:tailEnd/>
            </a:ln>
            <a:extLst/>
          </p:spPr>
          <p:txBody>
            <a:bodyPr vert="horz" wrap="square" lIns="68577" tIns="34288" rIns="68577" bIns="34288" numCol="1" anchor="t" anchorCtr="0" compatLnSpc="1">
              <a:prstTxWarp prst="textNoShape">
                <a:avLst/>
              </a:prstTxWarp>
              <a:noAutofit/>
            </a:bodyPr>
            <a:lstStyle/>
            <a:p>
              <a:endParaRPr lang="en-US" dirty="0">
                <a:solidFill>
                  <a:srgbClr val="7F7F7F"/>
                </a:solidFill>
                <a:latin typeface="+mn-lt"/>
              </a:endParaRPr>
            </a:p>
          </p:txBody>
        </p:sp>
        <p:sp>
          <p:nvSpPr>
            <p:cNvPr id="48" name="Freeform 40"/>
            <p:cNvSpPr>
              <a:spLocks/>
            </p:cNvSpPr>
            <p:nvPr/>
          </p:nvSpPr>
          <p:spPr bwMode="auto">
            <a:xfrm>
              <a:off x="803578" y="4404242"/>
              <a:ext cx="149695" cy="86243"/>
            </a:xfrm>
            <a:custGeom>
              <a:avLst/>
              <a:gdLst>
                <a:gd name="T0" fmla="*/ 387 w 478"/>
                <a:gd name="T1" fmla="*/ 9 h 275"/>
                <a:gd name="T2" fmla="*/ 355 w 478"/>
                <a:gd name="T3" fmla="*/ 0 h 275"/>
                <a:gd name="T4" fmla="*/ 354 w 478"/>
                <a:gd name="T5" fmla="*/ 38 h 275"/>
                <a:gd name="T6" fmla="*/ 350 w 478"/>
                <a:gd name="T7" fmla="*/ 44 h 275"/>
                <a:gd name="T8" fmla="*/ 343 w 478"/>
                <a:gd name="T9" fmla="*/ 44 h 275"/>
                <a:gd name="T10" fmla="*/ 310 w 478"/>
                <a:gd name="T11" fmla="*/ 25 h 275"/>
                <a:gd name="T12" fmla="*/ 299 w 478"/>
                <a:gd name="T13" fmla="*/ 62 h 275"/>
                <a:gd name="T14" fmla="*/ 294 w 478"/>
                <a:gd name="T15" fmla="*/ 67 h 275"/>
                <a:gd name="T16" fmla="*/ 287 w 478"/>
                <a:gd name="T17" fmla="*/ 65 h 275"/>
                <a:gd name="T18" fmla="*/ 260 w 478"/>
                <a:gd name="T19" fmla="*/ 38 h 275"/>
                <a:gd name="T20" fmla="*/ 240 w 478"/>
                <a:gd name="T21" fmla="*/ 71 h 275"/>
                <a:gd name="T22" fmla="*/ 234 w 478"/>
                <a:gd name="T23" fmla="*/ 74 h 275"/>
                <a:gd name="T24" fmla="*/ 227 w 478"/>
                <a:gd name="T25" fmla="*/ 71 h 275"/>
                <a:gd name="T26" fmla="*/ 208 w 478"/>
                <a:gd name="T27" fmla="*/ 38 h 275"/>
                <a:gd name="T28" fmla="*/ 181 w 478"/>
                <a:gd name="T29" fmla="*/ 65 h 275"/>
                <a:gd name="T30" fmla="*/ 174 w 478"/>
                <a:gd name="T31" fmla="*/ 67 h 275"/>
                <a:gd name="T32" fmla="*/ 168 w 478"/>
                <a:gd name="T33" fmla="*/ 62 h 275"/>
                <a:gd name="T34" fmla="*/ 157 w 478"/>
                <a:gd name="T35" fmla="*/ 25 h 275"/>
                <a:gd name="T36" fmla="*/ 125 w 478"/>
                <a:gd name="T37" fmla="*/ 44 h 275"/>
                <a:gd name="T38" fmla="*/ 117 w 478"/>
                <a:gd name="T39" fmla="*/ 44 h 275"/>
                <a:gd name="T40" fmla="*/ 113 w 478"/>
                <a:gd name="T41" fmla="*/ 38 h 275"/>
                <a:gd name="T42" fmla="*/ 112 w 478"/>
                <a:gd name="T43" fmla="*/ 0 h 275"/>
                <a:gd name="T44" fmla="*/ 94 w 478"/>
                <a:gd name="T45" fmla="*/ 5 h 275"/>
                <a:gd name="T46" fmla="*/ 1 w 478"/>
                <a:gd name="T47" fmla="*/ 201 h 275"/>
                <a:gd name="T48" fmla="*/ 2 w 478"/>
                <a:gd name="T49" fmla="*/ 208 h 275"/>
                <a:gd name="T50" fmla="*/ 9 w 478"/>
                <a:gd name="T51" fmla="*/ 209 h 275"/>
                <a:gd name="T52" fmla="*/ 104 w 478"/>
                <a:gd name="T53" fmla="*/ 178 h 275"/>
                <a:gd name="T54" fmla="*/ 140 w 478"/>
                <a:gd name="T55" fmla="*/ 271 h 275"/>
                <a:gd name="T56" fmla="*/ 145 w 478"/>
                <a:gd name="T57" fmla="*/ 275 h 275"/>
                <a:gd name="T58" fmla="*/ 145 w 478"/>
                <a:gd name="T59" fmla="*/ 275 h 275"/>
                <a:gd name="T60" fmla="*/ 151 w 478"/>
                <a:gd name="T61" fmla="*/ 272 h 275"/>
                <a:gd name="T62" fmla="*/ 240 w 478"/>
                <a:gd name="T63" fmla="*/ 84 h 275"/>
                <a:gd name="T64" fmla="*/ 328 w 478"/>
                <a:gd name="T65" fmla="*/ 272 h 275"/>
                <a:gd name="T66" fmla="*/ 334 w 478"/>
                <a:gd name="T67" fmla="*/ 275 h 275"/>
                <a:gd name="T68" fmla="*/ 334 w 478"/>
                <a:gd name="T69" fmla="*/ 275 h 275"/>
                <a:gd name="T70" fmla="*/ 340 w 478"/>
                <a:gd name="T71" fmla="*/ 271 h 275"/>
                <a:gd name="T72" fmla="*/ 375 w 478"/>
                <a:gd name="T73" fmla="*/ 178 h 275"/>
                <a:gd name="T74" fmla="*/ 470 w 478"/>
                <a:gd name="T75" fmla="*/ 209 h 275"/>
                <a:gd name="T76" fmla="*/ 472 w 478"/>
                <a:gd name="T77" fmla="*/ 210 h 275"/>
                <a:gd name="T78" fmla="*/ 478 w 478"/>
                <a:gd name="T79" fmla="*/ 204 h 275"/>
                <a:gd name="T80" fmla="*/ 478 w 478"/>
                <a:gd name="T81" fmla="*/ 200 h 275"/>
                <a:gd name="T82" fmla="*/ 387 w 478"/>
                <a:gd name="T83" fmla="*/ 9 h 2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78" h="275">
                  <a:moveTo>
                    <a:pt x="387" y="9"/>
                  </a:moveTo>
                  <a:cubicBezTo>
                    <a:pt x="355" y="0"/>
                    <a:pt x="355" y="0"/>
                    <a:pt x="355" y="0"/>
                  </a:cubicBezTo>
                  <a:cubicBezTo>
                    <a:pt x="354" y="38"/>
                    <a:pt x="354" y="38"/>
                    <a:pt x="354" y="38"/>
                  </a:cubicBezTo>
                  <a:cubicBezTo>
                    <a:pt x="354" y="41"/>
                    <a:pt x="352" y="43"/>
                    <a:pt x="350" y="44"/>
                  </a:cubicBezTo>
                  <a:cubicBezTo>
                    <a:pt x="348" y="46"/>
                    <a:pt x="345" y="46"/>
                    <a:pt x="343" y="44"/>
                  </a:cubicBezTo>
                  <a:cubicBezTo>
                    <a:pt x="310" y="25"/>
                    <a:pt x="310" y="25"/>
                    <a:pt x="310" y="25"/>
                  </a:cubicBezTo>
                  <a:cubicBezTo>
                    <a:pt x="299" y="62"/>
                    <a:pt x="299" y="62"/>
                    <a:pt x="299" y="62"/>
                  </a:cubicBezTo>
                  <a:cubicBezTo>
                    <a:pt x="298" y="64"/>
                    <a:pt x="296" y="66"/>
                    <a:pt x="294" y="67"/>
                  </a:cubicBezTo>
                  <a:cubicBezTo>
                    <a:pt x="291" y="67"/>
                    <a:pt x="289" y="67"/>
                    <a:pt x="287" y="65"/>
                  </a:cubicBezTo>
                  <a:cubicBezTo>
                    <a:pt x="260" y="38"/>
                    <a:pt x="260" y="38"/>
                    <a:pt x="260" y="38"/>
                  </a:cubicBezTo>
                  <a:cubicBezTo>
                    <a:pt x="240" y="71"/>
                    <a:pt x="240" y="71"/>
                    <a:pt x="240" y="71"/>
                  </a:cubicBezTo>
                  <a:cubicBezTo>
                    <a:pt x="239" y="73"/>
                    <a:pt x="236" y="74"/>
                    <a:pt x="234" y="74"/>
                  </a:cubicBezTo>
                  <a:cubicBezTo>
                    <a:pt x="231" y="74"/>
                    <a:pt x="229" y="73"/>
                    <a:pt x="227" y="71"/>
                  </a:cubicBezTo>
                  <a:cubicBezTo>
                    <a:pt x="208" y="38"/>
                    <a:pt x="208" y="38"/>
                    <a:pt x="208" y="38"/>
                  </a:cubicBezTo>
                  <a:cubicBezTo>
                    <a:pt x="181" y="65"/>
                    <a:pt x="181" y="65"/>
                    <a:pt x="181" y="65"/>
                  </a:cubicBezTo>
                  <a:cubicBezTo>
                    <a:pt x="179" y="67"/>
                    <a:pt x="176" y="67"/>
                    <a:pt x="174" y="67"/>
                  </a:cubicBezTo>
                  <a:cubicBezTo>
                    <a:pt x="171" y="66"/>
                    <a:pt x="169" y="64"/>
                    <a:pt x="168" y="62"/>
                  </a:cubicBezTo>
                  <a:cubicBezTo>
                    <a:pt x="157" y="25"/>
                    <a:pt x="157" y="25"/>
                    <a:pt x="157" y="25"/>
                  </a:cubicBezTo>
                  <a:cubicBezTo>
                    <a:pt x="125" y="44"/>
                    <a:pt x="125" y="44"/>
                    <a:pt x="125" y="44"/>
                  </a:cubicBezTo>
                  <a:cubicBezTo>
                    <a:pt x="122" y="46"/>
                    <a:pt x="120" y="46"/>
                    <a:pt x="117" y="44"/>
                  </a:cubicBezTo>
                  <a:cubicBezTo>
                    <a:pt x="115" y="43"/>
                    <a:pt x="114" y="41"/>
                    <a:pt x="113" y="38"/>
                  </a:cubicBezTo>
                  <a:cubicBezTo>
                    <a:pt x="112" y="0"/>
                    <a:pt x="112" y="0"/>
                    <a:pt x="112" y="0"/>
                  </a:cubicBezTo>
                  <a:cubicBezTo>
                    <a:pt x="94" y="5"/>
                    <a:pt x="94" y="5"/>
                    <a:pt x="94" y="5"/>
                  </a:cubicBezTo>
                  <a:cubicBezTo>
                    <a:pt x="1" y="201"/>
                    <a:pt x="1" y="201"/>
                    <a:pt x="1" y="201"/>
                  </a:cubicBezTo>
                  <a:cubicBezTo>
                    <a:pt x="0" y="203"/>
                    <a:pt x="1" y="206"/>
                    <a:pt x="2" y="208"/>
                  </a:cubicBezTo>
                  <a:cubicBezTo>
                    <a:pt x="4" y="210"/>
                    <a:pt x="7" y="210"/>
                    <a:pt x="9" y="209"/>
                  </a:cubicBezTo>
                  <a:cubicBezTo>
                    <a:pt x="104" y="178"/>
                    <a:pt x="104" y="178"/>
                    <a:pt x="104" y="178"/>
                  </a:cubicBezTo>
                  <a:cubicBezTo>
                    <a:pt x="140" y="271"/>
                    <a:pt x="140" y="271"/>
                    <a:pt x="140" y="271"/>
                  </a:cubicBezTo>
                  <a:cubicBezTo>
                    <a:pt x="140" y="273"/>
                    <a:pt x="143" y="275"/>
                    <a:pt x="145" y="275"/>
                  </a:cubicBezTo>
                  <a:cubicBezTo>
                    <a:pt x="145" y="275"/>
                    <a:pt x="145" y="275"/>
                    <a:pt x="145" y="275"/>
                  </a:cubicBezTo>
                  <a:cubicBezTo>
                    <a:pt x="148" y="275"/>
                    <a:pt x="150" y="274"/>
                    <a:pt x="151" y="272"/>
                  </a:cubicBezTo>
                  <a:cubicBezTo>
                    <a:pt x="240" y="84"/>
                    <a:pt x="240" y="84"/>
                    <a:pt x="240" y="84"/>
                  </a:cubicBezTo>
                  <a:cubicBezTo>
                    <a:pt x="328" y="272"/>
                    <a:pt x="328" y="272"/>
                    <a:pt x="328" y="272"/>
                  </a:cubicBezTo>
                  <a:cubicBezTo>
                    <a:pt x="329" y="274"/>
                    <a:pt x="331" y="275"/>
                    <a:pt x="334" y="275"/>
                  </a:cubicBezTo>
                  <a:cubicBezTo>
                    <a:pt x="334" y="275"/>
                    <a:pt x="334" y="275"/>
                    <a:pt x="334" y="275"/>
                  </a:cubicBezTo>
                  <a:cubicBezTo>
                    <a:pt x="337" y="275"/>
                    <a:pt x="339" y="273"/>
                    <a:pt x="340" y="271"/>
                  </a:cubicBezTo>
                  <a:cubicBezTo>
                    <a:pt x="375" y="178"/>
                    <a:pt x="375" y="178"/>
                    <a:pt x="375" y="178"/>
                  </a:cubicBezTo>
                  <a:cubicBezTo>
                    <a:pt x="470" y="209"/>
                    <a:pt x="470" y="209"/>
                    <a:pt x="470" y="209"/>
                  </a:cubicBezTo>
                  <a:cubicBezTo>
                    <a:pt x="471" y="210"/>
                    <a:pt x="471" y="210"/>
                    <a:pt x="472" y="210"/>
                  </a:cubicBezTo>
                  <a:cubicBezTo>
                    <a:pt x="476" y="210"/>
                    <a:pt x="478" y="207"/>
                    <a:pt x="478" y="204"/>
                  </a:cubicBezTo>
                  <a:cubicBezTo>
                    <a:pt x="478" y="202"/>
                    <a:pt x="478" y="201"/>
                    <a:pt x="478" y="200"/>
                  </a:cubicBezTo>
                  <a:lnTo>
                    <a:pt x="387" y="9"/>
                  </a:lnTo>
                  <a:close/>
                </a:path>
              </a:pathLst>
            </a:custGeom>
            <a:solidFill>
              <a:schemeClr val="bg1"/>
            </a:solidFill>
            <a:ln w="9525">
              <a:solidFill>
                <a:schemeClr val="bg1"/>
              </a:solidFill>
              <a:round/>
              <a:headEnd/>
              <a:tailEnd/>
            </a:ln>
            <a:extLst/>
          </p:spPr>
          <p:txBody>
            <a:bodyPr vert="horz" wrap="square" lIns="68577" tIns="34288" rIns="68577" bIns="34288" numCol="1" anchor="t" anchorCtr="0" compatLnSpc="1">
              <a:prstTxWarp prst="textNoShape">
                <a:avLst/>
              </a:prstTxWarp>
              <a:noAutofit/>
            </a:bodyPr>
            <a:lstStyle/>
            <a:p>
              <a:endParaRPr lang="en-US" dirty="0">
                <a:solidFill>
                  <a:srgbClr val="7F7F7F"/>
                </a:solidFill>
                <a:latin typeface="+mn-lt"/>
              </a:endParaRPr>
            </a:p>
          </p:txBody>
        </p:sp>
        <p:sp>
          <p:nvSpPr>
            <p:cNvPr id="49" name="Freeform 41"/>
            <p:cNvSpPr>
              <a:spLocks/>
            </p:cNvSpPr>
            <p:nvPr/>
          </p:nvSpPr>
          <p:spPr bwMode="auto">
            <a:xfrm>
              <a:off x="816432" y="4292309"/>
              <a:ext cx="119390" cy="119272"/>
            </a:xfrm>
            <a:custGeom>
              <a:avLst/>
              <a:gdLst>
                <a:gd name="T0" fmla="*/ 117 w 130"/>
                <a:gd name="T1" fmla="*/ 48 h 130"/>
                <a:gd name="T2" fmla="*/ 124 w 130"/>
                <a:gd name="T3" fmla="*/ 37 h 130"/>
                <a:gd name="T4" fmla="*/ 111 w 130"/>
                <a:gd name="T5" fmla="*/ 36 h 130"/>
                <a:gd name="T6" fmla="*/ 116 w 130"/>
                <a:gd name="T7" fmla="*/ 23 h 130"/>
                <a:gd name="T8" fmla="*/ 103 w 130"/>
                <a:gd name="T9" fmla="*/ 25 h 130"/>
                <a:gd name="T10" fmla="*/ 104 w 130"/>
                <a:gd name="T11" fmla="*/ 12 h 130"/>
                <a:gd name="T12" fmla="*/ 91 w 130"/>
                <a:gd name="T13" fmla="*/ 17 h 130"/>
                <a:gd name="T14" fmla="*/ 89 w 130"/>
                <a:gd name="T15" fmla="*/ 4 h 130"/>
                <a:gd name="T16" fmla="*/ 79 w 130"/>
                <a:gd name="T17" fmla="*/ 12 h 130"/>
                <a:gd name="T18" fmla="*/ 74 w 130"/>
                <a:gd name="T19" fmla="*/ 0 h 130"/>
                <a:gd name="T20" fmla="*/ 66 w 130"/>
                <a:gd name="T21" fmla="*/ 11 h 130"/>
                <a:gd name="T22" fmla="*/ 57 w 130"/>
                <a:gd name="T23" fmla="*/ 0 h 130"/>
                <a:gd name="T24" fmla="*/ 52 w 130"/>
                <a:gd name="T25" fmla="*/ 12 h 130"/>
                <a:gd name="T26" fmla="*/ 41 w 130"/>
                <a:gd name="T27" fmla="*/ 4 h 130"/>
                <a:gd name="T28" fmla="*/ 39 w 130"/>
                <a:gd name="T29" fmla="*/ 17 h 130"/>
                <a:gd name="T30" fmla="*/ 27 w 130"/>
                <a:gd name="T31" fmla="*/ 12 h 130"/>
                <a:gd name="T32" fmla="*/ 28 w 130"/>
                <a:gd name="T33" fmla="*/ 25 h 130"/>
                <a:gd name="T34" fmla="*/ 15 w 130"/>
                <a:gd name="T35" fmla="*/ 23 h 130"/>
                <a:gd name="T36" fmla="*/ 19 w 130"/>
                <a:gd name="T37" fmla="*/ 36 h 130"/>
                <a:gd name="T38" fmla="*/ 7 w 130"/>
                <a:gd name="T39" fmla="*/ 37 h 130"/>
                <a:gd name="T40" fmla="*/ 14 w 130"/>
                <a:gd name="T41" fmla="*/ 48 h 130"/>
                <a:gd name="T42" fmla="*/ 1 w 130"/>
                <a:gd name="T43" fmla="*/ 53 h 130"/>
                <a:gd name="T44" fmla="*/ 11 w 130"/>
                <a:gd name="T45" fmla="*/ 61 h 130"/>
                <a:gd name="T46" fmla="*/ 0 w 130"/>
                <a:gd name="T47" fmla="*/ 69 h 130"/>
                <a:gd name="T48" fmla="*/ 12 w 130"/>
                <a:gd name="T49" fmla="*/ 75 h 130"/>
                <a:gd name="T50" fmla="*/ 3 w 130"/>
                <a:gd name="T51" fmla="*/ 85 h 130"/>
                <a:gd name="T52" fmla="*/ 16 w 130"/>
                <a:gd name="T53" fmla="*/ 88 h 130"/>
                <a:gd name="T54" fmla="*/ 11 w 130"/>
                <a:gd name="T55" fmla="*/ 100 h 130"/>
                <a:gd name="T56" fmla="*/ 24 w 130"/>
                <a:gd name="T57" fmla="*/ 99 h 130"/>
                <a:gd name="T58" fmla="*/ 21 w 130"/>
                <a:gd name="T59" fmla="*/ 112 h 130"/>
                <a:gd name="T60" fmla="*/ 24 w 130"/>
                <a:gd name="T61" fmla="*/ 112 h 130"/>
                <a:gd name="T62" fmla="*/ 33 w 130"/>
                <a:gd name="T63" fmla="*/ 108 h 130"/>
                <a:gd name="T64" fmla="*/ 34 w 130"/>
                <a:gd name="T65" fmla="*/ 122 h 130"/>
                <a:gd name="T66" fmla="*/ 45 w 130"/>
                <a:gd name="T67" fmla="*/ 115 h 130"/>
                <a:gd name="T68" fmla="*/ 49 w 130"/>
                <a:gd name="T69" fmla="*/ 128 h 130"/>
                <a:gd name="T70" fmla="*/ 59 w 130"/>
                <a:gd name="T71" fmla="*/ 118 h 130"/>
                <a:gd name="T72" fmla="*/ 66 w 130"/>
                <a:gd name="T73" fmla="*/ 130 h 130"/>
                <a:gd name="T74" fmla="*/ 72 w 130"/>
                <a:gd name="T75" fmla="*/ 118 h 130"/>
                <a:gd name="T76" fmla="*/ 82 w 130"/>
                <a:gd name="T77" fmla="*/ 128 h 130"/>
                <a:gd name="T78" fmla="*/ 85 w 130"/>
                <a:gd name="T79" fmla="*/ 115 h 130"/>
                <a:gd name="T80" fmla="*/ 97 w 130"/>
                <a:gd name="T81" fmla="*/ 122 h 130"/>
                <a:gd name="T82" fmla="*/ 97 w 130"/>
                <a:gd name="T83" fmla="*/ 108 h 130"/>
                <a:gd name="T84" fmla="*/ 110 w 130"/>
                <a:gd name="T85" fmla="*/ 112 h 130"/>
                <a:gd name="T86" fmla="*/ 108 w 130"/>
                <a:gd name="T87" fmla="*/ 105 h 130"/>
                <a:gd name="T88" fmla="*/ 107 w 130"/>
                <a:gd name="T89" fmla="*/ 99 h 130"/>
                <a:gd name="T90" fmla="*/ 120 w 130"/>
                <a:gd name="T91" fmla="*/ 100 h 130"/>
                <a:gd name="T92" fmla="*/ 115 w 130"/>
                <a:gd name="T93" fmla="*/ 88 h 130"/>
                <a:gd name="T94" fmla="*/ 127 w 130"/>
                <a:gd name="T95" fmla="*/ 85 h 130"/>
                <a:gd name="T96" fmla="*/ 119 w 130"/>
                <a:gd name="T97" fmla="*/ 75 h 130"/>
                <a:gd name="T98" fmla="*/ 130 w 130"/>
                <a:gd name="T99" fmla="*/ 69 h 130"/>
                <a:gd name="T100" fmla="*/ 119 w 130"/>
                <a:gd name="T101" fmla="*/ 61 h 130"/>
                <a:gd name="T102" fmla="*/ 129 w 130"/>
                <a:gd name="T103" fmla="*/ 53 h 130"/>
                <a:gd name="T104" fmla="*/ 117 w 130"/>
                <a:gd name="T105" fmla="*/ 48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0" h="130">
                  <a:moveTo>
                    <a:pt x="117" y="48"/>
                  </a:moveTo>
                  <a:lnTo>
                    <a:pt x="124" y="37"/>
                  </a:lnTo>
                  <a:lnTo>
                    <a:pt x="111" y="36"/>
                  </a:lnTo>
                  <a:lnTo>
                    <a:pt x="116" y="23"/>
                  </a:lnTo>
                  <a:lnTo>
                    <a:pt x="103" y="25"/>
                  </a:lnTo>
                  <a:lnTo>
                    <a:pt x="104" y="12"/>
                  </a:lnTo>
                  <a:lnTo>
                    <a:pt x="91" y="17"/>
                  </a:lnTo>
                  <a:lnTo>
                    <a:pt x="89" y="4"/>
                  </a:lnTo>
                  <a:lnTo>
                    <a:pt x="79" y="12"/>
                  </a:lnTo>
                  <a:lnTo>
                    <a:pt x="74" y="0"/>
                  </a:lnTo>
                  <a:lnTo>
                    <a:pt x="66" y="11"/>
                  </a:lnTo>
                  <a:lnTo>
                    <a:pt x="57" y="0"/>
                  </a:lnTo>
                  <a:lnTo>
                    <a:pt x="52" y="12"/>
                  </a:lnTo>
                  <a:lnTo>
                    <a:pt x="41" y="4"/>
                  </a:lnTo>
                  <a:lnTo>
                    <a:pt x="39" y="17"/>
                  </a:lnTo>
                  <a:lnTo>
                    <a:pt x="27" y="12"/>
                  </a:lnTo>
                  <a:lnTo>
                    <a:pt x="28" y="25"/>
                  </a:lnTo>
                  <a:lnTo>
                    <a:pt x="15" y="23"/>
                  </a:lnTo>
                  <a:lnTo>
                    <a:pt x="19" y="36"/>
                  </a:lnTo>
                  <a:lnTo>
                    <a:pt x="7" y="37"/>
                  </a:lnTo>
                  <a:lnTo>
                    <a:pt x="14" y="48"/>
                  </a:lnTo>
                  <a:lnTo>
                    <a:pt x="1" y="53"/>
                  </a:lnTo>
                  <a:lnTo>
                    <a:pt x="11" y="61"/>
                  </a:lnTo>
                  <a:lnTo>
                    <a:pt x="0" y="69"/>
                  </a:lnTo>
                  <a:lnTo>
                    <a:pt x="12" y="75"/>
                  </a:lnTo>
                  <a:lnTo>
                    <a:pt x="3" y="85"/>
                  </a:lnTo>
                  <a:lnTo>
                    <a:pt x="16" y="88"/>
                  </a:lnTo>
                  <a:lnTo>
                    <a:pt x="11" y="100"/>
                  </a:lnTo>
                  <a:lnTo>
                    <a:pt x="24" y="99"/>
                  </a:lnTo>
                  <a:lnTo>
                    <a:pt x="21" y="112"/>
                  </a:lnTo>
                  <a:lnTo>
                    <a:pt x="24" y="112"/>
                  </a:lnTo>
                  <a:lnTo>
                    <a:pt x="33" y="108"/>
                  </a:lnTo>
                  <a:lnTo>
                    <a:pt x="34" y="122"/>
                  </a:lnTo>
                  <a:lnTo>
                    <a:pt x="45" y="115"/>
                  </a:lnTo>
                  <a:lnTo>
                    <a:pt x="49" y="128"/>
                  </a:lnTo>
                  <a:lnTo>
                    <a:pt x="59" y="118"/>
                  </a:lnTo>
                  <a:lnTo>
                    <a:pt x="66" y="130"/>
                  </a:lnTo>
                  <a:lnTo>
                    <a:pt x="72" y="118"/>
                  </a:lnTo>
                  <a:lnTo>
                    <a:pt x="82" y="128"/>
                  </a:lnTo>
                  <a:lnTo>
                    <a:pt x="85" y="115"/>
                  </a:lnTo>
                  <a:lnTo>
                    <a:pt x="97" y="122"/>
                  </a:lnTo>
                  <a:lnTo>
                    <a:pt x="97" y="108"/>
                  </a:lnTo>
                  <a:lnTo>
                    <a:pt x="110" y="112"/>
                  </a:lnTo>
                  <a:lnTo>
                    <a:pt x="108" y="105"/>
                  </a:lnTo>
                  <a:lnTo>
                    <a:pt x="107" y="99"/>
                  </a:lnTo>
                  <a:lnTo>
                    <a:pt x="120" y="100"/>
                  </a:lnTo>
                  <a:lnTo>
                    <a:pt x="115" y="88"/>
                  </a:lnTo>
                  <a:lnTo>
                    <a:pt x="127" y="85"/>
                  </a:lnTo>
                  <a:lnTo>
                    <a:pt x="119" y="75"/>
                  </a:lnTo>
                  <a:lnTo>
                    <a:pt x="130" y="69"/>
                  </a:lnTo>
                  <a:lnTo>
                    <a:pt x="119" y="61"/>
                  </a:lnTo>
                  <a:lnTo>
                    <a:pt x="129" y="53"/>
                  </a:lnTo>
                  <a:lnTo>
                    <a:pt x="117" y="48"/>
                  </a:lnTo>
                  <a:close/>
                </a:path>
              </a:pathLst>
            </a:custGeom>
            <a:solidFill>
              <a:schemeClr val="bg1"/>
            </a:solidFill>
            <a:ln w="9525">
              <a:solidFill>
                <a:schemeClr val="bg1"/>
              </a:solidFill>
              <a:round/>
              <a:headEnd/>
              <a:tailEnd/>
            </a:ln>
            <a:extLst/>
          </p:spPr>
          <p:txBody>
            <a:bodyPr vert="horz" wrap="square" lIns="68577" tIns="34288" rIns="68577" bIns="34288" numCol="1" anchor="t" anchorCtr="0" compatLnSpc="1">
              <a:prstTxWarp prst="textNoShape">
                <a:avLst/>
              </a:prstTxWarp>
              <a:noAutofit/>
            </a:bodyPr>
            <a:lstStyle/>
            <a:p>
              <a:endParaRPr lang="en-US" dirty="0">
                <a:solidFill>
                  <a:srgbClr val="7F7F7F"/>
                </a:solidFill>
                <a:latin typeface="+mn-lt"/>
              </a:endParaRPr>
            </a:p>
          </p:txBody>
        </p:sp>
      </p:grpSp>
      <p:grpSp>
        <p:nvGrpSpPr>
          <p:cNvPr id="5" name="Group 4">
            <a:extLst>
              <a:ext uri="{FF2B5EF4-FFF2-40B4-BE49-F238E27FC236}">
                <a16:creationId xmlns:a16="http://schemas.microsoft.com/office/drawing/2014/main" id="{6EA2662D-46EB-4B16-A0C5-0C2320A923B9}"/>
              </a:ext>
            </a:extLst>
          </p:cNvPr>
          <p:cNvGrpSpPr/>
          <p:nvPr/>
        </p:nvGrpSpPr>
        <p:grpSpPr>
          <a:xfrm>
            <a:off x="503196" y="4623151"/>
            <a:ext cx="485382" cy="490523"/>
            <a:chOff x="562720" y="4841518"/>
            <a:chExt cx="485382" cy="490523"/>
          </a:xfrm>
        </p:grpSpPr>
        <p:sp>
          <p:nvSpPr>
            <p:cNvPr id="55" name="Freeform 54"/>
            <p:cNvSpPr/>
            <p:nvPr/>
          </p:nvSpPr>
          <p:spPr>
            <a:xfrm>
              <a:off x="615231" y="4841518"/>
              <a:ext cx="432871" cy="432446"/>
            </a:xfrm>
            <a:custGeom>
              <a:avLst/>
              <a:gdLst>
                <a:gd name="connsiteX0" fmla="*/ 1076141 w 2139582"/>
                <a:gd name="connsiteY0" fmla="*/ 914825 h 2139582"/>
                <a:gd name="connsiteX1" fmla="*/ 1229141 w 2139582"/>
                <a:gd name="connsiteY1" fmla="*/ 1067825 h 2139582"/>
                <a:gd name="connsiteX2" fmla="*/ 1076141 w 2139582"/>
                <a:gd name="connsiteY2" fmla="*/ 1220825 h 2139582"/>
                <a:gd name="connsiteX3" fmla="*/ 923141 w 2139582"/>
                <a:gd name="connsiteY3" fmla="*/ 1067825 h 2139582"/>
                <a:gd name="connsiteX4" fmla="*/ 1076141 w 2139582"/>
                <a:gd name="connsiteY4" fmla="*/ 914825 h 2139582"/>
                <a:gd name="connsiteX5" fmla="*/ 1076352 w 2139582"/>
                <a:gd name="connsiteY5" fmla="*/ 457625 h 2139582"/>
                <a:gd name="connsiteX6" fmla="*/ 1688352 w 2139582"/>
                <a:gd name="connsiteY6" fmla="*/ 1069625 h 2139582"/>
                <a:gd name="connsiteX7" fmla="*/ 1076352 w 2139582"/>
                <a:gd name="connsiteY7" fmla="*/ 1681625 h 2139582"/>
                <a:gd name="connsiteX8" fmla="*/ 1012045 w 2139582"/>
                <a:gd name="connsiteY8" fmla="*/ 1675142 h 2139582"/>
                <a:gd name="connsiteX9" fmla="*/ 1023259 w 2139582"/>
                <a:gd name="connsiteY9" fmla="*/ 1449454 h 2139582"/>
                <a:gd name="connsiteX10" fmla="*/ 1076352 w 2139582"/>
                <a:gd name="connsiteY10" fmla="*/ 1454806 h 2139582"/>
                <a:gd name="connsiteX11" fmla="*/ 1461533 w 2139582"/>
                <a:gd name="connsiteY11" fmla="*/ 1069625 h 2139582"/>
                <a:gd name="connsiteX12" fmla="*/ 1076352 w 2139582"/>
                <a:gd name="connsiteY12" fmla="*/ 684444 h 2139582"/>
                <a:gd name="connsiteX13" fmla="*/ 691171 w 2139582"/>
                <a:gd name="connsiteY13" fmla="*/ 1069625 h 2139582"/>
                <a:gd name="connsiteX14" fmla="*/ 695092 w 2139582"/>
                <a:gd name="connsiteY14" fmla="*/ 1108523 h 2139582"/>
                <a:gd name="connsiteX15" fmla="*/ 469624 w 2139582"/>
                <a:gd name="connsiteY15" fmla="*/ 1121917 h 2139582"/>
                <a:gd name="connsiteX16" fmla="*/ 464352 w 2139582"/>
                <a:gd name="connsiteY16" fmla="*/ 1069625 h 2139582"/>
                <a:gd name="connsiteX17" fmla="*/ 1076352 w 2139582"/>
                <a:gd name="connsiteY17" fmla="*/ 457625 h 2139582"/>
                <a:gd name="connsiteX18" fmla="*/ 1069791 w 2139582"/>
                <a:gd name="connsiteY18" fmla="*/ 0 h 2139582"/>
                <a:gd name="connsiteX19" fmla="*/ 2139582 w 2139582"/>
                <a:gd name="connsiteY19" fmla="*/ 1069791 h 2139582"/>
                <a:gd name="connsiteX20" fmla="*/ 1069791 w 2139582"/>
                <a:gd name="connsiteY20" fmla="*/ 2139582 h 2139582"/>
                <a:gd name="connsiteX21" fmla="*/ 989170 w 2139582"/>
                <a:gd name="connsiteY21" fmla="*/ 2135511 h 2139582"/>
                <a:gd name="connsiteX22" fmla="*/ 1000671 w 2139582"/>
                <a:gd name="connsiteY22" fmla="*/ 1904054 h 2139582"/>
                <a:gd name="connsiteX23" fmla="*/ 1069791 w 2139582"/>
                <a:gd name="connsiteY23" fmla="*/ 1907544 h 2139582"/>
                <a:gd name="connsiteX24" fmla="*/ 1907544 w 2139582"/>
                <a:gd name="connsiteY24" fmla="*/ 1069791 h 2139582"/>
                <a:gd name="connsiteX25" fmla="*/ 1069791 w 2139582"/>
                <a:gd name="connsiteY25" fmla="*/ 232038 h 2139582"/>
                <a:gd name="connsiteX26" fmla="*/ 232038 w 2139582"/>
                <a:gd name="connsiteY26" fmla="*/ 1069791 h 2139582"/>
                <a:gd name="connsiteX27" fmla="*/ 235373 w 2139582"/>
                <a:gd name="connsiteY27" fmla="*/ 1135833 h 2139582"/>
                <a:gd name="connsiteX28" fmla="*/ 4029 w 2139582"/>
                <a:gd name="connsiteY28" fmla="*/ 1149576 h 2139582"/>
                <a:gd name="connsiteX29" fmla="*/ 0 w 2139582"/>
                <a:gd name="connsiteY29" fmla="*/ 1069791 h 2139582"/>
                <a:gd name="connsiteX30" fmla="*/ 1069791 w 2139582"/>
                <a:gd name="connsiteY30" fmla="*/ 0 h 2139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2139582" h="2139582">
                  <a:moveTo>
                    <a:pt x="1076141" y="914825"/>
                  </a:moveTo>
                  <a:cubicBezTo>
                    <a:pt x="1160641" y="914825"/>
                    <a:pt x="1229141" y="983325"/>
                    <a:pt x="1229141" y="1067825"/>
                  </a:cubicBezTo>
                  <a:cubicBezTo>
                    <a:pt x="1229141" y="1152325"/>
                    <a:pt x="1160641" y="1220825"/>
                    <a:pt x="1076141" y="1220825"/>
                  </a:cubicBezTo>
                  <a:cubicBezTo>
                    <a:pt x="991641" y="1220825"/>
                    <a:pt x="923141" y="1152325"/>
                    <a:pt x="923141" y="1067825"/>
                  </a:cubicBezTo>
                  <a:cubicBezTo>
                    <a:pt x="923141" y="983325"/>
                    <a:pt x="991641" y="914825"/>
                    <a:pt x="1076141" y="914825"/>
                  </a:cubicBezTo>
                  <a:close/>
                  <a:moveTo>
                    <a:pt x="1076352" y="457625"/>
                  </a:moveTo>
                  <a:cubicBezTo>
                    <a:pt x="1414350" y="457625"/>
                    <a:pt x="1688352" y="731627"/>
                    <a:pt x="1688352" y="1069625"/>
                  </a:cubicBezTo>
                  <a:cubicBezTo>
                    <a:pt x="1688352" y="1407623"/>
                    <a:pt x="1414350" y="1681625"/>
                    <a:pt x="1076352" y="1681625"/>
                  </a:cubicBezTo>
                  <a:lnTo>
                    <a:pt x="1012045" y="1675142"/>
                  </a:lnTo>
                  <a:lnTo>
                    <a:pt x="1023259" y="1449454"/>
                  </a:lnTo>
                  <a:lnTo>
                    <a:pt x="1076352" y="1454806"/>
                  </a:lnTo>
                  <a:cubicBezTo>
                    <a:pt x="1289082" y="1454806"/>
                    <a:pt x="1461533" y="1282355"/>
                    <a:pt x="1461533" y="1069625"/>
                  </a:cubicBezTo>
                  <a:cubicBezTo>
                    <a:pt x="1461533" y="856895"/>
                    <a:pt x="1289082" y="684444"/>
                    <a:pt x="1076352" y="684444"/>
                  </a:cubicBezTo>
                  <a:cubicBezTo>
                    <a:pt x="863622" y="684444"/>
                    <a:pt x="691171" y="856895"/>
                    <a:pt x="691171" y="1069625"/>
                  </a:cubicBezTo>
                  <a:lnTo>
                    <a:pt x="695092" y="1108523"/>
                  </a:lnTo>
                  <a:lnTo>
                    <a:pt x="469624" y="1121917"/>
                  </a:lnTo>
                  <a:lnTo>
                    <a:pt x="464352" y="1069625"/>
                  </a:lnTo>
                  <a:cubicBezTo>
                    <a:pt x="464352" y="731627"/>
                    <a:pt x="738354" y="457625"/>
                    <a:pt x="1076352" y="457625"/>
                  </a:cubicBezTo>
                  <a:close/>
                  <a:moveTo>
                    <a:pt x="1069791" y="0"/>
                  </a:moveTo>
                  <a:cubicBezTo>
                    <a:pt x="1660620" y="0"/>
                    <a:pt x="2139582" y="478962"/>
                    <a:pt x="2139582" y="1069791"/>
                  </a:cubicBezTo>
                  <a:cubicBezTo>
                    <a:pt x="2139582" y="1660620"/>
                    <a:pt x="1660620" y="2139582"/>
                    <a:pt x="1069791" y="2139582"/>
                  </a:cubicBezTo>
                  <a:lnTo>
                    <a:pt x="989170" y="2135511"/>
                  </a:lnTo>
                  <a:lnTo>
                    <a:pt x="1000671" y="1904054"/>
                  </a:lnTo>
                  <a:lnTo>
                    <a:pt x="1069791" y="1907544"/>
                  </a:lnTo>
                  <a:cubicBezTo>
                    <a:pt x="1532469" y="1907544"/>
                    <a:pt x="1907544" y="1532469"/>
                    <a:pt x="1907544" y="1069791"/>
                  </a:cubicBezTo>
                  <a:cubicBezTo>
                    <a:pt x="1907544" y="607113"/>
                    <a:pt x="1532469" y="232038"/>
                    <a:pt x="1069791" y="232038"/>
                  </a:cubicBezTo>
                  <a:cubicBezTo>
                    <a:pt x="607113" y="232038"/>
                    <a:pt x="232038" y="607113"/>
                    <a:pt x="232038" y="1069791"/>
                  </a:cubicBezTo>
                  <a:lnTo>
                    <a:pt x="235373" y="1135833"/>
                  </a:lnTo>
                  <a:lnTo>
                    <a:pt x="4029" y="1149576"/>
                  </a:lnTo>
                  <a:lnTo>
                    <a:pt x="0" y="1069791"/>
                  </a:lnTo>
                  <a:cubicBezTo>
                    <a:pt x="0" y="478962"/>
                    <a:pt x="478962" y="0"/>
                    <a:pt x="1069791" y="0"/>
                  </a:cubicBezTo>
                  <a:close/>
                </a:path>
              </a:pathLst>
            </a:custGeom>
            <a:solidFill>
              <a:schemeClr val="bg1"/>
            </a:solidFill>
            <a:ln w="9525">
              <a:solidFill>
                <a:schemeClr val="bg1"/>
              </a:solidFill>
              <a:prstDash val="lgDash"/>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dirty="0" err="1">
                <a:solidFill>
                  <a:srgbClr val="7F7F7F"/>
                </a:solidFill>
              </a:endParaRPr>
            </a:p>
          </p:txBody>
        </p:sp>
        <p:sp>
          <p:nvSpPr>
            <p:cNvPr id="56" name="Freeform 55"/>
            <p:cNvSpPr/>
            <p:nvPr/>
          </p:nvSpPr>
          <p:spPr>
            <a:xfrm>
              <a:off x="562720" y="5103909"/>
              <a:ext cx="224021" cy="228132"/>
            </a:xfrm>
            <a:custGeom>
              <a:avLst/>
              <a:gdLst>
                <a:gd name="connsiteX0" fmla="*/ 0 w 1107281"/>
                <a:gd name="connsiteY0" fmla="*/ 814388 h 1128713"/>
                <a:gd name="connsiteX1" fmla="*/ 592931 w 1107281"/>
                <a:gd name="connsiteY1" fmla="*/ 216694 h 1128713"/>
                <a:gd name="connsiteX2" fmla="*/ 292893 w 1107281"/>
                <a:gd name="connsiteY2" fmla="*/ 42863 h 1128713"/>
                <a:gd name="connsiteX3" fmla="*/ 1107281 w 1107281"/>
                <a:gd name="connsiteY3" fmla="*/ 0 h 1128713"/>
                <a:gd name="connsiteX4" fmla="*/ 1062037 w 1107281"/>
                <a:gd name="connsiteY4" fmla="*/ 816769 h 1128713"/>
                <a:gd name="connsiteX5" fmla="*/ 909637 w 1107281"/>
                <a:gd name="connsiteY5" fmla="*/ 538163 h 1128713"/>
                <a:gd name="connsiteX6" fmla="*/ 311943 w 1107281"/>
                <a:gd name="connsiteY6" fmla="*/ 1128713 h 1128713"/>
                <a:gd name="connsiteX7" fmla="*/ 290512 w 1107281"/>
                <a:gd name="connsiteY7" fmla="*/ 847725 h 1128713"/>
                <a:gd name="connsiteX8" fmla="*/ 0 w 1107281"/>
                <a:gd name="connsiteY8" fmla="*/ 814388 h 11287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07281" h="1128713">
                  <a:moveTo>
                    <a:pt x="0" y="814388"/>
                  </a:moveTo>
                  <a:lnTo>
                    <a:pt x="592931" y="216694"/>
                  </a:lnTo>
                  <a:lnTo>
                    <a:pt x="292893" y="42863"/>
                  </a:lnTo>
                  <a:lnTo>
                    <a:pt x="1107281" y="0"/>
                  </a:lnTo>
                  <a:lnTo>
                    <a:pt x="1062037" y="816769"/>
                  </a:lnTo>
                  <a:lnTo>
                    <a:pt x="909637" y="538163"/>
                  </a:lnTo>
                  <a:lnTo>
                    <a:pt x="311943" y="1128713"/>
                  </a:lnTo>
                  <a:lnTo>
                    <a:pt x="290512" y="847725"/>
                  </a:lnTo>
                  <a:lnTo>
                    <a:pt x="0" y="814388"/>
                  </a:lnTo>
                  <a:close/>
                </a:path>
              </a:pathLst>
            </a:custGeom>
            <a:solidFill>
              <a:schemeClr val="bg1"/>
            </a:solidFill>
            <a:ln w="9525">
              <a:solidFill>
                <a:schemeClr val="bg1"/>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de-DE" dirty="0" err="1">
                <a:solidFill>
                  <a:srgbClr val="7F7F7F"/>
                </a:solidFill>
              </a:endParaRPr>
            </a:p>
          </p:txBody>
        </p:sp>
      </p:grpSp>
      <p:sp>
        <p:nvSpPr>
          <p:cNvPr id="73" name="Freeform 13"/>
          <p:cNvSpPr>
            <a:spLocks noEditPoints="1"/>
          </p:cNvSpPr>
          <p:nvPr/>
        </p:nvSpPr>
        <p:spPr bwMode="auto">
          <a:xfrm>
            <a:off x="557005" y="5532235"/>
            <a:ext cx="377765" cy="357626"/>
          </a:xfrm>
          <a:custGeom>
            <a:avLst/>
            <a:gdLst>
              <a:gd name="T0" fmla="*/ 75 w 116"/>
              <a:gd name="T1" fmla="*/ 74 h 110"/>
              <a:gd name="T2" fmla="*/ 81 w 116"/>
              <a:gd name="T3" fmla="*/ 80 h 110"/>
              <a:gd name="T4" fmla="*/ 87 w 116"/>
              <a:gd name="T5" fmla="*/ 74 h 110"/>
              <a:gd name="T6" fmla="*/ 81 w 116"/>
              <a:gd name="T7" fmla="*/ 67 h 110"/>
              <a:gd name="T8" fmla="*/ 75 w 116"/>
              <a:gd name="T9" fmla="*/ 74 h 110"/>
              <a:gd name="T10" fmla="*/ 104 w 116"/>
              <a:gd name="T11" fmla="*/ 27 h 110"/>
              <a:gd name="T12" fmla="*/ 85 w 116"/>
              <a:gd name="T13" fmla="*/ 0 h 110"/>
              <a:gd name="T14" fmla="*/ 40 w 116"/>
              <a:gd name="T15" fmla="*/ 27 h 110"/>
              <a:gd name="T16" fmla="*/ 104 w 116"/>
              <a:gd name="T17" fmla="*/ 27 h 110"/>
              <a:gd name="T18" fmla="*/ 25 w 116"/>
              <a:gd name="T19" fmla="*/ 18 h 110"/>
              <a:gd name="T20" fmla="*/ 36 w 116"/>
              <a:gd name="T21" fmla="*/ 18 h 110"/>
              <a:gd name="T22" fmla="*/ 51 w 116"/>
              <a:gd name="T23" fmla="*/ 10 h 110"/>
              <a:gd name="T24" fmla="*/ 25 w 116"/>
              <a:gd name="T25" fmla="*/ 10 h 110"/>
              <a:gd name="T26" fmla="*/ 0 w 116"/>
              <a:gd name="T27" fmla="*/ 36 h 110"/>
              <a:gd name="T28" fmla="*/ 0 w 116"/>
              <a:gd name="T29" fmla="*/ 36 h 110"/>
              <a:gd name="T30" fmla="*/ 0 w 116"/>
              <a:gd name="T31" fmla="*/ 98 h 110"/>
              <a:gd name="T32" fmla="*/ 13 w 116"/>
              <a:gd name="T33" fmla="*/ 110 h 110"/>
              <a:gd name="T34" fmla="*/ 103 w 116"/>
              <a:gd name="T35" fmla="*/ 110 h 110"/>
              <a:gd name="T36" fmla="*/ 116 w 116"/>
              <a:gd name="T37" fmla="*/ 98 h 110"/>
              <a:gd name="T38" fmla="*/ 116 w 116"/>
              <a:gd name="T39" fmla="*/ 88 h 110"/>
              <a:gd name="T40" fmla="*/ 75 w 116"/>
              <a:gd name="T41" fmla="*/ 88 h 110"/>
              <a:gd name="T42" fmla="*/ 66 w 116"/>
              <a:gd name="T43" fmla="*/ 80 h 110"/>
              <a:gd name="T44" fmla="*/ 66 w 116"/>
              <a:gd name="T45" fmla="*/ 67 h 110"/>
              <a:gd name="T46" fmla="*/ 75 w 116"/>
              <a:gd name="T47" fmla="*/ 59 h 110"/>
              <a:gd name="T48" fmla="*/ 116 w 116"/>
              <a:gd name="T49" fmla="*/ 59 h 110"/>
              <a:gd name="T50" fmla="*/ 116 w 116"/>
              <a:gd name="T51" fmla="*/ 36 h 110"/>
              <a:gd name="T52" fmla="*/ 11 w 116"/>
              <a:gd name="T53" fmla="*/ 36 h 110"/>
              <a:gd name="T54" fmla="*/ 25 w 116"/>
              <a:gd name="T55" fmla="*/ 18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16" h="110">
                <a:moveTo>
                  <a:pt x="75" y="74"/>
                </a:moveTo>
                <a:cubicBezTo>
                  <a:pt x="75" y="77"/>
                  <a:pt x="78" y="80"/>
                  <a:pt x="81" y="80"/>
                </a:cubicBezTo>
                <a:cubicBezTo>
                  <a:pt x="84" y="80"/>
                  <a:pt x="87" y="77"/>
                  <a:pt x="87" y="74"/>
                </a:cubicBezTo>
                <a:cubicBezTo>
                  <a:pt x="87" y="70"/>
                  <a:pt x="84" y="67"/>
                  <a:pt x="81" y="67"/>
                </a:cubicBezTo>
                <a:cubicBezTo>
                  <a:pt x="78" y="67"/>
                  <a:pt x="75" y="70"/>
                  <a:pt x="75" y="74"/>
                </a:cubicBezTo>
                <a:close/>
                <a:moveTo>
                  <a:pt x="104" y="27"/>
                </a:moveTo>
                <a:cubicBezTo>
                  <a:pt x="85" y="0"/>
                  <a:pt x="85" y="0"/>
                  <a:pt x="85" y="0"/>
                </a:cubicBezTo>
                <a:cubicBezTo>
                  <a:pt x="40" y="27"/>
                  <a:pt x="40" y="27"/>
                  <a:pt x="40" y="27"/>
                </a:cubicBezTo>
                <a:lnTo>
                  <a:pt x="104" y="27"/>
                </a:lnTo>
                <a:close/>
                <a:moveTo>
                  <a:pt x="25" y="18"/>
                </a:moveTo>
                <a:cubicBezTo>
                  <a:pt x="36" y="18"/>
                  <a:pt x="36" y="18"/>
                  <a:pt x="36" y="18"/>
                </a:cubicBezTo>
                <a:cubicBezTo>
                  <a:pt x="51" y="10"/>
                  <a:pt x="51" y="10"/>
                  <a:pt x="51" y="10"/>
                </a:cubicBezTo>
                <a:cubicBezTo>
                  <a:pt x="25" y="10"/>
                  <a:pt x="25" y="10"/>
                  <a:pt x="25" y="10"/>
                </a:cubicBezTo>
                <a:cubicBezTo>
                  <a:pt x="16" y="10"/>
                  <a:pt x="1" y="17"/>
                  <a:pt x="0" y="36"/>
                </a:cubicBezTo>
                <a:cubicBezTo>
                  <a:pt x="0" y="36"/>
                  <a:pt x="0" y="36"/>
                  <a:pt x="0" y="36"/>
                </a:cubicBezTo>
                <a:cubicBezTo>
                  <a:pt x="0" y="98"/>
                  <a:pt x="0" y="98"/>
                  <a:pt x="0" y="98"/>
                </a:cubicBezTo>
                <a:cubicBezTo>
                  <a:pt x="0" y="105"/>
                  <a:pt x="6" y="110"/>
                  <a:pt x="13" y="110"/>
                </a:cubicBezTo>
                <a:cubicBezTo>
                  <a:pt x="103" y="110"/>
                  <a:pt x="103" y="110"/>
                  <a:pt x="103" y="110"/>
                </a:cubicBezTo>
                <a:cubicBezTo>
                  <a:pt x="110" y="110"/>
                  <a:pt x="116" y="105"/>
                  <a:pt x="116" y="98"/>
                </a:cubicBezTo>
                <a:cubicBezTo>
                  <a:pt x="116" y="88"/>
                  <a:pt x="116" y="88"/>
                  <a:pt x="116" y="88"/>
                </a:cubicBezTo>
                <a:cubicBezTo>
                  <a:pt x="75" y="88"/>
                  <a:pt x="75" y="88"/>
                  <a:pt x="75" y="88"/>
                </a:cubicBezTo>
                <a:cubicBezTo>
                  <a:pt x="70" y="88"/>
                  <a:pt x="66" y="84"/>
                  <a:pt x="66" y="80"/>
                </a:cubicBezTo>
                <a:cubicBezTo>
                  <a:pt x="66" y="67"/>
                  <a:pt x="66" y="67"/>
                  <a:pt x="66" y="67"/>
                </a:cubicBezTo>
                <a:cubicBezTo>
                  <a:pt x="66" y="63"/>
                  <a:pt x="70" y="59"/>
                  <a:pt x="75" y="59"/>
                </a:cubicBezTo>
                <a:cubicBezTo>
                  <a:pt x="116" y="59"/>
                  <a:pt x="116" y="59"/>
                  <a:pt x="116" y="59"/>
                </a:cubicBezTo>
                <a:cubicBezTo>
                  <a:pt x="116" y="36"/>
                  <a:pt x="116" y="36"/>
                  <a:pt x="116" y="36"/>
                </a:cubicBezTo>
                <a:cubicBezTo>
                  <a:pt x="11" y="36"/>
                  <a:pt x="11" y="36"/>
                  <a:pt x="11" y="36"/>
                </a:cubicBezTo>
                <a:cubicBezTo>
                  <a:pt x="11" y="18"/>
                  <a:pt x="25" y="18"/>
                  <a:pt x="25" y="18"/>
                </a:cubicBezTo>
                <a:close/>
              </a:path>
            </a:pathLst>
          </a:custGeom>
          <a:solidFill>
            <a:schemeClr val="bg1"/>
          </a:solidFill>
          <a:ln w="9525">
            <a:solidFill>
              <a:schemeClr val="bg1"/>
            </a:solidFill>
          </a:ln>
          <a:extLst/>
        </p:spPr>
        <p:txBody>
          <a:bodyPr vert="horz" wrap="square" lIns="68577" tIns="34288" rIns="68577" bIns="34288" numCol="1" anchor="t" anchorCtr="0" compatLnSpc="1">
            <a:prstTxWarp prst="textNoShape">
              <a:avLst/>
            </a:prstTxWarp>
            <a:noAutofit/>
          </a:bodyPr>
          <a:lstStyle/>
          <a:p>
            <a:endParaRPr lang="en-US" dirty="0">
              <a:solidFill>
                <a:srgbClr val="7F7F7F"/>
              </a:solidFill>
              <a:latin typeface="+mn-lt"/>
            </a:endParaRPr>
          </a:p>
        </p:txBody>
      </p:sp>
      <p:sp>
        <p:nvSpPr>
          <p:cNvPr id="50" name="5. Source">
            <a:extLst>
              <a:ext uri="{FF2B5EF4-FFF2-40B4-BE49-F238E27FC236}">
                <a16:creationId xmlns:a16="http://schemas.microsoft.com/office/drawing/2014/main" id="{C409E1DA-3F89-44D3-AE24-C0CB993B8513}"/>
              </a:ext>
            </a:extLst>
          </p:cNvPr>
          <p:cNvSpPr>
            <a:spLocks noChangeArrowheads="1"/>
          </p:cNvSpPr>
          <p:nvPr/>
        </p:nvSpPr>
        <p:spPr bwMode="gray">
          <a:xfrm>
            <a:off x="119063" y="6507558"/>
            <a:ext cx="7200000" cy="123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marL="609600" indent="-609600" defTabSz="895350">
              <a:tabLst>
                <a:tab pos="612775" algn="l"/>
              </a:tabLst>
            </a:pPr>
            <a:r>
              <a:rPr lang="en-US" sz="800" baseline="0" dirty="0">
                <a:solidFill>
                  <a:schemeClr val="accent6"/>
                </a:solidFill>
                <a:latin typeface="+mn-lt"/>
                <a:ea typeface="+mn-ea"/>
              </a:rPr>
              <a:t>SOURCE: McKinsey Recovery &amp; Transformation Services</a:t>
            </a:r>
          </a:p>
        </p:txBody>
      </p:sp>
    </p:spTree>
    <p:extLst>
      <p:ext uri="{BB962C8B-B14F-4D97-AF65-F5344CB8AC3E}">
        <p14:creationId xmlns:p14="http://schemas.microsoft.com/office/powerpoint/2010/main" val="3102973355"/>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extLst/>
          </p:nvPr>
        </p:nvGraphicFramePr>
        <p:xfrm>
          <a:off x="1121521" y="841488"/>
          <a:ext cx="1190" cy="1190"/>
        </p:xfrm>
        <a:graphic>
          <a:graphicData uri="http://schemas.openxmlformats.org/presentationml/2006/ole">
            <mc:AlternateContent xmlns:mc="http://schemas.openxmlformats.org/markup-compatibility/2006">
              <mc:Choice xmlns:v="urn:schemas-microsoft-com:vml" Requires="v">
                <p:oleObj spid="_x0000_s303124" name="think-cell Slide" r:id="rId6" imgW="270" imgH="270" progId="TCLayout.ActiveDocument.1">
                  <p:embed/>
                </p:oleObj>
              </mc:Choice>
              <mc:Fallback>
                <p:oleObj name="think-cell Slide" r:id="rId6" imgW="270" imgH="270" progId="TCLayout.ActiveDocument.1">
                  <p:embed/>
                  <p:pic>
                    <p:nvPicPr>
                      <p:cNvPr id="12" name="Object 11" hidden="1"/>
                      <p:cNvPicPr/>
                      <p:nvPr/>
                    </p:nvPicPr>
                    <p:blipFill>
                      <a:blip r:embed="rId7"/>
                      <a:stretch>
                        <a:fillRect/>
                      </a:stretch>
                    </p:blipFill>
                    <p:spPr>
                      <a:xfrm>
                        <a:off x="1121521" y="841488"/>
                        <a:ext cx="1190" cy="1190"/>
                      </a:xfrm>
                      <a:prstGeom prst="rect">
                        <a:avLst/>
                      </a:prstGeom>
                    </p:spPr>
                  </p:pic>
                </p:oleObj>
              </mc:Fallback>
            </mc:AlternateContent>
          </a:graphicData>
        </a:graphic>
      </p:graphicFrame>
      <p:sp>
        <p:nvSpPr>
          <p:cNvPr id="2" name="Rectangle 1" hidden="1"/>
          <p:cNvSpPr/>
          <p:nvPr>
            <p:custDataLst>
              <p:tags r:id="rId3"/>
            </p:custDataLst>
          </p:nvPr>
        </p:nvSpPr>
        <p:spPr bwMode="auto">
          <a:xfrm>
            <a:off x="1120329" y="840296"/>
            <a:ext cx="119057" cy="119057"/>
          </a:xfrm>
          <a:prstGeom prst="rect">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rtlCol="0" anchor="t" anchorCtr="0" compatLnSpc="1">
            <a:prstTxWarp prst="textNoShape">
              <a:avLst/>
            </a:prstTxWarp>
            <a:noAutofit/>
          </a:bodyPr>
          <a:lstStyle/>
          <a:p>
            <a:endParaRPr lang="en-US" sz="1200">
              <a:latin typeface="+mn-lt"/>
              <a:sym typeface="+mn-lt"/>
            </a:endParaRPr>
          </a:p>
        </p:txBody>
      </p:sp>
      <p:sp>
        <p:nvSpPr>
          <p:cNvPr id="16" name="Rectangle 15">
            <a:extLst>
              <a:ext uri="{FF2B5EF4-FFF2-40B4-BE49-F238E27FC236}">
                <a16:creationId xmlns:a16="http://schemas.microsoft.com/office/drawing/2014/main" id="{70F84A06-7563-4BB7-9922-0B48A65FE15E}"/>
              </a:ext>
            </a:extLst>
          </p:cNvPr>
          <p:cNvSpPr/>
          <p:nvPr/>
        </p:nvSpPr>
        <p:spPr>
          <a:xfrm>
            <a:off x="119063" y="668103"/>
            <a:ext cx="7281862" cy="5385307"/>
          </a:xfrm>
          <a:prstGeom prst="rect">
            <a:avLst/>
          </a:prstGeom>
          <a:solidFill>
            <a:schemeClr val="bg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graphicFrame>
        <p:nvGraphicFramePr>
          <p:cNvPr id="36" name="Chart 35"/>
          <p:cNvGraphicFramePr>
            <a:graphicFrameLocks/>
          </p:cNvGraphicFramePr>
          <p:nvPr>
            <p:extLst/>
          </p:nvPr>
        </p:nvGraphicFramePr>
        <p:xfrm>
          <a:off x="235832" y="1260493"/>
          <a:ext cx="6460364" cy="4740737"/>
        </p:xfrm>
        <a:graphic>
          <a:graphicData uri="http://schemas.openxmlformats.org/drawingml/2006/chart">
            <c:chart xmlns:c="http://schemas.openxmlformats.org/drawingml/2006/chart" xmlns:r="http://schemas.openxmlformats.org/officeDocument/2006/relationships" r:id="rId8"/>
          </a:graphicData>
        </a:graphic>
      </p:graphicFrame>
      <p:sp>
        <p:nvSpPr>
          <p:cNvPr id="28" name="AutoShape 250"/>
          <p:cNvSpPr>
            <a:spLocks noChangeArrowheads="1"/>
          </p:cNvSpPr>
          <p:nvPr/>
        </p:nvSpPr>
        <p:spPr bwMode="auto">
          <a:xfrm>
            <a:off x="235832" y="746934"/>
            <a:ext cx="4811868" cy="246221"/>
          </a:xfrm>
          <a:prstGeom prst="leftRightArrow">
            <a:avLst>
              <a:gd name="adj1" fmla="val 100000"/>
              <a:gd name="adj2" fmla="val 0"/>
            </a:avLst>
          </a:prstGeom>
          <a:noFill/>
          <a:ln w="9525">
            <a:noFill/>
            <a:miter lim="800000"/>
            <a:headEnd/>
            <a:tailEnd/>
          </a:ln>
          <a:effectLst/>
          <a:extLst/>
        </p:spPr>
        <p:txBody>
          <a:bodyPr wrap="square" lIns="0" tIns="0" rIns="0" bIns="0" anchor="ctr" anchorCtr="0">
            <a:spAutoFit/>
          </a:bodyPr>
          <a:lstStyle/>
          <a:p>
            <a:r>
              <a:rPr lang="en-AU" b="1" dirty="0">
                <a:solidFill>
                  <a:schemeClr val="accent4"/>
                </a:solidFill>
                <a:latin typeface="+mn-lt"/>
              </a:rPr>
              <a:t>Share price index</a:t>
            </a:r>
            <a:r>
              <a:rPr lang="en-AU" b="1" baseline="30000" dirty="0">
                <a:solidFill>
                  <a:schemeClr val="accent4"/>
                </a:solidFill>
                <a:latin typeface="+mn-lt"/>
              </a:rPr>
              <a:t>1</a:t>
            </a:r>
            <a:r>
              <a:rPr lang="en-AU" b="1" dirty="0">
                <a:solidFill>
                  <a:schemeClr val="accent4"/>
                </a:solidFill>
                <a:latin typeface="+mn-lt"/>
              </a:rPr>
              <a:t> </a:t>
            </a:r>
          </a:p>
        </p:txBody>
      </p:sp>
      <p:grpSp>
        <p:nvGrpSpPr>
          <p:cNvPr id="3" name="Group 2">
            <a:extLst>
              <a:ext uri="{FF2B5EF4-FFF2-40B4-BE49-F238E27FC236}">
                <a16:creationId xmlns:a16="http://schemas.microsoft.com/office/drawing/2014/main" id="{CCC3CE34-2FD9-4EC3-A245-9C30F80AC921}"/>
              </a:ext>
            </a:extLst>
          </p:cNvPr>
          <p:cNvGrpSpPr/>
          <p:nvPr/>
        </p:nvGrpSpPr>
        <p:grpSpPr>
          <a:xfrm>
            <a:off x="5209775" y="768050"/>
            <a:ext cx="1438675" cy="492443"/>
            <a:chOff x="5209775" y="993155"/>
            <a:chExt cx="1438675" cy="492443"/>
          </a:xfrm>
        </p:grpSpPr>
        <p:sp>
          <p:nvSpPr>
            <p:cNvPr id="30" name="3. Unit of measure"/>
            <p:cNvSpPr txBox="1">
              <a:spLocks noChangeArrowheads="1"/>
            </p:cNvSpPr>
            <p:nvPr>
              <p:custDataLst>
                <p:tags r:id="rId4"/>
              </p:custDataLst>
            </p:nvPr>
          </p:nvSpPr>
          <p:spPr bwMode="auto">
            <a:xfrm>
              <a:off x="5209775" y="993155"/>
              <a:ext cx="1438675" cy="492443"/>
            </a:xfrm>
            <a:prstGeom prst="rect">
              <a:avLst/>
            </a:prstGeom>
            <a:solidFill>
              <a:srgbClr val="FFFFFF"/>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wrap="square" lIns="0" tIns="0" rIns="0" bIns="0">
              <a:spAutoFit/>
            </a:bodyPr>
            <a:lstStyle>
              <a:lvl1pPr algn="ctr" defTabSz="895350">
                <a:defRPr sz="1200">
                  <a:solidFill>
                    <a:schemeClr val="tx1"/>
                  </a:solidFill>
                  <a:latin typeface="Arial" pitchFamily="34" charset="0"/>
                  <a:cs typeface="Arial" pitchFamily="34" charset="0"/>
                </a:defRPr>
              </a:lvl1pPr>
              <a:lvl2pPr marL="742950" indent="-285750" algn="ctr" defTabSz="895350">
                <a:defRPr sz="1200">
                  <a:solidFill>
                    <a:schemeClr val="tx1"/>
                  </a:solidFill>
                  <a:latin typeface="Arial" pitchFamily="34" charset="0"/>
                  <a:cs typeface="Arial" pitchFamily="34" charset="0"/>
                </a:defRPr>
              </a:lvl2pPr>
              <a:lvl3pPr marL="1143000" indent="-228600" algn="ctr" defTabSz="895350">
                <a:defRPr sz="1200">
                  <a:solidFill>
                    <a:schemeClr val="tx1"/>
                  </a:solidFill>
                  <a:latin typeface="Arial" pitchFamily="34" charset="0"/>
                  <a:cs typeface="Arial" pitchFamily="34" charset="0"/>
                </a:defRPr>
              </a:lvl3pPr>
              <a:lvl4pPr marL="1600200" indent="-228600" algn="ctr" defTabSz="895350">
                <a:defRPr sz="1200">
                  <a:solidFill>
                    <a:schemeClr val="tx1"/>
                  </a:solidFill>
                  <a:latin typeface="Arial" pitchFamily="34" charset="0"/>
                  <a:cs typeface="Arial" pitchFamily="34" charset="0"/>
                </a:defRPr>
              </a:lvl4pPr>
              <a:lvl5pPr marL="2057400" indent="-228600" algn="ctr" defTabSz="895350">
                <a:defRPr sz="1200">
                  <a:solidFill>
                    <a:schemeClr val="tx1"/>
                  </a:solidFill>
                  <a:latin typeface="Arial" pitchFamily="34" charset="0"/>
                  <a:cs typeface="Arial" pitchFamily="34" charset="0"/>
                </a:defRPr>
              </a:lvl5pPr>
              <a:lvl6pPr marL="2514600" indent="-228600" algn="ctr" defTabSz="895350" fontAlgn="base">
                <a:spcBef>
                  <a:spcPct val="0"/>
                </a:spcBef>
                <a:spcAft>
                  <a:spcPct val="0"/>
                </a:spcAft>
                <a:defRPr sz="1200">
                  <a:solidFill>
                    <a:schemeClr val="tx1"/>
                  </a:solidFill>
                  <a:latin typeface="Arial" pitchFamily="34" charset="0"/>
                  <a:cs typeface="Arial" pitchFamily="34" charset="0"/>
                </a:defRPr>
              </a:lvl6pPr>
              <a:lvl7pPr marL="2971800" indent="-228600" algn="ctr" defTabSz="895350" fontAlgn="base">
                <a:spcBef>
                  <a:spcPct val="0"/>
                </a:spcBef>
                <a:spcAft>
                  <a:spcPct val="0"/>
                </a:spcAft>
                <a:defRPr sz="1200">
                  <a:solidFill>
                    <a:schemeClr val="tx1"/>
                  </a:solidFill>
                  <a:latin typeface="Arial" pitchFamily="34" charset="0"/>
                  <a:cs typeface="Arial" pitchFamily="34" charset="0"/>
                </a:defRPr>
              </a:lvl7pPr>
              <a:lvl8pPr marL="3429000" indent="-228600" algn="ctr" defTabSz="895350" fontAlgn="base">
                <a:spcBef>
                  <a:spcPct val="0"/>
                </a:spcBef>
                <a:spcAft>
                  <a:spcPct val="0"/>
                </a:spcAft>
                <a:defRPr sz="1200">
                  <a:solidFill>
                    <a:schemeClr val="tx1"/>
                  </a:solidFill>
                  <a:latin typeface="Arial" pitchFamily="34" charset="0"/>
                  <a:cs typeface="Arial" pitchFamily="34" charset="0"/>
                </a:defRPr>
              </a:lvl8pPr>
              <a:lvl9pPr marL="3886200" indent="-228600" algn="ctr" defTabSz="895350" fontAlgn="base">
                <a:spcBef>
                  <a:spcPct val="0"/>
                </a:spcBef>
                <a:spcAft>
                  <a:spcPct val="0"/>
                </a:spcAft>
                <a:defRPr sz="1200">
                  <a:solidFill>
                    <a:schemeClr val="tx1"/>
                  </a:solidFill>
                  <a:latin typeface="Arial" pitchFamily="34" charset="0"/>
                  <a:cs typeface="Arial" pitchFamily="34" charset="0"/>
                </a:defRPr>
              </a:lvl9pPr>
            </a:lstStyle>
            <a:p>
              <a:pPr algn="l"/>
              <a:r>
                <a:rPr lang="en-US" sz="1600" b="1" dirty="0">
                  <a:solidFill>
                    <a:schemeClr val="accent4"/>
                  </a:solidFill>
                  <a:latin typeface="+mn-lt"/>
                </a:rPr>
                <a:t>Change in </a:t>
              </a:r>
            </a:p>
            <a:p>
              <a:pPr algn="l"/>
              <a:r>
                <a:rPr lang="en-US" sz="1600" b="1" dirty="0">
                  <a:solidFill>
                    <a:schemeClr val="accent4"/>
                  </a:solidFill>
                  <a:latin typeface="+mn-lt"/>
                </a:rPr>
                <a:t>share price, </a:t>
              </a:r>
              <a:r>
                <a:rPr lang="en-US" sz="1600" dirty="0">
                  <a:solidFill>
                    <a:schemeClr val="accent6"/>
                  </a:solidFill>
                  <a:latin typeface="+mn-lt"/>
                </a:rPr>
                <a:t>%</a:t>
              </a:r>
            </a:p>
          </p:txBody>
        </p:sp>
        <p:cxnSp>
          <p:nvCxnSpPr>
            <p:cNvPr id="31" name="Straight Connector 30"/>
            <p:cNvCxnSpPr>
              <a:cxnSpLocks/>
            </p:cNvCxnSpPr>
            <p:nvPr/>
          </p:nvCxnSpPr>
          <p:spPr bwMode="auto">
            <a:xfrm>
              <a:off x="5209775" y="1485598"/>
              <a:ext cx="1438675" cy="0"/>
            </a:xfrm>
            <a:prstGeom prst="line">
              <a:avLst/>
            </a:prstGeom>
            <a:solidFill>
              <a:schemeClr val="accent1"/>
            </a:solidFill>
            <a:ln w="9525"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sp>
        <p:nvSpPr>
          <p:cNvPr id="32" name="Oval 31"/>
          <p:cNvSpPr>
            <a:spLocks/>
          </p:cNvSpPr>
          <p:nvPr/>
        </p:nvSpPr>
        <p:spPr bwMode="auto">
          <a:xfrm>
            <a:off x="5610244" y="2660193"/>
            <a:ext cx="637736" cy="349539"/>
          </a:xfrm>
          <a:prstGeom prst="ellipse">
            <a:avLst/>
          </a:prstGeom>
          <a:solidFill>
            <a:schemeClr val="bg1"/>
          </a:solidFill>
          <a:ln w="9525" cap="flat" cmpd="sng" algn="ctr">
            <a:solidFill>
              <a:schemeClr val="accent1"/>
            </a:solidFill>
            <a:prstDash val="solid"/>
            <a:round/>
            <a:headEnd type="none" w="med" len="med"/>
            <a:tailEnd type="none" w="med" len="med"/>
          </a:ln>
          <a:effectLst/>
          <a:extLst/>
        </p:spPr>
        <p:txBody>
          <a:bodyPr vert="horz" wrap="square" lIns="0" tIns="0" rIns="0" bIns="0" numCol="1" rtlCol="0" anchor="ctr" anchorCtr="0" compatLnSpc="1">
            <a:prstTxWarp prst="textNoShape">
              <a:avLst/>
            </a:prstTxWarp>
          </a:bodyPr>
          <a:lstStyle/>
          <a:p>
            <a:pPr algn="ctr"/>
            <a:r>
              <a:rPr lang="en-US" b="1" dirty="0">
                <a:solidFill>
                  <a:schemeClr val="tx2"/>
                </a:solidFill>
                <a:latin typeface="+mn-lt"/>
              </a:rPr>
              <a:t>28%</a:t>
            </a:r>
          </a:p>
        </p:txBody>
      </p:sp>
      <p:sp>
        <p:nvSpPr>
          <p:cNvPr id="33" name="Oval 32"/>
          <p:cNvSpPr>
            <a:spLocks/>
          </p:cNvSpPr>
          <p:nvPr/>
        </p:nvSpPr>
        <p:spPr bwMode="auto">
          <a:xfrm>
            <a:off x="5610244" y="3821028"/>
            <a:ext cx="637736" cy="349539"/>
          </a:xfrm>
          <a:prstGeom prst="ellipse">
            <a:avLst/>
          </a:prstGeom>
          <a:solidFill>
            <a:schemeClr val="bg1"/>
          </a:solidFill>
          <a:ln w="9525" cap="flat" cmpd="sng" algn="ctr">
            <a:solidFill>
              <a:schemeClr val="tx2"/>
            </a:solidFill>
            <a:prstDash val="solid"/>
            <a:round/>
            <a:headEnd type="none" w="med" len="med"/>
            <a:tailEnd type="none" w="med" len="med"/>
          </a:ln>
          <a:effectLst/>
          <a:extLst/>
        </p:spPr>
        <p:txBody>
          <a:bodyPr vert="horz" wrap="square" lIns="0" tIns="0" rIns="0" bIns="0" numCol="1" rtlCol="0" anchor="ctr" anchorCtr="0" compatLnSpc="1">
            <a:prstTxWarp prst="textNoShape">
              <a:avLst/>
            </a:prstTxWarp>
          </a:bodyPr>
          <a:lstStyle/>
          <a:p>
            <a:pPr algn="ctr"/>
            <a:r>
              <a:rPr lang="en-US" b="1" dirty="0">
                <a:solidFill>
                  <a:schemeClr val="tx2"/>
                </a:solidFill>
                <a:latin typeface="+mn-lt"/>
              </a:rPr>
              <a:t>11%</a:t>
            </a:r>
          </a:p>
        </p:txBody>
      </p:sp>
      <p:sp>
        <p:nvSpPr>
          <p:cNvPr id="34" name="Oval 33"/>
          <p:cNvSpPr>
            <a:spLocks/>
          </p:cNvSpPr>
          <p:nvPr/>
        </p:nvSpPr>
        <p:spPr bwMode="auto">
          <a:xfrm>
            <a:off x="5610244" y="3228638"/>
            <a:ext cx="637736" cy="349539"/>
          </a:xfrm>
          <a:prstGeom prst="ellipse">
            <a:avLst/>
          </a:prstGeom>
          <a:solidFill>
            <a:schemeClr val="bg1"/>
          </a:solidFill>
          <a:ln w="9525" cap="flat" cmpd="sng" algn="ctr">
            <a:solidFill>
              <a:schemeClr val="accent4"/>
            </a:solidFill>
            <a:prstDash val="solid"/>
            <a:round/>
            <a:headEnd type="none" w="med" len="med"/>
            <a:tailEnd type="none" w="med" len="med"/>
          </a:ln>
          <a:effectLst/>
          <a:extLst/>
        </p:spPr>
        <p:txBody>
          <a:bodyPr vert="horz" wrap="square" lIns="0" tIns="0" rIns="0" bIns="0" numCol="1" rtlCol="0" anchor="ctr" anchorCtr="0" compatLnSpc="1">
            <a:prstTxWarp prst="textNoShape">
              <a:avLst/>
            </a:prstTxWarp>
          </a:bodyPr>
          <a:lstStyle/>
          <a:p>
            <a:pPr algn="ctr"/>
            <a:r>
              <a:rPr lang="en-US" b="1" dirty="0">
                <a:solidFill>
                  <a:schemeClr val="tx2"/>
                </a:solidFill>
                <a:latin typeface="+mn-lt"/>
              </a:rPr>
              <a:t>18%</a:t>
            </a:r>
          </a:p>
        </p:txBody>
      </p:sp>
      <p:sp>
        <p:nvSpPr>
          <p:cNvPr id="6" name="Title 5"/>
          <p:cNvSpPr>
            <a:spLocks noGrp="1"/>
          </p:cNvSpPr>
          <p:nvPr>
            <p:ph type="title"/>
          </p:nvPr>
        </p:nvSpPr>
        <p:spPr>
          <a:xfrm>
            <a:off x="-334509" y="230188"/>
            <a:ext cx="8618537" cy="307777"/>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marL="465138"/>
            <a:r>
              <a:rPr lang="en-AU" dirty="0"/>
              <a:t>RTS programs have verifiable success that can be seen in share prices</a:t>
            </a:r>
            <a:endParaRPr lang="en-GB" dirty="0"/>
          </a:p>
        </p:txBody>
      </p:sp>
      <p:sp>
        <p:nvSpPr>
          <p:cNvPr id="22" name="4. Footnote">
            <a:extLst>
              <a:ext uri="{FF2B5EF4-FFF2-40B4-BE49-F238E27FC236}">
                <a16:creationId xmlns:a16="http://schemas.microsoft.com/office/drawing/2014/main" id="{47ED93F6-610C-42DD-B1C6-77C893CBF433}"/>
              </a:ext>
            </a:extLst>
          </p:cNvPr>
          <p:cNvSpPr txBox="1">
            <a:spLocks noChangeArrowheads="1"/>
          </p:cNvSpPr>
          <p:nvPr/>
        </p:nvSpPr>
        <p:spPr bwMode="gray">
          <a:xfrm>
            <a:off x="119063" y="6183549"/>
            <a:ext cx="8226758"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lang="x-none" sz="2400">
                <a:solidFill>
                  <a:schemeClr val="tx1"/>
                </a:solidFill>
                <a:latin typeface="Arial" charset="0"/>
              </a:defRPr>
            </a:lvl1pPr>
            <a:lvl2pPr marL="1031875" defTabSz="895350">
              <a:defRPr lang="x-none" sz="2400">
                <a:solidFill>
                  <a:schemeClr val="tx1"/>
                </a:solidFill>
                <a:latin typeface="Arial" charset="0"/>
              </a:defRPr>
            </a:lvl2pPr>
            <a:lvl3pPr marL="1217613" defTabSz="895350">
              <a:defRPr lang="x-none" sz="2400">
                <a:solidFill>
                  <a:schemeClr val="tx1"/>
                </a:solidFill>
                <a:latin typeface="Arial" charset="0"/>
              </a:defRPr>
            </a:lvl3pPr>
            <a:lvl4pPr marL="1404938" defTabSz="895350">
              <a:defRPr lang="x-none" sz="2400">
                <a:solidFill>
                  <a:schemeClr val="tx1"/>
                </a:solidFill>
                <a:latin typeface="Arial" charset="0"/>
              </a:defRPr>
            </a:lvl4pPr>
            <a:lvl5pPr marL="1792288" defTabSz="895350">
              <a:defRPr lang="x-none" sz="2400">
                <a:solidFill>
                  <a:schemeClr val="tx1"/>
                </a:solidFill>
                <a:latin typeface="Arial" charset="0"/>
              </a:defRPr>
            </a:lvl5pPr>
            <a:lvl6pPr marL="2249488" defTabSz="895350" fontAlgn="base">
              <a:spcBef>
                <a:spcPct val="0"/>
              </a:spcBef>
              <a:spcAft>
                <a:spcPct val="0"/>
              </a:spcAft>
              <a:defRPr lang="x-none" sz="2400">
                <a:solidFill>
                  <a:schemeClr val="tx1"/>
                </a:solidFill>
                <a:latin typeface="Arial" charset="0"/>
              </a:defRPr>
            </a:lvl6pPr>
            <a:lvl7pPr marL="2706688" defTabSz="895350" fontAlgn="base">
              <a:spcBef>
                <a:spcPct val="0"/>
              </a:spcBef>
              <a:spcAft>
                <a:spcPct val="0"/>
              </a:spcAft>
              <a:defRPr lang="x-none" sz="2400">
                <a:solidFill>
                  <a:schemeClr val="tx1"/>
                </a:solidFill>
                <a:latin typeface="Arial" charset="0"/>
              </a:defRPr>
            </a:lvl7pPr>
            <a:lvl8pPr marL="3163888" defTabSz="895350" fontAlgn="base">
              <a:spcBef>
                <a:spcPct val="0"/>
              </a:spcBef>
              <a:spcAft>
                <a:spcPct val="0"/>
              </a:spcAft>
              <a:defRPr lang="x-none" sz="2400">
                <a:solidFill>
                  <a:schemeClr val="tx1"/>
                </a:solidFill>
                <a:latin typeface="Arial" charset="0"/>
              </a:defRPr>
            </a:lvl8pPr>
            <a:lvl9pPr marL="3621088" defTabSz="895350" fontAlgn="base">
              <a:spcBef>
                <a:spcPct val="0"/>
              </a:spcBef>
              <a:spcAft>
                <a:spcPct val="0"/>
              </a:spcAft>
              <a:defRPr lang="x-none" sz="2400">
                <a:solidFill>
                  <a:schemeClr val="tx1"/>
                </a:solidFill>
                <a:latin typeface="Arial" charset="0"/>
              </a:defRPr>
            </a:lvl9pPr>
          </a:lstStyle>
          <a:p>
            <a:pPr marL="64294" indent="-64294">
              <a:defRPr lang="x-none"/>
            </a:pPr>
            <a:r>
              <a:rPr lang="en-US" sz="800" dirty="0">
                <a:solidFill>
                  <a:schemeClr val="accent6"/>
                </a:solidFill>
                <a:latin typeface="Arial" panose="020B0604020202020204" pitchFamily="34" charset="0"/>
              </a:rPr>
              <a:t>1 Share price returns of core RTS companies and relevant benchmark indices are measured over an 18 month period, beginning from the start of client service for each individual client. Returns are averaged to provide a consolidated view of performance over the 18 month period; n=15</a:t>
            </a:r>
            <a:endParaRPr lang="x-none" sz="800" dirty="0">
              <a:solidFill>
                <a:schemeClr val="accent6"/>
              </a:solidFill>
              <a:latin typeface="Arial" panose="020B0604020202020204" pitchFamily="34" charset="0"/>
            </a:endParaRPr>
          </a:p>
        </p:txBody>
      </p:sp>
      <p:sp>
        <p:nvSpPr>
          <p:cNvPr id="17" name="TextBox 16">
            <a:extLst>
              <a:ext uri="{FF2B5EF4-FFF2-40B4-BE49-F238E27FC236}">
                <a16:creationId xmlns:a16="http://schemas.microsoft.com/office/drawing/2014/main" id="{1657915F-E8E9-4A42-A372-CFFA008BFC8F}"/>
              </a:ext>
            </a:extLst>
          </p:cNvPr>
          <p:cNvSpPr txBox="1">
            <a:spLocks/>
          </p:cNvSpPr>
          <p:nvPr/>
        </p:nvSpPr>
        <p:spPr>
          <a:xfrm>
            <a:off x="6812964" y="1079747"/>
            <a:ext cx="1943686" cy="4562018"/>
          </a:xfrm>
          <a:prstGeom prst="rect">
            <a:avLst/>
          </a:prstGeom>
          <a:solidFill>
            <a:schemeClr val="bg1"/>
          </a:solidFill>
          <a:ln w="19050">
            <a:solidFill>
              <a:schemeClr val="accent3"/>
            </a:solidFill>
          </a:ln>
        </p:spPr>
        <p:txBody>
          <a:bodyPr vert="horz" wrap="square" lIns="72009" tIns="72009" rIns="72009" bIns="72009" rtlCol="0" anchor="ctr" anchorCtr="0">
            <a:sp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spcBef>
                <a:spcPts val="600"/>
              </a:spcBef>
            </a:pPr>
            <a:r>
              <a:rPr lang="en-US" sz="1600" b="1" dirty="0">
                <a:solidFill>
                  <a:schemeClr val="accent4"/>
                </a:solidFill>
              </a:rPr>
              <a:t>Drivers of success</a:t>
            </a:r>
          </a:p>
          <a:p>
            <a:pPr lvl="1">
              <a:spcBef>
                <a:spcPts val="600"/>
              </a:spcBef>
            </a:pPr>
            <a:r>
              <a:rPr lang="en-US" sz="1600" dirty="0"/>
              <a:t>Relentless focus on achieving value in the immediate term</a:t>
            </a:r>
          </a:p>
          <a:p>
            <a:pPr lvl="1">
              <a:spcBef>
                <a:spcPts val="600"/>
              </a:spcBef>
            </a:pPr>
            <a:r>
              <a:rPr lang="en-US" sz="1600" dirty="0"/>
              <a:t>Emphasis on building long term capabilities</a:t>
            </a:r>
          </a:p>
          <a:p>
            <a:pPr lvl="1">
              <a:spcBef>
                <a:spcPts val="600"/>
              </a:spcBef>
            </a:pPr>
            <a:r>
              <a:rPr lang="en-US" sz="1600" dirty="0"/>
              <a:t>Ability to engage with external stakeholders to clearly communicate the goals and progress of the transformation</a:t>
            </a:r>
          </a:p>
        </p:txBody>
      </p:sp>
      <p:sp>
        <p:nvSpPr>
          <p:cNvPr id="18" name="5. Source">
            <a:extLst>
              <a:ext uri="{FF2B5EF4-FFF2-40B4-BE49-F238E27FC236}">
                <a16:creationId xmlns:a16="http://schemas.microsoft.com/office/drawing/2014/main" id="{736C30B3-DD22-4F98-B692-0DB15BEA5ABB}"/>
              </a:ext>
            </a:extLst>
          </p:cNvPr>
          <p:cNvSpPr>
            <a:spLocks noChangeArrowheads="1"/>
          </p:cNvSpPr>
          <p:nvPr/>
        </p:nvSpPr>
        <p:spPr bwMode="gray">
          <a:xfrm>
            <a:off x="119063" y="6507558"/>
            <a:ext cx="7200000" cy="123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marL="609600" indent="-609600" defTabSz="895350">
              <a:tabLst>
                <a:tab pos="612775" algn="l"/>
              </a:tabLst>
            </a:pPr>
            <a:r>
              <a:rPr lang="en-US" sz="800" baseline="0" dirty="0">
                <a:solidFill>
                  <a:schemeClr val="accent6"/>
                </a:solidFill>
                <a:latin typeface="+mn-lt"/>
                <a:ea typeface="+mn-ea"/>
              </a:rPr>
              <a:t>SOURCE: McKinsey Recovery &amp; Transformation Services</a:t>
            </a:r>
          </a:p>
        </p:txBody>
      </p:sp>
    </p:spTree>
    <p:extLst>
      <p:ext uri="{BB962C8B-B14F-4D97-AF65-F5344CB8AC3E}">
        <p14:creationId xmlns:p14="http://schemas.microsoft.com/office/powerpoint/2010/main" val="2941146824"/>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Object 24"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4186" name="think-cell Slide" r:id="rId42" imgW="270" imgH="270" progId="TCLayout.ActiveDocument.1">
                  <p:embed/>
                </p:oleObj>
              </mc:Choice>
              <mc:Fallback>
                <p:oleObj name="think-cell Slide" r:id="rId42" imgW="270" imgH="270" progId="TCLayout.ActiveDocument.1">
                  <p:embed/>
                  <p:pic>
                    <p:nvPicPr>
                      <p:cNvPr id="25" name="Object 24" hidden="1"/>
                      <p:cNvPicPr/>
                      <p:nvPr/>
                    </p:nvPicPr>
                    <p:blipFill>
                      <a:blip r:embed="rId43"/>
                      <a:stretch>
                        <a:fillRect/>
                      </a:stretch>
                    </p:blipFill>
                    <p:spPr>
                      <a:xfrm>
                        <a:off x="1588" y="1588"/>
                        <a:ext cx="1587" cy="1587"/>
                      </a:xfrm>
                      <a:prstGeom prst="rect">
                        <a:avLst/>
                      </a:prstGeom>
                    </p:spPr>
                  </p:pic>
                </p:oleObj>
              </mc:Fallback>
            </mc:AlternateContent>
          </a:graphicData>
        </a:graphic>
      </p:graphicFrame>
      <p:sp>
        <p:nvSpPr>
          <p:cNvPr id="8" name="Rectangle 7" hidden="1"/>
          <p:cNvSpPr/>
          <p:nvPr>
            <p:custDataLst>
              <p:tags r:id="rId3"/>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rtlCol="0" anchor="t" anchorCtr="0" compatLnSpc="1">
            <a:prstTxWarp prst="textNoShape">
              <a:avLst/>
            </a:prstTxWarp>
            <a:noAutofit/>
          </a:bodyPr>
          <a:lstStyle/>
          <a:p>
            <a:endParaRPr lang="en-US" sz="1400" dirty="0">
              <a:solidFill>
                <a:srgbClr val="000000"/>
              </a:solidFill>
              <a:latin typeface="Arial"/>
              <a:sym typeface="Arial"/>
            </a:endParaRPr>
          </a:p>
        </p:txBody>
      </p:sp>
      <p:sp>
        <p:nvSpPr>
          <p:cNvPr id="79" name="Rectangle 29"/>
          <p:cNvSpPr>
            <a:spLocks noChangeArrowheads="1"/>
          </p:cNvSpPr>
          <p:nvPr/>
        </p:nvSpPr>
        <p:spPr bwMode="auto">
          <a:xfrm>
            <a:off x="171451" y="1103313"/>
            <a:ext cx="8618537" cy="5112000"/>
          </a:xfrm>
          <a:prstGeom prst="rect">
            <a:avLst/>
          </a:prstGeom>
          <a:solidFill>
            <a:srgbClr val="FFFFFF"/>
          </a:solidFill>
          <a:ln w="19050">
            <a:solidFill>
              <a:srgbClr val="FF9933"/>
            </a:solidFill>
            <a:miter lim="800000"/>
            <a:headEnd/>
            <a:tailEnd/>
          </a:ln>
          <a:effectLst>
            <a:outerShdw blurRad="50800" dist="38100" dir="2700000" algn="tl" rotWithShape="0">
              <a:prstClr val="black">
                <a:alpha val="40000"/>
              </a:prstClr>
            </a:outerShdw>
          </a:effectLst>
          <a:extLst/>
        </p:spPr>
        <p:txBody>
          <a:bodyPr wrap="none" lIns="91391" tIns="45695" rIns="91391" bIns="45695" anchor="ctr"/>
          <a:lstStyle/>
          <a:p>
            <a:pPr fontAlgn="auto">
              <a:spcBef>
                <a:spcPts val="0"/>
              </a:spcBef>
              <a:spcAft>
                <a:spcPts val="0"/>
              </a:spcAft>
            </a:pPr>
            <a:endParaRPr lang="en-US" sz="1500" kern="0" dirty="0">
              <a:solidFill>
                <a:sysClr val="windowText" lastClr="000000"/>
              </a:solidFill>
              <a:latin typeface="Arial" charset="0"/>
            </a:endParaRPr>
          </a:p>
        </p:txBody>
      </p:sp>
      <p:sp>
        <p:nvSpPr>
          <p:cNvPr id="2" name="Title 1"/>
          <p:cNvSpPr>
            <a:spLocks noGrp="1"/>
          </p:cNvSpPr>
          <p:nvPr>
            <p:ph type="title"/>
          </p:nvPr>
        </p:nvSpPr>
        <p:spPr>
          <a:xfrm>
            <a:off x="119063" y="230188"/>
            <a:ext cx="8618537" cy="615553"/>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r>
              <a:rPr lang="en-AU" dirty="0"/>
              <a:t>Our RTS approach finds and delivers more value than expected by management teams</a:t>
            </a:r>
            <a:endParaRPr lang="en-US" dirty="0"/>
          </a:p>
        </p:txBody>
      </p:sp>
      <p:graphicFrame>
        <p:nvGraphicFramePr>
          <p:cNvPr id="6" name="Object 5"/>
          <p:cNvGraphicFramePr>
            <a:graphicFrameLocks/>
          </p:cNvGraphicFramePr>
          <p:nvPr>
            <p:custDataLst>
              <p:tags r:id="rId4"/>
            </p:custDataLst>
            <p:extLst/>
          </p:nvPr>
        </p:nvGraphicFramePr>
        <p:xfrm>
          <a:off x="2286000" y="1600200"/>
          <a:ext cx="1952557" cy="4591185"/>
        </p:xfrm>
        <a:graphic>
          <a:graphicData uri="http://schemas.openxmlformats.org/presentationml/2006/ole">
            <mc:AlternateContent xmlns:mc="http://schemas.openxmlformats.org/markup-compatibility/2006">
              <mc:Choice xmlns:v="urn:schemas-microsoft-com:vml" Requires="v">
                <p:oleObj spid="_x0000_s304187" name="Chart" r:id="rId44" imgW="1952693" imgH="4590919" progId="MSGraph.Chart.8">
                  <p:embed followColorScheme="full"/>
                </p:oleObj>
              </mc:Choice>
              <mc:Fallback>
                <p:oleObj name="Chart" r:id="rId44" imgW="1952693" imgH="4590919" progId="MSGraph.Chart.8">
                  <p:embed followColorScheme="full"/>
                  <p:pic>
                    <p:nvPicPr>
                      <p:cNvPr id="6" name="Object 5"/>
                      <p:cNvPicPr/>
                      <p:nvPr/>
                    </p:nvPicPr>
                    <p:blipFill>
                      <a:blip r:embed="rId45"/>
                      <a:stretch>
                        <a:fillRect/>
                      </a:stretch>
                    </p:blipFill>
                    <p:spPr>
                      <a:xfrm>
                        <a:off x="2286000" y="1600200"/>
                        <a:ext cx="1952557" cy="4591185"/>
                      </a:xfrm>
                      <a:prstGeom prst="rect">
                        <a:avLst/>
                      </a:prstGeom>
                    </p:spPr>
                  </p:pic>
                </p:oleObj>
              </mc:Fallback>
            </mc:AlternateContent>
          </a:graphicData>
        </a:graphic>
      </p:graphicFrame>
      <p:sp>
        <p:nvSpPr>
          <p:cNvPr id="7" name="Text Placeholder 3"/>
          <p:cNvSpPr>
            <a:spLocks noGrp="1"/>
          </p:cNvSpPr>
          <p:nvPr>
            <p:custDataLst>
              <p:tags r:id="rId5"/>
            </p:custDataLst>
          </p:nvPr>
        </p:nvSpPr>
        <p:spPr bwMode="auto">
          <a:xfrm>
            <a:off x="762000" y="1784350"/>
            <a:ext cx="561975" cy="2127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noAutofit/>
          </a:bodyPr>
          <a:lstStyle>
            <a:lvl1pPr algn="l" defTabSz="895350" rtl="0" fontAlgn="base">
              <a:spcBef>
                <a:spcPct val="0"/>
              </a:spcBef>
              <a:spcAft>
                <a:spcPct val="0"/>
              </a:spcAft>
              <a:buClr>
                <a:schemeClr val="tx2"/>
              </a:buClr>
              <a:defRPr sz="1600">
                <a:solidFill>
                  <a:schemeClr val="tx1"/>
                </a:solidFill>
                <a:latin typeface="+mn-lt"/>
                <a:ea typeface="+mn-ea"/>
                <a:cs typeface="+mn-cs"/>
              </a:defRPr>
            </a:lvl1pPr>
            <a:lvl2pPr marL="193675" indent="-192088" algn="l" defTabSz="895350" rtl="0" fontAlgn="base">
              <a:spcBef>
                <a:spcPct val="0"/>
              </a:spcBef>
              <a:spcAft>
                <a:spcPct val="0"/>
              </a:spcAft>
              <a:buClr>
                <a:schemeClr val="folHlink"/>
              </a:buClr>
              <a:buSzPct val="125000"/>
              <a:buFont typeface="Wingdings" pitchFamily="2" charset="2"/>
              <a:buChar char="§"/>
              <a:defRPr sz="1600">
                <a:solidFill>
                  <a:schemeClr val="tx1"/>
                </a:solidFill>
                <a:latin typeface="+mn-lt"/>
              </a:defRPr>
            </a:lvl2pPr>
            <a:lvl3pPr marL="457200" indent="-261938" algn="l" defTabSz="895350" rtl="0" fontAlgn="base">
              <a:spcBef>
                <a:spcPct val="0"/>
              </a:spcBef>
              <a:spcAft>
                <a:spcPct val="0"/>
              </a:spcAft>
              <a:buClr>
                <a:schemeClr val="folHlink"/>
              </a:buClr>
              <a:buSzPct val="120000"/>
              <a:buFont typeface="Arial" charset="0"/>
              <a:buChar char="̶"/>
              <a:defRPr sz="1600">
                <a:solidFill>
                  <a:schemeClr val="tx1"/>
                </a:solidFill>
                <a:latin typeface="+mn-lt"/>
              </a:defRPr>
            </a:lvl3pPr>
            <a:lvl4pPr marL="614363" indent="-155575" algn="l" defTabSz="895350" rtl="0" fontAlgn="base">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5pPr>
            <a:lvl6pPr marL="12033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6pPr>
            <a:lvl7pPr marL="16605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7pPr>
            <a:lvl8pPr marL="21177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8pPr>
            <a:lvl9pPr marL="25749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a:buClr>
                <a:srgbClr val="002960"/>
              </a:buClr>
            </a:pPr>
            <a:fld id="{FADB0E5A-8871-46AC-A100-8E00F95E70E0}" type="datetime'En''''''''''''''''''''''''''''''''e''''r''g''''y'''''''''">
              <a:rPr lang="en-US" sz="1400" b="0">
                <a:solidFill>
                  <a:srgbClr val="000000"/>
                </a:solidFill>
                <a:sym typeface="+mn-lt"/>
              </a:rPr>
              <a:pPr>
                <a:buClr>
                  <a:srgbClr val="002960"/>
                </a:buClr>
              </a:pPr>
              <a:t>Energy</a:t>
            </a:fld>
            <a:endParaRPr lang="en-US" sz="1400" b="0" dirty="0">
              <a:solidFill>
                <a:srgbClr val="000000"/>
              </a:solidFill>
              <a:sym typeface="+mn-lt"/>
            </a:endParaRPr>
          </a:p>
        </p:txBody>
      </p:sp>
      <p:sp>
        <p:nvSpPr>
          <p:cNvPr id="10" name="Text Placeholder 5"/>
          <p:cNvSpPr>
            <a:spLocks noGrp="1"/>
          </p:cNvSpPr>
          <p:nvPr>
            <p:custDataLst>
              <p:tags r:id="rId6"/>
            </p:custDataLst>
          </p:nvPr>
        </p:nvSpPr>
        <p:spPr bwMode="auto">
          <a:xfrm>
            <a:off x="762000" y="2517775"/>
            <a:ext cx="808038" cy="2127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noAutofit/>
          </a:bodyPr>
          <a:lstStyle>
            <a:lvl1pPr algn="l" defTabSz="895350" rtl="0" fontAlgn="base">
              <a:spcBef>
                <a:spcPct val="0"/>
              </a:spcBef>
              <a:spcAft>
                <a:spcPct val="0"/>
              </a:spcAft>
              <a:buClr>
                <a:schemeClr val="tx2"/>
              </a:buClr>
              <a:defRPr sz="1600">
                <a:solidFill>
                  <a:schemeClr val="tx1"/>
                </a:solidFill>
                <a:latin typeface="+mn-lt"/>
                <a:ea typeface="+mn-ea"/>
                <a:cs typeface="+mn-cs"/>
              </a:defRPr>
            </a:lvl1pPr>
            <a:lvl2pPr marL="193675" indent="-192088" algn="l" defTabSz="895350" rtl="0" fontAlgn="base">
              <a:spcBef>
                <a:spcPct val="0"/>
              </a:spcBef>
              <a:spcAft>
                <a:spcPct val="0"/>
              </a:spcAft>
              <a:buClr>
                <a:schemeClr val="folHlink"/>
              </a:buClr>
              <a:buSzPct val="125000"/>
              <a:buFont typeface="Wingdings" pitchFamily="2" charset="2"/>
              <a:buChar char="§"/>
              <a:defRPr sz="1600">
                <a:solidFill>
                  <a:schemeClr val="tx1"/>
                </a:solidFill>
                <a:latin typeface="+mn-lt"/>
              </a:defRPr>
            </a:lvl2pPr>
            <a:lvl3pPr marL="457200" indent="-261938" algn="l" defTabSz="895350" rtl="0" fontAlgn="base">
              <a:spcBef>
                <a:spcPct val="0"/>
              </a:spcBef>
              <a:spcAft>
                <a:spcPct val="0"/>
              </a:spcAft>
              <a:buClr>
                <a:schemeClr val="folHlink"/>
              </a:buClr>
              <a:buSzPct val="120000"/>
              <a:buFont typeface="Arial" charset="0"/>
              <a:buChar char="̶"/>
              <a:defRPr sz="1600">
                <a:solidFill>
                  <a:schemeClr val="tx1"/>
                </a:solidFill>
                <a:latin typeface="+mn-lt"/>
              </a:defRPr>
            </a:lvl3pPr>
            <a:lvl4pPr marL="614363" indent="-155575" algn="l" defTabSz="895350" rtl="0" fontAlgn="base">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5pPr>
            <a:lvl6pPr marL="12033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6pPr>
            <a:lvl7pPr marL="16605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7pPr>
            <a:lvl8pPr marL="21177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8pPr>
            <a:lvl9pPr marL="25749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a:buClr>
                <a:srgbClr val="002960"/>
              </a:buClr>
            </a:pPr>
            <a:fld id="{DC1B8EBD-BB29-4A14-85A9-14B315ED98F2}" type="datetime'P''e''t''''''''''''''''''''''ro''''''l''''eu''''''''''m'''''">
              <a:rPr lang="en-US" sz="1400" b="0">
                <a:solidFill>
                  <a:srgbClr val="000000"/>
                </a:solidFill>
                <a:sym typeface="+mn-lt"/>
              </a:rPr>
              <a:pPr>
                <a:buClr>
                  <a:srgbClr val="002960"/>
                </a:buClr>
              </a:pPr>
              <a:t>Petroleum</a:t>
            </a:fld>
            <a:endParaRPr lang="en-US" sz="1400" b="0" dirty="0">
              <a:solidFill>
                <a:srgbClr val="000000"/>
              </a:solidFill>
              <a:sym typeface="+mn-lt"/>
            </a:endParaRPr>
          </a:p>
        </p:txBody>
      </p:sp>
      <p:sp>
        <p:nvSpPr>
          <p:cNvPr id="27" name="Text Placeholder 17"/>
          <p:cNvSpPr>
            <a:spLocks noGrp="1"/>
          </p:cNvSpPr>
          <p:nvPr>
            <p:custDataLst>
              <p:tags r:id="rId7"/>
            </p:custDataLst>
          </p:nvPr>
        </p:nvSpPr>
        <p:spPr bwMode="auto">
          <a:xfrm>
            <a:off x="762000" y="3246438"/>
            <a:ext cx="887413" cy="2127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noAutofit/>
          </a:bodyPr>
          <a:lstStyle>
            <a:lvl1pPr algn="l" defTabSz="895350" rtl="0" fontAlgn="base">
              <a:spcBef>
                <a:spcPct val="0"/>
              </a:spcBef>
              <a:spcAft>
                <a:spcPct val="0"/>
              </a:spcAft>
              <a:buClr>
                <a:schemeClr val="tx2"/>
              </a:buClr>
              <a:defRPr sz="1600">
                <a:solidFill>
                  <a:schemeClr val="tx1"/>
                </a:solidFill>
                <a:latin typeface="+mn-lt"/>
                <a:ea typeface="+mn-ea"/>
                <a:cs typeface="+mn-cs"/>
              </a:defRPr>
            </a:lvl1pPr>
            <a:lvl2pPr marL="193675" indent="-192088" algn="l" defTabSz="895350" rtl="0" fontAlgn="base">
              <a:spcBef>
                <a:spcPct val="0"/>
              </a:spcBef>
              <a:spcAft>
                <a:spcPct val="0"/>
              </a:spcAft>
              <a:buClr>
                <a:schemeClr val="folHlink"/>
              </a:buClr>
              <a:buSzPct val="125000"/>
              <a:buFont typeface="Wingdings" pitchFamily="2" charset="2"/>
              <a:buChar char="§"/>
              <a:defRPr sz="1600">
                <a:solidFill>
                  <a:schemeClr val="tx1"/>
                </a:solidFill>
                <a:latin typeface="+mn-lt"/>
              </a:defRPr>
            </a:lvl2pPr>
            <a:lvl3pPr marL="457200" indent="-261938" algn="l" defTabSz="895350" rtl="0" fontAlgn="base">
              <a:spcBef>
                <a:spcPct val="0"/>
              </a:spcBef>
              <a:spcAft>
                <a:spcPct val="0"/>
              </a:spcAft>
              <a:buClr>
                <a:schemeClr val="folHlink"/>
              </a:buClr>
              <a:buSzPct val="120000"/>
              <a:buFont typeface="Arial" charset="0"/>
              <a:buChar char="̶"/>
              <a:defRPr sz="1600">
                <a:solidFill>
                  <a:schemeClr val="tx1"/>
                </a:solidFill>
                <a:latin typeface="+mn-lt"/>
              </a:defRPr>
            </a:lvl3pPr>
            <a:lvl4pPr marL="614363" indent="-155575" algn="l" defTabSz="895350" rtl="0" fontAlgn="base">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5pPr>
            <a:lvl6pPr marL="12033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6pPr>
            <a:lvl7pPr marL="16605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7pPr>
            <a:lvl8pPr marL="21177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8pPr>
            <a:lvl9pPr marL="25749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a:buClr>
                <a:srgbClr val="002960"/>
              </a:buClr>
            </a:pPr>
            <a:fld id="{04EE5666-4AEB-4981-BFBE-188E9636B994}" type="datetime'''''''''B''''''''''ase me''''t''''''''''a''''''''l'''">
              <a:rPr lang="en-US" sz="1400" b="0">
                <a:solidFill>
                  <a:srgbClr val="000000"/>
                </a:solidFill>
                <a:sym typeface="+mn-lt"/>
              </a:rPr>
              <a:pPr>
                <a:buClr>
                  <a:srgbClr val="002960"/>
                </a:buClr>
              </a:pPr>
              <a:t>Base metal</a:t>
            </a:fld>
            <a:endParaRPr lang="en-US" sz="1400" b="0" dirty="0">
              <a:solidFill>
                <a:srgbClr val="000000"/>
              </a:solidFill>
              <a:sym typeface="+mn-lt"/>
            </a:endParaRPr>
          </a:p>
        </p:txBody>
      </p:sp>
      <p:sp>
        <p:nvSpPr>
          <p:cNvPr id="26" name="Text Placeholder 16"/>
          <p:cNvSpPr>
            <a:spLocks noGrp="1"/>
          </p:cNvSpPr>
          <p:nvPr>
            <p:custDataLst>
              <p:tags r:id="rId8"/>
            </p:custDataLst>
          </p:nvPr>
        </p:nvSpPr>
        <p:spPr bwMode="auto">
          <a:xfrm>
            <a:off x="762000" y="2879725"/>
            <a:ext cx="828675" cy="2127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noAutofit/>
          </a:bodyPr>
          <a:lstStyle>
            <a:lvl1pPr algn="l" defTabSz="895350" rtl="0" fontAlgn="base">
              <a:spcBef>
                <a:spcPct val="0"/>
              </a:spcBef>
              <a:spcAft>
                <a:spcPct val="0"/>
              </a:spcAft>
              <a:buClr>
                <a:schemeClr val="tx2"/>
              </a:buClr>
              <a:defRPr sz="1600">
                <a:solidFill>
                  <a:schemeClr val="tx1"/>
                </a:solidFill>
                <a:latin typeface="+mn-lt"/>
                <a:ea typeface="+mn-ea"/>
                <a:cs typeface="+mn-cs"/>
              </a:defRPr>
            </a:lvl1pPr>
            <a:lvl2pPr marL="193675" indent="-192088" algn="l" defTabSz="895350" rtl="0" fontAlgn="base">
              <a:spcBef>
                <a:spcPct val="0"/>
              </a:spcBef>
              <a:spcAft>
                <a:spcPct val="0"/>
              </a:spcAft>
              <a:buClr>
                <a:schemeClr val="folHlink"/>
              </a:buClr>
              <a:buSzPct val="125000"/>
              <a:buFont typeface="Wingdings" pitchFamily="2" charset="2"/>
              <a:buChar char="§"/>
              <a:defRPr sz="1600">
                <a:solidFill>
                  <a:schemeClr val="tx1"/>
                </a:solidFill>
                <a:latin typeface="+mn-lt"/>
              </a:defRPr>
            </a:lvl2pPr>
            <a:lvl3pPr marL="457200" indent="-261938" algn="l" defTabSz="895350" rtl="0" fontAlgn="base">
              <a:spcBef>
                <a:spcPct val="0"/>
              </a:spcBef>
              <a:spcAft>
                <a:spcPct val="0"/>
              </a:spcAft>
              <a:buClr>
                <a:schemeClr val="folHlink"/>
              </a:buClr>
              <a:buSzPct val="120000"/>
              <a:buFont typeface="Arial" charset="0"/>
              <a:buChar char="̶"/>
              <a:defRPr sz="1600">
                <a:solidFill>
                  <a:schemeClr val="tx1"/>
                </a:solidFill>
                <a:latin typeface="+mn-lt"/>
              </a:defRPr>
            </a:lvl3pPr>
            <a:lvl4pPr marL="614363" indent="-155575" algn="l" defTabSz="895350" rtl="0" fontAlgn="base">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5pPr>
            <a:lvl6pPr marL="12033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6pPr>
            <a:lvl7pPr marL="16605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7pPr>
            <a:lvl8pPr marL="21177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8pPr>
            <a:lvl9pPr marL="25749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a:buClr>
                <a:srgbClr val="002960"/>
              </a:buClr>
            </a:pPr>
            <a:fld id="{DFE4C1D9-C8A9-4AF3-9DFF-BDCC9500902B}" type="datetime'''''''''C''''''''''''''h''''em''i''''''''''c''al''''''s'''''">
              <a:rPr lang="en-US" sz="1400" b="0">
                <a:solidFill>
                  <a:srgbClr val="000000"/>
                </a:solidFill>
                <a:sym typeface="+mn-lt"/>
              </a:rPr>
              <a:pPr>
                <a:buClr>
                  <a:srgbClr val="002960"/>
                </a:buClr>
              </a:pPr>
              <a:t>Chemicals</a:t>
            </a:fld>
            <a:endParaRPr lang="en-US" sz="1400" b="0" dirty="0">
              <a:solidFill>
                <a:srgbClr val="000000"/>
              </a:solidFill>
              <a:sym typeface="+mn-lt"/>
            </a:endParaRPr>
          </a:p>
        </p:txBody>
      </p:sp>
      <p:sp>
        <p:nvSpPr>
          <p:cNvPr id="71" name="Text Placeholder 5"/>
          <p:cNvSpPr>
            <a:spLocks noGrp="1"/>
          </p:cNvSpPr>
          <p:nvPr>
            <p:custDataLst>
              <p:tags r:id="rId9"/>
            </p:custDataLst>
          </p:nvPr>
        </p:nvSpPr>
        <p:spPr bwMode="gray">
          <a:xfrm>
            <a:off x="2587625" y="3246438"/>
            <a:ext cx="339725" cy="2127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22225" tIns="0" rIns="22225" bIns="0" numCol="1" anchor="ctr" anchorCtr="0" compatLnSpc="1">
            <a:prstTxWarp prst="textNoShape">
              <a:avLst/>
            </a:prstTxWarp>
            <a:noAutofit/>
          </a:bodyPr>
          <a:lstStyle>
            <a:lvl1pPr algn="l" defTabSz="895350" rtl="0" fontAlgn="base">
              <a:spcBef>
                <a:spcPct val="0"/>
              </a:spcBef>
              <a:spcAft>
                <a:spcPct val="0"/>
              </a:spcAft>
              <a:buClr>
                <a:schemeClr val="tx2"/>
              </a:buClr>
              <a:defRPr sz="1600">
                <a:solidFill>
                  <a:schemeClr val="tx1"/>
                </a:solidFill>
                <a:latin typeface="+mn-lt"/>
                <a:ea typeface="+mn-ea"/>
                <a:cs typeface="+mn-cs"/>
              </a:defRPr>
            </a:lvl1pPr>
            <a:lvl2pPr marL="193675" indent="-192088" algn="l" defTabSz="895350" rtl="0" fontAlgn="base">
              <a:spcBef>
                <a:spcPct val="0"/>
              </a:spcBef>
              <a:spcAft>
                <a:spcPct val="0"/>
              </a:spcAft>
              <a:buClr>
                <a:schemeClr val="folHlink"/>
              </a:buClr>
              <a:buSzPct val="125000"/>
              <a:buFont typeface="Wingdings" pitchFamily="2" charset="2"/>
              <a:buChar char="§"/>
              <a:defRPr sz="1600">
                <a:solidFill>
                  <a:schemeClr val="tx1"/>
                </a:solidFill>
                <a:latin typeface="+mn-lt"/>
              </a:defRPr>
            </a:lvl2pPr>
            <a:lvl3pPr marL="457200" indent="-261938" algn="l" defTabSz="895350" rtl="0" fontAlgn="base">
              <a:spcBef>
                <a:spcPct val="0"/>
              </a:spcBef>
              <a:spcAft>
                <a:spcPct val="0"/>
              </a:spcAft>
              <a:buClr>
                <a:schemeClr val="folHlink"/>
              </a:buClr>
              <a:buSzPct val="120000"/>
              <a:buFont typeface="Arial" charset="0"/>
              <a:buChar char="̶"/>
              <a:defRPr sz="1600">
                <a:solidFill>
                  <a:schemeClr val="tx1"/>
                </a:solidFill>
                <a:latin typeface="+mn-lt"/>
              </a:defRPr>
            </a:lvl3pPr>
            <a:lvl4pPr marL="614363" indent="-155575" algn="l" defTabSz="895350" rtl="0" fontAlgn="base">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5pPr>
            <a:lvl6pPr marL="12033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6pPr>
            <a:lvl7pPr marL="16605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7pPr>
            <a:lvl8pPr marL="21177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8pPr>
            <a:lvl9pPr marL="25749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a:buClr>
                <a:srgbClr val="002960"/>
              </a:buClr>
            </a:pPr>
            <a:fld id="{7C3DA315-978A-444F-B23B-A7A92EE3D3E9}" type="datetime'''''''''1''00'''''''''''''''''''">
              <a:rPr lang="en-US" sz="1400" b="0">
                <a:solidFill>
                  <a:srgbClr val="000000"/>
                </a:solidFill>
                <a:sym typeface="Arial"/>
              </a:rPr>
              <a:pPr>
                <a:buClr>
                  <a:srgbClr val="002960"/>
                </a:buClr>
              </a:pPr>
              <a:t>100</a:t>
            </a:fld>
            <a:endParaRPr lang="en-US" sz="1400" b="0" dirty="0">
              <a:solidFill>
                <a:srgbClr val="000000"/>
              </a:solidFill>
              <a:sym typeface="Arial"/>
            </a:endParaRPr>
          </a:p>
        </p:txBody>
      </p:sp>
      <p:sp>
        <p:nvSpPr>
          <p:cNvPr id="9" name="Text Placeholder 4"/>
          <p:cNvSpPr>
            <a:spLocks noGrp="1"/>
          </p:cNvSpPr>
          <p:nvPr>
            <p:custDataLst>
              <p:tags r:id="rId10"/>
            </p:custDataLst>
          </p:nvPr>
        </p:nvSpPr>
        <p:spPr bwMode="auto">
          <a:xfrm>
            <a:off x="762000" y="2151063"/>
            <a:ext cx="561975" cy="2127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noAutofit/>
          </a:bodyPr>
          <a:lstStyle>
            <a:lvl1pPr algn="l" defTabSz="895350" rtl="0" fontAlgn="base">
              <a:spcBef>
                <a:spcPct val="0"/>
              </a:spcBef>
              <a:spcAft>
                <a:spcPct val="0"/>
              </a:spcAft>
              <a:buClr>
                <a:schemeClr val="tx2"/>
              </a:buClr>
              <a:defRPr sz="1600">
                <a:solidFill>
                  <a:schemeClr val="tx1"/>
                </a:solidFill>
                <a:latin typeface="+mn-lt"/>
                <a:ea typeface="+mn-ea"/>
                <a:cs typeface="+mn-cs"/>
              </a:defRPr>
            </a:lvl1pPr>
            <a:lvl2pPr marL="193675" indent="-192088" algn="l" defTabSz="895350" rtl="0" fontAlgn="base">
              <a:spcBef>
                <a:spcPct val="0"/>
              </a:spcBef>
              <a:spcAft>
                <a:spcPct val="0"/>
              </a:spcAft>
              <a:buClr>
                <a:schemeClr val="folHlink"/>
              </a:buClr>
              <a:buSzPct val="125000"/>
              <a:buFont typeface="Wingdings" pitchFamily="2" charset="2"/>
              <a:buChar char="§"/>
              <a:defRPr sz="1600">
                <a:solidFill>
                  <a:schemeClr val="tx1"/>
                </a:solidFill>
                <a:latin typeface="+mn-lt"/>
              </a:defRPr>
            </a:lvl2pPr>
            <a:lvl3pPr marL="457200" indent="-261938" algn="l" defTabSz="895350" rtl="0" fontAlgn="base">
              <a:spcBef>
                <a:spcPct val="0"/>
              </a:spcBef>
              <a:spcAft>
                <a:spcPct val="0"/>
              </a:spcAft>
              <a:buClr>
                <a:schemeClr val="folHlink"/>
              </a:buClr>
              <a:buSzPct val="120000"/>
              <a:buFont typeface="Arial" charset="0"/>
              <a:buChar char="̶"/>
              <a:defRPr sz="1600">
                <a:solidFill>
                  <a:schemeClr val="tx1"/>
                </a:solidFill>
                <a:latin typeface="+mn-lt"/>
              </a:defRPr>
            </a:lvl3pPr>
            <a:lvl4pPr marL="614363" indent="-155575" algn="l" defTabSz="895350" rtl="0" fontAlgn="base">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5pPr>
            <a:lvl6pPr marL="12033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6pPr>
            <a:lvl7pPr marL="16605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7pPr>
            <a:lvl8pPr marL="21177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8pPr>
            <a:lvl9pPr marL="25749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a:buClr>
                <a:srgbClr val="002960"/>
              </a:buClr>
            </a:pPr>
            <a:fld id="{7A1076D7-6539-4E11-8D6B-B5C26795124C}" type="datetime'E''''''n''''''''''e''r''''''''''''''''''g''y'''">
              <a:rPr lang="en-US" sz="1400" b="0">
                <a:solidFill>
                  <a:srgbClr val="000000"/>
                </a:solidFill>
                <a:sym typeface="+mn-lt"/>
              </a:rPr>
              <a:pPr>
                <a:buClr>
                  <a:srgbClr val="002960"/>
                </a:buClr>
              </a:pPr>
              <a:t>Energy</a:t>
            </a:fld>
            <a:endParaRPr lang="en-US" sz="1400" b="0" dirty="0">
              <a:solidFill>
                <a:srgbClr val="000000"/>
              </a:solidFill>
              <a:sym typeface="+mn-lt"/>
            </a:endParaRPr>
          </a:p>
        </p:txBody>
      </p:sp>
      <p:sp>
        <p:nvSpPr>
          <p:cNvPr id="69" name="Text Placeholder 3"/>
          <p:cNvSpPr>
            <a:spLocks noGrp="1"/>
          </p:cNvSpPr>
          <p:nvPr>
            <p:custDataLst>
              <p:tags r:id="rId11"/>
            </p:custDataLst>
          </p:nvPr>
        </p:nvSpPr>
        <p:spPr bwMode="gray">
          <a:xfrm>
            <a:off x="2901950" y="2151063"/>
            <a:ext cx="339725" cy="2127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22225" tIns="0" rIns="22225" bIns="0" numCol="1" anchor="ctr" anchorCtr="0" compatLnSpc="1">
            <a:prstTxWarp prst="textNoShape">
              <a:avLst/>
            </a:prstTxWarp>
            <a:noAutofit/>
          </a:bodyPr>
          <a:lstStyle>
            <a:lvl1pPr algn="l" defTabSz="895350" rtl="0" fontAlgn="base">
              <a:spcBef>
                <a:spcPct val="0"/>
              </a:spcBef>
              <a:spcAft>
                <a:spcPct val="0"/>
              </a:spcAft>
              <a:buClr>
                <a:schemeClr val="tx2"/>
              </a:buClr>
              <a:defRPr sz="1600">
                <a:solidFill>
                  <a:schemeClr val="tx1"/>
                </a:solidFill>
                <a:latin typeface="+mn-lt"/>
                <a:ea typeface="+mn-ea"/>
                <a:cs typeface="+mn-cs"/>
              </a:defRPr>
            </a:lvl1pPr>
            <a:lvl2pPr marL="193675" indent="-192088" algn="l" defTabSz="895350" rtl="0" fontAlgn="base">
              <a:spcBef>
                <a:spcPct val="0"/>
              </a:spcBef>
              <a:spcAft>
                <a:spcPct val="0"/>
              </a:spcAft>
              <a:buClr>
                <a:schemeClr val="folHlink"/>
              </a:buClr>
              <a:buSzPct val="125000"/>
              <a:buFont typeface="Wingdings" pitchFamily="2" charset="2"/>
              <a:buChar char="§"/>
              <a:defRPr sz="1600">
                <a:solidFill>
                  <a:schemeClr val="tx1"/>
                </a:solidFill>
                <a:latin typeface="+mn-lt"/>
              </a:defRPr>
            </a:lvl2pPr>
            <a:lvl3pPr marL="457200" indent="-261938" algn="l" defTabSz="895350" rtl="0" fontAlgn="base">
              <a:spcBef>
                <a:spcPct val="0"/>
              </a:spcBef>
              <a:spcAft>
                <a:spcPct val="0"/>
              </a:spcAft>
              <a:buClr>
                <a:schemeClr val="folHlink"/>
              </a:buClr>
              <a:buSzPct val="120000"/>
              <a:buFont typeface="Arial" charset="0"/>
              <a:buChar char="̶"/>
              <a:defRPr sz="1600">
                <a:solidFill>
                  <a:schemeClr val="tx1"/>
                </a:solidFill>
                <a:latin typeface="+mn-lt"/>
              </a:defRPr>
            </a:lvl3pPr>
            <a:lvl4pPr marL="614363" indent="-155575" algn="l" defTabSz="895350" rtl="0" fontAlgn="base">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5pPr>
            <a:lvl6pPr marL="12033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6pPr>
            <a:lvl7pPr marL="16605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7pPr>
            <a:lvl8pPr marL="21177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8pPr>
            <a:lvl9pPr marL="25749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a:buClr>
                <a:srgbClr val="002960"/>
              </a:buClr>
            </a:pPr>
            <a:fld id="{51E473E0-BC94-4B93-91FF-8CA98D3C53A3}" type="datetime'''''''''''''''''''''3''''''''''''''00'''''''''''">
              <a:rPr lang="en-US" sz="1400" b="0">
                <a:solidFill>
                  <a:srgbClr val="000000"/>
                </a:solidFill>
                <a:sym typeface="Arial"/>
              </a:rPr>
              <a:pPr>
                <a:buClr>
                  <a:srgbClr val="002960"/>
                </a:buClr>
              </a:pPr>
              <a:t>300</a:t>
            </a:fld>
            <a:endParaRPr lang="en-US" sz="1400" b="0" dirty="0">
              <a:solidFill>
                <a:srgbClr val="000000"/>
              </a:solidFill>
              <a:sym typeface="Arial"/>
            </a:endParaRPr>
          </a:p>
        </p:txBody>
      </p:sp>
      <p:sp>
        <p:nvSpPr>
          <p:cNvPr id="70" name="Text Placeholder 4"/>
          <p:cNvSpPr>
            <a:spLocks noGrp="1"/>
          </p:cNvSpPr>
          <p:nvPr>
            <p:custDataLst>
              <p:tags r:id="rId12"/>
            </p:custDataLst>
          </p:nvPr>
        </p:nvSpPr>
        <p:spPr bwMode="gray">
          <a:xfrm>
            <a:off x="2663825" y="2517775"/>
            <a:ext cx="339725" cy="2127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22225" tIns="0" rIns="22225" bIns="0" numCol="1" anchor="ctr" anchorCtr="0" compatLnSpc="1">
            <a:prstTxWarp prst="textNoShape">
              <a:avLst/>
            </a:prstTxWarp>
            <a:noAutofit/>
          </a:bodyPr>
          <a:lstStyle>
            <a:lvl1pPr algn="l" defTabSz="895350" rtl="0" fontAlgn="base">
              <a:spcBef>
                <a:spcPct val="0"/>
              </a:spcBef>
              <a:spcAft>
                <a:spcPct val="0"/>
              </a:spcAft>
              <a:buClr>
                <a:schemeClr val="tx2"/>
              </a:buClr>
              <a:defRPr sz="1600">
                <a:solidFill>
                  <a:schemeClr val="tx1"/>
                </a:solidFill>
                <a:latin typeface="+mn-lt"/>
                <a:ea typeface="+mn-ea"/>
                <a:cs typeface="+mn-cs"/>
              </a:defRPr>
            </a:lvl1pPr>
            <a:lvl2pPr marL="193675" indent="-192088" algn="l" defTabSz="895350" rtl="0" fontAlgn="base">
              <a:spcBef>
                <a:spcPct val="0"/>
              </a:spcBef>
              <a:spcAft>
                <a:spcPct val="0"/>
              </a:spcAft>
              <a:buClr>
                <a:schemeClr val="folHlink"/>
              </a:buClr>
              <a:buSzPct val="125000"/>
              <a:buFont typeface="Wingdings" pitchFamily="2" charset="2"/>
              <a:buChar char="§"/>
              <a:defRPr sz="1600">
                <a:solidFill>
                  <a:schemeClr val="tx1"/>
                </a:solidFill>
                <a:latin typeface="+mn-lt"/>
              </a:defRPr>
            </a:lvl2pPr>
            <a:lvl3pPr marL="457200" indent="-261938" algn="l" defTabSz="895350" rtl="0" fontAlgn="base">
              <a:spcBef>
                <a:spcPct val="0"/>
              </a:spcBef>
              <a:spcAft>
                <a:spcPct val="0"/>
              </a:spcAft>
              <a:buClr>
                <a:schemeClr val="folHlink"/>
              </a:buClr>
              <a:buSzPct val="120000"/>
              <a:buFont typeface="Arial" charset="0"/>
              <a:buChar char="̶"/>
              <a:defRPr sz="1600">
                <a:solidFill>
                  <a:schemeClr val="tx1"/>
                </a:solidFill>
                <a:latin typeface="+mn-lt"/>
              </a:defRPr>
            </a:lvl3pPr>
            <a:lvl4pPr marL="614363" indent="-155575" algn="l" defTabSz="895350" rtl="0" fontAlgn="base">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5pPr>
            <a:lvl6pPr marL="12033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6pPr>
            <a:lvl7pPr marL="16605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7pPr>
            <a:lvl8pPr marL="21177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8pPr>
            <a:lvl9pPr marL="25749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a:buClr>
                <a:srgbClr val="002960"/>
              </a:buClr>
            </a:pPr>
            <a:fld id="{D4D6745A-BA91-450B-8715-453DA66537C1}" type="datetime'''''''''''''1''''''''''''''''''5''''''''''''''''''''0'">
              <a:rPr lang="en-US" sz="1400" b="0">
                <a:solidFill>
                  <a:srgbClr val="000000"/>
                </a:solidFill>
                <a:sym typeface="Arial"/>
              </a:rPr>
              <a:pPr>
                <a:buClr>
                  <a:srgbClr val="002960"/>
                </a:buClr>
              </a:pPr>
              <a:t>150</a:t>
            </a:fld>
            <a:endParaRPr lang="en-US" sz="1400" b="0" dirty="0">
              <a:solidFill>
                <a:srgbClr val="000000"/>
              </a:solidFill>
              <a:sym typeface="Arial"/>
            </a:endParaRPr>
          </a:p>
        </p:txBody>
      </p:sp>
      <p:sp>
        <p:nvSpPr>
          <p:cNvPr id="81" name="Text Placeholder 57"/>
          <p:cNvSpPr>
            <a:spLocks noGrp="1"/>
          </p:cNvSpPr>
          <p:nvPr>
            <p:custDataLst>
              <p:tags r:id="rId13"/>
            </p:custDataLst>
          </p:nvPr>
        </p:nvSpPr>
        <p:spPr bwMode="auto">
          <a:xfrm>
            <a:off x="762000" y="5803900"/>
            <a:ext cx="1360488" cy="2127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noAutofit/>
          </a:bodyPr>
          <a:lstStyle>
            <a:lvl1pPr algn="l" defTabSz="895350" rtl="0" fontAlgn="base">
              <a:spcBef>
                <a:spcPct val="0"/>
              </a:spcBef>
              <a:spcAft>
                <a:spcPct val="0"/>
              </a:spcAft>
              <a:buClr>
                <a:schemeClr val="tx2"/>
              </a:buClr>
              <a:defRPr sz="1600">
                <a:solidFill>
                  <a:schemeClr val="tx1"/>
                </a:solidFill>
                <a:latin typeface="+mn-lt"/>
                <a:ea typeface="+mn-ea"/>
                <a:cs typeface="+mn-cs"/>
              </a:defRPr>
            </a:lvl1pPr>
            <a:lvl2pPr marL="193675" indent="-192088" algn="l" defTabSz="895350" rtl="0" fontAlgn="base">
              <a:spcBef>
                <a:spcPct val="0"/>
              </a:spcBef>
              <a:spcAft>
                <a:spcPct val="0"/>
              </a:spcAft>
              <a:buClr>
                <a:schemeClr val="folHlink"/>
              </a:buClr>
              <a:buSzPct val="125000"/>
              <a:buFont typeface="Wingdings" pitchFamily="2" charset="2"/>
              <a:buChar char="§"/>
              <a:defRPr sz="1600">
                <a:solidFill>
                  <a:schemeClr val="tx1"/>
                </a:solidFill>
                <a:latin typeface="+mn-lt"/>
              </a:defRPr>
            </a:lvl2pPr>
            <a:lvl3pPr marL="457200" indent="-261938" algn="l" defTabSz="895350" rtl="0" fontAlgn="base">
              <a:spcBef>
                <a:spcPct val="0"/>
              </a:spcBef>
              <a:spcAft>
                <a:spcPct val="0"/>
              </a:spcAft>
              <a:buClr>
                <a:schemeClr val="folHlink"/>
              </a:buClr>
              <a:buSzPct val="120000"/>
              <a:buFont typeface="Arial" charset="0"/>
              <a:buChar char="̶"/>
              <a:defRPr sz="1600">
                <a:solidFill>
                  <a:schemeClr val="tx1"/>
                </a:solidFill>
                <a:latin typeface="+mn-lt"/>
              </a:defRPr>
            </a:lvl3pPr>
            <a:lvl4pPr marL="614363" indent="-155575" algn="l" defTabSz="895350" rtl="0" fontAlgn="base">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5pPr>
            <a:lvl6pPr marL="12033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6pPr>
            <a:lvl7pPr marL="16605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7pPr>
            <a:lvl8pPr marL="21177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8pPr>
            <a:lvl9pPr marL="25749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a:buClr>
                <a:srgbClr val="002960"/>
              </a:buClr>
            </a:pPr>
            <a:fld id="{E5BE507A-5217-415D-985B-F94E9B2ED505}" type="datetime'''Buil''din''g'''' ''''''''p''r''''odu''''''c''''''''''ts'''''">
              <a:rPr lang="en-US" sz="1400" b="0">
                <a:solidFill>
                  <a:srgbClr val="000000"/>
                </a:solidFill>
                <a:sym typeface="+mn-lt"/>
              </a:rPr>
              <a:pPr>
                <a:buClr>
                  <a:srgbClr val="002960"/>
                </a:buClr>
              </a:pPr>
              <a:t>Building products</a:t>
            </a:fld>
            <a:endParaRPr lang="en-US" sz="1400" b="0" dirty="0">
              <a:solidFill>
                <a:srgbClr val="000000"/>
              </a:solidFill>
              <a:sym typeface="+mn-lt"/>
            </a:endParaRPr>
          </a:p>
        </p:txBody>
      </p:sp>
      <p:sp>
        <p:nvSpPr>
          <p:cNvPr id="78" name="Text Placeholder 12"/>
          <p:cNvSpPr>
            <a:spLocks noGrp="1"/>
          </p:cNvSpPr>
          <p:nvPr>
            <p:custDataLst>
              <p:tags r:id="rId14"/>
            </p:custDataLst>
          </p:nvPr>
        </p:nvSpPr>
        <p:spPr bwMode="gray">
          <a:xfrm>
            <a:off x="2663825" y="5803900"/>
            <a:ext cx="339725" cy="2127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22225" tIns="0" rIns="22225" bIns="0" numCol="1" anchor="ctr" anchorCtr="0" compatLnSpc="1">
            <a:prstTxWarp prst="textNoShape">
              <a:avLst/>
            </a:prstTxWarp>
            <a:noAutofit/>
          </a:bodyPr>
          <a:lstStyle>
            <a:lvl1pPr algn="l" defTabSz="895350" rtl="0" fontAlgn="base">
              <a:spcBef>
                <a:spcPct val="0"/>
              </a:spcBef>
              <a:spcAft>
                <a:spcPct val="0"/>
              </a:spcAft>
              <a:buClr>
                <a:schemeClr val="tx2"/>
              </a:buClr>
              <a:defRPr sz="1600">
                <a:solidFill>
                  <a:schemeClr val="tx1"/>
                </a:solidFill>
                <a:latin typeface="+mn-lt"/>
                <a:ea typeface="+mn-ea"/>
                <a:cs typeface="+mn-cs"/>
              </a:defRPr>
            </a:lvl1pPr>
            <a:lvl2pPr marL="193675" indent="-192088" algn="l" defTabSz="895350" rtl="0" fontAlgn="base">
              <a:spcBef>
                <a:spcPct val="0"/>
              </a:spcBef>
              <a:spcAft>
                <a:spcPct val="0"/>
              </a:spcAft>
              <a:buClr>
                <a:schemeClr val="folHlink"/>
              </a:buClr>
              <a:buSzPct val="125000"/>
              <a:buFont typeface="Wingdings" pitchFamily="2" charset="2"/>
              <a:buChar char="§"/>
              <a:defRPr sz="1600">
                <a:solidFill>
                  <a:schemeClr val="tx1"/>
                </a:solidFill>
                <a:latin typeface="+mn-lt"/>
              </a:defRPr>
            </a:lvl2pPr>
            <a:lvl3pPr marL="457200" indent="-261938" algn="l" defTabSz="895350" rtl="0" fontAlgn="base">
              <a:spcBef>
                <a:spcPct val="0"/>
              </a:spcBef>
              <a:spcAft>
                <a:spcPct val="0"/>
              </a:spcAft>
              <a:buClr>
                <a:schemeClr val="folHlink"/>
              </a:buClr>
              <a:buSzPct val="120000"/>
              <a:buFont typeface="Arial" charset="0"/>
              <a:buChar char="̶"/>
              <a:defRPr sz="1600">
                <a:solidFill>
                  <a:schemeClr val="tx1"/>
                </a:solidFill>
                <a:latin typeface="+mn-lt"/>
              </a:defRPr>
            </a:lvl3pPr>
            <a:lvl4pPr marL="614363" indent="-155575" algn="l" defTabSz="895350" rtl="0" fontAlgn="base">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5pPr>
            <a:lvl6pPr marL="12033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6pPr>
            <a:lvl7pPr marL="16605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7pPr>
            <a:lvl8pPr marL="21177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8pPr>
            <a:lvl9pPr marL="25749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a:buClr>
                <a:srgbClr val="002960"/>
              </a:buClr>
            </a:pPr>
            <a:fld id="{1274F1C0-E444-4878-877A-C2CCD40DECA2}" type="datetime'''''''''1''''''''''''''''''5''''''''''''0'''''''''''''''''''''">
              <a:rPr lang="en-US" sz="1400" b="0">
                <a:solidFill>
                  <a:srgbClr val="000000"/>
                </a:solidFill>
                <a:sym typeface="Arial"/>
              </a:rPr>
              <a:pPr>
                <a:buClr>
                  <a:srgbClr val="002960"/>
                </a:buClr>
              </a:pPr>
              <a:t>150</a:t>
            </a:fld>
            <a:endParaRPr lang="en-US" sz="1400" b="0" dirty="0">
              <a:solidFill>
                <a:srgbClr val="000000"/>
              </a:solidFill>
              <a:sym typeface="Arial"/>
            </a:endParaRPr>
          </a:p>
        </p:txBody>
      </p:sp>
      <p:sp>
        <p:nvSpPr>
          <p:cNvPr id="34" name="Text Placeholder 24"/>
          <p:cNvSpPr>
            <a:spLocks noGrp="1"/>
          </p:cNvSpPr>
          <p:nvPr>
            <p:custDataLst>
              <p:tags r:id="rId15"/>
            </p:custDataLst>
          </p:nvPr>
        </p:nvSpPr>
        <p:spPr bwMode="auto">
          <a:xfrm>
            <a:off x="762000" y="5437188"/>
            <a:ext cx="887413" cy="2127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noAutofit/>
          </a:bodyPr>
          <a:lstStyle>
            <a:lvl1pPr algn="l" defTabSz="895350" rtl="0" fontAlgn="base">
              <a:spcBef>
                <a:spcPct val="0"/>
              </a:spcBef>
              <a:spcAft>
                <a:spcPct val="0"/>
              </a:spcAft>
              <a:buClr>
                <a:schemeClr val="tx2"/>
              </a:buClr>
              <a:defRPr sz="1600">
                <a:solidFill>
                  <a:schemeClr val="tx1"/>
                </a:solidFill>
                <a:latin typeface="+mn-lt"/>
                <a:ea typeface="+mn-ea"/>
                <a:cs typeface="+mn-cs"/>
              </a:defRPr>
            </a:lvl1pPr>
            <a:lvl2pPr marL="193675" indent="-192088" algn="l" defTabSz="895350" rtl="0" fontAlgn="base">
              <a:spcBef>
                <a:spcPct val="0"/>
              </a:spcBef>
              <a:spcAft>
                <a:spcPct val="0"/>
              </a:spcAft>
              <a:buClr>
                <a:schemeClr val="folHlink"/>
              </a:buClr>
              <a:buSzPct val="125000"/>
              <a:buFont typeface="Wingdings" pitchFamily="2" charset="2"/>
              <a:buChar char="§"/>
              <a:defRPr sz="1600">
                <a:solidFill>
                  <a:schemeClr val="tx1"/>
                </a:solidFill>
                <a:latin typeface="+mn-lt"/>
              </a:defRPr>
            </a:lvl2pPr>
            <a:lvl3pPr marL="457200" indent="-261938" algn="l" defTabSz="895350" rtl="0" fontAlgn="base">
              <a:spcBef>
                <a:spcPct val="0"/>
              </a:spcBef>
              <a:spcAft>
                <a:spcPct val="0"/>
              </a:spcAft>
              <a:buClr>
                <a:schemeClr val="folHlink"/>
              </a:buClr>
              <a:buSzPct val="120000"/>
              <a:buFont typeface="Arial" charset="0"/>
              <a:buChar char="̶"/>
              <a:defRPr sz="1600">
                <a:solidFill>
                  <a:schemeClr val="tx1"/>
                </a:solidFill>
                <a:latin typeface="+mn-lt"/>
              </a:defRPr>
            </a:lvl3pPr>
            <a:lvl4pPr marL="614363" indent="-155575" algn="l" defTabSz="895350" rtl="0" fontAlgn="base">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5pPr>
            <a:lvl6pPr marL="12033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6pPr>
            <a:lvl7pPr marL="16605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7pPr>
            <a:lvl8pPr marL="21177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8pPr>
            <a:lvl9pPr marL="25749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a:buClr>
                <a:srgbClr val="002960"/>
              </a:buClr>
            </a:pPr>
            <a:fld id="{F8194CDC-4521-4B81-BAA7-224E7FB25835}" type="datetime'''B''''''a''''''''s''''''''''e ''m''''''e''ta''''l'''''''''">
              <a:rPr lang="en-US" sz="1400" b="0">
                <a:solidFill>
                  <a:srgbClr val="000000"/>
                </a:solidFill>
                <a:sym typeface="+mn-lt"/>
              </a:rPr>
              <a:pPr>
                <a:buClr>
                  <a:srgbClr val="002960"/>
                </a:buClr>
              </a:pPr>
              <a:t>Base metal</a:t>
            </a:fld>
            <a:endParaRPr lang="en-US" sz="1400" b="0" dirty="0">
              <a:solidFill>
                <a:srgbClr val="000000"/>
              </a:solidFill>
              <a:sym typeface="+mn-lt"/>
            </a:endParaRPr>
          </a:p>
        </p:txBody>
      </p:sp>
      <p:sp>
        <p:nvSpPr>
          <p:cNvPr id="77" name="Text Placeholder 11"/>
          <p:cNvSpPr>
            <a:spLocks noGrp="1"/>
          </p:cNvSpPr>
          <p:nvPr>
            <p:custDataLst>
              <p:tags r:id="rId16"/>
            </p:custDataLst>
          </p:nvPr>
        </p:nvSpPr>
        <p:spPr bwMode="gray">
          <a:xfrm>
            <a:off x="2901950" y="5437188"/>
            <a:ext cx="339725" cy="2127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22225" tIns="0" rIns="22225" bIns="0" numCol="1" anchor="ctr" anchorCtr="0" compatLnSpc="1">
            <a:prstTxWarp prst="textNoShape">
              <a:avLst/>
            </a:prstTxWarp>
            <a:noAutofit/>
          </a:bodyPr>
          <a:lstStyle>
            <a:lvl1pPr algn="l" defTabSz="895350" rtl="0" fontAlgn="base">
              <a:spcBef>
                <a:spcPct val="0"/>
              </a:spcBef>
              <a:spcAft>
                <a:spcPct val="0"/>
              </a:spcAft>
              <a:buClr>
                <a:schemeClr val="tx2"/>
              </a:buClr>
              <a:defRPr sz="1600">
                <a:solidFill>
                  <a:schemeClr val="tx1"/>
                </a:solidFill>
                <a:latin typeface="+mn-lt"/>
                <a:ea typeface="+mn-ea"/>
                <a:cs typeface="+mn-cs"/>
              </a:defRPr>
            </a:lvl1pPr>
            <a:lvl2pPr marL="193675" indent="-192088" algn="l" defTabSz="895350" rtl="0" fontAlgn="base">
              <a:spcBef>
                <a:spcPct val="0"/>
              </a:spcBef>
              <a:spcAft>
                <a:spcPct val="0"/>
              </a:spcAft>
              <a:buClr>
                <a:schemeClr val="folHlink"/>
              </a:buClr>
              <a:buSzPct val="125000"/>
              <a:buFont typeface="Wingdings" pitchFamily="2" charset="2"/>
              <a:buChar char="§"/>
              <a:defRPr sz="1600">
                <a:solidFill>
                  <a:schemeClr val="tx1"/>
                </a:solidFill>
                <a:latin typeface="+mn-lt"/>
              </a:defRPr>
            </a:lvl2pPr>
            <a:lvl3pPr marL="457200" indent="-261938" algn="l" defTabSz="895350" rtl="0" fontAlgn="base">
              <a:spcBef>
                <a:spcPct val="0"/>
              </a:spcBef>
              <a:spcAft>
                <a:spcPct val="0"/>
              </a:spcAft>
              <a:buClr>
                <a:schemeClr val="folHlink"/>
              </a:buClr>
              <a:buSzPct val="120000"/>
              <a:buFont typeface="Arial" charset="0"/>
              <a:buChar char="̶"/>
              <a:defRPr sz="1600">
                <a:solidFill>
                  <a:schemeClr val="tx1"/>
                </a:solidFill>
                <a:latin typeface="+mn-lt"/>
              </a:defRPr>
            </a:lvl3pPr>
            <a:lvl4pPr marL="614363" indent="-155575" algn="l" defTabSz="895350" rtl="0" fontAlgn="base">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5pPr>
            <a:lvl6pPr marL="12033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6pPr>
            <a:lvl7pPr marL="16605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7pPr>
            <a:lvl8pPr marL="21177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8pPr>
            <a:lvl9pPr marL="25749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a:buClr>
                <a:srgbClr val="002960"/>
              </a:buClr>
            </a:pPr>
            <a:fld id="{C06F0CCA-928A-44F8-845F-F460237F5BF2}" type="datetime'''''''''3''''''''''''''''''''''''''''''''0''''0'''''''''">
              <a:rPr lang="en-US" sz="1400" b="0">
                <a:solidFill>
                  <a:srgbClr val="000000"/>
                </a:solidFill>
                <a:sym typeface="Arial"/>
              </a:rPr>
              <a:pPr>
                <a:buClr>
                  <a:srgbClr val="002960"/>
                </a:buClr>
              </a:pPr>
              <a:t>300</a:t>
            </a:fld>
            <a:endParaRPr lang="en-US" sz="1400" b="0" dirty="0">
              <a:solidFill>
                <a:srgbClr val="000000"/>
              </a:solidFill>
              <a:sym typeface="Arial"/>
            </a:endParaRPr>
          </a:p>
        </p:txBody>
      </p:sp>
      <p:sp>
        <p:nvSpPr>
          <p:cNvPr id="33" name="Text Placeholder 23"/>
          <p:cNvSpPr>
            <a:spLocks noGrp="1"/>
          </p:cNvSpPr>
          <p:nvPr>
            <p:custDataLst>
              <p:tags r:id="rId17"/>
            </p:custDataLst>
          </p:nvPr>
        </p:nvSpPr>
        <p:spPr bwMode="auto">
          <a:xfrm>
            <a:off x="762000" y="5070475"/>
            <a:ext cx="1498600" cy="2127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noAutofit/>
          </a:bodyPr>
          <a:lstStyle>
            <a:lvl1pPr algn="l" defTabSz="895350" rtl="0" fontAlgn="base">
              <a:spcBef>
                <a:spcPct val="0"/>
              </a:spcBef>
              <a:spcAft>
                <a:spcPct val="0"/>
              </a:spcAft>
              <a:buClr>
                <a:schemeClr val="tx2"/>
              </a:buClr>
              <a:defRPr sz="1600">
                <a:solidFill>
                  <a:schemeClr val="tx1"/>
                </a:solidFill>
                <a:latin typeface="+mn-lt"/>
                <a:ea typeface="+mn-ea"/>
                <a:cs typeface="+mn-cs"/>
              </a:defRPr>
            </a:lvl1pPr>
            <a:lvl2pPr marL="193675" indent="-192088" algn="l" defTabSz="895350" rtl="0" fontAlgn="base">
              <a:spcBef>
                <a:spcPct val="0"/>
              </a:spcBef>
              <a:spcAft>
                <a:spcPct val="0"/>
              </a:spcAft>
              <a:buClr>
                <a:schemeClr val="folHlink"/>
              </a:buClr>
              <a:buSzPct val="125000"/>
              <a:buFont typeface="Wingdings" pitchFamily="2" charset="2"/>
              <a:buChar char="§"/>
              <a:defRPr sz="1600">
                <a:solidFill>
                  <a:schemeClr val="tx1"/>
                </a:solidFill>
                <a:latin typeface="+mn-lt"/>
              </a:defRPr>
            </a:lvl2pPr>
            <a:lvl3pPr marL="457200" indent="-261938" algn="l" defTabSz="895350" rtl="0" fontAlgn="base">
              <a:spcBef>
                <a:spcPct val="0"/>
              </a:spcBef>
              <a:spcAft>
                <a:spcPct val="0"/>
              </a:spcAft>
              <a:buClr>
                <a:schemeClr val="folHlink"/>
              </a:buClr>
              <a:buSzPct val="120000"/>
              <a:buFont typeface="Arial" charset="0"/>
              <a:buChar char="̶"/>
              <a:defRPr sz="1600">
                <a:solidFill>
                  <a:schemeClr val="tx1"/>
                </a:solidFill>
                <a:latin typeface="+mn-lt"/>
              </a:defRPr>
            </a:lvl3pPr>
            <a:lvl4pPr marL="614363" indent="-155575" algn="l" defTabSz="895350" rtl="0" fontAlgn="base">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5pPr>
            <a:lvl6pPr marL="12033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6pPr>
            <a:lvl7pPr marL="16605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7pPr>
            <a:lvl8pPr marL="21177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8pPr>
            <a:lvl9pPr marL="25749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a:buClr>
                <a:srgbClr val="002960"/>
              </a:buClr>
            </a:pPr>
            <a:fld id="{865861A0-9AE4-4888-99F2-B88D808E2B52}" type="datetime'''Pa''p''''''''er'''''''''' &amp; p''''''''ac''kag''i''''''ng'">
              <a:rPr lang="en-US" sz="1400" b="0">
                <a:solidFill>
                  <a:srgbClr val="000000"/>
                </a:solidFill>
                <a:sym typeface="+mn-lt"/>
              </a:rPr>
              <a:pPr>
                <a:buClr>
                  <a:srgbClr val="002960"/>
                </a:buClr>
              </a:pPr>
              <a:t>Paper &amp; packaging</a:t>
            </a:fld>
            <a:endParaRPr lang="en-US" sz="1400" b="0" dirty="0">
              <a:solidFill>
                <a:srgbClr val="000000"/>
              </a:solidFill>
              <a:sym typeface="+mn-lt"/>
            </a:endParaRPr>
          </a:p>
        </p:txBody>
      </p:sp>
      <p:sp>
        <p:nvSpPr>
          <p:cNvPr id="32" name="Text Placeholder 22"/>
          <p:cNvSpPr>
            <a:spLocks noGrp="1"/>
          </p:cNvSpPr>
          <p:nvPr>
            <p:custDataLst>
              <p:tags r:id="rId18"/>
            </p:custDataLst>
          </p:nvPr>
        </p:nvSpPr>
        <p:spPr bwMode="auto">
          <a:xfrm>
            <a:off x="762000" y="4708525"/>
            <a:ext cx="828675" cy="2127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noAutofit/>
          </a:bodyPr>
          <a:lstStyle>
            <a:lvl1pPr algn="l" defTabSz="895350" rtl="0" fontAlgn="base">
              <a:spcBef>
                <a:spcPct val="0"/>
              </a:spcBef>
              <a:spcAft>
                <a:spcPct val="0"/>
              </a:spcAft>
              <a:buClr>
                <a:schemeClr val="tx2"/>
              </a:buClr>
              <a:defRPr sz="1600">
                <a:solidFill>
                  <a:schemeClr val="tx1"/>
                </a:solidFill>
                <a:latin typeface="+mn-lt"/>
                <a:ea typeface="+mn-ea"/>
                <a:cs typeface="+mn-cs"/>
              </a:defRPr>
            </a:lvl1pPr>
            <a:lvl2pPr marL="193675" indent="-192088" algn="l" defTabSz="895350" rtl="0" fontAlgn="base">
              <a:spcBef>
                <a:spcPct val="0"/>
              </a:spcBef>
              <a:spcAft>
                <a:spcPct val="0"/>
              </a:spcAft>
              <a:buClr>
                <a:schemeClr val="folHlink"/>
              </a:buClr>
              <a:buSzPct val="125000"/>
              <a:buFont typeface="Wingdings" pitchFamily="2" charset="2"/>
              <a:buChar char="§"/>
              <a:defRPr sz="1600">
                <a:solidFill>
                  <a:schemeClr val="tx1"/>
                </a:solidFill>
                <a:latin typeface="+mn-lt"/>
              </a:defRPr>
            </a:lvl2pPr>
            <a:lvl3pPr marL="457200" indent="-261938" algn="l" defTabSz="895350" rtl="0" fontAlgn="base">
              <a:spcBef>
                <a:spcPct val="0"/>
              </a:spcBef>
              <a:spcAft>
                <a:spcPct val="0"/>
              </a:spcAft>
              <a:buClr>
                <a:schemeClr val="folHlink"/>
              </a:buClr>
              <a:buSzPct val="120000"/>
              <a:buFont typeface="Arial" charset="0"/>
              <a:buChar char="̶"/>
              <a:defRPr sz="1600">
                <a:solidFill>
                  <a:schemeClr val="tx1"/>
                </a:solidFill>
                <a:latin typeface="+mn-lt"/>
              </a:defRPr>
            </a:lvl3pPr>
            <a:lvl4pPr marL="614363" indent="-155575" algn="l" defTabSz="895350" rtl="0" fontAlgn="base">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5pPr>
            <a:lvl6pPr marL="12033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6pPr>
            <a:lvl7pPr marL="16605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7pPr>
            <a:lvl8pPr marL="21177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8pPr>
            <a:lvl9pPr marL="25749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a:buClr>
                <a:srgbClr val="002960"/>
              </a:buClr>
            </a:pPr>
            <a:fld id="{A7FFB3E8-AF3F-4D87-AEAB-8D7244B2AEDA}" type="datetime'''C''''h''''''''''''e''''''m''''''''''i''''c''''a''''''''l''s'">
              <a:rPr lang="en-US" sz="1400" b="0">
                <a:solidFill>
                  <a:srgbClr val="000000"/>
                </a:solidFill>
                <a:sym typeface="+mn-lt"/>
              </a:rPr>
              <a:pPr>
                <a:buClr>
                  <a:srgbClr val="002960"/>
                </a:buClr>
              </a:pPr>
              <a:t>Chemicals</a:t>
            </a:fld>
            <a:endParaRPr lang="en-US" sz="1400" b="0" dirty="0">
              <a:solidFill>
                <a:srgbClr val="000000"/>
              </a:solidFill>
              <a:sym typeface="+mn-lt"/>
            </a:endParaRPr>
          </a:p>
        </p:txBody>
      </p:sp>
      <p:sp>
        <p:nvSpPr>
          <p:cNvPr id="31" name="Text Placeholder 21"/>
          <p:cNvSpPr>
            <a:spLocks noGrp="1"/>
          </p:cNvSpPr>
          <p:nvPr>
            <p:custDataLst>
              <p:tags r:id="rId19"/>
            </p:custDataLst>
          </p:nvPr>
        </p:nvSpPr>
        <p:spPr bwMode="auto">
          <a:xfrm>
            <a:off x="762000" y="4341813"/>
            <a:ext cx="1173163" cy="2127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noAutofit/>
          </a:bodyPr>
          <a:lstStyle>
            <a:lvl1pPr algn="l" defTabSz="895350" rtl="0" fontAlgn="base">
              <a:spcBef>
                <a:spcPct val="0"/>
              </a:spcBef>
              <a:spcAft>
                <a:spcPct val="0"/>
              </a:spcAft>
              <a:buClr>
                <a:schemeClr val="tx2"/>
              </a:buClr>
              <a:defRPr sz="1600">
                <a:solidFill>
                  <a:schemeClr val="tx1"/>
                </a:solidFill>
                <a:latin typeface="+mn-lt"/>
                <a:ea typeface="+mn-ea"/>
                <a:cs typeface="+mn-cs"/>
              </a:defRPr>
            </a:lvl1pPr>
            <a:lvl2pPr marL="193675" indent="-192088" algn="l" defTabSz="895350" rtl="0" fontAlgn="base">
              <a:spcBef>
                <a:spcPct val="0"/>
              </a:spcBef>
              <a:spcAft>
                <a:spcPct val="0"/>
              </a:spcAft>
              <a:buClr>
                <a:schemeClr val="folHlink"/>
              </a:buClr>
              <a:buSzPct val="125000"/>
              <a:buFont typeface="Wingdings" pitchFamily="2" charset="2"/>
              <a:buChar char="§"/>
              <a:defRPr sz="1600">
                <a:solidFill>
                  <a:schemeClr val="tx1"/>
                </a:solidFill>
                <a:latin typeface="+mn-lt"/>
              </a:defRPr>
            </a:lvl2pPr>
            <a:lvl3pPr marL="457200" indent="-261938" algn="l" defTabSz="895350" rtl="0" fontAlgn="base">
              <a:spcBef>
                <a:spcPct val="0"/>
              </a:spcBef>
              <a:spcAft>
                <a:spcPct val="0"/>
              </a:spcAft>
              <a:buClr>
                <a:schemeClr val="folHlink"/>
              </a:buClr>
              <a:buSzPct val="120000"/>
              <a:buFont typeface="Arial" charset="0"/>
              <a:buChar char="̶"/>
              <a:defRPr sz="1600">
                <a:solidFill>
                  <a:schemeClr val="tx1"/>
                </a:solidFill>
                <a:latin typeface="+mn-lt"/>
              </a:defRPr>
            </a:lvl3pPr>
            <a:lvl4pPr marL="614363" indent="-155575" algn="l" defTabSz="895350" rtl="0" fontAlgn="base">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5pPr>
            <a:lvl6pPr marL="12033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6pPr>
            <a:lvl7pPr marL="16605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7pPr>
            <a:lvl8pPr marL="21177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8pPr>
            <a:lvl9pPr marL="25749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a:buClr>
                <a:srgbClr val="002960"/>
              </a:buClr>
            </a:pPr>
            <a:fld id="{57786F30-BF0D-4AC6-B448-CF407F7A07AD}" type="datetime'''P''''''rec''iou''''''''s ''''m''''''eta''''''''l'''''''">
              <a:rPr lang="en-US" sz="1400" b="0">
                <a:solidFill>
                  <a:srgbClr val="000000"/>
                </a:solidFill>
                <a:sym typeface="+mn-lt"/>
              </a:rPr>
              <a:pPr>
                <a:buClr>
                  <a:srgbClr val="002960"/>
                </a:buClr>
              </a:pPr>
              <a:t>Precious metal</a:t>
            </a:fld>
            <a:endParaRPr lang="en-US" sz="1400" b="0" dirty="0">
              <a:solidFill>
                <a:srgbClr val="000000"/>
              </a:solidFill>
              <a:sym typeface="+mn-lt"/>
            </a:endParaRPr>
          </a:p>
        </p:txBody>
      </p:sp>
      <p:sp>
        <p:nvSpPr>
          <p:cNvPr id="75" name="Text Placeholder 9"/>
          <p:cNvSpPr>
            <a:spLocks noGrp="1"/>
          </p:cNvSpPr>
          <p:nvPr>
            <p:custDataLst>
              <p:tags r:id="rId20"/>
            </p:custDataLst>
          </p:nvPr>
        </p:nvSpPr>
        <p:spPr bwMode="gray">
          <a:xfrm>
            <a:off x="2835275" y="4708525"/>
            <a:ext cx="339725" cy="2127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22225" tIns="0" rIns="22225" bIns="0" numCol="1" anchor="ctr" anchorCtr="0" compatLnSpc="1">
            <a:prstTxWarp prst="textNoShape">
              <a:avLst/>
            </a:prstTxWarp>
            <a:noAutofit/>
          </a:bodyPr>
          <a:lstStyle>
            <a:lvl1pPr algn="l" defTabSz="895350" rtl="0" fontAlgn="base">
              <a:spcBef>
                <a:spcPct val="0"/>
              </a:spcBef>
              <a:spcAft>
                <a:spcPct val="0"/>
              </a:spcAft>
              <a:buClr>
                <a:schemeClr val="tx2"/>
              </a:buClr>
              <a:defRPr sz="1600">
                <a:solidFill>
                  <a:schemeClr val="tx1"/>
                </a:solidFill>
                <a:latin typeface="+mn-lt"/>
                <a:ea typeface="+mn-ea"/>
                <a:cs typeface="+mn-cs"/>
              </a:defRPr>
            </a:lvl1pPr>
            <a:lvl2pPr marL="193675" indent="-192088" algn="l" defTabSz="895350" rtl="0" fontAlgn="base">
              <a:spcBef>
                <a:spcPct val="0"/>
              </a:spcBef>
              <a:spcAft>
                <a:spcPct val="0"/>
              </a:spcAft>
              <a:buClr>
                <a:schemeClr val="folHlink"/>
              </a:buClr>
              <a:buSzPct val="125000"/>
              <a:buFont typeface="Wingdings" pitchFamily="2" charset="2"/>
              <a:buChar char="§"/>
              <a:defRPr sz="1600">
                <a:solidFill>
                  <a:schemeClr val="tx1"/>
                </a:solidFill>
                <a:latin typeface="+mn-lt"/>
              </a:defRPr>
            </a:lvl2pPr>
            <a:lvl3pPr marL="457200" indent="-261938" algn="l" defTabSz="895350" rtl="0" fontAlgn="base">
              <a:spcBef>
                <a:spcPct val="0"/>
              </a:spcBef>
              <a:spcAft>
                <a:spcPct val="0"/>
              </a:spcAft>
              <a:buClr>
                <a:schemeClr val="folHlink"/>
              </a:buClr>
              <a:buSzPct val="120000"/>
              <a:buFont typeface="Arial" charset="0"/>
              <a:buChar char="̶"/>
              <a:defRPr sz="1600">
                <a:solidFill>
                  <a:schemeClr val="tx1"/>
                </a:solidFill>
                <a:latin typeface="+mn-lt"/>
              </a:defRPr>
            </a:lvl3pPr>
            <a:lvl4pPr marL="614363" indent="-155575" algn="l" defTabSz="895350" rtl="0" fontAlgn="base">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5pPr>
            <a:lvl6pPr marL="12033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6pPr>
            <a:lvl7pPr marL="16605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7pPr>
            <a:lvl8pPr marL="21177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8pPr>
            <a:lvl9pPr marL="25749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a:buClr>
                <a:srgbClr val="002960"/>
              </a:buClr>
            </a:pPr>
            <a:fld id="{ED956622-1051-4494-9B1A-DBE87576F30D}" type="datetime'''''''2''''''''''''''''''''''''''''''6''''''''''''''''0'">
              <a:rPr lang="en-US" sz="1400" b="0">
                <a:solidFill>
                  <a:srgbClr val="000000"/>
                </a:solidFill>
                <a:sym typeface="Arial"/>
              </a:rPr>
              <a:pPr>
                <a:buClr>
                  <a:srgbClr val="002960"/>
                </a:buClr>
              </a:pPr>
              <a:t>260</a:t>
            </a:fld>
            <a:endParaRPr lang="en-US" sz="1400" b="0" dirty="0">
              <a:solidFill>
                <a:srgbClr val="000000"/>
              </a:solidFill>
              <a:sym typeface="Arial"/>
            </a:endParaRPr>
          </a:p>
        </p:txBody>
      </p:sp>
      <p:sp>
        <p:nvSpPr>
          <p:cNvPr id="30" name="Text Placeholder 20"/>
          <p:cNvSpPr>
            <a:spLocks noGrp="1"/>
          </p:cNvSpPr>
          <p:nvPr>
            <p:custDataLst>
              <p:tags r:id="rId21"/>
            </p:custDataLst>
          </p:nvPr>
        </p:nvSpPr>
        <p:spPr bwMode="auto">
          <a:xfrm>
            <a:off x="762000" y="3975100"/>
            <a:ext cx="414338" cy="2127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noAutofit/>
          </a:bodyPr>
          <a:lstStyle>
            <a:lvl1pPr algn="l" defTabSz="895350" rtl="0" fontAlgn="base">
              <a:spcBef>
                <a:spcPct val="0"/>
              </a:spcBef>
              <a:spcAft>
                <a:spcPct val="0"/>
              </a:spcAft>
              <a:buClr>
                <a:schemeClr val="tx2"/>
              </a:buClr>
              <a:defRPr sz="1600">
                <a:solidFill>
                  <a:schemeClr val="tx1"/>
                </a:solidFill>
                <a:latin typeface="+mn-lt"/>
                <a:ea typeface="+mn-ea"/>
                <a:cs typeface="+mn-cs"/>
              </a:defRPr>
            </a:lvl1pPr>
            <a:lvl2pPr marL="193675" indent="-192088" algn="l" defTabSz="895350" rtl="0" fontAlgn="base">
              <a:spcBef>
                <a:spcPct val="0"/>
              </a:spcBef>
              <a:spcAft>
                <a:spcPct val="0"/>
              </a:spcAft>
              <a:buClr>
                <a:schemeClr val="folHlink"/>
              </a:buClr>
              <a:buSzPct val="125000"/>
              <a:buFont typeface="Wingdings" pitchFamily="2" charset="2"/>
              <a:buChar char="§"/>
              <a:defRPr sz="1600">
                <a:solidFill>
                  <a:schemeClr val="tx1"/>
                </a:solidFill>
                <a:latin typeface="+mn-lt"/>
              </a:defRPr>
            </a:lvl2pPr>
            <a:lvl3pPr marL="457200" indent="-261938" algn="l" defTabSz="895350" rtl="0" fontAlgn="base">
              <a:spcBef>
                <a:spcPct val="0"/>
              </a:spcBef>
              <a:spcAft>
                <a:spcPct val="0"/>
              </a:spcAft>
              <a:buClr>
                <a:schemeClr val="folHlink"/>
              </a:buClr>
              <a:buSzPct val="120000"/>
              <a:buFont typeface="Arial" charset="0"/>
              <a:buChar char="̶"/>
              <a:defRPr sz="1600">
                <a:solidFill>
                  <a:schemeClr val="tx1"/>
                </a:solidFill>
                <a:latin typeface="+mn-lt"/>
              </a:defRPr>
            </a:lvl3pPr>
            <a:lvl4pPr marL="614363" indent="-155575" algn="l" defTabSz="895350" rtl="0" fontAlgn="base">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5pPr>
            <a:lvl6pPr marL="12033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6pPr>
            <a:lvl7pPr marL="16605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7pPr>
            <a:lvl8pPr marL="21177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8pPr>
            <a:lvl9pPr marL="25749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a:buClr>
                <a:srgbClr val="002960"/>
              </a:buClr>
            </a:pPr>
            <a:fld id="{31851CF1-1755-445F-A94F-10A7723E89A2}" type="datetime'''''''''''''''''''T''e''l''''''''''''''''''''co'''''">
              <a:rPr lang="en-US" sz="1400" b="0">
                <a:solidFill>
                  <a:srgbClr val="000000"/>
                </a:solidFill>
                <a:sym typeface="+mn-lt"/>
              </a:rPr>
              <a:pPr>
                <a:buClr>
                  <a:srgbClr val="002960"/>
                </a:buClr>
              </a:pPr>
              <a:t>Telco</a:t>
            </a:fld>
            <a:endParaRPr lang="en-US" sz="1400" b="0" dirty="0">
              <a:solidFill>
                <a:srgbClr val="000000"/>
              </a:solidFill>
              <a:sym typeface="+mn-lt"/>
            </a:endParaRPr>
          </a:p>
        </p:txBody>
      </p:sp>
      <p:sp>
        <p:nvSpPr>
          <p:cNvPr id="28" name="Text Placeholder 18"/>
          <p:cNvSpPr>
            <a:spLocks noGrp="1"/>
          </p:cNvSpPr>
          <p:nvPr>
            <p:custDataLst>
              <p:tags r:id="rId22"/>
            </p:custDataLst>
          </p:nvPr>
        </p:nvSpPr>
        <p:spPr bwMode="auto">
          <a:xfrm>
            <a:off x="762000" y="3613150"/>
            <a:ext cx="561975" cy="2127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noAutofit/>
          </a:bodyPr>
          <a:lstStyle>
            <a:lvl1pPr algn="l" defTabSz="895350" rtl="0" fontAlgn="base">
              <a:spcBef>
                <a:spcPct val="0"/>
              </a:spcBef>
              <a:spcAft>
                <a:spcPct val="0"/>
              </a:spcAft>
              <a:buClr>
                <a:schemeClr val="tx2"/>
              </a:buClr>
              <a:defRPr sz="1600">
                <a:solidFill>
                  <a:schemeClr val="tx1"/>
                </a:solidFill>
                <a:latin typeface="+mn-lt"/>
                <a:ea typeface="+mn-ea"/>
                <a:cs typeface="+mn-cs"/>
              </a:defRPr>
            </a:lvl1pPr>
            <a:lvl2pPr marL="193675" indent="-192088" algn="l" defTabSz="895350" rtl="0" fontAlgn="base">
              <a:spcBef>
                <a:spcPct val="0"/>
              </a:spcBef>
              <a:spcAft>
                <a:spcPct val="0"/>
              </a:spcAft>
              <a:buClr>
                <a:schemeClr val="folHlink"/>
              </a:buClr>
              <a:buSzPct val="125000"/>
              <a:buFont typeface="Wingdings" pitchFamily="2" charset="2"/>
              <a:buChar char="§"/>
              <a:defRPr sz="1600">
                <a:solidFill>
                  <a:schemeClr val="tx1"/>
                </a:solidFill>
                <a:latin typeface="+mn-lt"/>
              </a:defRPr>
            </a:lvl2pPr>
            <a:lvl3pPr marL="457200" indent="-261938" algn="l" defTabSz="895350" rtl="0" fontAlgn="base">
              <a:spcBef>
                <a:spcPct val="0"/>
              </a:spcBef>
              <a:spcAft>
                <a:spcPct val="0"/>
              </a:spcAft>
              <a:buClr>
                <a:schemeClr val="folHlink"/>
              </a:buClr>
              <a:buSzPct val="120000"/>
              <a:buFont typeface="Arial" charset="0"/>
              <a:buChar char="̶"/>
              <a:defRPr sz="1600">
                <a:solidFill>
                  <a:schemeClr val="tx1"/>
                </a:solidFill>
                <a:latin typeface="+mn-lt"/>
              </a:defRPr>
            </a:lvl3pPr>
            <a:lvl4pPr marL="614363" indent="-155575" algn="l" defTabSz="895350" rtl="0" fontAlgn="base">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5pPr>
            <a:lvl6pPr marL="12033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6pPr>
            <a:lvl7pPr marL="16605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7pPr>
            <a:lvl8pPr marL="21177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8pPr>
            <a:lvl9pPr marL="25749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a:buClr>
                <a:srgbClr val="002960"/>
              </a:buClr>
            </a:pPr>
            <a:fld id="{FDA6EF4D-259E-46C6-94F0-77941E93F97E}" type="datetime'''''''E''''n''''''''''e''''''''r''''g''''''''y'''''''">
              <a:rPr lang="en-US" sz="1400" b="0">
                <a:solidFill>
                  <a:srgbClr val="000000"/>
                </a:solidFill>
                <a:sym typeface="+mn-lt"/>
              </a:rPr>
              <a:pPr>
                <a:buClr>
                  <a:srgbClr val="002960"/>
                </a:buClr>
              </a:pPr>
              <a:t>Energy</a:t>
            </a:fld>
            <a:endParaRPr lang="en-US" sz="1400" b="0" dirty="0">
              <a:solidFill>
                <a:srgbClr val="000000"/>
              </a:solidFill>
              <a:sym typeface="+mn-lt"/>
            </a:endParaRPr>
          </a:p>
        </p:txBody>
      </p:sp>
      <p:sp>
        <p:nvSpPr>
          <p:cNvPr id="76" name="Text Placeholder 10"/>
          <p:cNvSpPr>
            <a:spLocks noGrp="1"/>
          </p:cNvSpPr>
          <p:nvPr>
            <p:custDataLst>
              <p:tags r:id="rId23"/>
            </p:custDataLst>
          </p:nvPr>
        </p:nvSpPr>
        <p:spPr bwMode="gray">
          <a:xfrm>
            <a:off x="2740025" y="5070475"/>
            <a:ext cx="339725" cy="2127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22225" tIns="0" rIns="22225" bIns="0" numCol="1" anchor="ctr" anchorCtr="0" compatLnSpc="1">
            <a:prstTxWarp prst="textNoShape">
              <a:avLst/>
            </a:prstTxWarp>
            <a:noAutofit/>
          </a:bodyPr>
          <a:lstStyle>
            <a:lvl1pPr algn="l" defTabSz="895350" rtl="0" fontAlgn="base">
              <a:spcBef>
                <a:spcPct val="0"/>
              </a:spcBef>
              <a:spcAft>
                <a:spcPct val="0"/>
              </a:spcAft>
              <a:buClr>
                <a:schemeClr val="tx2"/>
              </a:buClr>
              <a:defRPr sz="1600">
                <a:solidFill>
                  <a:schemeClr val="tx1"/>
                </a:solidFill>
                <a:latin typeface="+mn-lt"/>
                <a:ea typeface="+mn-ea"/>
                <a:cs typeface="+mn-cs"/>
              </a:defRPr>
            </a:lvl1pPr>
            <a:lvl2pPr marL="193675" indent="-192088" algn="l" defTabSz="895350" rtl="0" fontAlgn="base">
              <a:spcBef>
                <a:spcPct val="0"/>
              </a:spcBef>
              <a:spcAft>
                <a:spcPct val="0"/>
              </a:spcAft>
              <a:buClr>
                <a:schemeClr val="folHlink"/>
              </a:buClr>
              <a:buSzPct val="125000"/>
              <a:buFont typeface="Wingdings" pitchFamily="2" charset="2"/>
              <a:buChar char="§"/>
              <a:defRPr sz="1600">
                <a:solidFill>
                  <a:schemeClr val="tx1"/>
                </a:solidFill>
                <a:latin typeface="+mn-lt"/>
              </a:defRPr>
            </a:lvl2pPr>
            <a:lvl3pPr marL="457200" indent="-261938" algn="l" defTabSz="895350" rtl="0" fontAlgn="base">
              <a:spcBef>
                <a:spcPct val="0"/>
              </a:spcBef>
              <a:spcAft>
                <a:spcPct val="0"/>
              </a:spcAft>
              <a:buClr>
                <a:schemeClr val="folHlink"/>
              </a:buClr>
              <a:buSzPct val="120000"/>
              <a:buFont typeface="Arial" charset="0"/>
              <a:buChar char="̶"/>
              <a:defRPr sz="1600">
                <a:solidFill>
                  <a:schemeClr val="tx1"/>
                </a:solidFill>
                <a:latin typeface="+mn-lt"/>
              </a:defRPr>
            </a:lvl3pPr>
            <a:lvl4pPr marL="614363" indent="-155575" algn="l" defTabSz="895350" rtl="0" fontAlgn="base">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5pPr>
            <a:lvl6pPr marL="12033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6pPr>
            <a:lvl7pPr marL="16605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7pPr>
            <a:lvl8pPr marL="21177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8pPr>
            <a:lvl9pPr marL="25749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a:buClr>
                <a:srgbClr val="002960"/>
              </a:buClr>
            </a:pPr>
            <a:fld id="{24DF6AFD-1689-4B4C-B1B4-88EA94EE54A9}" type="datetime'''2''''''0''''''''0'''''''''''''''''''''''''''''''">
              <a:rPr lang="en-US" sz="1400" b="0">
                <a:solidFill>
                  <a:srgbClr val="000000"/>
                </a:solidFill>
                <a:sym typeface="Arial"/>
              </a:rPr>
              <a:pPr>
                <a:buClr>
                  <a:srgbClr val="002960"/>
                </a:buClr>
              </a:pPr>
              <a:t>200</a:t>
            </a:fld>
            <a:endParaRPr lang="en-US" sz="1400" b="0" dirty="0">
              <a:solidFill>
                <a:srgbClr val="000000"/>
              </a:solidFill>
              <a:sym typeface="Arial"/>
            </a:endParaRPr>
          </a:p>
        </p:txBody>
      </p:sp>
      <p:sp>
        <p:nvSpPr>
          <p:cNvPr id="74" name="Text Placeholder 8"/>
          <p:cNvSpPr>
            <a:spLocks noGrp="1"/>
          </p:cNvSpPr>
          <p:nvPr>
            <p:custDataLst>
              <p:tags r:id="rId24"/>
            </p:custDataLst>
          </p:nvPr>
        </p:nvSpPr>
        <p:spPr bwMode="gray">
          <a:xfrm>
            <a:off x="3063875" y="4341813"/>
            <a:ext cx="339725" cy="2127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22225" tIns="0" rIns="22225" bIns="0" numCol="1" anchor="ctr" anchorCtr="0" compatLnSpc="1">
            <a:prstTxWarp prst="textNoShape">
              <a:avLst/>
            </a:prstTxWarp>
            <a:noAutofit/>
          </a:bodyPr>
          <a:lstStyle>
            <a:lvl1pPr algn="l" defTabSz="895350" rtl="0" fontAlgn="base">
              <a:spcBef>
                <a:spcPct val="0"/>
              </a:spcBef>
              <a:spcAft>
                <a:spcPct val="0"/>
              </a:spcAft>
              <a:buClr>
                <a:schemeClr val="tx2"/>
              </a:buClr>
              <a:defRPr sz="1600">
                <a:solidFill>
                  <a:schemeClr val="tx1"/>
                </a:solidFill>
                <a:latin typeface="+mn-lt"/>
                <a:ea typeface="+mn-ea"/>
                <a:cs typeface="+mn-cs"/>
              </a:defRPr>
            </a:lvl1pPr>
            <a:lvl2pPr marL="193675" indent="-192088" algn="l" defTabSz="895350" rtl="0" fontAlgn="base">
              <a:spcBef>
                <a:spcPct val="0"/>
              </a:spcBef>
              <a:spcAft>
                <a:spcPct val="0"/>
              </a:spcAft>
              <a:buClr>
                <a:schemeClr val="folHlink"/>
              </a:buClr>
              <a:buSzPct val="125000"/>
              <a:buFont typeface="Wingdings" pitchFamily="2" charset="2"/>
              <a:buChar char="§"/>
              <a:defRPr sz="1600">
                <a:solidFill>
                  <a:schemeClr val="tx1"/>
                </a:solidFill>
                <a:latin typeface="+mn-lt"/>
              </a:defRPr>
            </a:lvl2pPr>
            <a:lvl3pPr marL="457200" indent="-261938" algn="l" defTabSz="895350" rtl="0" fontAlgn="base">
              <a:spcBef>
                <a:spcPct val="0"/>
              </a:spcBef>
              <a:spcAft>
                <a:spcPct val="0"/>
              </a:spcAft>
              <a:buClr>
                <a:schemeClr val="folHlink"/>
              </a:buClr>
              <a:buSzPct val="120000"/>
              <a:buFont typeface="Arial" charset="0"/>
              <a:buChar char="̶"/>
              <a:defRPr sz="1600">
                <a:solidFill>
                  <a:schemeClr val="tx1"/>
                </a:solidFill>
                <a:latin typeface="+mn-lt"/>
              </a:defRPr>
            </a:lvl3pPr>
            <a:lvl4pPr marL="614363" indent="-155575" algn="l" defTabSz="895350" rtl="0" fontAlgn="base">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5pPr>
            <a:lvl6pPr marL="12033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6pPr>
            <a:lvl7pPr marL="16605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7pPr>
            <a:lvl8pPr marL="21177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8pPr>
            <a:lvl9pPr marL="25749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a:buClr>
                <a:srgbClr val="002960"/>
              </a:buClr>
            </a:pPr>
            <a:fld id="{F6E7FFE3-98D6-40E4-9A47-A20666FA00C9}" type="datetime'''''''''''''4''''''0''''''''''''''''''''''0'''''''''">
              <a:rPr lang="en-US" sz="1400" b="0">
                <a:solidFill>
                  <a:srgbClr val="000000"/>
                </a:solidFill>
                <a:sym typeface="Arial"/>
              </a:rPr>
              <a:pPr>
                <a:buClr>
                  <a:srgbClr val="002960"/>
                </a:buClr>
              </a:pPr>
              <a:t>400</a:t>
            </a:fld>
            <a:endParaRPr lang="en-US" sz="1400" b="0" dirty="0">
              <a:solidFill>
                <a:srgbClr val="000000"/>
              </a:solidFill>
              <a:sym typeface="Arial"/>
            </a:endParaRPr>
          </a:p>
        </p:txBody>
      </p:sp>
      <p:sp>
        <p:nvSpPr>
          <p:cNvPr id="73" name="Text Placeholder 7"/>
          <p:cNvSpPr>
            <a:spLocks noGrp="1"/>
          </p:cNvSpPr>
          <p:nvPr>
            <p:custDataLst>
              <p:tags r:id="rId25"/>
            </p:custDataLst>
          </p:nvPr>
        </p:nvSpPr>
        <p:spPr bwMode="gray">
          <a:xfrm>
            <a:off x="2901950" y="3975100"/>
            <a:ext cx="339725" cy="2127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22225" tIns="0" rIns="22225" bIns="0" numCol="1" anchor="ctr" anchorCtr="0" compatLnSpc="1">
            <a:prstTxWarp prst="textNoShape">
              <a:avLst/>
            </a:prstTxWarp>
            <a:noAutofit/>
          </a:bodyPr>
          <a:lstStyle>
            <a:lvl1pPr algn="l" defTabSz="895350" rtl="0" fontAlgn="base">
              <a:spcBef>
                <a:spcPct val="0"/>
              </a:spcBef>
              <a:spcAft>
                <a:spcPct val="0"/>
              </a:spcAft>
              <a:buClr>
                <a:schemeClr val="tx2"/>
              </a:buClr>
              <a:defRPr sz="1600">
                <a:solidFill>
                  <a:schemeClr val="tx1"/>
                </a:solidFill>
                <a:latin typeface="+mn-lt"/>
                <a:ea typeface="+mn-ea"/>
                <a:cs typeface="+mn-cs"/>
              </a:defRPr>
            </a:lvl1pPr>
            <a:lvl2pPr marL="193675" indent="-192088" algn="l" defTabSz="895350" rtl="0" fontAlgn="base">
              <a:spcBef>
                <a:spcPct val="0"/>
              </a:spcBef>
              <a:spcAft>
                <a:spcPct val="0"/>
              </a:spcAft>
              <a:buClr>
                <a:schemeClr val="folHlink"/>
              </a:buClr>
              <a:buSzPct val="125000"/>
              <a:buFont typeface="Wingdings" pitchFamily="2" charset="2"/>
              <a:buChar char="§"/>
              <a:defRPr sz="1600">
                <a:solidFill>
                  <a:schemeClr val="tx1"/>
                </a:solidFill>
                <a:latin typeface="+mn-lt"/>
              </a:defRPr>
            </a:lvl2pPr>
            <a:lvl3pPr marL="457200" indent="-261938" algn="l" defTabSz="895350" rtl="0" fontAlgn="base">
              <a:spcBef>
                <a:spcPct val="0"/>
              </a:spcBef>
              <a:spcAft>
                <a:spcPct val="0"/>
              </a:spcAft>
              <a:buClr>
                <a:schemeClr val="folHlink"/>
              </a:buClr>
              <a:buSzPct val="120000"/>
              <a:buFont typeface="Arial" charset="0"/>
              <a:buChar char="̶"/>
              <a:defRPr sz="1600">
                <a:solidFill>
                  <a:schemeClr val="tx1"/>
                </a:solidFill>
                <a:latin typeface="+mn-lt"/>
              </a:defRPr>
            </a:lvl3pPr>
            <a:lvl4pPr marL="614363" indent="-155575" algn="l" defTabSz="895350" rtl="0" fontAlgn="base">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5pPr>
            <a:lvl6pPr marL="12033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6pPr>
            <a:lvl7pPr marL="16605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7pPr>
            <a:lvl8pPr marL="21177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8pPr>
            <a:lvl9pPr marL="25749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a:buClr>
                <a:srgbClr val="002960"/>
              </a:buClr>
            </a:pPr>
            <a:fld id="{E6E8AF0C-7984-4686-B3D2-251DC79CCFD4}" type="datetime'''''''''''''''''''''''''''''''30''''''''''''''''0'''''">
              <a:rPr lang="en-US" sz="1400" b="0">
                <a:solidFill>
                  <a:srgbClr val="000000"/>
                </a:solidFill>
                <a:sym typeface="Arial"/>
              </a:rPr>
              <a:pPr>
                <a:buClr>
                  <a:srgbClr val="002960"/>
                </a:buClr>
              </a:pPr>
              <a:t>300</a:t>
            </a:fld>
            <a:endParaRPr lang="en-US" sz="1400" b="0" dirty="0">
              <a:solidFill>
                <a:srgbClr val="000000"/>
              </a:solidFill>
              <a:sym typeface="Arial"/>
            </a:endParaRPr>
          </a:p>
        </p:txBody>
      </p:sp>
      <p:sp>
        <p:nvSpPr>
          <p:cNvPr id="72" name="Text Placeholder 6"/>
          <p:cNvSpPr>
            <a:spLocks noGrp="1"/>
          </p:cNvSpPr>
          <p:nvPr>
            <p:custDataLst>
              <p:tags r:id="rId26"/>
            </p:custDataLst>
          </p:nvPr>
        </p:nvSpPr>
        <p:spPr bwMode="gray">
          <a:xfrm>
            <a:off x="2978150" y="3613150"/>
            <a:ext cx="339725" cy="2127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22225" tIns="0" rIns="22225" bIns="0" numCol="1" anchor="ctr" anchorCtr="0" compatLnSpc="1">
            <a:prstTxWarp prst="textNoShape">
              <a:avLst/>
            </a:prstTxWarp>
            <a:noAutofit/>
          </a:bodyPr>
          <a:lstStyle>
            <a:lvl1pPr algn="l" defTabSz="895350" rtl="0" fontAlgn="base">
              <a:spcBef>
                <a:spcPct val="0"/>
              </a:spcBef>
              <a:spcAft>
                <a:spcPct val="0"/>
              </a:spcAft>
              <a:buClr>
                <a:schemeClr val="tx2"/>
              </a:buClr>
              <a:defRPr sz="1600">
                <a:solidFill>
                  <a:schemeClr val="tx1"/>
                </a:solidFill>
                <a:latin typeface="+mn-lt"/>
                <a:ea typeface="+mn-ea"/>
                <a:cs typeface="+mn-cs"/>
              </a:defRPr>
            </a:lvl1pPr>
            <a:lvl2pPr marL="193675" indent="-192088" algn="l" defTabSz="895350" rtl="0" fontAlgn="base">
              <a:spcBef>
                <a:spcPct val="0"/>
              </a:spcBef>
              <a:spcAft>
                <a:spcPct val="0"/>
              </a:spcAft>
              <a:buClr>
                <a:schemeClr val="folHlink"/>
              </a:buClr>
              <a:buSzPct val="125000"/>
              <a:buFont typeface="Wingdings" pitchFamily="2" charset="2"/>
              <a:buChar char="§"/>
              <a:defRPr sz="1600">
                <a:solidFill>
                  <a:schemeClr val="tx1"/>
                </a:solidFill>
                <a:latin typeface="+mn-lt"/>
              </a:defRPr>
            </a:lvl2pPr>
            <a:lvl3pPr marL="457200" indent="-261938" algn="l" defTabSz="895350" rtl="0" fontAlgn="base">
              <a:spcBef>
                <a:spcPct val="0"/>
              </a:spcBef>
              <a:spcAft>
                <a:spcPct val="0"/>
              </a:spcAft>
              <a:buClr>
                <a:schemeClr val="folHlink"/>
              </a:buClr>
              <a:buSzPct val="120000"/>
              <a:buFont typeface="Arial" charset="0"/>
              <a:buChar char="̶"/>
              <a:defRPr sz="1600">
                <a:solidFill>
                  <a:schemeClr val="tx1"/>
                </a:solidFill>
                <a:latin typeface="+mn-lt"/>
              </a:defRPr>
            </a:lvl3pPr>
            <a:lvl4pPr marL="614363" indent="-155575" algn="l" defTabSz="895350" rtl="0" fontAlgn="base">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5pPr>
            <a:lvl6pPr marL="12033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6pPr>
            <a:lvl7pPr marL="16605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7pPr>
            <a:lvl8pPr marL="21177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8pPr>
            <a:lvl9pPr marL="25749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a:buClr>
                <a:srgbClr val="002960"/>
              </a:buClr>
            </a:pPr>
            <a:fld id="{E93F4967-5D02-41F6-BEB1-0CC2A4D80F19}" type="datetime'''''''''3''5''''''''''''''''0'''''">
              <a:rPr lang="en-US" sz="1400" b="0">
                <a:solidFill>
                  <a:srgbClr val="000000"/>
                </a:solidFill>
                <a:sym typeface="Arial"/>
              </a:rPr>
              <a:pPr>
                <a:buClr>
                  <a:srgbClr val="002960"/>
                </a:buClr>
              </a:pPr>
              <a:t>350</a:t>
            </a:fld>
            <a:endParaRPr lang="en-US" sz="1400" b="0" dirty="0">
              <a:solidFill>
                <a:srgbClr val="000000"/>
              </a:solidFill>
              <a:sym typeface="Arial"/>
            </a:endParaRPr>
          </a:p>
        </p:txBody>
      </p:sp>
      <p:graphicFrame>
        <p:nvGraphicFramePr>
          <p:cNvPr id="87" name="Object 86"/>
          <p:cNvGraphicFramePr>
            <a:graphicFrameLocks/>
          </p:cNvGraphicFramePr>
          <p:nvPr>
            <p:custDataLst>
              <p:tags r:id="rId27"/>
            </p:custDataLst>
            <p:extLst/>
          </p:nvPr>
        </p:nvGraphicFramePr>
        <p:xfrm>
          <a:off x="4305300" y="1600200"/>
          <a:ext cx="1962285" cy="4591185"/>
        </p:xfrm>
        <a:graphic>
          <a:graphicData uri="http://schemas.openxmlformats.org/presentationml/2006/ole">
            <mc:AlternateContent xmlns:mc="http://schemas.openxmlformats.org/markup-compatibility/2006">
              <mc:Choice xmlns:v="urn:schemas-microsoft-com:vml" Requires="v">
                <p:oleObj spid="_x0000_s304188" name="Chart" r:id="rId46" imgW="1962162" imgH="4590919" progId="MSGraph.Chart.8">
                  <p:embed followColorScheme="full"/>
                </p:oleObj>
              </mc:Choice>
              <mc:Fallback>
                <p:oleObj name="Chart" r:id="rId46" imgW="1962162" imgH="4590919" progId="MSGraph.Chart.8">
                  <p:embed followColorScheme="full"/>
                  <p:pic>
                    <p:nvPicPr>
                      <p:cNvPr id="87" name="Object 86"/>
                      <p:cNvPicPr/>
                      <p:nvPr/>
                    </p:nvPicPr>
                    <p:blipFill>
                      <a:blip r:embed="rId47"/>
                      <a:stretch>
                        <a:fillRect/>
                      </a:stretch>
                    </p:blipFill>
                    <p:spPr>
                      <a:xfrm>
                        <a:off x="4305300" y="1600200"/>
                        <a:ext cx="1962285" cy="4591185"/>
                      </a:xfrm>
                      <a:prstGeom prst="rect">
                        <a:avLst/>
                      </a:prstGeom>
                    </p:spPr>
                  </p:pic>
                </p:oleObj>
              </mc:Fallback>
            </mc:AlternateContent>
          </a:graphicData>
        </a:graphic>
      </p:graphicFrame>
      <p:sp>
        <p:nvSpPr>
          <p:cNvPr id="119" name="Text Placeholder 69"/>
          <p:cNvSpPr>
            <a:spLocks noGrp="1"/>
          </p:cNvSpPr>
          <p:nvPr>
            <p:custDataLst>
              <p:tags r:id="rId28"/>
            </p:custDataLst>
          </p:nvPr>
        </p:nvSpPr>
        <p:spPr bwMode="gray">
          <a:xfrm>
            <a:off x="5321300" y="3975100"/>
            <a:ext cx="339725" cy="2127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22225" tIns="0" rIns="22225" bIns="0" numCol="1" anchor="ctr" anchorCtr="0" compatLnSpc="1">
            <a:prstTxWarp prst="textNoShape">
              <a:avLst/>
            </a:prstTxWarp>
            <a:noAutofit/>
          </a:bodyPr>
          <a:lstStyle>
            <a:lvl1pPr algn="l" defTabSz="895350" rtl="0" fontAlgn="base">
              <a:spcBef>
                <a:spcPct val="0"/>
              </a:spcBef>
              <a:spcAft>
                <a:spcPct val="0"/>
              </a:spcAft>
              <a:buClr>
                <a:schemeClr val="tx2"/>
              </a:buClr>
              <a:defRPr sz="1600">
                <a:solidFill>
                  <a:schemeClr val="tx1"/>
                </a:solidFill>
                <a:latin typeface="+mn-lt"/>
                <a:ea typeface="+mn-ea"/>
                <a:cs typeface="+mn-cs"/>
              </a:defRPr>
            </a:lvl1pPr>
            <a:lvl2pPr marL="193675" indent="-192088" algn="l" defTabSz="895350" rtl="0" fontAlgn="base">
              <a:spcBef>
                <a:spcPct val="0"/>
              </a:spcBef>
              <a:spcAft>
                <a:spcPct val="0"/>
              </a:spcAft>
              <a:buClr>
                <a:schemeClr val="folHlink"/>
              </a:buClr>
              <a:buSzPct val="125000"/>
              <a:buFont typeface="Wingdings" pitchFamily="2" charset="2"/>
              <a:buChar char="§"/>
              <a:defRPr sz="1600">
                <a:solidFill>
                  <a:schemeClr val="tx1"/>
                </a:solidFill>
                <a:latin typeface="+mn-lt"/>
              </a:defRPr>
            </a:lvl2pPr>
            <a:lvl3pPr marL="457200" indent="-261938" algn="l" defTabSz="895350" rtl="0" fontAlgn="base">
              <a:spcBef>
                <a:spcPct val="0"/>
              </a:spcBef>
              <a:spcAft>
                <a:spcPct val="0"/>
              </a:spcAft>
              <a:buClr>
                <a:schemeClr val="folHlink"/>
              </a:buClr>
              <a:buSzPct val="120000"/>
              <a:buFont typeface="Arial" charset="0"/>
              <a:buChar char="̶"/>
              <a:defRPr sz="1600">
                <a:solidFill>
                  <a:schemeClr val="tx1"/>
                </a:solidFill>
                <a:latin typeface="+mn-lt"/>
              </a:defRPr>
            </a:lvl3pPr>
            <a:lvl4pPr marL="614363" indent="-155575" algn="l" defTabSz="895350" rtl="0" fontAlgn="base">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5pPr>
            <a:lvl6pPr marL="12033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6pPr>
            <a:lvl7pPr marL="16605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7pPr>
            <a:lvl8pPr marL="21177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8pPr>
            <a:lvl9pPr marL="25749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a:buClr>
                <a:srgbClr val="002960"/>
              </a:buClr>
            </a:pPr>
            <a:fld id="{BDAEFEF3-F719-4AD4-A7B5-A1A433A5C620}" type="datetime'''''''''''5''''''''''''''''50'''''''''''''''''''''''''''''''">
              <a:rPr lang="en-US" sz="1400" b="0">
                <a:solidFill>
                  <a:srgbClr val="000000"/>
                </a:solidFill>
              </a:rPr>
              <a:pPr>
                <a:buClr>
                  <a:srgbClr val="002960"/>
                </a:buClr>
              </a:pPr>
              <a:t>550</a:t>
            </a:fld>
            <a:endParaRPr lang="en-US" sz="1400" b="0" dirty="0">
              <a:solidFill>
                <a:srgbClr val="000000"/>
              </a:solidFill>
              <a:sym typeface="+mn-lt"/>
            </a:endParaRPr>
          </a:p>
        </p:txBody>
      </p:sp>
      <p:sp>
        <p:nvSpPr>
          <p:cNvPr id="121" name="Text Placeholder 71"/>
          <p:cNvSpPr>
            <a:spLocks noGrp="1"/>
          </p:cNvSpPr>
          <p:nvPr>
            <p:custDataLst>
              <p:tags r:id="rId29"/>
            </p:custDataLst>
          </p:nvPr>
        </p:nvSpPr>
        <p:spPr bwMode="gray">
          <a:xfrm>
            <a:off x="5302250" y="4708525"/>
            <a:ext cx="339725" cy="2127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22225" tIns="0" rIns="22225" bIns="0" numCol="1" anchor="ctr" anchorCtr="0" compatLnSpc="1">
            <a:prstTxWarp prst="textNoShape">
              <a:avLst/>
            </a:prstTxWarp>
            <a:noAutofit/>
          </a:bodyPr>
          <a:lstStyle>
            <a:lvl1pPr algn="l" defTabSz="895350" rtl="0" fontAlgn="base">
              <a:spcBef>
                <a:spcPct val="0"/>
              </a:spcBef>
              <a:spcAft>
                <a:spcPct val="0"/>
              </a:spcAft>
              <a:buClr>
                <a:schemeClr val="tx2"/>
              </a:buClr>
              <a:defRPr sz="1600">
                <a:solidFill>
                  <a:schemeClr val="tx1"/>
                </a:solidFill>
                <a:latin typeface="+mn-lt"/>
                <a:ea typeface="+mn-ea"/>
                <a:cs typeface="+mn-cs"/>
              </a:defRPr>
            </a:lvl1pPr>
            <a:lvl2pPr marL="193675" indent="-192088" algn="l" defTabSz="895350" rtl="0" fontAlgn="base">
              <a:spcBef>
                <a:spcPct val="0"/>
              </a:spcBef>
              <a:spcAft>
                <a:spcPct val="0"/>
              </a:spcAft>
              <a:buClr>
                <a:schemeClr val="folHlink"/>
              </a:buClr>
              <a:buSzPct val="125000"/>
              <a:buFont typeface="Wingdings" pitchFamily="2" charset="2"/>
              <a:buChar char="§"/>
              <a:defRPr sz="1600">
                <a:solidFill>
                  <a:schemeClr val="tx1"/>
                </a:solidFill>
                <a:latin typeface="+mn-lt"/>
              </a:defRPr>
            </a:lvl2pPr>
            <a:lvl3pPr marL="457200" indent="-261938" algn="l" defTabSz="895350" rtl="0" fontAlgn="base">
              <a:spcBef>
                <a:spcPct val="0"/>
              </a:spcBef>
              <a:spcAft>
                <a:spcPct val="0"/>
              </a:spcAft>
              <a:buClr>
                <a:schemeClr val="folHlink"/>
              </a:buClr>
              <a:buSzPct val="120000"/>
              <a:buFont typeface="Arial" charset="0"/>
              <a:buChar char="̶"/>
              <a:defRPr sz="1600">
                <a:solidFill>
                  <a:schemeClr val="tx1"/>
                </a:solidFill>
                <a:latin typeface="+mn-lt"/>
              </a:defRPr>
            </a:lvl3pPr>
            <a:lvl4pPr marL="614363" indent="-155575" algn="l" defTabSz="895350" rtl="0" fontAlgn="base">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5pPr>
            <a:lvl6pPr marL="12033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6pPr>
            <a:lvl7pPr marL="16605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7pPr>
            <a:lvl8pPr marL="21177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8pPr>
            <a:lvl9pPr marL="25749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a:buClr>
                <a:srgbClr val="002960"/>
              </a:buClr>
            </a:pPr>
            <a:fld id="{D8C0EA17-4E61-414C-9F3D-F4F010D5EDED}" type="datetime'''''''''''5''''''''''''''4''''''''''''''''''''''0'''''''''''">
              <a:rPr lang="en-US" sz="1400" b="0">
                <a:solidFill>
                  <a:srgbClr val="000000"/>
                </a:solidFill>
                <a:sym typeface="+mn-lt"/>
              </a:rPr>
              <a:pPr>
                <a:buClr>
                  <a:srgbClr val="002960"/>
                </a:buClr>
              </a:pPr>
              <a:t>540</a:t>
            </a:fld>
            <a:endParaRPr lang="en-US" sz="1400" b="0" dirty="0">
              <a:solidFill>
                <a:srgbClr val="000000"/>
              </a:solidFill>
              <a:sym typeface="+mn-lt"/>
            </a:endParaRPr>
          </a:p>
        </p:txBody>
      </p:sp>
      <p:sp>
        <p:nvSpPr>
          <p:cNvPr id="124" name="Text Placeholder 74"/>
          <p:cNvSpPr>
            <a:spLocks noGrp="1"/>
          </p:cNvSpPr>
          <p:nvPr>
            <p:custDataLst>
              <p:tags r:id="rId30"/>
            </p:custDataLst>
          </p:nvPr>
        </p:nvSpPr>
        <p:spPr bwMode="gray">
          <a:xfrm>
            <a:off x="4845050" y="5803900"/>
            <a:ext cx="339725" cy="2127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22225" tIns="0" rIns="22225" bIns="0" numCol="1" anchor="ctr" anchorCtr="0" compatLnSpc="1">
            <a:prstTxWarp prst="textNoShape">
              <a:avLst/>
            </a:prstTxWarp>
            <a:noAutofit/>
          </a:bodyPr>
          <a:lstStyle>
            <a:lvl1pPr algn="l" defTabSz="895350" rtl="0" fontAlgn="base">
              <a:spcBef>
                <a:spcPct val="0"/>
              </a:spcBef>
              <a:spcAft>
                <a:spcPct val="0"/>
              </a:spcAft>
              <a:buClr>
                <a:schemeClr val="tx2"/>
              </a:buClr>
              <a:defRPr sz="1600">
                <a:solidFill>
                  <a:schemeClr val="tx1"/>
                </a:solidFill>
                <a:latin typeface="+mn-lt"/>
                <a:ea typeface="+mn-ea"/>
                <a:cs typeface="+mn-cs"/>
              </a:defRPr>
            </a:lvl1pPr>
            <a:lvl2pPr marL="193675" indent="-192088" algn="l" defTabSz="895350" rtl="0" fontAlgn="base">
              <a:spcBef>
                <a:spcPct val="0"/>
              </a:spcBef>
              <a:spcAft>
                <a:spcPct val="0"/>
              </a:spcAft>
              <a:buClr>
                <a:schemeClr val="folHlink"/>
              </a:buClr>
              <a:buSzPct val="125000"/>
              <a:buFont typeface="Wingdings" pitchFamily="2" charset="2"/>
              <a:buChar char="§"/>
              <a:defRPr sz="1600">
                <a:solidFill>
                  <a:schemeClr val="tx1"/>
                </a:solidFill>
                <a:latin typeface="+mn-lt"/>
              </a:defRPr>
            </a:lvl2pPr>
            <a:lvl3pPr marL="457200" indent="-261938" algn="l" defTabSz="895350" rtl="0" fontAlgn="base">
              <a:spcBef>
                <a:spcPct val="0"/>
              </a:spcBef>
              <a:spcAft>
                <a:spcPct val="0"/>
              </a:spcAft>
              <a:buClr>
                <a:schemeClr val="folHlink"/>
              </a:buClr>
              <a:buSzPct val="120000"/>
              <a:buFont typeface="Arial" charset="0"/>
              <a:buChar char="̶"/>
              <a:defRPr sz="1600">
                <a:solidFill>
                  <a:schemeClr val="tx1"/>
                </a:solidFill>
                <a:latin typeface="+mn-lt"/>
              </a:defRPr>
            </a:lvl3pPr>
            <a:lvl4pPr marL="614363" indent="-155575" algn="l" defTabSz="895350" rtl="0" fontAlgn="base">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5pPr>
            <a:lvl6pPr marL="12033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6pPr>
            <a:lvl7pPr marL="16605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7pPr>
            <a:lvl8pPr marL="21177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8pPr>
            <a:lvl9pPr marL="25749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a:buClr>
                <a:srgbClr val="002960"/>
              </a:buClr>
            </a:pPr>
            <a:fld id="{6EC69BC3-D78B-4AF4-A631-0E3A118F5F4F}" type="datetime'''2''''5''''''''''0'''''''''''''''''''''''''''''''''''">
              <a:rPr lang="en-US" sz="1400" b="0">
                <a:solidFill>
                  <a:srgbClr val="000000"/>
                </a:solidFill>
                <a:sym typeface="+mn-lt"/>
              </a:rPr>
              <a:pPr>
                <a:buClr>
                  <a:srgbClr val="002960"/>
                </a:buClr>
              </a:pPr>
              <a:t>250</a:t>
            </a:fld>
            <a:endParaRPr lang="en-US" sz="1400" b="0" dirty="0">
              <a:solidFill>
                <a:srgbClr val="000000"/>
              </a:solidFill>
              <a:sym typeface="+mn-lt"/>
            </a:endParaRPr>
          </a:p>
        </p:txBody>
      </p:sp>
      <p:sp>
        <p:nvSpPr>
          <p:cNvPr id="123" name="Text Placeholder 73"/>
          <p:cNvSpPr>
            <a:spLocks noGrp="1"/>
          </p:cNvSpPr>
          <p:nvPr>
            <p:custDataLst>
              <p:tags r:id="rId31"/>
            </p:custDataLst>
          </p:nvPr>
        </p:nvSpPr>
        <p:spPr bwMode="gray">
          <a:xfrm>
            <a:off x="5397500" y="5437188"/>
            <a:ext cx="339725" cy="2127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22225" tIns="0" rIns="22225" bIns="0" numCol="1" anchor="ctr" anchorCtr="0" compatLnSpc="1">
            <a:prstTxWarp prst="textNoShape">
              <a:avLst/>
            </a:prstTxWarp>
            <a:noAutofit/>
          </a:bodyPr>
          <a:lstStyle>
            <a:lvl1pPr algn="l" defTabSz="895350" rtl="0" fontAlgn="base">
              <a:spcBef>
                <a:spcPct val="0"/>
              </a:spcBef>
              <a:spcAft>
                <a:spcPct val="0"/>
              </a:spcAft>
              <a:buClr>
                <a:schemeClr val="tx2"/>
              </a:buClr>
              <a:defRPr sz="1600">
                <a:solidFill>
                  <a:schemeClr val="tx1"/>
                </a:solidFill>
                <a:latin typeface="+mn-lt"/>
                <a:ea typeface="+mn-ea"/>
                <a:cs typeface="+mn-cs"/>
              </a:defRPr>
            </a:lvl1pPr>
            <a:lvl2pPr marL="193675" indent="-192088" algn="l" defTabSz="895350" rtl="0" fontAlgn="base">
              <a:spcBef>
                <a:spcPct val="0"/>
              </a:spcBef>
              <a:spcAft>
                <a:spcPct val="0"/>
              </a:spcAft>
              <a:buClr>
                <a:schemeClr val="folHlink"/>
              </a:buClr>
              <a:buSzPct val="125000"/>
              <a:buFont typeface="Wingdings" pitchFamily="2" charset="2"/>
              <a:buChar char="§"/>
              <a:defRPr sz="1600">
                <a:solidFill>
                  <a:schemeClr val="tx1"/>
                </a:solidFill>
                <a:latin typeface="+mn-lt"/>
              </a:defRPr>
            </a:lvl2pPr>
            <a:lvl3pPr marL="457200" indent="-261938" algn="l" defTabSz="895350" rtl="0" fontAlgn="base">
              <a:spcBef>
                <a:spcPct val="0"/>
              </a:spcBef>
              <a:spcAft>
                <a:spcPct val="0"/>
              </a:spcAft>
              <a:buClr>
                <a:schemeClr val="folHlink"/>
              </a:buClr>
              <a:buSzPct val="120000"/>
              <a:buFont typeface="Arial" charset="0"/>
              <a:buChar char="̶"/>
              <a:defRPr sz="1600">
                <a:solidFill>
                  <a:schemeClr val="tx1"/>
                </a:solidFill>
                <a:latin typeface="+mn-lt"/>
              </a:defRPr>
            </a:lvl3pPr>
            <a:lvl4pPr marL="614363" indent="-155575" algn="l" defTabSz="895350" rtl="0" fontAlgn="base">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5pPr>
            <a:lvl6pPr marL="12033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6pPr>
            <a:lvl7pPr marL="16605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7pPr>
            <a:lvl8pPr marL="21177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8pPr>
            <a:lvl9pPr marL="25749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a:buClr>
                <a:srgbClr val="002960"/>
              </a:buClr>
            </a:pPr>
            <a:fld id="{6EBE86A8-3A24-47A0-A46F-E2D681BEE67D}" type="datetime'''''''''''''''''''''''''''6''0''''''''''''''''''''''0'''''''''">
              <a:rPr lang="en-US" sz="1400" b="0">
                <a:solidFill>
                  <a:srgbClr val="000000"/>
                </a:solidFill>
                <a:sym typeface="+mn-lt"/>
              </a:rPr>
              <a:pPr>
                <a:buClr>
                  <a:srgbClr val="002960"/>
                </a:buClr>
              </a:pPr>
              <a:t>600</a:t>
            </a:fld>
            <a:endParaRPr lang="en-US" sz="1400" b="0" dirty="0">
              <a:solidFill>
                <a:srgbClr val="000000"/>
              </a:solidFill>
              <a:sym typeface="+mn-lt"/>
            </a:endParaRPr>
          </a:p>
        </p:txBody>
      </p:sp>
      <p:sp>
        <p:nvSpPr>
          <p:cNvPr id="122" name="Text Placeholder 72"/>
          <p:cNvSpPr>
            <a:spLocks noGrp="1"/>
          </p:cNvSpPr>
          <p:nvPr>
            <p:custDataLst>
              <p:tags r:id="rId32"/>
            </p:custDataLst>
          </p:nvPr>
        </p:nvSpPr>
        <p:spPr bwMode="gray">
          <a:xfrm>
            <a:off x="5083175" y="5070475"/>
            <a:ext cx="339725" cy="2127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22225" tIns="0" rIns="22225" bIns="0" numCol="1" anchor="ctr" anchorCtr="0" compatLnSpc="1">
            <a:prstTxWarp prst="textNoShape">
              <a:avLst/>
            </a:prstTxWarp>
            <a:noAutofit/>
          </a:bodyPr>
          <a:lstStyle>
            <a:lvl1pPr algn="l" defTabSz="895350" rtl="0" fontAlgn="base">
              <a:spcBef>
                <a:spcPct val="0"/>
              </a:spcBef>
              <a:spcAft>
                <a:spcPct val="0"/>
              </a:spcAft>
              <a:buClr>
                <a:schemeClr val="tx2"/>
              </a:buClr>
              <a:defRPr sz="1600">
                <a:solidFill>
                  <a:schemeClr val="tx1"/>
                </a:solidFill>
                <a:latin typeface="+mn-lt"/>
                <a:ea typeface="+mn-ea"/>
                <a:cs typeface="+mn-cs"/>
              </a:defRPr>
            </a:lvl1pPr>
            <a:lvl2pPr marL="193675" indent="-192088" algn="l" defTabSz="895350" rtl="0" fontAlgn="base">
              <a:spcBef>
                <a:spcPct val="0"/>
              </a:spcBef>
              <a:spcAft>
                <a:spcPct val="0"/>
              </a:spcAft>
              <a:buClr>
                <a:schemeClr val="folHlink"/>
              </a:buClr>
              <a:buSzPct val="125000"/>
              <a:buFont typeface="Wingdings" pitchFamily="2" charset="2"/>
              <a:buChar char="§"/>
              <a:defRPr sz="1600">
                <a:solidFill>
                  <a:schemeClr val="tx1"/>
                </a:solidFill>
                <a:latin typeface="+mn-lt"/>
              </a:defRPr>
            </a:lvl2pPr>
            <a:lvl3pPr marL="457200" indent="-261938" algn="l" defTabSz="895350" rtl="0" fontAlgn="base">
              <a:spcBef>
                <a:spcPct val="0"/>
              </a:spcBef>
              <a:spcAft>
                <a:spcPct val="0"/>
              </a:spcAft>
              <a:buClr>
                <a:schemeClr val="folHlink"/>
              </a:buClr>
              <a:buSzPct val="120000"/>
              <a:buFont typeface="Arial" charset="0"/>
              <a:buChar char="̶"/>
              <a:defRPr sz="1600">
                <a:solidFill>
                  <a:schemeClr val="tx1"/>
                </a:solidFill>
                <a:latin typeface="+mn-lt"/>
              </a:defRPr>
            </a:lvl3pPr>
            <a:lvl4pPr marL="614363" indent="-155575" algn="l" defTabSz="895350" rtl="0" fontAlgn="base">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5pPr>
            <a:lvl6pPr marL="12033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6pPr>
            <a:lvl7pPr marL="16605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7pPr>
            <a:lvl8pPr marL="21177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8pPr>
            <a:lvl9pPr marL="25749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a:buClr>
                <a:srgbClr val="002960"/>
              </a:buClr>
            </a:pPr>
            <a:fld id="{5A31D13E-CABD-4677-9930-63A8980E1275}" type="datetime'''4''''''''''''''''''00'''''''''''''''''''">
              <a:rPr lang="en-US" sz="1400" b="0">
                <a:solidFill>
                  <a:srgbClr val="000000"/>
                </a:solidFill>
                <a:sym typeface="+mn-lt"/>
              </a:rPr>
              <a:pPr>
                <a:buClr>
                  <a:srgbClr val="002960"/>
                </a:buClr>
              </a:pPr>
              <a:t>400</a:t>
            </a:fld>
            <a:endParaRPr lang="en-US" sz="1400" b="0" dirty="0">
              <a:solidFill>
                <a:srgbClr val="000000"/>
              </a:solidFill>
              <a:sym typeface="+mn-lt"/>
            </a:endParaRPr>
          </a:p>
        </p:txBody>
      </p:sp>
      <p:sp>
        <p:nvSpPr>
          <p:cNvPr id="120" name="Text Placeholder 70"/>
          <p:cNvSpPr>
            <a:spLocks noGrp="1"/>
          </p:cNvSpPr>
          <p:nvPr>
            <p:custDataLst>
              <p:tags r:id="rId33"/>
            </p:custDataLst>
          </p:nvPr>
        </p:nvSpPr>
        <p:spPr bwMode="gray">
          <a:xfrm>
            <a:off x="5949950" y="4341813"/>
            <a:ext cx="339725" cy="2127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22225" tIns="0" rIns="22225" bIns="0" numCol="1" anchor="ctr" anchorCtr="0" compatLnSpc="1">
            <a:prstTxWarp prst="textNoShape">
              <a:avLst/>
            </a:prstTxWarp>
            <a:noAutofit/>
          </a:bodyPr>
          <a:lstStyle>
            <a:lvl1pPr algn="l" defTabSz="895350" rtl="0" fontAlgn="base">
              <a:spcBef>
                <a:spcPct val="0"/>
              </a:spcBef>
              <a:spcAft>
                <a:spcPct val="0"/>
              </a:spcAft>
              <a:buClr>
                <a:schemeClr val="tx2"/>
              </a:buClr>
              <a:defRPr sz="1600">
                <a:solidFill>
                  <a:schemeClr val="tx1"/>
                </a:solidFill>
                <a:latin typeface="+mn-lt"/>
                <a:ea typeface="+mn-ea"/>
                <a:cs typeface="+mn-cs"/>
              </a:defRPr>
            </a:lvl1pPr>
            <a:lvl2pPr marL="193675" indent="-192088" algn="l" defTabSz="895350" rtl="0" fontAlgn="base">
              <a:spcBef>
                <a:spcPct val="0"/>
              </a:spcBef>
              <a:spcAft>
                <a:spcPct val="0"/>
              </a:spcAft>
              <a:buClr>
                <a:schemeClr val="folHlink"/>
              </a:buClr>
              <a:buSzPct val="125000"/>
              <a:buFont typeface="Wingdings" pitchFamily="2" charset="2"/>
              <a:buChar char="§"/>
              <a:defRPr sz="1600">
                <a:solidFill>
                  <a:schemeClr val="tx1"/>
                </a:solidFill>
                <a:latin typeface="+mn-lt"/>
              </a:defRPr>
            </a:lvl2pPr>
            <a:lvl3pPr marL="457200" indent="-261938" algn="l" defTabSz="895350" rtl="0" fontAlgn="base">
              <a:spcBef>
                <a:spcPct val="0"/>
              </a:spcBef>
              <a:spcAft>
                <a:spcPct val="0"/>
              </a:spcAft>
              <a:buClr>
                <a:schemeClr val="folHlink"/>
              </a:buClr>
              <a:buSzPct val="120000"/>
              <a:buFont typeface="Arial" charset="0"/>
              <a:buChar char="̶"/>
              <a:defRPr sz="1600">
                <a:solidFill>
                  <a:schemeClr val="tx1"/>
                </a:solidFill>
                <a:latin typeface="+mn-lt"/>
              </a:defRPr>
            </a:lvl3pPr>
            <a:lvl4pPr marL="614363" indent="-155575" algn="l" defTabSz="895350" rtl="0" fontAlgn="base">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5pPr>
            <a:lvl6pPr marL="12033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6pPr>
            <a:lvl7pPr marL="16605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7pPr>
            <a:lvl8pPr marL="21177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8pPr>
            <a:lvl9pPr marL="25749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a:buClr>
                <a:srgbClr val="002960"/>
              </a:buClr>
            </a:pPr>
            <a:fld id="{61DD3086-14F3-463A-8E6C-9493C2DC7787}" type="datetime'9''5''''''''''''''''''''''''''''0'''''''">
              <a:rPr lang="en-US" sz="1400" b="0">
                <a:solidFill>
                  <a:srgbClr val="000000"/>
                </a:solidFill>
              </a:rPr>
              <a:pPr>
                <a:buClr>
                  <a:srgbClr val="002960"/>
                </a:buClr>
              </a:pPr>
              <a:t>950</a:t>
            </a:fld>
            <a:endParaRPr lang="en-US" sz="1400" b="0" dirty="0">
              <a:solidFill>
                <a:srgbClr val="000000"/>
              </a:solidFill>
              <a:sym typeface="+mn-lt"/>
            </a:endParaRPr>
          </a:p>
        </p:txBody>
      </p:sp>
      <p:sp>
        <p:nvSpPr>
          <p:cNvPr id="117" name="Text Placeholder 67"/>
          <p:cNvSpPr>
            <a:spLocks noGrp="1"/>
          </p:cNvSpPr>
          <p:nvPr>
            <p:custDataLst>
              <p:tags r:id="rId34"/>
            </p:custDataLst>
          </p:nvPr>
        </p:nvSpPr>
        <p:spPr bwMode="gray">
          <a:xfrm>
            <a:off x="4921250" y="3246438"/>
            <a:ext cx="339725" cy="2127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22225" tIns="0" rIns="22225" bIns="0" numCol="1" anchor="ctr" anchorCtr="0" compatLnSpc="1">
            <a:prstTxWarp prst="textNoShape">
              <a:avLst/>
            </a:prstTxWarp>
            <a:noAutofit/>
          </a:bodyPr>
          <a:lstStyle>
            <a:lvl1pPr algn="l" defTabSz="895350" rtl="0" fontAlgn="base">
              <a:spcBef>
                <a:spcPct val="0"/>
              </a:spcBef>
              <a:spcAft>
                <a:spcPct val="0"/>
              </a:spcAft>
              <a:buClr>
                <a:schemeClr val="tx2"/>
              </a:buClr>
              <a:defRPr sz="1600">
                <a:solidFill>
                  <a:schemeClr val="tx1"/>
                </a:solidFill>
                <a:latin typeface="+mn-lt"/>
                <a:ea typeface="+mn-ea"/>
                <a:cs typeface="+mn-cs"/>
              </a:defRPr>
            </a:lvl1pPr>
            <a:lvl2pPr marL="193675" indent="-192088" algn="l" defTabSz="895350" rtl="0" fontAlgn="base">
              <a:spcBef>
                <a:spcPct val="0"/>
              </a:spcBef>
              <a:spcAft>
                <a:spcPct val="0"/>
              </a:spcAft>
              <a:buClr>
                <a:schemeClr val="folHlink"/>
              </a:buClr>
              <a:buSzPct val="125000"/>
              <a:buFont typeface="Wingdings" pitchFamily="2" charset="2"/>
              <a:buChar char="§"/>
              <a:defRPr sz="1600">
                <a:solidFill>
                  <a:schemeClr val="tx1"/>
                </a:solidFill>
                <a:latin typeface="+mn-lt"/>
              </a:defRPr>
            </a:lvl2pPr>
            <a:lvl3pPr marL="457200" indent="-261938" algn="l" defTabSz="895350" rtl="0" fontAlgn="base">
              <a:spcBef>
                <a:spcPct val="0"/>
              </a:spcBef>
              <a:spcAft>
                <a:spcPct val="0"/>
              </a:spcAft>
              <a:buClr>
                <a:schemeClr val="folHlink"/>
              </a:buClr>
              <a:buSzPct val="120000"/>
              <a:buFont typeface="Arial" charset="0"/>
              <a:buChar char="̶"/>
              <a:defRPr sz="1600">
                <a:solidFill>
                  <a:schemeClr val="tx1"/>
                </a:solidFill>
                <a:latin typeface="+mn-lt"/>
              </a:defRPr>
            </a:lvl3pPr>
            <a:lvl4pPr marL="614363" indent="-155575" algn="l" defTabSz="895350" rtl="0" fontAlgn="base">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5pPr>
            <a:lvl6pPr marL="12033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6pPr>
            <a:lvl7pPr marL="16605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7pPr>
            <a:lvl8pPr marL="21177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8pPr>
            <a:lvl9pPr marL="25749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a:buClr>
                <a:srgbClr val="002960"/>
              </a:buClr>
            </a:pPr>
            <a:fld id="{DE5A25BA-324C-4DA7-B78F-9CC07FC84FEA}" type="datetime'''''''''''''''3''''''''''0''''''''''''''''''''''0'''''''">
              <a:rPr lang="en-US" sz="1400" b="0">
                <a:solidFill>
                  <a:srgbClr val="000000"/>
                </a:solidFill>
                <a:sym typeface="+mn-lt"/>
              </a:rPr>
              <a:pPr>
                <a:buClr>
                  <a:srgbClr val="002960"/>
                </a:buClr>
              </a:pPr>
              <a:t>300</a:t>
            </a:fld>
            <a:endParaRPr lang="en-US" sz="1400" b="0" dirty="0">
              <a:solidFill>
                <a:srgbClr val="000000"/>
              </a:solidFill>
              <a:sym typeface="+mn-lt"/>
            </a:endParaRPr>
          </a:p>
        </p:txBody>
      </p:sp>
      <p:sp>
        <p:nvSpPr>
          <p:cNvPr id="116" name="Text Placeholder 66"/>
          <p:cNvSpPr>
            <a:spLocks noGrp="1"/>
          </p:cNvSpPr>
          <p:nvPr>
            <p:custDataLst>
              <p:tags r:id="rId35"/>
            </p:custDataLst>
          </p:nvPr>
        </p:nvSpPr>
        <p:spPr bwMode="gray">
          <a:xfrm>
            <a:off x="4683125" y="2879725"/>
            <a:ext cx="339725" cy="2127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22225" tIns="0" rIns="22225" bIns="0" numCol="1" anchor="ctr" anchorCtr="0" compatLnSpc="1">
            <a:prstTxWarp prst="textNoShape">
              <a:avLst/>
            </a:prstTxWarp>
            <a:noAutofit/>
          </a:bodyPr>
          <a:lstStyle>
            <a:lvl1pPr algn="l" defTabSz="895350" rtl="0" fontAlgn="base">
              <a:spcBef>
                <a:spcPct val="0"/>
              </a:spcBef>
              <a:spcAft>
                <a:spcPct val="0"/>
              </a:spcAft>
              <a:buClr>
                <a:schemeClr val="tx2"/>
              </a:buClr>
              <a:defRPr sz="1600">
                <a:solidFill>
                  <a:schemeClr val="tx1"/>
                </a:solidFill>
                <a:latin typeface="+mn-lt"/>
                <a:ea typeface="+mn-ea"/>
                <a:cs typeface="+mn-cs"/>
              </a:defRPr>
            </a:lvl1pPr>
            <a:lvl2pPr marL="193675" indent="-192088" algn="l" defTabSz="895350" rtl="0" fontAlgn="base">
              <a:spcBef>
                <a:spcPct val="0"/>
              </a:spcBef>
              <a:spcAft>
                <a:spcPct val="0"/>
              </a:spcAft>
              <a:buClr>
                <a:schemeClr val="folHlink"/>
              </a:buClr>
              <a:buSzPct val="125000"/>
              <a:buFont typeface="Wingdings" pitchFamily="2" charset="2"/>
              <a:buChar char="§"/>
              <a:defRPr sz="1600">
                <a:solidFill>
                  <a:schemeClr val="tx1"/>
                </a:solidFill>
                <a:latin typeface="+mn-lt"/>
              </a:defRPr>
            </a:lvl2pPr>
            <a:lvl3pPr marL="457200" indent="-261938" algn="l" defTabSz="895350" rtl="0" fontAlgn="base">
              <a:spcBef>
                <a:spcPct val="0"/>
              </a:spcBef>
              <a:spcAft>
                <a:spcPct val="0"/>
              </a:spcAft>
              <a:buClr>
                <a:schemeClr val="folHlink"/>
              </a:buClr>
              <a:buSzPct val="120000"/>
              <a:buFont typeface="Arial" charset="0"/>
              <a:buChar char="̶"/>
              <a:defRPr sz="1600">
                <a:solidFill>
                  <a:schemeClr val="tx1"/>
                </a:solidFill>
                <a:latin typeface="+mn-lt"/>
              </a:defRPr>
            </a:lvl3pPr>
            <a:lvl4pPr marL="614363" indent="-155575" algn="l" defTabSz="895350" rtl="0" fontAlgn="base">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5pPr>
            <a:lvl6pPr marL="12033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6pPr>
            <a:lvl7pPr marL="16605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7pPr>
            <a:lvl8pPr marL="21177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8pPr>
            <a:lvl9pPr marL="25749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a:buClr>
                <a:srgbClr val="002960"/>
              </a:buClr>
            </a:pPr>
            <a:fld id="{BEB77C31-7EA4-4409-8C5D-9A7DDAA58D8C}" type="datetime'''''1''''''''''''''''''''''''''''''''''5''''''''0'''''">
              <a:rPr lang="en-US" sz="1400" b="0">
                <a:solidFill>
                  <a:srgbClr val="000000"/>
                </a:solidFill>
                <a:sym typeface="+mn-lt"/>
              </a:rPr>
              <a:pPr>
                <a:buClr>
                  <a:srgbClr val="002960"/>
                </a:buClr>
              </a:pPr>
              <a:t>150</a:t>
            </a:fld>
            <a:endParaRPr lang="en-US" sz="1400" b="0" dirty="0">
              <a:solidFill>
                <a:srgbClr val="000000"/>
              </a:solidFill>
              <a:sym typeface="+mn-lt"/>
            </a:endParaRPr>
          </a:p>
        </p:txBody>
      </p:sp>
      <p:sp>
        <p:nvSpPr>
          <p:cNvPr id="115" name="Text Placeholder 65"/>
          <p:cNvSpPr>
            <a:spLocks noGrp="1"/>
          </p:cNvSpPr>
          <p:nvPr>
            <p:custDataLst>
              <p:tags r:id="rId36"/>
            </p:custDataLst>
          </p:nvPr>
        </p:nvSpPr>
        <p:spPr bwMode="gray">
          <a:xfrm>
            <a:off x="5235575" y="2517775"/>
            <a:ext cx="339725" cy="2127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22225" tIns="0" rIns="22225" bIns="0" numCol="1" anchor="ctr" anchorCtr="0" compatLnSpc="1">
            <a:prstTxWarp prst="textNoShape">
              <a:avLst/>
            </a:prstTxWarp>
            <a:noAutofit/>
          </a:bodyPr>
          <a:lstStyle>
            <a:lvl1pPr algn="l" defTabSz="895350" rtl="0" fontAlgn="base">
              <a:spcBef>
                <a:spcPct val="0"/>
              </a:spcBef>
              <a:spcAft>
                <a:spcPct val="0"/>
              </a:spcAft>
              <a:buClr>
                <a:schemeClr val="tx2"/>
              </a:buClr>
              <a:defRPr sz="1600">
                <a:solidFill>
                  <a:schemeClr val="tx1"/>
                </a:solidFill>
                <a:latin typeface="+mn-lt"/>
                <a:ea typeface="+mn-ea"/>
                <a:cs typeface="+mn-cs"/>
              </a:defRPr>
            </a:lvl1pPr>
            <a:lvl2pPr marL="193675" indent="-192088" algn="l" defTabSz="895350" rtl="0" fontAlgn="base">
              <a:spcBef>
                <a:spcPct val="0"/>
              </a:spcBef>
              <a:spcAft>
                <a:spcPct val="0"/>
              </a:spcAft>
              <a:buClr>
                <a:schemeClr val="folHlink"/>
              </a:buClr>
              <a:buSzPct val="125000"/>
              <a:buFont typeface="Wingdings" pitchFamily="2" charset="2"/>
              <a:buChar char="§"/>
              <a:defRPr sz="1600">
                <a:solidFill>
                  <a:schemeClr val="tx1"/>
                </a:solidFill>
                <a:latin typeface="+mn-lt"/>
              </a:defRPr>
            </a:lvl2pPr>
            <a:lvl3pPr marL="457200" indent="-261938" algn="l" defTabSz="895350" rtl="0" fontAlgn="base">
              <a:spcBef>
                <a:spcPct val="0"/>
              </a:spcBef>
              <a:spcAft>
                <a:spcPct val="0"/>
              </a:spcAft>
              <a:buClr>
                <a:schemeClr val="folHlink"/>
              </a:buClr>
              <a:buSzPct val="120000"/>
              <a:buFont typeface="Arial" charset="0"/>
              <a:buChar char="̶"/>
              <a:defRPr sz="1600">
                <a:solidFill>
                  <a:schemeClr val="tx1"/>
                </a:solidFill>
                <a:latin typeface="+mn-lt"/>
              </a:defRPr>
            </a:lvl3pPr>
            <a:lvl4pPr marL="614363" indent="-155575" algn="l" defTabSz="895350" rtl="0" fontAlgn="base">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5pPr>
            <a:lvl6pPr marL="12033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6pPr>
            <a:lvl7pPr marL="16605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7pPr>
            <a:lvl8pPr marL="21177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8pPr>
            <a:lvl9pPr marL="25749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a:buClr>
                <a:srgbClr val="002960"/>
              </a:buClr>
            </a:pPr>
            <a:fld id="{958163EE-7276-4619-B223-FF1396F38AF3}" type="datetime'''''''''''''5''''''''''''''''0''''''0'''''''''''''''">
              <a:rPr lang="en-US" sz="1400" b="0">
                <a:solidFill>
                  <a:srgbClr val="000000"/>
                </a:solidFill>
                <a:sym typeface="+mn-lt"/>
              </a:rPr>
              <a:pPr>
                <a:buClr>
                  <a:srgbClr val="002960"/>
                </a:buClr>
              </a:pPr>
              <a:t>500</a:t>
            </a:fld>
            <a:endParaRPr lang="en-US" sz="1400" b="0" dirty="0">
              <a:solidFill>
                <a:srgbClr val="000000"/>
              </a:solidFill>
              <a:sym typeface="+mn-lt"/>
            </a:endParaRPr>
          </a:p>
        </p:txBody>
      </p:sp>
      <p:sp>
        <p:nvSpPr>
          <p:cNvPr id="114" name="Text Placeholder 64"/>
          <p:cNvSpPr>
            <a:spLocks noGrp="1"/>
          </p:cNvSpPr>
          <p:nvPr>
            <p:custDataLst>
              <p:tags r:id="rId37"/>
            </p:custDataLst>
          </p:nvPr>
        </p:nvSpPr>
        <p:spPr bwMode="gray">
          <a:xfrm>
            <a:off x="6188075" y="2151063"/>
            <a:ext cx="487363" cy="2127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22225" tIns="0" rIns="22225" bIns="0" numCol="1" anchor="ctr" anchorCtr="0" compatLnSpc="1">
            <a:prstTxWarp prst="textNoShape">
              <a:avLst/>
            </a:prstTxWarp>
            <a:noAutofit/>
          </a:bodyPr>
          <a:lstStyle>
            <a:lvl1pPr algn="l" defTabSz="895350" rtl="0" fontAlgn="base">
              <a:spcBef>
                <a:spcPct val="0"/>
              </a:spcBef>
              <a:spcAft>
                <a:spcPct val="0"/>
              </a:spcAft>
              <a:buClr>
                <a:schemeClr val="tx2"/>
              </a:buClr>
              <a:defRPr sz="1600">
                <a:solidFill>
                  <a:schemeClr val="tx1"/>
                </a:solidFill>
                <a:latin typeface="+mn-lt"/>
                <a:ea typeface="+mn-ea"/>
                <a:cs typeface="+mn-cs"/>
              </a:defRPr>
            </a:lvl1pPr>
            <a:lvl2pPr marL="193675" indent="-192088" algn="l" defTabSz="895350" rtl="0" fontAlgn="base">
              <a:spcBef>
                <a:spcPct val="0"/>
              </a:spcBef>
              <a:spcAft>
                <a:spcPct val="0"/>
              </a:spcAft>
              <a:buClr>
                <a:schemeClr val="folHlink"/>
              </a:buClr>
              <a:buSzPct val="125000"/>
              <a:buFont typeface="Wingdings" pitchFamily="2" charset="2"/>
              <a:buChar char="§"/>
              <a:defRPr sz="1600">
                <a:solidFill>
                  <a:schemeClr val="tx1"/>
                </a:solidFill>
                <a:latin typeface="+mn-lt"/>
              </a:defRPr>
            </a:lvl2pPr>
            <a:lvl3pPr marL="457200" indent="-261938" algn="l" defTabSz="895350" rtl="0" fontAlgn="base">
              <a:spcBef>
                <a:spcPct val="0"/>
              </a:spcBef>
              <a:spcAft>
                <a:spcPct val="0"/>
              </a:spcAft>
              <a:buClr>
                <a:schemeClr val="folHlink"/>
              </a:buClr>
              <a:buSzPct val="120000"/>
              <a:buFont typeface="Arial" charset="0"/>
              <a:buChar char="̶"/>
              <a:defRPr sz="1600">
                <a:solidFill>
                  <a:schemeClr val="tx1"/>
                </a:solidFill>
                <a:latin typeface="+mn-lt"/>
              </a:defRPr>
            </a:lvl3pPr>
            <a:lvl4pPr marL="614363" indent="-155575" algn="l" defTabSz="895350" rtl="0" fontAlgn="base">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5pPr>
            <a:lvl6pPr marL="12033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6pPr>
            <a:lvl7pPr marL="16605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7pPr>
            <a:lvl8pPr marL="21177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8pPr>
            <a:lvl9pPr marL="25749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a:buClr>
                <a:srgbClr val="002960"/>
              </a:buClr>
            </a:pPr>
            <a:fld id="{E9869D63-18F3-4086-A95A-198CAB6922BC}" type="datetime'''1,''''''1''''''''''''''''''''''''''''00'''''''''''''''''">
              <a:rPr lang="en-US" sz="1400" b="0">
                <a:solidFill>
                  <a:srgbClr val="000000"/>
                </a:solidFill>
                <a:sym typeface="+mn-lt"/>
              </a:rPr>
              <a:pPr>
                <a:buClr>
                  <a:srgbClr val="002960"/>
                </a:buClr>
              </a:pPr>
              <a:t>1,100</a:t>
            </a:fld>
            <a:endParaRPr lang="en-US" sz="1400" b="0" dirty="0">
              <a:solidFill>
                <a:srgbClr val="000000"/>
              </a:solidFill>
              <a:sym typeface="+mn-lt"/>
            </a:endParaRPr>
          </a:p>
        </p:txBody>
      </p:sp>
      <p:sp>
        <p:nvSpPr>
          <p:cNvPr id="113" name="Text Placeholder 63"/>
          <p:cNvSpPr>
            <a:spLocks noGrp="1"/>
          </p:cNvSpPr>
          <p:nvPr>
            <p:custDataLst>
              <p:tags r:id="rId38"/>
            </p:custDataLst>
          </p:nvPr>
        </p:nvSpPr>
        <p:spPr bwMode="gray">
          <a:xfrm>
            <a:off x="4921250" y="1784350"/>
            <a:ext cx="339725" cy="2127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22225" tIns="0" rIns="22225" bIns="0" numCol="1" anchor="ctr" anchorCtr="0" compatLnSpc="1">
            <a:prstTxWarp prst="textNoShape">
              <a:avLst/>
            </a:prstTxWarp>
            <a:noAutofit/>
          </a:bodyPr>
          <a:lstStyle>
            <a:lvl1pPr algn="l" defTabSz="895350" rtl="0" fontAlgn="base">
              <a:spcBef>
                <a:spcPct val="0"/>
              </a:spcBef>
              <a:spcAft>
                <a:spcPct val="0"/>
              </a:spcAft>
              <a:buClr>
                <a:schemeClr val="tx2"/>
              </a:buClr>
              <a:defRPr sz="1600">
                <a:solidFill>
                  <a:schemeClr val="tx1"/>
                </a:solidFill>
                <a:latin typeface="+mn-lt"/>
                <a:ea typeface="+mn-ea"/>
                <a:cs typeface="+mn-cs"/>
              </a:defRPr>
            </a:lvl1pPr>
            <a:lvl2pPr marL="193675" indent="-192088" algn="l" defTabSz="895350" rtl="0" fontAlgn="base">
              <a:spcBef>
                <a:spcPct val="0"/>
              </a:spcBef>
              <a:spcAft>
                <a:spcPct val="0"/>
              </a:spcAft>
              <a:buClr>
                <a:schemeClr val="folHlink"/>
              </a:buClr>
              <a:buSzPct val="125000"/>
              <a:buFont typeface="Wingdings" pitchFamily="2" charset="2"/>
              <a:buChar char="§"/>
              <a:defRPr sz="1600">
                <a:solidFill>
                  <a:schemeClr val="tx1"/>
                </a:solidFill>
                <a:latin typeface="+mn-lt"/>
              </a:defRPr>
            </a:lvl2pPr>
            <a:lvl3pPr marL="457200" indent="-261938" algn="l" defTabSz="895350" rtl="0" fontAlgn="base">
              <a:spcBef>
                <a:spcPct val="0"/>
              </a:spcBef>
              <a:spcAft>
                <a:spcPct val="0"/>
              </a:spcAft>
              <a:buClr>
                <a:schemeClr val="folHlink"/>
              </a:buClr>
              <a:buSzPct val="120000"/>
              <a:buFont typeface="Arial" charset="0"/>
              <a:buChar char="̶"/>
              <a:defRPr sz="1600">
                <a:solidFill>
                  <a:schemeClr val="tx1"/>
                </a:solidFill>
                <a:latin typeface="+mn-lt"/>
              </a:defRPr>
            </a:lvl3pPr>
            <a:lvl4pPr marL="614363" indent="-155575" algn="l" defTabSz="895350" rtl="0" fontAlgn="base">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5pPr>
            <a:lvl6pPr marL="12033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6pPr>
            <a:lvl7pPr marL="16605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7pPr>
            <a:lvl8pPr marL="21177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8pPr>
            <a:lvl9pPr marL="25749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a:buClr>
                <a:srgbClr val="002960"/>
              </a:buClr>
            </a:pPr>
            <a:fld id="{B0CAAD2D-BCBD-4FBA-937A-4E1AB5F78535}" type="datetime'''3''''0''''0'''''''">
              <a:rPr lang="en-US" sz="1400" b="0">
                <a:solidFill>
                  <a:srgbClr val="000000"/>
                </a:solidFill>
                <a:sym typeface="+mn-lt"/>
              </a:rPr>
              <a:pPr>
                <a:buClr>
                  <a:srgbClr val="002960"/>
                </a:buClr>
              </a:pPr>
              <a:t>300</a:t>
            </a:fld>
            <a:endParaRPr lang="en-US" sz="1400" b="0" dirty="0">
              <a:solidFill>
                <a:srgbClr val="000000"/>
              </a:solidFill>
              <a:sym typeface="+mn-lt"/>
            </a:endParaRPr>
          </a:p>
        </p:txBody>
      </p:sp>
      <p:sp>
        <p:nvSpPr>
          <p:cNvPr id="118" name="Text Placeholder 68"/>
          <p:cNvSpPr>
            <a:spLocks noGrp="1"/>
          </p:cNvSpPr>
          <p:nvPr>
            <p:custDataLst>
              <p:tags r:id="rId39"/>
            </p:custDataLst>
          </p:nvPr>
        </p:nvSpPr>
        <p:spPr bwMode="gray">
          <a:xfrm>
            <a:off x="6026150" y="3613150"/>
            <a:ext cx="487363" cy="2127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22225" tIns="0" rIns="22225" bIns="0" numCol="1" anchor="ctr" anchorCtr="0" compatLnSpc="1">
            <a:prstTxWarp prst="textNoShape">
              <a:avLst/>
            </a:prstTxWarp>
            <a:noAutofit/>
          </a:bodyPr>
          <a:lstStyle>
            <a:lvl1pPr algn="l" defTabSz="895350" rtl="0" fontAlgn="base">
              <a:spcBef>
                <a:spcPct val="0"/>
              </a:spcBef>
              <a:spcAft>
                <a:spcPct val="0"/>
              </a:spcAft>
              <a:buClr>
                <a:schemeClr val="tx2"/>
              </a:buClr>
              <a:defRPr sz="1600">
                <a:solidFill>
                  <a:schemeClr val="tx1"/>
                </a:solidFill>
                <a:latin typeface="+mn-lt"/>
                <a:ea typeface="+mn-ea"/>
                <a:cs typeface="+mn-cs"/>
              </a:defRPr>
            </a:lvl1pPr>
            <a:lvl2pPr marL="193675" indent="-192088" algn="l" defTabSz="895350" rtl="0" fontAlgn="base">
              <a:spcBef>
                <a:spcPct val="0"/>
              </a:spcBef>
              <a:spcAft>
                <a:spcPct val="0"/>
              </a:spcAft>
              <a:buClr>
                <a:schemeClr val="folHlink"/>
              </a:buClr>
              <a:buSzPct val="125000"/>
              <a:buFont typeface="Wingdings" pitchFamily="2" charset="2"/>
              <a:buChar char="§"/>
              <a:defRPr sz="1600">
                <a:solidFill>
                  <a:schemeClr val="tx1"/>
                </a:solidFill>
                <a:latin typeface="+mn-lt"/>
              </a:defRPr>
            </a:lvl2pPr>
            <a:lvl3pPr marL="457200" indent="-261938" algn="l" defTabSz="895350" rtl="0" fontAlgn="base">
              <a:spcBef>
                <a:spcPct val="0"/>
              </a:spcBef>
              <a:spcAft>
                <a:spcPct val="0"/>
              </a:spcAft>
              <a:buClr>
                <a:schemeClr val="folHlink"/>
              </a:buClr>
              <a:buSzPct val="120000"/>
              <a:buFont typeface="Arial" charset="0"/>
              <a:buChar char="̶"/>
              <a:defRPr sz="1600">
                <a:solidFill>
                  <a:schemeClr val="tx1"/>
                </a:solidFill>
                <a:latin typeface="+mn-lt"/>
              </a:defRPr>
            </a:lvl3pPr>
            <a:lvl4pPr marL="614363" indent="-155575" algn="l" defTabSz="895350" rtl="0" fontAlgn="base">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5pPr>
            <a:lvl6pPr marL="12033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6pPr>
            <a:lvl7pPr marL="16605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7pPr>
            <a:lvl8pPr marL="21177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8pPr>
            <a:lvl9pPr marL="25749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a:buClr>
                <a:srgbClr val="002960"/>
              </a:buClr>
            </a:pPr>
            <a:fld id="{79321AAE-9CE7-4974-B1C6-375F594A3350}" type="datetime'''''''''''1'''',''''''0''''00'''''">
              <a:rPr lang="en-US" sz="1400" b="0">
                <a:solidFill>
                  <a:srgbClr val="000000"/>
                </a:solidFill>
                <a:sym typeface="+mn-lt"/>
              </a:rPr>
              <a:pPr>
                <a:buClr>
                  <a:srgbClr val="002960"/>
                </a:buClr>
              </a:pPr>
              <a:t>1,000</a:t>
            </a:fld>
            <a:endParaRPr lang="en-US" sz="1400" b="0" dirty="0">
              <a:solidFill>
                <a:srgbClr val="000000"/>
              </a:solidFill>
              <a:sym typeface="+mn-lt"/>
            </a:endParaRPr>
          </a:p>
        </p:txBody>
      </p:sp>
      <p:sp>
        <p:nvSpPr>
          <p:cNvPr id="125" name="Rectangle 125"/>
          <p:cNvSpPr txBox="1">
            <a:spLocks/>
          </p:cNvSpPr>
          <p:nvPr/>
        </p:nvSpPr>
        <p:spPr>
          <a:xfrm>
            <a:off x="7081456" y="1724026"/>
            <a:ext cx="586319" cy="285443"/>
          </a:xfrm>
          <a:prstGeom prst="ellipse">
            <a:avLst/>
          </a:prstGeom>
          <a:solidFill>
            <a:schemeClr val="accent1">
              <a:lumMod val="20000"/>
              <a:lumOff val="80000"/>
            </a:schemeClr>
          </a:solidFill>
          <a:ln>
            <a:noFill/>
          </a:ln>
          <a:effectLst/>
          <a:extLst/>
        </p:spPr>
        <p:txBody>
          <a:bodyPr vert="horz" wrap="none" lIns="0" tIns="0" rIns="0" bIns="0" numCol="1" anchor="ctr" anchorCtr="1" compatLnSpc="1">
            <a:prstTxWarp prst="textNoShape">
              <a:avLst/>
            </a:prstTxWarp>
            <a:noAutofit/>
          </a:bodyPr>
          <a:lstStyle>
            <a:lvl1pPr lvl="0" algn="l" defTabSz="895350">
              <a:buClr>
                <a:schemeClr val="tx2"/>
              </a:buClr>
              <a:defRPr sz="1600">
                <a:latin typeface="+mn-lt"/>
              </a:defRPr>
            </a:lvl1pPr>
            <a:lvl2pPr marL="193675" lvl="1" indent="-192088" algn="l" defTabSz="895350">
              <a:buClr>
                <a:schemeClr val="folHlink"/>
              </a:buClr>
              <a:buSzPct val="125000"/>
              <a:buFont typeface="Wingdings" pitchFamily="2" charset="2"/>
              <a:buChar char="§"/>
              <a:defRPr sz="1600">
                <a:latin typeface="+mn-lt"/>
              </a:defRPr>
            </a:lvl2pPr>
            <a:lvl3pPr marL="457200" lvl="2" indent="-261938" algn="l" defTabSz="895350">
              <a:buClr>
                <a:schemeClr val="folHlink"/>
              </a:buClr>
              <a:buSzPct val="120000"/>
              <a:buFont typeface="Arial" charset="0"/>
              <a:buChar char="̶"/>
              <a:defRPr sz="1600">
                <a:latin typeface="+mn-lt"/>
              </a:defRPr>
            </a:lvl3pPr>
            <a:lvl4pPr marL="614363" lvl="3" indent="-155575" algn="l" defTabSz="895350">
              <a:buClr>
                <a:schemeClr val="tx2"/>
              </a:buClr>
              <a:buSzPct val="120000"/>
              <a:buFont typeface="Arial" charset="0"/>
              <a:buChar char="▫"/>
              <a:defRPr sz="1600">
                <a:latin typeface="+mn-lt"/>
              </a:defRPr>
            </a:lvl4pPr>
            <a:lvl5pPr marL="746125" lvl="4" indent="-130175" algn="l" defTabSz="895350">
              <a:buClr>
                <a:schemeClr val="tx2"/>
              </a:buClr>
              <a:buSzPct val="89000"/>
              <a:buFont typeface="Arial" charset="0"/>
              <a:buChar char="-"/>
              <a:defRPr sz="1600">
                <a:latin typeface="+mn-lt"/>
              </a:defRPr>
            </a:lvl5pPr>
            <a:lvl6pPr marL="1203325" indent="-130175" defTabSz="895350" fontAlgn="base">
              <a:spcBef>
                <a:spcPct val="0"/>
              </a:spcBef>
              <a:spcAft>
                <a:spcPct val="0"/>
              </a:spcAft>
              <a:buClr>
                <a:schemeClr val="tx2"/>
              </a:buClr>
              <a:buSzPct val="89000"/>
              <a:buFont typeface="Arial" charset="0"/>
              <a:buChar char="-"/>
              <a:defRPr sz="1600">
                <a:latin typeface="+mn-lt"/>
              </a:defRPr>
            </a:lvl6pPr>
            <a:lvl7pPr marL="1660525" indent="-130175" defTabSz="895350" fontAlgn="base">
              <a:spcBef>
                <a:spcPct val="0"/>
              </a:spcBef>
              <a:spcAft>
                <a:spcPct val="0"/>
              </a:spcAft>
              <a:buClr>
                <a:schemeClr val="tx2"/>
              </a:buClr>
              <a:buSzPct val="89000"/>
              <a:buFont typeface="Arial" charset="0"/>
              <a:buChar char="-"/>
              <a:defRPr sz="1600">
                <a:latin typeface="+mn-lt"/>
              </a:defRPr>
            </a:lvl7pPr>
            <a:lvl8pPr marL="2117725" indent="-130175" defTabSz="895350" fontAlgn="base">
              <a:spcBef>
                <a:spcPct val="0"/>
              </a:spcBef>
              <a:spcAft>
                <a:spcPct val="0"/>
              </a:spcAft>
              <a:buClr>
                <a:schemeClr val="tx2"/>
              </a:buClr>
              <a:buSzPct val="89000"/>
              <a:buFont typeface="Arial" charset="0"/>
              <a:buChar char="-"/>
              <a:defRPr sz="1600">
                <a:latin typeface="+mn-lt"/>
              </a:defRPr>
            </a:lvl8pPr>
            <a:lvl9pPr marL="2574925" indent="-130175" defTabSz="895350" fontAlgn="base">
              <a:spcBef>
                <a:spcPct val="0"/>
              </a:spcBef>
              <a:spcAft>
                <a:spcPct val="0"/>
              </a:spcAft>
              <a:buClr>
                <a:schemeClr val="tx2"/>
              </a:buClr>
              <a:buSzPct val="89000"/>
              <a:buFont typeface="Arial" charset="0"/>
              <a:buChar char="-"/>
              <a:defRPr sz="1600">
                <a:latin typeface="+mn-lt"/>
              </a:defRPr>
            </a:lvl9pPr>
          </a:lstStyle>
          <a:p>
            <a:pPr algn="ctr">
              <a:buClr>
                <a:srgbClr val="002960"/>
              </a:buClr>
            </a:pPr>
            <a:r>
              <a:rPr lang="en-US" sz="1400" b="0" dirty="0">
                <a:solidFill>
                  <a:srgbClr val="000000"/>
                </a:solidFill>
              </a:rPr>
              <a:t>5</a:t>
            </a:r>
          </a:p>
        </p:txBody>
      </p:sp>
      <p:sp>
        <p:nvSpPr>
          <p:cNvPr id="127" name="Rectangle 125"/>
          <p:cNvSpPr txBox="1">
            <a:spLocks/>
          </p:cNvSpPr>
          <p:nvPr/>
        </p:nvSpPr>
        <p:spPr>
          <a:xfrm>
            <a:off x="7081456" y="2094968"/>
            <a:ext cx="586319" cy="285443"/>
          </a:xfrm>
          <a:prstGeom prst="ellipse">
            <a:avLst/>
          </a:prstGeom>
          <a:solidFill>
            <a:schemeClr val="accent1">
              <a:lumMod val="20000"/>
              <a:lumOff val="80000"/>
            </a:schemeClr>
          </a:solidFill>
          <a:ln>
            <a:noFill/>
          </a:ln>
          <a:effectLst/>
          <a:extLst/>
        </p:spPr>
        <p:txBody>
          <a:bodyPr vert="horz" wrap="none" lIns="0" tIns="0" rIns="0" bIns="0" numCol="1" anchor="ctr" anchorCtr="1" compatLnSpc="1">
            <a:prstTxWarp prst="textNoShape">
              <a:avLst/>
            </a:prstTxWarp>
            <a:noAutofit/>
          </a:bodyPr>
          <a:lstStyle>
            <a:lvl1pPr lvl="0" algn="l" defTabSz="895350">
              <a:buClr>
                <a:schemeClr val="tx2"/>
              </a:buClr>
              <a:defRPr sz="1600">
                <a:latin typeface="+mn-lt"/>
              </a:defRPr>
            </a:lvl1pPr>
            <a:lvl2pPr marL="193675" lvl="1" indent="-192088" algn="l" defTabSz="895350">
              <a:buClr>
                <a:schemeClr val="folHlink"/>
              </a:buClr>
              <a:buSzPct val="125000"/>
              <a:buFont typeface="Wingdings" pitchFamily="2" charset="2"/>
              <a:buChar char="§"/>
              <a:defRPr sz="1600">
                <a:latin typeface="+mn-lt"/>
              </a:defRPr>
            </a:lvl2pPr>
            <a:lvl3pPr marL="457200" lvl="2" indent="-261938" algn="l" defTabSz="895350">
              <a:buClr>
                <a:schemeClr val="folHlink"/>
              </a:buClr>
              <a:buSzPct val="120000"/>
              <a:buFont typeface="Arial" charset="0"/>
              <a:buChar char="̶"/>
              <a:defRPr sz="1600">
                <a:latin typeface="+mn-lt"/>
              </a:defRPr>
            </a:lvl3pPr>
            <a:lvl4pPr marL="614363" lvl="3" indent="-155575" algn="l" defTabSz="895350">
              <a:buClr>
                <a:schemeClr val="tx2"/>
              </a:buClr>
              <a:buSzPct val="120000"/>
              <a:buFont typeface="Arial" charset="0"/>
              <a:buChar char="▫"/>
              <a:defRPr sz="1600">
                <a:latin typeface="+mn-lt"/>
              </a:defRPr>
            </a:lvl4pPr>
            <a:lvl5pPr marL="746125" lvl="4" indent="-130175" algn="l" defTabSz="895350">
              <a:buClr>
                <a:schemeClr val="tx2"/>
              </a:buClr>
              <a:buSzPct val="89000"/>
              <a:buFont typeface="Arial" charset="0"/>
              <a:buChar char="-"/>
              <a:defRPr sz="1600">
                <a:latin typeface="+mn-lt"/>
              </a:defRPr>
            </a:lvl5pPr>
            <a:lvl6pPr marL="1203325" indent="-130175" defTabSz="895350" fontAlgn="base">
              <a:spcBef>
                <a:spcPct val="0"/>
              </a:spcBef>
              <a:spcAft>
                <a:spcPct val="0"/>
              </a:spcAft>
              <a:buClr>
                <a:schemeClr val="tx2"/>
              </a:buClr>
              <a:buSzPct val="89000"/>
              <a:buFont typeface="Arial" charset="0"/>
              <a:buChar char="-"/>
              <a:defRPr sz="1600">
                <a:latin typeface="+mn-lt"/>
              </a:defRPr>
            </a:lvl6pPr>
            <a:lvl7pPr marL="1660525" indent="-130175" defTabSz="895350" fontAlgn="base">
              <a:spcBef>
                <a:spcPct val="0"/>
              </a:spcBef>
              <a:spcAft>
                <a:spcPct val="0"/>
              </a:spcAft>
              <a:buClr>
                <a:schemeClr val="tx2"/>
              </a:buClr>
              <a:buSzPct val="89000"/>
              <a:buFont typeface="Arial" charset="0"/>
              <a:buChar char="-"/>
              <a:defRPr sz="1600">
                <a:latin typeface="+mn-lt"/>
              </a:defRPr>
            </a:lvl7pPr>
            <a:lvl8pPr marL="2117725" indent="-130175" defTabSz="895350" fontAlgn="base">
              <a:spcBef>
                <a:spcPct val="0"/>
              </a:spcBef>
              <a:spcAft>
                <a:spcPct val="0"/>
              </a:spcAft>
              <a:buClr>
                <a:schemeClr val="tx2"/>
              </a:buClr>
              <a:buSzPct val="89000"/>
              <a:buFont typeface="Arial" charset="0"/>
              <a:buChar char="-"/>
              <a:defRPr sz="1600">
                <a:latin typeface="+mn-lt"/>
              </a:defRPr>
            </a:lvl8pPr>
            <a:lvl9pPr marL="2574925" indent="-130175" defTabSz="895350" fontAlgn="base">
              <a:spcBef>
                <a:spcPct val="0"/>
              </a:spcBef>
              <a:spcAft>
                <a:spcPct val="0"/>
              </a:spcAft>
              <a:buClr>
                <a:schemeClr val="tx2"/>
              </a:buClr>
              <a:buSzPct val="89000"/>
              <a:buFont typeface="Arial" charset="0"/>
              <a:buChar char="-"/>
              <a:defRPr sz="1600">
                <a:latin typeface="+mn-lt"/>
              </a:defRPr>
            </a:lvl9pPr>
          </a:lstStyle>
          <a:p>
            <a:pPr algn="ctr">
              <a:buClr>
                <a:srgbClr val="002960"/>
              </a:buClr>
            </a:pPr>
            <a:r>
              <a:rPr lang="en-US" sz="1400" b="0" dirty="0">
                <a:solidFill>
                  <a:srgbClr val="000000"/>
                </a:solidFill>
              </a:rPr>
              <a:t>3.7</a:t>
            </a:r>
          </a:p>
        </p:txBody>
      </p:sp>
      <p:sp>
        <p:nvSpPr>
          <p:cNvPr id="128" name="Rectangle 125"/>
          <p:cNvSpPr txBox="1">
            <a:spLocks/>
          </p:cNvSpPr>
          <p:nvPr/>
        </p:nvSpPr>
        <p:spPr>
          <a:xfrm>
            <a:off x="7081456" y="2465911"/>
            <a:ext cx="586319" cy="285443"/>
          </a:xfrm>
          <a:prstGeom prst="ellipse">
            <a:avLst/>
          </a:prstGeom>
          <a:solidFill>
            <a:schemeClr val="accent1">
              <a:lumMod val="20000"/>
              <a:lumOff val="80000"/>
            </a:schemeClr>
          </a:solidFill>
          <a:ln>
            <a:noFill/>
          </a:ln>
          <a:effectLst/>
          <a:extLst/>
        </p:spPr>
        <p:txBody>
          <a:bodyPr vert="horz" wrap="none" lIns="0" tIns="0" rIns="0" bIns="0" numCol="1" anchor="ctr" anchorCtr="1" compatLnSpc="1">
            <a:prstTxWarp prst="textNoShape">
              <a:avLst/>
            </a:prstTxWarp>
            <a:noAutofit/>
          </a:bodyPr>
          <a:lstStyle>
            <a:lvl1pPr lvl="0" algn="l" defTabSz="895350">
              <a:buClr>
                <a:schemeClr val="tx2"/>
              </a:buClr>
              <a:defRPr sz="1600">
                <a:latin typeface="+mn-lt"/>
              </a:defRPr>
            </a:lvl1pPr>
            <a:lvl2pPr marL="193675" lvl="1" indent="-192088" algn="l" defTabSz="895350">
              <a:buClr>
                <a:schemeClr val="folHlink"/>
              </a:buClr>
              <a:buSzPct val="125000"/>
              <a:buFont typeface="Wingdings" pitchFamily="2" charset="2"/>
              <a:buChar char="§"/>
              <a:defRPr sz="1600">
                <a:latin typeface="+mn-lt"/>
              </a:defRPr>
            </a:lvl2pPr>
            <a:lvl3pPr marL="457200" lvl="2" indent="-261938" algn="l" defTabSz="895350">
              <a:buClr>
                <a:schemeClr val="folHlink"/>
              </a:buClr>
              <a:buSzPct val="120000"/>
              <a:buFont typeface="Arial" charset="0"/>
              <a:buChar char="̶"/>
              <a:defRPr sz="1600">
                <a:latin typeface="+mn-lt"/>
              </a:defRPr>
            </a:lvl3pPr>
            <a:lvl4pPr marL="614363" lvl="3" indent="-155575" algn="l" defTabSz="895350">
              <a:buClr>
                <a:schemeClr val="tx2"/>
              </a:buClr>
              <a:buSzPct val="120000"/>
              <a:buFont typeface="Arial" charset="0"/>
              <a:buChar char="▫"/>
              <a:defRPr sz="1600">
                <a:latin typeface="+mn-lt"/>
              </a:defRPr>
            </a:lvl4pPr>
            <a:lvl5pPr marL="746125" lvl="4" indent="-130175" algn="l" defTabSz="895350">
              <a:buClr>
                <a:schemeClr val="tx2"/>
              </a:buClr>
              <a:buSzPct val="89000"/>
              <a:buFont typeface="Arial" charset="0"/>
              <a:buChar char="-"/>
              <a:defRPr sz="1600">
                <a:latin typeface="+mn-lt"/>
              </a:defRPr>
            </a:lvl5pPr>
            <a:lvl6pPr marL="1203325" indent="-130175" defTabSz="895350" fontAlgn="base">
              <a:spcBef>
                <a:spcPct val="0"/>
              </a:spcBef>
              <a:spcAft>
                <a:spcPct val="0"/>
              </a:spcAft>
              <a:buClr>
                <a:schemeClr val="tx2"/>
              </a:buClr>
              <a:buSzPct val="89000"/>
              <a:buFont typeface="Arial" charset="0"/>
              <a:buChar char="-"/>
              <a:defRPr sz="1600">
                <a:latin typeface="+mn-lt"/>
              </a:defRPr>
            </a:lvl6pPr>
            <a:lvl7pPr marL="1660525" indent="-130175" defTabSz="895350" fontAlgn="base">
              <a:spcBef>
                <a:spcPct val="0"/>
              </a:spcBef>
              <a:spcAft>
                <a:spcPct val="0"/>
              </a:spcAft>
              <a:buClr>
                <a:schemeClr val="tx2"/>
              </a:buClr>
              <a:buSzPct val="89000"/>
              <a:buFont typeface="Arial" charset="0"/>
              <a:buChar char="-"/>
              <a:defRPr sz="1600">
                <a:latin typeface="+mn-lt"/>
              </a:defRPr>
            </a:lvl7pPr>
            <a:lvl8pPr marL="2117725" indent="-130175" defTabSz="895350" fontAlgn="base">
              <a:spcBef>
                <a:spcPct val="0"/>
              </a:spcBef>
              <a:spcAft>
                <a:spcPct val="0"/>
              </a:spcAft>
              <a:buClr>
                <a:schemeClr val="tx2"/>
              </a:buClr>
              <a:buSzPct val="89000"/>
              <a:buFont typeface="Arial" charset="0"/>
              <a:buChar char="-"/>
              <a:defRPr sz="1600">
                <a:latin typeface="+mn-lt"/>
              </a:defRPr>
            </a:lvl8pPr>
            <a:lvl9pPr marL="2574925" indent="-130175" defTabSz="895350" fontAlgn="base">
              <a:spcBef>
                <a:spcPct val="0"/>
              </a:spcBef>
              <a:spcAft>
                <a:spcPct val="0"/>
              </a:spcAft>
              <a:buClr>
                <a:schemeClr val="tx2"/>
              </a:buClr>
              <a:buSzPct val="89000"/>
              <a:buFont typeface="Arial" charset="0"/>
              <a:buChar char="-"/>
              <a:defRPr sz="1600">
                <a:latin typeface="+mn-lt"/>
              </a:defRPr>
            </a:lvl9pPr>
          </a:lstStyle>
          <a:p>
            <a:pPr algn="ctr">
              <a:buClr>
                <a:srgbClr val="002960"/>
              </a:buClr>
            </a:pPr>
            <a:r>
              <a:rPr lang="en-US" sz="1400" b="0" dirty="0">
                <a:solidFill>
                  <a:srgbClr val="000000"/>
                </a:solidFill>
              </a:rPr>
              <a:t>3.3</a:t>
            </a:r>
          </a:p>
        </p:txBody>
      </p:sp>
      <p:sp>
        <p:nvSpPr>
          <p:cNvPr id="129" name="Rectangle 125"/>
          <p:cNvSpPr txBox="1">
            <a:spLocks/>
          </p:cNvSpPr>
          <p:nvPr/>
        </p:nvSpPr>
        <p:spPr>
          <a:xfrm>
            <a:off x="7081456" y="2836853"/>
            <a:ext cx="586319" cy="285443"/>
          </a:xfrm>
          <a:prstGeom prst="ellipse">
            <a:avLst/>
          </a:prstGeom>
          <a:solidFill>
            <a:schemeClr val="accent1">
              <a:lumMod val="20000"/>
              <a:lumOff val="80000"/>
            </a:schemeClr>
          </a:solidFill>
          <a:ln>
            <a:noFill/>
          </a:ln>
          <a:effectLst/>
          <a:extLst/>
        </p:spPr>
        <p:txBody>
          <a:bodyPr vert="horz" wrap="none" lIns="0" tIns="0" rIns="0" bIns="0" numCol="1" anchor="ctr" anchorCtr="1" compatLnSpc="1">
            <a:prstTxWarp prst="textNoShape">
              <a:avLst/>
            </a:prstTxWarp>
            <a:noAutofit/>
          </a:bodyPr>
          <a:lstStyle>
            <a:lvl1pPr lvl="0" algn="l" defTabSz="895350">
              <a:buClr>
                <a:schemeClr val="tx2"/>
              </a:buClr>
              <a:defRPr sz="1600">
                <a:latin typeface="+mn-lt"/>
              </a:defRPr>
            </a:lvl1pPr>
            <a:lvl2pPr marL="193675" lvl="1" indent="-192088" algn="l" defTabSz="895350">
              <a:buClr>
                <a:schemeClr val="folHlink"/>
              </a:buClr>
              <a:buSzPct val="125000"/>
              <a:buFont typeface="Wingdings" pitchFamily="2" charset="2"/>
              <a:buChar char="§"/>
              <a:defRPr sz="1600">
                <a:latin typeface="+mn-lt"/>
              </a:defRPr>
            </a:lvl2pPr>
            <a:lvl3pPr marL="457200" lvl="2" indent="-261938" algn="l" defTabSz="895350">
              <a:buClr>
                <a:schemeClr val="folHlink"/>
              </a:buClr>
              <a:buSzPct val="120000"/>
              <a:buFont typeface="Arial" charset="0"/>
              <a:buChar char="̶"/>
              <a:defRPr sz="1600">
                <a:latin typeface="+mn-lt"/>
              </a:defRPr>
            </a:lvl3pPr>
            <a:lvl4pPr marL="614363" lvl="3" indent="-155575" algn="l" defTabSz="895350">
              <a:buClr>
                <a:schemeClr val="tx2"/>
              </a:buClr>
              <a:buSzPct val="120000"/>
              <a:buFont typeface="Arial" charset="0"/>
              <a:buChar char="▫"/>
              <a:defRPr sz="1600">
                <a:latin typeface="+mn-lt"/>
              </a:defRPr>
            </a:lvl4pPr>
            <a:lvl5pPr marL="746125" lvl="4" indent="-130175" algn="l" defTabSz="895350">
              <a:buClr>
                <a:schemeClr val="tx2"/>
              </a:buClr>
              <a:buSzPct val="89000"/>
              <a:buFont typeface="Arial" charset="0"/>
              <a:buChar char="-"/>
              <a:defRPr sz="1600">
                <a:latin typeface="+mn-lt"/>
              </a:defRPr>
            </a:lvl5pPr>
            <a:lvl6pPr marL="1203325" indent="-130175" defTabSz="895350" fontAlgn="base">
              <a:spcBef>
                <a:spcPct val="0"/>
              </a:spcBef>
              <a:spcAft>
                <a:spcPct val="0"/>
              </a:spcAft>
              <a:buClr>
                <a:schemeClr val="tx2"/>
              </a:buClr>
              <a:buSzPct val="89000"/>
              <a:buFont typeface="Arial" charset="0"/>
              <a:buChar char="-"/>
              <a:defRPr sz="1600">
                <a:latin typeface="+mn-lt"/>
              </a:defRPr>
            </a:lvl6pPr>
            <a:lvl7pPr marL="1660525" indent="-130175" defTabSz="895350" fontAlgn="base">
              <a:spcBef>
                <a:spcPct val="0"/>
              </a:spcBef>
              <a:spcAft>
                <a:spcPct val="0"/>
              </a:spcAft>
              <a:buClr>
                <a:schemeClr val="tx2"/>
              </a:buClr>
              <a:buSzPct val="89000"/>
              <a:buFont typeface="Arial" charset="0"/>
              <a:buChar char="-"/>
              <a:defRPr sz="1600">
                <a:latin typeface="+mn-lt"/>
              </a:defRPr>
            </a:lvl7pPr>
            <a:lvl8pPr marL="2117725" indent="-130175" defTabSz="895350" fontAlgn="base">
              <a:spcBef>
                <a:spcPct val="0"/>
              </a:spcBef>
              <a:spcAft>
                <a:spcPct val="0"/>
              </a:spcAft>
              <a:buClr>
                <a:schemeClr val="tx2"/>
              </a:buClr>
              <a:buSzPct val="89000"/>
              <a:buFont typeface="Arial" charset="0"/>
              <a:buChar char="-"/>
              <a:defRPr sz="1600">
                <a:latin typeface="+mn-lt"/>
              </a:defRPr>
            </a:lvl8pPr>
            <a:lvl9pPr marL="2574925" indent="-130175" defTabSz="895350" fontAlgn="base">
              <a:spcBef>
                <a:spcPct val="0"/>
              </a:spcBef>
              <a:spcAft>
                <a:spcPct val="0"/>
              </a:spcAft>
              <a:buClr>
                <a:schemeClr val="tx2"/>
              </a:buClr>
              <a:buSzPct val="89000"/>
              <a:buFont typeface="Arial" charset="0"/>
              <a:buChar char="-"/>
              <a:defRPr sz="1600">
                <a:latin typeface="+mn-lt"/>
              </a:defRPr>
            </a:lvl9pPr>
          </a:lstStyle>
          <a:p>
            <a:pPr algn="ctr">
              <a:buClr>
                <a:srgbClr val="002960"/>
              </a:buClr>
            </a:pPr>
            <a:r>
              <a:rPr lang="en-US" sz="1400" b="0" dirty="0">
                <a:solidFill>
                  <a:srgbClr val="000000"/>
                </a:solidFill>
              </a:rPr>
              <a:t>3</a:t>
            </a:r>
          </a:p>
        </p:txBody>
      </p:sp>
      <p:sp>
        <p:nvSpPr>
          <p:cNvPr id="130" name="Rectangle 125"/>
          <p:cNvSpPr txBox="1">
            <a:spLocks/>
          </p:cNvSpPr>
          <p:nvPr/>
        </p:nvSpPr>
        <p:spPr>
          <a:xfrm>
            <a:off x="7081456" y="3207795"/>
            <a:ext cx="586319" cy="285443"/>
          </a:xfrm>
          <a:prstGeom prst="ellipse">
            <a:avLst/>
          </a:prstGeom>
          <a:solidFill>
            <a:schemeClr val="accent1">
              <a:lumMod val="20000"/>
              <a:lumOff val="80000"/>
            </a:schemeClr>
          </a:solidFill>
          <a:ln>
            <a:noFill/>
          </a:ln>
          <a:effectLst/>
          <a:extLst/>
        </p:spPr>
        <p:txBody>
          <a:bodyPr vert="horz" wrap="none" lIns="0" tIns="0" rIns="0" bIns="0" numCol="1" anchor="ctr" anchorCtr="1" compatLnSpc="1">
            <a:prstTxWarp prst="textNoShape">
              <a:avLst/>
            </a:prstTxWarp>
            <a:noAutofit/>
          </a:bodyPr>
          <a:lstStyle>
            <a:lvl1pPr lvl="0" algn="l" defTabSz="895350">
              <a:buClr>
                <a:schemeClr val="tx2"/>
              </a:buClr>
              <a:defRPr sz="1600">
                <a:latin typeface="+mn-lt"/>
              </a:defRPr>
            </a:lvl1pPr>
            <a:lvl2pPr marL="193675" lvl="1" indent="-192088" algn="l" defTabSz="895350">
              <a:buClr>
                <a:schemeClr val="folHlink"/>
              </a:buClr>
              <a:buSzPct val="125000"/>
              <a:buFont typeface="Wingdings" pitchFamily="2" charset="2"/>
              <a:buChar char="§"/>
              <a:defRPr sz="1600">
                <a:latin typeface="+mn-lt"/>
              </a:defRPr>
            </a:lvl2pPr>
            <a:lvl3pPr marL="457200" lvl="2" indent="-261938" algn="l" defTabSz="895350">
              <a:buClr>
                <a:schemeClr val="folHlink"/>
              </a:buClr>
              <a:buSzPct val="120000"/>
              <a:buFont typeface="Arial" charset="0"/>
              <a:buChar char="̶"/>
              <a:defRPr sz="1600">
                <a:latin typeface="+mn-lt"/>
              </a:defRPr>
            </a:lvl3pPr>
            <a:lvl4pPr marL="614363" lvl="3" indent="-155575" algn="l" defTabSz="895350">
              <a:buClr>
                <a:schemeClr val="tx2"/>
              </a:buClr>
              <a:buSzPct val="120000"/>
              <a:buFont typeface="Arial" charset="0"/>
              <a:buChar char="▫"/>
              <a:defRPr sz="1600">
                <a:latin typeface="+mn-lt"/>
              </a:defRPr>
            </a:lvl4pPr>
            <a:lvl5pPr marL="746125" lvl="4" indent="-130175" algn="l" defTabSz="895350">
              <a:buClr>
                <a:schemeClr val="tx2"/>
              </a:buClr>
              <a:buSzPct val="89000"/>
              <a:buFont typeface="Arial" charset="0"/>
              <a:buChar char="-"/>
              <a:defRPr sz="1600">
                <a:latin typeface="+mn-lt"/>
              </a:defRPr>
            </a:lvl5pPr>
            <a:lvl6pPr marL="1203325" indent="-130175" defTabSz="895350" fontAlgn="base">
              <a:spcBef>
                <a:spcPct val="0"/>
              </a:spcBef>
              <a:spcAft>
                <a:spcPct val="0"/>
              </a:spcAft>
              <a:buClr>
                <a:schemeClr val="tx2"/>
              </a:buClr>
              <a:buSzPct val="89000"/>
              <a:buFont typeface="Arial" charset="0"/>
              <a:buChar char="-"/>
              <a:defRPr sz="1600">
                <a:latin typeface="+mn-lt"/>
              </a:defRPr>
            </a:lvl6pPr>
            <a:lvl7pPr marL="1660525" indent="-130175" defTabSz="895350" fontAlgn="base">
              <a:spcBef>
                <a:spcPct val="0"/>
              </a:spcBef>
              <a:spcAft>
                <a:spcPct val="0"/>
              </a:spcAft>
              <a:buClr>
                <a:schemeClr val="tx2"/>
              </a:buClr>
              <a:buSzPct val="89000"/>
              <a:buFont typeface="Arial" charset="0"/>
              <a:buChar char="-"/>
              <a:defRPr sz="1600">
                <a:latin typeface="+mn-lt"/>
              </a:defRPr>
            </a:lvl7pPr>
            <a:lvl8pPr marL="2117725" indent="-130175" defTabSz="895350" fontAlgn="base">
              <a:spcBef>
                <a:spcPct val="0"/>
              </a:spcBef>
              <a:spcAft>
                <a:spcPct val="0"/>
              </a:spcAft>
              <a:buClr>
                <a:schemeClr val="tx2"/>
              </a:buClr>
              <a:buSzPct val="89000"/>
              <a:buFont typeface="Arial" charset="0"/>
              <a:buChar char="-"/>
              <a:defRPr sz="1600">
                <a:latin typeface="+mn-lt"/>
              </a:defRPr>
            </a:lvl8pPr>
            <a:lvl9pPr marL="2574925" indent="-130175" defTabSz="895350" fontAlgn="base">
              <a:spcBef>
                <a:spcPct val="0"/>
              </a:spcBef>
              <a:spcAft>
                <a:spcPct val="0"/>
              </a:spcAft>
              <a:buClr>
                <a:schemeClr val="tx2"/>
              </a:buClr>
              <a:buSzPct val="89000"/>
              <a:buFont typeface="Arial" charset="0"/>
              <a:buChar char="-"/>
              <a:defRPr sz="1600">
                <a:latin typeface="+mn-lt"/>
              </a:defRPr>
            </a:lvl9pPr>
          </a:lstStyle>
          <a:p>
            <a:pPr algn="ctr">
              <a:buClr>
                <a:srgbClr val="002960"/>
              </a:buClr>
            </a:pPr>
            <a:r>
              <a:rPr lang="en-US" sz="1400" b="0" dirty="0">
                <a:solidFill>
                  <a:srgbClr val="000000"/>
                </a:solidFill>
              </a:rPr>
              <a:t>3</a:t>
            </a:r>
          </a:p>
        </p:txBody>
      </p:sp>
      <p:sp>
        <p:nvSpPr>
          <p:cNvPr id="131" name="Rectangle 125"/>
          <p:cNvSpPr txBox="1">
            <a:spLocks/>
          </p:cNvSpPr>
          <p:nvPr/>
        </p:nvSpPr>
        <p:spPr>
          <a:xfrm>
            <a:off x="7081456" y="3578738"/>
            <a:ext cx="586319" cy="285443"/>
          </a:xfrm>
          <a:prstGeom prst="ellipse">
            <a:avLst/>
          </a:prstGeom>
          <a:solidFill>
            <a:schemeClr val="accent1">
              <a:lumMod val="20000"/>
              <a:lumOff val="80000"/>
            </a:schemeClr>
          </a:solidFill>
          <a:ln>
            <a:noFill/>
          </a:ln>
          <a:effectLst/>
          <a:extLst/>
        </p:spPr>
        <p:txBody>
          <a:bodyPr vert="horz" wrap="none" lIns="0" tIns="0" rIns="0" bIns="0" numCol="1" anchor="ctr" anchorCtr="1" compatLnSpc="1">
            <a:prstTxWarp prst="textNoShape">
              <a:avLst/>
            </a:prstTxWarp>
            <a:noAutofit/>
          </a:bodyPr>
          <a:lstStyle>
            <a:lvl1pPr lvl="0" algn="l" defTabSz="895350">
              <a:buClr>
                <a:schemeClr val="tx2"/>
              </a:buClr>
              <a:defRPr sz="1600">
                <a:latin typeface="+mn-lt"/>
              </a:defRPr>
            </a:lvl1pPr>
            <a:lvl2pPr marL="193675" lvl="1" indent="-192088" algn="l" defTabSz="895350">
              <a:buClr>
                <a:schemeClr val="folHlink"/>
              </a:buClr>
              <a:buSzPct val="125000"/>
              <a:buFont typeface="Wingdings" pitchFamily="2" charset="2"/>
              <a:buChar char="§"/>
              <a:defRPr sz="1600">
                <a:latin typeface="+mn-lt"/>
              </a:defRPr>
            </a:lvl2pPr>
            <a:lvl3pPr marL="457200" lvl="2" indent="-261938" algn="l" defTabSz="895350">
              <a:buClr>
                <a:schemeClr val="folHlink"/>
              </a:buClr>
              <a:buSzPct val="120000"/>
              <a:buFont typeface="Arial" charset="0"/>
              <a:buChar char="̶"/>
              <a:defRPr sz="1600">
                <a:latin typeface="+mn-lt"/>
              </a:defRPr>
            </a:lvl3pPr>
            <a:lvl4pPr marL="614363" lvl="3" indent="-155575" algn="l" defTabSz="895350">
              <a:buClr>
                <a:schemeClr val="tx2"/>
              </a:buClr>
              <a:buSzPct val="120000"/>
              <a:buFont typeface="Arial" charset="0"/>
              <a:buChar char="▫"/>
              <a:defRPr sz="1600">
                <a:latin typeface="+mn-lt"/>
              </a:defRPr>
            </a:lvl4pPr>
            <a:lvl5pPr marL="746125" lvl="4" indent="-130175" algn="l" defTabSz="895350">
              <a:buClr>
                <a:schemeClr val="tx2"/>
              </a:buClr>
              <a:buSzPct val="89000"/>
              <a:buFont typeface="Arial" charset="0"/>
              <a:buChar char="-"/>
              <a:defRPr sz="1600">
                <a:latin typeface="+mn-lt"/>
              </a:defRPr>
            </a:lvl5pPr>
            <a:lvl6pPr marL="1203325" indent="-130175" defTabSz="895350" fontAlgn="base">
              <a:spcBef>
                <a:spcPct val="0"/>
              </a:spcBef>
              <a:spcAft>
                <a:spcPct val="0"/>
              </a:spcAft>
              <a:buClr>
                <a:schemeClr val="tx2"/>
              </a:buClr>
              <a:buSzPct val="89000"/>
              <a:buFont typeface="Arial" charset="0"/>
              <a:buChar char="-"/>
              <a:defRPr sz="1600">
                <a:latin typeface="+mn-lt"/>
              </a:defRPr>
            </a:lvl6pPr>
            <a:lvl7pPr marL="1660525" indent="-130175" defTabSz="895350" fontAlgn="base">
              <a:spcBef>
                <a:spcPct val="0"/>
              </a:spcBef>
              <a:spcAft>
                <a:spcPct val="0"/>
              </a:spcAft>
              <a:buClr>
                <a:schemeClr val="tx2"/>
              </a:buClr>
              <a:buSzPct val="89000"/>
              <a:buFont typeface="Arial" charset="0"/>
              <a:buChar char="-"/>
              <a:defRPr sz="1600">
                <a:latin typeface="+mn-lt"/>
              </a:defRPr>
            </a:lvl7pPr>
            <a:lvl8pPr marL="2117725" indent="-130175" defTabSz="895350" fontAlgn="base">
              <a:spcBef>
                <a:spcPct val="0"/>
              </a:spcBef>
              <a:spcAft>
                <a:spcPct val="0"/>
              </a:spcAft>
              <a:buClr>
                <a:schemeClr val="tx2"/>
              </a:buClr>
              <a:buSzPct val="89000"/>
              <a:buFont typeface="Arial" charset="0"/>
              <a:buChar char="-"/>
              <a:defRPr sz="1600">
                <a:latin typeface="+mn-lt"/>
              </a:defRPr>
            </a:lvl8pPr>
            <a:lvl9pPr marL="2574925" indent="-130175" defTabSz="895350" fontAlgn="base">
              <a:spcBef>
                <a:spcPct val="0"/>
              </a:spcBef>
              <a:spcAft>
                <a:spcPct val="0"/>
              </a:spcAft>
              <a:buClr>
                <a:schemeClr val="tx2"/>
              </a:buClr>
              <a:buSzPct val="89000"/>
              <a:buFont typeface="Arial" charset="0"/>
              <a:buChar char="-"/>
              <a:defRPr sz="1600">
                <a:latin typeface="+mn-lt"/>
              </a:defRPr>
            </a:lvl9pPr>
          </a:lstStyle>
          <a:p>
            <a:pPr algn="ctr">
              <a:buClr>
                <a:srgbClr val="002960"/>
              </a:buClr>
            </a:pPr>
            <a:r>
              <a:rPr lang="en-US" sz="1400" b="0" dirty="0">
                <a:solidFill>
                  <a:srgbClr val="000000"/>
                </a:solidFill>
              </a:rPr>
              <a:t>2.9</a:t>
            </a:r>
          </a:p>
        </p:txBody>
      </p:sp>
      <p:sp>
        <p:nvSpPr>
          <p:cNvPr id="132" name="Rectangle 125"/>
          <p:cNvSpPr txBox="1">
            <a:spLocks/>
          </p:cNvSpPr>
          <p:nvPr/>
        </p:nvSpPr>
        <p:spPr>
          <a:xfrm>
            <a:off x="7081456" y="3951176"/>
            <a:ext cx="586319" cy="285443"/>
          </a:xfrm>
          <a:prstGeom prst="ellipse">
            <a:avLst/>
          </a:prstGeom>
          <a:solidFill>
            <a:schemeClr val="accent1">
              <a:lumMod val="20000"/>
              <a:lumOff val="80000"/>
            </a:schemeClr>
          </a:solidFill>
          <a:ln>
            <a:noFill/>
          </a:ln>
          <a:effectLst/>
          <a:extLst/>
        </p:spPr>
        <p:txBody>
          <a:bodyPr vert="horz" wrap="none" lIns="0" tIns="0" rIns="0" bIns="0" numCol="1" anchor="ctr" anchorCtr="1" compatLnSpc="1">
            <a:prstTxWarp prst="textNoShape">
              <a:avLst/>
            </a:prstTxWarp>
            <a:noAutofit/>
          </a:bodyPr>
          <a:lstStyle>
            <a:lvl1pPr lvl="0" algn="l" defTabSz="895350">
              <a:buClr>
                <a:schemeClr val="tx2"/>
              </a:buClr>
              <a:defRPr sz="1600">
                <a:latin typeface="+mn-lt"/>
              </a:defRPr>
            </a:lvl1pPr>
            <a:lvl2pPr marL="193675" lvl="1" indent="-192088" algn="l" defTabSz="895350">
              <a:buClr>
                <a:schemeClr val="folHlink"/>
              </a:buClr>
              <a:buSzPct val="125000"/>
              <a:buFont typeface="Wingdings" pitchFamily="2" charset="2"/>
              <a:buChar char="§"/>
              <a:defRPr sz="1600">
                <a:latin typeface="+mn-lt"/>
              </a:defRPr>
            </a:lvl2pPr>
            <a:lvl3pPr marL="457200" lvl="2" indent="-261938" algn="l" defTabSz="895350">
              <a:buClr>
                <a:schemeClr val="folHlink"/>
              </a:buClr>
              <a:buSzPct val="120000"/>
              <a:buFont typeface="Arial" charset="0"/>
              <a:buChar char="̶"/>
              <a:defRPr sz="1600">
                <a:latin typeface="+mn-lt"/>
              </a:defRPr>
            </a:lvl3pPr>
            <a:lvl4pPr marL="614363" lvl="3" indent="-155575" algn="l" defTabSz="895350">
              <a:buClr>
                <a:schemeClr val="tx2"/>
              </a:buClr>
              <a:buSzPct val="120000"/>
              <a:buFont typeface="Arial" charset="0"/>
              <a:buChar char="▫"/>
              <a:defRPr sz="1600">
                <a:latin typeface="+mn-lt"/>
              </a:defRPr>
            </a:lvl4pPr>
            <a:lvl5pPr marL="746125" lvl="4" indent="-130175" algn="l" defTabSz="895350">
              <a:buClr>
                <a:schemeClr val="tx2"/>
              </a:buClr>
              <a:buSzPct val="89000"/>
              <a:buFont typeface="Arial" charset="0"/>
              <a:buChar char="-"/>
              <a:defRPr sz="1600">
                <a:latin typeface="+mn-lt"/>
              </a:defRPr>
            </a:lvl5pPr>
            <a:lvl6pPr marL="1203325" indent="-130175" defTabSz="895350" fontAlgn="base">
              <a:spcBef>
                <a:spcPct val="0"/>
              </a:spcBef>
              <a:spcAft>
                <a:spcPct val="0"/>
              </a:spcAft>
              <a:buClr>
                <a:schemeClr val="tx2"/>
              </a:buClr>
              <a:buSzPct val="89000"/>
              <a:buFont typeface="Arial" charset="0"/>
              <a:buChar char="-"/>
              <a:defRPr sz="1600">
                <a:latin typeface="+mn-lt"/>
              </a:defRPr>
            </a:lvl6pPr>
            <a:lvl7pPr marL="1660525" indent="-130175" defTabSz="895350" fontAlgn="base">
              <a:spcBef>
                <a:spcPct val="0"/>
              </a:spcBef>
              <a:spcAft>
                <a:spcPct val="0"/>
              </a:spcAft>
              <a:buClr>
                <a:schemeClr val="tx2"/>
              </a:buClr>
              <a:buSzPct val="89000"/>
              <a:buFont typeface="Arial" charset="0"/>
              <a:buChar char="-"/>
              <a:defRPr sz="1600">
                <a:latin typeface="+mn-lt"/>
              </a:defRPr>
            </a:lvl7pPr>
            <a:lvl8pPr marL="2117725" indent="-130175" defTabSz="895350" fontAlgn="base">
              <a:spcBef>
                <a:spcPct val="0"/>
              </a:spcBef>
              <a:spcAft>
                <a:spcPct val="0"/>
              </a:spcAft>
              <a:buClr>
                <a:schemeClr val="tx2"/>
              </a:buClr>
              <a:buSzPct val="89000"/>
              <a:buFont typeface="Arial" charset="0"/>
              <a:buChar char="-"/>
              <a:defRPr sz="1600">
                <a:latin typeface="+mn-lt"/>
              </a:defRPr>
            </a:lvl8pPr>
            <a:lvl9pPr marL="2574925" indent="-130175" defTabSz="895350" fontAlgn="base">
              <a:spcBef>
                <a:spcPct val="0"/>
              </a:spcBef>
              <a:spcAft>
                <a:spcPct val="0"/>
              </a:spcAft>
              <a:buClr>
                <a:schemeClr val="tx2"/>
              </a:buClr>
              <a:buSzPct val="89000"/>
              <a:buFont typeface="Arial" charset="0"/>
              <a:buChar char="-"/>
              <a:defRPr sz="1600">
                <a:latin typeface="+mn-lt"/>
              </a:defRPr>
            </a:lvl9pPr>
          </a:lstStyle>
          <a:p>
            <a:pPr algn="ctr">
              <a:buClr>
                <a:srgbClr val="002960"/>
              </a:buClr>
            </a:pPr>
            <a:r>
              <a:rPr lang="en-US" sz="1400" b="0" dirty="0">
                <a:solidFill>
                  <a:srgbClr val="000000"/>
                </a:solidFill>
              </a:rPr>
              <a:t>1.8</a:t>
            </a:r>
          </a:p>
        </p:txBody>
      </p:sp>
      <p:sp>
        <p:nvSpPr>
          <p:cNvPr id="133" name="Rectangle 125"/>
          <p:cNvSpPr txBox="1">
            <a:spLocks/>
          </p:cNvSpPr>
          <p:nvPr/>
        </p:nvSpPr>
        <p:spPr>
          <a:xfrm>
            <a:off x="7081456" y="4322119"/>
            <a:ext cx="586319" cy="285443"/>
          </a:xfrm>
          <a:prstGeom prst="ellipse">
            <a:avLst/>
          </a:prstGeom>
          <a:solidFill>
            <a:schemeClr val="accent1">
              <a:lumMod val="20000"/>
              <a:lumOff val="80000"/>
            </a:schemeClr>
          </a:solidFill>
          <a:ln>
            <a:noFill/>
          </a:ln>
          <a:effectLst/>
          <a:extLst/>
        </p:spPr>
        <p:txBody>
          <a:bodyPr vert="horz" wrap="none" lIns="0" tIns="0" rIns="0" bIns="0" numCol="1" anchor="ctr" anchorCtr="1" compatLnSpc="1">
            <a:prstTxWarp prst="textNoShape">
              <a:avLst/>
            </a:prstTxWarp>
            <a:noAutofit/>
          </a:bodyPr>
          <a:lstStyle>
            <a:lvl1pPr lvl="0" algn="l" defTabSz="895350">
              <a:buClr>
                <a:schemeClr val="tx2"/>
              </a:buClr>
              <a:defRPr sz="1600">
                <a:latin typeface="+mn-lt"/>
              </a:defRPr>
            </a:lvl1pPr>
            <a:lvl2pPr marL="193675" lvl="1" indent="-192088" algn="l" defTabSz="895350">
              <a:buClr>
                <a:schemeClr val="folHlink"/>
              </a:buClr>
              <a:buSzPct val="125000"/>
              <a:buFont typeface="Wingdings" pitchFamily="2" charset="2"/>
              <a:buChar char="§"/>
              <a:defRPr sz="1600">
                <a:latin typeface="+mn-lt"/>
              </a:defRPr>
            </a:lvl2pPr>
            <a:lvl3pPr marL="457200" lvl="2" indent="-261938" algn="l" defTabSz="895350">
              <a:buClr>
                <a:schemeClr val="folHlink"/>
              </a:buClr>
              <a:buSzPct val="120000"/>
              <a:buFont typeface="Arial" charset="0"/>
              <a:buChar char="̶"/>
              <a:defRPr sz="1600">
                <a:latin typeface="+mn-lt"/>
              </a:defRPr>
            </a:lvl3pPr>
            <a:lvl4pPr marL="614363" lvl="3" indent="-155575" algn="l" defTabSz="895350">
              <a:buClr>
                <a:schemeClr val="tx2"/>
              </a:buClr>
              <a:buSzPct val="120000"/>
              <a:buFont typeface="Arial" charset="0"/>
              <a:buChar char="▫"/>
              <a:defRPr sz="1600">
                <a:latin typeface="+mn-lt"/>
              </a:defRPr>
            </a:lvl4pPr>
            <a:lvl5pPr marL="746125" lvl="4" indent="-130175" algn="l" defTabSz="895350">
              <a:buClr>
                <a:schemeClr val="tx2"/>
              </a:buClr>
              <a:buSzPct val="89000"/>
              <a:buFont typeface="Arial" charset="0"/>
              <a:buChar char="-"/>
              <a:defRPr sz="1600">
                <a:latin typeface="+mn-lt"/>
              </a:defRPr>
            </a:lvl5pPr>
            <a:lvl6pPr marL="1203325" indent="-130175" defTabSz="895350" fontAlgn="base">
              <a:spcBef>
                <a:spcPct val="0"/>
              </a:spcBef>
              <a:spcAft>
                <a:spcPct val="0"/>
              </a:spcAft>
              <a:buClr>
                <a:schemeClr val="tx2"/>
              </a:buClr>
              <a:buSzPct val="89000"/>
              <a:buFont typeface="Arial" charset="0"/>
              <a:buChar char="-"/>
              <a:defRPr sz="1600">
                <a:latin typeface="+mn-lt"/>
              </a:defRPr>
            </a:lvl6pPr>
            <a:lvl7pPr marL="1660525" indent="-130175" defTabSz="895350" fontAlgn="base">
              <a:spcBef>
                <a:spcPct val="0"/>
              </a:spcBef>
              <a:spcAft>
                <a:spcPct val="0"/>
              </a:spcAft>
              <a:buClr>
                <a:schemeClr val="tx2"/>
              </a:buClr>
              <a:buSzPct val="89000"/>
              <a:buFont typeface="Arial" charset="0"/>
              <a:buChar char="-"/>
              <a:defRPr sz="1600">
                <a:latin typeface="+mn-lt"/>
              </a:defRPr>
            </a:lvl7pPr>
            <a:lvl8pPr marL="2117725" indent="-130175" defTabSz="895350" fontAlgn="base">
              <a:spcBef>
                <a:spcPct val="0"/>
              </a:spcBef>
              <a:spcAft>
                <a:spcPct val="0"/>
              </a:spcAft>
              <a:buClr>
                <a:schemeClr val="tx2"/>
              </a:buClr>
              <a:buSzPct val="89000"/>
              <a:buFont typeface="Arial" charset="0"/>
              <a:buChar char="-"/>
              <a:defRPr sz="1600">
                <a:latin typeface="+mn-lt"/>
              </a:defRPr>
            </a:lvl8pPr>
            <a:lvl9pPr marL="2574925" indent="-130175" defTabSz="895350" fontAlgn="base">
              <a:spcBef>
                <a:spcPct val="0"/>
              </a:spcBef>
              <a:spcAft>
                <a:spcPct val="0"/>
              </a:spcAft>
              <a:buClr>
                <a:schemeClr val="tx2"/>
              </a:buClr>
              <a:buSzPct val="89000"/>
              <a:buFont typeface="Arial" charset="0"/>
              <a:buChar char="-"/>
              <a:defRPr sz="1600">
                <a:latin typeface="+mn-lt"/>
              </a:defRPr>
            </a:lvl9pPr>
          </a:lstStyle>
          <a:p>
            <a:pPr algn="ctr">
              <a:buClr>
                <a:srgbClr val="002960"/>
              </a:buClr>
            </a:pPr>
            <a:r>
              <a:rPr lang="en-US" sz="1400" b="0" dirty="0">
                <a:solidFill>
                  <a:srgbClr val="000000"/>
                </a:solidFill>
              </a:rPr>
              <a:t>2.4</a:t>
            </a:r>
          </a:p>
        </p:txBody>
      </p:sp>
      <p:sp>
        <p:nvSpPr>
          <p:cNvPr id="134" name="Rectangle 125"/>
          <p:cNvSpPr txBox="1">
            <a:spLocks/>
          </p:cNvSpPr>
          <p:nvPr/>
        </p:nvSpPr>
        <p:spPr>
          <a:xfrm>
            <a:off x="7081456" y="4693061"/>
            <a:ext cx="586319" cy="285443"/>
          </a:xfrm>
          <a:prstGeom prst="ellipse">
            <a:avLst/>
          </a:prstGeom>
          <a:solidFill>
            <a:schemeClr val="accent1">
              <a:lumMod val="20000"/>
              <a:lumOff val="80000"/>
            </a:schemeClr>
          </a:solidFill>
          <a:ln>
            <a:noFill/>
          </a:ln>
          <a:effectLst/>
          <a:extLst/>
        </p:spPr>
        <p:txBody>
          <a:bodyPr vert="horz" wrap="none" lIns="0" tIns="0" rIns="0" bIns="0" numCol="1" anchor="ctr" anchorCtr="1" compatLnSpc="1">
            <a:prstTxWarp prst="textNoShape">
              <a:avLst/>
            </a:prstTxWarp>
            <a:noAutofit/>
          </a:bodyPr>
          <a:lstStyle>
            <a:lvl1pPr lvl="0" algn="l" defTabSz="895350">
              <a:buClr>
                <a:schemeClr val="tx2"/>
              </a:buClr>
              <a:defRPr sz="1600">
                <a:latin typeface="+mn-lt"/>
              </a:defRPr>
            </a:lvl1pPr>
            <a:lvl2pPr marL="193675" lvl="1" indent="-192088" algn="l" defTabSz="895350">
              <a:buClr>
                <a:schemeClr val="folHlink"/>
              </a:buClr>
              <a:buSzPct val="125000"/>
              <a:buFont typeface="Wingdings" pitchFamily="2" charset="2"/>
              <a:buChar char="§"/>
              <a:defRPr sz="1600">
                <a:latin typeface="+mn-lt"/>
              </a:defRPr>
            </a:lvl2pPr>
            <a:lvl3pPr marL="457200" lvl="2" indent="-261938" algn="l" defTabSz="895350">
              <a:buClr>
                <a:schemeClr val="folHlink"/>
              </a:buClr>
              <a:buSzPct val="120000"/>
              <a:buFont typeface="Arial" charset="0"/>
              <a:buChar char="̶"/>
              <a:defRPr sz="1600">
                <a:latin typeface="+mn-lt"/>
              </a:defRPr>
            </a:lvl3pPr>
            <a:lvl4pPr marL="614363" lvl="3" indent="-155575" algn="l" defTabSz="895350">
              <a:buClr>
                <a:schemeClr val="tx2"/>
              </a:buClr>
              <a:buSzPct val="120000"/>
              <a:buFont typeface="Arial" charset="0"/>
              <a:buChar char="▫"/>
              <a:defRPr sz="1600">
                <a:latin typeface="+mn-lt"/>
              </a:defRPr>
            </a:lvl4pPr>
            <a:lvl5pPr marL="746125" lvl="4" indent="-130175" algn="l" defTabSz="895350">
              <a:buClr>
                <a:schemeClr val="tx2"/>
              </a:buClr>
              <a:buSzPct val="89000"/>
              <a:buFont typeface="Arial" charset="0"/>
              <a:buChar char="-"/>
              <a:defRPr sz="1600">
                <a:latin typeface="+mn-lt"/>
              </a:defRPr>
            </a:lvl5pPr>
            <a:lvl6pPr marL="1203325" indent="-130175" defTabSz="895350" fontAlgn="base">
              <a:spcBef>
                <a:spcPct val="0"/>
              </a:spcBef>
              <a:spcAft>
                <a:spcPct val="0"/>
              </a:spcAft>
              <a:buClr>
                <a:schemeClr val="tx2"/>
              </a:buClr>
              <a:buSzPct val="89000"/>
              <a:buFont typeface="Arial" charset="0"/>
              <a:buChar char="-"/>
              <a:defRPr sz="1600">
                <a:latin typeface="+mn-lt"/>
              </a:defRPr>
            </a:lvl6pPr>
            <a:lvl7pPr marL="1660525" indent="-130175" defTabSz="895350" fontAlgn="base">
              <a:spcBef>
                <a:spcPct val="0"/>
              </a:spcBef>
              <a:spcAft>
                <a:spcPct val="0"/>
              </a:spcAft>
              <a:buClr>
                <a:schemeClr val="tx2"/>
              </a:buClr>
              <a:buSzPct val="89000"/>
              <a:buFont typeface="Arial" charset="0"/>
              <a:buChar char="-"/>
              <a:defRPr sz="1600">
                <a:latin typeface="+mn-lt"/>
              </a:defRPr>
            </a:lvl7pPr>
            <a:lvl8pPr marL="2117725" indent="-130175" defTabSz="895350" fontAlgn="base">
              <a:spcBef>
                <a:spcPct val="0"/>
              </a:spcBef>
              <a:spcAft>
                <a:spcPct val="0"/>
              </a:spcAft>
              <a:buClr>
                <a:schemeClr val="tx2"/>
              </a:buClr>
              <a:buSzPct val="89000"/>
              <a:buFont typeface="Arial" charset="0"/>
              <a:buChar char="-"/>
              <a:defRPr sz="1600">
                <a:latin typeface="+mn-lt"/>
              </a:defRPr>
            </a:lvl8pPr>
            <a:lvl9pPr marL="2574925" indent="-130175" defTabSz="895350" fontAlgn="base">
              <a:spcBef>
                <a:spcPct val="0"/>
              </a:spcBef>
              <a:spcAft>
                <a:spcPct val="0"/>
              </a:spcAft>
              <a:buClr>
                <a:schemeClr val="tx2"/>
              </a:buClr>
              <a:buSzPct val="89000"/>
              <a:buFont typeface="Arial" charset="0"/>
              <a:buChar char="-"/>
              <a:defRPr sz="1600">
                <a:latin typeface="+mn-lt"/>
              </a:defRPr>
            </a:lvl9pPr>
          </a:lstStyle>
          <a:p>
            <a:pPr algn="ctr">
              <a:buClr>
                <a:srgbClr val="002960"/>
              </a:buClr>
            </a:pPr>
            <a:r>
              <a:rPr lang="en-US" sz="1400" b="0" dirty="0">
                <a:solidFill>
                  <a:srgbClr val="000000"/>
                </a:solidFill>
              </a:rPr>
              <a:t>2.1</a:t>
            </a:r>
          </a:p>
        </p:txBody>
      </p:sp>
      <p:sp>
        <p:nvSpPr>
          <p:cNvPr id="135" name="Rectangle 125"/>
          <p:cNvSpPr txBox="1">
            <a:spLocks/>
          </p:cNvSpPr>
          <p:nvPr/>
        </p:nvSpPr>
        <p:spPr>
          <a:xfrm>
            <a:off x="7081456" y="5064003"/>
            <a:ext cx="586319" cy="285443"/>
          </a:xfrm>
          <a:prstGeom prst="ellipse">
            <a:avLst/>
          </a:prstGeom>
          <a:solidFill>
            <a:schemeClr val="accent1">
              <a:lumMod val="20000"/>
              <a:lumOff val="80000"/>
            </a:schemeClr>
          </a:solidFill>
          <a:ln>
            <a:noFill/>
          </a:ln>
          <a:effectLst/>
          <a:extLst/>
        </p:spPr>
        <p:txBody>
          <a:bodyPr vert="horz" wrap="none" lIns="0" tIns="0" rIns="0" bIns="0" numCol="1" anchor="ctr" anchorCtr="1" compatLnSpc="1">
            <a:prstTxWarp prst="textNoShape">
              <a:avLst/>
            </a:prstTxWarp>
            <a:noAutofit/>
          </a:bodyPr>
          <a:lstStyle>
            <a:lvl1pPr lvl="0" algn="l" defTabSz="895350">
              <a:buClr>
                <a:schemeClr val="tx2"/>
              </a:buClr>
              <a:defRPr sz="1600">
                <a:latin typeface="+mn-lt"/>
              </a:defRPr>
            </a:lvl1pPr>
            <a:lvl2pPr marL="193675" lvl="1" indent="-192088" algn="l" defTabSz="895350">
              <a:buClr>
                <a:schemeClr val="folHlink"/>
              </a:buClr>
              <a:buSzPct val="125000"/>
              <a:buFont typeface="Wingdings" pitchFamily="2" charset="2"/>
              <a:buChar char="§"/>
              <a:defRPr sz="1600">
                <a:latin typeface="+mn-lt"/>
              </a:defRPr>
            </a:lvl2pPr>
            <a:lvl3pPr marL="457200" lvl="2" indent="-261938" algn="l" defTabSz="895350">
              <a:buClr>
                <a:schemeClr val="folHlink"/>
              </a:buClr>
              <a:buSzPct val="120000"/>
              <a:buFont typeface="Arial" charset="0"/>
              <a:buChar char="̶"/>
              <a:defRPr sz="1600">
                <a:latin typeface="+mn-lt"/>
              </a:defRPr>
            </a:lvl3pPr>
            <a:lvl4pPr marL="614363" lvl="3" indent="-155575" algn="l" defTabSz="895350">
              <a:buClr>
                <a:schemeClr val="tx2"/>
              </a:buClr>
              <a:buSzPct val="120000"/>
              <a:buFont typeface="Arial" charset="0"/>
              <a:buChar char="▫"/>
              <a:defRPr sz="1600">
                <a:latin typeface="+mn-lt"/>
              </a:defRPr>
            </a:lvl4pPr>
            <a:lvl5pPr marL="746125" lvl="4" indent="-130175" algn="l" defTabSz="895350">
              <a:buClr>
                <a:schemeClr val="tx2"/>
              </a:buClr>
              <a:buSzPct val="89000"/>
              <a:buFont typeface="Arial" charset="0"/>
              <a:buChar char="-"/>
              <a:defRPr sz="1600">
                <a:latin typeface="+mn-lt"/>
              </a:defRPr>
            </a:lvl5pPr>
            <a:lvl6pPr marL="1203325" indent="-130175" defTabSz="895350" fontAlgn="base">
              <a:spcBef>
                <a:spcPct val="0"/>
              </a:spcBef>
              <a:spcAft>
                <a:spcPct val="0"/>
              </a:spcAft>
              <a:buClr>
                <a:schemeClr val="tx2"/>
              </a:buClr>
              <a:buSzPct val="89000"/>
              <a:buFont typeface="Arial" charset="0"/>
              <a:buChar char="-"/>
              <a:defRPr sz="1600">
                <a:latin typeface="+mn-lt"/>
              </a:defRPr>
            </a:lvl6pPr>
            <a:lvl7pPr marL="1660525" indent="-130175" defTabSz="895350" fontAlgn="base">
              <a:spcBef>
                <a:spcPct val="0"/>
              </a:spcBef>
              <a:spcAft>
                <a:spcPct val="0"/>
              </a:spcAft>
              <a:buClr>
                <a:schemeClr val="tx2"/>
              </a:buClr>
              <a:buSzPct val="89000"/>
              <a:buFont typeface="Arial" charset="0"/>
              <a:buChar char="-"/>
              <a:defRPr sz="1600">
                <a:latin typeface="+mn-lt"/>
              </a:defRPr>
            </a:lvl7pPr>
            <a:lvl8pPr marL="2117725" indent="-130175" defTabSz="895350" fontAlgn="base">
              <a:spcBef>
                <a:spcPct val="0"/>
              </a:spcBef>
              <a:spcAft>
                <a:spcPct val="0"/>
              </a:spcAft>
              <a:buClr>
                <a:schemeClr val="tx2"/>
              </a:buClr>
              <a:buSzPct val="89000"/>
              <a:buFont typeface="Arial" charset="0"/>
              <a:buChar char="-"/>
              <a:defRPr sz="1600">
                <a:latin typeface="+mn-lt"/>
              </a:defRPr>
            </a:lvl8pPr>
            <a:lvl9pPr marL="2574925" indent="-130175" defTabSz="895350" fontAlgn="base">
              <a:spcBef>
                <a:spcPct val="0"/>
              </a:spcBef>
              <a:spcAft>
                <a:spcPct val="0"/>
              </a:spcAft>
              <a:buClr>
                <a:schemeClr val="tx2"/>
              </a:buClr>
              <a:buSzPct val="89000"/>
              <a:buFont typeface="Arial" charset="0"/>
              <a:buChar char="-"/>
              <a:defRPr sz="1600">
                <a:latin typeface="+mn-lt"/>
              </a:defRPr>
            </a:lvl9pPr>
          </a:lstStyle>
          <a:p>
            <a:pPr algn="ctr">
              <a:buClr>
                <a:srgbClr val="002960"/>
              </a:buClr>
            </a:pPr>
            <a:r>
              <a:rPr lang="en-US" sz="1400" b="0" dirty="0">
                <a:solidFill>
                  <a:srgbClr val="000000"/>
                </a:solidFill>
              </a:rPr>
              <a:t>2</a:t>
            </a:r>
          </a:p>
        </p:txBody>
      </p:sp>
      <p:sp>
        <p:nvSpPr>
          <p:cNvPr id="136" name="Rectangle 125"/>
          <p:cNvSpPr txBox="1">
            <a:spLocks/>
          </p:cNvSpPr>
          <p:nvPr/>
        </p:nvSpPr>
        <p:spPr>
          <a:xfrm>
            <a:off x="7081456" y="5434946"/>
            <a:ext cx="586319" cy="285443"/>
          </a:xfrm>
          <a:prstGeom prst="ellipse">
            <a:avLst/>
          </a:prstGeom>
          <a:solidFill>
            <a:schemeClr val="accent1">
              <a:lumMod val="20000"/>
              <a:lumOff val="80000"/>
            </a:schemeClr>
          </a:solidFill>
          <a:ln>
            <a:noFill/>
          </a:ln>
          <a:effectLst/>
          <a:extLst/>
        </p:spPr>
        <p:txBody>
          <a:bodyPr vert="horz" wrap="none" lIns="0" tIns="0" rIns="0" bIns="0" numCol="1" anchor="ctr" anchorCtr="1" compatLnSpc="1">
            <a:prstTxWarp prst="textNoShape">
              <a:avLst/>
            </a:prstTxWarp>
            <a:noAutofit/>
          </a:bodyPr>
          <a:lstStyle>
            <a:lvl1pPr lvl="0" algn="l" defTabSz="895350">
              <a:buClr>
                <a:schemeClr val="tx2"/>
              </a:buClr>
              <a:defRPr sz="1600">
                <a:latin typeface="+mn-lt"/>
              </a:defRPr>
            </a:lvl1pPr>
            <a:lvl2pPr marL="193675" lvl="1" indent="-192088" algn="l" defTabSz="895350">
              <a:buClr>
                <a:schemeClr val="folHlink"/>
              </a:buClr>
              <a:buSzPct val="125000"/>
              <a:buFont typeface="Wingdings" pitchFamily="2" charset="2"/>
              <a:buChar char="§"/>
              <a:defRPr sz="1600">
                <a:latin typeface="+mn-lt"/>
              </a:defRPr>
            </a:lvl2pPr>
            <a:lvl3pPr marL="457200" lvl="2" indent="-261938" algn="l" defTabSz="895350">
              <a:buClr>
                <a:schemeClr val="folHlink"/>
              </a:buClr>
              <a:buSzPct val="120000"/>
              <a:buFont typeface="Arial" charset="0"/>
              <a:buChar char="̶"/>
              <a:defRPr sz="1600">
                <a:latin typeface="+mn-lt"/>
              </a:defRPr>
            </a:lvl3pPr>
            <a:lvl4pPr marL="614363" lvl="3" indent="-155575" algn="l" defTabSz="895350">
              <a:buClr>
                <a:schemeClr val="tx2"/>
              </a:buClr>
              <a:buSzPct val="120000"/>
              <a:buFont typeface="Arial" charset="0"/>
              <a:buChar char="▫"/>
              <a:defRPr sz="1600">
                <a:latin typeface="+mn-lt"/>
              </a:defRPr>
            </a:lvl4pPr>
            <a:lvl5pPr marL="746125" lvl="4" indent="-130175" algn="l" defTabSz="895350">
              <a:buClr>
                <a:schemeClr val="tx2"/>
              </a:buClr>
              <a:buSzPct val="89000"/>
              <a:buFont typeface="Arial" charset="0"/>
              <a:buChar char="-"/>
              <a:defRPr sz="1600">
                <a:latin typeface="+mn-lt"/>
              </a:defRPr>
            </a:lvl5pPr>
            <a:lvl6pPr marL="1203325" indent="-130175" defTabSz="895350" fontAlgn="base">
              <a:spcBef>
                <a:spcPct val="0"/>
              </a:spcBef>
              <a:spcAft>
                <a:spcPct val="0"/>
              </a:spcAft>
              <a:buClr>
                <a:schemeClr val="tx2"/>
              </a:buClr>
              <a:buSzPct val="89000"/>
              <a:buFont typeface="Arial" charset="0"/>
              <a:buChar char="-"/>
              <a:defRPr sz="1600">
                <a:latin typeface="+mn-lt"/>
              </a:defRPr>
            </a:lvl6pPr>
            <a:lvl7pPr marL="1660525" indent="-130175" defTabSz="895350" fontAlgn="base">
              <a:spcBef>
                <a:spcPct val="0"/>
              </a:spcBef>
              <a:spcAft>
                <a:spcPct val="0"/>
              </a:spcAft>
              <a:buClr>
                <a:schemeClr val="tx2"/>
              </a:buClr>
              <a:buSzPct val="89000"/>
              <a:buFont typeface="Arial" charset="0"/>
              <a:buChar char="-"/>
              <a:defRPr sz="1600">
                <a:latin typeface="+mn-lt"/>
              </a:defRPr>
            </a:lvl7pPr>
            <a:lvl8pPr marL="2117725" indent="-130175" defTabSz="895350" fontAlgn="base">
              <a:spcBef>
                <a:spcPct val="0"/>
              </a:spcBef>
              <a:spcAft>
                <a:spcPct val="0"/>
              </a:spcAft>
              <a:buClr>
                <a:schemeClr val="tx2"/>
              </a:buClr>
              <a:buSzPct val="89000"/>
              <a:buFont typeface="Arial" charset="0"/>
              <a:buChar char="-"/>
              <a:defRPr sz="1600">
                <a:latin typeface="+mn-lt"/>
              </a:defRPr>
            </a:lvl8pPr>
            <a:lvl9pPr marL="2574925" indent="-130175" defTabSz="895350" fontAlgn="base">
              <a:spcBef>
                <a:spcPct val="0"/>
              </a:spcBef>
              <a:spcAft>
                <a:spcPct val="0"/>
              </a:spcAft>
              <a:buClr>
                <a:schemeClr val="tx2"/>
              </a:buClr>
              <a:buSzPct val="89000"/>
              <a:buFont typeface="Arial" charset="0"/>
              <a:buChar char="-"/>
              <a:defRPr sz="1600">
                <a:latin typeface="+mn-lt"/>
              </a:defRPr>
            </a:lvl9pPr>
          </a:lstStyle>
          <a:p>
            <a:pPr algn="ctr">
              <a:buClr>
                <a:srgbClr val="002960"/>
              </a:buClr>
            </a:pPr>
            <a:r>
              <a:rPr lang="en-US" sz="1400" b="0" dirty="0">
                <a:solidFill>
                  <a:srgbClr val="000000"/>
                </a:solidFill>
              </a:rPr>
              <a:t>2</a:t>
            </a:r>
          </a:p>
        </p:txBody>
      </p:sp>
      <p:sp>
        <p:nvSpPr>
          <p:cNvPr id="137" name="Rectangle 125"/>
          <p:cNvSpPr txBox="1">
            <a:spLocks/>
          </p:cNvSpPr>
          <p:nvPr/>
        </p:nvSpPr>
        <p:spPr>
          <a:xfrm>
            <a:off x="7081456" y="5807383"/>
            <a:ext cx="586319" cy="285443"/>
          </a:xfrm>
          <a:prstGeom prst="ellipse">
            <a:avLst/>
          </a:prstGeom>
          <a:solidFill>
            <a:schemeClr val="accent1">
              <a:lumMod val="20000"/>
              <a:lumOff val="80000"/>
            </a:schemeClr>
          </a:solidFill>
          <a:ln>
            <a:noFill/>
          </a:ln>
          <a:effectLst/>
          <a:extLst/>
        </p:spPr>
        <p:txBody>
          <a:bodyPr vert="horz" wrap="none" lIns="0" tIns="0" rIns="0" bIns="0" numCol="1" anchor="ctr" anchorCtr="1" compatLnSpc="1">
            <a:prstTxWarp prst="textNoShape">
              <a:avLst/>
            </a:prstTxWarp>
            <a:noAutofit/>
          </a:bodyPr>
          <a:lstStyle>
            <a:lvl1pPr lvl="0" algn="l" defTabSz="895350">
              <a:buClr>
                <a:schemeClr val="tx2"/>
              </a:buClr>
              <a:defRPr sz="1600">
                <a:latin typeface="+mn-lt"/>
              </a:defRPr>
            </a:lvl1pPr>
            <a:lvl2pPr marL="193675" lvl="1" indent="-192088" algn="l" defTabSz="895350">
              <a:buClr>
                <a:schemeClr val="folHlink"/>
              </a:buClr>
              <a:buSzPct val="125000"/>
              <a:buFont typeface="Wingdings" pitchFamily="2" charset="2"/>
              <a:buChar char="§"/>
              <a:defRPr sz="1600">
                <a:latin typeface="+mn-lt"/>
              </a:defRPr>
            </a:lvl2pPr>
            <a:lvl3pPr marL="457200" lvl="2" indent="-261938" algn="l" defTabSz="895350">
              <a:buClr>
                <a:schemeClr val="folHlink"/>
              </a:buClr>
              <a:buSzPct val="120000"/>
              <a:buFont typeface="Arial" charset="0"/>
              <a:buChar char="̶"/>
              <a:defRPr sz="1600">
                <a:latin typeface="+mn-lt"/>
              </a:defRPr>
            </a:lvl3pPr>
            <a:lvl4pPr marL="614363" lvl="3" indent="-155575" algn="l" defTabSz="895350">
              <a:buClr>
                <a:schemeClr val="tx2"/>
              </a:buClr>
              <a:buSzPct val="120000"/>
              <a:buFont typeface="Arial" charset="0"/>
              <a:buChar char="▫"/>
              <a:defRPr sz="1600">
                <a:latin typeface="+mn-lt"/>
              </a:defRPr>
            </a:lvl4pPr>
            <a:lvl5pPr marL="746125" lvl="4" indent="-130175" algn="l" defTabSz="895350">
              <a:buClr>
                <a:schemeClr val="tx2"/>
              </a:buClr>
              <a:buSzPct val="89000"/>
              <a:buFont typeface="Arial" charset="0"/>
              <a:buChar char="-"/>
              <a:defRPr sz="1600">
                <a:latin typeface="+mn-lt"/>
              </a:defRPr>
            </a:lvl5pPr>
            <a:lvl6pPr marL="1203325" indent="-130175" defTabSz="895350" fontAlgn="base">
              <a:spcBef>
                <a:spcPct val="0"/>
              </a:spcBef>
              <a:spcAft>
                <a:spcPct val="0"/>
              </a:spcAft>
              <a:buClr>
                <a:schemeClr val="tx2"/>
              </a:buClr>
              <a:buSzPct val="89000"/>
              <a:buFont typeface="Arial" charset="0"/>
              <a:buChar char="-"/>
              <a:defRPr sz="1600">
                <a:latin typeface="+mn-lt"/>
              </a:defRPr>
            </a:lvl6pPr>
            <a:lvl7pPr marL="1660525" indent="-130175" defTabSz="895350" fontAlgn="base">
              <a:spcBef>
                <a:spcPct val="0"/>
              </a:spcBef>
              <a:spcAft>
                <a:spcPct val="0"/>
              </a:spcAft>
              <a:buClr>
                <a:schemeClr val="tx2"/>
              </a:buClr>
              <a:buSzPct val="89000"/>
              <a:buFont typeface="Arial" charset="0"/>
              <a:buChar char="-"/>
              <a:defRPr sz="1600">
                <a:latin typeface="+mn-lt"/>
              </a:defRPr>
            </a:lvl7pPr>
            <a:lvl8pPr marL="2117725" indent="-130175" defTabSz="895350" fontAlgn="base">
              <a:spcBef>
                <a:spcPct val="0"/>
              </a:spcBef>
              <a:spcAft>
                <a:spcPct val="0"/>
              </a:spcAft>
              <a:buClr>
                <a:schemeClr val="tx2"/>
              </a:buClr>
              <a:buSzPct val="89000"/>
              <a:buFont typeface="Arial" charset="0"/>
              <a:buChar char="-"/>
              <a:defRPr sz="1600">
                <a:latin typeface="+mn-lt"/>
              </a:defRPr>
            </a:lvl8pPr>
            <a:lvl9pPr marL="2574925" indent="-130175" defTabSz="895350" fontAlgn="base">
              <a:spcBef>
                <a:spcPct val="0"/>
              </a:spcBef>
              <a:spcAft>
                <a:spcPct val="0"/>
              </a:spcAft>
              <a:buClr>
                <a:schemeClr val="tx2"/>
              </a:buClr>
              <a:buSzPct val="89000"/>
              <a:buFont typeface="Arial" charset="0"/>
              <a:buChar char="-"/>
              <a:defRPr sz="1600">
                <a:latin typeface="+mn-lt"/>
              </a:defRPr>
            </a:lvl9pPr>
          </a:lstStyle>
          <a:p>
            <a:pPr algn="ctr">
              <a:buClr>
                <a:srgbClr val="002960"/>
              </a:buClr>
            </a:pPr>
            <a:r>
              <a:rPr lang="en-US" sz="1400" b="0" dirty="0">
                <a:solidFill>
                  <a:srgbClr val="000000"/>
                </a:solidFill>
              </a:rPr>
              <a:t>1.7</a:t>
            </a:r>
          </a:p>
        </p:txBody>
      </p:sp>
      <p:sp>
        <p:nvSpPr>
          <p:cNvPr id="140" name="McK 3. Unit of measure"/>
          <p:cNvSpPr txBox="1">
            <a:spLocks noChangeArrowheads="1"/>
          </p:cNvSpPr>
          <p:nvPr>
            <p:custDataLst>
              <p:tags r:id="rId40"/>
            </p:custDataLst>
          </p:nvPr>
        </p:nvSpPr>
        <p:spPr bwMode="auto">
          <a:xfrm>
            <a:off x="129709" y="851357"/>
            <a:ext cx="3656012"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lgn="l"/>
            <a:r>
              <a:rPr lang="en-US" sz="1400" b="0" dirty="0">
                <a:solidFill>
                  <a:srgbClr val="808080"/>
                </a:solidFill>
              </a:rPr>
              <a:t>EBIT pa in </a:t>
            </a:r>
            <a:r>
              <a:rPr lang="en-US" sz="1400" b="0" dirty="0" err="1">
                <a:solidFill>
                  <a:srgbClr val="808080"/>
                </a:solidFill>
              </a:rPr>
              <a:t>US$m</a:t>
            </a:r>
            <a:endParaRPr lang="en-US" sz="1400" b="0" dirty="0">
              <a:solidFill>
                <a:srgbClr val="808080"/>
              </a:solidFill>
            </a:endParaRPr>
          </a:p>
        </p:txBody>
      </p:sp>
      <p:sp>
        <p:nvSpPr>
          <p:cNvPr id="5" name="Freeform 4"/>
          <p:cNvSpPr/>
          <p:nvPr/>
        </p:nvSpPr>
        <p:spPr bwMode="auto">
          <a:xfrm>
            <a:off x="8057925" y="1724025"/>
            <a:ext cx="238126" cy="4368801"/>
          </a:xfrm>
          <a:custGeom>
            <a:avLst/>
            <a:gdLst>
              <a:gd name="connsiteX0" fmla="*/ 0 w 590550"/>
              <a:gd name="connsiteY0" fmla="*/ 0 h 4229100"/>
              <a:gd name="connsiteX1" fmla="*/ 590550 w 590550"/>
              <a:gd name="connsiteY1" fmla="*/ 0 h 4229100"/>
              <a:gd name="connsiteX2" fmla="*/ 590550 w 590550"/>
              <a:gd name="connsiteY2" fmla="*/ 4229100 h 4229100"/>
              <a:gd name="connsiteX3" fmla="*/ 0 w 590550"/>
              <a:gd name="connsiteY3" fmla="*/ 4229100 h 4229100"/>
            </a:gdLst>
            <a:ahLst/>
            <a:cxnLst>
              <a:cxn ang="0">
                <a:pos x="connsiteX0" y="connsiteY0"/>
              </a:cxn>
              <a:cxn ang="0">
                <a:pos x="connsiteX1" y="connsiteY1"/>
              </a:cxn>
              <a:cxn ang="0">
                <a:pos x="connsiteX2" y="connsiteY2"/>
              </a:cxn>
              <a:cxn ang="0">
                <a:pos x="connsiteX3" y="connsiteY3"/>
              </a:cxn>
            </a:cxnLst>
            <a:rect l="l" t="t" r="r" b="b"/>
            <a:pathLst>
              <a:path w="590550" h="4229100">
                <a:moveTo>
                  <a:pt x="0" y="0"/>
                </a:moveTo>
                <a:lnTo>
                  <a:pt x="590550" y="0"/>
                </a:lnTo>
                <a:lnTo>
                  <a:pt x="590550" y="4229100"/>
                </a:lnTo>
                <a:lnTo>
                  <a:pt x="0" y="4229100"/>
                </a:lnTo>
              </a:path>
            </a:pathLst>
          </a:custGeom>
          <a:noFill/>
          <a:ln w="9525"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algn="l"/>
            <a:endParaRPr lang="en-US" sz="1600">
              <a:solidFill>
                <a:srgbClr val="000000"/>
              </a:solidFill>
              <a:latin typeface="Arial" charset="0"/>
            </a:endParaRPr>
          </a:p>
        </p:txBody>
      </p:sp>
      <p:sp>
        <p:nvSpPr>
          <p:cNvPr id="144" name="Oval 143"/>
          <p:cNvSpPr>
            <a:spLocks/>
          </p:cNvSpPr>
          <p:nvPr/>
        </p:nvSpPr>
        <p:spPr bwMode="auto">
          <a:xfrm>
            <a:off x="8002891" y="3756948"/>
            <a:ext cx="586319" cy="302955"/>
          </a:xfrm>
          <a:prstGeom prst="ellipse">
            <a:avLst/>
          </a:prstGeom>
          <a:solidFill>
            <a:schemeClr val="accent1"/>
          </a:solidFill>
          <a:ln w="9525" cap="flat" cmpd="sng" algn="ctr">
            <a:noFill/>
            <a:prstDash val="solid"/>
            <a:round/>
            <a:headEnd type="none" w="med" len="med"/>
            <a:tailEnd type="none" w="med" len="med"/>
          </a:ln>
          <a:effectLst>
            <a:outerShdw blurRad="63500" sx="102000" sy="102000" algn="ctr" rotWithShape="0">
              <a:prstClr val="black">
                <a:alpha val="40000"/>
              </a:prstClr>
            </a:outerShdw>
          </a:effectLst>
          <a:extLst/>
        </p:spPr>
        <p:txBody>
          <a:bodyPr vert="horz" wrap="none" lIns="0" tIns="0" rIns="0" bIns="0" numCol="1" rtlCol="0" anchor="ctr" anchorCtr="1" compatLnSpc="1">
            <a:prstTxWarp prst="textNoShape">
              <a:avLst/>
            </a:prstTxWarp>
          </a:bodyPr>
          <a:lstStyle/>
          <a:p>
            <a:r>
              <a:rPr lang="en-US" sz="1400" b="1" dirty="0">
                <a:solidFill>
                  <a:srgbClr val="FFFFFF"/>
                </a:solidFill>
              </a:rPr>
              <a:t>2.7</a:t>
            </a:r>
          </a:p>
        </p:txBody>
      </p:sp>
      <p:grpSp>
        <p:nvGrpSpPr>
          <p:cNvPr id="16" name="Group 15"/>
          <p:cNvGrpSpPr/>
          <p:nvPr/>
        </p:nvGrpSpPr>
        <p:grpSpPr>
          <a:xfrm>
            <a:off x="193005" y="1757363"/>
            <a:ext cx="554986" cy="4282912"/>
            <a:chOff x="183480" y="1757363"/>
            <a:chExt cx="554986" cy="4642542"/>
          </a:xfrm>
        </p:grpSpPr>
        <p:pic>
          <p:nvPicPr>
            <p:cNvPr id="2826311" name="Picture 71" descr="application,science,chemistry"/>
            <p:cNvPicPr>
              <a:picLocks noChangeAspect="1" noChangeArrowheads="1"/>
            </p:cNvPicPr>
            <p:nvPr/>
          </p:nvPicPr>
          <p:blipFill>
            <a:blip r:embed="rId48" cstate="print">
              <a:extLst>
                <a:ext uri="{28A0092B-C50C-407E-A947-70E740481C1C}">
                  <a14:useLocalDpi xmlns:a14="http://schemas.microsoft.com/office/drawing/2010/main" val="0"/>
                </a:ext>
              </a:extLst>
            </a:blip>
            <a:srcRect/>
            <a:stretch>
              <a:fillRect/>
            </a:stretch>
          </p:blipFill>
          <p:spPr bwMode="auto">
            <a:xfrm>
              <a:off x="243029" y="2852738"/>
              <a:ext cx="378739" cy="378739"/>
            </a:xfrm>
            <a:prstGeom prst="rect">
              <a:avLst/>
            </a:prstGeom>
            <a:noFill/>
            <a:extLst>
              <a:ext uri="{909E8E84-426E-40DD-AFC4-6F175D3DCCD1}">
                <a14:hiddenFill xmlns:a14="http://schemas.microsoft.com/office/drawing/2010/main">
                  <a:solidFill>
                    <a:srgbClr val="FFFFFF"/>
                  </a:solidFill>
                </a14:hiddenFill>
              </a:ext>
            </a:extLst>
          </p:spPr>
        </p:pic>
        <p:pic>
          <p:nvPicPr>
            <p:cNvPr id="2826316" name="Picture 76" descr="bar, bullion, gold icon"/>
            <p:cNvPicPr>
              <a:picLocks noChangeAspect="1" noChangeArrowheads="1"/>
            </p:cNvPicPr>
            <p:nvPr/>
          </p:nvPicPr>
          <p:blipFill>
            <a:blip r:embed="rId49" cstate="print">
              <a:extLst>
                <a:ext uri="{28A0092B-C50C-407E-A947-70E740481C1C}">
                  <a14:useLocalDpi xmlns:a14="http://schemas.microsoft.com/office/drawing/2010/main" val="0"/>
                </a:ext>
              </a:extLst>
            </a:blip>
            <a:srcRect/>
            <a:stretch>
              <a:fillRect/>
            </a:stretch>
          </p:blipFill>
          <p:spPr bwMode="auto">
            <a:xfrm>
              <a:off x="239625" y="4476750"/>
              <a:ext cx="385547" cy="385547"/>
            </a:xfrm>
            <a:prstGeom prst="rect">
              <a:avLst/>
            </a:prstGeom>
            <a:noFill/>
            <a:extLst>
              <a:ext uri="{909E8E84-426E-40DD-AFC4-6F175D3DCCD1}">
                <a14:hiddenFill xmlns:a14="http://schemas.microsoft.com/office/drawing/2010/main">
                  <a:solidFill>
                    <a:srgbClr val="FFFFFF"/>
                  </a:solidFill>
                </a14:hiddenFill>
              </a:ext>
            </a:extLst>
          </p:spPr>
        </p:pic>
        <p:pic>
          <p:nvPicPr>
            <p:cNvPr id="2826318" name="Picture 78" descr="Ring, Fingerring, Silver, Engagement"/>
            <p:cNvPicPr>
              <a:picLocks noChangeAspect="1" noChangeArrowheads="1"/>
            </p:cNvPicPr>
            <p:nvPr/>
          </p:nvPicPr>
          <p:blipFill>
            <a:blip r:embed="rId50" cstate="print">
              <a:extLst>
                <a:ext uri="{28A0092B-C50C-407E-A947-70E740481C1C}">
                  <a14:useLocalDpi xmlns:a14="http://schemas.microsoft.com/office/drawing/2010/main" val="0"/>
                </a:ext>
              </a:extLst>
            </a:blip>
            <a:srcRect/>
            <a:stretch>
              <a:fillRect/>
            </a:stretch>
          </p:blipFill>
          <p:spPr bwMode="auto">
            <a:xfrm>
              <a:off x="272527" y="3305175"/>
              <a:ext cx="319743" cy="371312"/>
            </a:xfrm>
            <a:prstGeom prst="rect">
              <a:avLst/>
            </a:prstGeom>
            <a:noFill/>
            <a:extLst>
              <a:ext uri="{909E8E84-426E-40DD-AFC4-6F175D3DCCD1}">
                <a14:hiddenFill xmlns:a14="http://schemas.microsoft.com/office/drawing/2010/main">
                  <a:solidFill>
                    <a:srgbClr val="FFFFFF"/>
                  </a:solidFill>
                </a14:hiddenFill>
              </a:ext>
            </a:extLst>
          </p:spPr>
        </p:pic>
        <p:pic>
          <p:nvPicPr>
            <p:cNvPr id="2826325" name="Picture 85" descr="cropped images,cropped pictures,filling stations,fuel pumps,fuels,gas pumps,gas stations,gases,gasoline pumps,gasolines,PNG,pumps,service stations,stations,transparent background"/>
            <p:cNvPicPr>
              <a:picLocks noChangeAspect="1" noChangeArrowheads="1"/>
            </p:cNvPicPr>
            <p:nvPr/>
          </p:nvPicPr>
          <p:blipFill>
            <a:blip r:embed="rId51" cstate="print">
              <a:extLst>
                <a:ext uri="{28A0092B-C50C-407E-A947-70E740481C1C}">
                  <a14:useLocalDpi xmlns:a14="http://schemas.microsoft.com/office/drawing/2010/main" val="0"/>
                </a:ext>
              </a:extLst>
            </a:blip>
            <a:srcRect/>
            <a:stretch>
              <a:fillRect/>
            </a:stretch>
          </p:blipFill>
          <p:spPr bwMode="auto">
            <a:xfrm>
              <a:off x="246661" y="2535238"/>
              <a:ext cx="371474" cy="371474"/>
            </a:xfrm>
            <a:prstGeom prst="rect">
              <a:avLst/>
            </a:prstGeom>
            <a:noFill/>
            <a:extLst>
              <a:ext uri="{909E8E84-426E-40DD-AFC4-6F175D3DCCD1}">
                <a14:hiddenFill xmlns:a14="http://schemas.microsoft.com/office/drawing/2010/main">
                  <a:solidFill>
                    <a:srgbClr val="FFFFFF"/>
                  </a:solidFill>
                </a14:hiddenFill>
              </a:ext>
            </a:extLst>
          </p:spPr>
        </p:pic>
        <p:pic>
          <p:nvPicPr>
            <p:cNvPr id="2826327" name="Picture 87" descr="bulbs,energy-saving,fluorescent,fluorescent bulb,fluorescent bulbs,households,light bulbs,lightbulbs,lights"/>
            <p:cNvPicPr>
              <a:picLocks noChangeAspect="1" noChangeArrowheads="1"/>
            </p:cNvPicPr>
            <p:nvPr/>
          </p:nvPicPr>
          <p:blipFill>
            <a:blip r:embed="rId52" cstate="print">
              <a:extLst>
                <a:ext uri="{28A0092B-C50C-407E-A947-70E740481C1C}">
                  <a14:useLocalDpi xmlns:a14="http://schemas.microsoft.com/office/drawing/2010/main" val="0"/>
                </a:ext>
              </a:extLst>
            </a:blip>
            <a:srcRect/>
            <a:stretch>
              <a:fillRect/>
            </a:stretch>
          </p:blipFill>
          <p:spPr bwMode="auto">
            <a:xfrm>
              <a:off x="244290" y="1757363"/>
              <a:ext cx="376216" cy="376216"/>
            </a:xfrm>
            <a:prstGeom prst="rect">
              <a:avLst/>
            </a:prstGeom>
            <a:noFill/>
            <a:extLst>
              <a:ext uri="{909E8E84-426E-40DD-AFC4-6F175D3DCCD1}">
                <a14:hiddenFill xmlns:a14="http://schemas.microsoft.com/office/drawing/2010/main">
                  <a:solidFill>
                    <a:srgbClr val="FFFFFF"/>
                  </a:solidFill>
                </a14:hiddenFill>
              </a:ext>
            </a:extLst>
          </p:spPr>
        </p:pic>
        <p:pic>
          <p:nvPicPr>
            <p:cNvPr id="97" name="Picture 87" descr="bulbs,energy-saving,fluorescent,fluorescent bulb,fluorescent bulbs,households,light bulbs,lightbulbs,lights"/>
            <p:cNvPicPr>
              <a:picLocks noChangeAspect="1" noChangeArrowheads="1"/>
            </p:cNvPicPr>
            <p:nvPr/>
          </p:nvPicPr>
          <p:blipFill>
            <a:blip r:embed="rId52" cstate="print">
              <a:extLst>
                <a:ext uri="{28A0092B-C50C-407E-A947-70E740481C1C}">
                  <a14:useLocalDpi xmlns:a14="http://schemas.microsoft.com/office/drawing/2010/main" val="0"/>
                </a:ext>
              </a:extLst>
            </a:blip>
            <a:srcRect/>
            <a:stretch>
              <a:fillRect/>
            </a:stretch>
          </p:blipFill>
          <p:spPr bwMode="auto">
            <a:xfrm>
              <a:off x="244290" y="3733800"/>
              <a:ext cx="376216" cy="376216"/>
            </a:xfrm>
            <a:prstGeom prst="rect">
              <a:avLst/>
            </a:prstGeom>
            <a:noFill/>
            <a:extLst>
              <a:ext uri="{909E8E84-426E-40DD-AFC4-6F175D3DCCD1}">
                <a14:hiddenFill xmlns:a14="http://schemas.microsoft.com/office/drawing/2010/main">
                  <a:solidFill>
                    <a:srgbClr val="FFFFFF"/>
                  </a:solidFill>
                </a14:hiddenFill>
              </a:ext>
            </a:extLst>
          </p:spPr>
        </p:pic>
        <p:pic>
          <p:nvPicPr>
            <p:cNvPr id="98" name="Picture 87" descr="bulbs,energy-saving,fluorescent,fluorescent bulb,fluorescent bulbs,households,light bulbs,lightbulbs,lights"/>
            <p:cNvPicPr>
              <a:picLocks noChangeAspect="1" noChangeArrowheads="1"/>
            </p:cNvPicPr>
            <p:nvPr/>
          </p:nvPicPr>
          <p:blipFill>
            <a:blip r:embed="rId52" cstate="print">
              <a:extLst>
                <a:ext uri="{28A0092B-C50C-407E-A947-70E740481C1C}">
                  <a14:useLocalDpi xmlns:a14="http://schemas.microsoft.com/office/drawing/2010/main" val="0"/>
                </a:ext>
              </a:extLst>
            </a:blip>
            <a:srcRect/>
            <a:stretch>
              <a:fillRect/>
            </a:stretch>
          </p:blipFill>
          <p:spPr bwMode="auto">
            <a:xfrm>
              <a:off x="244290" y="2193925"/>
              <a:ext cx="376216" cy="376216"/>
            </a:xfrm>
            <a:prstGeom prst="rect">
              <a:avLst/>
            </a:prstGeom>
            <a:noFill/>
            <a:extLst>
              <a:ext uri="{909E8E84-426E-40DD-AFC4-6F175D3DCCD1}">
                <a14:hiddenFill xmlns:a14="http://schemas.microsoft.com/office/drawing/2010/main">
                  <a:solidFill>
                    <a:srgbClr val="FFFFFF"/>
                  </a:solidFill>
                </a14:hiddenFill>
              </a:ext>
            </a:extLst>
          </p:spPr>
        </p:pic>
        <p:pic>
          <p:nvPicPr>
            <p:cNvPr id="2826332" name="Picture 92" descr="http://apacerentacar.com/images/clients/2nd/Telco-logo-5DF5B531AE-seeklogo.com.gif"/>
            <p:cNvPicPr>
              <a:picLocks noChangeAspect="1" noChangeArrowheads="1"/>
            </p:cNvPicPr>
            <p:nvPr/>
          </p:nvPicPr>
          <p:blipFill rotWithShape="1">
            <a:blip r:embed="rId53" cstate="print">
              <a:extLst>
                <a:ext uri="{28A0092B-C50C-407E-A947-70E740481C1C}">
                  <a14:useLocalDpi xmlns:a14="http://schemas.microsoft.com/office/drawing/2010/main" val="0"/>
                </a:ext>
              </a:extLst>
            </a:blip>
            <a:srcRect t="36482" b="36482"/>
            <a:stretch/>
          </p:blipFill>
          <p:spPr bwMode="auto">
            <a:xfrm>
              <a:off x="183480" y="4192588"/>
              <a:ext cx="554986" cy="150048"/>
            </a:xfrm>
            <a:prstGeom prst="rect">
              <a:avLst/>
            </a:prstGeom>
            <a:noFill/>
            <a:extLst>
              <a:ext uri="{909E8E84-426E-40DD-AFC4-6F175D3DCCD1}">
                <a14:hiddenFill xmlns:a14="http://schemas.microsoft.com/office/drawing/2010/main">
                  <a:solidFill>
                    <a:srgbClr val="FFFFFF"/>
                  </a:solidFill>
                </a14:hiddenFill>
              </a:ext>
            </a:extLst>
          </p:spPr>
        </p:pic>
        <p:pic>
          <p:nvPicPr>
            <p:cNvPr id="100" name="Picture 71" descr="application,science,chemistry"/>
            <p:cNvPicPr>
              <a:picLocks noChangeAspect="1" noChangeArrowheads="1"/>
            </p:cNvPicPr>
            <p:nvPr/>
          </p:nvPicPr>
          <p:blipFill>
            <a:blip r:embed="rId48" cstate="print">
              <a:extLst>
                <a:ext uri="{28A0092B-C50C-407E-A947-70E740481C1C}">
                  <a14:useLocalDpi xmlns:a14="http://schemas.microsoft.com/office/drawing/2010/main" val="0"/>
                </a:ext>
              </a:extLst>
            </a:blip>
            <a:srcRect/>
            <a:stretch>
              <a:fillRect/>
            </a:stretch>
          </p:blipFill>
          <p:spPr bwMode="auto">
            <a:xfrm>
              <a:off x="243029" y="4838700"/>
              <a:ext cx="378739" cy="378739"/>
            </a:xfrm>
            <a:prstGeom prst="rect">
              <a:avLst/>
            </a:prstGeom>
            <a:noFill/>
            <a:extLst>
              <a:ext uri="{909E8E84-426E-40DD-AFC4-6F175D3DCCD1}">
                <a14:hiddenFill xmlns:a14="http://schemas.microsoft.com/office/drawing/2010/main">
                  <a:solidFill>
                    <a:srgbClr val="FFFFFF"/>
                  </a:solidFill>
                </a14:hiddenFill>
              </a:ext>
            </a:extLst>
          </p:spPr>
        </p:pic>
        <p:pic>
          <p:nvPicPr>
            <p:cNvPr id="2826334" name="Picture 94" descr="box, brown, cardboard, package icon"/>
            <p:cNvPicPr>
              <a:picLocks noChangeAspect="1" noChangeArrowheads="1"/>
            </p:cNvPicPr>
            <p:nvPr/>
          </p:nvPicPr>
          <p:blipFill>
            <a:blip r:embed="rId54" cstate="print">
              <a:extLst>
                <a:ext uri="{28A0092B-C50C-407E-A947-70E740481C1C}">
                  <a14:useLocalDpi xmlns:a14="http://schemas.microsoft.com/office/drawing/2010/main" val="0"/>
                </a:ext>
              </a:extLst>
            </a:blip>
            <a:srcRect/>
            <a:stretch>
              <a:fillRect/>
            </a:stretch>
          </p:blipFill>
          <p:spPr bwMode="auto">
            <a:xfrm>
              <a:off x="279951" y="5295900"/>
              <a:ext cx="333229" cy="333229"/>
            </a:xfrm>
            <a:prstGeom prst="rect">
              <a:avLst/>
            </a:prstGeom>
            <a:noFill/>
            <a:extLst>
              <a:ext uri="{909E8E84-426E-40DD-AFC4-6F175D3DCCD1}">
                <a14:hiddenFill xmlns:a14="http://schemas.microsoft.com/office/drawing/2010/main">
                  <a:solidFill>
                    <a:srgbClr val="FFFFFF"/>
                  </a:solidFill>
                </a14:hiddenFill>
              </a:ext>
            </a:extLst>
          </p:spPr>
        </p:pic>
        <p:pic>
          <p:nvPicPr>
            <p:cNvPr id="102" name="Picture 78" descr="Ring, Fingerring, Silver, Engagement"/>
            <p:cNvPicPr>
              <a:picLocks noChangeAspect="1" noChangeArrowheads="1"/>
            </p:cNvPicPr>
            <p:nvPr/>
          </p:nvPicPr>
          <p:blipFill>
            <a:blip r:embed="rId50" cstate="print">
              <a:extLst>
                <a:ext uri="{28A0092B-C50C-407E-A947-70E740481C1C}">
                  <a14:useLocalDpi xmlns:a14="http://schemas.microsoft.com/office/drawing/2010/main" val="0"/>
                </a:ext>
              </a:extLst>
            </a:blip>
            <a:srcRect/>
            <a:stretch>
              <a:fillRect/>
            </a:stretch>
          </p:blipFill>
          <p:spPr bwMode="auto">
            <a:xfrm>
              <a:off x="272527" y="5668963"/>
              <a:ext cx="319743" cy="371312"/>
            </a:xfrm>
            <a:prstGeom prst="rect">
              <a:avLst/>
            </a:prstGeom>
            <a:noFill/>
            <a:extLst>
              <a:ext uri="{909E8E84-426E-40DD-AFC4-6F175D3DCCD1}">
                <a14:hiddenFill xmlns:a14="http://schemas.microsoft.com/office/drawing/2010/main">
                  <a:solidFill>
                    <a:srgbClr val="FFFFFF"/>
                  </a:solidFill>
                </a14:hiddenFill>
              </a:ext>
            </a:extLst>
          </p:spPr>
        </p:pic>
        <p:pic>
          <p:nvPicPr>
            <p:cNvPr id="2826339" name="Picture 99" descr="construction,firm"/>
            <p:cNvPicPr>
              <a:picLocks noChangeAspect="1" noChangeArrowheads="1"/>
            </p:cNvPicPr>
            <p:nvPr/>
          </p:nvPicPr>
          <p:blipFill>
            <a:blip r:embed="rId55">
              <a:extLst>
                <a:ext uri="{28A0092B-C50C-407E-A947-70E740481C1C}">
                  <a14:useLocalDpi xmlns:a14="http://schemas.microsoft.com/office/drawing/2010/main" val="0"/>
                </a:ext>
              </a:extLst>
            </a:blip>
            <a:srcRect/>
            <a:stretch>
              <a:fillRect/>
            </a:stretch>
          </p:blipFill>
          <p:spPr bwMode="auto">
            <a:xfrm>
              <a:off x="258818" y="6092825"/>
              <a:ext cx="307080" cy="307080"/>
            </a:xfrm>
            <a:prstGeom prst="rect">
              <a:avLst/>
            </a:prstGeom>
            <a:noFill/>
            <a:extLst>
              <a:ext uri="{909E8E84-426E-40DD-AFC4-6F175D3DCCD1}">
                <a14:hiddenFill xmlns:a14="http://schemas.microsoft.com/office/drawing/2010/main">
                  <a:solidFill>
                    <a:srgbClr val="FFFFFF"/>
                  </a:solidFill>
                </a14:hiddenFill>
              </a:ext>
            </a:extLst>
          </p:spPr>
        </p:pic>
      </p:grpSp>
      <p:sp>
        <p:nvSpPr>
          <p:cNvPr id="138" name="!RnmA-00709"/>
          <p:cNvSpPr txBox="1">
            <a:spLocks/>
          </p:cNvSpPr>
          <p:nvPr/>
        </p:nvSpPr>
        <p:spPr>
          <a:xfrm>
            <a:off x="6769100" y="1366546"/>
            <a:ext cx="1206500" cy="233654"/>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18034" numCol="1" anchor="b" anchorCtr="0" compatLnSpc="1">
            <a:prstTxWarp prst="textNoShape">
              <a:avLst/>
            </a:prstTxWarp>
            <a:spAutoFit/>
          </a:bodyPr>
          <a:lstStyle>
            <a:defPPr>
              <a:defRPr lang="en-US"/>
            </a:defPPr>
            <a:lvl1pPr lvl="0" algn="l" defTabSz="895350">
              <a:buClr>
                <a:srgbClr val="002960"/>
              </a:buClr>
              <a:defRPr sz="1400">
                <a:solidFill>
                  <a:schemeClr val="accent3"/>
                </a:solidFill>
                <a:latin typeface="+mn-lt"/>
              </a:defRPr>
            </a:lvl1pPr>
            <a:lvl2pPr marL="193675" lvl="1" indent="-192088" algn="l" defTabSz="895350">
              <a:buClr>
                <a:schemeClr val="folHlink"/>
              </a:buClr>
              <a:buSzPct val="125000"/>
              <a:buFont typeface="Wingdings" pitchFamily="2" charset="2"/>
              <a:buChar char="§"/>
              <a:defRPr sz="1600">
                <a:latin typeface="+mn-lt"/>
              </a:defRPr>
            </a:lvl2pPr>
            <a:lvl3pPr marL="457200" lvl="2" indent="-261938" algn="l" defTabSz="895350">
              <a:buClr>
                <a:schemeClr val="folHlink"/>
              </a:buClr>
              <a:buSzPct val="120000"/>
              <a:buFont typeface="Arial" charset="0"/>
              <a:buChar char="̶"/>
              <a:defRPr sz="1600">
                <a:latin typeface="+mn-lt"/>
              </a:defRPr>
            </a:lvl3pPr>
            <a:lvl4pPr marL="614363" lvl="3" indent="-155575" algn="l" defTabSz="895350">
              <a:buClr>
                <a:schemeClr val="tx2"/>
              </a:buClr>
              <a:buSzPct val="120000"/>
              <a:buFont typeface="Arial" charset="0"/>
              <a:buChar char="▫"/>
              <a:defRPr sz="1600">
                <a:latin typeface="+mn-lt"/>
              </a:defRPr>
            </a:lvl4pPr>
            <a:lvl5pPr marL="746125" lvl="4" indent="-130175" algn="l" defTabSz="895350">
              <a:buClr>
                <a:schemeClr val="tx2"/>
              </a:buClr>
              <a:buSzPct val="89000"/>
              <a:buFont typeface="Arial" charset="0"/>
              <a:buChar char="-"/>
              <a:defRPr sz="1600">
                <a:latin typeface="+mn-lt"/>
              </a:defRPr>
            </a:lvl5pPr>
            <a:lvl6pPr marL="1203325" indent="-130175" defTabSz="895350" fontAlgn="base">
              <a:spcBef>
                <a:spcPct val="0"/>
              </a:spcBef>
              <a:spcAft>
                <a:spcPct val="0"/>
              </a:spcAft>
              <a:buClr>
                <a:schemeClr val="tx2"/>
              </a:buClr>
              <a:buSzPct val="89000"/>
              <a:buFont typeface="Arial" charset="0"/>
              <a:buChar char="-"/>
              <a:defRPr sz="1600">
                <a:latin typeface="+mn-lt"/>
              </a:defRPr>
            </a:lvl6pPr>
            <a:lvl7pPr marL="1660525" indent="-130175" defTabSz="895350" fontAlgn="base">
              <a:spcBef>
                <a:spcPct val="0"/>
              </a:spcBef>
              <a:spcAft>
                <a:spcPct val="0"/>
              </a:spcAft>
              <a:buClr>
                <a:schemeClr val="tx2"/>
              </a:buClr>
              <a:buSzPct val="89000"/>
              <a:buFont typeface="Arial" charset="0"/>
              <a:buChar char="-"/>
              <a:defRPr sz="1600">
                <a:latin typeface="+mn-lt"/>
              </a:defRPr>
            </a:lvl7pPr>
            <a:lvl8pPr marL="2117725" indent="-130175" defTabSz="895350" fontAlgn="base">
              <a:spcBef>
                <a:spcPct val="0"/>
              </a:spcBef>
              <a:spcAft>
                <a:spcPct val="0"/>
              </a:spcAft>
              <a:buClr>
                <a:schemeClr val="tx2"/>
              </a:buClr>
              <a:buSzPct val="89000"/>
              <a:buFont typeface="Arial" charset="0"/>
              <a:buChar char="-"/>
              <a:defRPr sz="1600">
                <a:latin typeface="+mn-lt"/>
              </a:defRPr>
            </a:lvl8pPr>
            <a:lvl9pPr marL="2574925" indent="-130175" defTabSz="895350" fontAlgn="base">
              <a:spcBef>
                <a:spcPct val="0"/>
              </a:spcBef>
              <a:spcAft>
                <a:spcPct val="0"/>
              </a:spcAft>
              <a:buClr>
                <a:schemeClr val="tx2"/>
              </a:buClr>
              <a:buSzPct val="89000"/>
              <a:buFont typeface="Arial" charset="0"/>
              <a:buChar char="-"/>
              <a:defRPr sz="1600">
                <a:latin typeface="+mn-lt"/>
              </a:defRPr>
            </a:lvl9pPr>
          </a:lstStyle>
          <a:p>
            <a:r>
              <a:rPr lang="en-US" b="1" dirty="0">
                <a:solidFill>
                  <a:schemeClr val="tx2"/>
                </a:solidFill>
              </a:rPr>
              <a:t>Value multiple</a:t>
            </a:r>
          </a:p>
        </p:txBody>
      </p:sp>
      <p:cxnSp>
        <p:nvCxnSpPr>
          <p:cNvPr id="3" name="Straight Arrow Connector 2"/>
          <p:cNvCxnSpPr>
            <a:stCxn id="138" idx="4"/>
            <a:endCxn id="138" idx="6"/>
          </p:cNvCxnSpPr>
          <p:nvPr/>
        </p:nvCxnSpPr>
        <p:spPr>
          <a:xfrm>
            <a:off x="6769100" y="1600200"/>
            <a:ext cx="1206500" cy="0"/>
          </a:xfrm>
          <a:prstGeom prst="straightConnector1">
            <a:avLst/>
          </a:prstGeom>
          <a:ln w="19050" cmpd="sng">
            <a:solidFill>
              <a:schemeClr val="tx2"/>
            </a:solidFill>
          </a:ln>
        </p:spPr>
        <p:style>
          <a:lnRef idx="1">
            <a:schemeClr val="accent1"/>
          </a:lnRef>
          <a:fillRef idx="0">
            <a:schemeClr val="accent1"/>
          </a:fillRef>
          <a:effectRef idx="0">
            <a:schemeClr val="accent1"/>
          </a:effectRef>
          <a:fontRef idx="minor">
            <a:schemeClr val="tx1"/>
          </a:fontRef>
        </p:style>
      </p:cxnSp>
      <p:grpSp>
        <p:nvGrpSpPr>
          <p:cNvPr id="12" name="Group 11"/>
          <p:cNvGrpSpPr/>
          <p:nvPr/>
        </p:nvGrpSpPr>
        <p:grpSpPr>
          <a:xfrm>
            <a:off x="2387600" y="1151103"/>
            <a:ext cx="1943100" cy="449097"/>
            <a:chOff x="2387600" y="1151103"/>
            <a:chExt cx="1943100" cy="449097"/>
          </a:xfrm>
        </p:grpSpPr>
        <p:sp>
          <p:nvSpPr>
            <p:cNvPr id="64" name="!RnmB-00537"/>
            <p:cNvSpPr txBox="1">
              <a:spLocks/>
            </p:cNvSpPr>
            <p:nvPr/>
          </p:nvSpPr>
          <p:spPr>
            <a:xfrm>
              <a:off x="2387600" y="1151103"/>
              <a:ext cx="1943100" cy="449097"/>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18034" numCol="1" anchor="b" anchorCtr="0" compatLnSpc="1">
              <a:prstTxWarp prst="textNoShape">
                <a:avLst/>
              </a:prstTxWarp>
              <a:spAutoFit/>
            </a:bodyPr>
            <a:lstStyle>
              <a:defPPr>
                <a:defRPr lang="en-US"/>
              </a:defPPr>
              <a:lvl1pPr lvl="0" algn="l" defTabSz="895350">
                <a:buClr>
                  <a:srgbClr val="002960"/>
                </a:buClr>
                <a:defRPr sz="1400">
                  <a:solidFill>
                    <a:schemeClr val="accent3"/>
                  </a:solidFill>
                  <a:latin typeface="+mn-lt"/>
                </a:defRPr>
              </a:lvl1pPr>
              <a:lvl2pPr marL="193675" lvl="1" indent="-192088" algn="l" defTabSz="895350">
                <a:buClr>
                  <a:schemeClr val="folHlink"/>
                </a:buClr>
                <a:buSzPct val="125000"/>
                <a:buFont typeface="Wingdings" pitchFamily="2" charset="2"/>
                <a:buChar char="§"/>
                <a:defRPr sz="1600">
                  <a:latin typeface="+mn-lt"/>
                </a:defRPr>
              </a:lvl2pPr>
              <a:lvl3pPr marL="457200" lvl="2" indent="-261938" algn="l" defTabSz="895350">
                <a:buClr>
                  <a:schemeClr val="folHlink"/>
                </a:buClr>
                <a:buSzPct val="120000"/>
                <a:buFont typeface="Arial" charset="0"/>
                <a:buChar char="̶"/>
                <a:defRPr sz="1600">
                  <a:latin typeface="+mn-lt"/>
                </a:defRPr>
              </a:lvl3pPr>
              <a:lvl4pPr marL="614363" lvl="3" indent="-155575" algn="l" defTabSz="895350">
                <a:buClr>
                  <a:schemeClr val="tx2"/>
                </a:buClr>
                <a:buSzPct val="120000"/>
                <a:buFont typeface="Arial" charset="0"/>
                <a:buChar char="▫"/>
                <a:defRPr sz="1600">
                  <a:latin typeface="+mn-lt"/>
                </a:defRPr>
              </a:lvl4pPr>
              <a:lvl5pPr marL="746125" lvl="4" indent="-130175" algn="l" defTabSz="895350">
                <a:buClr>
                  <a:schemeClr val="tx2"/>
                </a:buClr>
                <a:buSzPct val="89000"/>
                <a:buFont typeface="Arial" charset="0"/>
                <a:buChar char="-"/>
                <a:defRPr sz="1600">
                  <a:latin typeface="+mn-lt"/>
                </a:defRPr>
              </a:lvl5pPr>
              <a:lvl6pPr marL="1203325" indent="-130175" defTabSz="895350" fontAlgn="base">
                <a:spcBef>
                  <a:spcPct val="0"/>
                </a:spcBef>
                <a:spcAft>
                  <a:spcPct val="0"/>
                </a:spcAft>
                <a:buClr>
                  <a:schemeClr val="tx2"/>
                </a:buClr>
                <a:buSzPct val="89000"/>
                <a:buFont typeface="Arial" charset="0"/>
                <a:buChar char="-"/>
                <a:defRPr sz="1600">
                  <a:latin typeface="+mn-lt"/>
                </a:defRPr>
              </a:lvl6pPr>
              <a:lvl7pPr marL="1660525" indent="-130175" defTabSz="895350" fontAlgn="base">
                <a:spcBef>
                  <a:spcPct val="0"/>
                </a:spcBef>
                <a:spcAft>
                  <a:spcPct val="0"/>
                </a:spcAft>
                <a:buClr>
                  <a:schemeClr val="tx2"/>
                </a:buClr>
                <a:buSzPct val="89000"/>
                <a:buFont typeface="Arial" charset="0"/>
                <a:buChar char="-"/>
                <a:defRPr sz="1600">
                  <a:latin typeface="+mn-lt"/>
                </a:defRPr>
              </a:lvl7pPr>
              <a:lvl8pPr marL="2117725" indent="-130175" defTabSz="895350" fontAlgn="base">
                <a:spcBef>
                  <a:spcPct val="0"/>
                </a:spcBef>
                <a:spcAft>
                  <a:spcPct val="0"/>
                </a:spcAft>
                <a:buClr>
                  <a:schemeClr val="tx2"/>
                </a:buClr>
                <a:buSzPct val="89000"/>
                <a:buFont typeface="Arial" charset="0"/>
                <a:buChar char="-"/>
                <a:defRPr sz="1600">
                  <a:latin typeface="+mn-lt"/>
                </a:defRPr>
              </a:lvl8pPr>
              <a:lvl9pPr marL="2574925" indent="-130175" defTabSz="895350" fontAlgn="base">
                <a:spcBef>
                  <a:spcPct val="0"/>
                </a:spcBef>
                <a:spcAft>
                  <a:spcPct val="0"/>
                </a:spcAft>
                <a:buClr>
                  <a:schemeClr val="tx2"/>
                </a:buClr>
                <a:buSzPct val="89000"/>
                <a:buFont typeface="Arial" charset="0"/>
                <a:buChar char="-"/>
                <a:defRPr sz="1600">
                  <a:latin typeface="+mn-lt"/>
                </a:defRPr>
              </a:lvl9pPr>
            </a:lstStyle>
            <a:p>
              <a:r>
                <a:rPr lang="en-US" b="1" dirty="0">
                  <a:solidFill>
                    <a:schemeClr val="tx2"/>
                  </a:solidFill>
                </a:rPr>
                <a:t>Management’s initial aspiration</a:t>
              </a:r>
            </a:p>
          </p:txBody>
        </p:sp>
        <p:cxnSp>
          <p:nvCxnSpPr>
            <p:cNvPr id="11" name="Straight Arrow Connector 10"/>
            <p:cNvCxnSpPr>
              <a:stCxn id="64" idx="4"/>
              <a:endCxn id="64" idx="6"/>
            </p:cNvCxnSpPr>
            <p:nvPr/>
          </p:nvCxnSpPr>
          <p:spPr>
            <a:xfrm>
              <a:off x="2387600" y="1600200"/>
              <a:ext cx="1943100" cy="0"/>
            </a:xfrm>
            <a:prstGeom prst="straightConnector1">
              <a:avLst/>
            </a:prstGeom>
            <a:ln w="19050" cmpd="sng">
              <a:solidFill>
                <a:schemeClr val="tx2"/>
              </a:solidFill>
            </a:ln>
          </p:spPr>
          <p:style>
            <a:lnRef idx="1">
              <a:schemeClr val="accent1"/>
            </a:lnRef>
            <a:fillRef idx="0">
              <a:schemeClr val="accent1"/>
            </a:fillRef>
            <a:effectRef idx="0">
              <a:schemeClr val="accent1"/>
            </a:effectRef>
            <a:fontRef idx="minor">
              <a:schemeClr val="tx1"/>
            </a:fontRef>
          </p:style>
        </p:cxnSp>
      </p:grpSp>
      <p:grpSp>
        <p:nvGrpSpPr>
          <p:cNvPr id="14" name="Group 13"/>
          <p:cNvGrpSpPr/>
          <p:nvPr/>
        </p:nvGrpSpPr>
        <p:grpSpPr>
          <a:xfrm>
            <a:off x="4419600" y="1151103"/>
            <a:ext cx="2255838" cy="449097"/>
            <a:chOff x="4419600" y="1151103"/>
            <a:chExt cx="2349500" cy="449097"/>
          </a:xfrm>
        </p:grpSpPr>
        <p:sp>
          <p:nvSpPr>
            <p:cNvPr id="65" name="!RnmC-00583"/>
            <p:cNvSpPr txBox="1">
              <a:spLocks/>
            </p:cNvSpPr>
            <p:nvPr/>
          </p:nvSpPr>
          <p:spPr>
            <a:xfrm>
              <a:off x="4419600" y="1151103"/>
              <a:ext cx="2349500" cy="449097"/>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18034" numCol="1" anchor="b" anchorCtr="0" compatLnSpc="1">
              <a:prstTxWarp prst="textNoShape">
                <a:avLst/>
              </a:prstTxWarp>
              <a:spAutoFit/>
            </a:bodyPr>
            <a:lstStyle>
              <a:defPPr>
                <a:defRPr lang="en-US"/>
              </a:defPPr>
              <a:lvl1pPr lvl="0" algn="l" defTabSz="895350">
                <a:buClr>
                  <a:srgbClr val="002960"/>
                </a:buClr>
                <a:defRPr sz="1400">
                  <a:solidFill>
                    <a:schemeClr val="accent3"/>
                  </a:solidFill>
                  <a:latin typeface="+mn-lt"/>
                </a:defRPr>
              </a:lvl1pPr>
              <a:lvl2pPr marL="193675" lvl="1" indent="-192088" algn="l" defTabSz="895350">
                <a:buClr>
                  <a:schemeClr val="folHlink"/>
                </a:buClr>
                <a:buSzPct val="125000"/>
                <a:buFont typeface="Wingdings" pitchFamily="2" charset="2"/>
                <a:buChar char="§"/>
                <a:defRPr sz="1600">
                  <a:latin typeface="+mn-lt"/>
                </a:defRPr>
              </a:lvl2pPr>
              <a:lvl3pPr marL="457200" lvl="2" indent="-261938" algn="l" defTabSz="895350">
                <a:buClr>
                  <a:schemeClr val="folHlink"/>
                </a:buClr>
                <a:buSzPct val="120000"/>
                <a:buFont typeface="Arial" charset="0"/>
                <a:buChar char="̶"/>
                <a:defRPr sz="1600">
                  <a:latin typeface="+mn-lt"/>
                </a:defRPr>
              </a:lvl3pPr>
              <a:lvl4pPr marL="614363" lvl="3" indent="-155575" algn="l" defTabSz="895350">
                <a:buClr>
                  <a:schemeClr val="tx2"/>
                </a:buClr>
                <a:buSzPct val="120000"/>
                <a:buFont typeface="Arial" charset="0"/>
                <a:buChar char="▫"/>
                <a:defRPr sz="1600">
                  <a:latin typeface="+mn-lt"/>
                </a:defRPr>
              </a:lvl4pPr>
              <a:lvl5pPr marL="746125" lvl="4" indent="-130175" algn="l" defTabSz="895350">
                <a:buClr>
                  <a:schemeClr val="tx2"/>
                </a:buClr>
                <a:buSzPct val="89000"/>
                <a:buFont typeface="Arial" charset="0"/>
                <a:buChar char="-"/>
                <a:defRPr sz="1600">
                  <a:latin typeface="+mn-lt"/>
                </a:defRPr>
              </a:lvl5pPr>
              <a:lvl6pPr marL="1203325" indent="-130175" defTabSz="895350" fontAlgn="base">
                <a:spcBef>
                  <a:spcPct val="0"/>
                </a:spcBef>
                <a:spcAft>
                  <a:spcPct val="0"/>
                </a:spcAft>
                <a:buClr>
                  <a:schemeClr val="tx2"/>
                </a:buClr>
                <a:buSzPct val="89000"/>
                <a:buFont typeface="Arial" charset="0"/>
                <a:buChar char="-"/>
                <a:defRPr sz="1600">
                  <a:latin typeface="+mn-lt"/>
                </a:defRPr>
              </a:lvl6pPr>
              <a:lvl7pPr marL="1660525" indent="-130175" defTabSz="895350" fontAlgn="base">
                <a:spcBef>
                  <a:spcPct val="0"/>
                </a:spcBef>
                <a:spcAft>
                  <a:spcPct val="0"/>
                </a:spcAft>
                <a:buClr>
                  <a:schemeClr val="tx2"/>
                </a:buClr>
                <a:buSzPct val="89000"/>
                <a:buFont typeface="Arial" charset="0"/>
                <a:buChar char="-"/>
                <a:defRPr sz="1600">
                  <a:latin typeface="+mn-lt"/>
                </a:defRPr>
              </a:lvl7pPr>
              <a:lvl8pPr marL="2117725" indent="-130175" defTabSz="895350" fontAlgn="base">
                <a:spcBef>
                  <a:spcPct val="0"/>
                </a:spcBef>
                <a:spcAft>
                  <a:spcPct val="0"/>
                </a:spcAft>
                <a:buClr>
                  <a:schemeClr val="tx2"/>
                </a:buClr>
                <a:buSzPct val="89000"/>
                <a:buFont typeface="Arial" charset="0"/>
                <a:buChar char="-"/>
                <a:defRPr sz="1600">
                  <a:latin typeface="+mn-lt"/>
                </a:defRPr>
              </a:lvl8pPr>
              <a:lvl9pPr marL="2574925" indent="-130175" defTabSz="895350" fontAlgn="base">
                <a:spcBef>
                  <a:spcPct val="0"/>
                </a:spcBef>
                <a:spcAft>
                  <a:spcPct val="0"/>
                </a:spcAft>
                <a:buClr>
                  <a:schemeClr val="tx2"/>
                </a:buClr>
                <a:buSzPct val="89000"/>
                <a:buFont typeface="Arial" charset="0"/>
                <a:buChar char="-"/>
                <a:defRPr sz="1600">
                  <a:latin typeface="+mn-lt"/>
                </a:defRPr>
              </a:lvl9pPr>
            </a:lstStyle>
            <a:p>
              <a:r>
                <a:rPr lang="en-US" b="1" dirty="0">
                  <a:solidFill>
                    <a:schemeClr val="tx2"/>
                  </a:solidFill>
                </a:rPr>
                <a:t>What </a:t>
              </a:r>
              <a:r>
                <a:rPr lang="en-US" b="1" dirty="0" err="1">
                  <a:solidFill>
                    <a:schemeClr val="tx2"/>
                  </a:solidFill>
                </a:rPr>
                <a:t>RTS</a:t>
              </a:r>
              <a:r>
                <a:rPr lang="en-US" b="1" dirty="0">
                  <a:solidFill>
                    <a:schemeClr val="tx2"/>
                  </a:solidFill>
                </a:rPr>
                <a:t> identified</a:t>
              </a:r>
            </a:p>
            <a:p>
              <a:r>
                <a:rPr lang="en-US" b="1" dirty="0">
                  <a:solidFill>
                    <a:schemeClr val="tx2"/>
                  </a:solidFill>
                </a:rPr>
                <a:t>and delivered </a:t>
              </a:r>
            </a:p>
          </p:txBody>
        </p:sp>
        <p:cxnSp>
          <p:nvCxnSpPr>
            <p:cNvPr id="13" name="Straight Arrow Connector 12"/>
            <p:cNvCxnSpPr>
              <a:stCxn id="65" idx="4"/>
              <a:endCxn id="65" idx="6"/>
            </p:cNvCxnSpPr>
            <p:nvPr/>
          </p:nvCxnSpPr>
          <p:spPr>
            <a:xfrm>
              <a:off x="4419600" y="1600200"/>
              <a:ext cx="2349500" cy="0"/>
            </a:xfrm>
            <a:prstGeom prst="straightConnector1">
              <a:avLst/>
            </a:prstGeom>
            <a:ln w="19050" cmpd="sng">
              <a:solidFill>
                <a:schemeClr val="tx2"/>
              </a:solidFill>
            </a:ln>
          </p:spPr>
          <p:style>
            <a:lnRef idx="1">
              <a:schemeClr val="accent1"/>
            </a:lnRef>
            <a:fillRef idx="0">
              <a:schemeClr val="accent1"/>
            </a:fillRef>
            <a:effectRef idx="0">
              <a:schemeClr val="accent1"/>
            </a:effectRef>
            <a:fontRef idx="minor">
              <a:schemeClr val="tx1"/>
            </a:fontRef>
          </p:style>
        </p:cxnSp>
      </p:grpSp>
      <p:sp>
        <p:nvSpPr>
          <p:cNvPr id="80" name="5. Source">
            <a:extLst>
              <a:ext uri="{FF2B5EF4-FFF2-40B4-BE49-F238E27FC236}">
                <a16:creationId xmlns:a16="http://schemas.microsoft.com/office/drawing/2014/main" id="{36776022-49A2-4709-A8DF-0CC0EC6C3984}"/>
              </a:ext>
            </a:extLst>
          </p:cNvPr>
          <p:cNvSpPr>
            <a:spLocks noChangeArrowheads="1"/>
          </p:cNvSpPr>
          <p:nvPr/>
        </p:nvSpPr>
        <p:spPr bwMode="gray">
          <a:xfrm>
            <a:off x="119063" y="6507558"/>
            <a:ext cx="7200000" cy="123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marL="609600" indent="-609600" defTabSz="895350">
              <a:tabLst>
                <a:tab pos="612775" algn="l"/>
              </a:tabLst>
            </a:pPr>
            <a:r>
              <a:rPr lang="en-US" sz="800" baseline="0" dirty="0">
                <a:solidFill>
                  <a:schemeClr val="accent6"/>
                </a:solidFill>
                <a:latin typeface="+mn-lt"/>
                <a:ea typeface="+mn-ea"/>
              </a:rPr>
              <a:t>SOURCE: McKinsey Recovery &amp; Transformation Services</a:t>
            </a:r>
          </a:p>
        </p:txBody>
      </p:sp>
    </p:spTree>
    <p:extLst>
      <p:ext uri="{BB962C8B-B14F-4D97-AF65-F5344CB8AC3E}">
        <p14:creationId xmlns:p14="http://schemas.microsoft.com/office/powerpoint/2010/main" val="2904931483"/>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2994" name="Object 2" hidden="1"/>
          <p:cNvGraphicFramePr>
            <a:graphicFrameLocks noChangeAspect="1"/>
          </p:cNvGraphicFramePr>
          <p:nvPr>
            <p:custDataLst>
              <p:tags r:id="rId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05172" name="think-cell Slide" r:id="rId192" imgW="360" imgH="360" progId="TCLayout.ActiveDocument.1">
                  <p:embed/>
                </p:oleObj>
              </mc:Choice>
              <mc:Fallback>
                <p:oleObj name="think-cell Slide" r:id="rId192" imgW="360" imgH="360" progId="TCLayout.ActiveDocument.1">
                  <p:embed/>
                  <p:pic>
                    <p:nvPicPr>
                      <p:cNvPr id="212994" name="Object 2" hidden="1"/>
                      <p:cNvPicPr>
                        <a:picLocks noChangeAspect="1" noChangeArrowheads="1"/>
                      </p:cNvPicPr>
                      <p:nvPr/>
                    </p:nvPicPr>
                    <p:blipFill>
                      <a:blip r:embed="rId193">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85" name="Rectangle 284">
            <a:extLst>
              <a:ext uri="{FF2B5EF4-FFF2-40B4-BE49-F238E27FC236}">
                <a16:creationId xmlns:a16="http://schemas.microsoft.com/office/drawing/2014/main" id="{DE67DB9B-9C24-4E03-80CD-FE09166EEB7C}"/>
              </a:ext>
            </a:extLst>
          </p:cNvPr>
          <p:cNvSpPr>
            <a:spLocks/>
          </p:cNvSpPr>
          <p:nvPr/>
        </p:nvSpPr>
        <p:spPr>
          <a:xfrm>
            <a:off x="167827" y="639567"/>
            <a:ext cx="8625784" cy="5564777"/>
          </a:xfrm>
          <a:prstGeom prst="rect">
            <a:avLst/>
          </a:prstGeom>
          <a:solidFill>
            <a:schemeClr val="bg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200" dirty="0" err="1">
              <a:solidFill>
                <a:schemeClr val="tx1"/>
              </a:solidFill>
            </a:endParaRPr>
          </a:p>
        </p:txBody>
      </p:sp>
      <p:sp>
        <p:nvSpPr>
          <p:cNvPr id="284" name="4. Footnote">
            <a:extLst>
              <a:ext uri="{FF2B5EF4-FFF2-40B4-BE49-F238E27FC236}">
                <a16:creationId xmlns:a16="http://schemas.microsoft.com/office/drawing/2014/main" id="{E1729F14-FE0E-460F-B7BD-8F2E01866010}"/>
              </a:ext>
            </a:extLst>
          </p:cNvPr>
          <p:cNvSpPr txBox="1">
            <a:spLocks noChangeArrowheads="1"/>
          </p:cNvSpPr>
          <p:nvPr/>
        </p:nvSpPr>
        <p:spPr bwMode="gray">
          <a:xfrm>
            <a:off x="119063" y="6305945"/>
            <a:ext cx="8618537" cy="123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800" dirty="0">
                <a:solidFill>
                  <a:srgbClr val="808080"/>
                </a:solidFill>
                <a:latin typeface="Arial" panose="020B0604020202020204" pitchFamily="34" charset="0"/>
              </a:rPr>
              <a:t>Note: Sum of Region and Industry totals differ from the total number of global transformations due to same Client(s) in multiple regions or industries</a:t>
            </a:r>
          </a:p>
        </p:txBody>
      </p:sp>
      <p:sp>
        <p:nvSpPr>
          <p:cNvPr id="4" name="TextBox 3">
            <a:extLst>
              <a:ext uri="{FF2B5EF4-FFF2-40B4-BE49-F238E27FC236}">
                <a16:creationId xmlns:a16="http://schemas.microsoft.com/office/drawing/2014/main" id="{894B24A7-C7A5-4BB7-9875-8AAF9A764FB5}"/>
              </a:ext>
            </a:extLst>
          </p:cNvPr>
          <p:cNvSpPr txBox="1">
            <a:spLocks/>
          </p:cNvSpPr>
          <p:nvPr/>
        </p:nvSpPr>
        <p:spPr>
          <a:xfrm>
            <a:off x="5014037" y="750537"/>
            <a:ext cx="3617614" cy="264688"/>
          </a:xfrm>
          <a:prstGeom prst="rect">
            <a:avLst/>
          </a:prstGeom>
        </p:spPr>
        <p:txBody>
          <a:bodyPr vert="horz" lIns="0" tIns="0" rIns="0" bIns="18288" rtlCol="0" anchor="b">
            <a:sp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fontAlgn="auto">
              <a:spcBef>
                <a:spcPts val="0"/>
              </a:spcBef>
              <a:spcAft>
                <a:spcPts val="0"/>
              </a:spcAft>
              <a:buClr>
                <a:srgbClr val="002960"/>
              </a:buClr>
              <a:defRPr/>
            </a:pPr>
            <a:r>
              <a:rPr lang="en-US" sz="1600" b="1" kern="0" dirty="0">
                <a:solidFill>
                  <a:schemeClr val="accent4"/>
                </a:solidFill>
              </a:rPr>
              <a:t>RTS Industry experience</a:t>
            </a:r>
          </a:p>
        </p:txBody>
      </p:sp>
      <p:sp>
        <p:nvSpPr>
          <p:cNvPr id="5" name="TextBox 4">
            <a:extLst>
              <a:ext uri="{FF2B5EF4-FFF2-40B4-BE49-F238E27FC236}">
                <a16:creationId xmlns:a16="http://schemas.microsoft.com/office/drawing/2014/main" id="{B28833D7-1841-414F-A045-4BB49F1F2909}"/>
              </a:ext>
            </a:extLst>
          </p:cNvPr>
          <p:cNvSpPr txBox="1">
            <a:spLocks/>
          </p:cNvSpPr>
          <p:nvPr/>
        </p:nvSpPr>
        <p:spPr>
          <a:xfrm>
            <a:off x="329788" y="750537"/>
            <a:ext cx="4459466" cy="264688"/>
          </a:xfrm>
          <a:prstGeom prst="rect">
            <a:avLst/>
          </a:prstGeom>
        </p:spPr>
        <p:txBody>
          <a:bodyPr vert="horz" lIns="0" tIns="0" rIns="0" bIns="18288" rtlCol="0" anchor="b">
            <a:sp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fontAlgn="auto">
              <a:spcBef>
                <a:spcPts val="0"/>
              </a:spcBef>
              <a:spcAft>
                <a:spcPts val="0"/>
              </a:spcAft>
              <a:buClr>
                <a:srgbClr val="002960"/>
              </a:buClr>
              <a:defRPr/>
            </a:pPr>
            <a:r>
              <a:rPr lang="en-US" sz="1600" b="1" kern="0" dirty="0">
                <a:solidFill>
                  <a:schemeClr val="accent4"/>
                </a:solidFill>
              </a:rPr>
              <a:t>RTS Global experience</a:t>
            </a:r>
          </a:p>
        </p:txBody>
      </p:sp>
      <p:grpSp>
        <p:nvGrpSpPr>
          <p:cNvPr id="561" name="Group 560">
            <a:extLst>
              <a:ext uri="{FF2B5EF4-FFF2-40B4-BE49-F238E27FC236}">
                <a16:creationId xmlns:a16="http://schemas.microsoft.com/office/drawing/2014/main" id="{BB749A5C-D0CF-447B-A5CF-224CD345E11C}"/>
              </a:ext>
            </a:extLst>
          </p:cNvPr>
          <p:cNvGrpSpPr>
            <a:grpSpLocks/>
          </p:cNvGrpSpPr>
          <p:nvPr/>
        </p:nvGrpSpPr>
        <p:grpSpPr>
          <a:xfrm>
            <a:off x="329788" y="1101243"/>
            <a:ext cx="4459466" cy="2191058"/>
            <a:chOff x="199842" y="1129936"/>
            <a:chExt cx="4459466" cy="2191058"/>
          </a:xfrm>
        </p:grpSpPr>
        <p:sp>
          <p:nvSpPr>
            <p:cNvPr id="336" name="Freeform 5"/>
            <p:cNvSpPr>
              <a:spLocks/>
            </p:cNvSpPr>
            <p:nvPr>
              <p:custDataLst>
                <p:tags r:id="rId13"/>
              </p:custDataLst>
            </p:nvPr>
          </p:nvSpPr>
          <p:spPr bwMode="gray">
            <a:xfrm>
              <a:off x="2257548" y="2086551"/>
              <a:ext cx="254417" cy="237807"/>
            </a:xfrm>
            <a:custGeom>
              <a:avLst/>
              <a:gdLst>
                <a:gd name="T0" fmla="*/ 192 w 313"/>
                <a:gd name="T1" fmla="*/ 306 h 309"/>
                <a:gd name="T2" fmla="*/ 171 w 313"/>
                <a:gd name="T3" fmla="*/ 294 h 309"/>
                <a:gd name="T4" fmla="*/ 131 w 313"/>
                <a:gd name="T5" fmla="*/ 264 h 309"/>
                <a:gd name="T6" fmla="*/ 102 w 313"/>
                <a:gd name="T7" fmla="*/ 246 h 309"/>
                <a:gd name="T8" fmla="*/ 86 w 313"/>
                <a:gd name="T9" fmla="*/ 231 h 309"/>
                <a:gd name="T10" fmla="*/ 45 w 313"/>
                <a:gd name="T11" fmla="*/ 205 h 309"/>
                <a:gd name="T12" fmla="*/ 17 w 313"/>
                <a:gd name="T13" fmla="*/ 187 h 309"/>
                <a:gd name="T14" fmla="*/ 15 w 313"/>
                <a:gd name="T15" fmla="*/ 180 h 309"/>
                <a:gd name="T16" fmla="*/ 0 w 313"/>
                <a:gd name="T17" fmla="*/ 165 h 309"/>
                <a:gd name="T18" fmla="*/ 14 w 313"/>
                <a:gd name="T19" fmla="*/ 147 h 309"/>
                <a:gd name="T20" fmla="*/ 24 w 313"/>
                <a:gd name="T21" fmla="*/ 139 h 309"/>
                <a:gd name="T22" fmla="*/ 38 w 313"/>
                <a:gd name="T23" fmla="*/ 138 h 309"/>
                <a:gd name="T24" fmla="*/ 53 w 313"/>
                <a:gd name="T25" fmla="*/ 129 h 309"/>
                <a:gd name="T26" fmla="*/ 62 w 313"/>
                <a:gd name="T27" fmla="*/ 120 h 309"/>
                <a:gd name="T28" fmla="*/ 77 w 313"/>
                <a:gd name="T29" fmla="*/ 114 h 309"/>
                <a:gd name="T30" fmla="*/ 89 w 313"/>
                <a:gd name="T31" fmla="*/ 102 h 309"/>
                <a:gd name="T32" fmla="*/ 92 w 313"/>
                <a:gd name="T33" fmla="*/ 91 h 309"/>
                <a:gd name="T34" fmla="*/ 108 w 313"/>
                <a:gd name="T35" fmla="*/ 90 h 309"/>
                <a:gd name="T36" fmla="*/ 110 w 313"/>
                <a:gd name="T37" fmla="*/ 73 h 309"/>
                <a:gd name="T38" fmla="*/ 110 w 313"/>
                <a:gd name="T39" fmla="*/ 44 h 309"/>
                <a:gd name="T40" fmla="*/ 116 w 313"/>
                <a:gd name="T41" fmla="*/ 33 h 309"/>
                <a:gd name="T42" fmla="*/ 131 w 313"/>
                <a:gd name="T43" fmla="*/ 28 h 309"/>
                <a:gd name="T44" fmla="*/ 149 w 313"/>
                <a:gd name="T45" fmla="*/ 18 h 309"/>
                <a:gd name="T46" fmla="*/ 188 w 313"/>
                <a:gd name="T47" fmla="*/ 12 h 309"/>
                <a:gd name="T48" fmla="*/ 228 w 313"/>
                <a:gd name="T49" fmla="*/ 19 h 309"/>
                <a:gd name="T50" fmla="*/ 222 w 313"/>
                <a:gd name="T51" fmla="*/ 9 h 309"/>
                <a:gd name="T52" fmla="*/ 258 w 313"/>
                <a:gd name="T53" fmla="*/ 18 h 309"/>
                <a:gd name="T54" fmla="*/ 251 w 313"/>
                <a:gd name="T55" fmla="*/ 52 h 309"/>
                <a:gd name="T56" fmla="*/ 254 w 313"/>
                <a:gd name="T57" fmla="*/ 84 h 309"/>
                <a:gd name="T58" fmla="*/ 255 w 313"/>
                <a:gd name="T59" fmla="*/ 90 h 309"/>
                <a:gd name="T60" fmla="*/ 260 w 313"/>
                <a:gd name="T61" fmla="*/ 91 h 309"/>
                <a:gd name="T62" fmla="*/ 270 w 313"/>
                <a:gd name="T63" fmla="*/ 102 h 309"/>
                <a:gd name="T64" fmla="*/ 281 w 313"/>
                <a:gd name="T65" fmla="*/ 111 h 309"/>
                <a:gd name="T66" fmla="*/ 279 w 313"/>
                <a:gd name="T67" fmla="*/ 142 h 309"/>
                <a:gd name="T68" fmla="*/ 279 w 313"/>
                <a:gd name="T69" fmla="*/ 154 h 309"/>
                <a:gd name="T70" fmla="*/ 288 w 313"/>
                <a:gd name="T71" fmla="*/ 181 h 309"/>
                <a:gd name="T72" fmla="*/ 272 w 313"/>
                <a:gd name="T73" fmla="*/ 198 h 309"/>
                <a:gd name="T74" fmla="*/ 281 w 313"/>
                <a:gd name="T75" fmla="*/ 211 h 309"/>
                <a:gd name="T76" fmla="*/ 296 w 313"/>
                <a:gd name="T77" fmla="*/ 226 h 309"/>
                <a:gd name="T78" fmla="*/ 305 w 313"/>
                <a:gd name="T79" fmla="*/ 232 h 309"/>
                <a:gd name="T80" fmla="*/ 290 w 313"/>
                <a:gd name="T81" fmla="*/ 250 h 309"/>
                <a:gd name="T82" fmla="*/ 273 w 313"/>
                <a:gd name="T83" fmla="*/ 256 h 309"/>
                <a:gd name="T84" fmla="*/ 258 w 313"/>
                <a:gd name="T85" fmla="*/ 265 h 309"/>
                <a:gd name="T86" fmla="*/ 246 w 313"/>
                <a:gd name="T87" fmla="*/ 280 h 309"/>
                <a:gd name="T88" fmla="*/ 237 w 313"/>
                <a:gd name="T89" fmla="*/ 286 h 309"/>
                <a:gd name="T90" fmla="*/ 218 w 313"/>
                <a:gd name="T91" fmla="*/ 304 h 309"/>
                <a:gd name="T92" fmla="*/ 192 w 313"/>
                <a:gd name="T93" fmla="*/ 306 h 3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13" h="309">
                  <a:moveTo>
                    <a:pt x="192" y="306"/>
                  </a:moveTo>
                  <a:cubicBezTo>
                    <a:pt x="176" y="303"/>
                    <a:pt x="184" y="296"/>
                    <a:pt x="171" y="294"/>
                  </a:cubicBezTo>
                  <a:cubicBezTo>
                    <a:pt x="161" y="287"/>
                    <a:pt x="142" y="272"/>
                    <a:pt x="131" y="264"/>
                  </a:cubicBezTo>
                  <a:cubicBezTo>
                    <a:pt x="123" y="257"/>
                    <a:pt x="109" y="251"/>
                    <a:pt x="102" y="246"/>
                  </a:cubicBezTo>
                  <a:cubicBezTo>
                    <a:pt x="100" y="245"/>
                    <a:pt x="89" y="233"/>
                    <a:pt x="86" y="231"/>
                  </a:cubicBezTo>
                  <a:cubicBezTo>
                    <a:pt x="72" y="222"/>
                    <a:pt x="58" y="215"/>
                    <a:pt x="45" y="205"/>
                  </a:cubicBezTo>
                  <a:cubicBezTo>
                    <a:pt x="37" y="199"/>
                    <a:pt x="28" y="189"/>
                    <a:pt x="17" y="187"/>
                  </a:cubicBezTo>
                  <a:cubicBezTo>
                    <a:pt x="11" y="182"/>
                    <a:pt x="18" y="184"/>
                    <a:pt x="15" y="180"/>
                  </a:cubicBezTo>
                  <a:cubicBezTo>
                    <a:pt x="12" y="176"/>
                    <a:pt x="0" y="170"/>
                    <a:pt x="0" y="165"/>
                  </a:cubicBezTo>
                  <a:cubicBezTo>
                    <a:pt x="0" y="160"/>
                    <a:pt x="10" y="151"/>
                    <a:pt x="14" y="147"/>
                  </a:cubicBezTo>
                  <a:cubicBezTo>
                    <a:pt x="17" y="141"/>
                    <a:pt x="20" y="140"/>
                    <a:pt x="24" y="139"/>
                  </a:cubicBezTo>
                  <a:cubicBezTo>
                    <a:pt x="28" y="138"/>
                    <a:pt x="33" y="140"/>
                    <a:pt x="38" y="138"/>
                  </a:cubicBezTo>
                  <a:cubicBezTo>
                    <a:pt x="45" y="135"/>
                    <a:pt x="49" y="132"/>
                    <a:pt x="53" y="129"/>
                  </a:cubicBezTo>
                  <a:cubicBezTo>
                    <a:pt x="57" y="126"/>
                    <a:pt x="58" y="123"/>
                    <a:pt x="62" y="120"/>
                  </a:cubicBezTo>
                  <a:cubicBezTo>
                    <a:pt x="64" y="117"/>
                    <a:pt x="75" y="117"/>
                    <a:pt x="77" y="114"/>
                  </a:cubicBezTo>
                  <a:cubicBezTo>
                    <a:pt x="81" y="111"/>
                    <a:pt x="87" y="106"/>
                    <a:pt x="89" y="102"/>
                  </a:cubicBezTo>
                  <a:cubicBezTo>
                    <a:pt x="91" y="98"/>
                    <a:pt x="89" y="93"/>
                    <a:pt x="92" y="91"/>
                  </a:cubicBezTo>
                  <a:cubicBezTo>
                    <a:pt x="97" y="89"/>
                    <a:pt x="101" y="91"/>
                    <a:pt x="108" y="90"/>
                  </a:cubicBezTo>
                  <a:cubicBezTo>
                    <a:pt x="110" y="81"/>
                    <a:pt x="112" y="82"/>
                    <a:pt x="110" y="73"/>
                  </a:cubicBezTo>
                  <a:cubicBezTo>
                    <a:pt x="110" y="65"/>
                    <a:pt x="109" y="51"/>
                    <a:pt x="110" y="44"/>
                  </a:cubicBezTo>
                  <a:cubicBezTo>
                    <a:pt x="111" y="37"/>
                    <a:pt x="112" y="36"/>
                    <a:pt x="116" y="33"/>
                  </a:cubicBezTo>
                  <a:cubicBezTo>
                    <a:pt x="118" y="22"/>
                    <a:pt x="123" y="26"/>
                    <a:pt x="131" y="28"/>
                  </a:cubicBezTo>
                  <a:cubicBezTo>
                    <a:pt x="136" y="21"/>
                    <a:pt x="141" y="20"/>
                    <a:pt x="149" y="18"/>
                  </a:cubicBezTo>
                  <a:cubicBezTo>
                    <a:pt x="161" y="9"/>
                    <a:pt x="169" y="13"/>
                    <a:pt x="188" y="12"/>
                  </a:cubicBezTo>
                  <a:cubicBezTo>
                    <a:pt x="200" y="3"/>
                    <a:pt x="215" y="17"/>
                    <a:pt x="228" y="19"/>
                  </a:cubicBezTo>
                  <a:cubicBezTo>
                    <a:pt x="239" y="23"/>
                    <a:pt x="227" y="15"/>
                    <a:pt x="222" y="9"/>
                  </a:cubicBezTo>
                  <a:cubicBezTo>
                    <a:pt x="237" y="0"/>
                    <a:pt x="282" y="4"/>
                    <a:pt x="258" y="18"/>
                  </a:cubicBezTo>
                  <a:cubicBezTo>
                    <a:pt x="251" y="27"/>
                    <a:pt x="263" y="43"/>
                    <a:pt x="251" y="52"/>
                  </a:cubicBezTo>
                  <a:cubicBezTo>
                    <a:pt x="248" y="64"/>
                    <a:pt x="245" y="75"/>
                    <a:pt x="254" y="84"/>
                  </a:cubicBezTo>
                  <a:cubicBezTo>
                    <a:pt x="254" y="86"/>
                    <a:pt x="254" y="88"/>
                    <a:pt x="255" y="90"/>
                  </a:cubicBezTo>
                  <a:cubicBezTo>
                    <a:pt x="256" y="91"/>
                    <a:pt x="259" y="90"/>
                    <a:pt x="260" y="91"/>
                  </a:cubicBezTo>
                  <a:cubicBezTo>
                    <a:pt x="262" y="93"/>
                    <a:pt x="269" y="99"/>
                    <a:pt x="270" y="102"/>
                  </a:cubicBezTo>
                  <a:cubicBezTo>
                    <a:pt x="271" y="108"/>
                    <a:pt x="278" y="105"/>
                    <a:pt x="281" y="111"/>
                  </a:cubicBezTo>
                  <a:cubicBezTo>
                    <a:pt x="282" y="117"/>
                    <a:pt x="279" y="135"/>
                    <a:pt x="279" y="142"/>
                  </a:cubicBezTo>
                  <a:cubicBezTo>
                    <a:pt x="279" y="149"/>
                    <a:pt x="278" y="148"/>
                    <a:pt x="279" y="154"/>
                  </a:cubicBezTo>
                  <a:cubicBezTo>
                    <a:pt x="280" y="160"/>
                    <a:pt x="289" y="174"/>
                    <a:pt x="288" y="181"/>
                  </a:cubicBezTo>
                  <a:cubicBezTo>
                    <a:pt x="287" y="188"/>
                    <a:pt x="273" y="193"/>
                    <a:pt x="272" y="198"/>
                  </a:cubicBezTo>
                  <a:cubicBezTo>
                    <a:pt x="275" y="202"/>
                    <a:pt x="278" y="207"/>
                    <a:pt x="281" y="211"/>
                  </a:cubicBezTo>
                  <a:cubicBezTo>
                    <a:pt x="283" y="220"/>
                    <a:pt x="288" y="225"/>
                    <a:pt x="296" y="226"/>
                  </a:cubicBezTo>
                  <a:cubicBezTo>
                    <a:pt x="303" y="230"/>
                    <a:pt x="296" y="228"/>
                    <a:pt x="305" y="232"/>
                  </a:cubicBezTo>
                  <a:cubicBezTo>
                    <a:pt x="313" y="242"/>
                    <a:pt x="295" y="250"/>
                    <a:pt x="290" y="250"/>
                  </a:cubicBezTo>
                  <a:cubicBezTo>
                    <a:pt x="283" y="253"/>
                    <a:pt x="280" y="253"/>
                    <a:pt x="273" y="256"/>
                  </a:cubicBezTo>
                  <a:cubicBezTo>
                    <a:pt x="268" y="263"/>
                    <a:pt x="267" y="263"/>
                    <a:pt x="258" y="265"/>
                  </a:cubicBezTo>
                  <a:cubicBezTo>
                    <a:pt x="254" y="268"/>
                    <a:pt x="250" y="277"/>
                    <a:pt x="246" y="280"/>
                  </a:cubicBezTo>
                  <a:cubicBezTo>
                    <a:pt x="243" y="286"/>
                    <a:pt x="244" y="285"/>
                    <a:pt x="237" y="286"/>
                  </a:cubicBezTo>
                  <a:cubicBezTo>
                    <a:pt x="231" y="290"/>
                    <a:pt x="225" y="303"/>
                    <a:pt x="218" y="304"/>
                  </a:cubicBezTo>
                  <a:cubicBezTo>
                    <a:pt x="211" y="309"/>
                    <a:pt x="200" y="306"/>
                    <a:pt x="192" y="306"/>
                  </a:cubicBezTo>
                  <a:close/>
                </a:path>
              </a:pathLst>
            </a:custGeom>
            <a:solidFill>
              <a:schemeClr val="bg1">
                <a:lumMod val="85000"/>
              </a:schemeClr>
            </a:solidFill>
            <a:ln w="9525" cap="flat" cmpd="sng">
              <a:solidFill>
                <a:schemeClr val="bg1"/>
              </a:solidFill>
              <a:prstDash val="solid"/>
              <a:round/>
              <a:headEnd type="none" w="med" len="med"/>
              <a:tailEnd type="none" w="med" len="med"/>
            </a:ln>
            <a:effectLst/>
            <a:extLst/>
          </p:spPr>
          <p:txBody>
            <a:bodyPr>
              <a:noAutofit/>
            </a:bodyPr>
            <a:lstStyle/>
            <a:p>
              <a:pPr fontAlgn="auto">
                <a:spcBef>
                  <a:spcPts val="0"/>
                </a:spcBef>
                <a:spcAft>
                  <a:spcPts val="0"/>
                </a:spcAft>
                <a:defRPr/>
              </a:pPr>
              <a:endParaRPr lang="en-CA" kern="0">
                <a:solidFill>
                  <a:sysClr val="windowText" lastClr="000000"/>
                </a:solidFill>
              </a:endParaRPr>
            </a:p>
          </p:txBody>
        </p:sp>
        <p:sp>
          <p:nvSpPr>
            <p:cNvPr id="337" name="Freeform 6"/>
            <p:cNvSpPr>
              <a:spLocks/>
            </p:cNvSpPr>
            <p:nvPr>
              <p:custDataLst>
                <p:tags r:id="rId14"/>
              </p:custDataLst>
            </p:nvPr>
          </p:nvSpPr>
          <p:spPr bwMode="gray">
            <a:xfrm>
              <a:off x="2478364" y="2146580"/>
              <a:ext cx="192012" cy="172391"/>
            </a:xfrm>
            <a:custGeom>
              <a:avLst/>
              <a:gdLst>
                <a:gd name="T0" fmla="*/ 6 w 236"/>
                <a:gd name="T1" fmla="*/ 43 h 224"/>
                <a:gd name="T2" fmla="*/ 16 w 236"/>
                <a:gd name="T3" fmla="*/ 22 h 224"/>
                <a:gd name="T4" fmla="*/ 28 w 236"/>
                <a:gd name="T5" fmla="*/ 15 h 224"/>
                <a:gd name="T6" fmla="*/ 48 w 236"/>
                <a:gd name="T7" fmla="*/ 0 h 224"/>
                <a:gd name="T8" fmla="*/ 85 w 236"/>
                <a:gd name="T9" fmla="*/ 6 h 224"/>
                <a:gd name="T10" fmla="*/ 118 w 236"/>
                <a:gd name="T11" fmla="*/ 30 h 224"/>
                <a:gd name="T12" fmla="*/ 142 w 236"/>
                <a:gd name="T13" fmla="*/ 40 h 224"/>
                <a:gd name="T14" fmla="*/ 150 w 236"/>
                <a:gd name="T15" fmla="*/ 43 h 224"/>
                <a:gd name="T16" fmla="*/ 160 w 236"/>
                <a:gd name="T17" fmla="*/ 30 h 224"/>
                <a:gd name="T18" fmla="*/ 156 w 236"/>
                <a:gd name="T19" fmla="*/ 13 h 224"/>
                <a:gd name="T20" fmla="*/ 174 w 236"/>
                <a:gd name="T21" fmla="*/ 3 h 224"/>
                <a:gd name="T22" fmla="*/ 213 w 236"/>
                <a:gd name="T23" fmla="*/ 12 h 224"/>
                <a:gd name="T24" fmla="*/ 226 w 236"/>
                <a:gd name="T25" fmla="*/ 21 h 224"/>
                <a:gd name="T26" fmla="*/ 228 w 236"/>
                <a:gd name="T27" fmla="*/ 34 h 224"/>
                <a:gd name="T28" fmla="*/ 229 w 236"/>
                <a:gd name="T29" fmla="*/ 66 h 224"/>
                <a:gd name="T30" fmla="*/ 231 w 236"/>
                <a:gd name="T31" fmla="*/ 183 h 224"/>
                <a:gd name="T32" fmla="*/ 232 w 236"/>
                <a:gd name="T33" fmla="*/ 217 h 224"/>
                <a:gd name="T34" fmla="*/ 208 w 236"/>
                <a:gd name="T35" fmla="*/ 223 h 224"/>
                <a:gd name="T36" fmla="*/ 186 w 236"/>
                <a:gd name="T37" fmla="*/ 208 h 224"/>
                <a:gd name="T38" fmla="*/ 168 w 236"/>
                <a:gd name="T39" fmla="*/ 198 h 224"/>
                <a:gd name="T40" fmla="*/ 153 w 236"/>
                <a:gd name="T41" fmla="*/ 195 h 224"/>
                <a:gd name="T42" fmla="*/ 145 w 236"/>
                <a:gd name="T43" fmla="*/ 187 h 224"/>
                <a:gd name="T44" fmla="*/ 129 w 236"/>
                <a:gd name="T45" fmla="*/ 175 h 224"/>
                <a:gd name="T46" fmla="*/ 103 w 236"/>
                <a:gd name="T47" fmla="*/ 168 h 224"/>
                <a:gd name="T48" fmla="*/ 78 w 236"/>
                <a:gd name="T49" fmla="*/ 171 h 224"/>
                <a:gd name="T50" fmla="*/ 58 w 236"/>
                <a:gd name="T51" fmla="*/ 163 h 224"/>
                <a:gd name="T52" fmla="*/ 39 w 236"/>
                <a:gd name="T53" fmla="*/ 160 h 224"/>
                <a:gd name="T54" fmla="*/ 12 w 236"/>
                <a:gd name="T55" fmla="*/ 139 h 224"/>
                <a:gd name="T56" fmla="*/ 1 w 236"/>
                <a:gd name="T57" fmla="*/ 127 h 224"/>
                <a:gd name="T58" fmla="*/ 15 w 236"/>
                <a:gd name="T59" fmla="*/ 106 h 224"/>
                <a:gd name="T60" fmla="*/ 7 w 236"/>
                <a:gd name="T61" fmla="*/ 73 h 224"/>
                <a:gd name="T62" fmla="*/ 6 w 236"/>
                <a:gd name="T63" fmla="*/ 43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36" h="224">
                  <a:moveTo>
                    <a:pt x="6" y="43"/>
                  </a:moveTo>
                  <a:cubicBezTo>
                    <a:pt x="8" y="35"/>
                    <a:pt x="12" y="27"/>
                    <a:pt x="16" y="22"/>
                  </a:cubicBezTo>
                  <a:cubicBezTo>
                    <a:pt x="20" y="17"/>
                    <a:pt x="23" y="19"/>
                    <a:pt x="28" y="15"/>
                  </a:cubicBezTo>
                  <a:cubicBezTo>
                    <a:pt x="34" y="5"/>
                    <a:pt x="37" y="2"/>
                    <a:pt x="48" y="0"/>
                  </a:cubicBezTo>
                  <a:cubicBezTo>
                    <a:pt x="73" y="1"/>
                    <a:pt x="67" y="2"/>
                    <a:pt x="85" y="6"/>
                  </a:cubicBezTo>
                  <a:cubicBezTo>
                    <a:pt x="103" y="30"/>
                    <a:pt x="74" y="26"/>
                    <a:pt x="118" y="30"/>
                  </a:cubicBezTo>
                  <a:cubicBezTo>
                    <a:pt x="127" y="32"/>
                    <a:pt x="133" y="38"/>
                    <a:pt x="142" y="40"/>
                  </a:cubicBezTo>
                  <a:cubicBezTo>
                    <a:pt x="144" y="44"/>
                    <a:pt x="145" y="48"/>
                    <a:pt x="150" y="43"/>
                  </a:cubicBezTo>
                  <a:cubicBezTo>
                    <a:pt x="154" y="39"/>
                    <a:pt x="160" y="30"/>
                    <a:pt x="160" y="30"/>
                  </a:cubicBezTo>
                  <a:cubicBezTo>
                    <a:pt x="159" y="23"/>
                    <a:pt x="157" y="19"/>
                    <a:pt x="156" y="13"/>
                  </a:cubicBezTo>
                  <a:cubicBezTo>
                    <a:pt x="161" y="9"/>
                    <a:pt x="168" y="7"/>
                    <a:pt x="174" y="3"/>
                  </a:cubicBezTo>
                  <a:cubicBezTo>
                    <a:pt x="197" y="4"/>
                    <a:pt x="194" y="8"/>
                    <a:pt x="213" y="12"/>
                  </a:cubicBezTo>
                  <a:cubicBezTo>
                    <a:pt x="217" y="15"/>
                    <a:pt x="222" y="18"/>
                    <a:pt x="226" y="21"/>
                  </a:cubicBezTo>
                  <a:cubicBezTo>
                    <a:pt x="229" y="27"/>
                    <a:pt x="229" y="28"/>
                    <a:pt x="228" y="34"/>
                  </a:cubicBezTo>
                  <a:cubicBezTo>
                    <a:pt x="230" y="44"/>
                    <a:pt x="227" y="56"/>
                    <a:pt x="229" y="66"/>
                  </a:cubicBezTo>
                  <a:cubicBezTo>
                    <a:pt x="232" y="90"/>
                    <a:pt x="234" y="157"/>
                    <a:pt x="231" y="183"/>
                  </a:cubicBezTo>
                  <a:cubicBezTo>
                    <a:pt x="231" y="208"/>
                    <a:pt x="236" y="210"/>
                    <a:pt x="232" y="217"/>
                  </a:cubicBezTo>
                  <a:cubicBezTo>
                    <a:pt x="228" y="224"/>
                    <a:pt x="216" y="224"/>
                    <a:pt x="208" y="223"/>
                  </a:cubicBezTo>
                  <a:cubicBezTo>
                    <a:pt x="201" y="222"/>
                    <a:pt x="193" y="212"/>
                    <a:pt x="186" y="208"/>
                  </a:cubicBezTo>
                  <a:cubicBezTo>
                    <a:pt x="179" y="204"/>
                    <a:pt x="173" y="200"/>
                    <a:pt x="168" y="198"/>
                  </a:cubicBezTo>
                  <a:cubicBezTo>
                    <a:pt x="163" y="194"/>
                    <a:pt x="155" y="197"/>
                    <a:pt x="153" y="195"/>
                  </a:cubicBezTo>
                  <a:cubicBezTo>
                    <a:pt x="149" y="193"/>
                    <a:pt x="149" y="190"/>
                    <a:pt x="145" y="187"/>
                  </a:cubicBezTo>
                  <a:cubicBezTo>
                    <a:pt x="139" y="183"/>
                    <a:pt x="136" y="178"/>
                    <a:pt x="129" y="175"/>
                  </a:cubicBezTo>
                  <a:cubicBezTo>
                    <a:pt x="122" y="172"/>
                    <a:pt x="111" y="169"/>
                    <a:pt x="103" y="168"/>
                  </a:cubicBezTo>
                  <a:cubicBezTo>
                    <a:pt x="75" y="169"/>
                    <a:pt x="94" y="162"/>
                    <a:pt x="78" y="171"/>
                  </a:cubicBezTo>
                  <a:cubicBezTo>
                    <a:pt x="74" y="170"/>
                    <a:pt x="62" y="164"/>
                    <a:pt x="58" y="163"/>
                  </a:cubicBezTo>
                  <a:cubicBezTo>
                    <a:pt x="52" y="161"/>
                    <a:pt x="39" y="160"/>
                    <a:pt x="39" y="160"/>
                  </a:cubicBezTo>
                  <a:cubicBezTo>
                    <a:pt x="30" y="154"/>
                    <a:pt x="20" y="147"/>
                    <a:pt x="12" y="139"/>
                  </a:cubicBezTo>
                  <a:cubicBezTo>
                    <a:pt x="7" y="134"/>
                    <a:pt x="7" y="131"/>
                    <a:pt x="1" y="127"/>
                  </a:cubicBezTo>
                  <a:cubicBezTo>
                    <a:pt x="0" y="119"/>
                    <a:pt x="10" y="112"/>
                    <a:pt x="15" y="106"/>
                  </a:cubicBezTo>
                  <a:cubicBezTo>
                    <a:pt x="17" y="94"/>
                    <a:pt x="11" y="84"/>
                    <a:pt x="7" y="73"/>
                  </a:cubicBezTo>
                  <a:cubicBezTo>
                    <a:pt x="6" y="61"/>
                    <a:pt x="6" y="54"/>
                    <a:pt x="6" y="43"/>
                  </a:cubicBezTo>
                  <a:close/>
                </a:path>
              </a:pathLst>
            </a:custGeom>
            <a:solidFill>
              <a:schemeClr val="bg1">
                <a:lumMod val="85000"/>
              </a:schemeClr>
            </a:solidFill>
            <a:ln w="9525" cap="flat" cmpd="sng">
              <a:solidFill>
                <a:schemeClr val="bg1"/>
              </a:solidFill>
              <a:prstDash val="solid"/>
              <a:round/>
              <a:headEnd type="none" w="med" len="med"/>
              <a:tailEnd type="none" w="med" len="med"/>
            </a:ln>
            <a:effectLst/>
            <a:extLst/>
          </p:spPr>
          <p:txBody>
            <a:bodyPr>
              <a:noAutofit/>
            </a:bodyPr>
            <a:lstStyle/>
            <a:p>
              <a:pPr fontAlgn="auto">
                <a:spcBef>
                  <a:spcPts val="0"/>
                </a:spcBef>
                <a:spcAft>
                  <a:spcPts val="0"/>
                </a:spcAft>
                <a:defRPr/>
              </a:pPr>
              <a:endParaRPr lang="en-CA" kern="0">
                <a:solidFill>
                  <a:sysClr val="windowText" lastClr="000000"/>
                </a:solidFill>
              </a:endParaRPr>
            </a:p>
          </p:txBody>
        </p:sp>
        <p:sp>
          <p:nvSpPr>
            <p:cNvPr id="338" name="Freeform 7"/>
            <p:cNvSpPr>
              <a:spLocks/>
            </p:cNvSpPr>
            <p:nvPr>
              <p:custDataLst>
                <p:tags r:id="rId15"/>
              </p:custDataLst>
            </p:nvPr>
          </p:nvSpPr>
          <p:spPr bwMode="gray">
            <a:xfrm>
              <a:off x="2631172" y="1844896"/>
              <a:ext cx="233615" cy="136989"/>
            </a:xfrm>
            <a:custGeom>
              <a:avLst/>
              <a:gdLst>
                <a:gd name="T0" fmla="*/ 107 w 287"/>
                <a:gd name="T1" fmla="*/ 158 h 178"/>
                <a:gd name="T2" fmla="*/ 131 w 287"/>
                <a:gd name="T3" fmla="*/ 137 h 178"/>
                <a:gd name="T4" fmla="*/ 151 w 287"/>
                <a:gd name="T5" fmla="*/ 132 h 178"/>
                <a:gd name="T6" fmla="*/ 152 w 287"/>
                <a:gd name="T7" fmla="*/ 149 h 178"/>
                <a:gd name="T8" fmla="*/ 163 w 287"/>
                <a:gd name="T9" fmla="*/ 156 h 178"/>
                <a:gd name="T10" fmla="*/ 176 w 287"/>
                <a:gd name="T11" fmla="*/ 176 h 178"/>
                <a:gd name="T12" fmla="*/ 211 w 287"/>
                <a:gd name="T13" fmla="*/ 164 h 178"/>
                <a:gd name="T14" fmla="*/ 194 w 287"/>
                <a:gd name="T15" fmla="*/ 149 h 178"/>
                <a:gd name="T16" fmla="*/ 185 w 287"/>
                <a:gd name="T17" fmla="*/ 143 h 178"/>
                <a:gd name="T18" fmla="*/ 199 w 287"/>
                <a:gd name="T19" fmla="*/ 134 h 178"/>
                <a:gd name="T20" fmla="*/ 217 w 287"/>
                <a:gd name="T21" fmla="*/ 125 h 178"/>
                <a:gd name="T22" fmla="*/ 251 w 287"/>
                <a:gd name="T23" fmla="*/ 114 h 178"/>
                <a:gd name="T24" fmla="*/ 263 w 287"/>
                <a:gd name="T25" fmla="*/ 104 h 178"/>
                <a:gd name="T26" fmla="*/ 263 w 287"/>
                <a:gd name="T27" fmla="*/ 63 h 178"/>
                <a:gd name="T28" fmla="*/ 225 w 287"/>
                <a:gd name="T29" fmla="*/ 52 h 178"/>
                <a:gd name="T30" fmla="*/ 214 w 287"/>
                <a:gd name="T31" fmla="*/ 45 h 178"/>
                <a:gd name="T32" fmla="*/ 187 w 287"/>
                <a:gd name="T33" fmla="*/ 29 h 178"/>
                <a:gd name="T34" fmla="*/ 179 w 287"/>
                <a:gd name="T35" fmla="*/ 11 h 178"/>
                <a:gd name="T36" fmla="*/ 142 w 287"/>
                <a:gd name="T37" fmla="*/ 8 h 178"/>
                <a:gd name="T38" fmla="*/ 122 w 287"/>
                <a:gd name="T39" fmla="*/ 12 h 178"/>
                <a:gd name="T40" fmla="*/ 109 w 287"/>
                <a:gd name="T41" fmla="*/ 18 h 178"/>
                <a:gd name="T42" fmla="*/ 92 w 287"/>
                <a:gd name="T43" fmla="*/ 17 h 178"/>
                <a:gd name="T44" fmla="*/ 31 w 287"/>
                <a:gd name="T45" fmla="*/ 15 h 178"/>
                <a:gd name="T46" fmla="*/ 28 w 287"/>
                <a:gd name="T47" fmla="*/ 32 h 178"/>
                <a:gd name="T48" fmla="*/ 14 w 287"/>
                <a:gd name="T49" fmla="*/ 53 h 178"/>
                <a:gd name="T50" fmla="*/ 5 w 287"/>
                <a:gd name="T51" fmla="*/ 63 h 178"/>
                <a:gd name="T52" fmla="*/ 7 w 287"/>
                <a:gd name="T53" fmla="*/ 72 h 178"/>
                <a:gd name="T54" fmla="*/ 5 w 287"/>
                <a:gd name="T55" fmla="*/ 84 h 178"/>
                <a:gd name="T56" fmla="*/ 7 w 287"/>
                <a:gd name="T57" fmla="*/ 96 h 178"/>
                <a:gd name="T58" fmla="*/ 47 w 287"/>
                <a:gd name="T59" fmla="*/ 98 h 178"/>
                <a:gd name="T60" fmla="*/ 65 w 287"/>
                <a:gd name="T61" fmla="*/ 95 h 178"/>
                <a:gd name="T62" fmla="*/ 73 w 287"/>
                <a:gd name="T63" fmla="*/ 89 h 178"/>
                <a:gd name="T64" fmla="*/ 91 w 287"/>
                <a:gd name="T65" fmla="*/ 90 h 178"/>
                <a:gd name="T66" fmla="*/ 103 w 287"/>
                <a:gd name="T67" fmla="*/ 99 h 178"/>
                <a:gd name="T68" fmla="*/ 109 w 287"/>
                <a:gd name="T69" fmla="*/ 117 h 178"/>
                <a:gd name="T70" fmla="*/ 110 w 287"/>
                <a:gd name="T71" fmla="*/ 132 h 178"/>
                <a:gd name="T72" fmla="*/ 104 w 287"/>
                <a:gd name="T73" fmla="*/ 144 h 178"/>
                <a:gd name="T74" fmla="*/ 98 w 287"/>
                <a:gd name="T75" fmla="*/ 150 h 178"/>
                <a:gd name="T76" fmla="*/ 107 w 287"/>
                <a:gd name="T77" fmla="*/ 158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87" h="178">
                  <a:moveTo>
                    <a:pt x="107" y="158"/>
                  </a:moveTo>
                  <a:cubicBezTo>
                    <a:pt x="117" y="154"/>
                    <a:pt x="123" y="143"/>
                    <a:pt x="131" y="137"/>
                  </a:cubicBezTo>
                  <a:cubicBezTo>
                    <a:pt x="135" y="126"/>
                    <a:pt x="141" y="130"/>
                    <a:pt x="151" y="132"/>
                  </a:cubicBezTo>
                  <a:cubicBezTo>
                    <a:pt x="155" y="139"/>
                    <a:pt x="156" y="142"/>
                    <a:pt x="152" y="149"/>
                  </a:cubicBezTo>
                  <a:cubicBezTo>
                    <a:pt x="155" y="155"/>
                    <a:pt x="157" y="155"/>
                    <a:pt x="163" y="156"/>
                  </a:cubicBezTo>
                  <a:cubicBezTo>
                    <a:pt x="170" y="168"/>
                    <a:pt x="159" y="178"/>
                    <a:pt x="176" y="176"/>
                  </a:cubicBezTo>
                  <a:cubicBezTo>
                    <a:pt x="190" y="162"/>
                    <a:pt x="186" y="165"/>
                    <a:pt x="211" y="164"/>
                  </a:cubicBezTo>
                  <a:cubicBezTo>
                    <a:pt x="217" y="154"/>
                    <a:pt x="202" y="150"/>
                    <a:pt x="194" y="149"/>
                  </a:cubicBezTo>
                  <a:cubicBezTo>
                    <a:pt x="191" y="147"/>
                    <a:pt x="185" y="147"/>
                    <a:pt x="185" y="143"/>
                  </a:cubicBezTo>
                  <a:cubicBezTo>
                    <a:pt x="185" y="138"/>
                    <a:pt x="196" y="135"/>
                    <a:pt x="199" y="134"/>
                  </a:cubicBezTo>
                  <a:cubicBezTo>
                    <a:pt x="205" y="131"/>
                    <a:pt x="211" y="129"/>
                    <a:pt x="217" y="125"/>
                  </a:cubicBezTo>
                  <a:cubicBezTo>
                    <a:pt x="223" y="115"/>
                    <a:pt x="240" y="116"/>
                    <a:pt x="251" y="114"/>
                  </a:cubicBezTo>
                  <a:cubicBezTo>
                    <a:pt x="256" y="111"/>
                    <a:pt x="259" y="109"/>
                    <a:pt x="263" y="104"/>
                  </a:cubicBezTo>
                  <a:cubicBezTo>
                    <a:pt x="266" y="84"/>
                    <a:pt x="287" y="67"/>
                    <a:pt x="263" y="63"/>
                  </a:cubicBezTo>
                  <a:cubicBezTo>
                    <a:pt x="257" y="54"/>
                    <a:pt x="234" y="54"/>
                    <a:pt x="225" y="52"/>
                  </a:cubicBezTo>
                  <a:cubicBezTo>
                    <a:pt x="217" y="49"/>
                    <a:pt x="220" y="49"/>
                    <a:pt x="214" y="45"/>
                  </a:cubicBezTo>
                  <a:cubicBezTo>
                    <a:pt x="209" y="38"/>
                    <a:pt x="195" y="34"/>
                    <a:pt x="187" y="29"/>
                  </a:cubicBezTo>
                  <a:cubicBezTo>
                    <a:pt x="183" y="24"/>
                    <a:pt x="183" y="16"/>
                    <a:pt x="179" y="11"/>
                  </a:cubicBezTo>
                  <a:cubicBezTo>
                    <a:pt x="177" y="0"/>
                    <a:pt x="151" y="9"/>
                    <a:pt x="142" y="8"/>
                  </a:cubicBezTo>
                  <a:cubicBezTo>
                    <a:pt x="133" y="9"/>
                    <a:pt x="130" y="10"/>
                    <a:pt x="122" y="12"/>
                  </a:cubicBezTo>
                  <a:cubicBezTo>
                    <a:pt x="117" y="14"/>
                    <a:pt x="114" y="17"/>
                    <a:pt x="109" y="18"/>
                  </a:cubicBezTo>
                  <a:cubicBezTo>
                    <a:pt x="104" y="19"/>
                    <a:pt x="105" y="17"/>
                    <a:pt x="92" y="17"/>
                  </a:cubicBezTo>
                  <a:cubicBezTo>
                    <a:pt x="74" y="8"/>
                    <a:pt x="46" y="15"/>
                    <a:pt x="31" y="15"/>
                  </a:cubicBezTo>
                  <a:cubicBezTo>
                    <a:pt x="21" y="19"/>
                    <a:pt x="23" y="24"/>
                    <a:pt x="28" y="32"/>
                  </a:cubicBezTo>
                  <a:cubicBezTo>
                    <a:pt x="26" y="41"/>
                    <a:pt x="22" y="48"/>
                    <a:pt x="14" y="53"/>
                  </a:cubicBezTo>
                  <a:cubicBezTo>
                    <a:pt x="11" y="58"/>
                    <a:pt x="6" y="60"/>
                    <a:pt x="5" y="63"/>
                  </a:cubicBezTo>
                  <a:cubicBezTo>
                    <a:pt x="4" y="66"/>
                    <a:pt x="7" y="69"/>
                    <a:pt x="7" y="72"/>
                  </a:cubicBezTo>
                  <a:cubicBezTo>
                    <a:pt x="7" y="75"/>
                    <a:pt x="5" y="80"/>
                    <a:pt x="5" y="84"/>
                  </a:cubicBezTo>
                  <a:cubicBezTo>
                    <a:pt x="6" y="88"/>
                    <a:pt x="0" y="94"/>
                    <a:pt x="7" y="96"/>
                  </a:cubicBezTo>
                  <a:cubicBezTo>
                    <a:pt x="14" y="98"/>
                    <a:pt x="37" y="98"/>
                    <a:pt x="47" y="98"/>
                  </a:cubicBezTo>
                  <a:cubicBezTo>
                    <a:pt x="56" y="97"/>
                    <a:pt x="61" y="96"/>
                    <a:pt x="65" y="95"/>
                  </a:cubicBezTo>
                  <a:cubicBezTo>
                    <a:pt x="69" y="94"/>
                    <a:pt x="69" y="90"/>
                    <a:pt x="73" y="89"/>
                  </a:cubicBezTo>
                  <a:cubicBezTo>
                    <a:pt x="79" y="86"/>
                    <a:pt x="84" y="89"/>
                    <a:pt x="91" y="90"/>
                  </a:cubicBezTo>
                  <a:cubicBezTo>
                    <a:pt x="96" y="93"/>
                    <a:pt x="99" y="94"/>
                    <a:pt x="103" y="99"/>
                  </a:cubicBezTo>
                  <a:cubicBezTo>
                    <a:pt x="104" y="107"/>
                    <a:pt x="104" y="111"/>
                    <a:pt x="109" y="117"/>
                  </a:cubicBezTo>
                  <a:cubicBezTo>
                    <a:pt x="111" y="125"/>
                    <a:pt x="114" y="124"/>
                    <a:pt x="110" y="132"/>
                  </a:cubicBezTo>
                  <a:cubicBezTo>
                    <a:pt x="110" y="136"/>
                    <a:pt x="106" y="141"/>
                    <a:pt x="104" y="144"/>
                  </a:cubicBezTo>
                  <a:cubicBezTo>
                    <a:pt x="102" y="147"/>
                    <a:pt x="98" y="148"/>
                    <a:pt x="98" y="150"/>
                  </a:cubicBezTo>
                  <a:cubicBezTo>
                    <a:pt x="96" y="159"/>
                    <a:pt x="99" y="159"/>
                    <a:pt x="107" y="158"/>
                  </a:cubicBezTo>
                  <a:close/>
                </a:path>
              </a:pathLst>
            </a:custGeom>
            <a:solidFill>
              <a:schemeClr val="bg1">
                <a:lumMod val="85000"/>
              </a:schemeClr>
            </a:solidFill>
            <a:ln w="9525" cap="flat" cmpd="sng">
              <a:solidFill>
                <a:schemeClr val="bg1"/>
              </a:solidFill>
              <a:prstDash val="solid"/>
              <a:round/>
              <a:headEnd type="none" w="med" len="med"/>
              <a:tailEnd type="none" w="med" len="med"/>
            </a:ln>
            <a:effectLst/>
            <a:extLst/>
          </p:spPr>
          <p:txBody>
            <a:bodyPr>
              <a:noAutofit/>
            </a:bodyPr>
            <a:lstStyle/>
            <a:p>
              <a:pPr fontAlgn="auto">
                <a:spcBef>
                  <a:spcPts val="0"/>
                </a:spcBef>
                <a:spcAft>
                  <a:spcPts val="0"/>
                </a:spcAft>
                <a:defRPr/>
              </a:pPr>
              <a:endParaRPr lang="en-CA" kern="0">
                <a:solidFill>
                  <a:sysClr val="windowText" lastClr="000000"/>
                </a:solidFill>
              </a:endParaRPr>
            </a:p>
          </p:txBody>
        </p:sp>
        <p:sp>
          <p:nvSpPr>
            <p:cNvPr id="339" name="Freeform 8"/>
            <p:cNvSpPr>
              <a:spLocks/>
            </p:cNvSpPr>
            <p:nvPr>
              <p:custDataLst>
                <p:tags r:id="rId16"/>
              </p:custDataLst>
            </p:nvPr>
          </p:nvSpPr>
          <p:spPr bwMode="gray">
            <a:xfrm>
              <a:off x="3040000" y="1966492"/>
              <a:ext cx="198412" cy="125446"/>
            </a:xfrm>
            <a:custGeom>
              <a:avLst/>
              <a:gdLst>
                <a:gd name="T0" fmla="*/ 174 w 244"/>
                <a:gd name="T1" fmla="*/ 93 h 163"/>
                <a:gd name="T2" fmla="*/ 189 w 244"/>
                <a:gd name="T3" fmla="*/ 82 h 163"/>
                <a:gd name="T4" fmla="*/ 219 w 244"/>
                <a:gd name="T5" fmla="*/ 61 h 163"/>
                <a:gd name="T6" fmla="*/ 237 w 244"/>
                <a:gd name="T7" fmla="*/ 73 h 163"/>
                <a:gd name="T8" fmla="*/ 244 w 244"/>
                <a:gd name="T9" fmla="*/ 84 h 163"/>
                <a:gd name="T10" fmla="*/ 196 w 244"/>
                <a:gd name="T11" fmla="*/ 97 h 163"/>
                <a:gd name="T12" fmla="*/ 183 w 244"/>
                <a:gd name="T13" fmla="*/ 106 h 163"/>
                <a:gd name="T14" fmla="*/ 172 w 244"/>
                <a:gd name="T15" fmla="*/ 115 h 163"/>
                <a:gd name="T16" fmla="*/ 177 w 244"/>
                <a:gd name="T17" fmla="*/ 142 h 163"/>
                <a:gd name="T18" fmla="*/ 153 w 244"/>
                <a:gd name="T19" fmla="*/ 157 h 163"/>
                <a:gd name="T20" fmla="*/ 150 w 244"/>
                <a:gd name="T21" fmla="*/ 153 h 163"/>
                <a:gd name="T22" fmla="*/ 148 w 244"/>
                <a:gd name="T23" fmla="*/ 147 h 163"/>
                <a:gd name="T24" fmla="*/ 121 w 244"/>
                <a:gd name="T25" fmla="*/ 129 h 163"/>
                <a:gd name="T26" fmla="*/ 99 w 244"/>
                <a:gd name="T27" fmla="*/ 112 h 163"/>
                <a:gd name="T28" fmla="*/ 91 w 244"/>
                <a:gd name="T29" fmla="*/ 93 h 163"/>
                <a:gd name="T30" fmla="*/ 76 w 244"/>
                <a:gd name="T31" fmla="*/ 78 h 163"/>
                <a:gd name="T32" fmla="*/ 58 w 244"/>
                <a:gd name="T33" fmla="*/ 73 h 163"/>
                <a:gd name="T34" fmla="*/ 49 w 244"/>
                <a:gd name="T35" fmla="*/ 57 h 163"/>
                <a:gd name="T36" fmla="*/ 18 w 244"/>
                <a:gd name="T37" fmla="*/ 72 h 163"/>
                <a:gd name="T38" fmla="*/ 4 w 244"/>
                <a:gd name="T39" fmla="*/ 79 h 163"/>
                <a:gd name="T40" fmla="*/ 4 w 244"/>
                <a:gd name="T41" fmla="*/ 19 h 163"/>
                <a:gd name="T42" fmla="*/ 30 w 244"/>
                <a:gd name="T43" fmla="*/ 9 h 163"/>
                <a:gd name="T44" fmla="*/ 43 w 244"/>
                <a:gd name="T45" fmla="*/ 0 h 163"/>
                <a:gd name="T46" fmla="*/ 51 w 244"/>
                <a:gd name="T47" fmla="*/ 9 h 163"/>
                <a:gd name="T48" fmla="*/ 61 w 244"/>
                <a:gd name="T49" fmla="*/ 12 h 163"/>
                <a:gd name="T50" fmla="*/ 69 w 244"/>
                <a:gd name="T51" fmla="*/ 25 h 163"/>
                <a:gd name="T52" fmla="*/ 90 w 244"/>
                <a:gd name="T53" fmla="*/ 34 h 163"/>
                <a:gd name="T54" fmla="*/ 105 w 244"/>
                <a:gd name="T55" fmla="*/ 46 h 163"/>
                <a:gd name="T56" fmla="*/ 139 w 244"/>
                <a:gd name="T57" fmla="*/ 46 h 163"/>
                <a:gd name="T58" fmla="*/ 150 w 244"/>
                <a:gd name="T59" fmla="*/ 63 h 163"/>
                <a:gd name="T60" fmla="*/ 156 w 244"/>
                <a:gd name="T61" fmla="*/ 75 h 163"/>
                <a:gd name="T62" fmla="*/ 165 w 244"/>
                <a:gd name="T63" fmla="*/ 81 h 163"/>
                <a:gd name="T64" fmla="*/ 174 w 244"/>
                <a:gd name="T65" fmla="*/ 93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44" h="163">
                  <a:moveTo>
                    <a:pt x="174" y="93"/>
                  </a:moveTo>
                  <a:cubicBezTo>
                    <a:pt x="186" y="84"/>
                    <a:pt x="180" y="87"/>
                    <a:pt x="189" y="82"/>
                  </a:cubicBezTo>
                  <a:cubicBezTo>
                    <a:pt x="196" y="73"/>
                    <a:pt x="209" y="65"/>
                    <a:pt x="219" y="61"/>
                  </a:cubicBezTo>
                  <a:cubicBezTo>
                    <a:pt x="227" y="64"/>
                    <a:pt x="229" y="71"/>
                    <a:pt x="237" y="73"/>
                  </a:cubicBezTo>
                  <a:cubicBezTo>
                    <a:pt x="243" y="76"/>
                    <a:pt x="243" y="78"/>
                    <a:pt x="244" y="84"/>
                  </a:cubicBezTo>
                  <a:cubicBezTo>
                    <a:pt x="242" y="101"/>
                    <a:pt x="211" y="95"/>
                    <a:pt x="196" y="97"/>
                  </a:cubicBezTo>
                  <a:cubicBezTo>
                    <a:pt x="192" y="100"/>
                    <a:pt x="187" y="103"/>
                    <a:pt x="183" y="106"/>
                  </a:cubicBezTo>
                  <a:cubicBezTo>
                    <a:pt x="180" y="112"/>
                    <a:pt x="179" y="114"/>
                    <a:pt x="172" y="115"/>
                  </a:cubicBezTo>
                  <a:cubicBezTo>
                    <a:pt x="174" y="124"/>
                    <a:pt x="173" y="134"/>
                    <a:pt x="177" y="142"/>
                  </a:cubicBezTo>
                  <a:cubicBezTo>
                    <a:pt x="174" y="163"/>
                    <a:pt x="175" y="159"/>
                    <a:pt x="153" y="157"/>
                  </a:cubicBezTo>
                  <a:cubicBezTo>
                    <a:pt x="152" y="156"/>
                    <a:pt x="151" y="154"/>
                    <a:pt x="150" y="153"/>
                  </a:cubicBezTo>
                  <a:cubicBezTo>
                    <a:pt x="149" y="151"/>
                    <a:pt x="149" y="149"/>
                    <a:pt x="148" y="147"/>
                  </a:cubicBezTo>
                  <a:cubicBezTo>
                    <a:pt x="143" y="140"/>
                    <a:pt x="128" y="133"/>
                    <a:pt x="121" y="129"/>
                  </a:cubicBezTo>
                  <a:cubicBezTo>
                    <a:pt x="116" y="121"/>
                    <a:pt x="106" y="118"/>
                    <a:pt x="99" y="112"/>
                  </a:cubicBezTo>
                  <a:cubicBezTo>
                    <a:pt x="95" y="106"/>
                    <a:pt x="94" y="99"/>
                    <a:pt x="91" y="93"/>
                  </a:cubicBezTo>
                  <a:cubicBezTo>
                    <a:pt x="90" y="86"/>
                    <a:pt x="83" y="79"/>
                    <a:pt x="76" y="78"/>
                  </a:cubicBezTo>
                  <a:cubicBezTo>
                    <a:pt x="72" y="74"/>
                    <a:pt x="62" y="76"/>
                    <a:pt x="58" y="73"/>
                  </a:cubicBezTo>
                  <a:cubicBezTo>
                    <a:pt x="54" y="70"/>
                    <a:pt x="56" y="57"/>
                    <a:pt x="49" y="57"/>
                  </a:cubicBezTo>
                  <a:cubicBezTo>
                    <a:pt x="31" y="58"/>
                    <a:pt x="24" y="58"/>
                    <a:pt x="18" y="72"/>
                  </a:cubicBezTo>
                  <a:cubicBezTo>
                    <a:pt x="17" y="79"/>
                    <a:pt x="9" y="75"/>
                    <a:pt x="4" y="79"/>
                  </a:cubicBezTo>
                  <a:cubicBezTo>
                    <a:pt x="5" y="72"/>
                    <a:pt x="0" y="30"/>
                    <a:pt x="4" y="19"/>
                  </a:cubicBezTo>
                  <a:cubicBezTo>
                    <a:pt x="8" y="8"/>
                    <a:pt x="24" y="12"/>
                    <a:pt x="30" y="9"/>
                  </a:cubicBezTo>
                  <a:cubicBezTo>
                    <a:pt x="34" y="6"/>
                    <a:pt x="39" y="3"/>
                    <a:pt x="43" y="0"/>
                  </a:cubicBezTo>
                  <a:cubicBezTo>
                    <a:pt x="46" y="0"/>
                    <a:pt x="48" y="7"/>
                    <a:pt x="51" y="9"/>
                  </a:cubicBezTo>
                  <a:cubicBezTo>
                    <a:pt x="54" y="11"/>
                    <a:pt x="58" y="9"/>
                    <a:pt x="61" y="12"/>
                  </a:cubicBezTo>
                  <a:cubicBezTo>
                    <a:pt x="64" y="14"/>
                    <a:pt x="66" y="22"/>
                    <a:pt x="69" y="25"/>
                  </a:cubicBezTo>
                  <a:cubicBezTo>
                    <a:pt x="74" y="29"/>
                    <a:pt x="73" y="31"/>
                    <a:pt x="90" y="34"/>
                  </a:cubicBezTo>
                  <a:cubicBezTo>
                    <a:pt x="95" y="37"/>
                    <a:pt x="97" y="44"/>
                    <a:pt x="105" y="46"/>
                  </a:cubicBezTo>
                  <a:cubicBezTo>
                    <a:pt x="113" y="48"/>
                    <a:pt x="132" y="43"/>
                    <a:pt x="139" y="46"/>
                  </a:cubicBezTo>
                  <a:cubicBezTo>
                    <a:pt x="148" y="51"/>
                    <a:pt x="141" y="56"/>
                    <a:pt x="150" y="63"/>
                  </a:cubicBezTo>
                  <a:cubicBezTo>
                    <a:pt x="152" y="68"/>
                    <a:pt x="154" y="72"/>
                    <a:pt x="156" y="75"/>
                  </a:cubicBezTo>
                  <a:cubicBezTo>
                    <a:pt x="158" y="78"/>
                    <a:pt x="162" y="78"/>
                    <a:pt x="165" y="81"/>
                  </a:cubicBezTo>
                  <a:cubicBezTo>
                    <a:pt x="172" y="76"/>
                    <a:pt x="165" y="87"/>
                    <a:pt x="174" y="93"/>
                  </a:cubicBezTo>
                  <a:close/>
                </a:path>
              </a:pathLst>
            </a:custGeom>
            <a:solidFill>
              <a:schemeClr val="bg1">
                <a:lumMod val="85000"/>
              </a:schemeClr>
            </a:solidFill>
            <a:ln w="9525" cap="flat" cmpd="sng">
              <a:solidFill>
                <a:schemeClr val="bg1"/>
              </a:solidFill>
              <a:prstDash val="solid"/>
              <a:round/>
              <a:headEnd type="none" w="med" len="med"/>
              <a:tailEnd type="none" w="med" len="med"/>
            </a:ln>
            <a:effectLst/>
            <a:extLst/>
          </p:spPr>
          <p:txBody>
            <a:bodyPr>
              <a:noAutofit/>
            </a:bodyPr>
            <a:lstStyle/>
            <a:p>
              <a:pPr fontAlgn="auto">
                <a:spcBef>
                  <a:spcPts val="0"/>
                </a:spcBef>
                <a:spcAft>
                  <a:spcPts val="0"/>
                </a:spcAft>
                <a:defRPr/>
              </a:pPr>
              <a:endParaRPr lang="en-CA" kern="0">
                <a:solidFill>
                  <a:sysClr val="windowText" lastClr="000000"/>
                </a:solidFill>
              </a:endParaRPr>
            </a:p>
          </p:txBody>
        </p:sp>
        <p:sp>
          <p:nvSpPr>
            <p:cNvPr id="340" name="Freeform 9"/>
            <p:cNvSpPr>
              <a:spLocks/>
            </p:cNvSpPr>
            <p:nvPr>
              <p:custDataLst>
                <p:tags r:id="rId17"/>
              </p:custDataLst>
            </p:nvPr>
          </p:nvSpPr>
          <p:spPr bwMode="gray">
            <a:xfrm>
              <a:off x="2907192" y="2017287"/>
              <a:ext cx="59204" cy="50794"/>
            </a:xfrm>
            <a:custGeom>
              <a:avLst/>
              <a:gdLst>
                <a:gd name="T0" fmla="*/ 44 w 73"/>
                <a:gd name="T1" fmla="*/ 22 h 66"/>
                <a:gd name="T2" fmla="*/ 31 w 73"/>
                <a:gd name="T3" fmla="*/ 18 h 66"/>
                <a:gd name="T4" fmla="*/ 20 w 73"/>
                <a:gd name="T5" fmla="*/ 0 h 66"/>
                <a:gd name="T6" fmla="*/ 4 w 73"/>
                <a:gd name="T7" fmla="*/ 7 h 66"/>
                <a:gd name="T8" fmla="*/ 7 w 73"/>
                <a:gd name="T9" fmla="*/ 28 h 66"/>
                <a:gd name="T10" fmla="*/ 13 w 73"/>
                <a:gd name="T11" fmla="*/ 36 h 66"/>
                <a:gd name="T12" fmla="*/ 16 w 73"/>
                <a:gd name="T13" fmla="*/ 46 h 66"/>
                <a:gd name="T14" fmla="*/ 28 w 73"/>
                <a:gd name="T15" fmla="*/ 51 h 66"/>
                <a:gd name="T16" fmla="*/ 41 w 73"/>
                <a:gd name="T17" fmla="*/ 48 h 66"/>
                <a:gd name="T18" fmla="*/ 56 w 73"/>
                <a:gd name="T19" fmla="*/ 66 h 66"/>
                <a:gd name="T20" fmla="*/ 62 w 73"/>
                <a:gd name="T21" fmla="*/ 45 h 66"/>
                <a:gd name="T22" fmla="*/ 73 w 73"/>
                <a:gd name="T23" fmla="*/ 31 h 66"/>
                <a:gd name="T24" fmla="*/ 61 w 73"/>
                <a:gd name="T25" fmla="*/ 18 h 66"/>
                <a:gd name="T26" fmla="*/ 49 w 73"/>
                <a:gd name="T27" fmla="*/ 4 h 66"/>
                <a:gd name="T28" fmla="*/ 44 w 73"/>
                <a:gd name="T29" fmla="*/ 2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3" h="66">
                  <a:moveTo>
                    <a:pt x="44" y="22"/>
                  </a:moveTo>
                  <a:cubicBezTo>
                    <a:pt x="39" y="21"/>
                    <a:pt x="36" y="19"/>
                    <a:pt x="31" y="18"/>
                  </a:cubicBezTo>
                  <a:cubicBezTo>
                    <a:pt x="24" y="13"/>
                    <a:pt x="28" y="5"/>
                    <a:pt x="20" y="0"/>
                  </a:cubicBezTo>
                  <a:cubicBezTo>
                    <a:pt x="15" y="2"/>
                    <a:pt x="8" y="4"/>
                    <a:pt x="4" y="7"/>
                  </a:cubicBezTo>
                  <a:cubicBezTo>
                    <a:pt x="0" y="16"/>
                    <a:pt x="1" y="20"/>
                    <a:pt x="7" y="28"/>
                  </a:cubicBezTo>
                  <a:cubicBezTo>
                    <a:pt x="10" y="42"/>
                    <a:pt x="5" y="24"/>
                    <a:pt x="13" y="36"/>
                  </a:cubicBezTo>
                  <a:cubicBezTo>
                    <a:pt x="15" y="39"/>
                    <a:pt x="14" y="43"/>
                    <a:pt x="16" y="46"/>
                  </a:cubicBezTo>
                  <a:cubicBezTo>
                    <a:pt x="18" y="54"/>
                    <a:pt x="21" y="52"/>
                    <a:pt x="28" y="51"/>
                  </a:cubicBezTo>
                  <a:cubicBezTo>
                    <a:pt x="32" y="44"/>
                    <a:pt x="35" y="43"/>
                    <a:pt x="41" y="48"/>
                  </a:cubicBezTo>
                  <a:cubicBezTo>
                    <a:pt x="46" y="57"/>
                    <a:pt x="46" y="61"/>
                    <a:pt x="56" y="66"/>
                  </a:cubicBezTo>
                  <a:cubicBezTo>
                    <a:pt x="68" y="62"/>
                    <a:pt x="58" y="55"/>
                    <a:pt x="62" y="45"/>
                  </a:cubicBezTo>
                  <a:cubicBezTo>
                    <a:pt x="63" y="41"/>
                    <a:pt x="71" y="35"/>
                    <a:pt x="73" y="31"/>
                  </a:cubicBezTo>
                  <a:cubicBezTo>
                    <a:pt x="71" y="26"/>
                    <a:pt x="65" y="21"/>
                    <a:pt x="61" y="18"/>
                  </a:cubicBezTo>
                  <a:cubicBezTo>
                    <a:pt x="59" y="12"/>
                    <a:pt x="54" y="7"/>
                    <a:pt x="49" y="4"/>
                  </a:cubicBezTo>
                  <a:cubicBezTo>
                    <a:pt x="47" y="10"/>
                    <a:pt x="47" y="16"/>
                    <a:pt x="44" y="22"/>
                  </a:cubicBezTo>
                  <a:close/>
                </a:path>
              </a:pathLst>
            </a:custGeom>
            <a:solidFill>
              <a:schemeClr val="bg1">
                <a:lumMod val="85000"/>
              </a:schemeClr>
            </a:solidFill>
            <a:ln w="9525" cap="flat" cmpd="sng">
              <a:solidFill>
                <a:schemeClr val="bg1"/>
              </a:solidFill>
              <a:prstDash val="solid"/>
              <a:round/>
              <a:headEnd type="none" w="med" len="med"/>
              <a:tailEnd type="none" w="med" len="med"/>
            </a:ln>
            <a:effectLst/>
            <a:extLst/>
          </p:spPr>
          <p:txBody>
            <a:bodyPr>
              <a:noAutofit/>
            </a:bodyPr>
            <a:lstStyle/>
            <a:p>
              <a:pPr fontAlgn="auto">
                <a:spcBef>
                  <a:spcPts val="0"/>
                </a:spcBef>
                <a:spcAft>
                  <a:spcPts val="0"/>
                </a:spcAft>
                <a:defRPr/>
              </a:pPr>
              <a:endParaRPr lang="en-CA" kern="0">
                <a:solidFill>
                  <a:sysClr val="windowText" lastClr="000000"/>
                </a:solidFill>
              </a:endParaRPr>
            </a:p>
          </p:txBody>
        </p:sp>
        <p:sp>
          <p:nvSpPr>
            <p:cNvPr id="341" name="Freeform 10"/>
            <p:cNvSpPr>
              <a:spLocks/>
            </p:cNvSpPr>
            <p:nvPr>
              <p:custDataLst>
                <p:tags r:id="rId18"/>
              </p:custDataLst>
            </p:nvPr>
          </p:nvSpPr>
          <p:spPr bwMode="gray">
            <a:xfrm>
              <a:off x="2680776" y="1910312"/>
              <a:ext cx="42403" cy="52333"/>
            </a:xfrm>
            <a:custGeom>
              <a:avLst/>
              <a:gdLst>
                <a:gd name="T0" fmla="*/ 0 w 52"/>
                <a:gd name="T1" fmla="*/ 11 h 68"/>
                <a:gd name="T2" fmla="*/ 25 w 52"/>
                <a:gd name="T3" fmla="*/ 1 h 68"/>
                <a:gd name="T4" fmla="*/ 42 w 52"/>
                <a:gd name="T5" fmla="*/ 11 h 68"/>
                <a:gd name="T6" fmla="*/ 45 w 52"/>
                <a:gd name="T7" fmla="*/ 29 h 68"/>
                <a:gd name="T8" fmla="*/ 52 w 52"/>
                <a:gd name="T9" fmla="*/ 43 h 68"/>
                <a:gd name="T10" fmla="*/ 46 w 52"/>
                <a:gd name="T11" fmla="*/ 55 h 68"/>
                <a:gd name="T12" fmla="*/ 34 w 52"/>
                <a:gd name="T13" fmla="*/ 68 h 68"/>
                <a:gd name="T14" fmla="*/ 18 w 52"/>
                <a:gd name="T15" fmla="*/ 28 h 68"/>
                <a:gd name="T16" fmla="*/ 0 w 52"/>
                <a:gd name="T17" fmla="*/ 11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2" h="68">
                  <a:moveTo>
                    <a:pt x="0" y="11"/>
                  </a:moveTo>
                  <a:cubicBezTo>
                    <a:pt x="2" y="1"/>
                    <a:pt x="14" y="0"/>
                    <a:pt x="25" y="1"/>
                  </a:cubicBezTo>
                  <a:cubicBezTo>
                    <a:pt x="34" y="4"/>
                    <a:pt x="31" y="10"/>
                    <a:pt x="42" y="11"/>
                  </a:cubicBezTo>
                  <a:cubicBezTo>
                    <a:pt x="46" y="15"/>
                    <a:pt x="43" y="24"/>
                    <a:pt x="45" y="29"/>
                  </a:cubicBezTo>
                  <a:cubicBezTo>
                    <a:pt x="47" y="34"/>
                    <a:pt x="52" y="39"/>
                    <a:pt x="52" y="43"/>
                  </a:cubicBezTo>
                  <a:cubicBezTo>
                    <a:pt x="48" y="46"/>
                    <a:pt x="50" y="52"/>
                    <a:pt x="46" y="55"/>
                  </a:cubicBezTo>
                  <a:cubicBezTo>
                    <a:pt x="43" y="62"/>
                    <a:pt x="40" y="63"/>
                    <a:pt x="34" y="68"/>
                  </a:cubicBezTo>
                  <a:cubicBezTo>
                    <a:pt x="14" y="66"/>
                    <a:pt x="37" y="42"/>
                    <a:pt x="18" y="28"/>
                  </a:cubicBezTo>
                  <a:cubicBezTo>
                    <a:pt x="16" y="24"/>
                    <a:pt x="2" y="4"/>
                    <a:pt x="0" y="11"/>
                  </a:cubicBezTo>
                  <a:close/>
                </a:path>
              </a:pathLst>
            </a:custGeom>
            <a:solidFill>
              <a:schemeClr val="bg1">
                <a:lumMod val="85000"/>
              </a:schemeClr>
            </a:solidFill>
            <a:ln w="9525" cap="flat" cmpd="sng">
              <a:solidFill>
                <a:schemeClr val="bg1"/>
              </a:solidFill>
              <a:prstDash val="solid"/>
              <a:round/>
              <a:headEnd type="none" w="med" len="med"/>
              <a:tailEnd type="none" w="med" len="med"/>
            </a:ln>
            <a:effectLst/>
            <a:extLst/>
          </p:spPr>
          <p:txBody>
            <a:bodyPr>
              <a:noAutofit/>
            </a:bodyPr>
            <a:lstStyle/>
            <a:p>
              <a:pPr fontAlgn="auto">
                <a:spcBef>
                  <a:spcPts val="0"/>
                </a:spcBef>
                <a:spcAft>
                  <a:spcPts val="0"/>
                </a:spcAft>
                <a:defRPr/>
              </a:pPr>
              <a:endParaRPr lang="en-CA" kern="0">
                <a:solidFill>
                  <a:sysClr val="windowText" lastClr="000000"/>
                </a:solidFill>
              </a:endParaRPr>
            </a:p>
          </p:txBody>
        </p:sp>
        <p:sp>
          <p:nvSpPr>
            <p:cNvPr id="342" name="Freeform 11"/>
            <p:cNvSpPr>
              <a:spLocks/>
            </p:cNvSpPr>
            <p:nvPr>
              <p:custDataLst>
                <p:tags r:id="rId19"/>
              </p:custDataLst>
            </p:nvPr>
          </p:nvSpPr>
          <p:spPr bwMode="gray">
            <a:xfrm>
              <a:off x="2854389" y="2001124"/>
              <a:ext cx="63204" cy="32324"/>
            </a:xfrm>
            <a:custGeom>
              <a:avLst/>
              <a:gdLst>
                <a:gd name="T0" fmla="*/ 34 w 78"/>
                <a:gd name="T1" fmla="*/ 31 h 42"/>
                <a:gd name="T2" fmla="*/ 12 w 78"/>
                <a:gd name="T3" fmla="*/ 13 h 42"/>
                <a:gd name="T4" fmla="*/ 37 w 78"/>
                <a:gd name="T5" fmla="*/ 7 h 42"/>
                <a:gd name="T6" fmla="*/ 57 w 78"/>
                <a:gd name="T7" fmla="*/ 10 h 42"/>
                <a:gd name="T8" fmla="*/ 78 w 78"/>
                <a:gd name="T9" fmla="*/ 19 h 42"/>
                <a:gd name="T10" fmla="*/ 64 w 78"/>
                <a:gd name="T11" fmla="*/ 36 h 42"/>
                <a:gd name="T12" fmla="*/ 34 w 78"/>
                <a:gd name="T13" fmla="*/ 31 h 42"/>
              </a:gdLst>
              <a:ahLst/>
              <a:cxnLst>
                <a:cxn ang="0">
                  <a:pos x="T0" y="T1"/>
                </a:cxn>
                <a:cxn ang="0">
                  <a:pos x="T2" y="T3"/>
                </a:cxn>
                <a:cxn ang="0">
                  <a:pos x="T4" y="T5"/>
                </a:cxn>
                <a:cxn ang="0">
                  <a:pos x="T6" y="T7"/>
                </a:cxn>
                <a:cxn ang="0">
                  <a:pos x="T8" y="T9"/>
                </a:cxn>
                <a:cxn ang="0">
                  <a:pos x="T10" y="T11"/>
                </a:cxn>
                <a:cxn ang="0">
                  <a:pos x="T12" y="T13"/>
                </a:cxn>
              </a:cxnLst>
              <a:rect l="0" t="0" r="r" b="b"/>
              <a:pathLst>
                <a:path w="78" h="42">
                  <a:moveTo>
                    <a:pt x="34" y="31"/>
                  </a:moveTo>
                  <a:cubicBezTo>
                    <a:pt x="0" y="25"/>
                    <a:pt x="34" y="30"/>
                    <a:pt x="12" y="13"/>
                  </a:cubicBezTo>
                  <a:cubicBezTo>
                    <a:pt x="6" y="0"/>
                    <a:pt x="35" y="7"/>
                    <a:pt x="37" y="7"/>
                  </a:cubicBezTo>
                  <a:cubicBezTo>
                    <a:pt x="51" y="13"/>
                    <a:pt x="27" y="4"/>
                    <a:pt x="57" y="10"/>
                  </a:cubicBezTo>
                  <a:cubicBezTo>
                    <a:pt x="64" y="11"/>
                    <a:pt x="70" y="18"/>
                    <a:pt x="78" y="19"/>
                  </a:cubicBezTo>
                  <a:cubicBezTo>
                    <a:pt x="67" y="23"/>
                    <a:pt x="73" y="32"/>
                    <a:pt x="64" y="36"/>
                  </a:cubicBezTo>
                  <a:cubicBezTo>
                    <a:pt x="35" y="34"/>
                    <a:pt x="41" y="42"/>
                    <a:pt x="34" y="31"/>
                  </a:cubicBezTo>
                  <a:close/>
                </a:path>
              </a:pathLst>
            </a:custGeom>
            <a:solidFill>
              <a:schemeClr val="bg1">
                <a:lumMod val="85000"/>
              </a:schemeClr>
            </a:solidFill>
            <a:ln w="9525" cap="flat" cmpd="sng">
              <a:solidFill>
                <a:schemeClr val="bg1"/>
              </a:solidFill>
              <a:prstDash val="solid"/>
              <a:round/>
              <a:headEnd type="none" w="med" len="med"/>
              <a:tailEnd type="none" w="med" len="med"/>
            </a:ln>
            <a:effectLst/>
            <a:extLst/>
          </p:spPr>
          <p:txBody>
            <a:bodyPr>
              <a:noAutofit/>
            </a:bodyPr>
            <a:lstStyle/>
            <a:p>
              <a:pPr fontAlgn="auto">
                <a:spcBef>
                  <a:spcPts val="0"/>
                </a:spcBef>
                <a:spcAft>
                  <a:spcPts val="0"/>
                </a:spcAft>
                <a:defRPr/>
              </a:pPr>
              <a:endParaRPr lang="en-CA" kern="0">
                <a:solidFill>
                  <a:sysClr val="windowText" lastClr="000000"/>
                </a:solidFill>
              </a:endParaRPr>
            </a:p>
          </p:txBody>
        </p:sp>
        <p:sp>
          <p:nvSpPr>
            <p:cNvPr id="343" name="Freeform 12"/>
            <p:cNvSpPr>
              <a:spLocks/>
            </p:cNvSpPr>
            <p:nvPr>
              <p:custDataLst>
                <p:tags r:id="rId20"/>
              </p:custDataLst>
            </p:nvPr>
          </p:nvSpPr>
          <p:spPr bwMode="gray">
            <a:xfrm>
              <a:off x="2592770" y="2011130"/>
              <a:ext cx="32803" cy="36171"/>
            </a:xfrm>
            <a:custGeom>
              <a:avLst/>
              <a:gdLst>
                <a:gd name="T0" fmla="*/ 8 w 41"/>
                <a:gd name="T1" fmla="*/ 3 h 47"/>
                <a:gd name="T2" fmla="*/ 23 w 41"/>
                <a:gd name="T3" fmla="*/ 6 h 47"/>
                <a:gd name="T4" fmla="*/ 40 w 41"/>
                <a:gd name="T5" fmla="*/ 32 h 47"/>
                <a:gd name="T6" fmla="*/ 26 w 41"/>
                <a:gd name="T7" fmla="*/ 42 h 47"/>
                <a:gd name="T8" fmla="*/ 10 w 41"/>
                <a:gd name="T9" fmla="*/ 45 h 47"/>
                <a:gd name="T10" fmla="*/ 5 w 41"/>
                <a:gd name="T11" fmla="*/ 18 h 47"/>
                <a:gd name="T12" fmla="*/ 8 w 41"/>
                <a:gd name="T13" fmla="*/ 3 h 47"/>
              </a:gdLst>
              <a:ahLst/>
              <a:cxnLst>
                <a:cxn ang="0">
                  <a:pos x="T0" y="T1"/>
                </a:cxn>
                <a:cxn ang="0">
                  <a:pos x="T2" y="T3"/>
                </a:cxn>
                <a:cxn ang="0">
                  <a:pos x="T4" y="T5"/>
                </a:cxn>
                <a:cxn ang="0">
                  <a:pos x="T6" y="T7"/>
                </a:cxn>
                <a:cxn ang="0">
                  <a:pos x="T8" y="T9"/>
                </a:cxn>
                <a:cxn ang="0">
                  <a:pos x="T10" y="T11"/>
                </a:cxn>
                <a:cxn ang="0">
                  <a:pos x="T12" y="T13"/>
                </a:cxn>
              </a:cxnLst>
              <a:rect l="0" t="0" r="r" b="b"/>
              <a:pathLst>
                <a:path w="41" h="47">
                  <a:moveTo>
                    <a:pt x="8" y="3"/>
                  </a:moveTo>
                  <a:cubicBezTo>
                    <a:pt x="15" y="2"/>
                    <a:pt x="20" y="0"/>
                    <a:pt x="23" y="6"/>
                  </a:cubicBezTo>
                  <a:cubicBezTo>
                    <a:pt x="25" y="17"/>
                    <a:pt x="31" y="26"/>
                    <a:pt x="40" y="32"/>
                  </a:cubicBezTo>
                  <a:cubicBezTo>
                    <a:pt x="41" y="39"/>
                    <a:pt x="33" y="41"/>
                    <a:pt x="26" y="42"/>
                  </a:cubicBezTo>
                  <a:cubicBezTo>
                    <a:pt x="20" y="47"/>
                    <a:pt x="18" y="47"/>
                    <a:pt x="10" y="45"/>
                  </a:cubicBezTo>
                  <a:cubicBezTo>
                    <a:pt x="0" y="39"/>
                    <a:pt x="4" y="30"/>
                    <a:pt x="5" y="18"/>
                  </a:cubicBezTo>
                  <a:cubicBezTo>
                    <a:pt x="5" y="14"/>
                    <a:pt x="1" y="3"/>
                    <a:pt x="8" y="3"/>
                  </a:cubicBezTo>
                  <a:close/>
                </a:path>
              </a:pathLst>
            </a:custGeom>
            <a:solidFill>
              <a:schemeClr val="bg1">
                <a:lumMod val="85000"/>
              </a:schemeClr>
            </a:solidFill>
            <a:ln w="9525" cap="flat" cmpd="sng">
              <a:solidFill>
                <a:schemeClr val="bg1"/>
              </a:solidFill>
              <a:prstDash val="solid"/>
              <a:round/>
              <a:headEnd type="none" w="med" len="med"/>
              <a:tailEnd type="none" w="med" len="med"/>
            </a:ln>
            <a:effectLst/>
            <a:extLst/>
          </p:spPr>
          <p:txBody>
            <a:bodyPr>
              <a:noAutofit/>
            </a:bodyPr>
            <a:lstStyle/>
            <a:p>
              <a:pPr fontAlgn="auto">
                <a:spcBef>
                  <a:spcPts val="0"/>
                </a:spcBef>
                <a:spcAft>
                  <a:spcPts val="0"/>
                </a:spcAft>
                <a:defRPr/>
              </a:pPr>
              <a:endParaRPr lang="en-CA" kern="0">
                <a:solidFill>
                  <a:sysClr val="windowText" lastClr="000000"/>
                </a:solidFill>
              </a:endParaRPr>
            </a:p>
          </p:txBody>
        </p:sp>
        <p:sp>
          <p:nvSpPr>
            <p:cNvPr id="344" name="Freeform 13"/>
            <p:cNvSpPr>
              <a:spLocks/>
            </p:cNvSpPr>
            <p:nvPr>
              <p:custDataLst>
                <p:tags r:id="rId21"/>
              </p:custDataLst>
            </p:nvPr>
          </p:nvSpPr>
          <p:spPr bwMode="gray">
            <a:xfrm>
              <a:off x="2607972" y="2012669"/>
              <a:ext cx="44803" cy="21549"/>
            </a:xfrm>
            <a:custGeom>
              <a:avLst/>
              <a:gdLst>
                <a:gd name="T0" fmla="*/ 4 w 55"/>
                <a:gd name="T1" fmla="*/ 7 h 28"/>
                <a:gd name="T2" fmla="*/ 21 w 55"/>
                <a:gd name="T3" fmla="*/ 0 h 28"/>
                <a:gd name="T4" fmla="*/ 46 w 55"/>
                <a:gd name="T5" fmla="*/ 15 h 28"/>
                <a:gd name="T6" fmla="*/ 31 w 55"/>
                <a:gd name="T7" fmla="*/ 19 h 28"/>
                <a:gd name="T8" fmla="*/ 19 w 55"/>
                <a:gd name="T9" fmla="*/ 28 h 28"/>
                <a:gd name="T10" fmla="*/ 4 w 55"/>
                <a:gd name="T11" fmla="*/ 7 h 28"/>
              </a:gdLst>
              <a:ahLst/>
              <a:cxnLst>
                <a:cxn ang="0">
                  <a:pos x="T0" y="T1"/>
                </a:cxn>
                <a:cxn ang="0">
                  <a:pos x="T2" y="T3"/>
                </a:cxn>
                <a:cxn ang="0">
                  <a:pos x="T4" y="T5"/>
                </a:cxn>
                <a:cxn ang="0">
                  <a:pos x="T6" y="T7"/>
                </a:cxn>
                <a:cxn ang="0">
                  <a:pos x="T8" y="T9"/>
                </a:cxn>
                <a:cxn ang="0">
                  <a:pos x="T10" y="T11"/>
                </a:cxn>
              </a:cxnLst>
              <a:rect l="0" t="0" r="r" b="b"/>
              <a:pathLst>
                <a:path w="55" h="28">
                  <a:moveTo>
                    <a:pt x="4" y="7"/>
                  </a:moveTo>
                  <a:cubicBezTo>
                    <a:pt x="17" y="6"/>
                    <a:pt x="10" y="2"/>
                    <a:pt x="21" y="0"/>
                  </a:cubicBezTo>
                  <a:cubicBezTo>
                    <a:pt x="55" y="2"/>
                    <a:pt x="28" y="2"/>
                    <a:pt x="46" y="15"/>
                  </a:cubicBezTo>
                  <a:cubicBezTo>
                    <a:pt x="41" y="16"/>
                    <a:pt x="36" y="18"/>
                    <a:pt x="31" y="19"/>
                  </a:cubicBezTo>
                  <a:cubicBezTo>
                    <a:pt x="26" y="22"/>
                    <a:pt x="22" y="23"/>
                    <a:pt x="19" y="28"/>
                  </a:cubicBezTo>
                  <a:cubicBezTo>
                    <a:pt x="14" y="26"/>
                    <a:pt x="0" y="7"/>
                    <a:pt x="4" y="7"/>
                  </a:cubicBezTo>
                  <a:close/>
                </a:path>
              </a:pathLst>
            </a:custGeom>
            <a:solidFill>
              <a:schemeClr val="bg1">
                <a:lumMod val="85000"/>
              </a:schemeClr>
            </a:solidFill>
            <a:ln w="9525" cap="flat" cmpd="sng">
              <a:solidFill>
                <a:schemeClr val="bg1"/>
              </a:solidFill>
              <a:prstDash val="solid"/>
              <a:round/>
              <a:headEnd type="none" w="med" len="med"/>
              <a:tailEnd type="none" w="med" len="med"/>
            </a:ln>
            <a:effectLst/>
            <a:extLst/>
          </p:spPr>
          <p:txBody>
            <a:bodyPr>
              <a:noAutofit/>
            </a:bodyPr>
            <a:lstStyle/>
            <a:p>
              <a:pPr fontAlgn="auto">
                <a:spcBef>
                  <a:spcPts val="0"/>
                </a:spcBef>
                <a:spcAft>
                  <a:spcPts val="0"/>
                </a:spcAft>
                <a:defRPr/>
              </a:pPr>
              <a:endParaRPr lang="en-CA" kern="0">
                <a:solidFill>
                  <a:sysClr val="windowText" lastClr="000000"/>
                </a:solidFill>
              </a:endParaRPr>
            </a:p>
          </p:txBody>
        </p:sp>
        <p:sp>
          <p:nvSpPr>
            <p:cNvPr id="345" name="Freeform 14"/>
            <p:cNvSpPr>
              <a:spLocks/>
            </p:cNvSpPr>
            <p:nvPr>
              <p:custDataLst>
                <p:tags r:id="rId22"/>
              </p:custDataLst>
            </p:nvPr>
          </p:nvSpPr>
          <p:spPr bwMode="gray">
            <a:xfrm>
              <a:off x="2635174" y="1984194"/>
              <a:ext cx="76006" cy="44637"/>
            </a:xfrm>
            <a:custGeom>
              <a:avLst/>
              <a:gdLst>
                <a:gd name="T0" fmla="*/ 6 w 94"/>
                <a:gd name="T1" fmla="*/ 34 h 58"/>
                <a:gd name="T2" fmla="*/ 7 w 94"/>
                <a:gd name="T3" fmla="*/ 29 h 58"/>
                <a:gd name="T4" fmla="*/ 12 w 94"/>
                <a:gd name="T5" fmla="*/ 25 h 58"/>
                <a:gd name="T6" fmla="*/ 0 w 94"/>
                <a:gd name="T7" fmla="*/ 8 h 58"/>
                <a:gd name="T8" fmla="*/ 36 w 94"/>
                <a:gd name="T9" fmla="*/ 8 h 58"/>
                <a:gd name="T10" fmla="*/ 66 w 94"/>
                <a:gd name="T11" fmla="*/ 1 h 58"/>
                <a:gd name="T12" fmla="*/ 84 w 94"/>
                <a:gd name="T13" fmla="*/ 8 h 58"/>
                <a:gd name="T14" fmla="*/ 63 w 94"/>
                <a:gd name="T15" fmla="*/ 34 h 58"/>
                <a:gd name="T16" fmla="*/ 52 w 94"/>
                <a:gd name="T17" fmla="*/ 52 h 58"/>
                <a:gd name="T18" fmla="*/ 34 w 94"/>
                <a:gd name="T19" fmla="*/ 55 h 58"/>
                <a:gd name="T20" fmla="*/ 12 w 94"/>
                <a:gd name="T21" fmla="*/ 49 h 58"/>
                <a:gd name="T22" fmla="*/ 6 w 94"/>
                <a:gd name="T23" fmla="*/ 34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4" h="58">
                  <a:moveTo>
                    <a:pt x="6" y="34"/>
                  </a:moveTo>
                  <a:cubicBezTo>
                    <a:pt x="6" y="32"/>
                    <a:pt x="6" y="30"/>
                    <a:pt x="7" y="29"/>
                  </a:cubicBezTo>
                  <a:cubicBezTo>
                    <a:pt x="8" y="27"/>
                    <a:pt x="11" y="27"/>
                    <a:pt x="12" y="25"/>
                  </a:cubicBezTo>
                  <a:cubicBezTo>
                    <a:pt x="14" y="17"/>
                    <a:pt x="5" y="12"/>
                    <a:pt x="0" y="8"/>
                  </a:cubicBezTo>
                  <a:cubicBezTo>
                    <a:pt x="10" y="0"/>
                    <a:pt x="24" y="6"/>
                    <a:pt x="36" y="8"/>
                  </a:cubicBezTo>
                  <a:cubicBezTo>
                    <a:pt x="49" y="7"/>
                    <a:pt x="54" y="3"/>
                    <a:pt x="66" y="1"/>
                  </a:cubicBezTo>
                  <a:cubicBezTo>
                    <a:pt x="75" y="2"/>
                    <a:pt x="77" y="2"/>
                    <a:pt x="84" y="8"/>
                  </a:cubicBezTo>
                  <a:cubicBezTo>
                    <a:pt x="94" y="25"/>
                    <a:pt x="75" y="32"/>
                    <a:pt x="63" y="34"/>
                  </a:cubicBezTo>
                  <a:cubicBezTo>
                    <a:pt x="60" y="43"/>
                    <a:pt x="62" y="49"/>
                    <a:pt x="52" y="52"/>
                  </a:cubicBezTo>
                  <a:cubicBezTo>
                    <a:pt x="44" y="58"/>
                    <a:pt x="43" y="57"/>
                    <a:pt x="34" y="55"/>
                  </a:cubicBezTo>
                  <a:cubicBezTo>
                    <a:pt x="26" y="49"/>
                    <a:pt x="23" y="50"/>
                    <a:pt x="12" y="49"/>
                  </a:cubicBezTo>
                  <a:cubicBezTo>
                    <a:pt x="8" y="43"/>
                    <a:pt x="6" y="41"/>
                    <a:pt x="6" y="34"/>
                  </a:cubicBezTo>
                  <a:close/>
                </a:path>
              </a:pathLst>
            </a:custGeom>
            <a:solidFill>
              <a:schemeClr val="bg1">
                <a:lumMod val="85000"/>
              </a:schemeClr>
            </a:solidFill>
            <a:ln w="9525" cap="flat" cmpd="sng">
              <a:solidFill>
                <a:schemeClr val="bg1"/>
              </a:solidFill>
              <a:prstDash val="solid"/>
              <a:round/>
              <a:headEnd type="none" w="med" len="med"/>
              <a:tailEnd type="none" w="med" len="med"/>
            </a:ln>
            <a:effectLst/>
            <a:extLst/>
          </p:spPr>
          <p:txBody>
            <a:bodyPr>
              <a:noAutofit/>
            </a:bodyPr>
            <a:lstStyle/>
            <a:p>
              <a:pPr fontAlgn="auto">
                <a:spcBef>
                  <a:spcPts val="0"/>
                </a:spcBef>
                <a:spcAft>
                  <a:spcPts val="0"/>
                </a:spcAft>
                <a:defRPr/>
              </a:pPr>
              <a:endParaRPr lang="en-CA" kern="0">
                <a:solidFill>
                  <a:sysClr val="windowText" lastClr="000000"/>
                </a:solidFill>
              </a:endParaRPr>
            </a:p>
          </p:txBody>
        </p:sp>
        <p:sp>
          <p:nvSpPr>
            <p:cNvPr id="346" name="Freeform 15"/>
            <p:cNvSpPr>
              <a:spLocks/>
            </p:cNvSpPr>
            <p:nvPr>
              <p:custDataLst>
                <p:tags r:id="rId23"/>
              </p:custDataLst>
            </p:nvPr>
          </p:nvSpPr>
          <p:spPr bwMode="gray">
            <a:xfrm>
              <a:off x="2614371" y="1912621"/>
              <a:ext cx="108807" cy="83887"/>
            </a:xfrm>
            <a:custGeom>
              <a:avLst/>
              <a:gdLst>
                <a:gd name="T0" fmla="*/ 116 w 134"/>
                <a:gd name="T1" fmla="*/ 109 h 109"/>
                <a:gd name="T2" fmla="*/ 124 w 134"/>
                <a:gd name="T3" fmla="*/ 85 h 109"/>
                <a:gd name="T4" fmla="*/ 134 w 134"/>
                <a:gd name="T5" fmla="*/ 74 h 109"/>
                <a:gd name="T6" fmla="*/ 113 w 134"/>
                <a:gd name="T7" fmla="*/ 67 h 109"/>
                <a:gd name="T8" fmla="*/ 109 w 134"/>
                <a:gd name="T9" fmla="*/ 53 h 109"/>
                <a:gd name="T10" fmla="*/ 101 w 134"/>
                <a:gd name="T11" fmla="*/ 22 h 109"/>
                <a:gd name="T12" fmla="*/ 88 w 134"/>
                <a:gd name="T13" fmla="*/ 8 h 109"/>
                <a:gd name="T14" fmla="*/ 23 w 134"/>
                <a:gd name="T15" fmla="*/ 14 h 109"/>
                <a:gd name="T16" fmla="*/ 5 w 134"/>
                <a:gd name="T17" fmla="*/ 40 h 109"/>
                <a:gd name="T18" fmla="*/ 10 w 134"/>
                <a:gd name="T19" fmla="*/ 70 h 109"/>
                <a:gd name="T20" fmla="*/ 22 w 134"/>
                <a:gd name="T21" fmla="*/ 88 h 109"/>
                <a:gd name="T22" fmla="*/ 28 w 134"/>
                <a:gd name="T23" fmla="*/ 100 h 109"/>
                <a:gd name="T24" fmla="*/ 43 w 134"/>
                <a:gd name="T25" fmla="*/ 97 h 109"/>
                <a:gd name="T26" fmla="*/ 67 w 134"/>
                <a:gd name="T27" fmla="*/ 103 h 109"/>
                <a:gd name="T28" fmla="*/ 85 w 134"/>
                <a:gd name="T29" fmla="*/ 94 h 109"/>
                <a:gd name="T30" fmla="*/ 86 w 134"/>
                <a:gd name="T31" fmla="*/ 107 h 109"/>
                <a:gd name="T32" fmla="*/ 110 w 134"/>
                <a:gd name="T33" fmla="*/ 106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34" h="109">
                  <a:moveTo>
                    <a:pt x="116" y="109"/>
                  </a:moveTo>
                  <a:cubicBezTo>
                    <a:pt x="117" y="99"/>
                    <a:pt x="115" y="90"/>
                    <a:pt x="124" y="85"/>
                  </a:cubicBezTo>
                  <a:cubicBezTo>
                    <a:pt x="128" y="78"/>
                    <a:pt x="132" y="82"/>
                    <a:pt x="134" y="74"/>
                  </a:cubicBezTo>
                  <a:cubicBezTo>
                    <a:pt x="133" y="70"/>
                    <a:pt x="117" y="70"/>
                    <a:pt x="113" y="67"/>
                  </a:cubicBezTo>
                  <a:cubicBezTo>
                    <a:pt x="109" y="64"/>
                    <a:pt x="111" y="60"/>
                    <a:pt x="109" y="53"/>
                  </a:cubicBezTo>
                  <a:cubicBezTo>
                    <a:pt x="107" y="39"/>
                    <a:pt x="109" y="32"/>
                    <a:pt x="101" y="22"/>
                  </a:cubicBezTo>
                  <a:cubicBezTo>
                    <a:pt x="100" y="16"/>
                    <a:pt x="94" y="11"/>
                    <a:pt x="88" y="8"/>
                  </a:cubicBezTo>
                  <a:cubicBezTo>
                    <a:pt x="48" y="9"/>
                    <a:pt x="47" y="0"/>
                    <a:pt x="23" y="14"/>
                  </a:cubicBezTo>
                  <a:cubicBezTo>
                    <a:pt x="22" y="26"/>
                    <a:pt x="16" y="35"/>
                    <a:pt x="5" y="40"/>
                  </a:cubicBezTo>
                  <a:cubicBezTo>
                    <a:pt x="4" y="50"/>
                    <a:pt x="0" y="64"/>
                    <a:pt x="10" y="70"/>
                  </a:cubicBezTo>
                  <a:cubicBezTo>
                    <a:pt x="14" y="76"/>
                    <a:pt x="18" y="82"/>
                    <a:pt x="22" y="88"/>
                  </a:cubicBezTo>
                  <a:cubicBezTo>
                    <a:pt x="25" y="91"/>
                    <a:pt x="21" y="98"/>
                    <a:pt x="28" y="100"/>
                  </a:cubicBezTo>
                  <a:cubicBezTo>
                    <a:pt x="31" y="101"/>
                    <a:pt x="37" y="97"/>
                    <a:pt x="43" y="97"/>
                  </a:cubicBezTo>
                  <a:cubicBezTo>
                    <a:pt x="49" y="97"/>
                    <a:pt x="60" y="103"/>
                    <a:pt x="67" y="103"/>
                  </a:cubicBezTo>
                  <a:cubicBezTo>
                    <a:pt x="74" y="103"/>
                    <a:pt x="82" y="93"/>
                    <a:pt x="85" y="94"/>
                  </a:cubicBezTo>
                  <a:cubicBezTo>
                    <a:pt x="88" y="95"/>
                    <a:pt x="82" y="105"/>
                    <a:pt x="86" y="107"/>
                  </a:cubicBezTo>
                  <a:cubicBezTo>
                    <a:pt x="90" y="109"/>
                    <a:pt x="105" y="106"/>
                    <a:pt x="110" y="106"/>
                  </a:cubicBezTo>
                </a:path>
              </a:pathLst>
            </a:custGeom>
            <a:solidFill>
              <a:schemeClr val="accent1"/>
            </a:solidFill>
            <a:ln w="9525" cap="flat" cmpd="sng">
              <a:solidFill>
                <a:schemeClr val="bg1"/>
              </a:solidFill>
              <a:prstDash val="solid"/>
              <a:round/>
              <a:headEnd type="none" w="med" len="med"/>
              <a:tailEnd type="none" w="med" len="med"/>
            </a:ln>
            <a:effectLst/>
            <a:extLst/>
          </p:spPr>
          <p:txBody>
            <a:bodyPr>
              <a:noAutofit/>
            </a:bodyPr>
            <a:lstStyle/>
            <a:p>
              <a:pPr fontAlgn="auto">
                <a:spcBef>
                  <a:spcPts val="0"/>
                </a:spcBef>
                <a:spcAft>
                  <a:spcPts val="0"/>
                </a:spcAft>
                <a:defRPr/>
              </a:pPr>
              <a:endParaRPr lang="en-CA" kern="0">
                <a:solidFill>
                  <a:sysClr val="windowText" lastClr="000000"/>
                </a:solidFill>
              </a:endParaRPr>
            </a:p>
          </p:txBody>
        </p:sp>
        <p:sp>
          <p:nvSpPr>
            <p:cNvPr id="347" name="Freeform 16"/>
            <p:cNvSpPr>
              <a:spLocks/>
            </p:cNvSpPr>
            <p:nvPr>
              <p:custDataLst>
                <p:tags r:id="rId24"/>
              </p:custDataLst>
            </p:nvPr>
          </p:nvSpPr>
          <p:spPr bwMode="gray">
            <a:xfrm>
              <a:off x="2587970" y="1992660"/>
              <a:ext cx="24001" cy="25396"/>
            </a:xfrm>
            <a:custGeom>
              <a:avLst/>
              <a:gdLst>
                <a:gd name="T0" fmla="*/ 13 w 30"/>
                <a:gd name="T1" fmla="*/ 33 h 33"/>
                <a:gd name="T2" fmla="*/ 2 w 30"/>
                <a:gd name="T3" fmla="*/ 15 h 33"/>
                <a:gd name="T4" fmla="*/ 7 w 30"/>
                <a:gd name="T5" fmla="*/ 0 h 33"/>
                <a:gd name="T6" fmla="*/ 28 w 30"/>
                <a:gd name="T7" fmla="*/ 15 h 33"/>
                <a:gd name="T8" fmla="*/ 17 w 30"/>
                <a:gd name="T9" fmla="*/ 27 h 33"/>
                <a:gd name="T10" fmla="*/ 13 w 30"/>
                <a:gd name="T11" fmla="*/ 33 h 33"/>
              </a:gdLst>
              <a:ahLst/>
              <a:cxnLst>
                <a:cxn ang="0">
                  <a:pos x="T0" y="T1"/>
                </a:cxn>
                <a:cxn ang="0">
                  <a:pos x="T2" y="T3"/>
                </a:cxn>
                <a:cxn ang="0">
                  <a:pos x="T4" y="T5"/>
                </a:cxn>
                <a:cxn ang="0">
                  <a:pos x="T6" y="T7"/>
                </a:cxn>
                <a:cxn ang="0">
                  <a:pos x="T8" y="T9"/>
                </a:cxn>
                <a:cxn ang="0">
                  <a:pos x="T10" y="T11"/>
                </a:cxn>
              </a:cxnLst>
              <a:rect l="0" t="0" r="r" b="b"/>
              <a:pathLst>
                <a:path w="30" h="33">
                  <a:moveTo>
                    <a:pt x="13" y="33"/>
                  </a:moveTo>
                  <a:cubicBezTo>
                    <a:pt x="9" y="27"/>
                    <a:pt x="6" y="21"/>
                    <a:pt x="2" y="15"/>
                  </a:cubicBezTo>
                  <a:cubicBezTo>
                    <a:pt x="1" y="7"/>
                    <a:pt x="0" y="4"/>
                    <a:pt x="7" y="0"/>
                  </a:cubicBezTo>
                  <a:cubicBezTo>
                    <a:pt x="18" y="3"/>
                    <a:pt x="17" y="13"/>
                    <a:pt x="28" y="15"/>
                  </a:cubicBezTo>
                  <a:cubicBezTo>
                    <a:pt x="30" y="24"/>
                    <a:pt x="25" y="25"/>
                    <a:pt x="17" y="27"/>
                  </a:cubicBezTo>
                  <a:cubicBezTo>
                    <a:pt x="12" y="30"/>
                    <a:pt x="13" y="28"/>
                    <a:pt x="13" y="33"/>
                  </a:cubicBezTo>
                  <a:close/>
                </a:path>
              </a:pathLst>
            </a:custGeom>
            <a:solidFill>
              <a:schemeClr val="bg1">
                <a:lumMod val="85000"/>
              </a:schemeClr>
            </a:solidFill>
            <a:ln w="9525" cap="flat" cmpd="sng">
              <a:solidFill>
                <a:schemeClr val="bg1"/>
              </a:solidFill>
              <a:prstDash val="solid"/>
              <a:round/>
              <a:headEnd type="none" w="med" len="med"/>
              <a:tailEnd type="none" w="med" len="med"/>
            </a:ln>
            <a:effectLst/>
            <a:extLst/>
          </p:spPr>
          <p:txBody>
            <a:bodyPr>
              <a:noAutofit/>
            </a:bodyPr>
            <a:lstStyle/>
            <a:p>
              <a:pPr fontAlgn="auto">
                <a:spcBef>
                  <a:spcPts val="0"/>
                </a:spcBef>
                <a:spcAft>
                  <a:spcPts val="0"/>
                </a:spcAft>
                <a:defRPr/>
              </a:pPr>
              <a:endParaRPr lang="en-CA" kern="0">
                <a:solidFill>
                  <a:sysClr val="windowText" lastClr="000000"/>
                </a:solidFill>
              </a:endParaRPr>
            </a:p>
          </p:txBody>
        </p:sp>
        <p:sp>
          <p:nvSpPr>
            <p:cNvPr id="348" name="Freeform 17"/>
            <p:cNvSpPr>
              <a:spLocks/>
            </p:cNvSpPr>
            <p:nvPr>
              <p:custDataLst>
                <p:tags r:id="rId25"/>
              </p:custDataLst>
            </p:nvPr>
          </p:nvSpPr>
          <p:spPr bwMode="gray">
            <a:xfrm>
              <a:off x="2555968" y="1965723"/>
              <a:ext cx="43203" cy="37710"/>
            </a:xfrm>
            <a:custGeom>
              <a:avLst/>
              <a:gdLst>
                <a:gd name="T0" fmla="*/ 53 w 53"/>
                <a:gd name="T1" fmla="*/ 40 h 49"/>
                <a:gd name="T2" fmla="*/ 37 w 53"/>
                <a:gd name="T3" fmla="*/ 5 h 49"/>
                <a:gd name="T4" fmla="*/ 2 w 53"/>
                <a:gd name="T5" fmla="*/ 16 h 49"/>
                <a:gd name="T6" fmla="*/ 17 w 53"/>
                <a:gd name="T7" fmla="*/ 25 h 49"/>
                <a:gd name="T8" fmla="*/ 26 w 53"/>
                <a:gd name="T9" fmla="*/ 37 h 49"/>
                <a:gd name="T10" fmla="*/ 35 w 53"/>
                <a:gd name="T11" fmla="*/ 49 h 49"/>
                <a:gd name="T12" fmla="*/ 53 w 53"/>
                <a:gd name="T13" fmla="*/ 40 h 49"/>
              </a:gdLst>
              <a:ahLst/>
              <a:cxnLst>
                <a:cxn ang="0">
                  <a:pos x="T0" y="T1"/>
                </a:cxn>
                <a:cxn ang="0">
                  <a:pos x="T2" y="T3"/>
                </a:cxn>
                <a:cxn ang="0">
                  <a:pos x="T4" y="T5"/>
                </a:cxn>
                <a:cxn ang="0">
                  <a:pos x="T6" y="T7"/>
                </a:cxn>
                <a:cxn ang="0">
                  <a:pos x="T8" y="T9"/>
                </a:cxn>
                <a:cxn ang="0">
                  <a:pos x="T10" y="T11"/>
                </a:cxn>
                <a:cxn ang="0">
                  <a:pos x="T12" y="T13"/>
                </a:cxn>
              </a:cxnLst>
              <a:rect l="0" t="0" r="r" b="b"/>
              <a:pathLst>
                <a:path w="53" h="49">
                  <a:moveTo>
                    <a:pt x="53" y="40"/>
                  </a:moveTo>
                  <a:cubicBezTo>
                    <a:pt x="51" y="23"/>
                    <a:pt x="50" y="15"/>
                    <a:pt x="37" y="5"/>
                  </a:cubicBezTo>
                  <a:cubicBezTo>
                    <a:pt x="3" y="7"/>
                    <a:pt x="12" y="0"/>
                    <a:pt x="2" y="16"/>
                  </a:cubicBezTo>
                  <a:cubicBezTo>
                    <a:pt x="0" y="26"/>
                    <a:pt x="8" y="23"/>
                    <a:pt x="17" y="25"/>
                  </a:cubicBezTo>
                  <a:cubicBezTo>
                    <a:pt x="20" y="30"/>
                    <a:pt x="21" y="33"/>
                    <a:pt x="26" y="37"/>
                  </a:cubicBezTo>
                  <a:cubicBezTo>
                    <a:pt x="28" y="42"/>
                    <a:pt x="32" y="44"/>
                    <a:pt x="35" y="49"/>
                  </a:cubicBezTo>
                  <a:cubicBezTo>
                    <a:pt x="42" y="46"/>
                    <a:pt x="45" y="26"/>
                    <a:pt x="53" y="40"/>
                  </a:cubicBezTo>
                  <a:close/>
                </a:path>
              </a:pathLst>
            </a:custGeom>
            <a:solidFill>
              <a:schemeClr val="bg1">
                <a:lumMod val="85000"/>
              </a:schemeClr>
            </a:solidFill>
            <a:ln w="9525" cap="flat" cmpd="sng">
              <a:solidFill>
                <a:schemeClr val="bg1"/>
              </a:solidFill>
              <a:prstDash val="solid"/>
              <a:round/>
              <a:headEnd type="none" w="med" len="med"/>
              <a:tailEnd type="none" w="med" len="med"/>
            </a:ln>
            <a:effectLst/>
            <a:extLst/>
          </p:spPr>
          <p:txBody>
            <a:bodyPr>
              <a:noAutofit/>
            </a:bodyPr>
            <a:lstStyle/>
            <a:p>
              <a:pPr fontAlgn="auto">
                <a:spcBef>
                  <a:spcPts val="0"/>
                </a:spcBef>
                <a:spcAft>
                  <a:spcPts val="0"/>
                </a:spcAft>
                <a:defRPr/>
              </a:pPr>
              <a:endParaRPr lang="en-CA" kern="0">
                <a:solidFill>
                  <a:sysClr val="windowText" lastClr="000000"/>
                </a:solidFill>
              </a:endParaRPr>
            </a:p>
          </p:txBody>
        </p:sp>
        <p:sp>
          <p:nvSpPr>
            <p:cNvPr id="349" name="Freeform 18"/>
            <p:cNvSpPr>
              <a:spLocks/>
            </p:cNvSpPr>
            <p:nvPr>
              <p:custDataLst>
                <p:tags r:id="rId26"/>
              </p:custDataLst>
            </p:nvPr>
          </p:nvSpPr>
          <p:spPr bwMode="gray">
            <a:xfrm>
              <a:off x="2527966" y="1945713"/>
              <a:ext cx="65603" cy="65416"/>
            </a:xfrm>
            <a:custGeom>
              <a:avLst/>
              <a:gdLst>
                <a:gd name="T0" fmla="*/ 72 w 80"/>
                <a:gd name="T1" fmla="*/ 15 h 85"/>
                <a:gd name="T2" fmla="*/ 54 w 80"/>
                <a:gd name="T3" fmla="*/ 7 h 85"/>
                <a:gd name="T4" fmla="*/ 39 w 80"/>
                <a:gd name="T5" fmla="*/ 1 h 85"/>
                <a:gd name="T6" fmla="*/ 21 w 80"/>
                <a:gd name="T7" fmla="*/ 15 h 85"/>
                <a:gd name="T8" fmla="*/ 9 w 80"/>
                <a:gd name="T9" fmla="*/ 21 h 85"/>
                <a:gd name="T10" fmla="*/ 8 w 80"/>
                <a:gd name="T11" fmla="*/ 31 h 85"/>
                <a:gd name="T12" fmla="*/ 18 w 80"/>
                <a:gd name="T13" fmla="*/ 49 h 85"/>
                <a:gd name="T14" fmla="*/ 27 w 80"/>
                <a:gd name="T15" fmla="*/ 61 h 85"/>
                <a:gd name="T16" fmla="*/ 44 w 80"/>
                <a:gd name="T17" fmla="*/ 73 h 85"/>
                <a:gd name="T18" fmla="*/ 72 w 80"/>
                <a:gd name="T19" fmla="*/ 85 h 85"/>
                <a:gd name="T20" fmla="*/ 68 w 80"/>
                <a:gd name="T21" fmla="*/ 76 h 85"/>
                <a:gd name="T22" fmla="*/ 56 w 80"/>
                <a:gd name="T23" fmla="*/ 58 h 85"/>
                <a:gd name="T24" fmla="*/ 39 w 80"/>
                <a:gd name="T25" fmla="*/ 48 h 85"/>
                <a:gd name="T26" fmla="*/ 42 w 80"/>
                <a:gd name="T27" fmla="*/ 30 h 85"/>
                <a:gd name="T28" fmla="*/ 80 w 80"/>
                <a:gd name="T29" fmla="*/ 31 h 85"/>
                <a:gd name="T30" fmla="*/ 77 w 80"/>
                <a:gd name="T31" fmla="*/ 18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0" h="85">
                  <a:moveTo>
                    <a:pt x="72" y="15"/>
                  </a:moveTo>
                  <a:cubicBezTo>
                    <a:pt x="66" y="12"/>
                    <a:pt x="60" y="9"/>
                    <a:pt x="54" y="7"/>
                  </a:cubicBezTo>
                  <a:cubicBezTo>
                    <a:pt x="49" y="2"/>
                    <a:pt x="47" y="0"/>
                    <a:pt x="39" y="1"/>
                  </a:cubicBezTo>
                  <a:cubicBezTo>
                    <a:pt x="36" y="7"/>
                    <a:pt x="27" y="11"/>
                    <a:pt x="21" y="15"/>
                  </a:cubicBezTo>
                  <a:cubicBezTo>
                    <a:pt x="20" y="24"/>
                    <a:pt x="17" y="22"/>
                    <a:pt x="9" y="21"/>
                  </a:cubicBezTo>
                  <a:cubicBezTo>
                    <a:pt x="0" y="23"/>
                    <a:pt x="4" y="25"/>
                    <a:pt x="8" y="31"/>
                  </a:cubicBezTo>
                  <a:cubicBezTo>
                    <a:pt x="9" y="45"/>
                    <a:pt x="9" y="42"/>
                    <a:pt x="18" y="49"/>
                  </a:cubicBezTo>
                  <a:cubicBezTo>
                    <a:pt x="20" y="55"/>
                    <a:pt x="22" y="57"/>
                    <a:pt x="27" y="61"/>
                  </a:cubicBezTo>
                  <a:cubicBezTo>
                    <a:pt x="31" y="67"/>
                    <a:pt x="37" y="72"/>
                    <a:pt x="44" y="73"/>
                  </a:cubicBezTo>
                  <a:cubicBezTo>
                    <a:pt x="53" y="80"/>
                    <a:pt x="61" y="84"/>
                    <a:pt x="72" y="85"/>
                  </a:cubicBezTo>
                  <a:cubicBezTo>
                    <a:pt x="76" y="84"/>
                    <a:pt x="71" y="80"/>
                    <a:pt x="68" y="76"/>
                  </a:cubicBezTo>
                  <a:cubicBezTo>
                    <a:pt x="65" y="72"/>
                    <a:pt x="61" y="63"/>
                    <a:pt x="56" y="58"/>
                  </a:cubicBezTo>
                  <a:cubicBezTo>
                    <a:pt x="52" y="52"/>
                    <a:pt x="46" y="49"/>
                    <a:pt x="39" y="48"/>
                  </a:cubicBezTo>
                  <a:cubicBezTo>
                    <a:pt x="35" y="41"/>
                    <a:pt x="35" y="35"/>
                    <a:pt x="42" y="30"/>
                  </a:cubicBezTo>
                  <a:cubicBezTo>
                    <a:pt x="49" y="27"/>
                    <a:pt x="74" y="33"/>
                    <a:pt x="80" y="31"/>
                  </a:cubicBezTo>
                  <a:cubicBezTo>
                    <a:pt x="78" y="20"/>
                    <a:pt x="79" y="24"/>
                    <a:pt x="77" y="18"/>
                  </a:cubicBezTo>
                </a:path>
              </a:pathLst>
            </a:custGeom>
            <a:solidFill>
              <a:schemeClr val="bg1">
                <a:lumMod val="85000"/>
              </a:schemeClr>
            </a:solidFill>
            <a:ln w="9525" cap="flat" cmpd="sng">
              <a:solidFill>
                <a:schemeClr val="bg1"/>
              </a:solidFill>
              <a:prstDash val="solid"/>
              <a:round/>
              <a:headEnd type="none" w="med" len="med"/>
              <a:tailEnd type="none" w="med" len="med"/>
            </a:ln>
            <a:effectLst/>
            <a:extLst/>
          </p:spPr>
          <p:txBody>
            <a:bodyPr>
              <a:noAutofit/>
            </a:bodyPr>
            <a:lstStyle/>
            <a:p>
              <a:pPr fontAlgn="auto">
                <a:spcBef>
                  <a:spcPts val="0"/>
                </a:spcBef>
                <a:spcAft>
                  <a:spcPts val="0"/>
                </a:spcAft>
                <a:defRPr/>
              </a:pPr>
              <a:endParaRPr lang="en-CA" kern="0">
                <a:solidFill>
                  <a:sysClr val="windowText" lastClr="000000"/>
                </a:solidFill>
              </a:endParaRPr>
            </a:p>
          </p:txBody>
        </p:sp>
        <p:sp>
          <p:nvSpPr>
            <p:cNvPr id="350" name="Freeform 19"/>
            <p:cNvSpPr>
              <a:spLocks/>
            </p:cNvSpPr>
            <p:nvPr>
              <p:custDataLst>
                <p:tags r:id="rId27"/>
              </p:custDataLst>
            </p:nvPr>
          </p:nvSpPr>
          <p:spPr bwMode="gray">
            <a:xfrm>
              <a:off x="2591170" y="1948023"/>
              <a:ext cx="53604" cy="70035"/>
            </a:xfrm>
            <a:custGeom>
              <a:avLst/>
              <a:gdLst>
                <a:gd name="T0" fmla="*/ 1 w 66"/>
                <a:gd name="T1" fmla="*/ 13 h 91"/>
                <a:gd name="T2" fmla="*/ 34 w 66"/>
                <a:gd name="T3" fmla="*/ 3 h 91"/>
                <a:gd name="T4" fmla="*/ 33 w 66"/>
                <a:gd name="T5" fmla="*/ 18 h 91"/>
                <a:gd name="T6" fmla="*/ 43 w 66"/>
                <a:gd name="T7" fmla="*/ 31 h 91"/>
                <a:gd name="T8" fmla="*/ 52 w 66"/>
                <a:gd name="T9" fmla="*/ 43 h 91"/>
                <a:gd name="T10" fmla="*/ 66 w 66"/>
                <a:gd name="T11" fmla="*/ 67 h 91"/>
                <a:gd name="T12" fmla="*/ 58 w 66"/>
                <a:gd name="T13" fmla="*/ 81 h 91"/>
                <a:gd name="T14" fmla="*/ 27 w 66"/>
                <a:gd name="T15" fmla="*/ 90 h 91"/>
                <a:gd name="T16" fmla="*/ 21 w 66"/>
                <a:gd name="T17" fmla="*/ 75 h 91"/>
                <a:gd name="T18" fmla="*/ 6 w 66"/>
                <a:gd name="T19" fmla="*/ 58 h 91"/>
                <a:gd name="T20" fmla="*/ 9 w 66"/>
                <a:gd name="T21" fmla="*/ 48 h 91"/>
                <a:gd name="T22" fmla="*/ 6 w 66"/>
                <a:gd name="T23" fmla="*/ 39 h 91"/>
                <a:gd name="T24" fmla="*/ 1 w 66"/>
                <a:gd name="T25" fmla="*/ 33 h 91"/>
                <a:gd name="T26" fmla="*/ 1 w 66"/>
                <a:gd name="T27" fmla="*/ 21 h 91"/>
                <a:gd name="T28" fmla="*/ 1 w 66"/>
                <a:gd name="T29" fmla="*/ 12 h 91"/>
                <a:gd name="T30" fmla="*/ 1 w 66"/>
                <a:gd name="T31" fmla="*/ 13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6" h="91">
                  <a:moveTo>
                    <a:pt x="1" y="13"/>
                  </a:moveTo>
                  <a:cubicBezTo>
                    <a:pt x="8" y="0"/>
                    <a:pt x="14" y="1"/>
                    <a:pt x="34" y="3"/>
                  </a:cubicBezTo>
                  <a:cubicBezTo>
                    <a:pt x="40" y="4"/>
                    <a:pt x="32" y="13"/>
                    <a:pt x="33" y="18"/>
                  </a:cubicBezTo>
                  <a:cubicBezTo>
                    <a:pt x="34" y="23"/>
                    <a:pt x="40" y="27"/>
                    <a:pt x="43" y="31"/>
                  </a:cubicBezTo>
                  <a:cubicBezTo>
                    <a:pt x="46" y="36"/>
                    <a:pt x="47" y="39"/>
                    <a:pt x="52" y="43"/>
                  </a:cubicBezTo>
                  <a:cubicBezTo>
                    <a:pt x="56" y="53"/>
                    <a:pt x="61" y="58"/>
                    <a:pt x="66" y="67"/>
                  </a:cubicBezTo>
                  <a:cubicBezTo>
                    <a:pt x="66" y="73"/>
                    <a:pt x="65" y="77"/>
                    <a:pt x="58" y="81"/>
                  </a:cubicBezTo>
                  <a:cubicBezTo>
                    <a:pt x="51" y="85"/>
                    <a:pt x="33" y="91"/>
                    <a:pt x="27" y="90"/>
                  </a:cubicBezTo>
                  <a:cubicBezTo>
                    <a:pt x="25" y="85"/>
                    <a:pt x="23" y="80"/>
                    <a:pt x="21" y="75"/>
                  </a:cubicBezTo>
                  <a:cubicBezTo>
                    <a:pt x="20" y="68"/>
                    <a:pt x="9" y="64"/>
                    <a:pt x="6" y="58"/>
                  </a:cubicBezTo>
                  <a:cubicBezTo>
                    <a:pt x="3" y="53"/>
                    <a:pt x="9" y="52"/>
                    <a:pt x="9" y="48"/>
                  </a:cubicBezTo>
                  <a:cubicBezTo>
                    <a:pt x="9" y="45"/>
                    <a:pt x="7" y="41"/>
                    <a:pt x="6" y="39"/>
                  </a:cubicBezTo>
                  <a:cubicBezTo>
                    <a:pt x="5" y="37"/>
                    <a:pt x="2" y="36"/>
                    <a:pt x="1" y="33"/>
                  </a:cubicBezTo>
                  <a:cubicBezTo>
                    <a:pt x="0" y="27"/>
                    <a:pt x="1" y="24"/>
                    <a:pt x="1" y="21"/>
                  </a:cubicBezTo>
                  <a:cubicBezTo>
                    <a:pt x="1" y="18"/>
                    <a:pt x="1" y="13"/>
                    <a:pt x="1" y="12"/>
                  </a:cubicBezTo>
                  <a:cubicBezTo>
                    <a:pt x="0" y="5"/>
                    <a:pt x="0" y="5"/>
                    <a:pt x="1" y="13"/>
                  </a:cubicBezTo>
                  <a:close/>
                </a:path>
              </a:pathLst>
            </a:custGeom>
            <a:solidFill>
              <a:schemeClr val="bg1">
                <a:lumMod val="85000"/>
              </a:schemeClr>
            </a:solidFill>
            <a:ln w="9525" cap="flat" cmpd="sng">
              <a:solidFill>
                <a:schemeClr val="bg1"/>
              </a:solidFill>
              <a:prstDash val="solid"/>
              <a:round/>
              <a:headEnd type="none" w="med" len="med"/>
              <a:tailEnd type="none" w="med" len="med"/>
            </a:ln>
            <a:effectLst/>
            <a:extLst/>
          </p:spPr>
          <p:txBody>
            <a:bodyPr>
              <a:noAutofit/>
            </a:bodyPr>
            <a:lstStyle/>
            <a:p>
              <a:pPr fontAlgn="auto">
                <a:spcBef>
                  <a:spcPts val="0"/>
                </a:spcBef>
                <a:spcAft>
                  <a:spcPts val="0"/>
                </a:spcAft>
                <a:defRPr/>
              </a:pPr>
              <a:endParaRPr lang="en-CA" kern="0">
                <a:solidFill>
                  <a:sysClr val="windowText" lastClr="000000"/>
                </a:solidFill>
              </a:endParaRPr>
            </a:p>
          </p:txBody>
        </p:sp>
        <p:sp>
          <p:nvSpPr>
            <p:cNvPr id="351" name="Freeform 20"/>
            <p:cNvSpPr>
              <a:spLocks/>
            </p:cNvSpPr>
            <p:nvPr>
              <p:custDataLst>
                <p:tags r:id="rId28"/>
              </p:custDataLst>
            </p:nvPr>
          </p:nvSpPr>
          <p:spPr bwMode="gray">
            <a:xfrm>
              <a:off x="2559968" y="1909542"/>
              <a:ext cx="75206" cy="48485"/>
            </a:xfrm>
            <a:custGeom>
              <a:avLst/>
              <a:gdLst>
                <a:gd name="T0" fmla="*/ 21 w 92"/>
                <a:gd name="T1" fmla="*/ 57 h 63"/>
                <a:gd name="T2" fmla="*/ 12 w 92"/>
                <a:gd name="T3" fmla="*/ 53 h 63"/>
                <a:gd name="T4" fmla="*/ 5 w 92"/>
                <a:gd name="T5" fmla="*/ 44 h 63"/>
                <a:gd name="T6" fmla="*/ 0 w 92"/>
                <a:gd name="T7" fmla="*/ 41 h 63"/>
                <a:gd name="T8" fmla="*/ 11 w 92"/>
                <a:gd name="T9" fmla="*/ 23 h 63"/>
                <a:gd name="T10" fmla="*/ 26 w 92"/>
                <a:gd name="T11" fmla="*/ 11 h 63"/>
                <a:gd name="T12" fmla="*/ 51 w 92"/>
                <a:gd name="T13" fmla="*/ 8 h 63"/>
                <a:gd name="T14" fmla="*/ 66 w 92"/>
                <a:gd name="T15" fmla="*/ 0 h 63"/>
                <a:gd name="T16" fmla="*/ 92 w 92"/>
                <a:gd name="T17" fmla="*/ 5 h 63"/>
                <a:gd name="T18" fmla="*/ 84 w 92"/>
                <a:gd name="T19" fmla="*/ 33 h 63"/>
                <a:gd name="T20" fmla="*/ 72 w 92"/>
                <a:gd name="T21" fmla="*/ 50 h 63"/>
                <a:gd name="T22" fmla="*/ 45 w 92"/>
                <a:gd name="T23" fmla="*/ 54 h 63"/>
                <a:gd name="T24" fmla="*/ 32 w 92"/>
                <a:gd name="T25" fmla="*/ 62 h 63"/>
                <a:gd name="T26" fmla="*/ 21 w 92"/>
                <a:gd name="T27" fmla="*/ 57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2" h="63">
                  <a:moveTo>
                    <a:pt x="21" y="57"/>
                  </a:moveTo>
                  <a:cubicBezTo>
                    <a:pt x="18" y="55"/>
                    <a:pt x="15" y="55"/>
                    <a:pt x="12" y="53"/>
                  </a:cubicBezTo>
                  <a:cubicBezTo>
                    <a:pt x="9" y="51"/>
                    <a:pt x="8" y="46"/>
                    <a:pt x="5" y="44"/>
                  </a:cubicBezTo>
                  <a:cubicBezTo>
                    <a:pt x="3" y="43"/>
                    <a:pt x="2" y="42"/>
                    <a:pt x="0" y="41"/>
                  </a:cubicBezTo>
                  <a:cubicBezTo>
                    <a:pt x="2" y="31"/>
                    <a:pt x="1" y="25"/>
                    <a:pt x="11" y="23"/>
                  </a:cubicBezTo>
                  <a:cubicBezTo>
                    <a:pt x="19" y="17"/>
                    <a:pt x="17" y="13"/>
                    <a:pt x="26" y="11"/>
                  </a:cubicBezTo>
                  <a:cubicBezTo>
                    <a:pt x="31" y="2"/>
                    <a:pt x="39" y="6"/>
                    <a:pt x="51" y="8"/>
                  </a:cubicBezTo>
                  <a:cubicBezTo>
                    <a:pt x="60" y="6"/>
                    <a:pt x="59" y="3"/>
                    <a:pt x="66" y="0"/>
                  </a:cubicBezTo>
                  <a:cubicBezTo>
                    <a:pt x="75" y="2"/>
                    <a:pt x="92" y="5"/>
                    <a:pt x="92" y="5"/>
                  </a:cubicBezTo>
                  <a:cubicBezTo>
                    <a:pt x="91" y="16"/>
                    <a:pt x="89" y="24"/>
                    <a:pt x="84" y="33"/>
                  </a:cubicBezTo>
                  <a:cubicBezTo>
                    <a:pt x="80" y="40"/>
                    <a:pt x="78" y="47"/>
                    <a:pt x="72" y="50"/>
                  </a:cubicBezTo>
                  <a:cubicBezTo>
                    <a:pt x="66" y="53"/>
                    <a:pt x="52" y="52"/>
                    <a:pt x="45" y="54"/>
                  </a:cubicBezTo>
                  <a:cubicBezTo>
                    <a:pt x="40" y="60"/>
                    <a:pt x="38" y="59"/>
                    <a:pt x="32" y="62"/>
                  </a:cubicBezTo>
                  <a:cubicBezTo>
                    <a:pt x="22" y="60"/>
                    <a:pt x="25" y="63"/>
                    <a:pt x="21" y="57"/>
                  </a:cubicBezTo>
                  <a:close/>
                </a:path>
              </a:pathLst>
            </a:custGeom>
            <a:solidFill>
              <a:schemeClr val="accent1"/>
            </a:solidFill>
            <a:ln w="9525" cap="flat" cmpd="sng">
              <a:solidFill>
                <a:schemeClr val="bg1"/>
              </a:solidFill>
              <a:prstDash val="solid"/>
              <a:round/>
              <a:headEnd type="none" w="med" len="med"/>
              <a:tailEnd type="none" w="med" len="med"/>
            </a:ln>
            <a:effectLst/>
            <a:extLst/>
          </p:spPr>
          <p:txBody>
            <a:bodyPr>
              <a:noAutofit/>
            </a:bodyPr>
            <a:lstStyle/>
            <a:p>
              <a:pPr fontAlgn="auto">
                <a:spcBef>
                  <a:spcPts val="0"/>
                </a:spcBef>
                <a:spcAft>
                  <a:spcPts val="0"/>
                </a:spcAft>
                <a:defRPr/>
              </a:pPr>
              <a:endParaRPr lang="en-CA" kern="0">
                <a:solidFill>
                  <a:sysClr val="windowText" lastClr="000000"/>
                </a:solidFill>
              </a:endParaRPr>
            </a:p>
          </p:txBody>
        </p:sp>
        <p:sp>
          <p:nvSpPr>
            <p:cNvPr id="352" name="Freeform 21"/>
            <p:cNvSpPr>
              <a:spLocks/>
            </p:cNvSpPr>
            <p:nvPr>
              <p:custDataLst>
                <p:tags r:id="rId29"/>
              </p:custDataLst>
            </p:nvPr>
          </p:nvSpPr>
          <p:spPr bwMode="gray">
            <a:xfrm>
              <a:off x="2563969" y="1886454"/>
              <a:ext cx="74406" cy="36941"/>
            </a:xfrm>
            <a:custGeom>
              <a:avLst/>
              <a:gdLst>
                <a:gd name="T0" fmla="*/ 90 w 91"/>
                <a:gd name="T1" fmla="*/ 35 h 48"/>
                <a:gd name="T2" fmla="*/ 91 w 91"/>
                <a:gd name="T3" fmla="*/ 18 h 48"/>
                <a:gd name="T4" fmla="*/ 51 w 91"/>
                <a:gd name="T5" fmla="*/ 11 h 48"/>
                <a:gd name="T6" fmla="*/ 25 w 91"/>
                <a:gd name="T7" fmla="*/ 12 h 48"/>
                <a:gd name="T8" fmla="*/ 4 w 91"/>
                <a:gd name="T9" fmla="*/ 24 h 48"/>
                <a:gd name="T10" fmla="*/ 10 w 91"/>
                <a:gd name="T11" fmla="*/ 45 h 48"/>
                <a:gd name="T12" fmla="*/ 25 w 91"/>
                <a:gd name="T13" fmla="*/ 36 h 48"/>
                <a:gd name="T14" fmla="*/ 49 w 91"/>
                <a:gd name="T15" fmla="*/ 35 h 48"/>
                <a:gd name="T16" fmla="*/ 90 w 91"/>
                <a:gd name="T17" fmla="*/ 35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1" h="48">
                  <a:moveTo>
                    <a:pt x="90" y="35"/>
                  </a:moveTo>
                  <a:cubicBezTo>
                    <a:pt x="91" y="27"/>
                    <a:pt x="90" y="26"/>
                    <a:pt x="91" y="18"/>
                  </a:cubicBezTo>
                  <a:cubicBezTo>
                    <a:pt x="88" y="0"/>
                    <a:pt x="66" y="10"/>
                    <a:pt x="51" y="11"/>
                  </a:cubicBezTo>
                  <a:cubicBezTo>
                    <a:pt x="42" y="8"/>
                    <a:pt x="34" y="10"/>
                    <a:pt x="25" y="12"/>
                  </a:cubicBezTo>
                  <a:cubicBezTo>
                    <a:pt x="16" y="19"/>
                    <a:pt x="17" y="23"/>
                    <a:pt x="4" y="24"/>
                  </a:cubicBezTo>
                  <a:cubicBezTo>
                    <a:pt x="0" y="30"/>
                    <a:pt x="4" y="40"/>
                    <a:pt x="10" y="45"/>
                  </a:cubicBezTo>
                  <a:cubicBezTo>
                    <a:pt x="13" y="48"/>
                    <a:pt x="19" y="38"/>
                    <a:pt x="25" y="36"/>
                  </a:cubicBezTo>
                  <a:cubicBezTo>
                    <a:pt x="31" y="34"/>
                    <a:pt x="38" y="35"/>
                    <a:pt x="49" y="35"/>
                  </a:cubicBezTo>
                  <a:cubicBezTo>
                    <a:pt x="63" y="27"/>
                    <a:pt x="66" y="32"/>
                    <a:pt x="90" y="35"/>
                  </a:cubicBezTo>
                  <a:close/>
                </a:path>
              </a:pathLst>
            </a:custGeom>
            <a:solidFill>
              <a:schemeClr val="bg1">
                <a:lumMod val="85000"/>
              </a:schemeClr>
            </a:solidFill>
            <a:ln w="9525" cap="flat" cmpd="sng">
              <a:solidFill>
                <a:schemeClr val="bg1"/>
              </a:solidFill>
              <a:prstDash val="solid"/>
              <a:round/>
              <a:headEnd type="none" w="med" len="med"/>
              <a:tailEnd type="none" w="med" len="med"/>
            </a:ln>
            <a:effectLst/>
            <a:extLst/>
          </p:spPr>
          <p:txBody>
            <a:bodyPr>
              <a:noAutofit/>
            </a:bodyPr>
            <a:lstStyle/>
            <a:p>
              <a:pPr fontAlgn="auto">
                <a:spcBef>
                  <a:spcPts val="0"/>
                </a:spcBef>
                <a:spcAft>
                  <a:spcPts val="0"/>
                </a:spcAft>
                <a:defRPr/>
              </a:pPr>
              <a:endParaRPr lang="en-CA" kern="0">
                <a:solidFill>
                  <a:sysClr val="windowText" lastClr="000000"/>
                </a:solidFill>
              </a:endParaRPr>
            </a:p>
          </p:txBody>
        </p:sp>
        <p:sp>
          <p:nvSpPr>
            <p:cNvPr id="353" name="Freeform 22"/>
            <p:cNvSpPr>
              <a:spLocks/>
            </p:cNvSpPr>
            <p:nvPr>
              <p:custDataLst>
                <p:tags r:id="rId30"/>
              </p:custDataLst>
            </p:nvPr>
          </p:nvSpPr>
          <p:spPr bwMode="gray">
            <a:xfrm>
              <a:off x="2511965" y="1865675"/>
              <a:ext cx="81606" cy="43097"/>
            </a:xfrm>
            <a:custGeom>
              <a:avLst/>
              <a:gdLst>
                <a:gd name="T0" fmla="*/ 100 w 100"/>
                <a:gd name="T1" fmla="*/ 35 h 56"/>
                <a:gd name="T2" fmla="*/ 86 w 100"/>
                <a:gd name="T3" fmla="*/ 26 h 56"/>
                <a:gd name="T4" fmla="*/ 55 w 100"/>
                <a:gd name="T5" fmla="*/ 3 h 56"/>
                <a:gd name="T6" fmla="*/ 35 w 100"/>
                <a:gd name="T7" fmla="*/ 2 h 56"/>
                <a:gd name="T8" fmla="*/ 20 w 100"/>
                <a:gd name="T9" fmla="*/ 12 h 56"/>
                <a:gd name="T10" fmla="*/ 2 w 100"/>
                <a:gd name="T11" fmla="*/ 23 h 56"/>
                <a:gd name="T12" fmla="*/ 11 w 100"/>
                <a:gd name="T13" fmla="*/ 38 h 56"/>
                <a:gd name="T14" fmla="*/ 23 w 100"/>
                <a:gd name="T15" fmla="*/ 56 h 56"/>
                <a:gd name="T16" fmla="*/ 41 w 100"/>
                <a:gd name="T17" fmla="*/ 45 h 56"/>
                <a:gd name="T18" fmla="*/ 59 w 100"/>
                <a:gd name="T19" fmla="*/ 56 h 56"/>
                <a:gd name="T20" fmla="*/ 64 w 100"/>
                <a:gd name="T21" fmla="*/ 54 h 56"/>
                <a:gd name="T22" fmla="*/ 68 w 100"/>
                <a:gd name="T23" fmla="*/ 56 h 56"/>
                <a:gd name="T24" fmla="*/ 88 w 100"/>
                <a:gd name="T25" fmla="*/ 42 h 56"/>
                <a:gd name="T26" fmla="*/ 100 w 100"/>
                <a:gd name="T27" fmla="*/ 35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0" h="56">
                  <a:moveTo>
                    <a:pt x="100" y="35"/>
                  </a:moveTo>
                  <a:cubicBezTo>
                    <a:pt x="94" y="32"/>
                    <a:pt x="93" y="27"/>
                    <a:pt x="86" y="26"/>
                  </a:cubicBezTo>
                  <a:cubicBezTo>
                    <a:pt x="75" y="18"/>
                    <a:pt x="66" y="11"/>
                    <a:pt x="55" y="3"/>
                  </a:cubicBezTo>
                  <a:cubicBezTo>
                    <a:pt x="47" y="0"/>
                    <a:pt x="41" y="1"/>
                    <a:pt x="35" y="2"/>
                  </a:cubicBezTo>
                  <a:cubicBezTo>
                    <a:pt x="29" y="3"/>
                    <a:pt x="25" y="9"/>
                    <a:pt x="20" y="12"/>
                  </a:cubicBezTo>
                  <a:cubicBezTo>
                    <a:pt x="13" y="20"/>
                    <a:pt x="6" y="13"/>
                    <a:pt x="2" y="23"/>
                  </a:cubicBezTo>
                  <a:cubicBezTo>
                    <a:pt x="6" y="41"/>
                    <a:pt x="0" y="29"/>
                    <a:pt x="11" y="38"/>
                  </a:cubicBezTo>
                  <a:cubicBezTo>
                    <a:pt x="13" y="43"/>
                    <a:pt x="20" y="51"/>
                    <a:pt x="23" y="56"/>
                  </a:cubicBezTo>
                  <a:cubicBezTo>
                    <a:pt x="30" y="53"/>
                    <a:pt x="35" y="49"/>
                    <a:pt x="41" y="45"/>
                  </a:cubicBezTo>
                  <a:cubicBezTo>
                    <a:pt x="47" y="49"/>
                    <a:pt x="53" y="52"/>
                    <a:pt x="59" y="56"/>
                  </a:cubicBezTo>
                  <a:cubicBezTo>
                    <a:pt x="61" y="55"/>
                    <a:pt x="62" y="54"/>
                    <a:pt x="64" y="54"/>
                  </a:cubicBezTo>
                  <a:cubicBezTo>
                    <a:pt x="65" y="54"/>
                    <a:pt x="67" y="56"/>
                    <a:pt x="68" y="56"/>
                  </a:cubicBezTo>
                  <a:cubicBezTo>
                    <a:pt x="75" y="55"/>
                    <a:pt x="80" y="43"/>
                    <a:pt x="88" y="42"/>
                  </a:cubicBezTo>
                  <a:cubicBezTo>
                    <a:pt x="91" y="37"/>
                    <a:pt x="94" y="31"/>
                    <a:pt x="100" y="35"/>
                  </a:cubicBezTo>
                  <a:close/>
                </a:path>
              </a:pathLst>
            </a:custGeom>
            <a:solidFill>
              <a:schemeClr val="bg1">
                <a:lumMod val="85000"/>
              </a:schemeClr>
            </a:solidFill>
            <a:ln w="9525" cap="flat" cmpd="sng">
              <a:solidFill>
                <a:schemeClr val="bg1"/>
              </a:solidFill>
              <a:prstDash val="solid"/>
              <a:round/>
              <a:headEnd type="none" w="med" len="med"/>
              <a:tailEnd type="none" w="med" len="med"/>
            </a:ln>
            <a:effectLst/>
            <a:extLst/>
          </p:spPr>
          <p:txBody>
            <a:bodyPr>
              <a:noAutofit/>
            </a:bodyPr>
            <a:lstStyle/>
            <a:p>
              <a:pPr fontAlgn="auto">
                <a:spcBef>
                  <a:spcPts val="0"/>
                </a:spcBef>
                <a:spcAft>
                  <a:spcPts val="0"/>
                </a:spcAft>
                <a:defRPr/>
              </a:pPr>
              <a:endParaRPr lang="en-CA" kern="0">
                <a:solidFill>
                  <a:sysClr val="windowText" lastClr="000000"/>
                </a:solidFill>
              </a:endParaRPr>
            </a:p>
          </p:txBody>
        </p:sp>
        <p:sp>
          <p:nvSpPr>
            <p:cNvPr id="354" name="Freeform 23"/>
            <p:cNvSpPr>
              <a:spLocks/>
            </p:cNvSpPr>
            <p:nvPr>
              <p:custDataLst>
                <p:tags r:id="rId31"/>
              </p:custDataLst>
            </p:nvPr>
          </p:nvSpPr>
          <p:spPr bwMode="gray">
            <a:xfrm>
              <a:off x="2792785" y="2086551"/>
              <a:ext cx="72005" cy="70804"/>
            </a:xfrm>
            <a:custGeom>
              <a:avLst/>
              <a:gdLst>
                <a:gd name="T0" fmla="*/ 89 w 89"/>
                <a:gd name="T1" fmla="*/ 6 h 92"/>
                <a:gd name="T2" fmla="*/ 62 w 89"/>
                <a:gd name="T3" fmla="*/ 12 h 92"/>
                <a:gd name="T4" fmla="*/ 50 w 89"/>
                <a:gd name="T5" fmla="*/ 15 h 92"/>
                <a:gd name="T6" fmla="*/ 8 w 89"/>
                <a:gd name="T7" fmla="*/ 16 h 92"/>
                <a:gd name="T8" fmla="*/ 10 w 89"/>
                <a:gd name="T9" fmla="*/ 54 h 92"/>
                <a:gd name="T10" fmla="*/ 5 w 89"/>
                <a:gd name="T11" fmla="*/ 78 h 92"/>
                <a:gd name="T12" fmla="*/ 19 w 89"/>
                <a:gd name="T13" fmla="*/ 85 h 92"/>
                <a:gd name="T14" fmla="*/ 28 w 89"/>
                <a:gd name="T15" fmla="*/ 82 h 92"/>
                <a:gd name="T16" fmla="*/ 55 w 89"/>
                <a:gd name="T17" fmla="*/ 70 h 92"/>
                <a:gd name="T18" fmla="*/ 73 w 89"/>
                <a:gd name="T19" fmla="*/ 52 h 92"/>
                <a:gd name="T20" fmla="*/ 82 w 89"/>
                <a:gd name="T21" fmla="*/ 39 h 92"/>
                <a:gd name="T22" fmla="*/ 89 w 89"/>
                <a:gd name="T23" fmla="*/ 6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9" h="92">
                  <a:moveTo>
                    <a:pt x="89" y="6"/>
                  </a:moveTo>
                  <a:cubicBezTo>
                    <a:pt x="77" y="4"/>
                    <a:pt x="69" y="0"/>
                    <a:pt x="62" y="12"/>
                  </a:cubicBezTo>
                  <a:cubicBezTo>
                    <a:pt x="60" y="21"/>
                    <a:pt x="58" y="16"/>
                    <a:pt x="50" y="15"/>
                  </a:cubicBezTo>
                  <a:cubicBezTo>
                    <a:pt x="36" y="15"/>
                    <a:pt x="22" y="14"/>
                    <a:pt x="8" y="16"/>
                  </a:cubicBezTo>
                  <a:cubicBezTo>
                    <a:pt x="3" y="17"/>
                    <a:pt x="0" y="48"/>
                    <a:pt x="10" y="54"/>
                  </a:cubicBezTo>
                  <a:cubicBezTo>
                    <a:pt x="17" y="63"/>
                    <a:pt x="12" y="71"/>
                    <a:pt x="5" y="78"/>
                  </a:cubicBezTo>
                  <a:cubicBezTo>
                    <a:pt x="8" y="84"/>
                    <a:pt x="13" y="84"/>
                    <a:pt x="19" y="85"/>
                  </a:cubicBezTo>
                  <a:cubicBezTo>
                    <a:pt x="23" y="92"/>
                    <a:pt x="21" y="86"/>
                    <a:pt x="28" y="82"/>
                  </a:cubicBezTo>
                  <a:cubicBezTo>
                    <a:pt x="30" y="68"/>
                    <a:pt x="42" y="72"/>
                    <a:pt x="55" y="70"/>
                  </a:cubicBezTo>
                  <a:cubicBezTo>
                    <a:pt x="65" y="63"/>
                    <a:pt x="58" y="59"/>
                    <a:pt x="73" y="52"/>
                  </a:cubicBezTo>
                  <a:cubicBezTo>
                    <a:pt x="76" y="48"/>
                    <a:pt x="79" y="43"/>
                    <a:pt x="82" y="39"/>
                  </a:cubicBezTo>
                  <a:cubicBezTo>
                    <a:pt x="84" y="27"/>
                    <a:pt x="78" y="14"/>
                    <a:pt x="89" y="6"/>
                  </a:cubicBezTo>
                  <a:close/>
                </a:path>
              </a:pathLst>
            </a:custGeom>
            <a:solidFill>
              <a:schemeClr val="bg1">
                <a:lumMod val="85000"/>
              </a:schemeClr>
            </a:solidFill>
            <a:ln w="9525" cap="flat" cmpd="sng">
              <a:solidFill>
                <a:schemeClr val="bg1"/>
              </a:solidFill>
              <a:prstDash val="solid"/>
              <a:round/>
              <a:headEnd type="none" w="med" len="med"/>
              <a:tailEnd type="none" w="med" len="med"/>
            </a:ln>
            <a:effectLst/>
            <a:extLst/>
          </p:spPr>
          <p:txBody>
            <a:bodyPr>
              <a:noAutofit/>
            </a:bodyPr>
            <a:lstStyle/>
            <a:p>
              <a:pPr fontAlgn="auto">
                <a:spcBef>
                  <a:spcPts val="0"/>
                </a:spcBef>
                <a:spcAft>
                  <a:spcPts val="0"/>
                </a:spcAft>
                <a:defRPr/>
              </a:pPr>
              <a:endParaRPr lang="en-CA" kern="0">
                <a:solidFill>
                  <a:sysClr val="windowText" lastClr="000000"/>
                </a:solidFill>
              </a:endParaRPr>
            </a:p>
          </p:txBody>
        </p:sp>
        <p:sp>
          <p:nvSpPr>
            <p:cNvPr id="355" name="Freeform 24"/>
            <p:cNvSpPr>
              <a:spLocks/>
            </p:cNvSpPr>
            <p:nvPr>
              <p:custDataLst>
                <p:tags r:id="rId32"/>
              </p:custDataLst>
            </p:nvPr>
          </p:nvSpPr>
          <p:spPr bwMode="gray">
            <a:xfrm>
              <a:off x="2752781" y="2108100"/>
              <a:ext cx="32002" cy="19241"/>
            </a:xfrm>
            <a:custGeom>
              <a:avLst/>
              <a:gdLst>
                <a:gd name="T0" fmla="*/ 0 w 39"/>
                <a:gd name="T1" fmla="*/ 12 h 25"/>
                <a:gd name="T2" fmla="*/ 30 w 39"/>
                <a:gd name="T3" fmla="*/ 0 h 25"/>
                <a:gd name="T4" fmla="*/ 29 w 39"/>
                <a:gd name="T5" fmla="*/ 8 h 25"/>
                <a:gd name="T6" fmla="*/ 21 w 39"/>
                <a:gd name="T7" fmla="*/ 21 h 25"/>
                <a:gd name="T8" fmla="*/ 2 w 39"/>
                <a:gd name="T9" fmla="*/ 23 h 25"/>
                <a:gd name="T10" fmla="*/ 0 w 39"/>
                <a:gd name="T11" fmla="*/ 12 h 25"/>
              </a:gdLst>
              <a:ahLst/>
              <a:cxnLst>
                <a:cxn ang="0">
                  <a:pos x="T0" y="T1"/>
                </a:cxn>
                <a:cxn ang="0">
                  <a:pos x="T2" y="T3"/>
                </a:cxn>
                <a:cxn ang="0">
                  <a:pos x="T4" y="T5"/>
                </a:cxn>
                <a:cxn ang="0">
                  <a:pos x="T6" y="T7"/>
                </a:cxn>
                <a:cxn ang="0">
                  <a:pos x="T8" y="T9"/>
                </a:cxn>
                <a:cxn ang="0">
                  <a:pos x="T10" y="T11"/>
                </a:cxn>
              </a:cxnLst>
              <a:rect l="0" t="0" r="r" b="b"/>
              <a:pathLst>
                <a:path w="39" h="25">
                  <a:moveTo>
                    <a:pt x="0" y="12"/>
                  </a:moveTo>
                  <a:cubicBezTo>
                    <a:pt x="17" y="9"/>
                    <a:pt x="18" y="9"/>
                    <a:pt x="30" y="0"/>
                  </a:cubicBezTo>
                  <a:cubicBezTo>
                    <a:pt x="39" y="3"/>
                    <a:pt x="35" y="5"/>
                    <a:pt x="29" y="8"/>
                  </a:cubicBezTo>
                  <a:cubicBezTo>
                    <a:pt x="35" y="16"/>
                    <a:pt x="29" y="19"/>
                    <a:pt x="21" y="21"/>
                  </a:cubicBezTo>
                  <a:cubicBezTo>
                    <a:pt x="14" y="25"/>
                    <a:pt x="10" y="24"/>
                    <a:pt x="2" y="23"/>
                  </a:cubicBezTo>
                  <a:cubicBezTo>
                    <a:pt x="0" y="14"/>
                    <a:pt x="0" y="18"/>
                    <a:pt x="0" y="12"/>
                  </a:cubicBezTo>
                  <a:close/>
                </a:path>
              </a:pathLst>
            </a:custGeom>
            <a:solidFill>
              <a:schemeClr val="bg1">
                <a:lumMod val="85000"/>
              </a:schemeClr>
            </a:solidFill>
            <a:ln w="9525" cap="flat" cmpd="sng">
              <a:solidFill>
                <a:schemeClr val="bg1"/>
              </a:solidFill>
              <a:prstDash val="solid"/>
              <a:round/>
              <a:headEnd type="none" w="med" len="med"/>
              <a:tailEnd type="none" w="med" len="med"/>
            </a:ln>
            <a:effectLst/>
            <a:extLst/>
          </p:spPr>
          <p:txBody>
            <a:bodyPr>
              <a:noAutofit/>
            </a:bodyPr>
            <a:lstStyle/>
            <a:p>
              <a:pPr fontAlgn="auto">
                <a:spcBef>
                  <a:spcPts val="0"/>
                </a:spcBef>
                <a:spcAft>
                  <a:spcPts val="0"/>
                </a:spcAft>
                <a:defRPr/>
              </a:pPr>
              <a:endParaRPr lang="en-CA" kern="0">
                <a:solidFill>
                  <a:sysClr val="windowText" lastClr="000000"/>
                </a:solidFill>
              </a:endParaRPr>
            </a:p>
          </p:txBody>
        </p:sp>
        <p:sp>
          <p:nvSpPr>
            <p:cNvPr id="356" name="Freeform 25"/>
            <p:cNvSpPr>
              <a:spLocks/>
            </p:cNvSpPr>
            <p:nvPr>
              <p:custDataLst>
                <p:tags r:id="rId33"/>
              </p:custDataLst>
            </p:nvPr>
          </p:nvSpPr>
          <p:spPr bwMode="gray">
            <a:xfrm>
              <a:off x="2667976" y="2010360"/>
              <a:ext cx="241615" cy="92352"/>
            </a:xfrm>
            <a:custGeom>
              <a:avLst/>
              <a:gdLst>
                <a:gd name="T0" fmla="*/ 61 w 297"/>
                <a:gd name="T1" fmla="*/ 24 h 120"/>
                <a:gd name="T2" fmla="*/ 44 w 297"/>
                <a:gd name="T3" fmla="*/ 9 h 120"/>
                <a:gd name="T4" fmla="*/ 29 w 297"/>
                <a:gd name="T5" fmla="*/ 0 h 120"/>
                <a:gd name="T6" fmla="*/ 19 w 297"/>
                <a:gd name="T7" fmla="*/ 10 h 120"/>
                <a:gd name="T8" fmla="*/ 2 w 297"/>
                <a:gd name="T9" fmla="*/ 42 h 120"/>
                <a:gd name="T10" fmla="*/ 5 w 297"/>
                <a:gd name="T11" fmla="*/ 64 h 120"/>
                <a:gd name="T12" fmla="*/ 20 w 297"/>
                <a:gd name="T13" fmla="*/ 63 h 120"/>
                <a:gd name="T14" fmla="*/ 22 w 297"/>
                <a:gd name="T15" fmla="*/ 85 h 120"/>
                <a:gd name="T16" fmla="*/ 53 w 297"/>
                <a:gd name="T17" fmla="*/ 115 h 120"/>
                <a:gd name="T18" fmla="*/ 68 w 297"/>
                <a:gd name="T19" fmla="*/ 120 h 120"/>
                <a:gd name="T20" fmla="*/ 82 w 297"/>
                <a:gd name="T21" fmla="*/ 109 h 120"/>
                <a:gd name="T22" fmla="*/ 109 w 297"/>
                <a:gd name="T23" fmla="*/ 115 h 120"/>
                <a:gd name="T24" fmla="*/ 133 w 297"/>
                <a:gd name="T25" fmla="*/ 111 h 120"/>
                <a:gd name="T26" fmla="*/ 167 w 297"/>
                <a:gd name="T27" fmla="*/ 114 h 120"/>
                <a:gd name="T28" fmla="*/ 182 w 297"/>
                <a:gd name="T29" fmla="*/ 114 h 120"/>
                <a:gd name="T30" fmla="*/ 211 w 297"/>
                <a:gd name="T31" fmla="*/ 114 h 120"/>
                <a:gd name="T32" fmla="*/ 222 w 297"/>
                <a:gd name="T33" fmla="*/ 103 h 120"/>
                <a:gd name="T34" fmla="*/ 232 w 297"/>
                <a:gd name="T35" fmla="*/ 102 h 120"/>
                <a:gd name="T36" fmla="*/ 248 w 297"/>
                <a:gd name="T37" fmla="*/ 103 h 120"/>
                <a:gd name="T38" fmla="*/ 269 w 297"/>
                <a:gd name="T39" fmla="*/ 108 h 120"/>
                <a:gd name="T40" fmla="*/ 272 w 297"/>
                <a:gd name="T41" fmla="*/ 103 h 120"/>
                <a:gd name="T42" fmla="*/ 284 w 297"/>
                <a:gd name="T43" fmla="*/ 105 h 120"/>
                <a:gd name="T44" fmla="*/ 274 w 297"/>
                <a:gd name="T45" fmla="*/ 45 h 120"/>
                <a:gd name="T46" fmla="*/ 262 w 297"/>
                <a:gd name="T47" fmla="*/ 21 h 120"/>
                <a:gd name="T48" fmla="*/ 230 w 297"/>
                <a:gd name="T49" fmla="*/ 28 h 120"/>
                <a:gd name="T50" fmla="*/ 193 w 297"/>
                <a:gd name="T51" fmla="*/ 30 h 120"/>
                <a:gd name="T52" fmla="*/ 164 w 297"/>
                <a:gd name="T53" fmla="*/ 15 h 120"/>
                <a:gd name="T54" fmla="*/ 146 w 297"/>
                <a:gd name="T55" fmla="*/ 6 h 120"/>
                <a:gd name="T56" fmla="*/ 98 w 297"/>
                <a:gd name="T57" fmla="*/ 15 h 120"/>
                <a:gd name="T58" fmla="*/ 86 w 297"/>
                <a:gd name="T59" fmla="*/ 22 h 120"/>
                <a:gd name="T60" fmla="*/ 61 w 297"/>
                <a:gd name="T61" fmla="*/ 24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97" h="120">
                  <a:moveTo>
                    <a:pt x="61" y="24"/>
                  </a:moveTo>
                  <a:cubicBezTo>
                    <a:pt x="46" y="21"/>
                    <a:pt x="50" y="20"/>
                    <a:pt x="44" y="9"/>
                  </a:cubicBezTo>
                  <a:cubicBezTo>
                    <a:pt x="39" y="5"/>
                    <a:pt x="33" y="0"/>
                    <a:pt x="29" y="0"/>
                  </a:cubicBezTo>
                  <a:cubicBezTo>
                    <a:pt x="25" y="0"/>
                    <a:pt x="23" y="3"/>
                    <a:pt x="19" y="10"/>
                  </a:cubicBezTo>
                  <a:cubicBezTo>
                    <a:pt x="22" y="30"/>
                    <a:pt x="17" y="33"/>
                    <a:pt x="2" y="42"/>
                  </a:cubicBezTo>
                  <a:cubicBezTo>
                    <a:pt x="1" y="50"/>
                    <a:pt x="0" y="57"/>
                    <a:pt x="5" y="64"/>
                  </a:cubicBezTo>
                  <a:cubicBezTo>
                    <a:pt x="12" y="63"/>
                    <a:pt x="14" y="59"/>
                    <a:pt x="20" y="63"/>
                  </a:cubicBezTo>
                  <a:cubicBezTo>
                    <a:pt x="19" y="71"/>
                    <a:pt x="11" y="83"/>
                    <a:pt x="22" y="85"/>
                  </a:cubicBezTo>
                  <a:cubicBezTo>
                    <a:pt x="27" y="108"/>
                    <a:pt x="27" y="113"/>
                    <a:pt x="53" y="115"/>
                  </a:cubicBezTo>
                  <a:cubicBezTo>
                    <a:pt x="58" y="117"/>
                    <a:pt x="63" y="118"/>
                    <a:pt x="68" y="120"/>
                  </a:cubicBezTo>
                  <a:cubicBezTo>
                    <a:pt x="74" y="117"/>
                    <a:pt x="77" y="114"/>
                    <a:pt x="82" y="109"/>
                  </a:cubicBezTo>
                  <a:cubicBezTo>
                    <a:pt x="90" y="113"/>
                    <a:pt x="109" y="115"/>
                    <a:pt x="109" y="115"/>
                  </a:cubicBezTo>
                  <a:cubicBezTo>
                    <a:pt x="118" y="114"/>
                    <a:pt x="124" y="112"/>
                    <a:pt x="133" y="111"/>
                  </a:cubicBezTo>
                  <a:cubicBezTo>
                    <a:pt x="143" y="110"/>
                    <a:pt x="159" y="114"/>
                    <a:pt x="167" y="114"/>
                  </a:cubicBezTo>
                  <a:cubicBezTo>
                    <a:pt x="175" y="114"/>
                    <a:pt x="175" y="114"/>
                    <a:pt x="182" y="114"/>
                  </a:cubicBezTo>
                  <a:cubicBezTo>
                    <a:pt x="189" y="114"/>
                    <a:pt x="204" y="116"/>
                    <a:pt x="211" y="114"/>
                  </a:cubicBezTo>
                  <a:cubicBezTo>
                    <a:pt x="218" y="112"/>
                    <a:pt x="219" y="105"/>
                    <a:pt x="222" y="103"/>
                  </a:cubicBezTo>
                  <a:cubicBezTo>
                    <a:pt x="225" y="101"/>
                    <a:pt x="228" y="102"/>
                    <a:pt x="232" y="102"/>
                  </a:cubicBezTo>
                  <a:cubicBezTo>
                    <a:pt x="236" y="102"/>
                    <a:pt x="242" y="102"/>
                    <a:pt x="248" y="103"/>
                  </a:cubicBezTo>
                  <a:cubicBezTo>
                    <a:pt x="254" y="104"/>
                    <a:pt x="265" y="108"/>
                    <a:pt x="269" y="108"/>
                  </a:cubicBezTo>
                  <a:cubicBezTo>
                    <a:pt x="273" y="108"/>
                    <a:pt x="270" y="103"/>
                    <a:pt x="272" y="103"/>
                  </a:cubicBezTo>
                  <a:cubicBezTo>
                    <a:pt x="274" y="103"/>
                    <a:pt x="284" y="115"/>
                    <a:pt x="284" y="105"/>
                  </a:cubicBezTo>
                  <a:cubicBezTo>
                    <a:pt x="297" y="84"/>
                    <a:pt x="292" y="59"/>
                    <a:pt x="274" y="45"/>
                  </a:cubicBezTo>
                  <a:cubicBezTo>
                    <a:pt x="268" y="29"/>
                    <a:pt x="274" y="33"/>
                    <a:pt x="262" y="21"/>
                  </a:cubicBezTo>
                  <a:cubicBezTo>
                    <a:pt x="246" y="22"/>
                    <a:pt x="243" y="25"/>
                    <a:pt x="230" y="28"/>
                  </a:cubicBezTo>
                  <a:cubicBezTo>
                    <a:pt x="218" y="34"/>
                    <a:pt x="208" y="31"/>
                    <a:pt x="193" y="30"/>
                  </a:cubicBezTo>
                  <a:cubicBezTo>
                    <a:pt x="183" y="26"/>
                    <a:pt x="175" y="17"/>
                    <a:pt x="164" y="15"/>
                  </a:cubicBezTo>
                  <a:cubicBezTo>
                    <a:pt x="158" y="11"/>
                    <a:pt x="153" y="7"/>
                    <a:pt x="146" y="6"/>
                  </a:cubicBezTo>
                  <a:cubicBezTo>
                    <a:pt x="117" y="7"/>
                    <a:pt x="116" y="4"/>
                    <a:pt x="98" y="15"/>
                  </a:cubicBezTo>
                  <a:cubicBezTo>
                    <a:pt x="94" y="20"/>
                    <a:pt x="92" y="21"/>
                    <a:pt x="86" y="22"/>
                  </a:cubicBezTo>
                  <a:cubicBezTo>
                    <a:pt x="76" y="27"/>
                    <a:pt x="83" y="24"/>
                    <a:pt x="61" y="24"/>
                  </a:cubicBezTo>
                  <a:close/>
                </a:path>
              </a:pathLst>
            </a:custGeom>
            <a:solidFill>
              <a:schemeClr val="bg1">
                <a:lumMod val="85000"/>
              </a:schemeClr>
            </a:solidFill>
            <a:ln w="9525" cap="flat" cmpd="sng">
              <a:solidFill>
                <a:schemeClr val="bg1"/>
              </a:solidFill>
              <a:prstDash val="solid"/>
              <a:round/>
              <a:headEnd type="none" w="med" len="med"/>
              <a:tailEnd type="none" w="med" len="med"/>
            </a:ln>
            <a:effectLst/>
            <a:extLst/>
          </p:spPr>
          <p:txBody>
            <a:bodyPr>
              <a:noAutofit/>
            </a:bodyPr>
            <a:lstStyle/>
            <a:p>
              <a:pPr fontAlgn="auto">
                <a:spcBef>
                  <a:spcPts val="0"/>
                </a:spcBef>
                <a:spcAft>
                  <a:spcPts val="0"/>
                </a:spcAft>
                <a:defRPr/>
              </a:pPr>
              <a:endParaRPr lang="en-CA" kern="0">
                <a:solidFill>
                  <a:sysClr val="windowText" lastClr="000000"/>
                </a:solidFill>
              </a:endParaRPr>
            </a:p>
          </p:txBody>
        </p:sp>
        <p:sp>
          <p:nvSpPr>
            <p:cNvPr id="357" name="Freeform 26"/>
            <p:cNvSpPr>
              <a:spLocks/>
            </p:cNvSpPr>
            <p:nvPr>
              <p:custDataLst>
                <p:tags r:id="rId34"/>
              </p:custDataLst>
            </p:nvPr>
          </p:nvSpPr>
          <p:spPr bwMode="gray">
            <a:xfrm>
              <a:off x="2511165" y="2486744"/>
              <a:ext cx="226415" cy="201636"/>
            </a:xfrm>
            <a:custGeom>
              <a:avLst/>
              <a:gdLst>
                <a:gd name="T0" fmla="*/ 8 w 278"/>
                <a:gd name="T1" fmla="*/ 170 h 262"/>
                <a:gd name="T2" fmla="*/ 0 w 278"/>
                <a:gd name="T3" fmla="*/ 156 h 262"/>
                <a:gd name="T4" fmla="*/ 15 w 278"/>
                <a:gd name="T5" fmla="*/ 141 h 262"/>
                <a:gd name="T6" fmla="*/ 33 w 278"/>
                <a:gd name="T7" fmla="*/ 141 h 262"/>
                <a:gd name="T8" fmla="*/ 53 w 278"/>
                <a:gd name="T9" fmla="*/ 135 h 262"/>
                <a:gd name="T10" fmla="*/ 68 w 278"/>
                <a:gd name="T11" fmla="*/ 107 h 262"/>
                <a:gd name="T12" fmla="*/ 84 w 278"/>
                <a:gd name="T13" fmla="*/ 90 h 262"/>
                <a:gd name="T14" fmla="*/ 84 w 278"/>
                <a:gd name="T15" fmla="*/ 72 h 262"/>
                <a:gd name="T16" fmla="*/ 92 w 278"/>
                <a:gd name="T17" fmla="*/ 53 h 262"/>
                <a:gd name="T18" fmla="*/ 98 w 278"/>
                <a:gd name="T19" fmla="*/ 18 h 262"/>
                <a:gd name="T20" fmla="*/ 108 w 278"/>
                <a:gd name="T21" fmla="*/ 0 h 262"/>
                <a:gd name="T22" fmla="*/ 144 w 278"/>
                <a:gd name="T23" fmla="*/ 14 h 262"/>
                <a:gd name="T24" fmla="*/ 158 w 278"/>
                <a:gd name="T25" fmla="*/ 12 h 262"/>
                <a:gd name="T26" fmla="*/ 188 w 278"/>
                <a:gd name="T27" fmla="*/ 5 h 262"/>
                <a:gd name="T28" fmla="*/ 209 w 278"/>
                <a:gd name="T29" fmla="*/ 0 h 262"/>
                <a:gd name="T30" fmla="*/ 233 w 278"/>
                <a:gd name="T31" fmla="*/ 6 h 262"/>
                <a:gd name="T32" fmla="*/ 261 w 278"/>
                <a:gd name="T33" fmla="*/ 12 h 262"/>
                <a:gd name="T34" fmla="*/ 272 w 278"/>
                <a:gd name="T35" fmla="*/ 24 h 262"/>
                <a:gd name="T36" fmla="*/ 278 w 278"/>
                <a:gd name="T37" fmla="*/ 39 h 262"/>
                <a:gd name="T38" fmla="*/ 264 w 278"/>
                <a:gd name="T39" fmla="*/ 65 h 262"/>
                <a:gd name="T40" fmla="*/ 258 w 278"/>
                <a:gd name="T41" fmla="*/ 90 h 262"/>
                <a:gd name="T42" fmla="*/ 249 w 278"/>
                <a:gd name="T43" fmla="*/ 110 h 262"/>
                <a:gd name="T44" fmla="*/ 257 w 278"/>
                <a:gd name="T45" fmla="*/ 171 h 262"/>
                <a:gd name="T46" fmla="*/ 272 w 278"/>
                <a:gd name="T47" fmla="*/ 182 h 262"/>
                <a:gd name="T48" fmla="*/ 243 w 278"/>
                <a:gd name="T49" fmla="*/ 204 h 262"/>
                <a:gd name="T50" fmla="*/ 237 w 278"/>
                <a:gd name="T51" fmla="*/ 255 h 262"/>
                <a:gd name="T52" fmla="*/ 219 w 278"/>
                <a:gd name="T53" fmla="*/ 249 h 262"/>
                <a:gd name="T54" fmla="*/ 197 w 278"/>
                <a:gd name="T55" fmla="*/ 245 h 262"/>
                <a:gd name="T56" fmla="*/ 169 w 278"/>
                <a:gd name="T57" fmla="*/ 240 h 262"/>
                <a:gd name="T58" fmla="*/ 150 w 278"/>
                <a:gd name="T59" fmla="*/ 236 h 262"/>
                <a:gd name="T60" fmla="*/ 146 w 278"/>
                <a:gd name="T61" fmla="*/ 227 h 262"/>
                <a:gd name="T62" fmla="*/ 148 w 278"/>
                <a:gd name="T63" fmla="*/ 209 h 262"/>
                <a:gd name="T64" fmla="*/ 141 w 278"/>
                <a:gd name="T65" fmla="*/ 195 h 262"/>
                <a:gd name="T66" fmla="*/ 128 w 278"/>
                <a:gd name="T67" fmla="*/ 186 h 262"/>
                <a:gd name="T68" fmla="*/ 109 w 278"/>
                <a:gd name="T69" fmla="*/ 189 h 262"/>
                <a:gd name="T70" fmla="*/ 90 w 278"/>
                <a:gd name="T71" fmla="*/ 194 h 262"/>
                <a:gd name="T72" fmla="*/ 68 w 278"/>
                <a:gd name="T73" fmla="*/ 176 h 262"/>
                <a:gd name="T74" fmla="*/ 63 w 278"/>
                <a:gd name="T75" fmla="*/ 165 h 262"/>
                <a:gd name="T76" fmla="*/ 44 w 278"/>
                <a:gd name="T77" fmla="*/ 164 h 262"/>
                <a:gd name="T78" fmla="*/ 8 w 278"/>
                <a:gd name="T79" fmla="*/ 170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78" h="262">
                  <a:moveTo>
                    <a:pt x="8" y="170"/>
                  </a:moveTo>
                  <a:cubicBezTo>
                    <a:pt x="5" y="163"/>
                    <a:pt x="7" y="160"/>
                    <a:pt x="0" y="156"/>
                  </a:cubicBezTo>
                  <a:cubicBezTo>
                    <a:pt x="1" y="151"/>
                    <a:pt x="10" y="143"/>
                    <a:pt x="15" y="141"/>
                  </a:cubicBezTo>
                  <a:cubicBezTo>
                    <a:pt x="20" y="139"/>
                    <a:pt x="27" y="142"/>
                    <a:pt x="33" y="141"/>
                  </a:cubicBezTo>
                  <a:cubicBezTo>
                    <a:pt x="39" y="137"/>
                    <a:pt x="46" y="137"/>
                    <a:pt x="53" y="135"/>
                  </a:cubicBezTo>
                  <a:cubicBezTo>
                    <a:pt x="62" y="128"/>
                    <a:pt x="52" y="117"/>
                    <a:pt x="68" y="107"/>
                  </a:cubicBezTo>
                  <a:cubicBezTo>
                    <a:pt x="77" y="92"/>
                    <a:pt x="66" y="95"/>
                    <a:pt x="84" y="90"/>
                  </a:cubicBezTo>
                  <a:cubicBezTo>
                    <a:pt x="89" y="84"/>
                    <a:pt x="87" y="79"/>
                    <a:pt x="84" y="72"/>
                  </a:cubicBezTo>
                  <a:cubicBezTo>
                    <a:pt x="86" y="57"/>
                    <a:pt x="87" y="63"/>
                    <a:pt x="92" y="53"/>
                  </a:cubicBezTo>
                  <a:cubicBezTo>
                    <a:pt x="87" y="40"/>
                    <a:pt x="91" y="30"/>
                    <a:pt x="98" y="18"/>
                  </a:cubicBezTo>
                  <a:cubicBezTo>
                    <a:pt x="99" y="10"/>
                    <a:pt x="100" y="4"/>
                    <a:pt x="108" y="0"/>
                  </a:cubicBezTo>
                  <a:cubicBezTo>
                    <a:pt x="122" y="2"/>
                    <a:pt x="130" y="13"/>
                    <a:pt x="144" y="14"/>
                  </a:cubicBezTo>
                  <a:cubicBezTo>
                    <a:pt x="151" y="18"/>
                    <a:pt x="149" y="15"/>
                    <a:pt x="158" y="12"/>
                  </a:cubicBezTo>
                  <a:cubicBezTo>
                    <a:pt x="169" y="4"/>
                    <a:pt x="170" y="6"/>
                    <a:pt x="188" y="5"/>
                  </a:cubicBezTo>
                  <a:cubicBezTo>
                    <a:pt x="196" y="3"/>
                    <a:pt x="202" y="0"/>
                    <a:pt x="209" y="0"/>
                  </a:cubicBezTo>
                  <a:cubicBezTo>
                    <a:pt x="216" y="0"/>
                    <a:pt x="224" y="4"/>
                    <a:pt x="233" y="6"/>
                  </a:cubicBezTo>
                  <a:cubicBezTo>
                    <a:pt x="245" y="12"/>
                    <a:pt x="243" y="11"/>
                    <a:pt x="261" y="12"/>
                  </a:cubicBezTo>
                  <a:cubicBezTo>
                    <a:pt x="267" y="15"/>
                    <a:pt x="268" y="19"/>
                    <a:pt x="272" y="24"/>
                  </a:cubicBezTo>
                  <a:cubicBezTo>
                    <a:pt x="273" y="30"/>
                    <a:pt x="274" y="34"/>
                    <a:pt x="278" y="39"/>
                  </a:cubicBezTo>
                  <a:cubicBezTo>
                    <a:pt x="276" y="50"/>
                    <a:pt x="269" y="57"/>
                    <a:pt x="264" y="65"/>
                  </a:cubicBezTo>
                  <a:cubicBezTo>
                    <a:pt x="262" y="75"/>
                    <a:pt x="267" y="89"/>
                    <a:pt x="258" y="90"/>
                  </a:cubicBezTo>
                  <a:cubicBezTo>
                    <a:pt x="257" y="102"/>
                    <a:pt x="259" y="106"/>
                    <a:pt x="249" y="110"/>
                  </a:cubicBezTo>
                  <a:cubicBezTo>
                    <a:pt x="251" y="130"/>
                    <a:pt x="248" y="153"/>
                    <a:pt x="257" y="171"/>
                  </a:cubicBezTo>
                  <a:cubicBezTo>
                    <a:pt x="258" y="177"/>
                    <a:pt x="266" y="179"/>
                    <a:pt x="272" y="182"/>
                  </a:cubicBezTo>
                  <a:cubicBezTo>
                    <a:pt x="276" y="206"/>
                    <a:pt x="263" y="202"/>
                    <a:pt x="243" y="204"/>
                  </a:cubicBezTo>
                  <a:cubicBezTo>
                    <a:pt x="236" y="216"/>
                    <a:pt x="245" y="248"/>
                    <a:pt x="237" y="255"/>
                  </a:cubicBezTo>
                  <a:cubicBezTo>
                    <a:pt x="233" y="262"/>
                    <a:pt x="226" y="251"/>
                    <a:pt x="219" y="249"/>
                  </a:cubicBezTo>
                  <a:cubicBezTo>
                    <a:pt x="212" y="247"/>
                    <a:pt x="205" y="247"/>
                    <a:pt x="197" y="245"/>
                  </a:cubicBezTo>
                  <a:cubicBezTo>
                    <a:pt x="189" y="243"/>
                    <a:pt x="177" y="242"/>
                    <a:pt x="169" y="240"/>
                  </a:cubicBezTo>
                  <a:cubicBezTo>
                    <a:pt x="162" y="238"/>
                    <a:pt x="154" y="238"/>
                    <a:pt x="150" y="236"/>
                  </a:cubicBezTo>
                  <a:cubicBezTo>
                    <a:pt x="146" y="234"/>
                    <a:pt x="146" y="231"/>
                    <a:pt x="146" y="227"/>
                  </a:cubicBezTo>
                  <a:cubicBezTo>
                    <a:pt x="142" y="222"/>
                    <a:pt x="149" y="214"/>
                    <a:pt x="148" y="209"/>
                  </a:cubicBezTo>
                  <a:cubicBezTo>
                    <a:pt x="147" y="204"/>
                    <a:pt x="144" y="199"/>
                    <a:pt x="141" y="195"/>
                  </a:cubicBezTo>
                  <a:cubicBezTo>
                    <a:pt x="136" y="193"/>
                    <a:pt x="140" y="191"/>
                    <a:pt x="128" y="186"/>
                  </a:cubicBezTo>
                  <a:cubicBezTo>
                    <a:pt x="123" y="185"/>
                    <a:pt x="115" y="188"/>
                    <a:pt x="109" y="189"/>
                  </a:cubicBezTo>
                  <a:cubicBezTo>
                    <a:pt x="103" y="190"/>
                    <a:pt x="97" y="196"/>
                    <a:pt x="90" y="194"/>
                  </a:cubicBezTo>
                  <a:cubicBezTo>
                    <a:pt x="75" y="192"/>
                    <a:pt x="74" y="187"/>
                    <a:pt x="68" y="176"/>
                  </a:cubicBezTo>
                  <a:cubicBezTo>
                    <a:pt x="63" y="172"/>
                    <a:pt x="67" y="167"/>
                    <a:pt x="63" y="165"/>
                  </a:cubicBezTo>
                  <a:cubicBezTo>
                    <a:pt x="59" y="163"/>
                    <a:pt x="53" y="163"/>
                    <a:pt x="44" y="164"/>
                  </a:cubicBezTo>
                  <a:cubicBezTo>
                    <a:pt x="35" y="165"/>
                    <a:pt x="15" y="169"/>
                    <a:pt x="8" y="170"/>
                  </a:cubicBezTo>
                  <a:close/>
                </a:path>
              </a:pathLst>
            </a:custGeom>
            <a:solidFill>
              <a:schemeClr val="bg1">
                <a:lumMod val="85000"/>
              </a:schemeClr>
            </a:solidFill>
            <a:ln w="9525" cap="flat" cmpd="sng">
              <a:solidFill>
                <a:schemeClr val="bg1"/>
              </a:solidFill>
              <a:prstDash val="solid"/>
              <a:round/>
              <a:headEnd type="none" w="med" len="med"/>
              <a:tailEnd type="none" w="med" len="med"/>
            </a:ln>
            <a:effectLst/>
            <a:extLst/>
          </p:spPr>
          <p:txBody>
            <a:bodyPr>
              <a:noAutofit/>
            </a:bodyPr>
            <a:lstStyle/>
            <a:p>
              <a:pPr fontAlgn="auto">
                <a:spcBef>
                  <a:spcPts val="0"/>
                </a:spcBef>
                <a:spcAft>
                  <a:spcPts val="0"/>
                </a:spcAft>
                <a:defRPr/>
              </a:pPr>
              <a:endParaRPr lang="en-CA" kern="0">
                <a:solidFill>
                  <a:sysClr val="windowText" lastClr="000000"/>
                </a:solidFill>
              </a:endParaRPr>
            </a:p>
          </p:txBody>
        </p:sp>
        <p:sp>
          <p:nvSpPr>
            <p:cNvPr id="358" name="Freeform 27"/>
            <p:cNvSpPr>
              <a:spLocks/>
            </p:cNvSpPr>
            <p:nvPr>
              <p:custDataLst>
                <p:tags r:id="rId35"/>
              </p:custDataLst>
            </p:nvPr>
          </p:nvSpPr>
          <p:spPr bwMode="gray">
            <a:xfrm>
              <a:off x="2771183" y="2490592"/>
              <a:ext cx="92005" cy="106206"/>
            </a:xfrm>
            <a:custGeom>
              <a:avLst/>
              <a:gdLst>
                <a:gd name="T0" fmla="*/ 3 w 113"/>
                <a:gd name="T1" fmla="*/ 88 h 138"/>
                <a:gd name="T2" fmla="*/ 24 w 113"/>
                <a:gd name="T3" fmla="*/ 94 h 138"/>
                <a:gd name="T4" fmla="*/ 37 w 113"/>
                <a:gd name="T5" fmla="*/ 99 h 138"/>
                <a:gd name="T6" fmla="*/ 51 w 113"/>
                <a:gd name="T7" fmla="*/ 117 h 138"/>
                <a:gd name="T8" fmla="*/ 81 w 113"/>
                <a:gd name="T9" fmla="*/ 138 h 138"/>
                <a:gd name="T10" fmla="*/ 99 w 113"/>
                <a:gd name="T11" fmla="*/ 114 h 138"/>
                <a:gd name="T12" fmla="*/ 105 w 113"/>
                <a:gd name="T13" fmla="*/ 99 h 138"/>
                <a:gd name="T14" fmla="*/ 105 w 113"/>
                <a:gd name="T15" fmla="*/ 72 h 138"/>
                <a:gd name="T16" fmla="*/ 105 w 113"/>
                <a:gd name="T17" fmla="*/ 27 h 138"/>
                <a:gd name="T18" fmla="*/ 106 w 113"/>
                <a:gd name="T19" fmla="*/ 15 h 138"/>
                <a:gd name="T20" fmla="*/ 60 w 113"/>
                <a:gd name="T21" fmla="*/ 16 h 138"/>
                <a:gd name="T22" fmla="*/ 34 w 113"/>
                <a:gd name="T23" fmla="*/ 6 h 138"/>
                <a:gd name="T24" fmla="*/ 12 w 113"/>
                <a:gd name="T25" fmla="*/ 3 h 138"/>
                <a:gd name="T26" fmla="*/ 13 w 113"/>
                <a:gd name="T27" fmla="*/ 27 h 138"/>
                <a:gd name="T28" fmla="*/ 18 w 113"/>
                <a:gd name="T29" fmla="*/ 52 h 138"/>
                <a:gd name="T30" fmla="*/ 3 w 113"/>
                <a:gd name="T31" fmla="*/ 66 h 138"/>
                <a:gd name="T32" fmla="*/ 3 w 113"/>
                <a:gd name="T33" fmla="*/ 88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3" h="138">
                  <a:moveTo>
                    <a:pt x="3" y="88"/>
                  </a:moveTo>
                  <a:cubicBezTo>
                    <a:pt x="10" y="90"/>
                    <a:pt x="17" y="93"/>
                    <a:pt x="24" y="94"/>
                  </a:cubicBezTo>
                  <a:cubicBezTo>
                    <a:pt x="28" y="96"/>
                    <a:pt x="33" y="97"/>
                    <a:pt x="37" y="99"/>
                  </a:cubicBezTo>
                  <a:cubicBezTo>
                    <a:pt x="40" y="106"/>
                    <a:pt x="44" y="115"/>
                    <a:pt x="51" y="117"/>
                  </a:cubicBezTo>
                  <a:cubicBezTo>
                    <a:pt x="58" y="123"/>
                    <a:pt x="73" y="138"/>
                    <a:pt x="81" y="138"/>
                  </a:cubicBezTo>
                  <a:cubicBezTo>
                    <a:pt x="91" y="135"/>
                    <a:pt x="87" y="116"/>
                    <a:pt x="99" y="114"/>
                  </a:cubicBezTo>
                  <a:cubicBezTo>
                    <a:pt x="100" y="108"/>
                    <a:pt x="101" y="104"/>
                    <a:pt x="105" y="99"/>
                  </a:cubicBezTo>
                  <a:cubicBezTo>
                    <a:pt x="106" y="90"/>
                    <a:pt x="104" y="81"/>
                    <a:pt x="105" y="72"/>
                  </a:cubicBezTo>
                  <a:cubicBezTo>
                    <a:pt x="107" y="60"/>
                    <a:pt x="105" y="36"/>
                    <a:pt x="105" y="27"/>
                  </a:cubicBezTo>
                  <a:cubicBezTo>
                    <a:pt x="105" y="18"/>
                    <a:pt x="113" y="17"/>
                    <a:pt x="106" y="15"/>
                  </a:cubicBezTo>
                  <a:cubicBezTo>
                    <a:pt x="94" y="16"/>
                    <a:pt x="72" y="17"/>
                    <a:pt x="60" y="16"/>
                  </a:cubicBezTo>
                  <a:cubicBezTo>
                    <a:pt x="49" y="7"/>
                    <a:pt x="49" y="7"/>
                    <a:pt x="34" y="6"/>
                  </a:cubicBezTo>
                  <a:cubicBezTo>
                    <a:pt x="28" y="5"/>
                    <a:pt x="15" y="0"/>
                    <a:pt x="12" y="3"/>
                  </a:cubicBezTo>
                  <a:cubicBezTo>
                    <a:pt x="9" y="6"/>
                    <a:pt x="12" y="19"/>
                    <a:pt x="13" y="27"/>
                  </a:cubicBezTo>
                  <a:cubicBezTo>
                    <a:pt x="14" y="34"/>
                    <a:pt x="20" y="46"/>
                    <a:pt x="18" y="52"/>
                  </a:cubicBezTo>
                  <a:cubicBezTo>
                    <a:pt x="16" y="58"/>
                    <a:pt x="5" y="60"/>
                    <a:pt x="3" y="66"/>
                  </a:cubicBezTo>
                  <a:cubicBezTo>
                    <a:pt x="0" y="75"/>
                    <a:pt x="3" y="78"/>
                    <a:pt x="3" y="88"/>
                  </a:cubicBezTo>
                  <a:close/>
                </a:path>
              </a:pathLst>
            </a:custGeom>
            <a:solidFill>
              <a:schemeClr val="accent1"/>
            </a:solidFill>
            <a:ln w="9525" cap="flat" cmpd="sng">
              <a:solidFill>
                <a:schemeClr val="bg1"/>
              </a:solidFill>
              <a:prstDash val="solid"/>
              <a:round/>
              <a:headEnd type="none" w="med" len="med"/>
              <a:tailEnd type="none" w="med" len="med"/>
            </a:ln>
            <a:effectLst/>
            <a:extLst/>
          </p:spPr>
          <p:txBody>
            <a:bodyPr>
              <a:noAutofit/>
            </a:bodyPr>
            <a:lstStyle/>
            <a:p>
              <a:pPr fontAlgn="auto">
                <a:spcBef>
                  <a:spcPts val="0"/>
                </a:spcBef>
                <a:spcAft>
                  <a:spcPts val="0"/>
                </a:spcAft>
                <a:defRPr/>
              </a:pPr>
              <a:endParaRPr lang="en-CA" kern="0">
                <a:solidFill>
                  <a:sysClr val="windowText" lastClr="000000"/>
                </a:solidFill>
              </a:endParaRPr>
            </a:p>
          </p:txBody>
        </p:sp>
        <p:sp>
          <p:nvSpPr>
            <p:cNvPr id="359" name="Freeform 28"/>
            <p:cNvSpPr>
              <a:spLocks/>
            </p:cNvSpPr>
            <p:nvPr>
              <p:custDataLst>
                <p:tags r:id="rId36"/>
              </p:custDataLst>
            </p:nvPr>
          </p:nvSpPr>
          <p:spPr bwMode="gray">
            <a:xfrm>
              <a:off x="2623973" y="2640665"/>
              <a:ext cx="147209" cy="113131"/>
            </a:xfrm>
            <a:custGeom>
              <a:avLst/>
              <a:gdLst>
                <a:gd name="T0" fmla="*/ 61 w 181"/>
                <a:gd name="T1" fmla="*/ 46 h 147"/>
                <a:gd name="T2" fmla="*/ 80 w 181"/>
                <a:gd name="T3" fmla="*/ 51 h 147"/>
                <a:gd name="T4" fmla="*/ 95 w 181"/>
                <a:gd name="T5" fmla="*/ 55 h 147"/>
                <a:gd name="T6" fmla="*/ 110 w 181"/>
                <a:gd name="T7" fmla="*/ 67 h 147"/>
                <a:gd name="T8" fmla="*/ 103 w 181"/>
                <a:gd name="T9" fmla="*/ 57 h 147"/>
                <a:gd name="T10" fmla="*/ 100 w 181"/>
                <a:gd name="T11" fmla="*/ 37 h 147"/>
                <a:gd name="T12" fmla="*/ 103 w 181"/>
                <a:gd name="T13" fmla="*/ 10 h 147"/>
                <a:gd name="T14" fmla="*/ 113 w 181"/>
                <a:gd name="T15" fmla="*/ 0 h 147"/>
                <a:gd name="T16" fmla="*/ 139 w 181"/>
                <a:gd name="T17" fmla="*/ 4 h 147"/>
                <a:gd name="T18" fmla="*/ 172 w 181"/>
                <a:gd name="T19" fmla="*/ 15 h 147"/>
                <a:gd name="T20" fmla="*/ 169 w 181"/>
                <a:gd name="T21" fmla="*/ 66 h 147"/>
                <a:gd name="T22" fmla="*/ 152 w 181"/>
                <a:gd name="T23" fmla="*/ 94 h 147"/>
                <a:gd name="T24" fmla="*/ 137 w 181"/>
                <a:gd name="T25" fmla="*/ 100 h 147"/>
                <a:gd name="T26" fmla="*/ 107 w 181"/>
                <a:gd name="T27" fmla="*/ 114 h 147"/>
                <a:gd name="T28" fmla="*/ 88 w 181"/>
                <a:gd name="T29" fmla="*/ 127 h 147"/>
                <a:gd name="T30" fmla="*/ 80 w 181"/>
                <a:gd name="T31" fmla="*/ 142 h 147"/>
                <a:gd name="T32" fmla="*/ 52 w 181"/>
                <a:gd name="T33" fmla="*/ 147 h 147"/>
                <a:gd name="T34" fmla="*/ 17 w 181"/>
                <a:gd name="T35" fmla="*/ 141 h 147"/>
                <a:gd name="T36" fmla="*/ 8 w 181"/>
                <a:gd name="T37" fmla="*/ 129 h 147"/>
                <a:gd name="T38" fmla="*/ 4 w 181"/>
                <a:gd name="T39" fmla="*/ 112 h 147"/>
                <a:gd name="T40" fmla="*/ 4 w 181"/>
                <a:gd name="T41" fmla="*/ 91 h 147"/>
                <a:gd name="T42" fmla="*/ 7 w 181"/>
                <a:gd name="T43" fmla="*/ 70 h 147"/>
                <a:gd name="T44" fmla="*/ 29 w 181"/>
                <a:gd name="T45" fmla="*/ 66 h 147"/>
                <a:gd name="T46" fmla="*/ 40 w 181"/>
                <a:gd name="T47" fmla="*/ 55 h 147"/>
                <a:gd name="T48" fmla="*/ 38 w 181"/>
                <a:gd name="T49" fmla="*/ 43 h 147"/>
                <a:gd name="T50" fmla="*/ 35 w 181"/>
                <a:gd name="T51" fmla="*/ 42 h 147"/>
                <a:gd name="T52" fmla="*/ 61 w 181"/>
                <a:gd name="T53" fmla="*/ 46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81" h="147">
                  <a:moveTo>
                    <a:pt x="61" y="46"/>
                  </a:moveTo>
                  <a:cubicBezTo>
                    <a:pt x="68" y="48"/>
                    <a:pt x="74" y="50"/>
                    <a:pt x="80" y="51"/>
                  </a:cubicBezTo>
                  <a:cubicBezTo>
                    <a:pt x="85" y="52"/>
                    <a:pt x="90" y="54"/>
                    <a:pt x="95" y="55"/>
                  </a:cubicBezTo>
                  <a:cubicBezTo>
                    <a:pt x="100" y="58"/>
                    <a:pt x="109" y="67"/>
                    <a:pt x="110" y="67"/>
                  </a:cubicBezTo>
                  <a:cubicBezTo>
                    <a:pt x="107" y="64"/>
                    <a:pt x="105" y="62"/>
                    <a:pt x="103" y="57"/>
                  </a:cubicBezTo>
                  <a:cubicBezTo>
                    <a:pt x="101" y="52"/>
                    <a:pt x="100" y="45"/>
                    <a:pt x="100" y="37"/>
                  </a:cubicBezTo>
                  <a:cubicBezTo>
                    <a:pt x="100" y="29"/>
                    <a:pt x="101" y="16"/>
                    <a:pt x="103" y="10"/>
                  </a:cubicBezTo>
                  <a:cubicBezTo>
                    <a:pt x="106" y="6"/>
                    <a:pt x="110" y="4"/>
                    <a:pt x="113" y="0"/>
                  </a:cubicBezTo>
                  <a:cubicBezTo>
                    <a:pt x="127" y="1"/>
                    <a:pt x="128" y="2"/>
                    <a:pt x="139" y="4"/>
                  </a:cubicBezTo>
                  <a:cubicBezTo>
                    <a:pt x="151" y="16"/>
                    <a:pt x="149" y="13"/>
                    <a:pt x="172" y="15"/>
                  </a:cubicBezTo>
                  <a:cubicBezTo>
                    <a:pt x="173" y="28"/>
                    <a:pt x="181" y="57"/>
                    <a:pt x="169" y="66"/>
                  </a:cubicBezTo>
                  <a:cubicBezTo>
                    <a:pt x="167" y="84"/>
                    <a:pt x="169" y="91"/>
                    <a:pt x="152" y="94"/>
                  </a:cubicBezTo>
                  <a:cubicBezTo>
                    <a:pt x="147" y="97"/>
                    <a:pt x="143" y="99"/>
                    <a:pt x="137" y="100"/>
                  </a:cubicBezTo>
                  <a:cubicBezTo>
                    <a:pt x="127" y="105"/>
                    <a:pt x="117" y="109"/>
                    <a:pt x="107" y="114"/>
                  </a:cubicBezTo>
                  <a:cubicBezTo>
                    <a:pt x="100" y="123"/>
                    <a:pt x="100" y="126"/>
                    <a:pt x="88" y="127"/>
                  </a:cubicBezTo>
                  <a:cubicBezTo>
                    <a:pt x="85" y="134"/>
                    <a:pt x="89" y="140"/>
                    <a:pt x="80" y="142"/>
                  </a:cubicBezTo>
                  <a:cubicBezTo>
                    <a:pt x="71" y="146"/>
                    <a:pt x="61" y="143"/>
                    <a:pt x="52" y="147"/>
                  </a:cubicBezTo>
                  <a:cubicBezTo>
                    <a:pt x="40" y="145"/>
                    <a:pt x="27" y="147"/>
                    <a:pt x="17" y="141"/>
                  </a:cubicBezTo>
                  <a:cubicBezTo>
                    <a:pt x="14" y="136"/>
                    <a:pt x="10" y="134"/>
                    <a:pt x="8" y="129"/>
                  </a:cubicBezTo>
                  <a:cubicBezTo>
                    <a:pt x="7" y="123"/>
                    <a:pt x="5" y="118"/>
                    <a:pt x="4" y="112"/>
                  </a:cubicBezTo>
                  <a:cubicBezTo>
                    <a:pt x="3" y="106"/>
                    <a:pt x="0" y="99"/>
                    <a:pt x="4" y="91"/>
                  </a:cubicBezTo>
                  <a:cubicBezTo>
                    <a:pt x="5" y="84"/>
                    <a:pt x="3" y="74"/>
                    <a:pt x="7" y="70"/>
                  </a:cubicBezTo>
                  <a:cubicBezTo>
                    <a:pt x="11" y="66"/>
                    <a:pt x="24" y="68"/>
                    <a:pt x="29" y="66"/>
                  </a:cubicBezTo>
                  <a:cubicBezTo>
                    <a:pt x="33" y="63"/>
                    <a:pt x="39" y="59"/>
                    <a:pt x="40" y="55"/>
                  </a:cubicBezTo>
                  <a:cubicBezTo>
                    <a:pt x="41" y="51"/>
                    <a:pt x="39" y="45"/>
                    <a:pt x="38" y="43"/>
                  </a:cubicBezTo>
                  <a:cubicBezTo>
                    <a:pt x="36" y="34"/>
                    <a:pt x="32" y="50"/>
                    <a:pt x="35" y="42"/>
                  </a:cubicBezTo>
                  <a:cubicBezTo>
                    <a:pt x="39" y="41"/>
                    <a:pt x="56" y="45"/>
                    <a:pt x="61" y="46"/>
                  </a:cubicBezTo>
                  <a:close/>
                </a:path>
              </a:pathLst>
            </a:custGeom>
            <a:solidFill>
              <a:schemeClr val="bg1">
                <a:lumMod val="85000"/>
              </a:schemeClr>
            </a:solidFill>
            <a:ln w="9525" cap="flat" cmpd="sng">
              <a:solidFill>
                <a:schemeClr val="bg1"/>
              </a:solidFill>
              <a:prstDash val="solid"/>
              <a:round/>
              <a:headEnd type="none" w="med" len="med"/>
              <a:tailEnd type="none" w="med" len="med"/>
            </a:ln>
            <a:effectLst/>
            <a:extLst/>
          </p:spPr>
          <p:txBody>
            <a:bodyPr>
              <a:noAutofit/>
            </a:bodyPr>
            <a:lstStyle/>
            <a:p>
              <a:pPr fontAlgn="auto">
                <a:spcBef>
                  <a:spcPts val="0"/>
                </a:spcBef>
                <a:spcAft>
                  <a:spcPts val="0"/>
                </a:spcAft>
                <a:defRPr/>
              </a:pPr>
              <a:endParaRPr lang="en-CA" kern="0">
                <a:solidFill>
                  <a:sysClr val="windowText" lastClr="000000"/>
                </a:solidFill>
              </a:endParaRPr>
            </a:p>
          </p:txBody>
        </p:sp>
        <p:sp>
          <p:nvSpPr>
            <p:cNvPr id="360" name="Freeform 29"/>
            <p:cNvSpPr>
              <a:spLocks/>
            </p:cNvSpPr>
            <p:nvPr>
              <p:custDataLst>
                <p:tags r:id="rId37"/>
              </p:custDataLst>
            </p:nvPr>
          </p:nvSpPr>
          <p:spPr bwMode="gray">
            <a:xfrm>
              <a:off x="2853588" y="2406705"/>
              <a:ext cx="132809" cy="157769"/>
            </a:xfrm>
            <a:custGeom>
              <a:avLst/>
              <a:gdLst>
                <a:gd name="T0" fmla="*/ 7 w 163"/>
                <a:gd name="T1" fmla="*/ 205 h 205"/>
                <a:gd name="T2" fmla="*/ 35 w 163"/>
                <a:gd name="T3" fmla="*/ 179 h 205"/>
                <a:gd name="T4" fmla="*/ 55 w 163"/>
                <a:gd name="T5" fmla="*/ 161 h 205"/>
                <a:gd name="T6" fmla="*/ 75 w 163"/>
                <a:gd name="T7" fmla="*/ 145 h 205"/>
                <a:gd name="T8" fmla="*/ 87 w 163"/>
                <a:gd name="T9" fmla="*/ 137 h 205"/>
                <a:gd name="T10" fmla="*/ 119 w 163"/>
                <a:gd name="T11" fmla="*/ 97 h 205"/>
                <a:gd name="T12" fmla="*/ 127 w 163"/>
                <a:gd name="T13" fmla="*/ 73 h 205"/>
                <a:gd name="T14" fmla="*/ 147 w 163"/>
                <a:gd name="T15" fmla="*/ 43 h 205"/>
                <a:gd name="T16" fmla="*/ 159 w 163"/>
                <a:gd name="T17" fmla="*/ 27 h 205"/>
                <a:gd name="T18" fmla="*/ 157 w 163"/>
                <a:gd name="T19" fmla="*/ 5 h 205"/>
                <a:gd name="T20" fmla="*/ 133 w 163"/>
                <a:gd name="T21" fmla="*/ 7 h 205"/>
                <a:gd name="T22" fmla="*/ 85 w 163"/>
                <a:gd name="T23" fmla="*/ 15 h 205"/>
                <a:gd name="T24" fmla="*/ 39 w 163"/>
                <a:gd name="T25" fmla="*/ 3 h 205"/>
                <a:gd name="T26" fmla="*/ 27 w 163"/>
                <a:gd name="T27" fmla="*/ 9 h 205"/>
                <a:gd name="T28" fmla="*/ 41 w 163"/>
                <a:gd name="T29" fmla="*/ 23 h 205"/>
                <a:gd name="T30" fmla="*/ 67 w 163"/>
                <a:gd name="T31" fmla="*/ 47 h 205"/>
                <a:gd name="T32" fmla="*/ 85 w 163"/>
                <a:gd name="T33" fmla="*/ 53 h 205"/>
                <a:gd name="T34" fmla="*/ 91 w 163"/>
                <a:gd name="T35" fmla="*/ 55 h 205"/>
                <a:gd name="T36" fmla="*/ 107 w 163"/>
                <a:gd name="T37" fmla="*/ 69 h 205"/>
                <a:gd name="T38" fmla="*/ 89 w 163"/>
                <a:gd name="T39" fmla="*/ 81 h 205"/>
                <a:gd name="T40" fmla="*/ 69 w 163"/>
                <a:gd name="T41" fmla="*/ 101 h 205"/>
                <a:gd name="T42" fmla="*/ 51 w 163"/>
                <a:gd name="T43" fmla="*/ 107 h 205"/>
                <a:gd name="T44" fmla="*/ 10 w 163"/>
                <a:gd name="T45" fmla="*/ 122 h 205"/>
                <a:gd name="T46" fmla="*/ 7 w 163"/>
                <a:gd name="T47" fmla="*/ 205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63" h="205">
                  <a:moveTo>
                    <a:pt x="7" y="205"/>
                  </a:moveTo>
                  <a:cubicBezTo>
                    <a:pt x="14" y="198"/>
                    <a:pt x="27" y="182"/>
                    <a:pt x="35" y="179"/>
                  </a:cubicBezTo>
                  <a:cubicBezTo>
                    <a:pt x="40" y="172"/>
                    <a:pt x="48" y="166"/>
                    <a:pt x="55" y="161"/>
                  </a:cubicBezTo>
                  <a:cubicBezTo>
                    <a:pt x="58" y="152"/>
                    <a:pt x="67" y="150"/>
                    <a:pt x="75" y="145"/>
                  </a:cubicBezTo>
                  <a:cubicBezTo>
                    <a:pt x="79" y="142"/>
                    <a:pt x="87" y="137"/>
                    <a:pt x="87" y="137"/>
                  </a:cubicBezTo>
                  <a:cubicBezTo>
                    <a:pt x="96" y="123"/>
                    <a:pt x="109" y="112"/>
                    <a:pt x="119" y="97"/>
                  </a:cubicBezTo>
                  <a:cubicBezTo>
                    <a:pt x="124" y="90"/>
                    <a:pt x="122" y="80"/>
                    <a:pt x="127" y="73"/>
                  </a:cubicBezTo>
                  <a:cubicBezTo>
                    <a:pt x="134" y="63"/>
                    <a:pt x="138" y="52"/>
                    <a:pt x="147" y="43"/>
                  </a:cubicBezTo>
                  <a:cubicBezTo>
                    <a:pt x="150" y="35"/>
                    <a:pt x="155" y="34"/>
                    <a:pt x="159" y="27"/>
                  </a:cubicBezTo>
                  <a:cubicBezTo>
                    <a:pt x="158" y="20"/>
                    <a:pt x="163" y="9"/>
                    <a:pt x="157" y="5"/>
                  </a:cubicBezTo>
                  <a:cubicBezTo>
                    <a:pt x="151" y="0"/>
                    <a:pt x="141" y="6"/>
                    <a:pt x="133" y="7"/>
                  </a:cubicBezTo>
                  <a:cubicBezTo>
                    <a:pt x="115" y="10"/>
                    <a:pt x="107" y="13"/>
                    <a:pt x="85" y="15"/>
                  </a:cubicBezTo>
                  <a:cubicBezTo>
                    <a:pt x="53" y="36"/>
                    <a:pt x="57" y="9"/>
                    <a:pt x="39" y="3"/>
                  </a:cubicBezTo>
                  <a:cubicBezTo>
                    <a:pt x="36" y="4"/>
                    <a:pt x="28" y="6"/>
                    <a:pt x="27" y="9"/>
                  </a:cubicBezTo>
                  <a:cubicBezTo>
                    <a:pt x="25" y="15"/>
                    <a:pt x="41" y="23"/>
                    <a:pt x="41" y="23"/>
                  </a:cubicBezTo>
                  <a:cubicBezTo>
                    <a:pt x="48" y="34"/>
                    <a:pt x="55" y="42"/>
                    <a:pt x="67" y="47"/>
                  </a:cubicBezTo>
                  <a:cubicBezTo>
                    <a:pt x="73" y="50"/>
                    <a:pt x="79" y="51"/>
                    <a:pt x="85" y="53"/>
                  </a:cubicBezTo>
                  <a:cubicBezTo>
                    <a:pt x="87" y="54"/>
                    <a:pt x="91" y="55"/>
                    <a:pt x="91" y="55"/>
                  </a:cubicBezTo>
                  <a:cubicBezTo>
                    <a:pt x="94" y="65"/>
                    <a:pt x="101" y="60"/>
                    <a:pt x="107" y="69"/>
                  </a:cubicBezTo>
                  <a:cubicBezTo>
                    <a:pt x="99" y="72"/>
                    <a:pt x="96" y="77"/>
                    <a:pt x="89" y="81"/>
                  </a:cubicBezTo>
                  <a:cubicBezTo>
                    <a:pt x="84" y="88"/>
                    <a:pt x="76" y="96"/>
                    <a:pt x="69" y="101"/>
                  </a:cubicBezTo>
                  <a:cubicBezTo>
                    <a:pt x="63" y="106"/>
                    <a:pt x="60" y="104"/>
                    <a:pt x="51" y="107"/>
                  </a:cubicBezTo>
                  <a:cubicBezTo>
                    <a:pt x="41" y="110"/>
                    <a:pt x="17" y="106"/>
                    <a:pt x="10" y="122"/>
                  </a:cubicBezTo>
                  <a:cubicBezTo>
                    <a:pt x="0" y="139"/>
                    <a:pt x="4" y="195"/>
                    <a:pt x="7" y="205"/>
                  </a:cubicBezTo>
                  <a:close/>
                </a:path>
              </a:pathLst>
            </a:custGeom>
            <a:solidFill>
              <a:schemeClr val="bg1">
                <a:lumMod val="85000"/>
              </a:schemeClr>
            </a:solidFill>
            <a:ln w="9525" cap="flat" cmpd="sng">
              <a:solidFill>
                <a:schemeClr val="bg1"/>
              </a:solidFill>
              <a:prstDash val="solid"/>
              <a:round/>
              <a:headEnd type="none" w="med" len="med"/>
              <a:tailEnd type="none" w="med" len="med"/>
            </a:ln>
            <a:effectLst/>
            <a:extLst/>
          </p:spPr>
          <p:txBody>
            <a:bodyPr>
              <a:noAutofit/>
            </a:bodyPr>
            <a:lstStyle/>
            <a:p>
              <a:pPr fontAlgn="auto">
                <a:spcBef>
                  <a:spcPts val="0"/>
                </a:spcBef>
                <a:spcAft>
                  <a:spcPts val="0"/>
                </a:spcAft>
                <a:defRPr/>
              </a:pPr>
              <a:endParaRPr lang="en-CA" kern="0">
                <a:solidFill>
                  <a:sysClr val="windowText" lastClr="000000"/>
                </a:solidFill>
              </a:endParaRPr>
            </a:p>
          </p:txBody>
        </p:sp>
        <p:sp>
          <p:nvSpPr>
            <p:cNvPr id="361" name="Freeform 30"/>
            <p:cNvSpPr>
              <a:spLocks/>
            </p:cNvSpPr>
            <p:nvPr>
              <p:custDataLst>
                <p:tags r:id="rId38"/>
              </p:custDataLst>
            </p:nvPr>
          </p:nvSpPr>
          <p:spPr bwMode="gray">
            <a:xfrm>
              <a:off x="2723179" y="2495209"/>
              <a:ext cx="64804" cy="66186"/>
            </a:xfrm>
            <a:custGeom>
              <a:avLst/>
              <a:gdLst>
                <a:gd name="T0" fmla="*/ 9 w 79"/>
                <a:gd name="T1" fmla="*/ 13 h 86"/>
                <a:gd name="T2" fmla="*/ 48 w 79"/>
                <a:gd name="T3" fmla="*/ 6 h 86"/>
                <a:gd name="T4" fmla="*/ 69 w 79"/>
                <a:gd name="T5" fmla="*/ 1 h 86"/>
                <a:gd name="T6" fmla="*/ 74 w 79"/>
                <a:gd name="T7" fmla="*/ 25 h 86"/>
                <a:gd name="T8" fmla="*/ 77 w 79"/>
                <a:gd name="T9" fmla="*/ 46 h 86"/>
                <a:gd name="T10" fmla="*/ 63 w 79"/>
                <a:gd name="T11" fmla="*/ 60 h 86"/>
                <a:gd name="T12" fmla="*/ 56 w 79"/>
                <a:gd name="T13" fmla="*/ 81 h 86"/>
                <a:gd name="T14" fmla="*/ 3 w 79"/>
                <a:gd name="T15" fmla="*/ 78 h 86"/>
                <a:gd name="T16" fmla="*/ 14 w 79"/>
                <a:gd name="T17" fmla="*/ 40 h 86"/>
                <a:gd name="T18" fmla="*/ 9 w 79"/>
                <a:gd name="T19" fmla="*/ 1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9" h="86">
                  <a:moveTo>
                    <a:pt x="9" y="13"/>
                  </a:moveTo>
                  <a:cubicBezTo>
                    <a:pt x="21" y="4"/>
                    <a:pt x="27" y="7"/>
                    <a:pt x="48" y="6"/>
                  </a:cubicBezTo>
                  <a:cubicBezTo>
                    <a:pt x="54" y="3"/>
                    <a:pt x="62" y="0"/>
                    <a:pt x="69" y="1"/>
                  </a:cubicBezTo>
                  <a:cubicBezTo>
                    <a:pt x="73" y="8"/>
                    <a:pt x="70" y="18"/>
                    <a:pt x="74" y="25"/>
                  </a:cubicBezTo>
                  <a:cubicBezTo>
                    <a:pt x="75" y="32"/>
                    <a:pt x="79" y="41"/>
                    <a:pt x="77" y="46"/>
                  </a:cubicBezTo>
                  <a:cubicBezTo>
                    <a:pt x="75" y="52"/>
                    <a:pt x="66" y="54"/>
                    <a:pt x="63" y="60"/>
                  </a:cubicBezTo>
                  <a:cubicBezTo>
                    <a:pt x="59" y="67"/>
                    <a:pt x="63" y="79"/>
                    <a:pt x="56" y="81"/>
                  </a:cubicBezTo>
                  <a:cubicBezTo>
                    <a:pt x="39" y="86"/>
                    <a:pt x="3" y="78"/>
                    <a:pt x="3" y="78"/>
                  </a:cubicBezTo>
                  <a:cubicBezTo>
                    <a:pt x="0" y="64"/>
                    <a:pt x="2" y="49"/>
                    <a:pt x="14" y="40"/>
                  </a:cubicBezTo>
                  <a:cubicBezTo>
                    <a:pt x="18" y="31"/>
                    <a:pt x="14" y="20"/>
                    <a:pt x="9" y="13"/>
                  </a:cubicBezTo>
                  <a:close/>
                </a:path>
              </a:pathLst>
            </a:custGeom>
            <a:solidFill>
              <a:schemeClr val="bg1">
                <a:lumMod val="85000"/>
              </a:schemeClr>
            </a:solidFill>
            <a:ln w="9525" cap="flat" cmpd="sng">
              <a:solidFill>
                <a:schemeClr val="bg1"/>
              </a:solidFill>
              <a:prstDash val="solid"/>
              <a:round/>
              <a:headEnd type="none" w="med" len="med"/>
              <a:tailEnd type="none" w="med" len="med"/>
            </a:ln>
            <a:effectLst/>
            <a:extLst/>
          </p:spPr>
          <p:txBody>
            <a:bodyPr>
              <a:noAutofit/>
            </a:bodyPr>
            <a:lstStyle/>
            <a:p>
              <a:pPr fontAlgn="auto">
                <a:spcBef>
                  <a:spcPts val="0"/>
                </a:spcBef>
                <a:spcAft>
                  <a:spcPts val="0"/>
                </a:spcAft>
                <a:defRPr/>
              </a:pPr>
              <a:endParaRPr lang="en-CA" kern="0">
                <a:solidFill>
                  <a:sysClr val="windowText" lastClr="000000"/>
                </a:solidFill>
              </a:endParaRPr>
            </a:p>
          </p:txBody>
        </p:sp>
        <p:sp>
          <p:nvSpPr>
            <p:cNvPr id="362" name="Freeform 32"/>
            <p:cNvSpPr>
              <a:spLocks/>
            </p:cNvSpPr>
            <p:nvPr>
              <p:custDataLst>
                <p:tags r:id="rId39"/>
              </p:custDataLst>
            </p:nvPr>
          </p:nvSpPr>
          <p:spPr bwMode="gray">
            <a:xfrm>
              <a:off x="2367157" y="2267407"/>
              <a:ext cx="192814" cy="140837"/>
            </a:xfrm>
            <a:custGeom>
              <a:avLst/>
              <a:gdLst>
                <a:gd name="T0" fmla="*/ 219 w 237"/>
                <a:gd name="T1" fmla="*/ 20 h 183"/>
                <a:gd name="T2" fmla="*/ 201 w 237"/>
                <a:gd name="T3" fmla="*/ 8 h 183"/>
                <a:gd name="T4" fmla="*/ 183 w 237"/>
                <a:gd name="T5" fmla="*/ 3 h 183"/>
                <a:gd name="T6" fmla="*/ 156 w 237"/>
                <a:gd name="T7" fmla="*/ 14 h 183"/>
                <a:gd name="T8" fmla="*/ 134 w 237"/>
                <a:gd name="T9" fmla="*/ 24 h 183"/>
                <a:gd name="T10" fmla="*/ 120 w 237"/>
                <a:gd name="T11" fmla="*/ 33 h 183"/>
                <a:gd name="T12" fmla="*/ 111 w 237"/>
                <a:gd name="T13" fmla="*/ 45 h 183"/>
                <a:gd name="T14" fmla="*/ 102 w 237"/>
                <a:gd name="T15" fmla="*/ 53 h 183"/>
                <a:gd name="T16" fmla="*/ 77 w 237"/>
                <a:gd name="T17" fmla="*/ 72 h 183"/>
                <a:gd name="T18" fmla="*/ 57 w 237"/>
                <a:gd name="T19" fmla="*/ 69 h 183"/>
                <a:gd name="T20" fmla="*/ 59 w 237"/>
                <a:gd name="T21" fmla="*/ 80 h 183"/>
                <a:gd name="T22" fmla="*/ 60 w 237"/>
                <a:gd name="T23" fmla="*/ 119 h 183"/>
                <a:gd name="T24" fmla="*/ 44 w 237"/>
                <a:gd name="T25" fmla="*/ 128 h 183"/>
                <a:gd name="T26" fmla="*/ 26 w 237"/>
                <a:gd name="T27" fmla="*/ 128 h 183"/>
                <a:gd name="T28" fmla="*/ 0 w 237"/>
                <a:gd name="T29" fmla="*/ 137 h 183"/>
                <a:gd name="T30" fmla="*/ 6 w 237"/>
                <a:gd name="T31" fmla="*/ 143 h 183"/>
                <a:gd name="T32" fmla="*/ 11 w 237"/>
                <a:gd name="T33" fmla="*/ 159 h 183"/>
                <a:gd name="T34" fmla="*/ 29 w 237"/>
                <a:gd name="T35" fmla="*/ 174 h 183"/>
                <a:gd name="T36" fmla="*/ 47 w 237"/>
                <a:gd name="T37" fmla="*/ 179 h 183"/>
                <a:gd name="T38" fmla="*/ 51 w 237"/>
                <a:gd name="T39" fmla="*/ 182 h 183"/>
                <a:gd name="T40" fmla="*/ 54 w 237"/>
                <a:gd name="T41" fmla="*/ 171 h 183"/>
                <a:gd name="T42" fmla="*/ 69 w 237"/>
                <a:gd name="T43" fmla="*/ 159 h 183"/>
                <a:gd name="T44" fmla="*/ 89 w 237"/>
                <a:gd name="T45" fmla="*/ 158 h 183"/>
                <a:gd name="T46" fmla="*/ 128 w 237"/>
                <a:gd name="T47" fmla="*/ 167 h 183"/>
                <a:gd name="T48" fmla="*/ 146 w 237"/>
                <a:gd name="T49" fmla="*/ 162 h 183"/>
                <a:gd name="T50" fmla="*/ 162 w 237"/>
                <a:gd name="T51" fmla="*/ 164 h 183"/>
                <a:gd name="T52" fmla="*/ 173 w 237"/>
                <a:gd name="T53" fmla="*/ 159 h 183"/>
                <a:gd name="T54" fmla="*/ 177 w 237"/>
                <a:gd name="T55" fmla="*/ 161 h 183"/>
                <a:gd name="T56" fmla="*/ 192 w 237"/>
                <a:gd name="T57" fmla="*/ 164 h 183"/>
                <a:gd name="T58" fmla="*/ 200 w 237"/>
                <a:gd name="T59" fmla="*/ 143 h 183"/>
                <a:gd name="T60" fmla="*/ 209 w 237"/>
                <a:gd name="T61" fmla="*/ 132 h 183"/>
                <a:gd name="T62" fmla="*/ 215 w 237"/>
                <a:gd name="T63" fmla="*/ 122 h 183"/>
                <a:gd name="T64" fmla="*/ 224 w 237"/>
                <a:gd name="T65" fmla="*/ 116 h 183"/>
                <a:gd name="T66" fmla="*/ 230 w 237"/>
                <a:gd name="T67" fmla="*/ 98 h 183"/>
                <a:gd name="T68" fmla="*/ 237 w 237"/>
                <a:gd name="T69" fmla="*/ 78 h 183"/>
                <a:gd name="T70" fmla="*/ 233 w 237"/>
                <a:gd name="T71" fmla="*/ 51 h 183"/>
                <a:gd name="T72" fmla="*/ 222 w 237"/>
                <a:gd name="T73" fmla="*/ 26 h 183"/>
                <a:gd name="T74" fmla="*/ 219 w 237"/>
                <a:gd name="T75" fmla="*/ 20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37" h="183">
                  <a:moveTo>
                    <a:pt x="219" y="20"/>
                  </a:moveTo>
                  <a:cubicBezTo>
                    <a:pt x="215" y="17"/>
                    <a:pt x="207" y="11"/>
                    <a:pt x="201" y="8"/>
                  </a:cubicBezTo>
                  <a:cubicBezTo>
                    <a:pt x="195" y="5"/>
                    <a:pt x="190" y="2"/>
                    <a:pt x="183" y="3"/>
                  </a:cubicBezTo>
                  <a:cubicBezTo>
                    <a:pt x="175" y="0"/>
                    <a:pt x="156" y="14"/>
                    <a:pt x="156" y="14"/>
                  </a:cubicBezTo>
                  <a:cubicBezTo>
                    <a:pt x="148" y="17"/>
                    <a:pt x="140" y="21"/>
                    <a:pt x="134" y="24"/>
                  </a:cubicBezTo>
                  <a:cubicBezTo>
                    <a:pt x="128" y="27"/>
                    <a:pt x="124" y="30"/>
                    <a:pt x="120" y="33"/>
                  </a:cubicBezTo>
                  <a:cubicBezTo>
                    <a:pt x="116" y="39"/>
                    <a:pt x="119" y="43"/>
                    <a:pt x="111" y="45"/>
                  </a:cubicBezTo>
                  <a:cubicBezTo>
                    <a:pt x="109" y="53"/>
                    <a:pt x="111" y="52"/>
                    <a:pt x="102" y="53"/>
                  </a:cubicBezTo>
                  <a:cubicBezTo>
                    <a:pt x="96" y="56"/>
                    <a:pt x="84" y="69"/>
                    <a:pt x="77" y="72"/>
                  </a:cubicBezTo>
                  <a:cubicBezTo>
                    <a:pt x="70" y="75"/>
                    <a:pt x="60" y="68"/>
                    <a:pt x="57" y="69"/>
                  </a:cubicBezTo>
                  <a:cubicBezTo>
                    <a:pt x="54" y="71"/>
                    <a:pt x="59" y="72"/>
                    <a:pt x="59" y="80"/>
                  </a:cubicBezTo>
                  <a:cubicBezTo>
                    <a:pt x="59" y="88"/>
                    <a:pt x="63" y="111"/>
                    <a:pt x="60" y="119"/>
                  </a:cubicBezTo>
                  <a:cubicBezTo>
                    <a:pt x="57" y="127"/>
                    <a:pt x="50" y="127"/>
                    <a:pt x="44" y="128"/>
                  </a:cubicBezTo>
                  <a:cubicBezTo>
                    <a:pt x="38" y="139"/>
                    <a:pt x="33" y="127"/>
                    <a:pt x="26" y="128"/>
                  </a:cubicBezTo>
                  <a:cubicBezTo>
                    <a:pt x="19" y="129"/>
                    <a:pt x="3" y="135"/>
                    <a:pt x="0" y="137"/>
                  </a:cubicBezTo>
                  <a:cubicBezTo>
                    <a:pt x="1" y="140"/>
                    <a:pt x="5" y="140"/>
                    <a:pt x="6" y="143"/>
                  </a:cubicBezTo>
                  <a:cubicBezTo>
                    <a:pt x="8" y="146"/>
                    <a:pt x="7" y="154"/>
                    <a:pt x="11" y="159"/>
                  </a:cubicBezTo>
                  <a:cubicBezTo>
                    <a:pt x="15" y="164"/>
                    <a:pt x="23" y="171"/>
                    <a:pt x="29" y="174"/>
                  </a:cubicBezTo>
                  <a:cubicBezTo>
                    <a:pt x="35" y="177"/>
                    <a:pt x="41" y="177"/>
                    <a:pt x="47" y="179"/>
                  </a:cubicBezTo>
                  <a:cubicBezTo>
                    <a:pt x="48" y="180"/>
                    <a:pt x="49" y="183"/>
                    <a:pt x="51" y="182"/>
                  </a:cubicBezTo>
                  <a:cubicBezTo>
                    <a:pt x="53" y="181"/>
                    <a:pt x="54" y="172"/>
                    <a:pt x="54" y="171"/>
                  </a:cubicBezTo>
                  <a:cubicBezTo>
                    <a:pt x="56" y="165"/>
                    <a:pt x="63" y="160"/>
                    <a:pt x="69" y="159"/>
                  </a:cubicBezTo>
                  <a:cubicBezTo>
                    <a:pt x="76" y="157"/>
                    <a:pt x="82" y="159"/>
                    <a:pt x="89" y="158"/>
                  </a:cubicBezTo>
                  <a:cubicBezTo>
                    <a:pt x="102" y="160"/>
                    <a:pt x="114" y="166"/>
                    <a:pt x="128" y="167"/>
                  </a:cubicBezTo>
                  <a:cubicBezTo>
                    <a:pt x="137" y="169"/>
                    <a:pt x="139" y="162"/>
                    <a:pt x="146" y="162"/>
                  </a:cubicBezTo>
                  <a:cubicBezTo>
                    <a:pt x="152" y="162"/>
                    <a:pt x="158" y="164"/>
                    <a:pt x="162" y="164"/>
                  </a:cubicBezTo>
                  <a:cubicBezTo>
                    <a:pt x="166" y="164"/>
                    <a:pt x="171" y="159"/>
                    <a:pt x="173" y="159"/>
                  </a:cubicBezTo>
                  <a:cubicBezTo>
                    <a:pt x="174" y="158"/>
                    <a:pt x="175" y="161"/>
                    <a:pt x="177" y="161"/>
                  </a:cubicBezTo>
                  <a:cubicBezTo>
                    <a:pt x="183" y="160"/>
                    <a:pt x="187" y="167"/>
                    <a:pt x="192" y="164"/>
                  </a:cubicBezTo>
                  <a:cubicBezTo>
                    <a:pt x="197" y="161"/>
                    <a:pt x="197" y="147"/>
                    <a:pt x="200" y="143"/>
                  </a:cubicBezTo>
                  <a:cubicBezTo>
                    <a:pt x="202" y="135"/>
                    <a:pt x="205" y="139"/>
                    <a:pt x="209" y="132"/>
                  </a:cubicBezTo>
                  <a:cubicBezTo>
                    <a:pt x="211" y="128"/>
                    <a:pt x="213" y="125"/>
                    <a:pt x="215" y="122"/>
                  </a:cubicBezTo>
                  <a:cubicBezTo>
                    <a:pt x="217" y="119"/>
                    <a:pt x="221" y="120"/>
                    <a:pt x="224" y="116"/>
                  </a:cubicBezTo>
                  <a:cubicBezTo>
                    <a:pt x="225" y="110"/>
                    <a:pt x="227" y="104"/>
                    <a:pt x="230" y="98"/>
                  </a:cubicBezTo>
                  <a:cubicBezTo>
                    <a:pt x="231" y="92"/>
                    <a:pt x="237" y="86"/>
                    <a:pt x="237" y="78"/>
                  </a:cubicBezTo>
                  <a:cubicBezTo>
                    <a:pt x="237" y="70"/>
                    <a:pt x="235" y="60"/>
                    <a:pt x="233" y="51"/>
                  </a:cubicBezTo>
                  <a:cubicBezTo>
                    <a:pt x="231" y="42"/>
                    <a:pt x="224" y="31"/>
                    <a:pt x="222" y="26"/>
                  </a:cubicBezTo>
                  <a:cubicBezTo>
                    <a:pt x="221" y="21"/>
                    <a:pt x="205" y="6"/>
                    <a:pt x="219" y="20"/>
                  </a:cubicBezTo>
                  <a:close/>
                </a:path>
              </a:pathLst>
            </a:custGeom>
            <a:solidFill>
              <a:schemeClr val="bg1">
                <a:lumMod val="85000"/>
              </a:schemeClr>
            </a:solidFill>
            <a:ln w="9525" cap="flat" cmpd="sng">
              <a:solidFill>
                <a:schemeClr val="bg1"/>
              </a:solidFill>
              <a:prstDash val="solid"/>
              <a:round/>
              <a:headEnd type="none" w="med" len="med"/>
              <a:tailEnd type="none" w="med" len="med"/>
            </a:ln>
            <a:effectLst/>
            <a:extLst/>
          </p:spPr>
          <p:txBody>
            <a:bodyPr>
              <a:noAutofit/>
            </a:bodyPr>
            <a:lstStyle/>
            <a:p>
              <a:pPr fontAlgn="auto">
                <a:spcBef>
                  <a:spcPts val="0"/>
                </a:spcBef>
                <a:spcAft>
                  <a:spcPts val="0"/>
                </a:spcAft>
                <a:defRPr/>
              </a:pPr>
              <a:endParaRPr lang="en-CA" kern="0">
                <a:solidFill>
                  <a:sysClr val="windowText" lastClr="000000"/>
                </a:solidFill>
              </a:endParaRPr>
            </a:p>
          </p:txBody>
        </p:sp>
        <p:sp>
          <p:nvSpPr>
            <p:cNvPr id="363" name="Freeform 33"/>
            <p:cNvSpPr>
              <a:spLocks/>
            </p:cNvSpPr>
            <p:nvPr>
              <p:custDataLst>
                <p:tags r:id="rId40"/>
              </p:custDataLst>
            </p:nvPr>
          </p:nvSpPr>
          <p:spPr bwMode="gray">
            <a:xfrm>
              <a:off x="2367956" y="2401319"/>
              <a:ext cx="44803" cy="75421"/>
            </a:xfrm>
            <a:custGeom>
              <a:avLst/>
              <a:gdLst>
                <a:gd name="T0" fmla="*/ 32 w 55"/>
                <a:gd name="T1" fmla="*/ 4 h 98"/>
                <a:gd name="T2" fmla="*/ 26 w 55"/>
                <a:gd name="T3" fmla="*/ 12 h 98"/>
                <a:gd name="T4" fmla="*/ 18 w 55"/>
                <a:gd name="T5" fmla="*/ 18 h 98"/>
                <a:gd name="T6" fmla="*/ 18 w 55"/>
                <a:gd name="T7" fmla="*/ 34 h 98"/>
                <a:gd name="T8" fmla="*/ 34 w 55"/>
                <a:gd name="T9" fmla="*/ 92 h 98"/>
                <a:gd name="T10" fmla="*/ 52 w 55"/>
                <a:gd name="T11" fmla="*/ 36 h 98"/>
                <a:gd name="T12" fmla="*/ 50 w 55"/>
                <a:gd name="T13" fmla="*/ 18 h 98"/>
                <a:gd name="T14" fmla="*/ 43 w 55"/>
                <a:gd name="T15" fmla="*/ 7 h 98"/>
                <a:gd name="T16" fmla="*/ 32 w 55"/>
                <a:gd name="T17" fmla="*/ 4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5" h="98">
                  <a:moveTo>
                    <a:pt x="32" y="4"/>
                  </a:moveTo>
                  <a:cubicBezTo>
                    <a:pt x="28" y="0"/>
                    <a:pt x="28" y="10"/>
                    <a:pt x="26" y="12"/>
                  </a:cubicBezTo>
                  <a:cubicBezTo>
                    <a:pt x="24" y="14"/>
                    <a:pt x="19" y="14"/>
                    <a:pt x="18" y="18"/>
                  </a:cubicBezTo>
                  <a:cubicBezTo>
                    <a:pt x="13" y="26"/>
                    <a:pt x="9" y="28"/>
                    <a:pt x="18" y="34"/>
                  </a:cubicBezTo>
                  <a:cubicBezTo>
                    <a:pt x="27" y="60"/>
                    <a:pt x="0" y="98"/>
                    <a:pt x="34" y="92"/>
                  </a:cubicBezTo>
                  <a:cubicBezTo>
                    <a:pt x="45" y="60"/>
                    <a:pt x="34" y="63"/>
                    <a:pt x="52" y="36"/>
                  </a:cubicBezTo>
                  <a:cubicBezTo>
                    <a:pt x="55" y="24"/>
                    <a:pt x="51" y="23"/>
                    <a:pt x="50" y="18"/>
                  </a:cubicBezTo>
                  <a:cubicBezTo>
                    <a:pt x="49" y="13"/>
                    <a:pt x="46" y="9"/>
                    <a:pt x="43" y="7"/>
                  </a:cubicBezTo>
                  <a:cubicBezTo>
                    <a:pt x="40" y="5"/>
                    <a:pt x="35" y="3"/>
                    <a:pt x="32" y="4"/>
                  </a:cubicBezTo>
                  <a:close/>
                </a:path>
              </a:pathLst>
            </a:custGeom>
            <a:solidFill>
              <a:schemeClr val="bg1">
                <a:lumMod val="85000"/>
              </a:schemeClr>
            </a:solidFill>
            <a:ln w="9525" cap="flat" cmpd="sng">
              <a:solidFill>
                <a:schemeClr val="bg1"/>
              </a:solidFill>
              <a:prstDash val="solid"/>
              <a:round/>
              <a:headEnd type="none" w="med" len="med"/>
              <a:tailEnd type="none" w="med" len="med"/>
            </a:ln>
            <a:effectLst/>
            <a:extLst/>
          </p:spPr>
          <p:txBody>
            <a:bodyPr>
              <a:noAutofit/>
            </a:bodyPr>
            <a:lstStyle/>
            <a:p>
              <a:pPr fontAlgn="auto">
                <a:spcBef>
                  <a:spcPts val="0"/>
                </a:spcBef>
                <a:spcAft>
                  <a:spcPts val="0"/>
                </a:spcAft>
                <a:defRPr/>
              </a:pPr>
              <a:endParaRPr lang="en-CA" kern="0">
                <a:solidFill>
                  <a:sysClr val="windowText" lastClr="000000"/>
                </a:solidFill>
              </a:endParaRPr>
            </a:p>
          </p:txBody>
        </p:sp>
        <p:sp>
          <p:nvSpPr>
            <p:cNvPr id="364" name="Freeform 34"/>
            <p:cNvSpPr>
              <a:spLocks/>
            </p:cNvSpPr>
            <p:nvPr>
              <p:custDataLst>
                <p:tags r:id="rId41"/>
              </p:custDataLst>
            </p:nvPr>
          </p:nvSpPr>
          <p:spPr bwMode="gray">
            <a:xfrm>
              <a:off x="2361554" y="2416711"/>
              <a:ext cx="23202" cy="60029"/>
            </a:xfrm>
            <a:custGeom>
              <a:avLst/>
              <a:gdLst>
                <a:gd name="T0" fmla="*/ 18 w 28"/>
                <a:gd name="T1" fmla="*/ 0 h 78"/>
                <a:gd name="T2" fmla="*/ 0 w 28"/>
                <a:gd name="T3" fmla="*/ 21 h 78"/>
                <a:gd name="T4" fmla="*/ 10 w 28"/>
                <a:gd name="T5" fmla="*/ 50 h 78"/>
                <a:gd name="T6" fmla="*/ 10 w 28"/>
                <a:gd name="T7" fmla="*/ 63 h 78"/>
                <a:gd name="T8" fmla="*/ 16 w 28"/>
                <a:gd name="T9" fmla="*/ 76 h 78"/>
                <a:gd name="T10" fmla="*/ 24 w 28"/>
                <a:gd name="T11" fmla="*/ 74 h 78"/>
                <a:gd name="T12" fmla="*/ 27 w 28"/>
                <a:gd name="T13" fmla="*/ 24 h 78"/>
                <a:gd name="T14" fmla="*/ 18 w 28"/>
                <a:gd name="T15" fmla="*/ 0 h 7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 h="78">
                  <a:moveTo>
                    <a:pt x="18" y="0"/>
                  </a:moveTo>
                  <a:cubicBezTo>
                    <a:pt x="7" y="4"/>
                    <a:pt x="3" y="11"/>
                    <a:pt x="0" y="21"/>
                  </a:cubicBezTo>
                  <a:cubicBezTo>
                    <a:pt x="1" y="30"/>
                    <a:pt x="8" y="41"/>
                    <a:pt x="10" y="50"/>
                  </a:cubicBezTo>
                  <a:cubicBezTo>
                    <a:pt x="11" y="54"/>
                    <a:pt x="10" y="63"/>
                    <a:pt x="10" y="63"/>
                  </a:cubicBezTo>
                  <a:cubicBezTo>
                    <a:pt x="11" y="68"/>
                    <a:pt x="13" y="72"/>
                    <a:pt x="16" y="76"/>
                  </a:cubicBezTo>
                  <a:cubicBezTo>
                    <a:pt x="18" y="78"/>
                    <a:pt x="24" y="77"/>
                    <a:pt x="24" y="74"/>
                  </a:cubicBezTo>
                  <a:cubicBezTo>
                    <a:pt x="24" y="65"/>
                    <a:pt x="28" y="36"/>
                    <a:pt x="27" y="24"/>
                  </a:cubicBezTo>
                  <a:cubicBezTo>
                    <a:pt x="26" y="12"/>
                    <a:pt x="20" y="5"/>
                    <a:pt x="18" y="0"/>
                  </a:cubicBezTo>
                  <a:close/>
                </a:path>
              </a:pathLst>
            </a:custGeom>
            <a:solidFill>
              <a:schemeClr val="bg1">
                <a:lumMod val="85000"/>
              </a:schemeClr>
            </a:solidFill>
            <a:ln w="9525" cap="flat" cmpd="sng">
              <a:solidFill>
                <a:schemeClr val="bg1"/>
              </a:solidFill>
              <a:prstDash val="solid"/>
              <a:round/>
              <a:headEnd type="none" w="med" len="med"/>
              <a:tailEnd type="none" w="med" len="med"/>
            </a:ln>
            <a:effectLst/>
            <a:extLst/>
          </p:spPr>
          <p:txBody>
            <a:bodyPr>
              <a:noAutofit/>
            </a:bodyPr>
            <a:lstStyle/>
            <a:p>
              <a:pPr fontAlgn="auto">
                <a:spcBef>
                  <a:spcPts val="0"/>
                </a:spcBef>
                <a:spcAft>
                  <a:spcPts val="0"/>
                </a:spcAft>
                <a:defRPr/>
              </a:pPr>
              <a:endParaRPr lang="en-CA" kern="0">
                <a:solidFill>
                  <a:sysClr val="windowText" lastClr="000000"/>
                </a:solidFill>
              </a:endParaRPr>
            </a:p>
          </p:txBody>
        </p:sp>
        <p:sp>
          <p:nvSpPr>
            <p:cNvPr id="365" name="Freeform 35"/>
            <p:cNvSpPr>
              <a:spLocks/>
            </p:cNvSpPr>
            <p:nvPr>
              <p:custDataLst>
                <p:tags r:id="rId42"/>
              </p:custDataLst>
            </p:nvPr>
          </p:nvSpPr>
          <p:spPr bwMode="gray">
            <a:xfrm>
              <a:off x="2199144" y="2419788"/>
              <a:ext cx="38402" cy="41558"/>
            </a:xfrm>
            <a:custGeom>
              <a:avLst/>
              <a:gdLst>
                <a:gd name="T0" fmla="*/ 16 w 47"/>
                <a:gd name="T1" fmla="*/ 18 h 54"/>
                <a:gd name="T2" fmla="*/ 12 w 47"/>
                <a:gd name="T3" fmla="*/ 50 h 54"/>
                <a:gd name="T4" fmla="*/ 26 w 47"/>
                <a:gd name="T5" fmla="*/ 54 h 54"/>
                <a:gd name="T6" fmla="*/ 44 w 47"/>
                <a:gd name="T7" fmla="*/ 46 h 54"/>
                <a:gd name="T8" fmla="*/ 44 w 47"/>
                <a:gd name="T9" fmla="*/ 30 h 54"/>
                <a:gd name="T10" fmla="*/ 39 w 47"/>
                <a:gd name="T11" fmla="*/ 9 h 54"/>
                <a:gd name="T12" fmla="*/ 16 w 47"/>
                <a:gd name="T13" fmla="*/ 18 h 54"/>
              </a:gdLst>
              <a:ahLst/>
              <a:cxnLst>
                <a:cxn ang="0">
                  <a:pos x="T0" y="T1"/>
                </a:cxn>
                <a:cxn ang="0">
                  <a:pos x="T2" y="T3"/>
                </a:cxn>
                <a:cxn ang="0">
                  <a:pos x="T4" y="T5"/>
                </a:cxn>
                <a:cxn ang="0">
                  <a:pos x="T6" y="T7"/>
                </a:cxn>
                <a:cxn ang="0">
                  <a:pos x="T8" y="T9"/>
                </a:cxn>
                <a:cxn ang="0">
                  <a:pos x="T10" y="T11"/>
                </a:cxn>
                <a:cxn ang="0">
                  <a:pos x="T12" y="T13"/>
                </a:cxn>
              </a:cxnLst>
              <a:rect l="0" t="0" r="r" b="b"/>
              <a:pathLst>
                <a:path w="47" h="54">
                  <a:moveTo>
                    <a:pt x="16" y="18"/>
                  </a:moveTo>
                  <a:cubicBezTo>
                    <a:pt x="3" y="22"/>
                    <a:pt x="0" y="42"/>
                    <a:pt x="12" y="50"/>
                  </a:cubicBezTo>
                  <a:cubicBezTo>
                    <a:pt x="16" y="53"/>
                    <a:pt x="21" y="52"/>
                    <a:pt x="26" y="54"/>
                  </a:cubicBezTo>
                  <a:cubicBezTo>
                    <a:pt x="40" y="49"/>
                    <a:pt x="34" y="52"/>
                    <a:pt x="44" y="46"/>
                  </a:cubicBezTo>
                  <a:cubicBezTo>
                    <a:pt x="47" y="42"/>
                    <a:pt x="45" y="36"/>
                    <a:pt x="44" y="30"/>
                  </a:cubicBezTo>
                  <a:cubicBezTo>
                    <a:pt x="43" y="24"/>
                    <a:pt x="44" y="11"/>
                    <a:pt x="39" y="9"/>
                  </a:cubicBezTo>
                  <a:cubicBezTo>
                    <a:pt x="36" y="0"/>
                    <a:pt x="25" y="15"/>
                    <a:pt x="16" y="18"/>
                  </a:cubicBezTo>
                  <a:close/>
                </a:path>
              </a:pathLst>
            </a:custGeom>
            <a:solidFill>
              <a:schemeClr val="bg1">
                <a:lumMod val="85000"/>
              </a:schemeClr>
            </a:solidFill>
            <a:ln w="9525" cap="flat" cmpd="sng">
              <a:solidFill>
                <a:schemeClr val="bg1"/>
              </a:solidFill>
              <a:prstDash val="solid"/>
              <a:round/>
              <a:headEnd type="none" w="med" len="med"/>
              <a:tailEnd type="none" w="med" len="med"/>
            </a:ln>
            <a:effectLst/>
            <a:extLst/>
          </p:spPr>
          <p:txBody>
            <a:bodyPr>
              <a:noAutofit/>
            </a:bodyPr>
            <a:lstStyle/>
            <a:p>
              <a:pPr fontAlgn="auto">
                <a:spcBef>
                  <a:spcPts val="0"/>
                </a:spcBef>
                <a:spcAft>
                  <a:spcPts val="0"/>
                </a:spcAft>
                <a:defRPr/>
              </a:pPr>
              <a:endParaRPr lang="en-CA" kern="0">
                <a:solidFill>
                  <a:sysClr val="windowText" lastClr="000000"/>
                </a:solidFill>
              </a:endParaRPr>
            </a:p>
          </p:txBody>
        </p:sp>
        <p:sp>
          <p:nvSpPr>
            <p:cNvPr id="366" name="Freeform 36"/>
            <p:cNvSpPr>
              <a:spLocks/>
            </p:cNvSpPr>
            <p:nvPr>
              <p:custDataLst>
                <p:tags r:id="rId43"/>
              </p:custDataLst>
            </p:nvPr>
          </p:nvSpPr>
          <p:spPr bwMode="gray">
            <a:xfrm>
              <a:off x="2177543" y="2398240"/>
              <a:ext cx="94405" cy="60798"/>
            </a:xfrm>
            <a:custGeom>
              <a:avLst/>
              <a:gdLst>
                <a:gd name="T0" fmla="*/ 28 w 116"/>
                <a:gd name="T1" fmla="*/ 48 h 79"/>
                <a:gd name="T2" fmla="*/ 6 w 116"/>
                <a:gd name="T3" fmla="*/ 30 h 79"/>
                <a:gd name="T4" fmla="*/ 6 w 116"/>
                <a:gd name="T5" fmla="*/ 24 h 79"/>
                <a:gd name="T6" fmla="*/ 17 w 116"/>
                <a:gd name="T7" fmla="*/ 15 h 79"/>
                <a:gd name="T8" fmla="*/ 30 w 116"/>
                <a:gd name="T9" fmla="*/ 2 h 79"/>
                <a:gd name="T10" fmla="*/ 49 w 116"/>
                <a:gd name="T11" fmla="*/ 7 h 79"/>
                <a:gd name="T12" fmla="*/ 76 w 116"/>
                <a:gd name="T13" fmla="*/ 10 h 79"/>
                <a:gd name="T14" fmla="*/ 102 w 116"/>
                <a:gd name="T15" fmla="*/ 26 h 79"/>
                <a:gd name="T16" fmla="*/ 110 w 116"/>
                <a:gd name="T17" fmla="*/ 38 h 79"/>
                <a:gd name="T18" fmla="*/ 112 w 116"/>
                <a:gd name="T19" fmla="*/ 56 h 79"/>
                <a:gd name="T20" fmla="*/ 113 w 116"/>
                <a:gd name="T21" fmla="*/ 76 h 79"/>
                <a:gd name="T22" fmla="*/ 91 w 116"/>
                <a:gd name="T23" fmla="*/ 79 h 79"/>
                <a:gd name="T24" fmla="*/ 72 w 116"/>
                <a:gd name="T25" fmla="*/ 68 h 79"/>
                <a:gd name="T26" fmla="*/ 69 w 116"/>
                <a:gd name="T27" fmla="*/ 58 h 79"/>
                <a:gd name="T28" fmla="*/ 68 w 116"/>
                <a:gd name="T29" fmla="*/ 49 h 79"/>
                <a:gd name="T30" fmla="*/ 65 w 116"/>
                <a:gd name="T31" fmla="*/ 39 h 79"/>
                <a:gd name="T32" fmla="*/ 46 w 116"/>
                <a:gd name="T33" fmla="*/ 40 h 79"/>
                <a:gd name="T34" fmla="*/ 38 w 116"/>
                <a:gd name="T35" fmla="*/ 46 h 79"/>
                <a:gd name="T36" fmla="*/ 28 w 116"/>
                <a:gd name="T37" fmla="*/ 48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16" h="79">
                  <a:moveTo>
                    <a:pt x="28" y="48"/>
                  </a:moveTo>
                  <a:cubicBezTo>
                    <a:pt x="25" y="31"/>
                    <a:pt x="23" y="32"/>
                    <a:pt x="6" y="30"/>
                  </a:cubicBezTo>
                  <a:cubicBezTo>
                    <a:pt x="0" y="24"/>
                    <a:pt x="11" y="31"/>
                    <a:pt x="6" y="24"/>
                  </a:cubicBezTo>
                  <a:cubicBezTo>
                    <a:pt x="7" y="21"/>
                    <a:pt x="13" y="19"/>
                    <a:pt x="17" y="15"/>
                  </a:cubicBezTo>
                  <a:cubicBezTo>
                    <a:pt x="21" y="11"/>
                    <a:pt x="25" y="3"/>
                    <a:pt x="30" y="2"/>
                  </a:cubicBezTo>
                  <a:cubicBezTo>
                    <a:pt x="35" y="0"/>
                    <a:pt x="41" y="6"/>
                    <a:pt x="49" y="7"/>
                  </a:cubicBezTo>
                  <a:cubicBezTo>
                    <a:pt x="57" y="8"/>
                    <a:pt x="67" y="7"/>
                    <a:pt x="76" y="10"/>
                  </a:cubicBezTo>
                  <a:cubicBezTo>
                    <a:pt x="85" y="13"/>
                    <a:pt x="96" y="21"/>
                    <a:pt x="102" y="26"/>
                  </a:cubicBezTo>
                  <a:cubicBezTo>
                    <a:pt x="104" y="30"/>
                    <a:pt x="110" y="38"/>
                    <a:pt x="110" y="38"/>
                  </a:cubicBezTo>
                  <a:cubicBezTo>
                    <a:pt x="108" y="44"/>
                    <a:pt x="112" y="56"/>
                    <a:pt x="112" y="56"/>
                  </a:cubicBezTo>
                  <a:cubicBezTo>
                    <a:pt x="111" y="61"/>
                    <a:pt x="116" y="72"/>
                    <a:pt x="113" y="76"/>
                  </a:cubicBezTo>
                  <a:cubicBezTo>
                    <a:pt x="111" y="79"/>
                    <a:pt x="91" y="79"/>
                    <a:pt x="91" y="79"/>
                  </a:cubicBezTo>
                  <a:cubicBezTo>
                    <a:pt x="79" y="77"/>
                    <a:pt x="82" y="71"/>
                    <a:pt x="72" y="68"/>
                  </a:cubicBezTo>
                  <a:cubicBezTo>
                    <a:pt x="68" y="65"/>
                    <a:pt x="71" y="63"/>
                    <a:pt x="69" y="58"/>
                  </a:cubicBezTo>
                  <a:cubicBezTo>
                    <a:pt x="68" y="55"/>
                    <a:pt x="69" y="52"/>
                    <a:pt x="68" y="49"/>
                  </a:cubicBezTo>
                  <a:cubicBezTo>
                    <a:pt x="67" y="46"/>
                    <a:pt x="69" y="41"/>
                    <a:pt x="65" y="39"/>
                  </a:cubicBezTo>
                  <a:cubicBezTo>
                    <a:pt x="61" y="35"/>
                    <a:pt x="50" y="39"/>
                    <a:pt x="46" y="40"/>
                  </a:cubicBezTo>
                  <a:cubicBezTo>
                    <a:pt x="42" y="41"/>
                    <a:pt x="41" y="45"/>
                    <a:pt x="38" y="46"/>
                  </a:cubicBezTo>
                  <a:cubicBezTo>
                    <a:pt x="33" y="53"/>
                    <a:pt x="32" y="52"/>
                    <a:pt x="28" y="48"/>
                  </a:cubicBezTo>
                  <a:close/>
                </a:path>
              </a:pathLst>
            </a:custGeom>
            <a:solidFill>
              <a:schemeClr val="bg1">
                <a:lumMod val="85000"/>
              </a:schemeClr>
            </a:solidFill>
            <a:ln w="9525" cap="flat" cmpd="sng">
              <a:solidFill>
                <a:schemeClr val="bg1"/>
              </a:solidFill>
              <a:prstDash val="solid"/>
              <a:round/>
              <a:headEnd type="none" w="med" len="med"/>
              <a:tailEnd type="none" w="med" len="med"/>
            </a:ln>
            <a:effectLst/>
            <a:extLst/>
          </p:spPr>
          <p:txBody>
            <a:bodyPr>
              <a:noAutofit/>
            </a:bodyPr>
            <a:lstStyle/>
            <a:p>
              <a:pPr fontAlgn="auto">
                <a:spcBef>
                  <a:spcPts val="0"/>
                </a:spcBef>
                <a:spcAft>
                  <a:spcPts val="0"/>
                </a:spcAft>
                <a:defRPr/>
              </a:pPr>
              <a:endParaRPr lang="en-CA" kern="0">
                <a:solidFill>
                  <a:sysClr val="windowText" lastClr="000000"/>
                </a:solidFill>
              </a:endParaRPr>
            </a:p>
          </p:txBody>
        </p:sp>
        <p:sp>
          <p:nvSpPr>
            <p:cNvPr id="367" name="Freeform 37"/>
            <p:cNvSpPr>
              <a:spLocks/>
            </p:cNvSpPr>
            <p:nvPr>
              <p:custDataLst>
                <p:tags r:id="rId44"/>
              </p:custDataLst>
            </p:nvPr>
          </p:nvSpPr>
          <p:spPr bwMode="gray">
            <a:xfrm>
              <a:off x="2299950" y="2371303"/>
              <a:ext cx="92806" cy="61568"/>
            </a:xfrm>
            <a:custGeom>
              <a:avLst/>
              <a:gdLst>
                <a:gd name="T0" fmla="*/ 77 w 114"/>
                <a:gd name="T1" fmla="*/ 0 h 80"/>
                <a:gd name="T2" fmla="*/ 34 w 114"/>
                <a:gd name="T3" fmla="*/ 13 h 80"/>
                <a:gd name="T4" fmla="*/ 18 w 114"/>
                <a:gd name="T5" fmla="*/ 27 h 80"/>
                <a:gd name="T6" fmla="*/ 0 w 114"/>
                <a:gd name="T7" fmla="*/ 55 h 80"/>
                <a:gd name="T8" fmla="*/ 12 w 114"/>
                <a:gd name="T9" fmla="*/ 77 h 80"/>
                <a:gd name="T10" fmla="*/ 24 w 114"/>
                <a:gd name="T11" fmla="*/ 75 h 80"/>
                <a:gd name="T12" fmla="*/ 40 w 114"/>
                <a:gd name="T13" fmla="*/ 63 h 80"/>
                <a:gd name="T14" fmla="*/ 80 w 114"/>
                <a:gd name="T15" fmla="*/ 61 h 80"/>
                <a:gd name="T16" fmla="*/ 110 w 114"/>
                <a:gd name="T17" fmla="*/ 55 h 80"/>
                <a:gd name="T18" fmla="*/ 100 w 114"/>
                <a:gd name="T19" fmla="*/ 31 h 80"/>
                <a:gd name="T20" fmla="*/ 86 w 114"/>
                <a:gd name="T21" fmla="*/ 9 h 80"/>
                <a:gd name="T22" fmla="*/ 77 w 114"/>
                <a:gd name="T23"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4" h="80">
                  <a:moveTo>
                    <a:pt x="77" y="0"/>
                  </a:moveTo>
                  <a:cubicBezTo>
                    <a:pt x="58" y="2"/>
                    <a:pt x="54" y="11"/>
                    <a:pt x="34" y="13"/>
                  </a:cubicBezTo>
                  <a:cubicBezTo>
                    <a:pt x="31" y="26"/>
                    <a:pt x="30" y="24"/>
                    <a:pt x="18" y="27"/>
                  </a:cubicBezTo>
                  <a:cubicBezTo>
                    <a:pt x="7" y="35"/>
                    <a:pt x="12" y="51"/>
                    <a:pt x="0" y="55"/>
                  </a:cubicBezTo>
                  <a:cubicBezTo>
                    <a:pt x="2" y="67"/>
                    <a:pt x="0" y="73"/>
                    <a:pt x="12" y="77"/>
                  </a:cubicBezTo>
                  <a:cubicBezTo>
                    <a:pt x="15" y="80"/>
                    <a:pt x="19" y="77"/>
                    <a:pt x="24" y="75"/>
                  </a:cubicBezTo>
                  <a:cubicBezTo>
                    <a:pt x="29" y="73"/>
                    <a:pt x="31" y="65"/>
                    <a:pt x="40" y="63"/>
                  </a:cubicBezTo>
                  <a:cubicBezTo>
                    <a:pt x="53" y="62"/>
                    <a:pt x="67" y="62"/>
                    <a:pt x="80" y="61"/>
                  </a:cubicBezTo>
                  <a:cubicBezTo>
                    <a:pt x="98" y="55"/>
                    <a:pt x="88" y="57"/>
                    <a:pt x="110" y="55"/>
                  </a:cubicBezTo>
                  <a:cubicBezTo>
                    <a:pt x="114" y="44"/>
                    <a:pt x="111" y="35"/>
                    <a:pt x="100" y="31"/>
                  </a:cubicBezTo>
                  <a:cubicBezTo>
                    <a:pt x="94" y="22"/>
                    <a:pt x="95" y="15"/>
                    <a:pt x="86" y="9"/>
                  </a:cubicBezTo>
                  <a:cubicBezTo>
                    <a:pt x="81" y="2"/>
                    <a:pt x="71" y="0"/>
                    <a:pt x="77" y="0"/>
                  </a:cubicBezTo>
                  <a:close/>
                </a:path>
              </a:pathLst>
            </a:custGeom>
            <a:solidFill>
              <a:schemeClr val="bg1">
                <a:lumMod val="85000"/>
              </a:schemeClr>
            </a:solidFill>
            <a:ln w="9525" cap="flat" cmpd="sng">
              <a:solidFill>
                <a:schemeClr val="bg1"/>
              </a:solidFill>
              <a:prstDash val="solid"/>
              <a:round/>
              <a:headEnd type="none" w="med" len="med"/>
              <a:tailEnd type="none" w="med" len="med"/>
            </a:ln>
            <a:effectLst/>
            <a:extLst/>
          </p:spPr>
          <p:txBody>
            <a:bodyPr>
              <a:noAutofit/>
            </a:bodyPr>
            <a:lstStyle/>
            <a:p>
              <a:pPr fontAlgn="auto">
                <a:spcBef>
                  <a:spcPts val="0"/>
                </a:spcBef>
                <a:spcAft>
                  <a:spcPts val="0"/>
                </a:spcAft>
                <a:defRPr/>
              </a:pPr>
              <a:endParaRPr lang="en-CA" kern="0">
                <a:solidFill>
                  <a:sysClr val="windowText" lastClr="000000"/>
                </a:solidFill>
              </a:endParaRPr>
            </a:p>
          </p:txBody>
        </p:sp>
        <p:sp>
          <p:nvSpPr>
            <p:cNvPr id="368" name="Freeform 38"/>
            <p:cNvSpPr>
              <a:spLocks/>
            </p:cNvSpPr>
            <p:nvPr>
              <p:custDataLst>
                <p:tags r:id="rId45"/>
              </p:custDataLst>
            </p:nvPr>
          </p:nvSpPr>
          <p:spPr bwMode="gray">
            <a:xfrm>
              <a:off x="2880789" y="2329745"/>
              <a:ext cx="123209" cy="70035"/>
            </a:xfrm>
            <a:custGeom>
              <a:avLst/>
              <a:gdLst>
                <a:gd name="T0" fmla="*/ 3 w 151"/>
                <a:gd name="T1" fmla="*/ 27 h 91"/>
                <a:gd name="T2" fmla="*/ 17 w 151"/>
                <a:gd name="T3" fmla="*/ 69 h 91"/>
                <a:gd name="T4" fmla="*/ 39 w 151"/>
                <a:gd name="T5" fmla="*/ 89 h 91"/>
                <a:gd name="T6" fmla="*/ 52 w 151"/>
                <a:gd name="T7" fmla="*/ 84 h 91"/>
                <a:gd name="T8" fmla="*/ 84 w 151"/>
                <a:gd name="T9" fmla="*/ 71 h 91"/>
                <a:gd name="T10" fmla="*/ 108 w 151"/>
                <a:gd name="T11" fmla="*/ 60 h 91"/>
                <a:gd name="T12" fmla="*/ 129 w 151"/>
                <a:gd name="T13" fmla="*/ 53 h 91"/>
                <a:gd name="T14" fmla="*/ 138 w 151"/>
                <a:gd name="T15" fmla="*/ 41 h 91"/>
                <a:gd name="T16" fmla="*/ 148 w 151"/>
                <a:gd name="T17" fmla="*/ 24 h 91"/>
                <a:gd name="T18" fmla="*/ 129 w 151"/>
                <a:gd name="T19" fmla="*/ 0 h 91"/>
                <a:gd name="T20" fmla="*/ 115 w 151"/>
                <a:gd name="T21" fmla="*/ 2 h 91"/>
                <a:gd name="T22" fmla="*/ 88 w 151"/>
                <a:gd name="T23" fmla="*/ 3 h 91"/>
                <a:gd name="T24" fmla="*/ 73 w 151"/>
                <a:gd name="T25" fmla="*/ 6 h 91"/>
                <a:gd name="T26" fmla="*/ 54 w 151"/>
                <a:gd name="T27" fmla="*/ 41 h 91"/>
                <a:gd name="T28" fmla="*/ 40 w 151"/>
                <a:gd name="T29" fmla="*/ 33 h 91"/>
                <a:gd name="T30" fmla="*/ 22 w 151"/>
                <a:gd name="T31" fmla="*/ 26 h 91"/>
                <a:gd name="T32" fmla="*/ 10 w 151"/>
                <a:gd name="T33" fmla="*/ 24 h 91"/>
                <a:gd name="T34" fmla="*/ 3 w 151"/>
                <a:gd name="T35" fmla="*/ 27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1" h="91">
                  <a:moveTo>
                    <a:pt x="3" y="27"/>
                  </a:moveTo>
                  <a:cubicBezTo>
                    <a:pt x="0" y="42"/>
                    <a:pt x="12" y="55"/>
                    <a:pt x="17" y="69"/>
                  </a:cubicBezTo>
                  <a:cubicBezTo>
                    <a:pt x="17" y="79"/>
                    <a:pt x="33" y="87"/>
                    <a:pt x="39" y="89"/>
                  </a:cubicBezTo>
                  <a:cubicBezTo>
                    <a:pt x="45" y="91"/>
                    <a:pt x="45" y="87"/>
                    <a:pt x="52" y="84"/>
                  </a:cubicBezTo>
                  <a:cubicBezTo>
                    <a:pt x="68" y="74"/>
                    <a:pt x="60" y="76"/>
                    <a:pt x="84" y="71"/>
                  </a:cubicBezTo>
                  <a:cubicBezTo>
                    <a:pt x="90" y="61"/>
                    <a:pt x="97" y="62"/>
                    <a:pt x="108" y="60"/>
                  </a:cubicBezTo>
                  <a:cubicBezTo>
                    <a:pt x="114" y="56"/>
                    <a:pt x="122" y="54"/>
                    <a:pt x="129" y="53"/>
                  </a:cubicBezTo>
                  <a:cubicBezTo>
                    <a:pt x="134" y="49"/>
                    <a:pt x="135" y="46"/>
                    <a:pt x="138" y="41"/>
                  </a:cubicBezTo>
                  <a:cubicBezTo>
                    <a:pt x="140" y="31"/>
                    <a:pt x="151" y="35"/>
                    <a:pt x="148" y="24"/>
                  </a:cubicBezTo>
                  <a:cubicBezTo>
                    <a:pt x="147" y="14"/>
                    <a:pt x="139" y="5"/>
                    <a:pt x="129" y="0"/>
                  </a:cubicBezTo>
                  <a:cubicBezTo>
                    <a:pt x="124" y="1"/>
                    <a:pt x="120" y="2"/>
                    <a:pt x="115" y="2"/>
                  </a:cubicBezTo>
                  <a:cubicBezTo>
                    <a:pt x="106" y="3"/>
                    <a:pt x="97" y="2"/>
                    <a:pt x="88" y="3"/>
                  </a:cubicBezTo>
                  <a:cubicBezTo>
                    <a:pt x="83" y="3"/>
                    <a:pt x="73" y="6"/>
                    <a:pt x="73" y="6"/>
                  </a:cubicBezTo>
                  <a:cubicBezTo>
                    <a:pt x="67" y="16"/>
                    <a:pt x="64" y="33"/>
                    <a:pt x="54" y="41"/>
                  </a:cubicBezTo>
                  <a:cubicBezTo>
                    <a:pt x="48" y="40"/>
                    <a:pt x="45" y="35"/>
                    <a:pt x="40" y="33"/>
                  </a:cubicBezTo>
                  <a:cubicBezTo>
                    <a:pt x="36" y="32"/>
                    <a:pt x="22" y="26"/>
                    <a:pt x="22" y="26"/>
                  </a:cubicBezTo>
                  <a:cubicBezTo>
                    <a:pt x="17" y="17"/>
                    <a:pt x="19" y="22"/>
                    <a:pt x="10" y="24"/>
                  </a:cubicBezTo>
                  <a:cubicBezTo>
                    <a:pt x="5" y="26"/>
                    <a:pt x="7" y="26"/>
                    <a:pt x="3" y="27"/>
                  </a:cubicBezTo>
                  <a:close/>
                </a:path>
              </a:pathLst>
            </a:custGeom>
            <a:solidFill>
              <a:schemeClr val="bg1">
                <a:lumMod val="85000"/>
              </a:schemeClr>
            </a:solidFill>
            <a:ln w="9525" cap="flat" cmpd="sng">
              <a:solidFill>
                <a:schemeClr val="bg1"/>
              </a:solidFill>
              <a:prstDash val="solid"/>
              <a:round/>
              <a:headEnd type="none" w="med" len="med"/>
              <a:tailEnd type="none" w="med" len="med"/>
            </a:ln>
            <a:effectLst/>
            <a:extLst/>
          </p:spPr>
          <p:txBody>
            <a:bodyPr>
              <a:noAutofit/>
            </a:bodyPr>
            <a:lstStyle/>
            <a:p>
              <a:pPr fontAlgn="auto">
                <a:spcBef>
                  <a:spcPts val="0"/>
                </a:spcBef>
                <a:spcAft>
                  <a:spcPts val="0"/>
                </a:spcAft>
                <a:defRPr/>
              </a:pPr>
              <a:endParaRPr lang="en-CA" kern="0">
                <a:solidFill>
                  <a:sysClr val="windowText" lastClr="000000"/>
                </a:solidFill>
              </a:endParaRPr>
            </a:p>
          </p:txBody>
        </p:sp>
        <p:sp>
          <p:nvSpPr>
            <p:cNvPr id="369" name="Freeform 39"/>
            <p:cNvSpPr>
              <a:spLocks/>
            </p:cNvSpPr>
            <p:nvPr>
              <p:custDataLst>
                <p:tags r:id="rId46"/>
              </p:custDataLst>
            </p:nvPr>
          </p:nvSpPr>
          <p:spPr bwMode="gray">
            <a:xfrm>
              <a:off x="2800784" y="2335901"/>
              <a:ext cx="84806" cy="80038"/>
            </a:xfrm>
            <a:custGeom>
              <a:avLst/>
              <a:gdLst>
                <a:gd name="T0" fmla="*/ 31 w 106"/>
                <a:gd name="T1" fmla="*/ 0 h 104"/>
                <a:gd name="T2" fmla="*/ 55 w 106"/>
                <a:gd name="T3" fmla="*/ 18 h 104"/>
                <a:gd name="T4" fmla="*/ 87 w 106"/>
                <a:gd name="T5" fmla="*/ 46 h 104"/>
                <a:gd name="T6" fmla="*/ 105 w 106"/>
                <a:gd name="T7" fmla="*/ 96 h 104"/>
                <a:gd name="T8" fmla="*/ 90 w 106"/>
                <a:gd name="T9" fmla="*/ 100 h 104"/>
                <a:gd name="T10" fmla="*/ 80 w 106"/>
                <a:gd name="T11" fmla="*/ 91 h 104"/>
                <a:gd name="T12" fmla="*/ 83 w 106"/>
                <a:gd name="T13" fmla="*/ 78 h 104"/>
                <a:gd name="T14" fmla="*/ 77 w 106"/>
                <a:gd name="T15" fmla="*/ 54 h 104"/>
                <a:gd name="T16" fmla="*/ 12 w 106"/>
                <a:gd name="T17" fmla="*/ 54 h 104"/>
                <a:gd name="T18" fmla="*/ 7 w 106"/>
                <a:gd name="T19" fmla="*/ 30 h 104"/>
                <a:gd name="T20" fmla="*/ 31 w 106"/>
                <a:gd name="T21"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6" h="104">
                  <a:moveTo>
                    <a:pt x="31" y="0"/>
                  </a:moveTo>
                  <a:cubicBezTo>
                    <a:pt x="52" y="2"/>
                    <a:pt x="35" y="13"/>
                    <a:pt x="55" y="18"/>
                  </a:cubicBezTo>
                  <a:cubicBezTo>
                    <a:pt x="62" y="26"/>
                    <a:pt x="80" y="36"/>
                    <a:pt x="87" y="46"/>
                  </a:cubicBezTo>
                  <a:cubicBezTo>
                    <a:pt x="95" y="59"/>
                    <a:pt x="104" y="87"/>
                    <a:pt x="105" y="96"/>
                  </a:cubicBezTo>
                  <a:cubicBezTo>
                    <a:pt x="106" y="104"/>
                    <a:pt x="94" y="101"/>
                    <a:pt x="90" y="100"/>
                  </a:cubicBezTo>
                  <a:cubicBezTo>
                    <a:pt x="86" y="99"/>
                    <a:pt x="81" y="95"/>
                    <a:pt x="80" y="91"/>
                  </a:cubicBezTo>
                  <a:cubicBezTo>
                    <a:pt x="79" y="87"/>
                    <a:pt x="83" y="84"/>
                    <a:pt x="83" y="78"/>
                  </a:cubicBezTo>
                  <a:cubicBezTo>
                    <a:pt x="83" y="72"/>
                    <a:pt x="89" y="58"/>
                    <a:pt x="77" y="54"/>
                  </a:cubicBezTo>
                  <a:cubicBezTo>
                    <a:pt x="56" y="65"/>
                    <a:pt x="36" y="59"/>
                    <a:pt x="12" y="54"/>
                  </a:cubicBezTo>
                  <a:cubicBezTo>
                    <a:pt x="0" y="51"/>
                    <a:pt x="4" y="39"/>
                    <a:pt x="7" y="30"/>
                  </a:cubicBezTo>
                  <a:cubicBezTo>
                    <a:pt x="10" y="21"/>
                    <a:pt x="26" y="6"/>
                    <a:pt x="31" y="0"/>
                  </a:cubicBezTo>
                  <a:close/>
                </a:path>
              </a:pathLst>
            </a:custGeom>
            <a:solidFill>
              <a:schemeClr val="bg1">
                <a:lumMod val="85000"/>
              </a:schemeClr>
            </a:solidFill>
            <a:ln w="9525" cap="flat" cmpd="sng">
              <a:solidFill>
                <a:schemeClr val="bg1"/>
              </a:solidFill>
              <a:prstDash val="solid"/>
              <a:round/>
              <a:headEnd type="none" w="med" len="med"/>
              <a:tailEnd type="none" w="med" len="med"/>
            </a:ln>
            <a:effectLst/>
            <a:extLst/>
          </p:spPr>
          <p:txBody>
            <a:bodyPr>
              <a:noAutofit/>
            </a:bodyPr>
            <a:lstStyle/>
            <a:p>
              <a:pPr fontAlgn="auto">
                <a:spcBef>
                  <a:spcPts val="0"/>
                </a:spcBef>
                <a:spcAft>
                  <a:spcPts val="0"/>
                </a:spcAft>
                <a:defRPr/>
              </a:pPr>
              <a:endParaRPr lang="en-CA" kern="0">
                <a:solidFill>
                  <a:sysClr val="windowText" lastClr="000000"/>
                </a:solidFill>
              </a:endParaRPr>
            </a:p>
          </p:txBody>
        </p:sp>
        <p:sp>
          <p:nvSpPr>
            <p:cNvPr id="370" name="Freeform 40"/>
            <p:cNvSpPr>
              <a:spLocks/>
            </p:cNvSpPr>
            <p:nvPr>
              <p:custDataLst>
                <p:tags r:id="rId47"/>
              </p:custDataLst>
            </p:nvPr>
          </p:nvSpPr>
          <p:spPr bwMode="gray">
            <a:xfrm>
              <a:off x="2163142" y="2230467"/>
              <a:ext cx="148010" cy="146225"/>
            </a:xfrm>
            <a:custGeom>
              <a:avLst/>
              <a:gdLst>
                <a:gd name="T0" fmla="*/ 176 w 182"/>
                <a:gd name="T1" fmla="*/ 26 h 190"/>
                <a:gd name="T2" fmla="*/ 156 w 182"/>
                <a:gd name="T3" fmla="*/ 28 h 190"/>
                <a:gd name="T4" fmla="*/ 156 w 182"/>
                <a:gd name="T5" fmla="*/ 82 h 190"/>
                <a:gd name="T6" fmla="*/ 166 w 182"/>
                <a:gd name="T7" fmla="*/ 174 h 190"/>
                <a:gd name="T8" fmla="*/ 62 w 182"/>
                <a:gd name="T9" fmla="*/ 178 h 190"/>
                <a:gd name="T10" fmla="*/ 29 w 182"/>
                <a:gd name="T11" fmla="*/ 161 h 190"/>
                <a:gd name="T12" fmla="*/ 6 w 182"/>
                <a:gd name="T13" fmla="*/ 160 h 190"/>
                <a:gd name="T14" fmla="*/ 6 w 182"/>
                <a:gd name="T15" fmla="*/ 128 h 190"/>
                <a:gd name="T16" fmla="*/ 0 w 182"/>
                <a:gd name="T17" fmla="*/ 104 h 190"/>
                <a:gd name="T18" fmla="*/ 56 w 182"/>
                <a:gd name="T19" fmla="*/ 84 h 190"/>
                <a:gd name="T20" fmla="*/ 54 w 182"/>
                <a:gd name="T21" fmla="*/ 62 h 190"/>
                <a:gd name="T22" fmla="*/ 72 w 182"/>
                <a:gd name="T23" fmla="*/ 48 h 190"/>
                <a:gd name="T24" fmla="*/ 74 w 182"/>
                <a:gd name="T25" fmla="*/ 12 h 190"/>
                <a:gd name="T26" fmla="*/ 118 w 182"/>
                <a:gd name="T27" fmla="*/ 12 h 190"/>
                <a:gd name="T28" fmla="*/ 134 w 182"/>
                <a:gd name="T29" fmla="*/ 0 h 190"/>
                <a:gd name="T30" fmla="*/ 158 w 182"/>
                <a:gd name="T31" fmla="*/ 14 h 190"/>
                <a:gd name="T32" fmla="*/ 176 w 182"/>
                <a:gd name="T33" fmla="*/ 26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82" h="190">
                  <a:moveTo>
                    <a:pt x="176" y="26"/>
                  </a:moveTo>
                  <a:cubicBezTo>
                    <a:pt x="169" y="27"/>
                    <a:pt x="162" y="26"/>
                    <a:pt x="156" y="28"/>
                  </a:cubicBezTo>
                  <a:cubicBezTo>
                    <a:pt x="139" y="34"/>
                    <a:pt x="155" y="64"/>
                    <a:pt x="156" y="82"/>
                  </a:cubicBezTo>
                  <a:cubicBezTo>
                    <a:pt x="150" y="98"/>
                    <a:pt x="182" y="158"/>
                    <a:pt x="166" y="174"/>
                  </a:cubicBezTo>
                  <a:cubicBezTo>
                    <a:pt x="150" y="190"/>
                    <a:pt x="85" y="180"/>
                    <a:pt x="62" y="178"/>
                  </a:cubicBezTo>
                  <a:cubicBezTo>
                    <a:pt x="52" y="175"/>
                    <a:pt x="41" y="162"/>
                    <a:pt x="29" y="161"/>
                  </a:cubicBezTo>
                  <a:cubicBezTo>
                    <a:pt x="20" y="160"/>
                    <a:pt x="15" y="161"/>
                    <a:pt x="6" y="160"/>
                  </a:cubicBezTo>
                  <a:cubicBezTo>
                    <a:pt x="8" y="144"/>
                    <a:pt x="11" y="143"/>
                    <a:pt x="6" y="128"/>
                  </a:cubicBezTo>
                  <a:cubicBezTo>
                    <a:pt x="3" y="120"/>
                    <a:pt x="0" y="104"/>
                    <a:pt x="0" y="104"/>
                  </a:cubicBezTo>
                  <a:cubicBezTo>
                    <a:pt x="4" y="75"/>
                    <a:pt x="19" y="87"/>
                    <a:pt x="56" y="84"/>
                  </a:cubicBezTo>
                  <a:cubicBezTo>
                    <a:pt x="61" y="74"/>
                    <a:pt x="60" y="71"/>
                    <a:pt x="54" y="62"/>
                  </a:cubicBezTo>
                  <a:cubicBezTo>
                    <a:pt x="57" y="50"/>
                    <a:pt x="60" y="50"/>
                    <a:pt x="72" y="48"/>
                  </a:cubicBezTo>
                  <a:cubicBezTo>
                    <a:pt x="73" y="36"/>
                    <a:pt x="65" y="19"/>
                    <a:pt x="74" y="12"/>
                  </a:cubicBezTo>
                  <a:cubicBezTo>
                    <a:pt x="81" y="4"/>
                    <a:pt x="104" y="12"/>
                    <a:pt x="118" y="12"/>
                  </a:cubicBezTo>
                  <a:cubicBezTo>
                    <a:pt x="128" y="10"/>
                    <a:pt x="127" y="0"/>
                    <a:pt x="134" y="0"/>
                  </a:cubicBezTo>
                  <a:cubicBezTo>
                    <a:pt x="141" y="0"/>
                    <a:pt x="151" y="10"/>
                    <a:pt x="158" y="14"/>
                  </a:cubicBezTo>
                  <a:cubicBezTo>
                    <a:pt x="163" y="22"/>
                    <a:pt x="167" y="24"/>
                    <a:pt x="176" y="26"/>
                  </a:cubicBezTo>
                  <a:close/>
                </a:path>
              </a:pathLst>
            </a:custGeom>
            <a:solidFill>
              <a:schemeClr val="bg1">
                <a:lumMod val="85000"/>
              </a:schemeClr>
            </a:solidFill>
            <a:ln w="9525" cap="flat" cmpd="sng">
              <a:solidFill>
                <a:schemeClr val="bg1"/>
              </a:solidFill>
              <a:prstDash val="solid"/>
              <a:round/>
              <a:headEnd type="none" w="med" len="med"/>
              <a:tailEnd type="none" w="med" len="med"/>
            </a:ln>
            <a:effectLst/>
            <a:extLst/>
          </p:spPr>
          <p:txBody>
            <a:bodyPr>
              <a:noAutofit/>
            </a:bodyPr>
            <a:lstStyle/>
            <a:p>
              <a:pPr fontAlgn="auto">
                <a:spcBef>
                  <a:spcPts val="0"/>
                </a:spcBef>
                <a:spcAft>
                  <a:spcPts val="0"/>
                </a:spcAft>
                <a:defRPr/>
              </a:pPr>
              <a:endParaRPr lang="en-CA" kern="0">
                <a:solidFill>
                  <a:sysClr val="windowText" lastClr="000000"/>
                </a:solidFill>
              </a:endParaRPr>
            </a:p>
          </p:txBody>
        </p:sp>
        <p:sp>
          <p:nvSpPr>
            <p:cNvPr id="371" name="Freeform 41"/>
            <p:cNvSpPr>
              <a:spLocks/>
            </p:cNvSpPr>
            <p:nvPr>
              <p:custDataLst>
                <p:tags r:id="rId48"/>
              </p:custDataLst>
            </p:nvPr>
          </p:nvSpPr>
          <p:spPr bwMode="gray">
            <a:xfrm>
              <a:off x="2988796" y="2252785"/>
              <a:ext cx="96006" cy="100817"/>
            </a:xfrm>
            <a:custGeom>
              <a:avLst/>
              <a:gdLst>
                <a:gd name="T0" fmla="*/ 53 w 120"/>
                <a:gd name="T1" fmla="*/ 37 h 131"/>
                <a:gd name="T2" fmla="*/ 69 w 120"/>
                <a:gd name="T3" fmla="*/ 0 h 131"/>
                <a:gd name="T4" fmla="*/ 113 w 120"/>
                <a:gd name="T5" fmla="*/ 22 h 131"/>
                <a:gd name="T6" fmla="*/ 120 w 120"/>
                <a:gd name="T7" fmla="*/ 40 h 131"/>
                <a:gd name="T8" fmla="*/ 111 w 120"/>
                <a:gd name="T9" fmla="*/ 64 h 131"/>
                <a:gd name="T10" fmla="*/ 90 w 120"/>
                <a:gd name="T11" fmla="*/ 75 h 131"/>
                <a:gd name="T12" fmla="*/ 75 w 120"/>
                <a:gd name="T13" fmla="*/ 99 h 131"/>
                <a:gd name="T14" fmla="*/ 51 w 120"/>
                <a:gd name="T15" fmla="*/ 118 h 131"/>
                <a:gd name="T16" fmla="*/ 30 w 120"/>
                <a:gd name="T17" fmla="*/ 127 h 131"/>
                <a:gd name="T18" fmla="*/ 14 w 120"/>
                <a:gd name="T19" fmla="*/ 120 h 131"/>
                <a:gd name="T20" fmla="*/ 3 w 120"/>
                <a:gd name="T21" fmla="*/ 102 h 131"/>
                <a:gd name="T22" fmla="*/ 26 w 120"/>
                <a:gd name="T23" fmla="*/ 88 h 131"/>
                <a:gd name="T24" fmla="*/ 41 w 120"/>
                <a:gd name="T25" fmla="*/ 75 h 131"/>
                <a:gd name="T26" fmla="*/ 53 w 120"/>
                <a:gd name="T27" fmla="*/ 37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0" h="131">
                  <a:moveTo>
                    <a:pt x="53" y="37"/>
                  </a:moveTo>
                  <a:cubicBezTo>
                    <a:pt x="55" y="24"/>
                    <a:pt x="58" y="9"/>
                    <a:pt x="69" y="0"/>
                  </a:cubicBezTo>
                  <a:cubicBezTo>
                    <a:pt x="76" y="20"/>
                    <a:pt x="95" y="19"/>
                    <a:pt x="113" y="22"/>
                  </a:cubicBezTo>
                  <a:cubicBezTo>
                    <a:pt x="114" y="31"/>
                    <a:pt x="115" y="33"/>
                    <a:pt x="120" y="40"/>
                  </a:cubicBezTo>
                  <a:cubicBezTo>
                    <a:pt x="119" y="51"/>
                    <a:pt x="117" y="55"/>
                    <a:pt x="111" y="64"/>
                  </a:cubicBezTo>
                  <a:cubicBezTo>
                    <a:pt x="109" y="74"/>
                    <a:pt x="99" y="73"/>
                    <a:pt x="90" y="75"/>
                  </a:cubicBezTo>
                  <a:cubicBezTo>
                    <a:pt x="87" y="91"/>
                    <a:pt x="93" y="96"/>
                    <a:pt x="75" y="99"/>
                  </a:cubicBezTo>
                  <a:cubicBezTo>
                    <a:pt x="74" y="108"/>
                    <a:pt x="61" y="116"/>
                    <a:pt x="51" y="118"/>
                  </a:cubicBezTo>
                  <a:cubicBezTo>
                    <a:pt x="43" y="122"/>
                    <a:pt x="39" y="126"/>
                    <a:pt x="30" y="127"/>
                  </a:cubicBezTo>
                  <a:cubicBezTo>
                    <a:pt x="22" y="131"/>
                    <a:pt x="20" y="124"/>
                    <a:pt x="14" y="120"/>
                  </a:cubicBezTo>
                  <a:cubicBezTo>
                    <a:pt x="10" y="113"/>
                    <a:pt x="7" y="109"/>
                    <a:pt x="3" y="102"/>
                  </a:cubicBezTo>
                  <a:cubicBezTo>
                    <a:pt x="0" y="88"/>
                    <a:pt x="16" y="89"/>
                    <a:pt x="26" y="88"/>
                  </a:cubicBezTo>
                  <a:cubicBezTo>
                    <a:pt x="32" y="83"/>
                    <a:pt x="33" y="77"/>
                    <a:pt x="41" y="75"/>
                  </a:cubicBezTo>
                  <a:cubicBezTo>
                    <a:pt x="56" y="64"/>
                    <a:pt x="54" y="59"/>
                    <a:pt x="53" y="37"/>
                  </a:cubicBezTo>
                  <a:close/>
                </a:path>
              </a:pathLst>
            </a:custGeom>
            <a:solidFill>
              <a:schemeClr val="bg1">
                <a:lumMod val="85000"/>
              </a:schemeClr>
            </a:solidFill>
            <a:ln w="9525" cap="flat" cmpd="sng">
              <a:solidFill>
                <a:schemeClr val="bg1"/>
              </a:solidFill>
              <a:prstDash val="solid"/>
              <a:round/>
              <a:headEnd type="none" w="med" len="med"/>
              <a:tailEnd type="none" w="med" len="med"/>
            </a:ln>
            <a:effectLst/>
            <a:extLst/>
          </p:spPr>
          <p:txBody>
            <a:bodyPr>
              <a:noAutofit/>
            </a:bodyPr>
            <a:lstStyle/>
            <a:p>
              <a:pPr fontAlgn="auto">
                <a:spcBef>
                  <a:spcPts val="0"/>
                </a:spcBef>
                <a:spcAft>
                  <a:spcPts val="0"/>
                </a:spcAft>
                <a:defRPr/>
              </a:pPr>
              <a:endParaRPr lang="en-CA" kern="0">
                <a:solidFill>
                  <a:sysClr val="windowText" lastClr="000000"/>
                </a:solidFill>
              </a:endParaRPr>
            </a:p>
          </p:txBody>
        </p:sp>
        <p:sp>
          <p:nvSpPr>
            <p:cNvPr id="372" name="Freeform 42"/>
            <p:cNvSpPr>
              <a:spLocks/>
            </p:cNvSpPr>
            <p:nvPr>
              <p:custDataLst>
                <p:tags r:id="rId49"/>
              </p:custDataLst>
            </p:nvPr>
          </p:nvSpPr>
          <p:spPr bwMode="gray">
            <a:xfrm>
              <a:off x="2983196" y="2228158"/>
              <a:ext cx="63204" cy="56181"/>
            </a:xfrm>
            <a:custGeom>
              <a:avLst/>
              <a:gdLst>
                <a:gd name="T0" fmla="*/ 7 w 78"/>
                <a:gd name="T1" fmla="*/ 44 h 73"/>
                <a:gd name="T2" fmla="*/ 43 w 78"/>
                <a:gd name="T3" fmla="*/ 39 h 73"/>
                <a:gd name="T4" fmla="*/ 59 w 78"/>
                <a:gd name="T5" fmla="*/ 18 h 73"/>
                <a:gd name="T6" fmla="*/ 74 w 78"/>
                <a:gd name="T7" fmla="*/ 0 h 73"/>
                <a:gd name="T8" fmla="*/ 76 w 78"/>
                <a:gd name="T9" fmla="*/ 32 h 73"/>
                <a:gd name="T10" fmla="*/ 67 w 78"/>
                <a:gd name="T11" fmla="*/ 38 h 73"/>
                <a:gd name="T12" fmla="*/ 64 w 78"/>
                <a:gd name="T13" fmla="*/ 54 h 73"/>
                <a:gd name="T14" fmla="*/ 53 w 78"/>
                <a:gd name="T15" fmla="*/ 69 h 73"/>
                <a:gd name="T16" fmla="*/ 14 w 78"/>
                <a:gd name="T17" fmla="*/ 66 h 73"/>
                <a:gd name="T18" fmla="*/ 5 w 78"/>
                <a:gd name="T19" fmla="*/ 57 h 73"/>
                <a:gd name="T20" fmla="*/ 4 w 78"/>
                <a:gd name="T21" fmla="*/ 47 h 73"/>
                <a:gd name="T22" fmla="*/ 7 w 78"/>
                <a:gd name="T23" fmla="*/ 44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8" h="73">
                  <a:moveTo>
                    <a:pt x="7" y="44"/>
                  </a:moveTo>
                  <a:cubicBezTo>
                    <a:pt x="21" y="34"/>
                    <a:pt x="3" y="46"/>
                    <a:pt x="43" y="39"/>
                  </a:cubicBezTo>
                  <a:cubicBezTo>
                    <a:pt x="47" y="38"/>
                    <a:pt x="55" y="21"/>
                    <a:pt x="59" y="18"/>
                  </a:cubicBezTo>
                  <a:cubicBezTo>
                    <a:pt x="65" y="19"/>
                    <a:pt x="76" y="3"/>
                    <a:pt x="74" y="0"/>
                  </a:cubicBezTo>
                  <a:cubicBezTo>
                    <a:pt x="75" y="1"/>
                    <a:pt x="76" y="31"/>
                    <a:pt x="76" y="32"/>
                  </a:cubicBezTo>
                  <a:cubicBezTo>
                    <a:pt x="72" y="48"/>
                    <a:pt x="78" y="36"/>
                    <a:pt x="67" y="38"/>
                  </a:cubicBezTo>
                  <a:cubicBezTo>
                    <a:pt x="65" y="42"/>
                    <a:pt x="66" y="49"/>
                    <a:pt x="64" y="54"/>
                  </a:cubicBezTo>
                  <a:cubicBezTo>
                    <a:pt x="62" y="59"/>
                    <a:pt x="61" y="67"/>
                    <a:pt x="53" y="69"/>
                  </a:cubicBezTo>
                  <a:cubicBezTo>
                    <a:pt x="45" y="73"/>
                    <a:pt x="22" y="68"/>
                    <a:pt x="14" y="66"/>
                  </a:cubicBezTo>
                  <a:cubicBezTo>
                    <a:pt x="6" y="64"/>
                    <a:pt x="7" y="60"/>
                    <a:pt x="5" y="57"/>
                  </a:cubicBezTo>
                  <a:cubicBezTo>
                    <a:pt x="3" y="53"/>
                    <a:pt x="0" y="51"/>
                    <a:pt x="4" y="47"/>
                  </a:cubicBezTo>
                  <a:cubicBezTo>
                    <a:pt x="7" y="44"/>
                    <a:pt x="9" y="46"/>
                    <a:pt x="7" y="44"/>
                  </a:cubicBezTo>
                  <a:close/>
                </a:path>
              </a:pathLst>
            </a:custGeom>
            <a:solidFill>
              <a:schemeClr val="accent1"/>
            </a:solidFill>
            <a:ln w="9525" cap="flat" cmpd="sng">
              <a:solidFill>
                <a:schemeClr val="bg1"/>
              </a:solidFill>
              <a:prstDash val="solid"/>
              <a:round/>
              <a:headEnd type="none" w="med" len="med"/>
              <a:tailEnd type="none" w="med" len="med"/>
            </a:ln>
            <a:effectLst/>
            <a:extLst/>
          </p:spPr>
          <p:txBody>
            <a:bodyPr>
              <a:noAutofit/>
            </a:bodyPr>
            <a:lstStyle/>
            <a:p>
              <a:pPr fontAlgn="auto">
                <a:spcBef>
                  <a:spcPts val="0"/>
                </a:spcBef>
                <a:spcAft>
                  <a:spcPts val="0"/>
                </a:spcAft>
                <a:defRPr/>
              </a:pPr>
              <a:endParaRPr lang="en-CA" kern="0">
                <a:solidFill>
                  <a:sysClr val="windowText" lastClr="000000"/>
                </a:solidFill>
              </a:endParaRPr>
            </a:p>
          </p:txBody>
        </p:sp>
        <p:sp>
          <p:nvSpPr>
            <p:cNvPr id="373" name="Freeform 43"/>
            <p:cNvSpPr>
              <a:spLocks/>
            </p:cNvSpPr>
            <p:nvPr>
              <p:custDataLst>
                <p:tags r:id="rId50"/>
              </p:custDataLst>
            </p:nvPr>
          </p:nvSpPr>
          <p:spPr bwMode="gray">
            <a:xfrm>
              <a:off x="2967195" y="2235084"/>
              <a:ext cx="24802" cy="24627"/>
            </a:xfrm>
            <a:custGeom>
              <a:avLst/>
              <a:gdLst>
                <a:gd name="T0" fmla="*/ 11 w 30"/>
                <a:gd name="T1" fmla="*/ 9 h 32"/>
                <a:gd name="T2" fmla="*/ 24 w 30"/>
                <a:gd name="T3" fmla="*/ 0 h 32"/>
                <a:gd name="T4" fmla="*/ 15 w 30"/>
                <a:gd name="T5" fmla="*/ 20 h 32"/>
                <a:gd name="T6" fmla="*/ 11 w 30"/>
                <a:gd name="T7" fmla="*/ 9 h 32"/>
              </a:gdLst>
              <a:ahLst/>
              <a:cxnLst>
                <a:cxn ang="0">
                  <a:pos x="T0" y="T1"/>
                </a:cxn>
                <a:cxn ang="0">
                  <a:pos x="T2" y="T3"/>
                </a:cxn>
                <a:cxn ang="0">
                  <a:pos x="T4" y="T5"/>
                </a:cxn>
                <a:cxn ang="0">
                  <a:pos x="T6" y="T7"/>
                </a:cxn>
              </a:cxnLst>
              <a:rect l="0" t="0" r="r" b="b"/>
              <a:pathLst>
                <a:path w="30" h="32">
                  <a:moveTo>
                    <a:pt x="11" y="9"/>
                  </a:moveTo>
                  <a:cubicBezTo>
                    <a:pt x="12" y="0"/>
                    <a:pt x="16" y="3"/>
                    <a:pt x="24" y="0"/>
                  </a:cubicBezTo>
                  <a:cubicBezTo>
                    <a:pt x="29" y="13"/>
                    <a:pt x="30" y="32"/>
                    <a:pt x="15" y="20"/>
                  </a:cubicBezTo>
                  <a:cubicBezTo>
                    <a:pt x="11" y="14"/>
                    <a:pt x="0" y="7"/>
                    <a:pt x="11" y="9"/>
                  </a:cubicBezTo>
                  <a:close/>
                </a:path>
              </a:pathLst>
            </a:custGeom>
            <a:solidFill>
              <a:schemeClr val="accent1"/>
            </a:solidFill>
            <a:ln w="9525" cap="flat" cmpd="sng">
              <a:solidFill>
                <a:schemeClr val="bg1"/>
              </a:solidFill>
              <a:prstDash val="solid"/>
              <a:round/>
              <a:headEnd type="none" w="med" len="med"/>
              <a:tailEnd type="none" w="med" len="med"/>
            </a:ln>
            <a:effectLst/>
            <a:extLst/>
          </p:spPr>
          <p:txBody>
            <a:bodyPr>
              <a:noAutofit/>
            </a:bodyPr>
            <a:lstStyle/>
            <a:p>
              <a:pPr fontAlgn="auto">
                <a:spcBef>
                  <a:spcPts val="0"/>
                </a:spcBef>
                <a:spcAft>
                  <a:spcPts val="0"/>
                </a:spcAft>
                <a:defRPr/>
              </a:pPr>
              <a:endParaRPr lang="en-CA" kern="0">
                <a:solidFill>
                  <a:sysClr val="windowText" lastClr="000000"/>
                </a:solidFill>
              </a:endParaRPr>
            </a:p>
          </p:txBody>
        </p:sp>
        <p:sp>
          <p:nvSpPr>
            <p:cNvPr id="374" name="Freeform 45"/>
            <p:cNvSpPr>
              <a:spLocks/>
            </p:cNvSpPr>
            <p:nvPr>
              <p:custDataLst>
                <p:tags r:id="rId51"/>
              </p:custDataLst>
            </p:nvPr>
          </p:nvSpPr>
          <p:spPr bwMode="gray">
            <a:xfrm>
              <a:off x="2507964" y="2610650"/>
              <a:ext cx="148810" cy="146225"/>
            </a:xfrm>
            <a:custGeom>
              <a:avLst/>
              <a:gdLst>
                <a:gd name="T0" fmla="*/ 0 w 183"/>
                <a:gd name="T1" fmla="*/ 174 h 190"/>
                <a:gd name="T2" fmla="*/ 10 w 183"/>
                <a:gd name="T3" fmla="*/ 129 h 190"/>
                <a:gd name="T4" fmla="*/ 15 w 183"/>
                <a:gd name="T5" fmla="*/ 112 h 190"/>
                <a:gd name="T6" fmla="*/ 28 w 183"/>
                <a:gd name="T7" fmla="*/ 97 h 190"/>
                <a:gd name="T8" fmla="*/ 22 w 183"/>
                <a:gd name="T9" fmla="*/ 69 h 190"/>
                <a:gd name="T10" fmla="*/ 22 w 183"/>
                <a:gd name="T11" fmla="*/ 34 h 190"/>
                <a:gd name="T12" fmla="*/ 12 w 183"/>
                <a:gd name="T13" fmla="*/ 16 h 190"/>
                <a:gd name="T14" fmla="*/ 30 w 183"/>
                <a:gd name="T15" fmla="*/ 4 h 190"/>
                <a:gd name="T16" fmla="*/ 60 w 183"/>
                <a:gd name="T17" fmla="*/ 1 h 190"/>
                <a:gd name="T18" fmla="*/ 70 w 183"/>
                <a:gd name="T19" fmla="*/ 3 h 190"/>
                <a:gd name="T20" fmla="*/ 79 w 183"/>
                <a:gd name="T21" fmla="*/ 28 h 190"/>
                <a:gd name="T22" fmla="*/ 103 w 183"/>
                <a:gd name="T23" fmla="*/ 31 h 190"/>
                <a:gd name="T24" fmla="*/ 123 w 183"/>
                <a:gd name="T25" fmla="*/ 25 h 190"/>
                <a:gd name="T26" fmla="*/ 144 w 183"/>
                <a:gd name="T27" fmla="*/ 30 h 190"/>
                <a:gd name="T28" fmla="*/ 151 w 183"/>
                <a:gd name="T29" fmla="*/ 42 h 190"/>
                <a:gd name="T30" fmla="*/ 150 w 183"/>
                <a:gd name="T31" fmla="*/ 58 h 190"/>
                <a:gd name="T32" fmla="*/ 157 w 183"/>
                <a:gd name="T33" fmla="*/ 78 h 190"/>
                <a:gd name="T34" fmla="*/ 180 w 183"/>
                <a:gd name="T35" fmla="*/ 81 h 190"/>
                <a:gd name="T36" fmla="*/ 175 w 183"/>
                <a:gd name="T37" fmla="*/ 103 h 190"/>
                <a:gd name="T38" fmla="*/ 151 w 183"/>
                <a:gd name="T39" fmla="*/ 109 h 190"/>
                <a:gd name="T40" fmla="*/ 145 w 183"/>
                <a:gd name="T41" fmla="*/ 139 h 190"/>
                <a:gd name="T42" fmla="*/ 151 w 183"/>
                <a:gd name="T43" fmla="*/ 178 h 190"/>
                <a:gd name="T44" fmla="*/ 97 w 183"/>
                <a:gd name="T45" fmla="*/ 180 h 190"/>
                <a:gd name="T46" fmla="*/ 37 w 183"/>
                <a:gd name="T47" fmla="*/ 183 h 190"/>
                <a:gd name="T48" fmla="*/ 0 w 183"/>
                <a:gd name="T49" fmla="*/ 174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83" h="190">
                  <a:moveTo>
                    <a:pt x="0" y="174"/>
                  </a:moveTo>
                  <a:cubicBezTo>
                    <a:pt x="1" y="156"/>
                    <a:pt x="0" y="143"/>
                    <a:pt x="10" y="129"/>
                  </a:cubicBezTo>
                  <a:cubicBezTo>
                    <a:pt x="8" y="120"/>
                    <a:pt x="6" y="118"/>
                    <a:pt x="15" y="112"/>
                  </a:cubicBezTo>
                  <a:cubicBezTo>
                    <a:pt x="19" y="107"/>
                    <a:pt x="23" y="101"/>
                    <a:pt x="28" y="97"/>
                  </a:cubicBezTo>
                  <a:cubicBezTo>
                    <a:pt x="26" y="87"/>
                    <a:pt x="28" y="77"/>
                    <a:pt x="22" y="69"/>
                  </a:cubicBezTo>
                  <a:cubicBezTo>
                    <a:pt x="20" y="57"/>
                    <a:pt x="20" y="47"/>
                    <a:pt x="22" y="34"/>
                  </a:cubicBezTo>
                  <a:cubicBezTo>
                    <a:pt x="17" y="28"/>
                    <a:pt x="19" y="21"/>
                    <a:pt x="12" y="16"/>
                  </a:cubicBezTo>
                  <a:cubicBezTo>
                    <a:pt x="13" y="10"/>
                    <a:pt x="22" y="6"/>
                    <a:pt x="30" y="4"/>
                  </a:cubicBezTo>
                  <a:cubicBezTo>
                    <a:pt x="38" y="2"/>
                    <a:pt x="53" y="1"/>
                    <a:pt x="60" y="1"/>
                  </a:cubicBezTo>
                  <a:cubicBezTo>
                    <a:pt x="63" y="2"/>
                    <a:pt x="68" y="0"/>
                    <a:pt x="70" y="3"/>
                  </a:cubicBezTo>
                  <a:cubicBezTo>
                    <a:pt x="73" y="6"/>
                    <a:pt x="74" y="23"/>
                    <a:pt x="79" y="28"/>
                  </a:cubicBezTo>
                  <a:cubicBezTo>
                    <a:pt x="84" y="33"/>
                    <a:pt x="96" y="32"/>
                    <a:pt x="103" y="31"/>
                  </a:cubicBezTo>
                  <a:cubicBezTo>
                    <a:pt x="118" y="29"/>
                    <a:pt x="112" y="33"/>
                    <a:pt x="123" y="25"/>
                  </a:cubicBezTo>
                  <a:cubicBezTo>
                    <a:pt x="133" y="26"/>
                    <a:pt x="139" y="21"/>
                    <a:pt x="144" y="30"/>
                  </a:cubicBezTo>
                  <a:cubicBezTo>
                    <a:pt x="149" y="34"/>
                    <a:pt x="150" y="37"/>
                    <a:pt x="151" y="42"/>
                  </a:cubicBezTo>
                  <a:cubicBezTo>
                    <a:pt x="152" y="47"/>
                    <a:pt x="149" y="52"/>
                    <a:pt x="150" y="58"/>
                  </a:cubicBezTo>
                  <a:cubicBezTo>
                    <a:pt x="153" y="65"/>
                    <a:pt x="152" y="74"/>
                    <a:pt x="157" y="78"/>
                  </a:cubicBezTo>
                  <a:cubicBezTo>
                    <a:pt x="162" y="82"/>
                    <a:pt x="177" y="77"/>
                    <a:pt x="180" y="81"/>
                  </a:cubicBezTo>
                  <a:cubicBezTo>
                    <a:pt x="183" y="85"/>
                    <a:pt x="180" y="98"/>
                    <a:pt x="175" y="103"/>
                  </a:cubicBezTo>
                  <a:cubicBezTo>
                    <a:pt x="168" y="107"/>
                    <a:pt x="159" y="108"/>
                    <a:pt x="151" y="109"/>
                  </a:cubicBezTo>
                  <a:cubicBezTo>
                    <a:pt x="146" y="115"/>
                    <a:pt x="145" y="128"/>
                    <a:pt x="145" y="139"/>
                  </a:cubicBezTo>
                  <a:cubicBezTo>
                    <a:pt x="145" y="150"/>
                    <a:pt x="159" y="171"/>
                    <a:pt x="151" y="178"/>
                  </a:cubicBezTo>
                  <a:cubicBezTo>
                    <a:pt x="143" y="190"/>
                    <a:pt x="118" y="179"/>
                    <a:pt x="97" y="180"/>
                  </a:cubicBezTo>
                  <a:cubicBezTo>
                    <a:pt x="77" y="170"/>
                    <a:pt x="59" y="185"/>
                    <a:pt x="37" y="183"/>
                  </a:cubicBezTo>
                  <a:cubicBezTo>
                    <a:pt x="19" y="176"/>
                    <a:pt x="31" y="167"/>
                    <a:pt x="0" y="174"/>
                  </a:cubicBezTo>
                  <a:close/>
                </a:path>
              </a:pathLst>
            </a:custGeom>
            <a:solidFill>
              <a:schemeClr val="bg1">
                <a:lumMod val="85000"/>
              </a:schemeClr>
            </a:solidFill>
            <a:ln w="9525" cap="flat" cmpd="sng">
              <a:solidFill>
                <a:schemeClr val="bg1"/>
              </a:solidFill>
              <a:prstDash val="solid"/>
              <a:round/>
              <a:headEnd type="none" w="med" len="med"/>
              <a:tailEnd type="none" w="med" len="med"/>
            </a:ln>
            <a:effectLst/>
            <a:extLst/>
          </p:spPr>
          <p:txBody>
            <a:bodyPr>
              <a:noAutofit/>
            </a:bodyPr>
            <a:lstStyle/>
            <a:p>
              <a:pPr fontAlgn="auto">
                <a:spcBef>
                  <a:spcPts val="0"/>
                </a:spcBef>
                <a:spcAft>
                  <a:spcPts val="0"/>
                </a:spcAft>
                <a:defRPr/>
              </a:pPr>
              <a:endParaRPr lang="en-CA" kern="0">
                <a:solidFill>
                  <a:sysClr val="windowText" lastClr="000000"/>
                </a:solidFill>
              </a:endParaRPr>
            </a:p>
          </p:txBody>
        </p:sp>
        <p:sp>
          <p:nvSpPr>
            <p:cNvPr id="375" name="Freeform 46"/>
            <p:cNvSpPr>
              <a:spLocks/>
            </p:cNvSpPr>
            <p:nvPr>
              <p:custDataLst>
                <p:tags r:id="rId52"/>
              </p:custDataLst>
            </p:nvPr>
          </p:nvSpPr>
          <p:spPr bwMode="gray">
            <a:xfrm>
              <a:off x="2471963" y="2412863"/>
              <a:ext cx="86406" cy="112362"/>
            </a:xfrm>
            <a:custGeom>
              <a:avLst/>
              <a:gdLst>
                <a:gd name="T0" fmla="*/ 17 w 106"/>
                <a:gd name="T1" fmla="*/ 143 h 146"/>
                <a:gd name="T2" fmla="*/ 6 w 106"/>
                <a:gd name="T3" fmla="*/ 119 h 146"/>
                <a:gd name="T4" fmla="*/ 0 w 106"/>
                <a:gd name="T5" fmla="*/ 96 h 146"/>
                <a:gd name="T6" fmla="*/ 17 w 106"/>
                <a:gd name="T7" fmla="*/ 77 h 146"/>
                <a:gd name="T8" fmla="*/ 30 w 106"/>
                <a:gd name="T9" fmla="*/ 68 h 146"/>
                <a:gd name="T10" fmla="*/ 42 w 106"/>
                <a:gd name="T11" fmla="*/ 72 h 146"/>
                <a:gd name="T12" fmla="*/ 54 w 106"/>
                <a:gd name="T13" fmla="*/ 47 h 146"/>
                <a:gd name="T14" fmla="*/ 62 w 106"/>
                <a:gd name="T15" fmla="*/ 33 h 146"/>
                <a:gd name="T16" fmla="*/ 68 w 106"/>
                <a:gd name="T17" fmla="*/ 18 h 146"/>
                <a:gd name="T18" fmla="*/ 80 w 106"/>
                <a:gd name="T19" fmla="*/ 2 h 146"/>
                <a:gd name="T20" fmla="*/ 89 w 106"/>
                <a:gd name="T21" fmla="*/ 6 h 146"/>
                <a:gd name="T22" fmla="*/ 96 w 106"/>
                <a:gd name="T23" fmla="*/ 18 h 146"/>
                <a:gd name="T24" fmla="*/ 83 w 106"/>
                <a:gd name="T25" fmla="*/ 27 h 146"/>
                <a:gd name="T26" fmla="*/ 98 w 106"/>
                <a:gd name="T27" fmla="*/ 60 h 146"/>
                <a:gd name="T28" fmla="*/ 89 w 106"/>
                <a:gd name="T29" fmla="*/ 72 h 146"/>
                <a:gd name="T30" fmla="*/ 92 w 106"/>
                <a:gd name="T31" fmla="*/ 98 h 146"/>
                <a:gd name="T32" fmla="*/ 96 w 106"/>
                <a:gd name="T33" fmla="*/ 113 h 146"/>
                <a:gd name="T34" fmla="*/ 95 w 106"/>
                <a:gd name="T35" fmla="*/ 120 h 146"/>
                <a:gd name="T36" fmla="*/ 104 w 106"/>
                <a:gd name="T37" fmla="*/ 126 h 146"/>
                <a:gd name="T38" fmla="*/ 80 w 106"/>
                <a:gd name="T39" fmla="*/ 140 h 146"/>
                <a:gd name="T40" fmla="*/ 17 w 106"/>
                <a:gd name="T41" fmla="*/ 143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06" h="146">
                  <a:moveTo>
                    <a:pt x="17" y="143"/>
                  </a:moveTo>
                  <a:cubicBezTo>
                    <a:pt x="15" y="127"/>
                    <a:pt x="20" y="122"/>
                    <a:pt x="6" y="119"/>
                  </a:cubicBezTo>
                  <a:cubicBezTo>
                    <a:pt x="2" y="112"/>
                    <a:pt x="0" y="96"/>
                    <a:pt x="0" y="96"/>
                  </a:cubicBezTo>
                  <a:cubicBezTo>
                    <a:pt x="2" y="78"/>
                    <a:pt x="0" y="79"/>
                    <a:pt x="17" y="77"/>
                  </a:cubicBezTo>
                  <a:cubicBezTo>
                    <a:pt x="21" y="70"/>
                    <a:pt x="22" y="69"/>
                    <a:pt x="30" y="68"/>
                  </a:cubicBezTo>
                  <a:cubicBezTo>
                    <a:pt x="36" y="72"/>
                    <a:pt x="36" y="77"/>
                    <a:pt x="42" y="72"/>
                  </a:cubicBezTo>
                  <a:cubicBezTo>
                    <a:pt x="47" y="57"/>
                    <a:pt x="42" y="56"/>
                    <a:pt x="54" y="47"/>
                  </a:cubicBezTo>
                  <a:cubicBezTo>
                    <a:pt x="57" y="40"/>
                    <a:pt x="55" y="37"/>
                    <a:pt x="62" y="33"/>
                  </a:cubicBezTo>
                  <a:cubicBezTo>
                    <a:pt x="63" y="27"/>
                    <a:pt x="66" y="24"/>
                    <a:pt x="68" y="18"/>
                  </a:cubicBezTo>
                  <a:cubicBezTo>
                    <a:pt x="69" y="1"/>
                    <a:pt x="69" y="9"/>
                    <a:pt x="80" y="2"/>
                  </a:cubicBezTo>
                  <a:cubicBezTo>
                    <a:pt x="84" y="0"/>
                    <a:pt x="86" y="3"/>
                    <a:pt x="89" y="6"/>
                  </a:cubicBezTo>
                  <a:cubicBezTo>
                    <a:pt x="92" y="9"/>
                    <a:pt x="97" y="15"/>
                    <a:pt x="96" y="18"/>
                  </a:cubicBezTo>
                  <a:cubicBezTo>
                    <a:pt x="90" y="21"/>
                    <a:pt x="90" y="26"/>
                    <a:pt x="83" y="27"/>
                  </a:cubicBezTo>
                  <a:cubicBezTo>
                    <a:pt x="83" y="34"/>
                    <a:pt x="97" y="53"/>
                    <a:pt x="98" y="60"/>
                  </a:cubicBezTo>
                  <a:cubicBezTo>
                    <a:pt x="99" y="67"/>
                    <a:pt x="90" y="66"/>
                    <a:pt x="89" y="72"/>
                  </a:cubicBezTo>
                  <a:cubicBezTo>
                    <a:pt x="87" y="80"/>
                    <a:pt x="92" y="92"/>
                    <a:pt x="92" y="98"/>
                  </a:cubicBezTo>
                  <a:cubicBezTo>
                    <a:pt x="93" y="105"/>
                    <a:pt x="96" y="109"/>
                    <a:pt x="96" y="113"/>
                  </a:cubicBezTo>
                  <a:cubicBezTo>
                    <a:pt x="97" y="121"/>
                    <a:pt x="94" y="118"/>
                    <a:pt x="95" y="120"/>
                  </a:cubicBezTo>
                  <a:cubicBezTo>
                    <a:pt x="96" y="122"/>
                    <a:pt x="106" y="123"/>
                    <a:pt x="104" y="126"/>
                  </a:cubicBezTo>
                  <a:cubicBezTo>
                    <a:pt x="101" y="146"/>
                    <a:pt x="100" y="141"/>
                    <a:pt x="80" y="140"/>
                  </a:cubicBezTo>
                  <a:cubicBezTo>
                    <a:pt x="57" y="131"/>
                    <a:pt x="77" y="138"/>
                    <a:pt x="17" y="143"/>
                  </a:cubicBezTo>
                  <a:close/>
                </a:path>
              </a:pathLst>
            </a:custGeom>
            <a:solidFill>
              <a:schemeClr val="bg1">
                <a:lumMod val="85000"/>
              </a:schemeClr>
            </a:solidFill>
            <a:ln w="9525" cap="flat" cmpd="sng">
              <a:solidFill>
                <a:schemeClr val="bg1"/>
              </a:solidFill>
              <a:prstDash val="solid"/>
              <a:round/>
              <a:headEnd type="none" w="med" len="med"/>
              <a:tailEnd type="none" w="med" len="med"/>
            </a:ln>
            <a:effectLst/>
            <a:extLst/>
          </p:spPr>
          <p:txBody>
            <a:bodyPr>
              <a:noAutofit/>
            </a:bodyPr>
            <a:lstStyle/>
            <a:p>
              <a:pPr fontAlgn="auto">
                <a:spcBef>
                  <a:spcPts val="0"/>
                </a:spcBef>
                <a:spcAft>
                  <a:spcPts val="0"/>
                </a:spcAft>
                <a:defRPr/>
              </a:pPr>
              <a:endParaRPr lang="en-CA" kern="0">
                <a:solidFill>
                  <a:sysClr val="windowText" lastClr="000000"/>
                </a:solidFill>
              </a:endParaRPr>
            </a:p>
          </p:txBody>
        </p:sp>
        <p:sp>
          <p:nvSpPr>
            <p:cNvPr id="376" name="Freeform 47"/>
            <p:cNvSpPr>
              <a:spLocks/>
            </p:cNvSpPr>
            <p:nvPr>
              <p:custDataLst>
                <p:tags r:id="rId53"/>
              </p:custDataLst>
            </p:nvPr>
          </p:nvSpPr>
          <p:spPr bwMode="gray">
            <a:xfrm>
              <a:off x="2395958" y="2389005"/>
              <a:ext cx="144810" cy="103897"/>
            </a:xfrm>
            <a:custGeom>
              <a:avLst/>
              <a:gdLst>
                <a:gd name="T0" fmla="*/ 88 w 178"/>
                <a:gd name="T1" fmla="*/ 130 h 135"/>
                <a:gd name="T2" fmla="*/ 48 w 178"/>
                <a:gd name="T3" fmla="*/ 132 h 135"/>
                <a:gd name="T4" fmla="*/ 33 w 178"/>
                <a:gd name="T5" fmla="*/ 109 h 135"/>
                <a:gd name="T6" fmla="*/ 6 w 178"/>
                <a:gd name="T7" fmla="*/ 102 h 135"/>
                <a:gd name="T8" fmla="*/ 15 w 178"/>
                <a:gd name="T9" fmla="*/ 61 h 135"/>
                <a:gd name="T10" fmla="*/ 19 w 178"/>
                <a:gd name="T11" fmla="*/ 24 h 135"/>
                <a:gd name="T12" fmla="*/ 25 w 178"/>
                <a:gd name="T13" fmla="*/ 6 h 135"/>
                <a:gd name="T14" fmla="*/ 31 w 178"/>
                <a:gd name="T15" fmla="*/ 3 h 135"/>
                <a:gd name="T16" fmla="*/ 45 w 178"/>
                <a:gd name="T17" fmla="*/ 0 h 135"/>
                <a:gd name="T18" fmla="*/ 70 w 178"/>
                <a:gd name="T19" fmla="*/ 4 h 135"/>
                <a:gd name="T20" fmla="*/ 90 w 178"/>
                <a:gd name="T21" fmla="*/ 9 h 135"/>
                <a:gd name="T22" fmla="*/ 99 w 178"/>
                <a:gd name="T23" fmla="*/ 9 h 135"/>
                <a:gd name="T24" fmla="*/ 115 w 178"/>
                <a:gd name="T25" fmla="*/ 4 h 135"/>
                <a:gd name="T26" fmla="*/ 133 w 178"/>
                <a:gd name="T27" fmla="*/ 3 h 135"/>
                <a:gd name="T28" fmla="*/ 148 w 178"/>
                <a:gd name="T29" fmla="*/ 6 h 135"/>
                <a:gd name="T30" fmla="*/ 160 w 178"/>
                <a:gd name="T31" fmla="*/ 4 h 135"/>
                <a:gd name="T32" fmla="*/ 171 w 178"/>
                <a:gd name="T33" fmla="*/ 13 h 135"/>
                <a:gd name="T34" fmla="*/ 178 w 178"/>
                <a:gd name="T35" fmla="*/ 27 h 135"/>
                <a:gd name="T36" fmla="*/ 166 w 178"/>
                <a:gd name="T37" fmla="*/ 37 h 135"/>
                <a:gd name="T38" fmla="*/ 160 w 178"/>
                <a:gd name="T39" fmla="*/ 52 h 135"/>
                <a:gd name="T40" fmla="*/ 156 w 178"/>
                <a:gd name="T41" fmla="*/ 63 h 135"/>
                <a:gd name="T42" fmla="*/ 151 w 178"/>
                <a:gd name="T43" fmla="*/ 78 h 135"/>
                <a:gd name="T44" fmla="*/ 141 w 178"/>
                <a:gd name="T45" fmla="*/ 85 h 135"/>
                <a:gd name="T46" fmla="*/ 136 w 178"/>
                <a:gd name="T47" fmla="*/ 100 h 135"/>
                <a:gd name="T48" fmla="*/ 121 w 178"/>
                <a:gd name="T49" fmla="*/ 103 h 135"/>
                <a:gd name="T50" fmla="*/ 109 w 178"/>
                <a:gd name="T51" fmla="*/ 105 h 135"/>
                <a:gd name="T52" fmla="*/ 94 w 178"/>
                <a:gd name="T53" fmla="*/ 112 h 135"/>
                <a:gd name="T54" fmla="*/ 88 w 178"/>
                <a:gd name="T55" fmla="*/ 130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78" h="135">
                  <a:moveTo>
                    <a:pt x="88" y="130"/>
                  </a:moveTo>
                  <a:cubicBezTo>
                    <a:pt x="65" y="135"/>
                    <a:pt x="78" y="133"/>
                    <a:pt x="48" y="132"/>
                  </a:cubicBezTo>
                  <a:cubicBezTo>
                    <a:pt x="46" y="113"/>
                    <a:pt x="49" y="113"/>
                    <a:pt x="33" y="109"/>
                  </a:cubicBezTo>
                  <a:cubicBezTo>
                    <a:pt x="26" y="100"/>
                    <a:pt x="18" y="103"/>
                    <a:pt x="6" y="102"/>
                  </a:cubicBezTo>
                  <a:cubicBezTo>
                    <a:pt x="7" y="82"/>
                    <a:pt x="0" y="70"/>
                    <a:pt x="15" y="61"/>
                  </a:cubicBezTo>
                  <a:cubicBezTo>
                    <a:pt x="24" y="50"/>
                    <a:pt x="14" y="37"/>
                    <a:pt x="19" y="24"/>
                  </a:cubicBezTo>
                  <a:cubicBezTo>
                    <a:pt x="21" y="15"/>
                    <a:pt x="21" y="10"/>
                    <a:pt x="25" y="6"/>
                  </a:cubicBezTo>
                  <a:cubicBezTo>
                    <a:pt x="27" y="3"/>
                    <a:pt x="28" y="4"/>
                    <a:pt x="31" y="3"/>
                  </a:cubicBezTo>
                  <a:cubicBezTo>
                    <a:pt x="34" y="2"/>
                    <a:pt x="39" y="0"/>
                    <a:pt x="45" y="0"/>
                  </a:cubicBezTo>
                  <a:cubicBezTo>
                    <a:pt x="52" y="0"/>
                    <a:pt x="63" y="3"/>
                    <a:pt x="70" y="4"/>
                  </a:cubicBezTo>
                  <a:cubicBezTo>
                    <a:pt x="77" y="6"/>
                    <a:pt x="85" y="8"/>
                    <a:pt x="90" y="9"/>
                  </a:cubicBezTo>
                  <a:cubicBezTo>
                    <a:pt x="95" y="10"/>
                    <a:pt x="95" y="10"/>
                    <a:pt x="99" y="9"/>
                  </a:cubicBezTo>
                  <a:cubicBezTo>
                    <a:pt x="103" y="9"/>
                    <a:pt x="109" y="4"/>
                    <a:pt x="115" y="4"/>
                  </a:cubicBezTo>
                  <a:cubicBezTo>
                    <a:pt x="121" y="3"/>
                    <a:pt x="128" y="3"/>
                    <a:pt x="133" y="3"/>
                  </a:cubicBezTo>
                  <a:cubicBezTo>
                    <a:pt x="141" y="2"/>
                    <a:pt x="144" y="6"/>
                    <a:pt x="148" y="6"/>
                  </a:cubicBezTo>
                  <a:cubicBezTo>
                    <a:pt x="152" y="6"/>
                    <a:pt x="156" y="3"/>
                    <a:pt x="160" y="4"/>
                  </a:cubicBezTo>
                  <a:cubicBezTo>
                    <a:pt x="164" y="5"/>
                    <a:pt x="168" y="9"/>
                    <a:pt x="171" y="13"/>
                  </a:cubicBezTo>
                  <a:cubicBezTo>
                    <a:pt x="172" y="20"/>
                    <a:pt x="172" y="23"/>
                    <a:pt x="178" y="27"/>
                  </a:cubicBezTo>
                  <a:cubicBezTo>
                    <a:pt x="174" y="32"/>
                    <a:pt x="171" y="34"/>
                    <a:pt x="166" y="37"/>
                  </a:cubicBezTo>
                  <a:cubicBezTo>
                    <a:pt x="165" y="43"/>
                    <a:pt x="164" y="47"/>
                    <a:pt x="160" y="52"/>
                  </a:cubicBezTo>
                  <a:cubicBezTo>
                    <a:pt x="159" y="59"/>
                    <a:pt x="162" y="59"/>
                    <a:pt x="156" y="63"/>
                  </a:cubicBezTo>
                  <a:cubicBezTo>
                    <a:pt x="155" y="69"/>
                    <a:pt x="153" y="73"/>
                    <a:pt x="151" y="78"/>
                  </a:cubicBezTo>
                  <a:cubicBezTo>
                    <a:pt x="149" y="83"/>
                    <a:pt x="143" y="81"/>
                    <a:pt x="141" y="85"/>
                  </a:cubicBezTo>
                  <a:cubicBezTo>
                    <a:pt x="139" y="89"/>
                    <a:pt x="139" y="97"/>
                    <a:pt x="136" y="100"/>
                  </a:cubicBezTo>
                  <a:cubicBezTo>
                    <a:pt x="131" y="110"/>
                    <a:pt x="136" y="106"/>
                    <a:pt x="121" y="103"/>
                  </a:cubicBezTo>
                  <a:cubicBezTo>
                    <a:pt x="115" y="99"/>
                    <a:pt x="116" y="104"/>
                    <a:pt x="109" y="105"/>
                  </a:cubicBezTo>
                  <a:cubicBezTo>
                    <a:pt x="108" y="112"/>
                    <a:pt x="101" y="111"/>
                    <a:pt x="94" y="112"/>
                  </a:cubicBezTo>
                  <a:cubicBezTo>
                    <a:pt x="93" y="125"/>
                    <a:pt x="92" y="124"/>
                    <a:pt x="88" y="130"/>
                  </a:cubicBezTo>
                  <a:close/>
                </a:path>
              </a:pathLst>
            </a:custGeom>
            <a:solidFill>
              <a:schemeClr val="accent1"/>
            </a:solidFill>
            <a:ln w="9525" cap="flat" cmpd="sng">
              <a:solidFill>
                <a:schemeClr val="bg1"/>
              </a:solidFill>
              <a:prstDash val="solid"/>
              <a:round/>
              <a:headEnd type="none" w="med" len="med"/>
              <a:tailEnd type="none" w="med" len="med"/>
            </a:ln>
            <a:effectLst/>
            <a:extLst/>
          </p:spPr>
          <p:txBody>
            <a:bodyPr>
              <a:noAutofit/>
            </a:bodyPr>
            <a:lstStyle/>
            <a:p>
              <a:pPr fontAlgn="auto">
                <a:spcBef>
                  <a:spcPts val="0"/>
                </a:spcBef>
                <a:spcAft>
                  <a:spcPts val="0"/>
                </a:spcAft>
                <a:defRPr/>
              </a:pPr>
              <a:endParaRPr lang="en-CA" kern="0">
                <a:solidFill>
                  <a:sysClr val="windowText" lastClr="000000"/>
                </a:solidFill>
              </a:endParaRPr>
            </a:p>
          </p:txBody>
        </p:sp>
        <p:sp>
          <p:nvSpPr>
            <p:cNvPr id="377" name="Freeform 50"/>
            <p:cNvSpPr>
              <a:spLocks/>
            </p:cNvSpPr>
            <p:nvPr>
              <p:custDataLst>
                <p:tags r:id="rId54"/>
              </p:custDataLst>
            </p:nvPr>
          </p:nvSpPr>
          <p:spPr bwMode="gray">
            <a:xfrm>
              <a:off x="2320752" y="2415171"/>
              <a:ext cx="52804" cy="72343"/>
            </a:xfrm>
            <a:custGeom>
              <a:avLst/>
              <a:gdLst>
                <a:gd name="T0" fmla="*/ 65 w 65"/>
                <a:gd name="T1" fmla="*/ 0 h 94"/>
                <a:gd name="T2" fmla="*/ 14 w 65"/>
                <a:gd name="T3" fmla="*/ 6 h 94"/>
                <a:gd name="T4" fmla="*/ 18 w 65"/>
                <a:gd name="T5" fmla="*/ 48 h 94"/>
                <a:gd name="T6" fmla="*/ 10 w 65"/>
                <a:gd name="T7" fmla="*/ 70 h 94"/>
                <a:gd name="T8" fmla="*/ 28 w 65"/>
                <a:gd name="T9" fmla="*/ 94 h 94"/>
                <a:gd name="T10" fmla="*/ 58 w 65"/>
                <a:gd name="T11" fmla="*/ 86 h 94"/>
                <a:gd name="T12" fmla="*/ 57 w 65"/>
                <a:gd name="T13" fmla="*/ 50 h 94"/>
                <a:gd name="T14" fmla="*/ 51 w 65"/>
                <a:gd name="T15" fmla="*/ 23 h 94"/>
                <a:gd name="T16" fmla="*/ 65 w 65"/>
                <a:gd name="T17" fmla="*/ 0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5" h="94">
                  <a:moveTo>
                    <a:pt x="65" y="0"/>
                  </a:moveTo>
                  <a:cubicBezTo>
                    <a:pt x="48" y="1"/>
                    <a:pt x="31" y="3"/>
                    <a:pt x="14" y="6"/>
                  </a:cubicBezTo>
                  <a:cubicBezTo>
                    <a:pt x="0" y="8"/>
                    <a:pt x="18" y="48"/>
                    <a:pt x="18" y="48"/>
                  </a:cubicBezTo>
                  <a:cubicBezTo>
                    <a:pt x="15" y="56"/>
                    <a:pt x="12" y="61"/>
                    <a:pt x="10" y="70"/>
                  </a:cubicBezTo>
                  <a:cubicBezTo>
                    <a:pt x="12" y="83"/>
                    <a:pt x="16" y="90"/>
                    <a:pt x="28" y="94"/>
                  </a:cubicBezTo>
                  <a:cubicBezTo>
                    <a:pt x="44" y="92"/>
                    <a:pt x="45" y="90"/>
                    <a:pt x="58" y="86"/>
                  </a:cubicBezTo>
                  <a:cubicBezTo>
                    <a:pt x="63" y="79"/>
                    <a:pt x="58" y="60"/>
                    <a:pt x="57" y="50"/>
                  </a:cubicBezTo>
                  <a:cubicBezTo>
                    <a:pt x="56" y="40"/>
                    <a:pt x="50" y="31"/>
                    <a:pt x="51" y="23"/>
                  </a:cubicBezTo>
                  <a:cubicBezTo>
                    <a:pt x="53" y="16"/>
                    <a:pt x="62" y="6"/>
                    <a:pt x="65" y="0"/>
                  </a:cubicBezTo>
                  <a:close/>
                </a:path>
              </a:pathLst>
            </a:custGeom>
            <a:solidFill>
              <a:schemeClr val="bg1">
                <a:lumMod val="85000"/>
              </a:schemeClr>
            </a:solidFill>
            <a:ln w="9525" cap="flat" cmpd="sng">
              <a:solidFill>
                <a:schemeClr val="bg1"/>
              </a:solidFill>
              <a:prstDash val="solid"/>
              <a:round/>
              <a:headEnd type="none" w="med" len="med"/>
              <a:tailEnd type="none" w="med" len="med"/>
            </a:ln>
            <a:effectLst/>
            <a:extLst/>
          </p:spPr>
          <p:txBody>
            <a:bodyPr>
              <a:noAutofit/>
            </a:bodyPr>
            <a:lstStyle/>
            <a:p>
              <a:pPr fontAlgn="auto">
                <a:spcBef>
                  <a:spcPts val="0"/>
                </a:spcBef>
                <a:spcAft>
                  <a:spcPts val="0"/>
                </a:spcAft>
                <a:defRPr/>
              </a:pPr>
              <a:endParaRPr lang="en-CA" kern="0">
                <a:solidFill>
                  <a:sysClr val="windowText" lastClr="000000"/>
                </a:solidFill>
              </a:endParaRPr>
            </a:p>
          </p:txBody>
        </p:sp>
        <p:sp>
          <p:nvSpPr>
            <p:cNvPr id="378" name="Freeform 51"/>
            <p:cNvSpPr>
              <a:spLocks/>
            </p:cNvSpPr>
            <p:nvPr>
              <p:custDataLst>
                <p:tags r:id="rId55"/>
              </p:custDataLst>
            </p:nvPr>
          </p:nvSpPr>
          <p:spPr bwMode="gray">
            <a:xfrm>
              <a:off x="2262349" y="2424407"/>
              <a:ext cx="77606" cy="69264"/>
            </a:xfrm>
            <a:custGeom>
              <a:avLst/>
              <a:gdLst>
                <a:gd name="T0" fmla="*/ 75 w 95"/>
                <a:gd name="T1" fmla="*/ 0 h 90"/>
                <a:gd name="T2" fmla="*/ 62 w 95"/>
                <a:gd name="T3" fmla="*/ 11 h 90"/>
                <a:gd name="T4" fmla="*/ 51 w 95"/>
                <a:gd name="T5" fmla="*/ 2 h 90"/>
                <a:gd name="T6" fmla="*/ 18 w 95"/>
                <a:gd name="T7" fmla="*/ 2 h 90"/>
                <a:gd name="T8" fmla="*/ 6 w 95"/>
                <a:gd name="T9" fmla="*/ 4 h 90"/>
                <a:gd name="T10" fmla="*/ 9 w 95"/>
                <a:gd name="T11" fmla="*/ 36 h 90"/>
                <a:gd name="T12" fmla="*/ 0 w 95"/>
                <a:gd name="T13" fmla="*/ 50 h 90"/>
                <a:gd name="T14" fmla="*/ 12 w 95"/>
                <a:gd name="T15" fmla="*/ 70 h 90"/>
                <a:gd name="T16" fmla="*/ 24 w 95"/>
                <a:gd name="T17" fmla="*/ 90 h 90"/>
                <a:gd name="T18" fmla="*/ 64 w 95"/>
                <a:gd name="T19" fmla="*/ 76 h 90"/>
                <a:gd name="T20" fmla="*/ 82 w 95"/>
                <a:gd name="T21" fmla="*/ 58 h 90"/>
                <a:gd name="T22" fmla="*/ 89 w 95"/>
                <a:gd name="T23" fmla="*/ 41 h 90"/>
                <a:gd name="T24" fmla="*/ 90 w 95"/>
                <a:gd name="T25" fmla="*/ 30 h 90"/>
                <a:gd name="T26" fmla="*/ 83 w 95"/>
                <a:gd name="T27" fmla="*/ 15 h 90"/>
                <a:gd name="T28" fmla="*/ 75 w 95"/>
                <a:gd name="T29" fmla="*/ 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90">
                  <a:moveTo>
                    <a:pt x="75" y="0"/>
                  </a:moveTo>
                  <a:cubicBezTo>
                    <a:pt x="67" y="11"/>
                    <a:pt x="78" y="3"/>
                    <a:pt x="62" y="11"/>
                  </a:cubicBezTo>
                  <a:cubicBezTo>
                    <a:pt x="58" y="10"/>
                    <a:pt x="58" y="3"/>
                    <a:pt x="51" y="2"/>
                  </a:cubicBezTo>
                  <a:cubicBezTo>
                    <a:pt x="44" y="1"/>
                    <a:pt x="25" y="2"/>
                    <a:pt x="18" y="2"/>
                  </a:cubicBezTo>
                  <a:cubicBezTo>
                    <a:pt x="14" y="3"/>
                    <a:pt x="9" y="1"/>
                    <a:pt x="6" y="4"/>
                  </a:cubicBezTo>
                  <a:cubicBezTo>
                    <a:pt x="5" y="5"/>
                    <a:pt x="7" y="30"/>
                    <a:pt x="9" y="36"/>
                  </a:cubicBezTo>
                  <a:cubicBezTo>
                    <a:pt x="6" y="44"/>
                    <a:pt x="4" y="43"/>
                    <a:pt x="0" y="50"/>
                  </a:cubicBezTo>
                  <a:cubicBezTo>
                    <a:pt x="4" y="61"/>
                    <a:pt x="0" y="67"/>
                    <a:pt x="12" y="70"/>
                  </a:cubicBezTo>
                  <a:cubicBezTo>
                    <a:pt x="18" y="78"/>
                    <a:pt x="14" y="87"/>
                    <a:pt x="24" y="90"/>
                  </a:cubicBezTo>
                  <a:cubicBezTo>
                    <a:pt x="42" y="72"/>
                    <a:pt x="18" y="79"/>
                    <a:pt x="64" y="76"/>
                  </a:cubicBezTo>
                  <a:cubicBezTo>
                    <a:pt x="82" y="80"/>
                    <a:pt x="95" y="78"/>
                    <a:pt x="82" y="58"/>
                  </a:cubicBezTo>
                  <a:cubicBezTo>
                    <a:pt x="85" y="53"/>
                    <a:pt x="88" y="46"/>
                    <a:pt x="89" y="41"/>
                  </a:cubicBezTo>
                  <a:cubicBezTo>
                    <a:pt x="90" y="36"/>
                    <a:pt x="91" y="34"/>
                    <a:pt x="90" y="30"/>
                  </a:cubicBezTo>
                  <a:cubicBezTo>
                    <a:pt x="90" y="23"/>
                    <a:pt x="85" y="19"/>
                    <a:pt x="83" y="15"/>
                  </a:cubicBezTo>
                  <a:cubicBezTo>
                    <a:pt x="80" y="10"/>
                    <a:pt x="81" y="5"/>
                    <a:pt x="75" y="0"/>
                  </a:cubicBezTo>
                  <a:close/>
                </a:path>
              </a:pathLst>
            </a:custGeom>
            <a:solidFill>
              <a:schemeClr val="bg1">
                <a:lumMod val="85000"/>
              </a:schemeClr>
            </a:solidFill>
            <a:ln w="9525" cap="flat" cmpd="sng">
              <a:solidFill>
                <a:schemeClr val="bg1"/>
              </a:solidFill>
              <a:prstDash val="solid"/>
              <a:round/>
              <a:headEnd type="none" w="med" len="med"/>
              <a:tailEnd type="none" w="med" len="med"/>
            </a:ln>
            <a:effectLst/>
            <a:extLst/>
          </p:spPr>
          <p:txBody>
            <a:bodyPr>
              <a:noAutofit/>
            </a:bodyPr>
            <a:lstStyle/>
            <a:p>
              <a:pPr fontAlgn="auto">
                <a:spcBef>
                  <a:spcPts val="0"/>
                </a:spcBef>
                <a:spcAft>
                  <a:spcPts val="0"/>
                </a:spcAft>
                <a:defRPr/>
              </a:pPr>
              <a:endParaRPr lang="en-CA" kern="0">
                <a:solidFill>
                  <a:sysClr val="windowText" lastClr="000000"/>
                </a:solidFill>
              </a:endParaRPr>
            </a:p>
          </p:txBody>
        </p:sp>
        <p:sp>
          <p:nvSpPr>
            <p:cNvPr id="379" name="Freeform 52"/>
            <p:cNvSpPr>
              <a:spLocks/>
            </p:cNvSpPr>
            <p:nvPr>
              <p:custDataLst>
                <p:tags r:id="rId56"/>
              </p:custDataLst>
            </p:nvPr>
          </p:nvSpPr>
          <p:spPr bwMode="gray">
            <a:xfrm>
              <a:off x="2559167" y="2803820"/>
              <a:ext cx="198412" cy="170852"/>
            </a:xfrm>
            <a:custGeom>
              <a:avLst/>
              <a:gdLst>
                <a:gd name="T0" fmla="*/ 15 w 244"/>
                <a:gd name="T1" fmla="*/ 100 h 222"/>
                <a:gd name="T2" fmla="*/ 16 w 244"/>
                <a:gd name="T3" fmla="*/ 128 h 222"/>
                <a:gd name="T4" fmla="*/ 30 w 244"/>
                <a:gd name="T5" fmla="*/ 149 h 222"/>
                <a:gd name="T6" fmla="*/ 37 w 244"/>
                <a:gd name="T7" fmla="*/ 193 h 222"/>
                <a:gd name="T8" fmla="*/ 51 w 244"/>
                <a:gd name="T9" fmla="*/ 205 h 222"/>
                <a:gd name="T10" fmla="*/ 84 w 244"/>
                <a:gd name="T11" fmla="*/ 206 h 222"/>
                <a:gd name="T12" fmla="*/ 144 w 244"/>
                <a:gd name="T13" fmla="*/ 199 h 222"/>
                <a:gd name="T14" fmla="*/ 166 w 244"/>
                <a:gd name="T15" fmla="*/ 194 h 222"/>
                <a:gd name="T16" fmla="*/ 177 w 244"/>
                <a:gd name="T17" fmla="*/ 182 h 222"/>
                <a:gd name="T18" fmla="*/ 192 w 244"/>
                <a:gd name="T19" fmla="*/ 167 h 222"/>
                <a:gd name="T20" fmla="*/ 207 w 244"/>
                <a:gd name="T21" fmla="*/ 152 h 222"/>
                <a:gd name="T22" fmla="*/ 216 w 244"/>
                <a:gd name="T23" fmla="*/ 139 h 222"/>
                <a:gd name="T24" fmla="*/ 243 w 244"/>
                <a:gd name="T25" fmla="*/ 112 h 222"/>
                <a:gd name="T26" fmla="*/ 244 w 244"/>
                <a:gd name="T27" fmla="*/ 83 h 222"/>
                <a:gd name="T28" fmla="*/ 235 w 244"/>
                <a:gd name="T29" fmla="*/ 71 h 222"/>
                <a:gd name="T30" fmla="*/ 241 w 244"/>
                <a:gd name="T31" fmla="*/ 52 h 222"/>
                <a:gd name="T32" fmla="*/ 231 w 244"/>
                <a:gd name="T33" fmla="*/ 41 h 222"/>
                <a:gd name="T34" fmla="*/ 231 w 244"/>
                <a:gd name="T35" fmla="*/ 22 h 222"/>
                <a:gd name="T36" fmla="*/ 223 w 244"/>
                <a:gd name="T37" fmla="*/ 14 h 222"/>
                <a:gd name="T38" fmla="*/ 213 w 244"/>
                <a:gd name="T39" fmla="*/ 2 h 222"/>
                <a:gd name="T40" fmla="*/ 191 w 244"/>
                <a:gd name="T41" fmla="*/ 3 h 222"/>
                <a:gd name="T42" fmla="*/ 169 w 244"/>
                <a:gd name="T43" fmla="*/ 11 h 222"/>
                <a:gd name="T44" fmla="*/ 163 w 244"/>
                <a:gd name="T45" fmla="*/ 26 h 222"/>
                <a:gd name="T46" fmla="*/ 156 w 244"/>
                <a:gd name="T47" fmla="*/ 37 h 222"/>
                <a:gd name="T48" fmla="*/ 157 w 244"/>
                <a:gd name="T49" fmla="*/ 40 h 222"/>
                <a:gd name="T50" fmla="*/ 145 w 244"/>
                <a:gd name="T51" fmla="*/ 47 h 222"/>
                <a:gd name="T52" fmla="*/ 132 w 244"/>
                <a:gd name="T53" fmla="*/ 50 h 222"/>
                <a:gd name="T54" fmla="*/ 115 w 244"/>
                <a:gd name="T55" fmla="*/ 56 h 222"/>
                <a:gd name="T56" fmla="*/ 91 w 244"/>
                <a:gd name="T57" fmla="*/ 64 h 222"/>
                <a:gd name="T58" fmla="*/ 70 w 244"/>
                <a:gd name="T59" fmla="*/ 77 h 222"/>
                <a:gd name="T60" fmla="*/ 64 w 244"/>
                <a:gd name="T61" fmla="*/ 89 h 222"/>
                <a:gd name="T62" fmla="*/ 52 w 244"/>
                <a:gd name="T63" fmla="*/ 106 h 222"/>
                <a:gd name="T64" fmla="*/ 36 w 244"/>
                <a:gd name="T65" fmla="*/ 111 h 222"/>
                <a:gd name="T66" fmla="*/ 24 w 244"/>
                <a:gd name="T67" fmla="*/ 110 h 222"/>
                <a:gd name="T68" fmla="*/ 15 w 244"/>
                <a:gd name="T69" fmla="*/ 100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44" h="222">
                  <a:moveTo>
                    <a:pt x="15" y="100"/>
                  </a:moveTo>
                  <a:cubicBezTo>
                    <a:pt x="0" y="102"/>
                    <a:pt x="7" y="122"/>
                    <a:pt x="16" y="128"/>
                  </a:cubicBezTo>
                  <a:cubicBezTo>
                    <a:pt x="22" y="138"/>
                    <a:pt x="20" y="143"/>
                    <a:pt x="30" y="149"/>
                  </a:cubicBezTo>
                  <a:cubicBezTo>
                    <a:pt x="33" y="164"/>
                    <a:pt x="22" y="185"/>
                    <a:pt x="37" y="193"/>
                  </a:cubicBezTo>
                  <a:cubicBezTo>
                    <a:pt x="40" y="203"/>
                    <a:pt x="41" y="203"/>
                    <a:pt x="51" y="205"/>
                  </a:cubicBezTo>
                  <a:cubicBezTo>
                    <a:pt x="53" y="222"/>
                    <a:pt x="73" y="208"/>
                    <a:pt x="84" y="206"/>
                  </a:cubicBezTo>
                  <a:cubicBezTo>
                    <a:pt x="103" y="197"/>
                    <a:pt x="167" y="216"/>
                    <a:pt x="144" y="199"/>
                  </a:cubicBezTo>
                  <a:cubicBezTo>
                    <a:pt x="155" y="191"/>
                    <a:pt x="138" y="202"/>
                    <a:pt x="166" y="194"/>
                  </a:cubicBezTo>
                  <a:cubicBezTo>
                    <a:pt x="168" y="193"/>
                    <a:pt x="174" y="184"/>
                    <a:pt x="177" y="182"/>
                  </a:cubicBezTo>
                  <a:cubicBezTo>
                    <a:pt x="181" y="176"/>
                    <a:pt x="186" y="171"/>
                    <a:pt x="192" y="167"/>
                  </a:cubicBezTo>
                  <a:cubicBezTo>
                    <a:pt x="198" y="160"/>
                    <a:pt x="199" y="155"/>
                    <a:pt x="207" y="152"/>
                  </a:cubicBezTo>
                  <a:cubicBezTo>
                    <a:pt x="210" y="148"/>
                    <a:pt x="213" y="143"/>
                    <a:pt x="216" y="139"/>
                  </a:cubicBezTo>
                  <a:cubicBezTo>
                    <a:pt x="217" y="125"/>
                    <a:pt x="229" y="113"/>
                    <a:pt x="243" y="112"/>
                  </a:cubicBezTo>
                  <a:cubicBezTo>
                    <a:pt x="239" y="102"/>
                    <a:pt x="242" y="93"/>
                    <a:pt x="244" y="83"/>
                  </a:cubicBezTo>
                  <a:cubicBezTo>
                    <a:pt x="240" y="78"/>
                    <a:pt x="237" y="77"/>
                    <a:pt x="235" y="71"/>
                  </a:cubicBezTo>
                  <a:cubicBezTo>
                    <a:pt x="234" y="66"/>
                    <a:pt x="243" y="61"/>
                    <a:pt x="241" y="52"/>
                  </a:cubicBezTo>
                  <a:cubicBezTo>
                    <a:pt x="240" y="47"/>
                    <a:pt x="233" y="46"/>
                    <a:pt x="231" y="41"/>
                  </a:cubicBezTo>
                  <a:cubicBezTo>
                    <a:pt x="229" y="36"/>
                    <a:pt x="232" y="26"/>
                    <a:pt x="231" y="22"/>
                  </a:cubicBezTo>
                  <a:cubicBezTo>
                    <a:pt x="230" y="18"/>
                    <a:pt x="226" y="17"/>
                    <a:pt x="223" y="14"/>
                  </a:cubicBezTo>
                  <a:cubicBezTo>
                    <a:pt x="222" y="6"/>
                    <a:pt x="221" y="5"/>
                    <a:pt x="213" y="2"/>
                  </a:cubicBezTo>
                  <a:cubicBezTo>
                    <a:pt x="208" y="0"/>
                    <a:pt x="198" y="2"/>
                    <a:pt x="191" y="3"/>
                  </a:cubicBezTo>
                  <a:cubicBezTo>
                    <a:pt x="184" y="4"/>
                    <a:pt x="174" y="7"/>
                    <a:pt x="169" y="11"/>
                  </a:cubicBezTo>
                  <a:cubicBezTo>
                    <a:pt x="166" y="16"/>
                    <a:pt x="166" y="21"/>
                    <a:pt x="163" y="26"/>
                  </a:cubicBezTo>
                  <a:cubicBezTo>
                    <a:pt x="161" y="30"/>
                    <a:pt x="157" y="35"/>
                    <a:pt x="156" y="37"/>
                  </a:cubicBezTo>
                  <a:cubicBezTo>
                    <a:pt x="155" y="39"/>
                    <a:pt x="159" y="38"/>
                    <a:pt x="157" y="40"/>
                  </a:cubicBezTo>
                  <a:cubicBezTo>
                    <a:pt x="155" y="42"/>
                    <a:pt x="149" y="45"/>
                    <a:pt x="145" y="47"/>
                  </a:cubicBezTo>
                  <a:cubicBezTo>
                    <a:pt x="141" y="53"/>
                    <a:pt x="139" y="49"/>
                    <a:pt x="132" y="50"/>
                  </a:cubicBezTo>
                  <a:cubicBezTo>
                    <a:pt x="126" y="55"/>
                    <a:pt x="122" y="59"/>
                    <a:pt x="115" y="56"/>
                  </a:cubicBezTo>
                  <a:cubicBezTo>
                    <a:pt x="108" y="49"/>
                    <a:pt x="99" y="59"/>
                    <a:pt x="91" y="64"/>
                  </a:cubicBezTo>
                  <a:cubicBezTo>
                    <a:pt x="86" y="70"/>
                    <a:pt x="76" y="73"/>
                    <a:pt x="70" y="77"/>
                  </a:cubicBezTo>
                  <a:cubicBezTo>
                    <a:pt x="64" y="81"/>
                    <a:pt x="67" y="84"/>
                    <a:pt x="64" y="89"/>
                  </a:cubicBezTo>
                  <a:cubicBezTo>
                    <a:pt x="61" y="94"/>
                    <a:pt x="55" y="102"/>
                    <a:pt x="52" y="106"/>
                  </a:cubicBezTo>
                  <a:cubicBezTo>
                    <a:pt x="47" y="110"/>
                    <a:pt x="41" y="110"/>
                    <a:pt x="36" y="111"/>
                  </a:cubicBezTo>
                  <a:cubicBezTo>
                    <a:pt x="31" y="112"/>
                    <a:pt x="27" y="112"/>
                    <a:pt x="24" y="110"/>
                  </a:cubicBezTo>
                  <a:cubicBezTo>
                    <a:pt x="20" y="107"/>
                    <a:pt x="19" y="104"/>
                    <a:pt x="15" y="100"/>
                  </a:cubicBezTo>
                  <a:close/>
                </a:path>
              </a:pathLst>
            </a:custGeom>
            <a:solidFill>
              <a:schemeClr val="accent1"/>
            </a:solidFill>
            <a:ln w="9525" cap="flat" cmpd="sng">
              <a:solidFill>
                <a:schemeClr val="bg1"/>
              </a:solidFill>
              <a:prstDash val="solid"/>
              <a:round/>
              <a:headEnd type="none" w="med" len="med"/>
              <a:tailEnd type="none" w="med" len="med"/>
            </a:ln>
            <a:effectLst/>
            <a:extLst/>
          </p:spPr>
          <p:txBody>
            <a:bodyPr>
              <a:noAutofit/>
            </a:bodyPr>
            <a:lstStyle/>
            <a:p>
              <a:pPr fontAlgn="auto">
                <a:spcBef>
                  <a:spcPts val="0"/>
                </a:spcBef>
                <a:spcAft>
                  <a:spcPts val="0"/>
                </a:spcAft>
                <a:defRPr/>
              </a:pPr>
              <a:endParaRPr lang="en-CA" kern="0">
                <a:solidFill>
                  <a:sysClr val="windowText" lastClr="000000"/>
                </a:solidFill>
              </a:endParaRPr>
            </a:p>
          </p:txBody>
        </p:sp>
        <p:sp>
          <p:nvSpPr>
            <p:cNvPr id="380" name="Freeform 53"/>
            <p:cNvSpPr>
              <a:spLocks/>
            </p:cNvSpPr>
            <p:nvPr>
              <p:custDataLst>
                <p:tags r:id="rId57"/>
              </p:custDataLst>
            </p:nvPr>
          </p:nvSpPr>
          <p:spPr bwMode="gray">
            <a:xfrm>
              <a:off x="2686378" y="2883859"/>
              <a:ext cx="34403" cy="39250"/>
            </a:xfrm>
            <a:custGeom>
              <a:avLst/>
              <a:gdLst>
                <a:gd name="T0" fmla="*/ 21 w 43"/>
                <a:gd name="T1" fmla="*/ 5 h 51"/>
                <a:gd name="T2" fmla="*/ 7 w 43"/>
                <a:gd name="T3" fmla="*/ 12 h 51"/>
                <a:gd name="T4" fmla="*/ 9 w 43"/>
                <a:gd name="T5" fmla="*/ 23 h 51"/>
                <a:gd name="T6" fmla="*/ 10 w 43"/>
                <a:gd name="T7" fmla="*/ 39 h 51"/>
                <a:gd name="T8" fmla="*/ 36 w 43"/>
                <a:gd name="T9" fmla="*/ 27 h 51"/>
                <a:gd name="T10" fmla="*/ 25 w 43"/>
                <a:gd name="T11" fmla="*/ 0 h 51"/>
                <a:gd name="T12" fmla="*/ 21 w 43"/>
                <a:gd name="T13" fmla="*/ 5 h 51"/>
              </a:gdLst>
              <a:ahLst/>
              <a:cxnLst>
                <a:cxn ang="0">
                  <a:pos x="T0" y="T1"/>
                </a:cxn>
                <a:cxn ang="0">
                  <a:pos x="T2" y="T3"/>
                </a:cxn>
                <a:cxn ang="0">
                  <a:pos x="T4" y="T5"/>
                </a:cxn>
                <a:cxn ang="0">
                  <a:pos x="T6" y="T7"/>
                </a:cxn>
                <a:cxn ang="0">
                  <a:pos x="T8" y="T9"/>
                </a:cxn>
                <a:cxn ang="0">
                  <a:pos x="T10" y="T11"/>
                </a:cxn>
                <a:cxn ang="0">
                  <a:pos x="T12" y="T13"/>
                </a:cxn>
              </a:cxnLst>
              <a:rect l="0" t="0" r="r" b="b"/>
              <a:pathLst>
                <a:path w="43" h="51">
                  <a:moveTo>
                    <a:pt x="21" y="5"/>
                  </a:moveTo>
                  <a:cubicBezTo>
                    <a:pt x="12" y="7"/>
                    <a:pt x="16" y="10"/>
                    <a:pt x="7" y="12"/>
                  </a:cubicBezTo>
                  <a:cubicBezTo>
                    <a:pt x="0" y="16"/>
                    <a:pt x="3" y="20"/>
                    <a:pt x="9" y="23"/>
                  </a:cubicBezTo>
                  <a:cubicBezTo>
                    <a:pt x="9" y="28"/>
                    <a:pt x="6" y="36"/>
                    <a:pt x="10" y="39"/>
                  </a:cubicBezTo>
                  <a:cubicBezTo>
                    <a:pt x="24" y="51"/>
                    <a:pt x="28" y="30"/>
                    <a:pt x="36" y="27"/>
                  </a:cubicBezTo>
                  <a:cubicBezTo>
                    <a:pt x="43" y="13"/>
                    <a:pt x="39" y="6"/>
                    <a:pt x="25" y="0"/>
                  </a:cubicBezTo>
                  <a:cubicBezTo>
                    <a:pt x="23" y="1"/>
                    <a:pt x="8" y="8"/>
                    <a:pt x="21" y="5"/>
                  </a:cubicBezTo>
                  <a:close/>
                </a:path>
              </a:pathLst>
            </a:custGeom>
            <a:solidFill>
              <a:schemeClr val="bg1">
                <a:lumMod val="85000"/>
              </a:schemeClr>
            </a:solidFill>
            <a:ln w="9525" cap="flat" cmpd="sng">
              <a:solidFill>
                <a:schemeClr val="bg1"/>
              </a:solidFill>
              <a:prstDash val="solid"/>
              <a:round/>
              <a:headEnd type="none" w="med" len="med"/>
              <a:tailEnd type="none" w="med" len="med"/>
            </a:ln>
            <a:effectLst/>
            <a:extLst/>
          </p:spPr>
          <p:txBody>
            <a:bodyPr>
              <a:noAutofit/>
            </a:bodyPr>
            <a:lstStyle/>
            <a:p>
              <a:pPr fontAlgn="auto">
                <a:spcBef>
                  <a:spcPts val="0"/>
                </a:spcBef>
                <a:spcAft>
                  <a:spcPts val="0"/>
                </a:spcAft>
                <a:defRPr/>
              </a:pPr>
              <a:endParaRPr lang="en-CA" kern="0">
                <a:solidFill>
                  <a:sysClr val="windowText" lastClr="000000"/>
                </a:solidFill>
              </a:endParaRPr>
            </a:p>
          </p:txBody>
        </p:sp>
        <p:sp>
          <p:nvSpPr>
            <p:cNvPr id="381" name="Freeform 54"/>
            <p:cNvSpPr>
              <a:spLocks/>
            </p:cNvSpPr>
            <p:nvPr>
              <p:custDataLst>
                <p:tags r:id="rId58"/>
              </p:custDataLst>
            </p:nvPr>
          </p:nvSpPr>
          <p:spPr bwMode="gray">
            <a:xfrm>
              <a:off x="2503964" y="2740713"/>
              <a:ext cx="124809" cy="149303"/>
            </a:xfrm>
            <a:custGeom>
              <a:avLst/>
              <a:gdLst>
                <a:gd name="T0" fmla="*/ 75 w 154"/>
                <a:gd name="T1" fmla="*/ 191 h 194"/>
                <a:gd name="T2" fmla="*/ 60 w 154"/>
                <a:gd name="T3" fmla="*/ 179 h 194"/>
                <a:gd name="T4" fmla="*/ 53 w 154"/>
                <a:gd name="T5" fmla="*/ 165 h 194"/>
                <a:gd name="T6" fmla="*/ 47 w 154"/>
                <a:gd name="T7" fmla="*/ 120 h 194"/>
                <a:gd name="T8" fmla="*/ 24 w 154"/>
                <a:gd name="T9" fmla="*/ 51 h 194"/>
                <a:gd name="T10" fmla="*/ 8 w 154"/>
                <a:gd name="T11" fmla="*/ 24 h 194"/>
                <a:gd name="T12" fmla="*/ 0 w 154"/>
                <a:gd name="T13" fmla="*/ 11 h 194"/>
                <a:gd name="T14" fmla="*/ 24 w 154"/>
                <a:gd name="T15" fmla="*/ 0 h 194"/>
                <a:gd name="T16" fmla="*/ 39 w 154"/>
                <a:gd name="T17" fmla="*/ 11 h 194"/>
                <a:gd name="T18" fmla="*/ 101 w 154"/>
                <a:gd name="T19" fmla="*/ 8 h 194"/>
                <a:gd name="T20" fmla="*/ 107 w 154"/>
                <a:gd name="T21" fmla="*/ 12 h 194"/>
                <a:gd name="T22" fmla="*/ 141 w 154"/>
                <a:gd name="T23" fmla="*/ 20 h 194"/>
                <a:gd name="T24" fmla="*/ 125 w 154"/>
                <a:gd name="T25" fmla="*/ 84 h 194"/>
                <a:gd name="T26" fmla="*/ 128 w 154"/>
                <a:gd name="T27" fmla="*/ 131 h 194"/>
                <a:gd name="T28" fmla="*/ 137 w 154"/>
                <a:gd name="T29" fmla="*/ 156 h 194"/>
                <a:gd name="T30" fmla="*/ 131 w 154"/>
                <a:gd name="T31" fmla="*/ 167 h 194"/>
                <a:gd name="T32" fmla="*/ 111 w 154"/>
                <a:gd name="T33" fmla="*/ 192 h 194"/>
                <a:gd name="T34" fmla="*/ 81 w 154"/>
                <a:gd name="T35" fmla="*/ 185 h 194"/>
                <a:gd name="T36" fmla="*/ 75 w 154"/>
                <a:gd name="T37" fmla="*/ 191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54" h="194">
                  <a:moveTo>
                    <a:pt x="75" y="191"/>
                  </a:moveTo>
                  <a:cubicBezTo>
                    <a:pt x="70" y="184"/>
                    <a:pt x="69" y="181"/>
                    <a:pt x="60" y="179"/>
                  </a:cubicBezTo>
                  <a:cubicBezTo>
                    <a:pt x="59" y="173"/>
                    <a:pt x="56" y="170"/>
                    <a:pt x="53" y="165"/>
                  </a:cubicBezTo>
                  <a:cubicBezTo>
                    <a:pt x="51" y="150"/>
                    <a:pt x="55" y="133"/>
                    <a:pt x="47" y="120"/>
                  </a:cubicBezTo>
                  <a:cubicBezTo>
                    <a:pt x="45" y="82"/>
                    <a:pt x="41" y="80"/>
                    <a:pt x="24" y="51"/>
                  </a:cubicBezTo>
                  <a:cubicBezTo>
                    <a:pt x="22" y="38"/>
                    <a:pt x="18" y="32"/>
                    <a:pt x="8" y="24"/>
                  </a:cubicBezTo>
                  <a:cubicBezTo>
                    <a:pt x="6" y="19"/>
                    <a:pt x="3" y="15"/>
                    <a:pt x="0" y="11"/>
                  </a:cubicBezTo>
                  <a:cubicBezTo>
                    <a:pt x="3" y="3"/>
                    <a:pt x="16" y="4"/>
                    <a:pt x="24" y="0"/>
                  </a:cubicBezTo>
                  <a:cubicBezTo>
                    <a:pt x="29" y="2"/>
                    <a:pt x="34" y="9"/>
                    <a:pt x="39" y="11"/>
                  </a:cubicBezTo>
                  <a:cubicBezTo>
                    <a:pt x="52" y="13"/>
                    <a:pt x="84" y="7"/>
                    <a:pt x="101" y="8"/>
                  </a:cubicBezTo>
                  <a:cubicBezTo>
                    <a:pt x="112" y="8"/>
                    <a:pt x="100" y="10"/>
                    <a:pt x="107" y="12"/>
                  </a:cubicBezTo>
                  <a:cubicBezTo>
                    <a:pt x="114" y="14"/>
                    <a:pt x="138" y="8"/>
                    <a:pt x="141" y="20"/>
                  </a:cubicBezTo>
                  <a:cubicBezTo>
                    <a:pt x="140" y="43"/>
                    <a:pt x="154" y="81"/>
                    <a:pt x="125" y="84"/>
                  </a:cubicBezTo>
                  <a:cubicBezTo>
                    <a:pt x="123" y="103"/>
                    <a:pt x="127" y="117"/>
                    <a:pt x="128" y="131"/>
                  </a:cubicBezTo>
                  <a:cubicBezTo>
                    <a:pt x="130" y="143"/>
                    <a:pt x="137" y="150"/>
                    <a:pt x="137" y="156"/>
                  </a:cubicBezTo>
                  <a:cubicBezTo>
                    <a:pt x="137" y="162"/>
                    <a:pt x="135" y="161"/>
                    <a:pt x="131" y="167"/>
                  </a:cubicBezTo>
                  <a:cubicBezTo>
                    <a:pt x="127" y="173"/>
                    <a:pt x="119" y="189"/>
                    <a:pt x="111" y="192"/>
                  </a:cubicBezTo>
                  <a:cubicBezTo>
                    <a:pt x="93" y="191"/>
                    <a:pt x="92" y="194"/>
                    <a:pt x="81" y="185"/>
                  </a:cubicBezTo>
                  <a:cubicBezTo>
                    <a:pt x="77" y="186"/>
                    <a:pt x="66" y="187"/>
                    <a:pt x="75" y="191"/>
                  </a:cubicBezTo>
                  <a:close/>
                </a:path>
              </a:pathLst>
            </a:custGeom>
            <a:solidFill>
              <a:schemeClr val="bg1">
                <a:lumMod val="85000"/>
              </a:schemeClr>
            </a:solidFill>
            <a:ln w="9525" cap="flat" cmpd="sng">
              <a:solidFill>
                <a:schemeClr val="bg1"/>
              </a:solidFill>
              <a:prstDash val="solid"/>
              <a:round/>
              <a:headEnd type="none" w="med" len="med"/>
              <a:tailEnd type="none" w="med" len="med"/>
            </a:ln>
            <a:effectLst/>
            <a:extLst/>
          </p:spPr>
          <p:txBody>
            <a:bodyPr>
              <a:noAutofit/>
            </a:bodyPr>
            <a:lstStyle/>
            <a:p>
              <a:pPr fontAlgn="auto">
                <a:spcBef>
                  <a:spcPts val="0"/>
                </a:spcBef>
                <a:spcAft>
                  <a:spcPts val="0"/>
                </a:spcAft>
                <a:defRPr/>
              </a:pPr>
              <a:endParaRPr lang="en-CA" kern="0">
                <a:solidFill>
                  <a:sysClr val="windowText" lastClr="000000"/>
                </a:solidFill>
              </a:endParaRPr>
            </a:p>
          </p:txBody>
        </p:sp>
        <p:sp>
          <p:nvSpPr>
            <p:cNvPr id="382" name="Freeform 55"/>
            <p:cNvSpPr>
              <a:spLocks/>
            </p:cNvSpPr>
            <p:nvPr>
              <p:custDataLst>
                <p:tags r:id="rId59"/>
              </p:custDataLst>
            </p:nvPr>
          </p:nvSpPr>
          <p:spPr bwMode="gray">
            <a:xfrm>
              <a:off x="2603971" y="2745330"/>
              <a:ext cx="120809" cy="123906"/>
            </a:xfrm>
            <a:custGeom>
              <a:avLst/>
              <a:gdLst>
                <a:gd name="T0" fmla="*/ 20 w 149"/>
                <a:gd name="T1" fmla="*/ 11 h 161"/>
                <a:gd name="T2" fmla="*/ 20 w 149"/>
                <a:gd name="T3" fmla="*/ 21 h 161"/>
                <a:gd name="T4" fmla="*/ 20 w 149"/>
                <a:gd name="T5" fmla="*/ 35 h 161"/>
                <a:gd name="T6" fmla="*/ 20 w 149"/>
                <a:gd name="T7" fmla="*/ 48 h 161"/>
                <a:gd name="T8" fmla="*/ 18 w 149"/>
                <a:gd name="T9" fmla="*/ 69 h 161"/>
                <a:gd name="T10" fmla="*/ 3 w 149"/>
                <a:gd name="T11" fmla="*/ 84 h 161"/>
                <a:gd name="T12" fmla="*/ 2 w 149"/>
                <a:gd name="T13" fmla="*/ 94 h 161"/>
                <a:gd name="T14" fmla="*/ 3 w 149"/>
                <a:gd name="T15" fmla="*/ 123 h 161"/>
                <a:gd name="T16" fmla="*/ 14 w 149"/>
                <a:gd name="T17" fmla="*/ 147 h 161"/>
                <a:gd name="T18" fmla="*/ 32 w 149"/>
                <a:gd name="T19" fmla="*/ 144 h 161"/>
                <a:gd name="T20" fmla="*/ 47 w 149"/>
                <a:gd name="T21" fmla="*/ 129 h 161"/>
                <a:gd name="T22" fmla="*/ 66 w 149"/>
                <a:gd name="T23" fmla="*/ 131 h 161"/>
                <a:gd name="T24" fmla="*/ 80 w 149"/>
                <a:gd name="T25" fmla="*/ 128 h 161"/>
                <a:gd name="T26" fmla="*/ 98 w 149"/>
                <a:gd name="T27" fmla="*/ 117 h 161"/>
                <a:gd name="T28" fmla="*/ 107 w 149"/>
                <a:gd name="T29" fmla="*/ 104 h 161"/>
                <a:gd name="T30" fmla="*/ 116 w 149"/>
                <a:gd name="T31" fmla="*/ 89 h 161"/>
                <a:gd name="T32" fmla="*/ 134 w 149"/>
                <a:gd name="T33" fmla="*/ 81 h 161"/>
                <a:gd name="T34" fmla="*/ 138 w 149"/>
                <a:gd name="T35" fmla="*/ 78 h 161"/>
                <a:gd name="T36" fmla="*/ 137 w 149"/>
                <a:gd name="T37" fmla="*/ 68 h 161"/>
                <a:gd name="T38" fmla="*/ 114 w 149"/>
                <a:gd name="T39" fmla="*/ 63 h 161"/>
                <a:gd name="T40" fmla="*/ 99 w 149"/>
                <a:gd name="T41" fmla="*/ 42 h 161"/>
                <a:gd name="T42" fmla="*/ 84 w 149"/>
                <a:gd name="T43" fmla="*/ 24 h 161"/>
                <a:gd name="T44" fmla="*/ 74 w 149"/>
                <a:gd name="T45" fmla="*/ 9 h 161"/>
                <a:gd name="T46" fmla="*/ 36 w 149"/>
                <a:gd name="T47" fmla="*/ 3 h 161"/>
                <a:gd name="T48" fmla="*/ 24 w 149"/>
                <a:gd name="T49" fmla="*/ 9 h 161"/>
                <a:gd name="T50" fmla="*/ 20 w 149"/>
                <a:gd name="T51" fmla="*/ 11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49" h="161">
                  <a:moveTo>
                    <a:pt x="20" y="11"/>
                  </a:moveTo>
                  <a:cubicBezTo>
                    <a:pt x="19" y="13"/>
                    <a:pt x="20" y="15"/>
                    <a:pt x="20" y="21"/>
                  </a:cubicBezTo>
                  <a:cubicBezTo>
                    <a:pt x="20" y="25"/>
                    <a:pt x="20" y="31"/>
                    <a:pt x="20" y="35"/>
                  </a:cubicBezTo>
                  <a:cubicBezTo>
                    <a:pt x="20" y="39"/>
                    <a:pt x="20" y="42"/>
                    <a:pt x="20" y="48"/>
                  </a:cubicBezTo>
                  <a:cubicBezTo>
                    <a:pt x="20" y="54"/>
                    <a:pt x="21" y="63"/>
                    <a:pt x="18" y="69"/>
                  </a:cubicBezTo>
                  <a:cubicBezTo>
                    <a:pt x="16" y="74"/>
                    <a:pt x="5" y="79"/>
                    <a:pt x="3" y="84"/>
                  </a:cubicBezTo>
                  <a:cubicBezTo>
                    <a:pt x="2" y="88"/>
                    <a:pt x="0" y="86"/>
                    <a:pt x="2" y="94"/>
                  </a:cubicBezTo>
                  <a:cubicBezTo>
                    <a:pt x="2" y="100"/>
                    <a:pt x="1" y="114"/>
                    <a:pt x="3" y="123"/>
                  </a:cubicBezTo>
                  <a:cubicBezTo>
                    <a:pt x="5" y="132"/>
                    <a:pt x="9" y="144"/>
                    <a:pt x="14" y="147"/>
                  </a:cubicBezTo>
                  <a:cubicBezTo>
                    <a:pt x="16" y="161"/>
                    <a:pt x="22" y="150"/>
                    <a:pt x="32" y="144"/>
                  </a:cubicBezTo>
                  <a:cubicBezTo>
                    <a:pt x="38" y="143"/>
                    <a:pt x="41" y="131"/>
                    <a:pt x="47" y="129"/>
                  </a:cubicBezTo>
                  <a:cubicBezTo>
                    <a:pt x="53" y="127"/>
                    <a:pt x="61" y="131"/>
                    <a:pt x="66" y="131"/>
                  </a:cubicBezTo>
                  <a:cubicBezTo>
                    <a:pt x="71" y="131"/>
                    <a:pt x="75" y="130"/>
                    <a:pt x="80" y="128"/>
                  </a:cubicBezTo>
                  <a:cubicBezTo>
                    <a:pt x="90" y="126"/>
                    <a:pt x="90" y="122"/>
                    <a:pt x="98" y="117"/>
                  </a:cubicBezTo>
                  <a:cubicBezTo>
                    <a:pt x="101" y="113"/>
                    <a:pt x="105" y="109"/>
                    <a:pt x="107" y="104"/>
                  </a:cubicBezTo>
                  <a:cubicBezTo>
                    <a:pt x="108" y="95"/>
                    <a:pt x="108" y="94"/>
                    <a:pt x="116" y="89"/>
                  </a:cubicBezTo>
                  <a:cubicBezTo>
                    <a:pt x="120" y="82"/>
                    <a:pt x="126" y="83"/>
                    <a:pt x="134" y="81"/>
                  </a:cubicBezTo>
                  <a:cubicBezTo>
                    <a:pt x="135" y="80"/>
                    <a:pt x="136" y="79"/>
                    <a:pt x="138" y="78"/>
                  </a:cubicBezTo>
                  <a:cubicBezTo>
                    <a:pt x="147" y="74"/>
                    <a:pt x="149" y="70"/>
                    <a:pt x="137" y="68"/>
                  </a:cubicBezTo>
                  <a:cubicBezTo>
                    <a:pt x="129" y="65"/>
                    <a:pt x="122" y="66"/>
                    <a:pt x="114" y="63"/>
                  </a:cubicBezTo>
                  <a:cubicBezTo>
                    <a:pt x="113" y="45"/>
                    <a:pt x="114" y="47"/>
                    <a:pt x="99" y="42"/>
                  </a:cubicBezTo>
                  <a:cubicBezTo>
                    <a:pt x="91" y="36"/>
                    <a:pt x="94" y="28"/>
                    <a:pt x="84" y="24"/>
                  </a:cubicBezTo>
                  <a:cubicBezTo>
                    <a:pt x="80" y="18"/>
                    <a:pt x="81" y="12"/>
                    <a:pt x="74" y="9"/>
                  </a:cubicBezTo>
                  <a:cubicBezTo>
                    <a:pt x="62" y="11"/>
                    <a:pt x="48" y="5"/>
                    <a:pt x="36" y="3"/>
                  </a:cubicBezTo>
                  <a:cubicBezTo>
                    <a:pt x="31" y="0"/>
                    <a:pt x="24" y="9"/>
                    <a:pt x="24" y="9"/>
                  </a:cubicBezTo>
                  <a:cubicBezTo>
                    <a:pt x="23" y="10"/>
                    <a:pt x="20" y="11"/>
                    <a:pt x="20" y="11"/>
                  </a:cubicBezTo>
                  <a:close/>
                </a:path>
              </a:pathLst>
            </a:custGeom>
            <a:solidFill>
              <a:schemeClr val="bg1">
                <a:lumMod val="85000"/>
              </a:schemeClr>
            </a:solidFill>
            <a:ln w="9525" cap="flat" cmpd="sng">
              <a:solidFill>
                <a:schemeClr val="bg1"/>
              </a:solidFill>
              <a:prstDash val="solid"/>
              <a:round/>
              <a:headEnd type="none" w="med" len="med"/>
              <a:tailEnd type="none" w="med" len="med"/>
            </a:ln>
            <a:effectLst/>
            <a:extLst/>
          </p:spPr>
          <p:txBody>
            <a:bodyPr>
              <a:noAutofit/>
            </a:bodyPr>
            <a:lstStyle/>
            <a:p>
              <a:pPr fontAlgn="auto">
                <a:spcBef>
                  <a:spcPts val="0"/>
                </a:spcBef>
                <a:spcAft>
                  <a:spcPts val="0"/>
                </a:spcAft>
                <a:defRPr/>
              </a:pPr>
              <a:endParaRPr lang="en-CA" kern="0">
                <a:solidFill>
                  <a:sysClr val="windowText" lastClr="000000"/>
                </a:solidFill>
              </a:endParaRPr>
            </a:p>
          </p:txBody>
        </p:sp>
        <p:sp>
          <p:nvSpPr>
            <p:cNvPr id="383" name="Freeform 56"/>
            <p:cNvSpPr>
              <a:spLocks/>
            </p:cNvSpPr>
            <p:nvPr>
              <p:custDataLst>
                <p:tags r:id="rId60"/>
              </p:custDataLst>
            </p:nvPr>
          </p:nvSpPr>
          <p:spPr bwMode="gray">
            <a:xfrm>
              <a:off x="2884791" y="2680684"/>
              <a:ext cx="90406" cy="163926"/>
            </a:xfrm>
            <a:custGeom>
              <a:avLst/>
              <a:gdLst>
                <a:gd name="T0" fmla="*/ 15 w 112"/>
                <a:gd name="T1" fmla="*/ 204 h 213"/>
                <a:gd name="T2" fmla="*/ 3 w 112"/>
                <a:gd name="T3" fmla="*/ 179 h 213"/>
                <a:gd name="T4" fmla="*/ 14 w 112"/>
                <a:gd name="T5" fmla="*/ 140 h 213"/>
                <a:gd name="T6" fmla="*/ 12 w 112"/>
                <a:gd name="T7" fmla="*/ 98 h 213"/>
                <a:gd name="T8" fmla="*/ 47 w 112"/>
                <a:gd name="T9" fmla="*/ 56 h 213"/>
                <a:gd name="T10" fmla="*/ 59 w 112"/>
                <a:gd name="T11" fmla="*/ 44 h 213"/>
                <a:gd name="T12" fmla="*/ 69 w 112"/>
                <a:gd name="T13" fmla="*/ 32 h 213"/>
                <a:gd name="T14" fmla="*/ 80 w 112"/>
                <a:gd name="T15" fmla="*/ 18 h 213"/>
                <a:gd name="T16" fmla="*/ 90 w 112"/>
                <a:gd name="T17" fmla="*/ 0 h 213"/>
                <a:gd name="T18" fmla="*/ 101 w 112"/>
                <a:gd name="T19" fmla="*/ 17 h 213"/>
                <a:gd name="T20" fmla="*/ 110 w 112"/>
                <a:gd name="T21" fmla="*/ 56 h 213"/>
                <a:gd name="T22" fmla="*/ 102 w 112"/>
                <a:gd name="T23" fmla="*/ 68 h 213"/>
                <a:gd name="T24" fmla="*/ 95 w 112"/>
                <a:gd name="T25" fmla="*/ 90 h 213"/>
                <a:gd name="T26" fmla="*/ 80 w 112"/>
                <a:gd name="T27" fmla="*/ 129 h 213"/>
                <a:gd name="T28" fmla="*/ 74 w 112"/>
                <a:gd name="T29" fmla="*/ 159 h 213"/>
                <a:gd name="T30" fmla="*/ 66 w 112"/>
                <a:gd name="T31" fmla="*/ 186 h 213"/>
                <a:gd name="T32" fmla="*/ 33 w 112"/>
                <a:gd name="T33" fmla="*/ 210 h 213"/>
                <a:gd name="T34" fmla="*/ 15 w 112"/>
                <a:gd name="T35" fmla="*/ 204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2" h="213">
                  <a:moveTo>
                    <a:pt x="15" y="204"/>
                  </a:moveTo>
                  <a:cubicBezTo>
                    <a:pt x="9" y="195"/>
                    <a:pt x="12" y="181"/>
                    <a:pt x="3" y="179"/>
                  </a:cubicBezTo>
                  <a:cubicBezTo>
                    <a:pt x="0" y="163"/>
                    <a:pt x="0" y="148"/>
                    <a:pt x="14" y="140"/>
                  </a:cubicBezTo>
                  <a:cubicBezTo>
                    <a:pt x="21" y="128"/>
                    <a:pt x="18" y="110"/>
                    <a:pt x="12" y="98"/>
                  </a:cubicBezTo>
                  <a:cubicBezTo>
                    <a:pt x="16" y="66"/>
                    <a:pt x="15" y="61"/>
                    <a:pt x="47" y="56"/>
                  </a:cubicBezTo>
                  <a:cubicBezTo>
                    <a:pt x="52" y="52"/>
                    <a:pt x="54" y="48"/>
                    <a:pt x="59" y="44"/>
                  </a:cubicBezTo>
                  <a:cubicBezTo>
                    <a:pt x="62" y="39"/>
                    <a:pt x="64" y="36"/>
                    <a:pt x="69" y="32"/>
                  </a:cubicBezTo>
                  <a:cubicBezTo>
                    <a:pt x="73" y="25"/>
                    <a:pt x="72" y="21"/>
                    <a:pt x="80" y="18"/>
                  </a:cubicBezTo>
                  <a:cubicBezTo>
                    <a:pt x="85" y="12"/>
                    <a:pt x="83" y="5"/>
                    <a:pt x="90" y="0"/>
                  </a:cubicBezTo>
                  <a:cubicBezTo>
                    <a:pt x="99" y="3"/>
                    <a:pt x="96" y="9"/>
                    <a:pt x="101" y="17"/>
                  </a:cubicBezTo>
                  <a:cubicBezTo>
                    <a:pt x="103" y="31"/>
                    <a:pt x="105" y="43"/>
                    <a:pt x="110" y="56"/>
                  </a:cubicBezTo>
                  <a:cubicBezTo>
                    <a:pt x="112" y="66"/>
                    <a:pt x="107" y="60"/>
                    <a:pt x="102" y="68"/>
                  </a:cubicBezTo>
                  <a:cubicBezTo>
                    <a:pt x="105" y="78"/>
                    <a:pt x="103" y="84"/>
                    <a:pt x="95" y="90"/>
                  </a:cubicBezTo>
                  <a:cubicBezTo>
                    <a:pt x="94" y="103"/>
                    <a:pt x="91" y="120"/>
                    <a:pt x="80" y="129"/>
                  </a:cubicBezTo>
                  <a:cubicBezTo>
                    <a:pt x="79" y="140"/>
                    <a:pt x="81" y="150"/>
                    <a:pt x="74" y="159"/>
                  </a:cubicBezTo>
                  <a:cubicBezTo>
                    <a:pt x="72" y="169"/>
                    <a:pt x="71" y="177"/>
                    <a:pt x="66" y="186"/>
                  </a:cubicBezTo>
                  <a:cubicBezTo>
                    <a:pt x="64" y="211"/>
                    <a:pt x="57" y="206"/>
                    <a:pt x="33" y="210"/>
                  </a:cubicBezTo>
                  <a:cubicBezTo>
                    <a:pt x="25" y="213"/>
                    <a:pt x="20" y="209"/>
                    <a:pt x="15" y="204"/>
                  </a:cubicBezTo>
                  <a:close/>
                </a:path>
              </a:pathLst>
            </a:custGeom>
            <a:solidFill>
              <a:schemeClr val="bg1">
                <a:lumMod val="85000"/>
              </a:schemeClr>
            </a:solidFill>
            <a:ln w="9525" cap="flat" cmpd="sng">
              <a:solidFill>
                <a:schemeClr val="bg1"/>
              </a:solidFill>
              <a:prstDash val="solid"/>
              <a:round/>
              <a:headEnd type="none" w="med" len="med"/>
              <a:tailEnd type="none" w="med" len="med"/>
            </a:ln>
            <a:effectLst/>
            <a:extLst/>
          </p:spPr>
          <p:txBody>
            <a:bodyPr>
              <a:noAutofit/>
            </a:bodyPr>
            <a:lstStyle/>
            <a:p>
              <a:pPr fontAlgn="auto">
                <a:spcBef>
                  <a:spcPts val="0"/>
                </a:spcBef>
                <a:spcAft>
                  <a:spcPts val="0"/>
                </a:spcAft>
                <a:defRPr/>
              </a:pPr>
              <a:endParaRPr lang="en-CA" kern="0">
                <a:solidFill>
                  <a:sysClr val="windowText" lastClr="000000"/>
                </a:solidFill>
              </a:endParaRPr>
            </a:p>
          </p:txBody>
        </p:sp>
        <p:sp>
          <p:nvSpPr>
            <p:cNvPr id="384" name="Freeform 57"/>
            <p:cNvSpPr>
              <a:spLocks/>
            </p:cNvSpPr>
            <p:nvPr>
              <p:custDataLst>
                <p:tags r:id="rId61"/>
              </p:custDataLst>
            </p:nvPr>
          </p:nvSpPr>
          <p:spPr bwMode="gray">
            <a:xfrm>
              <a:off x="2735979" y="2849226"/>
              <a:ext cx="24001" cy="19241"/>
            </a:xfrm>
            <a:custGeom>
              <a:avLst/>
              <a:gdLst>
                <a:gd name="T0" fmla="*/ 18 w 30"/>
                <a:gd name="T1" fmla="*/ 0 h 25"/>
                <a:gd name="T2" fmla="*/ 5 w 30"/>
                <a:gd name="T3" fmla="*/ 23 h 25"/>
                <a:gd name="T4" fmla="*/ 20 w 30"/>
                <a:gd name="T5" fmla="*/ 21 h 25"/>
                <a:gd name="T6" fmla="*/ 18 w 30"/>
                <a:gd name="T7" fmla="*/ 0 h 25"/>
              </a:gdLst>
              <a:ahLst/>
              <a:cxnLst>
                <a:cxn ang="0">
                  <a:pos x="T0" y="T1"/>
                </a:cxn>
                <a:cxn ang="0">
                  <a:pos x="T2" y="T3"/>
                </a:cxn>
                <a:cxn ang="0">
                  <a:pos x="T4" y="T5"/>
                </a:cxn>
                <a:cxn ang="0">
                  <a:pos x="T6" y="T7"/>
                </a:cxn>
              </a:cxnLst>
              <a:rect l="0" t="0" r="r" b="b"/>
              <a:pathLst>
                <a:path w="30" h="25">
                  <a:moveTo>
                    <a:pt x="18" y="0"/>
                  </a:moveTo>
                  <a:cubicBezTo>
                    <a:pt x="0" y="3"/>
                    <a:pt x="3" y="3"/>
                    <a:pt x="5" y="23"/>
                  </a:cubicBezTo>
                  <a:cubicBezTo>
                    <a:pt x="10" y="22"/>
                    <a:pt x="17" y="25"/>
                    <a:pt x="20" y="21"/>
                  </a:cubicBezTo>
                  <a:cubicBezTo>
                    <a:pt x="30" y="7"/>
                    <a:pt x="9" y="6"/>
                    <a:pt x="18" y="0"/>
                  </a:cubicBezTo>
                  <a:close/>
                </a:path>
              </a:pathLst>
            </a:custGeom>
            <a:solidFill>
              <a:schemeClr val="bg1">
                <a:lumMod val="85000"/>
              </a:schemeClr>
            </a:solidFill>
            <a:ln w="9525" cap="flat" cmpd="sng">
              <a:solidFill>
                <a:schemeClr val="bg1"/>
              </a:solidFill>
              <a:prstDash val="solid"/>
              <a:round/>
              <a:headEnd type="none" w="med" len="med"/>
              <a:tailEnd type="none" w="med" len="med"/>
            </a:ln>
            <a:effectLst/>
            <a:extLst/>
          </p:spPr>
          <p:txBody>
            <a:bodyPr>
              <a:noAutofit/>
            </a:bodyPr>
            <a:lstStyle/>
            <a:p>
              <a:pPr fontAlgn="auto">
                <a:spcBef>
                  <a:spcPts val="0"/>
                </a:spcBef>
                <a:spcAft>
                  <a:spcPts val="0"/>
                </a:spcAft>
                <a:defRPr/>
              </a:pPr>
              <a:endParaRPr lang="en-CA" kern="0">
                <a:solidFill>
                  <a:sysClr val="windowText" lastClr="000000"/>
                </a:solidFill>
              </a:endParaRPr>
            </a:p>
          </p:txBody>
        </p:sp>
        <p:sp>
          <p:nvSpPr>
            <p:cNvPr id="385" name="Freeform 58"/>
            <p:cNvSpPr>
              <a:spLocks/>
            </p:cNvSpPr>
            <p:nvPr>
              <p:custDataLst>
                <p:tags r:id="rId62"/>
              </p:custDataLst>
            </p:nvPr>
          </p:nvSpPr>
          <p:spPr bwMode="gray">
            <a:xfrm>
              <a:off x="2663175" y="2155815"/>
              <a:ext cx="142410" cy="141607"/>
            </a:xfrm>
            <a:custGeom>
              <a:avLst/>
              <a:gdLst>
                <a:gd name="T0" fmla="*/ 8 w 175"/>
                <a:gd name="T1" fmla="*/ 178 h 184"/>
                <a:gd name="T2" fmla="*/ 151 w 175"/>
                <a:gd name="T3" fmla="*/ 174 h 184"/>
                <a:gd name="T4" fmla="*/ 157 w 175"/>
                <a:gd name="T5" fmla="*/ 145 h 184"/>
                <a:gd name="T6" fmla="*/ 149 w 175"/>
                <a:gd name="T7" fmla="*/ 111 h 184"/>
                <a:gd name="T8" fmla="*/ 131 w 175"/>
                <a:gd name="T9" fmla="*/ 79 h 184"/>
                <a:gd name="T10" fmla="*/ 119 w 175"/>
                <a:gd name="T11" fmla="*/ 51 h 184"/>
                <a:gd name="T12" fmla="*/ 122 w 175"/>
                <a:gd name="T13" fmla="*/ 43 h 184"/>
                <a:gd name="T14" fmla="*/ 127 w 175"/>
                <a:gd name="T15" fmla="*/ 61 h 184"/>
                <a:gd name="T16" fmla="*/ 136 w 175"/>
                <a:gd name="T17" fmla="*/ 79 h 184"/>
                <a:gd name="T18" fmla="*/ 145 w 175"/>
                <a:gd name="T19" fmla="*/ 28 h 184"/>
                <a:gd name="T20" fmla="*/ 115 w 175"/>
                <a:gd name="T21" fmla="*/ 24 h 184"/>
                <a:gd name="T22" fmla="*/ 100 w 175"/>
                <a:gd name="T23" fmla="*/ 10 h 184"/>
                <a:gd name="T24" fmla="*/ 70 w 175"/>
                <a:gd name="T25" fmla="*/ 27 h 184"/>
                <a:gd name="T26" fmla="*/ 41 w 175"/>
                <a:gd name="T27" fmla="*/ 15 h 184"/>
                <a:gd name="T28" fmla="*/ 7 w 175"/>
                <a:gd name="T29" fmla="*/ 13 h 184"/>
                <a:gd name="T30" fmla="*/ 1 w 175"/>
                <a:gd name="T31" fmla="*/ 27 h 184"/>
                <a:gd name="T32" fmla="*/ 5 w 175"/>
                <a:gd name="T33" fmla="*/ 106 h 184"/>
                <a:gd name="T34" fmla="*/ 4 w 175"/>
                <a:gd name="T35" fmla="*/ 177 h 184"/>
                <a:gd name="T36" fmla="*/ 8 w 175"/>
                <a:gd name="T37" fmla="*/ 178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75" h="184">
                  <a:moveTo>
                    <a:pt x="8" y="178"/>
                  </a:moveTo>
                  <a:cubicBezTo>
                    <a:pt x="34" y="173"/>
                    <a:pt x="127" y="184"/>
                    <a:pt x="151" y="174"/>
                  </a:cubicBezTo>
                  <a:cubicBezTo>
                    <a:pt x="175" y="169"/>
                    <a:pt x="157" y="155"/>
                    <a:pt x="157" y="145"/>
                  </a:cubicBezTo>
                  <a:cubicBezTo>
                    <a:pt x="157" y="135"/>
                    <a:pt x="153" y="122"/>
                    <a:pt x="149" y="111"/>
                  </a:cubicBezTo>
                  <a:cubicBezTo>
                    <a:pt x="147" y="99"/>
                    <a:pt x="137" y="89"/>
                    <a:pt x="131" y="79"/>
                  </a:cubicBezTo>
                  <a:cubicBezTo>
                    <a:pt x="130" y="67"/>
                    <a:pt x="129" y="57"/>
                    <a:pt x="119" y="51"/>
                  </a:cubicBezTo>
                  <a:cubicBezTo>
                    <a:pt x="118" y="48"/>
                    <a:pt x="119" y="42"/>
                    <a:pt x="122" y="43"/>
                  </a:cubicBezTo>
                  <a:cubicBezTo>
                    <a:pt x="124" y="44"/>
                    <a:pt x="126" y="58"/>
                    <a:pt x="127" y="61"/>
                  </a:cubicBezTo>
                  <a:cubicBezTo>
                    <a:pt x="128" y="68"/>
                    <a:pt x="128" y="77"/>
                    <a:pt x="136" y="79"/>
                  </a:cubicBezTo>
                  <a:cubicBezTo>
                    <a:pt x="162" y="76"/>
                    <a:pt x="151" y="81"/>
                    <a:pt x="145" y="28"/>
                  </a:cubicBezTo>
                  <a:cubicBezTo>
                    <a:pt x="144" y="18"/>
                    <a:pt x="125" y="24"/>
                    <a:pt x="115" y="24"/>
                  </a:cubicBezTo>
                  <a:cubicBezTo>
                    <a:pt x="109" y="20"/>
                    <a:pt x="106" y="15"/>
                    <a:pt x="100" y="10"/>
                  </a:cubicBezTo>
                  <a:cubicBezTo>
                    <a:pt x="87" y="13"/>
                    <a:pt x="82" y="21"/>
                    <a:pt x="70" y="27"/>
                  </a:cubicBezTo>
                  <a:cubicBezTo>
                    <a:pt x="60" y="24"/>
                    <a:pt x="51" y="17"/>
                    <a:pt x="41" y="15"/>
                  </a:cubicBezTo>
                  <a:cubicBezTo>
                    <a:pt x="30" y="9"/>
                    <a:pt x="21" y="12"/>
                    <a:pt x="7" y="13"/>
                  </a:cubicBezTo>
                  <a:cubicBezTo>
                    <a:pt x="0" y="15"/>
                    <a:pt x="1" y="0"/>
                    <a:pt x="1" y="27"/>
                  </a:cubicBezTo>
                  <a:cubicBezTo>
                    <a:pt x="0" y="42"/>
                    <a:pt x="5" y="81"/>
                    <a:pt x="5" y="106"/>
                  </a:cubicBezTo>
                  <a:cubicBezTo>
                    <a:pt x="5" y="131"/>
                    <a:pt x="3" y="165"/>
                    <a:pt x="4" y="177"/>
                  </a:cubicBezTo>
                  <a:cubicBezTo>
                    <a:pt x="9" y="174"/>
                    <a:pt x="13" y="179"/>
                    <a:pt x="8" y="178"/>
                  </a:cubicBezTo>
                  <a:close/>
                </a:path>
              </a:pathLst>
            </a:custGeom>
            <a:solidFill>
              <a:schemeClr val="bg1">
                <a:lumMod val="85000"/>
              </a:schemeClr>
            </a:solidFill>
            <a:ln w="9525" cap="flat" cmpd="sng">
              <a:solidFill>
                <a:schemeClr val="bg1"/>
              </a:solidFill>
              <a:prstDash val="solid"/>
              <a:round/>
              <a:headEnd type="none" w="med" len="med"/>
              <a:tailEnd type="none" w="med" len="med"/>
            </a:ln>
            <a:effectLst/>
            <a:extLst/>
          </p:spPr>
          <p:txBody>
            <a:bodyPr>
              <a:noAutofit/>
            </a:bodyPr>
            <a:lstStyle/>
            <a:p>
              <a:pPr fontAlgn="auto">
                <a:spcBef>
                  <a:spcPts val="0"/>
                </a:spcBef>
                <a:spcAft>
                  <a:spcPts val="0"/>
                </a:spcAft>
                <a:defRPr/>
              </a:pPr>
              <a:endParaRPr lang="en-CA" kern="0">
                <a:solidFill>
                  <a:sysClr val="windowText" lastClr="000000"/>
                </a:solidFill>
              </a:endParaRPr>
            </a:p>
          </p:txBody>
        </p:sp>
        <p:sp>
          <p:nvSpPr>
            <p:cNvPr id="386" name="Freeform 59"/>
            <p:cNvSpPr>
              <a:spLocks/>
            </p:cNvSpPr>
            <p:nvPr>
              <p:custDataLst>
                <p:tags r:id="rId63"/>
              </p:custDataLst>
            </p:nvPr>
          </p:nvSpPr>
          <p:spPr bwMode="gray">
            <a:xfrm>
              <a:off x="2161541" y="2213536"/>
              <a:ext cx="118408" cy="90045"/>
            </a:xfrm>
            <a:custGeom>
              <a:avLst/>
              <a:gdLst>
                <a:gd name="T0" fmla="*/ 118 w 146"/>
                <a:gd name="T1" fmla="*/ 0 h 117"/>
                <a:gd name="T2" fmla="*/ 62 w 146"/>
                <a:gd name="T3" fmla="*/ 2 h 117"/>
                <a:gd name="T4" fmla="*/ 54 w 146"/>
                <a:gd name="T5" fmla="*/ 4 h 117"/>
                <a:gd name="T6" fmla="*/ 50 w 146"/>
                <a:gd name="T7" fmla="*/ 24 h 117"/>
                <a:gd name="T8" fmla="*/ 32 w 146"/>
                <a:gd name="T9" fmla="*/ 30 h 117"/>
                <a:gd name="T10" fmla="*/ 22 w 146"/>
                <a:gd name="T11" fmla="*/ 60 h 117"/>
                <a:gd name="T12" fmla="*/ 4 w 146"/>
                <a:gd name="T13" fmla="*/ 92 h 117"/>
                <a:gd name="T14" fmla="*/ 3 w 146"/>
                <a:gd name="T15" fmla="*/ 114 h 117"/>
                <a:gd name="T16" fmla="*/ 19 w 146"/>
                <a:gd name="T17" fmla="*/ 108 h 117"/>
                <a:gd name="T18" fmla="*/ 43 w 146"/>
                <a:gd name="T19" fmla="*/ 106 h 117"/>
                <a:gd name="T20" fmla="*/ 58 w 146"/>
                <a:gd name="T21" fmla="*/ 108 h 117"/>
                <a:gd name="T22" fmla="*/ 60 w 146"/>
                <a:gd name="T23" fmla="*/ 90 h 117"/>
                <a:gd name="T24" fmla="*/ 60 w 146"/>
                <a:gd name="T25" fmla="*/ 76 h 117"/>
                <a:gd name="T26" fmla="*/ 72 w 146"/>
                <a:gd name="T27" fmla="*/ 72 h 117"/>
                <a:gd name="T28" fmla="*/ 76 w 146"/>
                <a:gd name="T29" fmla="*/ 66 h 117"/>
                <a:gd name="T30" fmla="*/ 75 w 146"/>
                <a:gd name="T31" fmla="*/ 52 h 117"/>
                <a:gd name="T32" fmla="*/ 75 w 146"/>
                <a:gd name="T33" fmla="*/ 46 h 117"/>
                <a:gd name="T34" fmla="*/ 78 w 146"/>
                <a:gd name="T35" fmla="*/ 33 h 117"/>
                <a:gd name="T36" fmla="*/ 88 w 146"/>
                <a:gd name="T37" fmla="*/ 30 h 117"/>
                <a:gd name="T38" fmla="*/ 106 w 146"/>
                <a:gd name="T39" fmla="*/ 34 h 117"/>
                <a:gd name="T40" fmla="*/ 130 w 146"/>
                <a:gd name="T41" fmla="*/ 30 h 117"/>
                <a:gd name="T42" fmla="*/ 138 w 146"/>
                <a:gd name="T43" fmla="*/ 21 h 117"/>
                <a:gd name="T44" fmla="*/ 118 w 146"/>
                <a:gd name="T45" fmla="*/ 0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46" h="117">
                  <a:moveTo>
                    <a:pt x="118" y="0"/>
                  </a:moveTo>
                  <a:cubicBezTo>
                    <a:pt x="99" y="1"/>
                    <a:pt x="81" y="1"/>
                    <a:pt x="62" y="2"/>
                  </a:cubicBezTo>
                  <a:cubicBezTo>
                    <a:pt x="59" y="2"/>
                    <a:pt x="56" y="2"/>
                    <a:pt x="54" y="4"/>
                  </a:cubicBezTo>
                  <a:cubicBezTo>
                    <a:pt x="50" y="10"/>
                    <a:pt x="55" y="20"/>
                    <a:pt x="50" y="24"/>
                  </a:cubicBezTo>
                  <a:cubicBezTo>
                    <a:pt x="45" y="28"/>
                    <a:pt x="32" y="30"/>
                    <a:pt x="32" y="30"/>
                  </a:cubicBezTo>
                  <a:cubicBezTo>
                    <a:pt x="28" y="42"/>
                    <a:pt x="35" y="56"/>
                    <a:pt x="22" y="60"/>
                  </a:cubicBezTo>
                  <a:cubicBezTo>
                    <a:pt x="15" y="71"/>
                    <a:pt x="11" y="81"/>
                    <a:pt x="4" y="92"/>
                  </a:cubicBezTo>
                  <a:cubicBezTo>
                    <a:pt x="0" y="98"/>
                    <a:pt x="3" y="114"/>
                    <a:pt x="3" y="114"/>
                  </a:cubicBezTo>
                  <a:cubicBezTo>
                    <a:pt x="6" y="117"/>
                    <a:pt x="12" y="109"/>
                    <a:pt x="19" y="108"/>
                  </a:cubicBezTo>
                  <a:cubicBezTo>
                    <a:pt x="26" y="107"/>
                    <a:pt x="37" y="106"/>
                    <a:pt x="43" y="106"/>
                  </a:cubicBezTo>
                  <a:cubicBezTo>
                    <a:pt x="49" y="106"/>
                    <a:pt x="55" y="111"/>
                    <a:pt x="58" y="108"/>
                  </a:cubicBezTo>
                  <a:cubicBezTo>
                    <a:pt x="63" y="94"/>
                    <a:pt x="63" y="100"/>
                    <a:pt x="60" y="90"/>
                  </a:cubicBezTo>
                  <a:cubicBezTo>
                    <a:pt x="61" y="85"/>
                    <a:pt x="57" y="80"/>
                    <a:pt x="60" y="76"/>
                  </a:cubicBezTo>
                  <a:cubicBezTo>
                    <a:pt x="62" y="73"/>
                    <a:pt x="68" y="74"/>
                    <a:pt x="72" y="72"/>
                  </a:cubicBezTo>
                  <a:cubicBezTo>
                    <a:pt x="73" y="67"/>
                    <a:pt x="75" y="68"/>
                    <a:pt x="76" y="66"/>
                  </a:cubicBezTo>
                  <a:cubicBezTo>
                    <a:pt x="76" y="62"/>
                    <a:pt x="75" y="57"/>
                    <a:pt x="75" y="52"/>
                  </a:cubicBezTo>
                  <a:cubicBezTo>
                    <a:pt x="75" y="49"/>
                    <a:pt x="75" y="49"/>
                    <a:pt x="75" y="46"/>
                  </a:cubicBezTo>
                  <a:cubicBezTo>
                    <a:pt x="75" y="43"/>
                    <a:pt x="76" y="36"/>
                    <a:pt x="78" y="33"/>
                  </a:cubicBezTo>
                  <a:cubicBezTo>
                    <a:pt x="80" y="30"/>
                    <a:pt x="83" y="30"/>
                    <a:pt x="88" y="30"/>
                  </a:cubicBezTo>
                  <a:cubicBezTo>
                    <a:pt x="93" y="30"/>
                    <a:pt x="99" y="34"/>
                    <a:pt x="106" y="34"/>
                  </a:cubicBezTo>
                  <a:cubicBezTo>
                    <a:pt x="113" y="34"/>
                    <a:pt x="125" y="32"/>
                    <a:pt x="130" y="30"/>
                  </a:cubicBezTo>
                  <a:cubicBezTo>
                    <a:pt x="133" y="21"/>
                    <a:pt x="146" y="27"/>
                    <a:pt x="138" y="21"/>
                  </a:cubicBezTo>
                  <a:cubicBezTo>
                    <a:pt x="133" y="13"/>
                    <a:pt x="121" y="8"/>
                    <a:pt x="118" y="0"/>
                  </a:cubicBezTo>
                  <a:close/>
                </a:path>
              </a:pathLst>
            </a:custGeom>
            <a:solidFill>
              <a:schemeClr val="bg1">
                <a:lumMod val="85000"/>
              </a:schemeClr>
            </a:solidFill>
            <a:ln w="9525" cap="flat" cmpd="sng">
              <a:solidFill>
                <a:schemeClr val="bg1"/>
              </a:solidFill>
              <a:prstDash val="solid"/>
              <a:round/>
              <a:headEnd type="none" w="med" len="med"/>
              <a:tailEnd type="none" w="med" len="med"/>
            </a:ln>
            <a:effectLst/>
            <a:extLst/>
          </p:spPr>
          <p:txBody>
            <a:bodyPr>
              <a:noAutofit/>
            </a:bodyPr>
            <a:lstStyle/>
            <a:p>
              <a:pPr fontAlgn="auto">
                <a:spcBef>
                  <a:spcPts val="0"/>
                </a:spcBef>
                <a:spcAft>
                  <a:spcPts val="0"/>
                </a:spcAft>
                <a:defRPr/>
              </a:pPr>
              <a:endParaRPr lang="en-CA" kern="0">
                <a:solidFill>
                  <a:sysClr val="windowText" lastClr="000000"/>
                </a:solidFill>
              </a:endParaRPr>
            </a:p>
          </p:txBody>
        </p:sp>
        <p:sp>
          <p:nvSpPr>
            <p:cNvPr id="387" name="Freeform 60"/>
            <p:cNvSpPr>
              <a:spLocks/>
            </p:cNvSpPr>
            <p:nvPr>
              <p:custDataLst>
                <p:tags r:id="rId64"/>
              </p:custDataLst>
            </p:nvPr>
          </p:nvSpPr>
          <p:spPr bwMode="gray">
            <a:xfrm>
              <a:off x="2207944" y="2109638"/>
              <a:ext cx="140810" cy="106206"/>
            </a:xfrm>
            <a:custGeom>
              <a:avLst/>
              <a:gdLst>
                <a:gd name="T0" fmla="*/ 0 w 173"/>
                <a:gd name="T1" fmla="*/ 138 h 138"/>
                <a:gd name="T2" fmla="*/ 27 w 173"/>
                <a:gd name="T3" fmla="*/ 124 h 138"/>
                <a:gd name="T4" fmla="*/ 39 w 173"/>
                <a:gd name="T5" fmla="*/ 114 h 138"/>
                <a:gd name="T6" fmla="*/ 54 w 173"/>
                <a:gd name="T7" fmla="*/ 63 h 138"/>
                <a:gd name="T8" fmla="*/ 72 w 173"/>
                <a:gd name="T9" fmla="*/ 42 h 138"/>
                <a:gd name="T10" fmla="*/ 90 w 173"/>
                <a:gd name="T11" fmla="*/ 30 h 138"/>
                <a:gd name="T12" fmla="*/ 102 w 173"/>
                <a:gd name="T13" fmla="*/ 15 h 138"/>
                <a:gd name="T14" fmla="*/ 108 w 173"/>
                <a:gd name="T15" fmla="*/ 0 h 138"/>
                <a:gd name="T16" fmla="*/ 144 w 173"/>
                <a:gd name="T17" fmla="*/ 4 h 138"/>
                <a:gd name="T18" fmla="*/ 168 w 173"/>
                <a:gd name="T19" fmla="*/ 12 h 138"/>
                <a:gd name="T20" fmla="*/ 171 w 173"/>
                <a:gd name="T21" fmla="*/ 57 h 138"/>
                <a:gd name="T22" fmla="*/ 154 w 173"/>
                <a:gd name="T23" fmla="*/ 64 h 138"/>
                <a:gd name="T24" fmla="*/ 145 w 173"/>
                <a:gd name="T25" fmla="*/ 76 h 138"/>
                <a:gd name="T26" fmla="*/ 133 w 173"/>
                <a:gd name="T27" fmla="*/ 85 h 138"/>
                <a:gd name="T28" fmla="*/ 118 w 173"/>
                <a:gd name="T29" fmla="*/ 96 h 138"/>
                <a:gd name="T30" fmla="*/ 104 w 173"/>
                <a:gd name="T31" fmla="*/ 108 h 138"/>
                <a:gd name="T32" fmla="*/ 85 w 173"/>
                <a:gd name="T33" fmla="*/ 109 h 138"/>
                <a:gd name="T34" fmla="*/ 61 w 173"/>
                <a:gd name="T35" fmla="*/ 133 h 138"/>
                <a:gd name="T36" fmla="*/ 0 w 173"/>
                <a:gd name="T37" fmla="*/ 138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73" h="138">
                  <a:moveTo>
                    <a:pt x="0" y="138"/>
                  </a:moveTo>
                  <a:cubicBezTo>
                    <a:pt x="6" y="135"/>
                    <a:pt x="21" y="128"/>
                    <a:pt x="27" y="124"/>
                  </a:cubicBezTo>
                  <a:cubicBezTo>
                    <a:pt x="31" y="118"/>
                    <a:pt x="31" y="115"/>
                    <a:pt x="39" y="114"/>
                  </a:cubicBezTo>
                  <a:cubicBezTo>
                    <a:pt x="60" y="104"/>
                    <a:pt x="42" y="80"/>
                    <a:pt x="54" y="63"/>
                  </a:cubicBezTo>
                  <a:cubicBezTo>
                    <a:pt x="56" y="53"/>
                    <a:pt x="61" y="44"/>
                    <a:pt x="72" y="42"/>
                  </a:cubicBezTo>
                  <a:cubicBezTo>
                    <a:pt x="77" y="36"/>
                    <a:pt x="82" y="32"/>
                    <a:pt x="90" y="30"/>
                  </a:cubicBezTo>
                  <a:cubicBezTo>
                    <a:pt x="97" y="27"/>
                    <a:pt x="98" y="21"/>
                    <a:pt x="102" y="15"/>
                  </a:cubicBezTo>
                  <a:cubicBezTo>
                    <a:pt x="103" y="9"/>
                    <a:pt x="104" y="5"/>
                    <a:pt x="108" y="0"/>
                  </a:cubicBezTo>
                  <a:cubicBezTo>
                    <a:pt x="121" y="1"/>
                    <a:pt x="131" y="3"/>
                    <a:pt x="144" y="4"/>
                  </a:cubicBezTo>
                  <a:cubicBezTo>
                    <a:pt x="154" y="5"/>
                    <a:pt x="163" y="3"/>
                    <a:pt x="168" y="12"/>
                  </a:cubicBezTo>
                  <a:cubicBezTo>
                    <a:pt x="172" y="20"/>
                    <a:pt x="173" y="48"/>
                    <a:pt x="171" y="57"/>
                  </a:cubicBezTo>
                  <a:cubicBezTo>
                    <a:pt x="169" y="66"/>
                    <a:pt x="158" y="61"/>
                    <a:pt x="154" y="64"/>
                  </a:cubicBezTo>
                  <a:cubicBezTo>
                    <a:pt x="149" y="68"/>
                    <a:pt x="148" y="71"/>
                    <a:pt x="145" y="76"/>
                  </a:cubicBezTo>
                  <a:cubicBezTo>
                    <a:pt x="143" y="84"/>
                    <a:pt x="140" y="84"/>
                    <a:pt x="133" y="85"/>
                  </a:cubicBezTo>
                  <a:cubicBezTo>
                    <a:pt x="127" y="89"/>
                    <a:pt x="124" y="92"/>
                    <a:pt x="118" y="96"/>
                  </a:cubicBezTo>
                  <a:cubicBezTo>
                    <a:pt x="113" y="100"/>
                    <a:pt x="109" y="106"/>
                    <a:pt x="104" y="108"/>
                  </a:cubicBezTo>
                  <a:cubicBezTo>
                    <a:pt x="99" y="110"/>
                    <a:pt x="92" y="105"/>
                    <a:pt x="85" y="109"/>
                  </a:cubicBezTo>
                  <a:cubicBezTo>
                    <a:pt x="77" y="113"/>
                    <a:pt x="62" y="133"/>
                    <a:pt x="61" y="133"/>
                  </a:cubicBezTo>
                  <a:cubicBezTo>
                    <a:pt x="44" y="134"/>
                    <a:pt x="17" y="138"/>
                    <a:pt x="0" y="138"/>
                  </a:cubicBezTo>
                  <a:close/>
                </a:path>
              </a:pathLst>
            </a:custGeom>
            <a:solidFill>
              <a:schemeClr val="accent1"/>
            </a:solidFill>
            <a:ln w="9525" cap="flat" cmpd="sng">
              <a:solidFill>
                <a:schemeClr val="bg1"/>
              </a:solidFill>
              <a:prstDash val="solid"/>
              <a:round/>
              <a:headEnd type="none" w="med" len="med"/>
              <a:tailEnd type="none" w="med" len="med"/>
            </a:ln>
            <a:effectLst/>
            <a:extLst/>
          </p:spPr>
          <p:txBody>
            <a:bodyPr>
              <a:noAutofit/>
            </a:bodyPr>
            <a:lstStyle/>
            <a:p>
              <a:pPr fontAlgn="auto">
                <a:spcBef>
                  <a:spcPts val="0"/>
                </a:spcBef>
                <a:spcAft>
                  <a:spcPts val="0"/>
                </a:spcAft>
                <a:defRPr/>
              </a:pPr>
              <a:endParaRPr lang="en-CA" kern="0">
                <a:solidFill>
                  <a:sysClr val="windowText" lastClr="000000"/>
                </a:solidFill>
              </a:endParaRPr>
            </a:p>
          </p:txBody>
        </p:sp>
        <p:sp>
          <p:nvSpPr>
            <p:cNvPr id="388" name="Freeform 61"/>
            <p:cNvSpPr>
              <a:spLocks/>
            </p:cNvSpPr>
            <p:nvPr>
              <p:custDataLst>
                <p:tags r:id="rId65"/>
              </p:custDataLst>
            </p:nvPr>
          </p:nvSpPr>
          <p:spPr bwMode="gray">
            <a:xfrm>
              <a:off x="2785582" y="2158124"/>
              <a:ext cx="248818" cy="201636"/>
            </a:xfrm>
            <a:custGeom>
              <a:avLst/>
              <a:gdLst>
                <a:gd name="T0" fmla="*/ 7 w 306"/>
                <a:gd name="T1" fmla="*/ 45 h 262"/>
                <a:gd name="T2" fmla="*/ 23 w 306"/>
                <a:gd name="T3" fmla="*/ 45 h 262"/>
                <a:gd name="T4" fmla="*/ 37 w 306"/>
                <a:gd name="T5" fmla="*/ 36 h 262"/>
                <a:gd name="T6" fmla="*/ 35 w 306"/>
                <a:gd name="T7" fmla="*/ 15 h 262"/>
                <a:gd name="T8" fmla="*/ 37 w 306"/>
                <a:gd name="T9" fmla="*/ 6 h 262"/>
                <a:gd name="T10" fmla="*/ 59 w 306"/>
                <a:gd name="T11" fmla="*/ 3 h 262"/>
                <a:gd name="T12" fmla="*/ 79 w 306"/>
                <a:gd name="T13" fmla="*/ 1 h 262"/>
                <a:gd name="T14" fmla="*/ 94 w 306"/>
                <a:gd name="T15" fmla="*/ 7 h 262"/>
                <a:gd name="T16" fmla="*/ 106 w 306"/>
                <a:gd name="T17" fmla="*/ 18 h 262"/>
                <a:gd name="T18" fmla="*/ 121 w 306"/>
                <a:gd name="T19" fmla="*/ 24 h 262"/>
                <a:gd name="T20" fmla="*/ 128 w 306"/>
                <a:gd name="T21" fmla="*/ 36 h 262"/>
                <a:gd name="T22" fmla="*/ 128 w 306"/>
                <a:gd name="T23" fmla="*/ 39 h 262"/>
                <a:gd name="T24" fmla="*/ 139 w 306"/>
                <a:gd name="T25" fmla="*/ 43 h 262"/>
                <a:gd name="T26" fmla="*/ 154 w 306"/>
                <a:gd name="T27" fmla="*/ 48 h 262"/>
                <a:gd name="T28" fmla="*/ 185 w 306"/>
                <a:gd name="T29" fmla="*/ 52 h 262"/>
                <a:gd name="T30" fmla="*/ 200 w 306"/>
                <a:gd name="T31" fmla="*/ 58 h 262"/>
                <a:gd name="T32" fmla="*/ 214 w 306"/>
                <a:gd name="T33" fmla="*/ 81 h 262"/>
                <a:gd name="T34" fmla="*/ 223 w 306"/>
                <a:gd name="T35" fmla="*/ 94 h 262"/>
                <a:gd name="T36" fmla="*/ 235 w 306"/>
                <a:gd name="T37" fmla="*/ 111 h 262"/>
                <a:gd name="T38" fmla="*/ 247 w 306"/>
                <a:gd name="T39" fmla="*/ 129 h 262"/>
                <a:gd name="T40" fmla="*/ 254 w 306"/>
                <a:gd name="T41" fmla="*/ 156 h 262"/>
                <a:gd name="T42" fmla="*/ 280 w 306"/>
                <a:gd name="T43" fmla="*/ 162 h 262"/>
                <a:gd name="T44" fmla="*/ 302 w 306"/>
                <a:gd name="T45" fmla="*/ 163 h 262"/>
                <a:gd name="T46" fmla="*/ 304 w 306"/>
                <a:gd name="T47" fmla="*/ 177 h 262"/>
                <a:gd name="T48" fmla="*/ 296 w 306"/>
                <a:gd name="T49" fmla="*/ 193 h 262"/>
                <a:gd name="T50" fmla="*/ 281 w 306"/>
                <a:gd name="T51" fmla="*/ 204 h 262"/>
                <a:gd name="T52" fmla="*/ 274 w 306"/>
                <a:gd name="T53" fmla="*/ 210 h 262"/>
                <a:gd name="T54" fmla="*/ 257 w 306"/>
                <a:gd name="T55" fmla="*/ 214 h 262"/>
                <a:gd name="T56" fmla="*/ 236 w 306"/>
                <a:gd name="T57" fmla="*/ 223 h 262"/>
                <a:gd name="T58" fmla="*/ 208 w 306"/>
                <a:gd name="T59" fmla="*/ 224 h 262"/>
                <a:gd name="T60" fmla="*/ 197 w 306"/>
                <a:gd name="T61" fmla="*/ 228 h 262"/>
                <a:gd name="T62" fmla="*/ 191 w 306"/>
                <a:gd name="T63" fmla="*/ 231 h 262"/>
                <a:gd name="T64" fmla="*/ 182 w 306"/>
                <a:gd name="T65" fmla="*/ 249 h 262"/>
                <a:gd name="T66" fmla="*/ 169 w 306"/>
                <a:gd name="T67" fmla="*/ 262 h 262"/>
                <a:gd name="T68" fmla="*/ 137 w 306"/>
                <a:gd name="T69" fmla="*/ 246 h 262"/>
                <a:gd name="T70" fmla="*/ 113 w 306"/>
                <a:gd name="T71" fmla="*/ 247 h 262"/>
                <a:gd name="T72" fmla="*/ 107 w 306"/>
                <a:gd name="T73" fmla="*/ 238 h 262"/>
                <a:gd name="T74" fmla="*/ 83 w 306"/>
                <a:gd name="T75" fmla="*/ 208 h 262"/>
                <a:gd name="T76" fmla="*/ 68 w 306"/>
                <a:gd name="T77" fmla="*/ 192 h 262"/>
                <a:gd name="T78" fmla="*/ 61 w 306"/>
                <a:gd name="T79" fmla="*/ 154 h 262"/>
                <a:gd name="T80" fmla="*/ 37 w 306"/>
                <a:gd name="T81" fmla="*/ 127 h 262"/>
                <a:gd name="T82" fmla="*/ 31 w 306"/>
                <a:gd name="T83" fmla="*/ 120 h 262"/>
                <a:gd name="T84" fmla="*/ 20 w 306"/>
                <a:gd name="T85" fmla="*/ 96 h 262"/>
                <a:gd name="T86" fmla="*/ 8 w 306"/>
                <a:gd name="T87" fmla="*/ 78 h 262"/>
                <a:gd name="T88" fmla="*/ 1 w 306"/>
                <a:gd name="T89" fmla="*/ 60 h 262"/>
                <a:gd name="T90" fmla="*/ 7 w 306"/>
                <a:gd name="T91" fmla="*/ 45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06" h="262">
                  <a:moveTo>
                    <a:pt x="7" y="45"/>
                  </a:moveTo>
                  <a:cubicBezTo>
                    <a:pt x="14" y="46"/>
                    <a:pt x="17" y="49"/>
                    <a:pt x="23" y="45"/>
                  </a:cubicBezTo>
                  <a:cubicBezTo>
                    <a:pt x="27" y="38"/>
                    <a:pt x="29" y="37"/>
                    <a:pt x="37" y="36"/>
                  </a:cubicBezTo>
                  <a:cubicBezTo>
                    <a:pt x="48" y="30"/>
                    <a:pt x="44" y="20"/>
                    <a:pt x="35" y="15"/>
                  </a:cubicBezTo>
                  <a:cubicBezTo>
                    <a:pt x="34" y="12"/>
                    <a:pt x="32" y="7"/>
                    <a:pt x="37" y="6"/>
                  </a:cubicBezTo>
                  <a:cubicBezTo>
                    <a:pt x="44" y="4"/>
                    <a:pt x="59" y="3"/>
                    <a:pt x="59" y="3"/>
                  </a:cubicBezTo>
                  <a:cubicBezTo>
                    <a:pt x="67" y="0"/>
                    <a:pt x="71" y="0"/>
                    <a:pt x="79" y="1"/>
                  </a:cubicBezTo>
                  <a:cubicBezTo>
                    <a:pt x="84" y="4"/>
                    <a:pt x="88" y="6"/>
                    <a:pt x="94" y="7"/>
                  </a:cubicBezTo>
                  <a:cubicBezTo>
                    <a:pt x="100" y="10"/>
                    <a:pt x="106" y="18"/>
                    <a:pt x="106" y="18"/>
                  </a:cubicBezTo>
                  <a:cubicBezTo>
                    <a:pt x="109" y="24"/>
                    <a:pt x="115" y="20"/>
                    <a:pt x="121" y="24"/>
                  </a:cubicBezTo>
                  <a:cubicBezTo>
                    <a:pt x="122" y="31"/>
                    <a:pt x="122" y="33"/>
                    <a:pt x="128" y="36"/>
                  </a:cubicBezTo>
                  <a:cubicBezTo>
                    <a:pt x="129" y="38"/>
                    <a:pt x="126" y="38"/>
                    <a:pt x="128" y="39"/>
                  </a:cubicBezTo>
                  <a:cubicBezTo>
                    <a:pt x="130" y="40"/>
                    <a:pt x="135" y="42"/>
                    <a:pt x="139" y="43"/>
                  </a:cubicBezTo>
                  <a:cubicBezTo>
                    <a:pt x="144" y="45"/>
                    <a:pt x="149" y="46"/>
                    <a:pt x="154" y="48"/>
                  </a:cubicBezTo>
                  <a:cubicBezTo>
                    <a:pt x="166" y="57"/>
                    <a:pt x="152" y="48"/>
                    <a:pt x="185" y="52"/>
                  </a:cubicBezTo>
                  <a:cubicBezTo>
                    <a:pt x="190" y="53"/>
                    <a:pt x="195" y="57"/>
                    <a:pt x="200" y="58"/>
                  </a:cubicBezTo>
                  <a:cubicBezTo>
                    <a:pt x="202" y="70"/>
                    <a:pt x="203" y="76"/>
                    <a:pt x="214" y="81"/>
                  </a:cubicBezTo>
                  <a:cubicBezTo>
                    <a:pt x="222" y="91"/>
                    <a:pt x="219" y="87"/>
                    <a:pt x="223" y="94"/>
                  </a:cubicBezTo>
                  <a:cubicBezTo>
                    <a:pt x="224" y="107"/>
                    <a:pt x="224" y="106"/>
                    <a:pt x="235" y="111"/>
                  </a:cubicBezTo>
                  <a:cubicBezTo>
                    <a:pt x="239" y="118"/>
                    <a:pt x="241" y="125"/>
                    <a:pt x="247" y="129"/>
                  </a:cubicBezTo>
                  <a:cubicBezTo>
                    <a:pt x="250" y="137"/>
                    <a:pt x="245" y="151"/>
                    <a:pt x="254" y="156"/>
                  </a:cubicBezTo>
                  <a:cubicBezTo>
                    <a:pt x="259" y="161"/>
                    <a:pt x="272" y="161"/>
                    <a:pt x="280" y="162"/>
                  </a:cubicBezTo>
                  <a:cubicBezTo>
                    <a:pt x="288" y="163"/>
                    <a:pt x="298" y="160"/>
                    <a:pt x="302" y="163"/>
                  </a:cubicBezTo>
                  <a:cubicBezTo>
                    <a:pt x="306" y="166"/>
                    <a:pt x="305" y="172"/>
                    <a:pt x="304" y="177"/>
                  </a:cubicBezTo>
                  <a:cubicBezTo>
                    <a:pt x="303" y="182"/>
                    <a:pt x="300" y="188"/>
                    <a:pt x="296" y="193"/>
                  </a:cubicBezTo>
                  <a:cubicBezTo>
                    <a:pt x="293" y="201"/>
                    <a:pt x="286" y="201"/>
                    <a:pt x="281" y="204"/>
                  </a:cubicBezTo>
                  <a:cubicBezTo>
                    <a:pt x="277" y="207"/>
                    <a:pt x="278" y="208"/>
                    <a:pt x="274" y="210"/>
                  </a:cubicBezTo>
                  <a:cubicBezTo>
                    <a:pt x="270" y="212"/>
                    <a:pt x="263" y="212"/>
                    <a:pt x="257" y="214"/>
                  </a:cubicBezTo>
                  <a:cubicBezTo>
                    <a:pt x="245" y="223"/>
                    <a:pt x="254" y="222"/>
                    <a:pt x="236" y="223"/>
                  </a:cubicBezTo>
                  <a:cubicBezTo>
                    <a:pt x="227" y="225"/>
                    <a:pt x="214" y="223"/>
                    <a:pt x="208" y="224"/>
                  </a:cubicBezTo>
                  <a:cubicBezTo>
                    <a:pt x="202" y="225"/>
                    <a:pt x="200" y="227"/>
                    <a:pt x="197" y="228"/>
                  </a:cubicBezTo>
                  <a:cubicBezTo>
                    <a:pt x="194" y="231"/>
                    <a:pt x="193" y="228"/>
                    <a:pt x="191" y="231"/>
                  </a:cubicBezTo>
                  <a:cubicBezTo>
                    <a:pt x="189" y="234"/>
                    <a:pt x="186" y="244"/>
                    <a:pt x="182" y="249"/>
                  </a:cubicBezTo>
                  <a:cubicBezTo>
                    <a:pt x="179" y="254"/>
                    <a:pt x="174" y="259"/>
                    <a:pt x="169" y="262"/>
                  </a:cubicBezTo>
                  <a:cubicBezTo>
                    <a:pt x="154" y="259"/>
                    <a:pt x="149" y="248"/>
                    <a:pt x="137" y="246"/>
                  </a:cubicBezTo>
                  <a:cubicBezTo>
                    <a:pt x="129" y="246"/>
                    <a:pt x="121" y="248"/>
                    <a:pt x="113" y="247"/>
                  </a:cubicBezTo>
                  <a:cubicBezTo>
                    <a:pt x="112" y="247"/>
                    <a:pt x="107" y="238"/>
                    <a:pt x="107" y="238"/>
                  </a:cubicBezTo>
                  <a:cubicBezTo>
                    <a:pt x="101" y="228"/>
                    <a:pt x="93" y="214"/>
                    <a:pt x="83" y="208"/>
                  </a:cubicBezTo>
                  <a:cubicBezTo>
                    <a:pt x="80" y="201"/>
                    <a:pt x="75" y="196"/>
                    <a:pt x="68" y="192"/>
                  </a:cubicBezTo>
                  <a:cubicBezTo>
                    <a:pt x="58" y="175"/>
                    <a:pt x="64" y="186"/>
                    <a:pt x="61" y="154"/>
                  </a:cubicBezTo>
                  <a:cubicBezTo>
                    <a:pt x="60" y="142"/>
                    <a:pt x="45" y="133"/>
                    <a:pt x="37" y="127"/>
                  </a:cubicBezTo>
                  <a:cubicBezTo>
                    <a:pt x="36" y="124"/>
                    <a:pt x="32" y="123"/>
                    <a:pt x="31" y="120"/>
                  </a:cubicBezTo>
                  <a:cubicBezTo>
                    <a:pt x="27" y="107"/>
                    <a:pt x="34" y="98"/>
                    <a:pt x="20" y="96"/>
                  </a:cubicBezTo>
                  <a:cubicBezTo>
                    <a:pt x="18" y="88"/>
                    <a:pt x="14" y="83"/>
                    <a:pt x="8" y="78"/>
                  </a:cubicBezTo>
                  <a:cubicBezTo>
                    <a:pt x="7" y="72"/>
                    <a:pt x="5" y="65"/>
                    <a:pt x="1" y="60"/>
                  </a:cubicBezTo>
                  <a:cubicBezTo>
                    <a:pt x="1" y="55"/>
                    <a:pt x="0" y="45"/>
                    <a:pt x="7" y="45"/>
                  </a:cubicBezTo>
                  <a:close/>
                </a:path>
              </a:pathLst>
            </a:custGeom>
            <a:solidFill>
              <a:schemeClr val="accent1"/>
            </a:solidFill>
            <a:ln w="9525" cap="flat" cmpd="sng">
              <a:solidFill>
                <a:schemeClr val="bg1"/>
              </a:solidFill>
              <a:prstDash val="solid"/>
              <a:round/>
              <a:headEnd type="none" w="med" len="med"/>
              <a:tailEnd type="none" w="med" len="med"/>
            </a:ln>
            <a:effectLst/>
            <a:extLst/>
          </p:spPr>
          <p:txBody>
            <a:bodyPr>
              <a:noAutofit/>
            </a:bodyPr>
            <a:lstStyle/>
            <a:p>
              <a:pPr fontAlgn="auto">
                <a:spcBef>
                  <a:spcPts val="0"/>
                </a:spcBef>
                <a:spcAft>
                  <a:spcPts val="0"/>
                </a:spcAft>
                <a:defRPr/>
              </a:pPr>
              <a:endParaRPr lang="en-CA" kern="0" dirty="0">
                <a:solidFill>
                  <a:sysClr val="windowText" lastClr="000000"/>
                </a:solidFill>
              </a:endParaRPr>
            </a:p>
          </p:txBody>
        </p:sp>
        <p:sp>
          <p:nvSpPr>
            <p:cNvPr id="389" name="Freeform 62"/>
            <p:cNvSpPr>
              <a:spLocks/>
            </p:cNvSpPr>
            <p:nvPr>
              <p:custDataLst>
                <p:tags r:id="rId66"/>
              </p:custDataLst>
            </p:nvPr>
          </p:nvSpPr>
          <p:spPr bwMode="gray">
            <a:xfrm>
              <a:off x="2777583" y="2141193"/>
              <a:ext cx="60005" cy="56181"/>
            </a:xfrm>
            <a:custGeom>
              <a:avLst/>
              <a:gdLst>
                <a:gd name="T0" fmla="*/ 8 w 73"/>
                <a:gd name="T1" fmla="*/ 70 h 73"/>
                <a:gd name="T2" fmla="*/ 31 w 73"/>
                <a:gd name="T3" fmla="*/ 67 h 73"/>
                <a:gd name="T4" fmla="*/ 41 w 73"/>
                <a:gd name="T5" fmla="*/ 56 h 73"/>
                <a:gd name="T6" fmla="*/ 50 w 73"/>
                <a:gd name="T7" fmla="*/ 58 h 73"/>
                <a:gd name="T8" fmla="*/ 46 w 73"/>
                <a:gd name="T9" fmla="*/ 37 h 73"/>
                <a:gd name="T10" fmla="*/ 57 w 73"/>
                <a:gd name="T11" fmla="*/ 26 h 73"/>
                <a:gd name="T12" fmla="*/ 70 w 73"/>
                <a:gd name="T13" fmla="*/ 28 h 73"/>
                <a:gd name="T14" fmla="*/ 64 w 73"/>
                <a:gd name="T15" fmla="*/ 17 h 73"/>
                <a:gd name="T16" fmla="*/ 58 w 73"/>
                <a:gd name="T17" fmla="*/ 2 h 73"/>
                <a:gd name="T18" fmla="*/ 46 w 73"/>
                <a:gd name="T19" fmla="*/ 5 h 73"/>
                <a:gd name="T20" fmla="*/ 38 w 73"/>
                <a:gd name="T21" fmla="*/ 14 h 73"/>
                <a:gd name="T22" fmla="*/ 41 w 73"/>
                <a:gd name="T23" fmla="*/ 14 h 73"/>
                <a:gd name="T24" fmla="*/ 26 w 73"/>
                <a:gd name="T25" fmla="*/ 11 h 73"/>
                <a:gd name="T26" fmla="*/ 16 w 73"/>
                <a:gd name="T27" fmla="*/ 22 h 73"/>
                <a:gd name="T28" fmla="*/ 4 w 73"/>
                <a:gd name="T29" fmla="*/ 44 h 73"/>
                <a:gd name="T30" fmla="*/ 5 w 73"/>
                <a:gd name="T31" fmla="*/ 65 h 73"/>
                <a:gd name="T32" fmla="*/ 8 w 73"/>
                <a:gd name="T33" fmla="*/ 70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3" h="73">
                  <a:moveTo>
                    <a:pt x="8" y="70"/>
                  </a:moveTo>
                  <a:cubicBezTo>
                    <a:pt x="22" y="64"/>
                    <a:pt x="0" y="73"/>
                    <a:pt x="31" y="67"/>
                  </a:cubicBezTo>
                  <a:cubicBezTo>
                    <a:pt x="36" y="66"/>
                    <a:pt x="38" y="57"/>
                    <a:pt x="41" y="56"/>
                  </a:cubicBezTo>
                  <a:cubicBezTo>
                    <a:pt x="44" y="55"/>
                    <a:pt x="49" y="61"/>
                    <a:pt x="50" y="58"/>
                  </a:cubicBezTo>
                  <a:cubicBezTo>
                    <a:pt x="53" y="51"/>
                    <a:pt x="51" y="43"/>
                    <a:pt x="46" y="37"/>
                  </a:cubicBezTo>
                  <a:cubicBezTo>
                    <a:pt x="47" y="32"/>
                    <a:pt x="53" y="27"/>
                    <a:pt x="57" y="26"/>
                  </a:cubicBezTo>
                  <a:cubicBezTo>
                    <a:pt x="61" y="25"/>
                    <a:pt x="69" y="29"/>
                    <a:pt x="70" y="28"/>
                  </a:cubicBezTo>
                  <a:cubicBezTo>
                    <a:pt x="73" y="24"/>
                    <a:pt x="66" y="21"/>
                    <a:pt x="64" y="17"/>
                  </a:cubicBezTo>
                  <a:cubicBezTo>
                    <a:pt x="62" y="13"/>
                    <a:pt x="61" y="4"/>
                    <a:pt x="58" y="2"/>
                  </a:cubicBezTo>
                  <a:cubicBezTo>
                    <a:pt x="55" y="0"/>
                    <a:pt x="49" y="3"/>
                    <a:pt x="46" y="5"/>
                  </a:cubicBezTo>
                  <a:cubicBezTo>
                    <a:pt x="44" y="6"/>
                    <a:pt x="39" y="12"/>
                    <a:pt x="38" y="14"/>
                  </a:cubicBezTo>
                  <a:cubicBezTo>
                    <a:pt x="37" y="17"/>
                    <a:pt x="43" y="11"/>
                    <a:pt x="41" y="14"/>
                  </a:cubicBezTo>
                  <a:cubicBezTo>
                    <a:pt x="41" y="14"/>
                    <a:pt x="27" y="12"/>
                    <a:pt x="26" y="11"/>
                  </a:cubicBezTo>
                  <a:cubicBezTo>
                    <a:pt x="21" y="14"/>
                    <a:pt x="19" y="17"/>
                    <a:pt x="16" y="22"/>
                  </a:cubicBezTo>
                  <a:cubicBezTo>
                    <a:pt x="14" y="38"/>
                    <a:pt x="18" y="42"/>
                    <a:pt x="4" y="44"/>
                  </a:cubicBezTo>
                  <a:cubicBezTo>
                    <a:pt x="4" y="51"/>
                    <a:pt x="4" y="58"/>
                    <a:pt x="5" y="65"/>
                  </a:cubicBezTo>
                  <a:cubicBezTo>
                    <a:pt x="5" y="67"/>
                    <a:pt x="8" y="70"/>
                    <a:pt x="8" y="70"/>
                  </a:cubicBezTo>
                  <a:close/>
                </a:path>
              </a:pathLst>
            </a:custGeom>
            <a:solidFill>
              <a:schemeClr val="bg1">
                <a:lumMod val="85000"/>
              </a:schemeClr>
            </a:solidFill>
            <a:ln w="9525" cap="flat" cmpd="sng">
              <a:solidFill>
                <a:schemeClr val="bg1"/>
              </a:solidFill>
              <a:prstDash val="solid"/>
              <a:round/>
              <a:headEnd type="none" w="med" len="med"/>
              <a:tailEnd type="none" w="med" len="med"/>
            </a:ln>
            <a:effectLst/>
            <a:extLst/>
          </p:spPr>
          <p:txBody>
            <a:bodyPr>
              <a:noAutofit/>
            </a:bodyPr>
            <a:lstStyle/>
            <a:p>
              <a:pPr fontAlgn="auto">
                <a:spcBef>
                  <a:spcPts val="0"/>
                </a:spcBef>
                <a:spcAft>
                  <a:spcPts val="0"/>
                </a:spcAft>
                <a:defRPr/>
              </a:pPr>
              <a:endParaRPr lang="en-CA" kern="0">
                <a:solidFill>
                  <a:sysClr val="windowText" lastClr="000000"/>
                </a:solidFill>
              </a:endParaRPr>
            </a:p>
          </p:txBody>
        </p:sp>
        <p:sp>
          <p:nvSpPr>
            <p:cNvPr id="390" name="Freeform 63"/>
            <p:cNvSpPr>
              <a:spLocks/>
            </p:cNvSpPr>
            <p:nvPr>
              <p:custDataLst>
                <p:tags r:id="rId67"/>
              </p:custDataLst>
            </p:nvPr>
          </p:nvSpPr>
          <p:spPr bwMode="gray">
            <a:xfrm>
              <a:off x="2222347" y="2449804"/>
              <a:ext cx="60005" cy="40789"/>
            </a:xfrm>
            <a:custGeom>
              <a:avLst/>
              <a:gdLst>
                <a:gd name="T0" fmla="*/ 51 w 73"/>
                <a:gd name="T1" fmla="*/ 17 h 53"/>
                <a:gd name="T2" fmla="*/ 47 w 73"/>
                <a:gd name="T3" fmla="*/ 11 h 53"/>
                <a:gd name="T4" fmla="*/ 36 w 73"/>
                <a:gd name="T5" fmla="*/ 11 h 53"/>
                <a:gd name="T6" fmla="*/ 18 w 73"/>
                <a:gd name="T7" fmla="*/ 0 h 53"/>
                <a:gd name="T8" fmla="*/ 7 w 73"/>
                <a:gd name="T9" fmla="*/ 11 h 53"/>
                <a:gd name="T10" fmla="*/ 1 w 73"/>
                <a:gd name="T11" fmla="*/ 23 h 53"/>
                <a:gd name="T12" fmla="*/ 15 w 73"/>
                <a:gd name="T13" fmla="*/ 27 h 53"/>
                <a:gd name="T14" fmla="*/ 27 w 73"/>
                <a:gd name="T15" fmla="*/ 35 h 53"/>
                <a:gd name="T16" fmla="*/ 43 w 73"/>
                <a:gd name="T17" fmla="*/ 49 h 53"/>
                <a:gd name="T18" fmla="*/ 55 w 73"/>
                <a:gd name="T19" fmla="*/ 53 h 53"/>
                <a:gd name="T20" fmla="*/ 55 w 73"/>
                <a:gd name="T21" fmla="*/ 31 h 53"/>
                <a:gd name="T22" fmla="*/ 51 w 73"/>
                <a:gd name="T23" fmla="*/ 17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3" h="53">
                  <a:moveTo>
                    <a:pt x="51" y="17"/>
                  </a:moveTo>
                  <a:cubicBezTo>
                    <a:pt x="50" y="15"/>
                    <a:pt x="49" y="11"/>
                    <a:pt x="47" y="11"/>
                  </a:cubicBezTo>
                  <a:cubicBezTo>
                    <a:pt x="44" y="9"/>
                    <a:pt x="41" y="13"/>
                    <a:pt x="36" y="11"/>
                  </a:cubicBezTo>
                  <a:cubicBezTo>
                    <a:pt x="31" y="9"/>
                    <a:pt x="23" y="0"/>
                    <a:pt x="18" y="0"/>
                  </a:cubicBezTo>
                  <a:cubicBezTo>
                    <a:pt x="13" y="0"/>
                    <a:pt x="10" y="7"/>
                    <a:pt x="7" y="11"/>
                  </a:cubicBezTo>
                  <a:cubicBezTo>
                    <a:pt x="7" y="12"/>
                    <a:pt x="0" y="21"/>
                    <a:pt x="1" y="23"/>
                  </a:cubicBezTo>
                  <a:cubicBezTo>
                    <a:pt x="4" y="27"/>
                    <a:pt x="11" y="25"/>
                    <a:pt x="15" y="27"/>
                  </a:cubicBezTo>
                  <a:cubicBezTo>
                    <a:pt x="19" y="29"/>
                    <a:pt x="27" y="35"/>
                    <a:pt x="27" y="35"/>
                  </a:cubicBezTo>
                  <a:cubicBezTo>
                    <a:pt x="29" y="38"/>
                    <a:pt x="40" y="47"/>
                    <a:pt x="43" y="49"/>
                  </a:cubicBezTo>
                  <a:cubicBezTo>
                    <a:pt x="47" y="51"/>
                    <a:pt x="55" y="53"/>
                    <a:pt x="55" y="53"/>
                  </a:cubicBezTo>
                  <a:cubicBezTo>
                    <a:pt x="73" y="49"/>
                    <a:pt x="65" y="38"/>
                    <a:pt x="55" y="31"/>
                  </a:cubicBezTo>
                  <a:cubicBezTo>
                    <a:pt x="52" y="22"/>
                    <a:pt x="54" y="27"/>
                    <a:pt x="51" y="17"/>
                  </a:cubicBezTo>
                  <a:close/>
                </a:path>
              </a:pathLst>
            </a:custGeom>
            <a:solidFill>
              <a:schemeClr val="bg1">
                <a:lumMod val="85000"/>
              </a:schemeClr>
            </a:solidFill>
            <a:ln w="9525" cap="flat" cmpd="sng">
              <a:solidFill>
                <a:schemeClr val="bg1"/>
              </a:solidFill>
              <a:prstDash val="solid"/>
              <a:round/>
              <a:headEnd type="none" w="med" len="med"/>
              <a:tailEnd type="none" w="med" len="med"/>
            </a:ln>
            <a:effectLst/>
            <a:extLst/>
          </p:spPr>
          <p:txBody>
            <a:bodyPr>
              <a:noAutofit/>
            </a:bodyPr>
            <a:lstStyle/>
            <a:p>
              <a:pPr fontAlgn="auto">
                <a:spcBef>
                  <a:spcPts val="0"/>
                </a:spcBef>
                <a:spcAft>
                  <a:spcPts val="0"/>
                </a:spcAft>
                <a:defRPr/>
              </a:pPr>
              <a:endParaRPr lang="en-CA" kern="0">
                <a:solidFill>
                  <a:sysClr val="windowText" lastClr="000000"/>
                </a:solidFill>
              </a:endParaRPr>
            </a:p>
          </p:txBody>
        </p:sp>
        <p:sp>
          <p:nvSpPr>
            <p:cNvPr id="391" name="Freeform 68"/>
            <p:cNvSpPr>
              <a:spLocks/>
            </p:cNvSpPr>
            <p:nvPr>
              <p:custDataLst>
                <p:tags r:id="rId68"/>
              </p:custDataLst>
            </p:nvPr>
          </p:nvSpPr>
          <p:spPr bwMode="gray">
            <a:xfrm>
              <a:off x="2436761" y="1920317"/>
              <a:ext cx="61604" cy="36941"/>
            </a:xfrm>
            <a:custGeom>
              <a:avLst/>
              <a:gdLst>
                <a:gd name="T0" fmla="*/ 13 w 76"/>
                <a:gd name="T1" fmla="*/ 12 h 48"/>
                <a:gd name="T2" fmla="*/ 47 w 76"/>
                <a:gd name="T3" fmla="*/ 4 h 48"/>
                <a:gd name="T4" fmla="*/ 67 w 76"/>
                <a:gd name="T5" fmla="*/ 7 h 48"/>
                <a:gd name="T6" fmla="*/ 76 w 76"/>
                <a:gd name="T7" fmla="*/ 18 h 48"/>
                <a:gd name="T8" fmla="*/ 64 w 76"/>
                <a:gd name="T9" fmla="*/ 25 h 48"/>
                <a:gd name="T10" fmla="*/ 56 w 76"/>
                <a:gd name="T11" fmla="*/ 31 h 48"/>
                <a:gd name="T12" fmla="*/ 41 w 76"/>
                <a:gd name="T13" fmla="*/ 39 h 48"/>
                <a:gd name="T14" fmla="*/ 29 w 76"/>
                <a:gd name="T15" fmla="*/ 43 h 48"/>
                <a:gd name="T16" fmla="*/ 4 w 76"/>
                <a:gd name="T17" fmla="*/ 34 h 48"/>
                <a:gd name="T18" fmla="*/ 2 w 76"/>
                <a:gd name="T19" fmla="*/ 18 h 48"/>
                <a:gd name="T20" fmla="*/ 13 w 76"/>
                <a:gd name="T21" fmla="*/ 12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6" h="48">
                  <a:moveTo>
                    <a:pt x="13" y="12"/>
                  </a:moveTo>
                  <a:cubicBezTo>
                    <a:pt x="37" y="4"/>
                    <a:pt x="23" y="0"/>
                    <a:pt x="47" y="4"/>
                  </a:cubicBezTo>
                  <a:cubicBezTo>
                    <a:pt x="53" y="5"/>
                    <a:pt x="70" y="1"/>
                    <a:pt x="67" y="7"/>
                  </a:cubicBezTo>
                  <a:cubicBezTo>
                    <a:pt x="72" y="9"/>
                    <a:pt x="76" y="15"/>
                    <a:pt x="76" y="18"/>
                  </a:cubicBezTo>
                  <a:cubicBezTo>
                    <a:pt x="76" y="21"/>
                    <a:pt x="67" y="23"/>
                    <a:pt x="64" y="25"/>
                  </a:cubicBezTo>
                  <a:cubicBezTo>
                    <a:pt x="61" y="27"/>
                    <a:pt x="60" y="29"/>
                    <a:pt x="56" y="31"/>
                  </a:cubicBezTo>
                  <a:cubicBezTo>
                    <a:pt x="52" y="33"/>
                    <a:pt x="45" y="37"/>
                    <a:pt x="41" y="39"/>
                  </a:cubicBezTo>
                  <a:cubicBezTo>
                    <a:pt x="37" y="41"/>
                    <a:pt x="35" y="44"/>
                    <a:pt x="29" y="43"/>
                  </a:cubicBezTo>
                  <a:cubicBezTo>
                    <a:pt x="23" y="48"/>
                    <a:pt x="9" y="38"/>
                    <a:pt x="4" y="34"/>
                  </a:cubicBezTo>
                  <a:cubicBezTo>
                    <a:pt x="0" y="30"/>
                    <a:pt x="0" y="22"/>
                    <a:pt x="2" y="18"/>
                  </a:cubicBezTo>
                  <a:cubicBezTo>
                    <a:pt x="7" y="14"/>
                    <a:pt x="18" y="17"/>
                    <a:pt x="13" y="12"/>
                  </a:cubicBezTo>
                  <a:close/>
                </a:path>
              </a:pathLst>
            </a:custGeom>
            <a:solidFill>
              <a:schemeClr val="accent1"/>
            </a:solidFill>
            <a:ln w="9525" cap="flat" cmpd="sng">
              <a:solidFill>
                <a:schemeClr val="bg1"/>
              </a:solidFill>
              <a:prstDash val="solid"/>
              <a:round/>
              <a:headEnd type="none" w="med" len="med"/>
              <a:tailEnd type="none" w="med" len="med"/>
            </a:ln>
            <a:effectLst/>
            <a:extLst/>
          </p:spPr>
          <p:txBody>
            <a:bodyPr>
              <a:noAutofit/>
            </a:bodyPr>
            <a:lstStyle/>
            <a:p>
              <a:pPr fontAlgn="auto">
                <a:spcBef>
                  <a:spcPts val="0"/>
                </a:spcBef>
                <a:spcAft>
                  <a:spcPts val="0"/>
                </a:spcAft>
                <a:defRPr/>
              </a:pPr>
              <a:endParaRPr lang="en-CA" kern="0">
                <a:solidFill>
                  <a:sysClr val="windowText" lastClr="000000"/>
                </a:solidFill>
              </a:endParaRPr>
            </a:p>
          </p:txBody>
        </p:sp>
        <p:sp>
          <p:nvSpPr>
            <p:cNvPr id="393" name="Freeform 69"/>
            <p:cNvSpPr>
              <a:spLocks/>
            </p:cNvSpPr>
            <p:nvPr>
              <p:custDataLst>
                <p:tags r:id="rId69"/>
              </p:custDataLst>
            </p:nvPr>
          </p:nvSpPr>
          <p:spPr bwMode="gray">
            <a:xfrm>
              <a:off x="2397558" y="1849513"/>
              <a:ext cx="41602" cy="45406"/>
            </a:xfrm>
            <a:custGeom>
              <a:avLst/>
              <a:gdLst>
                <a:gd name="T0" fmla="*/ 20 w 51"/>
                <a:gd name="T1" fmla="*/ 5 h 59"/>
                <a:gd name="T2" fmla="*/ 47 w 51"/>
                <a:gd name="T3" fmla="*/ 17 h 59"/>
                <a:gd name="T4" fmla="*/ 50 w 51"/>
                <a:gd name="T5" fmla="*/ 29 h 59"/>
                <a:gd name="T6" fmla="*/ 48 w 51"/>
                <a:gd name="T7" fmla="*/ 59 h 59"/>
                <a:gd name="T8" fmla="*/ 26 w 51"/>
                <a:gd name="T9" fmla="*/ 39 h 59"/>
                <a:gd name="T10" fmla="*/ 6 w 51"/>
                <a:gd name="T11" fmla="*/ 25 h 59"/>
                <a:gd name="T12" fmla="*/ 10 w 51"/>
                <a:gd name="T13" fmla="*/ 7 h 59"/>
                <a:gd name="T14" fmla="*/ 12 w 51"/>
                <a:gd name="T15" fmla="*/ 1 h 59"/>
                <a:gd name="T16" fmla="*/ 22 w 51"/>
                <a:gd name="T17" fmla="*/ 3 h 59"/>
                <a:gd name="T18" fmla="*/ 28 w 51"/>
                <a:gd name="T19" fmla="*/ 5 h 59"/>
                <a:gd name="T20" fmla="*/ 20 w 51"/>
                <a:gd name="T21" fmla="*/ 5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1" h="59">
                  <a:moveTo>
                    <a:pt x="20" y="5"/>
                  </a:moveTo>
                  <a:cubicBezTo>
                    <a:pt x="27" y="7"/>
                    <a:pt x="40" y="15"/>
                    <a:pt x="47" y="17"/>
                  </a:cubicBezTo>
                  <a:cubicBezTo>
                    <a:pt x="51" y="24"/>
                    <a:pt x="47" y="21"/>
                    <a:pt x="50" y="29"/>
                  </a:cubicBezTo>
                  <a:cubicBezTo>
                    <a:pt x="47" y="38"/>
                    <a:pt x="49" y="50"/>
                    <a:pt x="48" y="59"/>
                  </a:cubicBezTo>
                  <a:cubicBezTo>
                    <a:pt x="26" y="55"/>
                    <a:pt x="42" y="49"/>
                    <a:pt x="26" y="39"/>
                  </a:cubicBezTo>
                  <a:cubicBezTo>
                    <a:pt x="23" y="31"/>
                    <a:pt x="14" y="28"/>
                    <a:pt x="6" y="25"/>
                  </a:cubicBezTo>
                  <a:cubicBezTo>
                    <a:pt x="0" y="16"/>
                    <a:pt x="3" y="14"/>
                    <a:pt x="10" y="7"/>
                  </a:cubicBezTo>
                  <a:cubicBezTo>
                    <a:pt x="11" y="5"/>
                    <a:pt x="10" y="2"/>
                    <a:pt x="12" y="1"/>
                  </a:cubicBezTo>
                  <a:cubicBezTo>
                    <a:pt x="15" y="0"/>
                    <a:pt x="19" y="2"/>
                    <a:pt x="22" y="3"/>
                  </a:cubicBezTo>
                  <a:cubicBezTo>
                    <a:pt x="24" y="4"/>
                    <a:pt x="29" y="4"/>
                    <a:pt x="28" y="5"/>
                  </a:cubicBezTo>
                  <a:cubicBezTo>
                    <a:pt x="26" y="7"/>
                    <a:pt x="23" y="5"/>
                    <a:pt x="20" y="5"/>
                  </a:cubicBezTo>
                  <a:close/>
                </a:path>
              </a:pathLst>
            </a:custGeom>
            <a:solidFill>
              <a:schemeClr val="accent1"/>
            </a:solidFill>
            <a:ln w="9525" cap="flat" cmpd="sng">
              <a:solidFill>
                <a:schemeClr val="bg1"/>
              </a:solidFill>
              <a:prstDash val="solid"/>
              <a:round/>
              <a:headEnd type="none" w="med" len="med"/>
              <a:tailEnd type="none" w="med" len="med"/>
            </a:ln>
            <a:effectLst/>
            <a:extLst/>
          </p:spPr>
          <p:txBody>
            <a:bodyPr>
              <a:noAutofit/>
            </a:bodyPr>
            <a:lstStyle/>
            <a:p>
              <a:pPr fontAlgn="auto">
                <a:spcBef>
                  <a:spcPts val="0"/>
                </a:spcBef>
                <a:spcAft>
                  <a:spcPts val="0"/>
                </a:spcAft>
                <a:defRPr/>
              </a:pPr>
              <a:endParaRPr lang="en-CA" kern="0">
                <a:solidFill>
                  <a:sysClr val="windowText" lastClr="000000"/>
                </a:solidFill>
              </a:endParaRPr>
            </a:p>
          </p:txBody>
        </p:sp>
        <p:sp>
          <p:nvSpPr>
            <p:cNvPr id="395" name="Freeform 70"/>
            <p:cNvSpPr>
              <a:spLocks/>
            </p:cNvSpPr>
            <p:nvPr>
              <p:custDataLst>
                <p:tags r:id="rId70"/>
              </p:custDataLst>
            </p:nvPr>
          </p:nvSpPr>
          <p:spPr bwMode="gray">
            <a:xfrm>
              <a:off x="2998398" y="2001124"/>
              <a:ext cx="166412" cy="113901"/>
            </a:xfrm>
            <a:custGeom>
              <a:avLst/>
              <a:gdLst>
                <a:gd name="T0" fmla="*/ 16 w 205"/>
                <a:gd name="T1" fmla="*/ 112 h 148"/>
                <a:gd name="T2" fmla="*/ 13 w 205"/>
                <a:gd name="T3" fmla="*/ 72 h 148"/>
                <a:gd name="T4" fmla="*/ 1 w 205"/>
                <a:gd name="T5" fmla="*/ 55 h 148"/>
                <a:gd name="T6" fmla="*/ 10 w 205"/>
                <a:gd name="T7" fmla="*/ 24 h 148"/>
                <a:gd name="T8" fmla="*/ 35 w 205"/>
                <a:gd name="T9" fmla="*/ 28 h 148"/>
                <a:gd name="T10" fmla="*/ 48 w 205"/>
                <a:gd name="T11" fmla="*/ 28 h 148"/>
                <a:gd name="T12" fmla="*/ 61 w 205"/>
                <a:gd name="T13" fmla="*/ 34 h 148"/>
                <a:gd name="T14" fmla="*/ 72 w 205"/>
                <a:gd name="T15" fmla="*/ 27 h 148"/>
                <a:gd name="T16" fmla="*/ 85 w 205"/>
                <a:gd name="T17" fmla="*/ 12 h 148"/>
                <a:gd name="T18" fmla="*/ 108 w 205"/>
                <a:gd name="T19" fmla="*/ 12 h 148"/>
                <a:gd name="T20" fmla="*/ 112 w 205"/>
                <a:gd name="T21" fmla="*/ 30 h 148"/>
                <a:gd name="T22" fmla="*/ 133 w 205"/>
                <a:gd name="T23" fmla="*/ 34 h 148"/>
                <a:gd name="T24" fmla="*/ 144 w 205"/>
                <a:gd name="T25" fmla="*/ 46 h 148"/>
                <a:gd name="T26" fmla="*/ 145 w 205"/>
                <a:gd name="T27" fmla="*/ 60 h 148"/>
                <a:gd name="T28" fmla="*/ 171 w 205"/>
                <a:gd name="T29" fmla="*/ 81 h 148"/>
                <a:gd name="T30" fmla="*/ 195 w 205"/>
                <a:gd name="T31" fmla="*/ 94 h 148"/>
                <a:gd name="T32" fmla="*/ 205 w 205"/>
                <a:gd name="T33" fmla="*/ 105 h 148"/>
                <a:gd name="T34" fmla="*/ 186 w 205"/>
                <a:gd name="T35" fmla="*/ 111 h 148"/>
                <a:gd name="T36" fmla="*/ 177 w 205"/>
                <a:gd name="T37" fmla="*/ 130 h 148"/>
                <a:gd name="T38" fmla="*/ 163 w 205"/>
                <a:gd name="T39" fmla="*/ 139 h 148"/>
                <a:gd name="T40" fmla="*/ 151 w 205"/>
                <a:gd name="T41" fmla="*/ 148 h 148"/>
                <a:gd name="T42" fmla="*/ 130 w 205"/>
                <a:gd name="T43" fmla="*/ 141 h 148"/>
                <a:gd name="T44" fmla="*/ 112 w 205"/>
                <a:gd name="T45" fmla="*/ 123 h 148"/>
                <a:gd name="T46" fmla="*/ 100 w 205"/>
                <a:gd name="T47" fmla="*/ 114 h 148"/>
                <a:gd name="T48" fmla="*/ 82 w 205"/>
                <a:gd name="T49" fmla="*/ 105 h 148"/>
                <a:gd name="T50" fmla="*/ 59 w 205"/>
                <a:gd name="T51" fmla="*/ 100 h 148"/>
                <a:gd name="T52" fmla="*/ 39 w 205"/>
                <a:gd name="T53" fmla="*/ 102 h 148"/>
                <a:gd name="T54" fmla="*/ 24 w 205"/>
                <a:gd name="T55" fmla="*/ 106 h 148"/>
                <a:gd name="T56" fmla="*/ 16 w 205"/>
                <a:gd name="T57" fmla="*/ 112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05" h="148">
                  <a:moveTo>
                    <a:pt x="16" y="112"/>
                  </a:moveTo>
                  <a:cubicBezTo>
                    <a:pt x="22" y="99"/>
                    <a:pt x="21" y="83"/>
                    <a:pt x="13" y="72"/>
                  </a:cubicBezTo>
                  <a:cubicBezTo>
                    <a:pt x="12" y="65"/>
                    <a:pt x="5" y="61"/>
                    <a:pt x="1" y="55"/>
                  </a:cubicBezTo>
                  <a:cubicBezTo>
                    <a:pt x="2" y="44"/>
                    <a:pt x="0" y="31"/>
                    <a:pt x="10" y="24"/>
                  </a:cubicBezTo>
                  <a:cubicBezTo>
                    <a:pt x="16" y="20"/>
                    <a:pt x="29" y="26"/>
                    <a:pt x="35" y="28"/>
                  </a:cubicBezTo>
                  <a:cubicBezTo>
                    <a:pt x="41" y="29"/>
                    <a:pt x="44" y="27"/>
                    <a:pt x="48" y="28"/>
                  </a:cubicBezTo>
                  <a:cubicBezTo>
                    <a:pt x="56" y="30"/>
                    <a:pt x="57" y="34"/>
                    <a:pt x="61" y="34"/>
                  </a:cubicBezTo>
                  <a:cubicBezTo>
                    <a:pt x="65" y="34"/>
                    <a:pt x="68" y="31"/>
                    <a:pt x="72" y="27"/>
                  </a:cubicBezTo>
                  <a:cubicBezTo>
                    <a:pt x="73" y="11"/>
                    <a:pt x="72" y="16"/>
                    <a:pt x="85" y="12"/>
                  </a:cubicBezTo>
                  <a:cubicBezTo>
                    <a:pt x="92" y="14"/>
                    <a:pt x="101" y="9"/>
                    <a:pt x="108" y="12"/>
                  </a:cubicBezTo>
                  <a:cubicBezTo>
                    <a:pt x="118" y="25"/>
                    <a:pt x="100" y="0"/>
                    <a:pt x="112" y="30"/>
                  </a:cubicBezTo>
                  <a:cubicBezTo>
                    <a:pt x="113" y="32"/>
                    <a:pt x="130" y="34"/>
                    <a:pt x="133" y="34"/>
                  </a:cubicBezTo>
                  <a:cubicBezTo>
                    <a:pt x="137" y="38"/>
                    <a:pt x="141" y="41"/>
                    <a:pt x="144" y="46"/>
                  </a:cubicBezTo>
                  <a:cubicBezTo>
                    <a:pt x="144" y="51"/>
                    <a:pt x="143" y="56"/>
                    <a:pt x="145" y="60"/>
                  </a:cubicBezTo>
                  <a:cubicBezTo>
                    <a:pt x="146" y="62"/>
                    <a:pt x="168" y="80"/>
                    <a:pt x="171" y="81"/>
                  </a:cubicBezTo>
                  <a:cubicBezTo>
                    <a:pt x="177" y="89"/>
                    <a:pt x="185" y="92"/>
                    <a:pt x="195" y="94"/>
                  </a:cubicBezTo>
                  <a:cubicBezTo>
                    <a:pt x="200" y="98"/>
                    <a:pt x="204" y="98"/>
                    <a:pt x="205" y="105"/>
                  </a:cubicBezTo>
                  <a:cubicBezTo>
                    <a:pt x="199" y="109"/>
                    <a:pt x="193" y="109"/>
                    <a:pt x="186" y="111"/>
                  </a:cubicBezTo>
                  <a:cubicBezTo>
                    <a:pt x="175" y="118"/>
                    <a:pt x="182" y="117"/>
                    <a:pt x="177" y="130"/>
                  </a:cubicBezTo>
                  <a:cubicBezTo>
                    <a:pt x="175" y="135"/>
                    <a:pt x="163" y="139"/>
                    <a:pt x="163" y="139"/>
                  </a:cubicBezTo>
                  <a:cubicBezTo>
                    <a:pt x="159" y="145"/>
                    <a:pt x="158" y="147"/>
                    <a:pt x="151" y="148"/>
                  </a:cubicBezTo>
                  <a:cubicBezTo>
                    <a:pt x="139" y="147"/>
                    <a:pt x="139" y="146"/>
                    <a:pt x="130" y="141"/>
                  </a:cubicBezTo>
                  <a:cubicBezTo>
                    <a:pt x="128" y="131"/>
                    <a:pt x="120" y="128"/>
                    <a:pt x="112" y="123"/>
                  </a:cubicBezTo>
                  <a:cubicBezTo>
                    <a:pt x="108" y="117"/>
                    <a:pt x="107" y="115"/>
                    <a:pt x="100" y="114"/>
                  </a:cubicBezTo>
                  <a:cubicBezTo>
                    <a:pt x="94" y="110"/>
                    <a:pt x="89" y="106"/>
                    <a:pt x="82" y="105"/>
                  </a:cubicBezTo>
                  <a:cubicBezTo>
                    <a:pt x="75" y="103"/>
                    <a:pt x="66" y="100"/>
                    <a:pt x="59" y="100"/>
                  </a:cubicBezTo>
                  <a:cubicBezTo>
                    <a:pt x="52" y="100"/>
                    <a:pt x="45" y="101"/>
                    <a:pt x="39" y="102"/>
                  </a:cubicBezTo>
                  <a:cubicBezTo>
                    <a:pt x="34" y="103"/>
                    <a:pt x="29" y="105"/>
                    <a:pt x="24" y="106"/>
                  </a:cubicBezTo>
                  <a:cubicBezTo>
                    <a:pt x="17" y="109"/>
                    <a:pt x="20" y="107"/>
                    <a:pt x="16" y="112"/>
                  </a:cubicBezTo>
                  <a:close/>
                </a:path>
              </a:pathLst>
            </a:custGeom>
            <a:solidFill>
              <a:schemeClr val="bg1">
                <a:lumMod val="85000"/>
              </a:schemeClr>
            </a:solidFill>
            <a:ln w="9525" cap="flat" cmpd="sng">
              <a:solidFill>
                <a:schemeClr val="bg1"/>
              </a:solidFill>
              <a:prstDash val="solid"/>
              <a:round/>
              <a:headEnd type="none" w="med" len="med"/>
              <a:tailEnd type="none" w="med" len="med"/>
            </a:ln>
            <a:effectLst/>
            <a:extLst/>
          </p:spPr>
          <p:txBody>
            <a:bodyPr>
              <a:noAutofit/>
            </a:bodyPr>
            <a:lstStyle/>
            <a:p>
              <a:pPr fontAlgn="auto">
                <a:spcBef>
                  <a:spcPts val="0"/>
                </a:spcBef>
                <a:spcAft>
                  <a:spcPts val="0"/>
                </a:spcAft>
                <a:defRPr/>
              </a:pPr>
              <a:endParaRPr lang="en-CA" kern="0">
                <a:solidFill>
                  <a:sysClr val="windowText" lastClr="000000"/>
                </a:solidFill>
              </a:endParaRPr>
            </a:p>
          </p:txBody>
        </p:sp>
        <p:sp>
          <p:nvSpPr>
            <p:cNvPr id="396" name="Freeform 71"/>
            <p:cNvSpPr>
              <a:spLocks/>
            </p:cNvSpPr>
            <p:nvPr>
              <p:custDataLst>
                <p:tags r:id="rId71"/>
              </p:custDataLst>
            </p:nvPr>
          </p:nvSpPr>
          <p:spPr bwMode="gray">
            <a:xfrm>
              <a:off x="2622373" y="1725607"/>
              <a:ext cx="89606" cy="55411"/>
            </a:xfrm>
            <a:custGeom>
              <a:avLst/>
              <a:gdLst>
                <a:gd name="T0" fmla="*/ 46 w 110"/>
                <a:gd name="T1" fmla="*/ 8 h 72"/>
                <a:gd name="T2" fmla="*/ 34 w 110"/>
                <a:gd name="T3" fmla="*/ 29 h 72"/>
                <a:gd name="T4" fmla="*/ 13 w 110"/>
                <a:gd name="T5" fmla="*/ 22 h 72"/>
                <a:gd name="T6" fmla="*/ 0 w 110"/>
                <a:gd name="T7" fmla="*/ 50 h 72"/>
                <a:gd name="T8" fmla="*/ 52 w 110"/>
                <a:gd name="T9" fmla="*/ 49 h 72"/>
                <a:gd name="T10" fmla="*/ 81 w 110"/>
                <a:gd name="T11" fmla="*/ 70 h 72"/>
                <a:gd name="T12" fmla="*/ 100 w 110"/>
                <a:gd name="T13" fmla="*/ 61 h 72"/>
                <a:gd name="T14" fmla="*/ 100 w 110"/>
                <a:gd name="T15" fmla="*/ 11 h 72"/>
                <a:gd name="T16" fmla="*/ 87 w 110"/>
                <a:gd name="T17" fmla="*/ 17 h 72"/>
                <a:gd name="T18" fmla="*/ 66 w 110"/>
                <a:gd name="T19" fmla="*/ 10 h 72"/>
                <a:gd name="T20" fmla="*/ 46 w 110"/>
                <a:gd name="T21" fmla="*/ 8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0" h="72">
                  <a:moveTo>
                    <a:pt x="46" y="8"/>
                  </a:moveTo>
                  <a:cubicBezTo>
                    <a:pt x="45" y="21"/>
                    <a:pt x="47" y="26"/>
                    <a:pt x="34" y="29"/>
                  </a:cubicBezTo>
                  <a:cubicBezTo>
                    <a:pt x="26" y="28"/>
                    <a:pt x="21" y="23"/>
                    <a:pt x="13" y="22"/>
                  </a:cubicBezTo>
                  <a:cubicBezTo>
                    <a:pt x="0" y="15"/>
                    <a:pt x="7" y="40"/>
                    <a:pt x="0" y="50"/>
                  </a:cubicBezTo>
                  <a:cubicBezTo>
                    <a:pt x="6" y="56"/>
                    <a:pt x="35" y="47"/>
                    <a:pt x="52" y="49"/>
                  </a:cubicBezTo>
                  <a:cubicBezTo>
                    <a:pt x="65" y="52"/>
                    <a:pt x="73" y="68"/>
                    <a:pt x="81" y="70"/>
                  </a:cubicBezTo>
                  <a:cubicBezTo>
                    <a:pt x="89" y="72"/>
                    <a:pt x="97" y="71"/>
                    <a:pt x="100" y="61"/>
                  </a:cubicBezTo>
                  <a:cubicBezTo>
                    <a:pt x="109" y="46"/>
                    <a:pt x="110" y="27"/>
                    <a:pt x="100" y="11"/>
                  </a:cubicBezTo>
                  <a:cubicBezTo>
                    <a:pt x="95" y="13"/>
                    <a:pt x="91" y="14"/>
                    <a:pt x="87" y="17"/>
                  </a:cubicBezTo>
                  <a:cubicBezTo>
                    <a:pt x="77" y="16"/>
                    <a:pt x="73" y="17"/>
                    <a:pt x="66" y="10"/>
                  </a:cubicBezTo>
                  <a:cubicBezTo>
                    <a:pt x="62" y="0"/>
                    <a:pt x="55" y="5"/>
                    <a:pt x="46" y="8"/>
                  </a:cubicBezTo>
                  <a:close/>
                </a:path>
              </a:pathLst>
            </a:custGeom>
            <a:solidFill>
              <a:schemeClr val="bg1">
                <a:lumMod val="85000"/>
              </a:schemeClr>
            </a:solidFill>
            <a:ln w="9525" cap="flat" cmpd="sng">
              <a:solidFill>
                <a:schemeClr val="bg1"/>
              </a:solidFill>
              <a:prstDash val="solid"/>
              <a:round/>
              <a:headEnd type="none" w="med" len="med"/>
              <a:tailEnd type="none" w="med" len="med"/>
            </a:ln>
            <a:effectLst/>
            <a:extLst/>
          </p:spPr>
          <p:txBody>
            <a:bodyPr>
              <a:noAutofit/>
            </a:bodyPr>
            <a:lstStyle/>
            <a:p>
              <a:pPr fontAlgn="auto">
                <a:spcBef>
                  <a:spcPts val="0"/>
                </a:spcBef>
                <a:spcAft>
                  <a:spcPts val="0"/>
                </a:spcAft>
                <a:defRPr/>
              </a:pPr>
              <a:endParaRPr lang="en-CA" kern="0">
                <a:solidFill>
                  <a:sysClr val="windowText" lastClr="000000"/>
                </a:solidFill>
              </a:endParaRPr>
            </a:p>
          </p:txBody>
        </p:sp>
        <p:sp>
          <p:nvSpPr>
            <p:cNvPr id="398" name="Freeform 72"/>
            <p:cNvSpPr>
              <a:spLocks/>
            </p:cNvSpPr>
            <p:nvPr>
              <p:custDataLst>
                <p:tags r:id="rId72"/>
              </p:custDataLst>
            </p:nvPr>
          </p:nvSpPr>
          <p:spPr bwMode="gray">
            <a:xfrm>
              <a:off x="2618372" y="1763317"/>
              <a:ext cx="70403" cy="48485"/>
            </a:xfrm>
            <a:custGeom>
              <a:avLst/>
              <a:gdLst>
                <a:gd name="T0" fmla="*/ 8 w 86"/>
                <a:gd name="T1" fmla="*/ 4 h 63"/>
                <a:gd name="T2" fmla="*/ 5 w 86"/>
                <a:gd name="T3" fmla="*/ 25 h 63"/>
                <a:gd name="T4" fmla="*/ 26 w 86"/>
                <a:gd name="T5" fmla="*/ 45 h 63"/>
                <a:gd name="T6" fmla="*/ 30 w 86"/>
                <a:gd name="T7" fmla="*/ 58 h 63"/>
                <a:gd name="T8" fmla="*/ 47 w 86"/>
                <a:gd name="T9" fmla="*/ 63 h 63"/>
                <a:gd name="T10" fmla="*/ 66 w 86"/>
                <a:gd name="T11" fmla="*/ 58 h 63"/>
                <a:gd name="T12" fmla="*/ 72 w 86"/>
                <a:gd name="T13" fmla="*/ 46 h 63"/>
                <a:gd name="T14" fmla="*/ 86 w 86"/>
                <a:gd name="T15" fmla="*/ 28 h 63"/>
                <a:gd name="T16" fmla="*/ 78 w 86"/>
                <a:gd name="T17" fmla="*/ 16 h 63"/>
                <a:gd name="T18" fmla="*/ 63 w 86"/>
                <a:gd name="T19" fmla="*/ 3 h 63"/>
                <a:gd name="T20" fmla="*/ 41 w 86"/>
                <a:gd name="T21" fmla="*/ 1 h 63"/>
                <a:gd name="T22" fmla="*/ 8 w 86"/>
                <a:gd name="T23" fmla="*/ 4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6" h="63">
                  <a:moveTo>
                    <a:pt x="8" y="4"/>
                  </a:moveTo>
                  <a:cubicBezTo>
                    <a:pt x="0" y="7"/>
                    <a:pt x="2" y="18"/>
                    <a:pt x="5" y="25"/>
                  </a:cubicBezTo>
                  <a:cubicBezTo>
                    <a:pt x="8" y="32"/>
                    <a:pt x="22" y="40"/>
                    <a:pt x="26" y="45"/>
                  </a:cubicBezTo>
                  <a:cubicBezTo>
                    <a:pt x="31" y="51"/>
                    <a:pt x="24" y="54"/>
                    <a:pt x="30" y="58"/>
                  </a:cubicBezTo>
                  <a:cubicBezTo>
                    <a:pt x="33" y="61"/>
                    <a:pt x="41" y="63"/>
                    <a:pt x="47" y="63"/>
                  </a:cubicBezTo>
                  <a:cubicBezTo>
                    <a:pt x="53" y="63"/>
                    <a:pt x="62" y="61"/>
                    <a:pt x="66" y="58"/>
                  </a:cubicBezTo>
                  <a:cubicBezTo>
                    <a:pt x="70" y="56"/>
                    <a:pt x="71" y="50"/>
                    <a:pt x="72" y="46"/>
                  </a:cubicBezTo>
                  <a:cubicBezTo>
                    <a:pt x="73" y="40"/>
                    <a:pt x="83" y="33"/>
                    <a:pt x="86" y="28"/>
                  </a:cubicBezTo>
                  <a:cubicBezTo>
                    <a:pt x="83" y="22"/>
                    <a:pt x="84" y="20"/>
                    <a:pt x="78" y="16"/>
                  </a:cubicBezTo>
                  <a:cubicBezTo>
                    <a:pt x="74" y="11"/>
                    <a:pt x="68" y="6"/>
                    <a:pt x="63" y="3"/>
                  </a:cubicBezTo>
                  <a:cubicBezTo>
                    <a:pt x="57" y="1"/>
                    <a:pt x="50" y="0"/>
                    <a:pt x="41" y="1"/>
                  </a:cubicBezTo>
                  <a:cubicBezTo>
                    <a:pt x="32" y="1"/>
                    <a:pt x="15" y="3"/>
                    <a:pt x="8" y="4"/>
                  </a:cubicBezTo>
                  <a:close/>
                </a:path>
              </a:pathLst>
            </a:custGeom>
            <a:solidFill>
              <a:schemeClr val="bg1">
                <a:lumMod val="85000"/>
              </a:schemeClr>
            </a:solidFill>
            <a:ln w="9525" cap="flat" cmpd="sng">
              <a:solidFill>
                <a:schemeClr val="bg1"/>
              </a:solidFill>
              <a:prstDash val="solid"/>
              <a:round/>
              <a:headEnd type="none" w="med" len="med"/>
              <a:tailEnd type="none" w="med" len="med"/>
            </a:ln>
            <a:effectLst/>
            <a:extLst/>
          </p:spPr>
          <p:txBody>
            <a:bodyPr>
              <a:noAutofit/>
            </a:bodyPr>
            <a:lstStyle/>
            <a:p>
              <a:pPr fontAlgn="auto">
                <a:spcBef>
                  <a:spcPts val="0"/>
                </a:spcBef>
                <a:spcAft>
                  <a:spcPts val="0"/>
                </a:spcAft>
                <a:defRPr/>
              </a:pPr>
              <a:endParaRPr lang="en-CA" kern="0">
                <a:solidFill>
                  <a:sysClr val="windowText" lastClr="000000"/>
                </a:solidFill>
              </a:endParaRPr>
            </a:p>
          </p:txBody>
        </p:sp>
        <p:sp>
          <p:nvSpPr>
            <p:cNvPr id="399" name="Freeform 73"/>
            <p:cNvSpPr>
              <a:spLocks/>
            </p:cNvSpPr>
            <p:nvPr>
              <p:custDataLst>
                <p:tags r:id="rId73"/>
              </p:custDataLst>
            </p:nvPr>
          </p:nvSpPr>
          <p:spPr bwMode="gray">
            <a:xfrm>
              <a:off x="2646374" y="1771014"/>
              <a:ext cx="104007" cy="90045"/>
            </a:xfrm>
            <a:custGeom>
              <a:avLst/>
              <a:gdLst>
                <a:gd name="T0" fmla="*/ 11 w 128"/>
                <a:gd name="T1" fmla="*/ 54 h 117"/>
                <a:gd name="T2" fmla="*/ 2 w 128"/>
                <a:gd name="T3" fmla="*/ 92 h 117"/>
                <a:gd name="T4" fmla="*/ 10 w 128"/>
                <a:gd name="T5" fmla="*/ 114 h 117"/>
                <a:gd name="T6" fmla="*/ 22 w 128"/>
                <a:gd name="T7" fmla="*/ 110 h 117"/>
                <a:gd name="T8" fmla="*/ 61 w 128"/>
                <a:gd name="T9" fmla="*/ 110 h 117"/>
                <a:gd name="T10" fmla="*/ 83 w 128"/>
                <a:gd name="T11" fmla="*/ 114 h 117"/>
                <a:gd name="T12" fmla="*/ 107 w 128"/>
                <a:gd name="T13" fmla="*/ 109 h 117"/>
                <a:gd name="T14" fmla="*/ 118 w 128"/>
                <a:gd name="T15" fmla="*/ 102 h 117"/>
                <a:gd name="T16" fmla="*/ 124 w 128"/>
                <a:gd name="T17" fmla="*/ 84 h 117"/>
                <a:gd name="T18" fmla="*/ 122 w 128"/>
                <a:gd name="T19" fmla="*/ 68 h 117"/>
                <a:gd name="T20" fmla="*/ 119 w 128"/>
                <a:gd name="T21" fmla="*/ 51 h 117"/>
                <a:gd name="T22" fmla="*/ 104 w 128"/>
                <a:gd name="T23" fmla="*/ 23 h 117"/>
                <a:gd name="T24" fmla="*/ 91 w 128"/>
                <a:gd name="T25" fmla="*/ 6 h 117"/>
                <a:gd name="T26" fmla="*/ 74 w 128"/>
                <a:gd name="T27" fmla="*/ 2 h 117"/>
                <a:gd name="T28" fmla="*/ 56 w 128"/>
                <a:gd name="T29" fmla="*/ 15 h 117"/>
                <a:gd name="T30" fmla="*/ 44 w 128"/>
                <a:gd name="T31" fmla="*/ 26 h 117"/>
                <a:gd name="T32" fmla="*/ 41 w 128"/>
                <a:gd name="T33" fmla="*/ 37 h 117"/>
                <a:gd name="T34" fmla="*/ 35 w 128"/>
                <a:gd name="T35" fmla="*/ 48 h 117"/>
                <a:gd name="T36" fmla="*/ 23 w 128"/>
                <a:gd name="T37" fmla="*/ 53 h 117"/>
                <a:gd name="T38" fmla="*/ 11 w 128"/>
                <a:gd name="T39" fmla="*/ 54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28" h="117">
                  <a:moveTo>
                    <a:pt x="11" y="54"/>
                  </a:moveTo>
                  <a:cubicBezTo>
                    <a:pt x="8" y="67"/>
                    <a:pt x="14" y="85"/>
                    <a:pt x="2" y="92"/>
                  </a:cubicBezTo>
                  <a:cubicBezTo>
                    <a:pt x="2" y="100"/>
                    <a:pt x="0" y="111"/>
                    <a:pt x="10" y="114"/>
                  </a:cubicBezTo>
                  <a:cubicBezTo>
                    <a:pt x="13" y="117"/>
                    <a:pt x="14" y="111"/>
                    <a:pt x="22" y="110"/>
                  </a:cubicBezTo>
                  <a:cubicBezTo>
                    <a:pt x="30" y="109"/>
                    <a:pt x="51" y="109"/>
                    <a:pt x="61" y="110"/>
                  </a:cubicBezTo>
                  <a:cubicBezTo>
                    <a:pt x="68" y="114"/>
                    <a:pt x="76" y="109"/>
                    <a:pt x="83" y="114"/>
                  </a:cubicBezTo>
                  <a:cubicBezTo>
                    <a:pt x="91" y="114"/>
                    <a:pt x="101" y="111"/>
                    <a:pt x="107" y="109"/>
                  </a:cubicBezTo>
                  <a:cubicBezTo>
                    <a:pt x="113" y="107"/>
                    <a:pt x="115" y="106"/>
                    <a:pt x="118" y="102"/>
                  </a:cubicBezTo>
                  <a:cubicBezTo>
                    <a:pt x="119" y="94"/>
                    <a:pt x="128" y="89"/>
                    <a:pt x="124" y="84"/>
                  </a:cubicBezTo>
                  <a:cubicBezTo>
                    <a:pt x="122" y="76"/>
                    <a:pt x="118" y="75"/>
                    <a:pt x="122" y="68"/>
                  </a:cubicBezTo>
                  <a:cubicBezTo>
                    <a:pt x="119" y="62"/>
                    <a:pt x="121" y="57"/>
                    <a:pt x="119" y="51"/>
                  </a:cubicBezTo>
                  <a:cubicBezTo>
                    <a:pt x="117" y="40"/>
                    <a:pt x="116" y="25"/>
                    <a:pt x="104" y="23"/>
                  </a:cubicBezTo>
                  <a:cubicBezTo>
                    <a:pt x="98" y="19"/>
                    <a:pt x="91" y="6"/>
                    <a:pt x="91" y="6"/>
                  </a:cubicBezTo>
                  <a:cubicBezTo>
                    <a:pt x="87" y="0"/>
                    <a:pt x="81" y="3"/>
                    <a:pt x="74" y="2"/>
                  </a:cubicBezTo>
                  <a:cubicBezTo>
                    <a:pt x="67" y="6"/>
                    <a:pt x="64" y="14"/>
                    <a:pt x="56" y="15"/>
                  </a:cubicBezTo>
                  <a:cubicBezTo>
                    <a:pt x="53" y="20"/>
                    <a:pt x="47" y="21"/>
                    <a:pt x="44" y="26"/>
                  </a:cubicBezTo>
                  <a:cubicBezTo>
                    <a:pt x="42" y="30"/>
                    <a:pt x="42" y="33"/>
                    <a:pt x="41" y="37"/>
                  </a:cubicBezTo>
                  <a:cubicBezTo>
                    <a:pt x="40" y="41"/>
                    <a:pt x="38" y="45"/>
                    <a:pt x="35" y="48"/>
                  </a:cubicBezTo>
                  <a:cubicBezTo>
                    <a:pt x="26" y="47"/>
                    <a:pt x="27" y="52"/>
                    <a:pt x="23" y="53"/>
                  </a:cubicBezTo>
                  <a:cubicBezTo>
                    <a:pt x="19" y="54"/>
                    <a:pt x="13" y="54"/>
                    <a:pt x="11" y="54"/>
                  </a:cubicBezTo>
                  <a:close/>
                </a:path>
              </a:pathLst>
            </a:custGeom>
            <a:solidFill>
              <a:schemeClr val="bg1">
                <a:lumMod val="85000"/>
              </a:schemeClr>
            </a:solidFill>
            <a:ln w="9525" cap="flat" cmpd="sng">
              <a:solidFill>
                <a:schemeClr val="bg1"/>
              </a:solidFill>
              <a:prstDash val="solid"/>
              <a:round/>
              <a:headEnd type="none" w="med" len="med"/>
              <a:tailEnd type="none" w="med" len="med"/>
            </a:ln>
            <a:effectLst/>
            <a:extLst/>
          </p:spPr>
          <p:txBody>
            <a:bodyPr>
              <a:noAutofit/>
            </a:bodyPr>
            <a:lstStyle/>
            <a:p>
              <a:pPr fontAlgn="auto">
                <a:spcBef>
                  <a:spcPts val="0"/>
                </a:spcBef>
                <a:spcAft>
                  <a:spcPts val="0"/>
                </a:spcAft>
                <a:defRPr/>
              </a:pPr>
              <a:endParaRPr lang="en-CA" kern="0">
                <a:solidFill>
                  <a:sysClr val="windowText" lastClr="000000"/>
                </a:solidFill>
              </a:endParaRPr>
            </a:p>
          </p:txBody>
        </p:sp>
        <p:sp>
          <p:nvSpPr>
            <p:cNvPr id="400" name="Freeform 74"/>
            <p:cNvSpPr>
              <a:spLocks/>
            </p:cNvSpPr>
            <p:nvPr>
              <p:custDataLst>
                <p:tags r:id="rId74"/>
              </p:custDataLst>
            </p:nvPr>
          </p:nvSpPr>
          <p:spPr bwMode="gray">
            <a:xfrm>
              <a:off x="2435160" y="1800259"/>
              <a:ext cx="104807" cy="128524"/>
            </a:xfrm>
            <a:custGeom>
              <a:avLst/>
              <a:gdLst>
                <a:gd name="T0" fmla="*/ 3 w 129"/>
                <a:gd name="T1" fmla="*/ 127 h 167"/>
                <a:gd name="T2" fmla="*/ 4 w 129"/>
                <a:gd name="T3" fmla="*/ 109 h 167"/>
                <a:gd name="T4" fmla="*/ 3 w 129"/>
                <a:gd name="T5" fmla="*/ 88 h 167"/>
                <a:gd name="T6" fmla="*/ 7 w 129"/>
                <a:gd name="T7" fmla="*/ 69 h 167"/>
                <a:gd name="T8" fmla="*/ 15 w 129"/>
                <a:gd name="T9" fmla="*/ 52 h 167"/>
                <a:gd name="T10" fmla="*/ 24 w 129"/>
                <a:gd name="T11" fmla="*/ 28 h 167"/>
                <a:gd name="T12" fmla="*/ 52 w 129"/>
                <a:gd name="T13" fmla="*/ 22 h 167"/>
                <a:gd name="T14" fmla="*/ 57 w 129"/>
                <a:gd name="T15" fmla="*/ 0 h 167"/>
                <a:gd name="T16" fmla="*/ 75 w 129"/>
                <a:gd name="T17" fmla="*/ 13 h 167"/>
                <a:gd name="T18" fmla="*/ 87 w 129"/>
                <a:gd name="T19" fmla="*/ 21 h 167"/>
                <a:gd name="T20" fmla="*/ 114 w 129"/>
                <a:gd name="T21" fmla="*/ 13 h 167"/>
                <a:gd name="T22" fmla="*/ 123 w 129"/>
                <a:gd name="T23" fmla="*/ 27 h 167"/>
                <a:gd name="T24" fmla="*/ 129 w 129"/>
                <a:gd name="T25" fmla="*/ 58 h 167"/>
                <a:gd name="T26" fmla="*/ 126 w 129"/>
                <a:gd name="T27" fmla="*/ 88 h 167"/>
                <a:gd name="T28" fmla="*/ 111 w 129"/>
                <a:gd name="T29" fmla="*/ 100 h 167"/>
                <a:gd name="T30" fmla="*/ 97 w 129"/>
                <a:gd name="T31" fmla="*/ 108 h 167"/>
                <a:gd name="T32" fmla="*/ 97 w 129"/>
                <a:gd name="T33" fmla="*/ 120 h 167"/>
                <a:gd name="T34" fmla="*/ 111 w 129"/>
                <a:gd name="T35" fmla="*/ 129 h 167"/>
                <a:gd name="T36" fmla="*/ 103 w 129"/>
                <a:gd name="T37" fmla="*/ 156 h 167"/>
                <a:gd name="T38" fmla="*/ 96 w 129"/>
                <a:gd name="T39" fmla="*/ 165 h 167"/>
                <a:gd name="T40" fmla="*/ 76 w 129"/>
                <a:gd name="T41" fmla="*/ 166 h 167"/>
                <a:gd name="T42" fmla="*/ 28 w 129"/>
                <a:gd name="T43" fmla="*/ 159 h 167"/>
                <a:gd name="T44" fmla="*/ 30 w 129"/>
                <a:gd name="T45" fmla="*/ 141 h 167"/>
                <a:gd name="T46" fmla="*/ 16 w 129"/>
                <a:gd name="T47" fmla="*/ 129 h 167"/>
                <a:gd name="T48" fmla="*/ 3 w 129"/>
                <a:gd name="T49" fmla="*/ 127 h 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29" h="167">
                  <a:moveTo>
                    <a:pt x="3" y="127"/>
                  </a:moveTo>
                  <a:cubicBezTo>
                    <a:pt x="0" y="123"/>
                    <a:pt x="3" y="119"/>
                    <a:pt x="4" y="109"/>
                  </a:cubicBezTo>
                  <a:cubicBezTo>
                    <a:pt x="4" y="103"/>
                    <a:pt x="2" y="95"/>
                    <a:pt x="3" y="88"/>
                  </a:cubicBezTo>
                  <a:cubicBezTo>
                    <a:pt x="4" y="81"/>
                    <a:pt x="5" y="75"/>
                    <a:pt x="7" y="69"/>
                  </a:cubicBezTo>
                  <a:cubicBezTo>
                    <a:pt x="8" y="59"/>
                    <a:pt x="10" y="58"/>
                    <a:pt x="15" y="52"/>
                  </a:cubicBezTo>
                  <a:cubicBezTo>
                    <a:pt x="18" y="45"/>
                    <a:pt x="18" y="33"/>
                    <a:pt x="24" y="28"/>
                  </a:cubicBezTo>
                  <a:cubicBezTo>
                    <a:pt x="28" y="17"/>
                    <a:pt x="39" y="24"/>
                    <a:pt x="52" y="22"/>
                  </a:cubicBezTo>
                  <a:cubicBezTo>
                    <a:pt x="54" y="14"/>
                    <a:pt x="46" y="2"/>
                    <a:pt x="57" y="0"/>
                  </a:cubicBezTo>
                  <a:cubicBezTo>
                    <a:pt x="70" y="1"/>
                    <a:pt x="68" y="4"/>
                    <a:pt x="75" y="13"/>
                  </a:cubicBezTo>
                  <a:cubicBezTo>
                    <a:pt x="77" y="22"/>
                    <a:pt x="78" y="22"/>
                    <a:pt x="87" y="21"/>
                  </a:cubicBezTo>
                  <a:cubicBezTo>
                    <a:pt x="95" y="8"/>
                    <a:pt x="92" y="12"/>
                    <a:pt x="114" y="13"/>
                  </a:cubicBezTo>
                  <a:cubicBezTo>
                    <a:pt x="115" y="20"/>
                    <a:pt x="120" y="20"/>
                    <a:pt x="123" y="27"/>
                  </a:cubicBezTo>
                  <a:cubicBezTo>
                    <a:pt x="124" y="37"/>
                    <a:pt x="124" y="49"/>
                    <a:pt x="129" y="58"/>
                  </a:cubicBezTo>
                  <a:cubicBezTo>
                    <a:pt x="129" y="69"/>
                    <a:pt x="129" y="81"/>
                    <a:pt x="126" y="88"/>
                  </a:cubicBezTo>
                  <a:cubicBezTo>
                    <a:pt x="123" y="95"/>
                    <a:pt x="116" y="97"/>
                    <a:pt x="111" y="100"/>
                  </a:cubicBezTo>
                  <a:cubicBezTo>
                    <a:pt x="104" y="105"/>
                    <a:pt x="102" y="100"/>
                    <a:pt x="97" y="108"/>
                  </a:cubicBezTo>
                  <a:cubicBezTo>
                    <a:pt x="96" y="111"/>
                    <a:pt x="95" y="116"/>
                    <a:pt x="97" y="120"/>
                  </a:cubicBezTo>
                  <a:cubicBezTo>
                    <a:pt x="99" y="124"/>
                    <a:pt x="110" y="123"/>
                    <a:pt x="111" y="129"/>
                  </a:cubicBezTo>
                  <a:cubicBezTo>
                    <a:pt x="113" y="142"/>
                    <a:pt x="108" y="145"/>
                    <a:pt x="103" y="156"/>
                  </a:cubicBezTo>
                  <a:cubicBezTo>
                    <a:pt x="100" y="162"/>
                    <a:pt x="100" y="163"/>
                    <a:pt x="96" y="165"/>
                  </a:cubicBezTo>
                  <a:cubicBezTo>
                    <a:pt x="92" y="167"/>
                    <a:pt x="87" y="167"/>
                    <a:pt x="76" y="166"/>
                  </a:cubicBezTo>
                  <a:cubicBezTo>
                    <a:pt x="60" y="154"/>
                    <a:pt x="59" y="160"/>
                    <a:pt x="28" y="159"/>
                  </a:cubicBezTo>
                  <a:cubicBezTo>
                    <a:pt x="20" y="155"/>
                    <a:pt x="32" y="146"/>
                    <a:pt x="30" y="141"/>
                  </a:cubicBezTo>
                  <a:cubicBezTo>
                    <a:pt x="28" y="136"/>
                    <a:pt x="20" y="131"/>
                    <a:pt x="16" y="129"/>
                  </a:cubicBezTo>
                  <a:cubicBezTo>
                    <a:pt x="11" y="126"/>
                    <a:pt x="3" y="131"/>
                    <a:pt x="3" y="127"/>
                  </a:cubicBezTo>
                  <a:close/>
                </a:path>
              </a:pathLst>
            </a:custGeom>
            <a:solidFill>
              <a:schemeClr val="accent1"/>
            </a:solidFill>
            <a:ln w="9525" cap="flat" cmpd="sng">
              <a:solidFill>
                <a:schemeClr val="bg1"/>
              </a:solidFill>
              <a:prstDash val="solid"/>
              <a:round/>
              <a:headEnd type="none" w="med" len="med"/>
              <a:tailEnd type="none" w="med" len="med"/>
            </a:ln>
            <a:effectLst/>
            <a:extLst/>
          </p:spPr>
          <p:txBody>
            <a:bodyPr>
              <a:noAutofit/>
            </a:bodyPr>
            <a:lstStyle/>
            <a:p>
              <a:pPr fontAlgn="auto">
                <a:spcBef>
                  <a:spcPts val="0"/>
                </a:spcBef>
                <a:spcAft>
                  <a:spcPts val="0"/>
                </a:spcAft>
                <a:defRPr/>
              </a:pPr>
              <a:endParaRPr lang="en-CA" kern="0">
                <a:solidFill>
                  <a:sysClr val="windowText" lastClr="000000"/>
                </a:solidFill>
              </a:endParaRPr>
            </a:p>
          </p:txBody>
        </p:sp>
        <p:sp>
          <p:nvSpPr>
            <p:cNvPr id="401" name="Freeform 75"/>
            <p:cNvSpPr>
              <a:spLocks/>
            </p:cNvSpPr>
            <p:nvPr>
              <p:custDataLst>
                <p:tags r:id="rId75"/>
              </p:custDataLst>
            </p:nvPr>
          </p:nvSpPr>
          <p:spPr bwMode="gray">
            <a:xfrm>
              <a:off x="2411958" y="1814111"/>
              <a:ext cx="45604" cy="48485"/>
            </a:xfrm>
            <a:custGeom>
              <a:avLst/>
              <a:gdLst>
                <a:gd name="T0" fmla="*/ 7 w 56"/>
                <a:gd name="T1" fmla="*/ 52 h 63"/>
                <a:gd name="T2" fmla="*/ 10 w 56"/>
                <a:gd name="T3" fmla="*/ 35 h 63"/>
                <a:gd name="T4" fmla="*/ 14 w 56"/>
                <a:gd name="T5" fmla="*/ 17 h 63"/>
                <a:gd name="T6" fmla="*/ 50 w 56"/>
                <a:gd name="T7" fmla="*/ 9 h 63"/>
                <a:gd name="T8" fmla="*/ 44 w 56"/>
                <a:gd name="T9" fmla="*/ 27 h 63"/>
                <a:gd name="T10" fmla="*/ 38 w 56"/>
                <a:gd name="T11" fmla="*/ 46 h 63"/>
                <a:gd name="T12" fmla="*/ 28 w 56"/>
                <a:gd name="T13" fmla="*/ 63 h 63"/>
                <a:gd name="T14" fmla="*/ 7 w 56"/>
                <a:gd name="T15" fmla="*/ 52 h 6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6" h="63">
                  <a:moveTo>
                    <a:pt x="7" y="52"/>
                  </a:moveTo>
                  <a:cubicBezTo>
                    <a:pt x="12" y="38"/>
                    <a:pt x="0" y="41"/>
                    <a:pt x="10" y="35"/>
                  </a:cubicBezTo>
                  <a:cubicBezTo>
                    <a:pt x="15" y="28"/>
                    <a:pt x="17" y="25"/>
                    <a:pt x="14" y="17"/>
                  </a:cubicBezTo>
                  <a:cubicBezTo>
                    <a:pt x="20" y="0"/>
                    <a:pt x="32" y="8"/>
                    <a:pt x="50" y="9"/>
                  </a:cubicBezTo>
                  <a:cubicBezTo>
                    <a:pt x="56" y="11"/>
                    <a:pt x="46" y="21"/>
                    <a:pt x="44" y="27"/>
                  </a:cubicBezTo>
                  <a:cubicBezTo>
                    <a:pt x="42" y="33"/>
                    <a:pt x="33" y="40"/>
                    <a:pt x="38" y="46"/>
                  </a:cubicBezTo>
                  <a:cubicBezTo>
                    <a:pt x="33" y="54"/>
                    <a:pt x="37" y="60"/>
                    <a:pt x="28" y="63"/>
                  </a:cubicBezTo>
                  <a:cubicBezTo>
                    <a:pt x="18" y="60"/>
                    <a:pt x="14" y="59"/>
                    <a:pt x="7" y="52"/>
                  </a:cubicBezTo>
                  <a:close/>
                </a:path>
              </a:pathLst>
            </a:custGeom>
            <a:solidFill>
              <a:schemeClr val="accent1"/>
            </a:solidFill>
            <a:ln w="9525" cap="flat" cmpd="sng">
              <a:solidFill>
                <a:schemeClr val="bg1"/>
              </a:solidFill>
              <a:prstDash val="solid"/>
              <a:round/>
              <a:headEnd type="none" w="med" len="med"/>
              <a:tailEnd type="none" w="med" len="med"/>
            </a:ln>
            <a:effectLst/>
            <a:extLst/>
          </p:spPr>
          <p:txBody>
            <a:bodyPr>
              <a:noAutofit/>
            </a:bodyPr>
            <a:lstStyle/>
            <a:p>
              <a:pPr fontAlgn="auto">
                <a:spcBef>
                  <a:spcPts val="0"/>
                </a:spcBef>
                <a:spcAft>
                  <a:spcPts val="0"/>
                </a:spcAft>
                <a:defRPr/>
              </a:pPr>
              <a:endParaRPr lang="en-CA" kern="0">
                <a:solidFill>
                  <a:sysClr val="windowText" lastClr="000000"/>
                </a:solidFill>
              </a:endParaRPr>
            </a:p>
          </p:txBody>
        </p:sp>
        <p:sp>
          <p:nvSpPr>
            <p:cNvPr id="402" name="Freeform 77"/>
            <p:cNvSpPr>
              <a:spLocks/>
            </p:cNvSpPr>
            <p:nvPr>
              <p:custDataLst>
                <p:tags r:id="rId76"/>
              </p:custDataLst>
            </p:nvPr>
          </p:nvSpPr>
          <p:spPr bwMode="gray">
            <a:xfrm>
              <a:off x="2599087" y="2022673"/>
              <a:ext cx="79290" cy="87838"/>
            </a:xfrm>
            <a:custGeom>
              <a:avLst/>
              <a:gdLst/>
              <a:ahLst/>
              <a:cxnLst/>
              <a:rect l="l" t="t" r="r" b="b"/>
              <a:pathLst>
                <a:path w="157329" h="181187">
                  <a:moveTo>
                    <a:pt x="93201" y="149225"/>
                  </a:moveTo>
                  <a:cubicBezTo>
                    <a:pt x="128471" y="153988"/>
                    <a:pt x="114043" y="166688"/>
                    <a:pt x="157329" y="171450"/>
                  </a:cubicBezTo>
                  <a:cubicBezTo>
                    <a:pt x="136488" y="185738"/>
                    <a:pt x="133281" y="180976"/>
                    <a:pt x="102820" y="177801"/>
                  </a:cubicBezTo>
                  <a:cubicBezTo>
                    <a:pt x="91598" y="169863"/>
                    <a:pt x="85185" y="171450"/>
                    <a:pt x="80375" y="158750"/>
                  </a:cubicBezTo>
                  <a:cubicBezTo>
                    <a:pt x="91598" y="155575"/>
                    <a:pt x="88391" y="158750"/>
                    <a:pt x="93201" y="149225"/>
                  </a:cubicBezTo>
                  <a:close/>
                  <a:moveTo>
                    <a:pt x="112439" y="0"/>
                  </a:moveTo>
                  <a:cubicBezTo>
                    <a:pt x="96407" y="15875"/>
                    <a:pt x="110836" y="-3175"/>
                    <a:pt x="115645" y="12700"/>
                  </a:cubicBezTo>
                  <a:cubicBezTo>
                    <a:pt x="110836" y="30162"/>
                    <a:pt x="67548" y="46037"/>
                    <a:pt x="56326" y="65087"/>
                  </a:cubicBezTo>
                  <a:cubicBezTo>
                    <a:pt x="46707" y="80962"/>
                    <a:pt x="57929" y="103187"/>
                    <a:pt x="56326" y="112712"/>
                  </a:cubicBezTo>
                  <a:cubicBezTo>
                    <a:pt x="54723" y="122237"/>
                    <a:pt x="49913" y="130175"/>
                    <a:pt x="41897" y="120650"/>
                  </a:cubicBezTo>
                  <a:cubicBezTo>
                    <a:pt x="13039" y="101600"/>
                    <a:pt x="9833" y="92075"/>
                    <a:pt x="3420" y="57150"/>
                  </a:cubicBezTo>
                  <a:cubicBezTo>
                    <a:pt x="1817" y="50800"/>
                    <a:pt x="-187" y="48815"/>
                    <a:pt x="13" y="47823"/>
                  </a:cubicBezTo>
                  <a:lnTo>
                    <a:pt x="9833" y="44450"/>
                  </a:lnTo>
                  <a:cubicBezTo>
                    <a:pt x="16246" y="42862"/>
                    <a:pt x="30674" y="50800"/>
                    <a:pt x="38691" y="46037"/>
                  </a:cubicBezTo>
                  <a:cubicBezTo>
                    <a:pt x="46707" y="41275"/>
                    <a:pt x="54723" y="19050"/>
                    <a:pt x="61136" y="14287"/>
                  </a:cubicBezTo>
                  <a:cubicBezTo>
                    <a:pt x="61136" y="14287"/>
                    <a:pt x="67548" y="9525"/>
                    <a:pt x="73961" y="6350"/>
                  </a:cubicBezTo>
                  <a:cubicBezTo>
                    <a:pt x="85184" y="0"/>
                    <a:pt x="99613" y="4762"/>
                    <a:pt x="112439" y="0"/>
                  </a:cubicBezTo>
                  <a:close/>
                </a:path>
              </a:pathLst>
            </a:custGeom>
            <a:solidFill>
              <a:schemeClr val="accent1"/>
            </a:solidFill>
            <a:ln w="9525" cap="flat" cmpd="sng">
              <a:solidFill>
                <a:schemeClr val="bg1"/>
              </a:solidFill>
              <a:prstDash val="solid"/>
              <a:round/>
              <a:headEnd type="none" w="med" len="med"/>
              <a:tailEnd type="none" w="med" len="med"/>
            </a:ln>
            <a:effectLst/>
            <a:extLst/>
          </p:spPr>
          <p:txBody>
            <a:bodyPr>
              <a:noAutofit/>
            </a:bodyPr>
            <a:lstStyle/>
            <a:p>
              <a:pPr fontAlgn="auto">
                <a:spcBef>
                  <a:spcPts val="0"/>
                </a:spcBef>
                <a:spcAft>
                  <a:spcPts val="0"/>
                </a:spcAft>
                <a:defRPr/>
              </a:pPr>
              <a:endParaRPr lang="en-CA" kern="0">
                <a:solidFill>
                  <a:sysClr val="windowText" lastClr="000000"/>
                </a:solidFill>
              </a:endParaRPr>
            </a:p>
          </p:txBody>
        </p:sp>
        <p:sp>
          <p:nvSpPr>
            <p:cNvPr id="403" name="Freeform 79"/>
            <p:cNvSpPr>
              <a:spLocks/>
            </p:cNvSpPr>
            <p:nvPr>
              <p:custDataLst>
                <p:tags r:id="rId77"/>
              </p:custDataLst>
            </p:nvPr>
          </p:nvSpPr>
          <p:spPr bwMode="gray">
            <a:xfrm>
              <a:off x="3176009" y="2037296"/>
              <a:ext cx="98406" cy="62338"/>
            </a:xfrm>
            <a:custGeom>
              <a:avLst/>
              <a:gdLst>
                <a:gd name="T0" fmla="*/ 98 w 121"/>
                <a:gd name="T1" fmla="*/ 26 h 81"/>
                <a:gd name="T2" fmla="*/ 98 w 121"/>
                <a:gd name="T3" fmla="*/ 40 h 81"/>
                <a:gd name="T4" fmla="*/ 109 w 121"/>
                <a:gd name="T5" fmla="*/ 34 h 81"/>
                <a:gd name="T6" fmla="*/ 113 w 121"/>
                <a:gd name="T7" fmla="*/ 46 h 81"/>
                <a:gd name="T8" fmla="*/ 119 w 121"/>
                <a:gd name="T9" fmla="*/ 62 h 81"/>
                <a:gd name="T10" fmla="*/ 101 w 121"/>
                <a:gd name="T11" fmla="*/ 68 h 81"/>
                <a:gd name="T12" fmla="*/ 80 w 121"/>
                <a:gd name="T13" fmla="*/ 74 h 81"/>
                <a:gd name="T14" fmla="*/ 64 w 121"/>
                <a:gd name="T15" fmla="*/ 77 h 81"/>
                <a:gd name="T16" fmla="*/ 62 w 121"/>
                <a:gd name="T17" fmla="*/ 52 h 81"/>
                <a:gd name="T18" fmla="*/ 58 w 121"/>
                <a:gd name="T19" fmla="*/ 40 h 81"/>
                <a:gd name="T20" fmla="*/ 44 w 121"/>
                <a:gd name="T21" fmla="*/ 58 h 81"/>
                <a:gd name="T22" fmla="*/ 32 w 121"/>
                <a:gd name="T23" fmla="*/ 64 h 81"/>
                <a:gd name="T24" fmla="*/ 11 w 121"/>
                <a:gd name="T25" fmla="*/ 67 h 81"/>
                <a:gd name="T26" fmla="*/ 8 w 121"/>
                <a:gd name="T27" fmla="*/ 53 h 81"/>
                <a:gd name="T28" fmla="*/ 8 w 121"/>
                <a:gd name="T29" fmla="*/ 39 h 81"/>
                <a:gd name="T30" fmla="*/ 2 w 121"/>
                <a:gd name="T31" fmla="*/ 25 h 81"/>
                <a:gd name="T32" fmla="*/ 20 w 121"/>
                <a:gd name="T33" fmla="*/ 11 h 81"/>
                <a:gd name="T34" fmla="*/ 28 w 121"/>
                <a:gd name="T35" fmla="*/ 1 h 81"/>
                <a:gd name="T36" fmla="*/ 37 w 121"/>
                <a:gd name="T37" fmla="*/ 4 h 81"/>
                <a:gd name="T38" fmla="*/ 50 w 121"/>
                <a:gd name="T39" fmla="*/ 19 h 81"/>
                <a:gd name="T40" fmla="*/ 52 w 121"/>
                <a:gd name="T41" fmla="*/ 32 h 81"/>
                <a:gd name="T42" fmla="*/ 58 w 121"/>
                <a:gd name="T43" fmla="*/ 23 h 81"/>
                <a:gd name="T44" fmla="*/ 79 w 121"/>
                <a:gd name="T45" fmla="*/ 26 h 81"/>
                <a:gd name="T46" fmla="*/ 98 w 121"/>
                <a:gd name="T47" fmla="*/ 26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21" h="81">
                  <a:moveTo>
                    <a:pt x="98" y="26"/>
                  </a:moveTo>
                  <a:cubicBezTo>
                    <a:pt x="101" y="28"/>
                    <a:pt x="96" y="39"/>
                    <a:pt x="98" y="40"/>
                  </a:cubicBezTo>
                  <a:cubicBezTo>
                    <a:pt x="100" y="41"/>
                    <a:pt x="107" y="33"/>
                    <a:pt x="109" y="34"/>
                  </a:cubicBezTo>
                  <a:cubicBezTo>
                    <a:pt x="111" y="35"/>
                    <a:pt x="111" y="41"/>
                    <a:pt x="113" y="46"/>
                  </a:cubicBezTo>
                  <a:cubicBezTo>
                    <a:pt x="115" y="51"/>
                    <a:pt x="121" y="58"/>
                    <a:pt x="119" y="62"/>
                  </a:cubicBezTo>
                  <a:cubicBezTo>
                    <a:pt x="117" y="66"/>
                    <a:pt x="107" y="66"/>
                    <a:pt x="101" y="68"/>
                  </a:cubicBezTo>
                  <a:cubicBezTo>
                    <a:pt x="95" y="70"/>
                    <a:pt x="86" y="73"/>
                    <a:pt x="80" y="74"/>
                  </a:cubicBezTo>
                  <a:cubicBezTo>
                    <a:pt x="74" y="75"/>
                    <a:pt x="67" y="81"/>
                    <a:pt x="64" y="77"/>
                  </a:cubicBezTo>
                  <a:cubicBezTo>
                    <a:pt x="61" y="73"/>
                    <a:pt x="63" y="58"/>
                    <a:pt x="62" y="52"/>
                  </a:cubicBezTo>
                  <a:cubicBezTo>
                    <a:pt x="61" y="46"/>
                    <a:pt x="61" y="39"/>
                    <a:pt x="58" y="40"/>
                  </a:cubicBezTo>
                  <a:cubicBezTo>
                    <a:pt x="55" y="41"/>
                    <a:pt x="48" y="54"/>
                    <a:pt x="44" y="58"/>
                  </a:cubicBezTo>
                  <a:cubicBezTo>
                    <a:pt x="40" y="62"/>
                    <a:pt x="37" y="63"/>
                    <a:pt x="32" y="64"/>
                  </a:cubicBezTo>
                  <a:cubicBezTo>
                    <a:pt x="27" y="65"/>
                    <a:pt x="15" y="69"/>
                    <a:pt x="11" y="67"/>
                  </a:cubicBezTo>
                  <a:cubicBezTo>
                    <a:pt x="7" y="65"/>
                    <a:pt x="8" y="58"/>
                    <a:pt x="8" y="53"/>
                  </a:cubicBezTo>
                  <a:cubicBezTo>
                    <a:pt x="8" y="48"/>
                    <a:pt x="9" y="44"/>
                    <a:pt x="8" y="39"/>
                  </a:cubicBezTo>
                  <a:cubicBezTo>
                    <a:pt x="7" y="34"/>
                    <a:pt x="0" y="30"/>
                    <a:pt x="2" y="25"/>
                  </a:cubicBezTo>
                  <a:cubicBezTo>
                    <a:pt x="4" y="20"/>
                    <a:pt x="16" y="15"/>
                    <a:pt x="20" y="11"/>
                  </a:cubicBezTo>
                  <a:cubicBezTo>
                    <a:pt x="24" y="7"/>
                    <a:pt x="25" y="2"/>
                    <a:pt x="28" y="1"/>
                  </a:cubicBezTo>
                  <a:cubicBezTo>
                    <a:pt x="31" y="0"/>
                    <a:pt x="33" y="1"/>
                    <a:pt x="37" y="4"/>
                  </a:cubicBezTo>
                  <a:cubicBezTo>
                    <a:pt x="41" y="7"/>
                    <a:pt x="48" y="14"/>
                    <a:pt x="50" y="19"/>
                  </a:cubicBezTo>
                  <a:cubicBezTo>
                    <a:pt x="52" y="24"/>
                    <a:pt x="51" y="31"/>
                    <a:pt x="52" y="32"/>
                  </a:cubicBezTo>
                  <a:cubicBezTo>
                    <a:pt x="53" y="33"/>
                    <a:pt x="54" y="24"/>
                    <a:pt x="58" y="23"/>
                  </a:cubicBezTo>
                  <a:cubicBezTo>
                    <a:pt x="62" y="22"/>
                    <a:pt x="73" y="26"/>
                    <a:pt x="79" y="26"/>
                  </a:cubicBezTo>
                  <a:cubicBezTo>
                    <a:pt x="85" y="26"/>
                    <a:pt x="95" y="24"/>
                    <a:pt x="98" y="26"/>
                  </a:cubicBezTo>
                  <a:close/>
                </a:path>
              </a:pathLst>
            </a:custGeom>
            <a:solidFill>
              <a:schemeClr val="bg1">
                <a:lumMod val="85000"/>
              </a:schemeClr>
            </a:solidFill>
            <a:ln w="9525" cap="flat" cmpd="sng">
              <a:solidFill>
                <a:schemeClr val="bg1"/>
              </a:solidFill>
              <a:prstDash val="solid"/>
              <a:round/>
              <a:headEnd type="none" w="med" len="med"/>
              <a:tailEnd type="none" w="med" len="med"/>
            </a:ln>
            <a:effectLst/>
            <a:extLst/>
          </p:spPr>
          <p:txBody>
            <a:bodyPr>
              <a:noAutofit/>
            </a:bodyPr>
            <a:lstStyle/>
            <a:p>
              <a:pPr fontAlgn="auto">
                <a:spcBef>
                  <a:spcPts val="0"/>
                </a:spcBef>
                <a:spcAft>
                  <a:spcPts val="0"/>
                </a:spcAft>
                <a:defRPr/>
              </a:pPr>
              <a:endParaRPr lang="en-CA" kern="0">
                <a:solidFill>
                  <a:sysClr val="windowText" lastClr="000000"/>
                </a:solidFill>
              </a:endParaRPr>
            </a:p>
          </p:txBody>
        </p:sp>
        <p:sp>
          <p:nvSpPr>
            <p:cNvPr id="404" name="Freeform 80"/>
            <p:cNvSpPr>
              <a:spLocks/>
            </p:cNvSpPr>
            <p:nvPr>
              <p:custDataLst>
                <p:tags r:id="rId78"/>
              </p:custDataLst>
            </p:nvPr>
          </p:nvSpPr>
          <p:spPr bwMode="gray">
            <a:xfrm>
              <a:off x="2224745" y="1783327"/>
              <a:ext cx="62404" cy="84656"/>
            </a:xfrm>
            <a:custGeom>
              <a:avLst/>
              <a:gdLst>
                <a:gd name="T0" fmla="*/ 40 w 76"/>
                <a:gd name="T1" fmla="*/ 41 h 110"/>
                <a:gd name="T2" fmla="*/ 66 w 76"/>
                <a:gd name="T3" fmla="*/ 55 h 110"/>
                <a:gd name="T4" fmla="*/ 73 w 76"/>
                <a:gd name="T5" fmla="*/ 91 h 110"/>
                <a:gd name="T6" fmla="*/ 51 w 76"/>
                <a:gd name="T7" fmla="*/ 103 h 110"/>
                <a:gd name="T8" fmla="*/ 36 w 76"/>
                <a:gd name="T9" fmla="*/ 103 h 110"/>
                <a:gd name="T10" fmla="*/ 16 w 76"/>
                <a:gd name="T11" fmla="*/ 91 h 110"/>
                <a:gd name="T12" fmla="*/ 15 w 76"/>
                <a:gd name="T13" fmla="*/ 82 h 110"/>
                <a:gd name="T14" fmla="*/ 28 w 76"/>
                <a:gd name="T15" fmla="*/ 64 h 110"/>
                <a:gd name="T16" fmla="*/ 12 w 76"/>
                <a:gd name="T17" fmla="*/ 53 h 110"/>
                <a:gd name="T18" fmla="*/ 3 w 76"/>
                <a:gd name="T19" fmla="*/ 37 h 110"/>
                <a:gd name="T20" fmla="*/ 30 w 76"/>
                <a:gd name="T21" fmla="*/ 25 h 110"/>
                <a:gd name="T22" fmla="*/ 21 w 76"/>
                <a:gd name="T23" fmla="*/ 8 h 110"/>
                <a:gd name="T24" fmla="*/ 55 w 76"/>
                <a:gd name="T25" fmla="*/ 2 h 110"/>
                <a:gd name="T26" fmla="*/ 43 w 76"/>
                <a:gd name="T27" fmla="*/ 19 h 110"/>
                <a:gd name="T28" fmla="*/ 40 w 76"/>
                <a:gd name="T29" fmla="*/ 41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6" h="110">
                  <a:moveTo>
                    <a:pt x="40" y="41"/>
                  </a:moveTo>
                  <a:cubicBezTo>
                    <a:pt x="46" y="45"/>
                    <a:pt x="61" y="47"/>
                    <a:pt x="66" y="55"/>
                  </a:cubicBezTo>
                  <a:cubicBezTo>
                    <a:pt x="71" y="63"/>
                    <a:pt x="76" y="83"/>
                    <a:pt x="73" y="91"/>
                  </a:cubicBezTo>
                  <a:cubicBezTo>
                    <a:pt x="66" y="94"/>
                    <a:pt x="59" y="101"/>
                    <a:pt x="51" y="103"/>
                  </a:cubicBezTo>
                  <a:cubicBezTo>
                    <a:pt x="50" y="110"/>
                    <a:pt x="42" y="100"/>
                    <a:pt x="36" y="103"/>
                  </a:cubicBezTo>
                  <a:cubicBezTo>
                    <a:pt x="13" y="99"/>
                    <a:pt x="23" y="104"/>
                    <a:pt x="16" y="91"/>
                  </a:cubicBezTo>
                  <a:cubicBezTo>
                    <a:pt x="15" y="84"/>
                    <a:pt x="6" y="84"/>
                    <a:pt x="15" y="82"/>
                  </a:cubicBezTo>
                  <a:cubicBezTo>
                    <a:pt x="21" y="72"/>
                    <a:pt x="18" y="72"/>
                    <a:pt x="28" y="64"/>
                  </a:cubicBezTo>
                  <a:cubicBezTo>
                    <a:pt x="26" y="52"/>
                    <a:pt x="17" y="62"/>
                    <a:pt x="12" y="53"/>
                  </a:cubicBezTo>
                  <a:cubicBezTo>
                    <a:pt x="10" y="48"/>
                    <a:pt x="0" y="42"/>
                    <a:pt x="3" y="37"/>
                  </a:cubicBezTo>
                  <a:cubicBezTo>
                    <a:pt x="6" y="32"/>
                    <a:pt x="27" y="30"/>
                    <a:pt x="30" y="25"/>
                  </a:cubicBezTo>
                  <a:cubicBezTo>
                    <a:pt x="33" y="20"/>
                    <a:pt x="17" y="12"/>
                    <a:pt x="21" y="8"/>
                  </a:cubicBezTo>
                  <a:cubicBezTo>
                    <a:pt x="25" y="4"/>
                    <a:pt x="52" y="0"/>
                    <a:pt x="55" y="2"/>
                  </a:cubicBezTo>
                  <a:cubicBezTo>
                    <a:pt x="58" y="4"/>
                    <a:pt x="45" y="13"/>
                    <a:pt x="43" y="19"/>
                  </a:cubicBezTo>
                  <a:cubicBezTo>
                    <a:pt x="41" y="25"/>
                    <a:pt x="31" y="37"/>
                    <a:pt x="40" y="41"/>
                  </a:cubicBezTo>
                  <a:close/>
                </a:path>
              </a:pathLst>
            </a:custGeom>
            <a:solidFill>
              <a:schemeClr val="accent1"/>
            </a:solidFill>
            <a:ln w="9525" cap="flat" cmpd="sng">
              <a:solidFill>
                <a:schemeClr val="bg1"/>
              </a:solidFill>
              <a:prstDash val="solid"/>
              <a:round/>
              <a:headEnd type="none" w="med" len="med"/>
              <a:tailEnd type="none" w="med" len="med"/>
            </a:ln>
            <a:effectLst/>
            <a:extLst/>
          </p:spPr>
          <p:txBody>
            <a:bodyPr>
              <a:noAutofit/>
            </a:bodyPr>
            <a:lstStyle/>
            <a:p>
              <a:pPr fontAlgn="auto">
                <a:spcBef>
                  <a:spcPts val="0"/>
                </a:spcBef>
                <a:spcAft>
                  <a:spcPts val="0"/>
                </a:spcAft>
                <a:defRPr/>
              </a:pPr>
              <a:endParaRPr lang="en-CA" kern="0">
                <a:solidFill>
                  <a:sysClr val="windowText" lastClr="000000"/>
                </a:solidFill>
              </a:endParaRPr>
            </a:p>
          </p:txBody>
        </p:sp>
        <p:sp>
          <p:nvSpPr>
            <p:cNvPr id="405" name="Freeform 86"/>
            <p:cNvSpPr>
              <a:spLocks/>
            </p:cNvSpPr>
            <p:nvPr>
              <p:custDataLst>
                <p:tags r:id="rId79"/>
              </p:custDataLst>
            </p:nvPr>
          </p:nvSpPr>
          <p:spPr bwMode="gray">
            <a:xfrm>
              <a:off x="2259148" y="1990351"/>
              <a:ext cx="148810" cy="113901"/>
            </a:xfrm>
            <a:custGeom>
              <a:avLst/>
              <a:gdLst>
                <a:gd name="T0" fmla="*/ 9 w 183"/>
                <a:gd name="T1" fmla="*/ 5 h 148"/>
                <a:gd name="T2" fmla="*/ 54 w 183"/>
                <a:gd name="T3" fmla="*/ 3 h 148"/>
                <a:gd name="T4" fmla="*/ 81 w 183"/>
                <a:gd name="T5" fmla="*/ 3 h 148"/>
                <a:gd name="T6" fmla="*/ 156 w 183"/>
                <a:gd name="T7" fmla="*/ 17 h 148"/>
                <a:gd name="T8" fmla="*/ 175 w 183"/>
                <a:gd name="T9" fmla="*/ 27 h 148"/>
                <a:gd name="T10" fmla="*/ 175 w 183"/>
                <a:gd name="T11" fmla="*/ 39 h 148"/>
                <a:gd name="T12" fmla="*/ 154 w 183"/>
                <a:gd name="T13" fmla="*/ 48 h 148"/>
                <a:gd name="T14" fmla="*/ 139 w 183"/>
                <a:gd name="T15" fmla="*/ 62 h 148"/>
                <a:gd name="T16" fmla="*/ 129 w 183"/>
                <a:gd name="T17" fmla="*/ 77 h 148"/>
                <a:gd name="T18" fmla="*/ 132 w 183"/>
                <a:gd name="T19" fmla="*/ 96 h 148"/>
                <a:gd name="T20" fmla="*/ 130 w 183"/>
                <a:gd name="T21" fmla="*/ 102 h 148"/>
                <a:gd name="T22" fmla="*/ 123 w 183"/>
                <a:gd name="T23" fmla="*/ 104 h 148"/>
                <a:gd name="T24" fmla="*/ 112 w 183"/>
                <a:gd name="T25" fmla="*/ 119 h 148"/>
                <a:gd name="T26" fmla="*/ 91 w 183"/>
                <a:gd name="T27" fmla="*/ 134 h 148"/>
                <a:gd name="T28" fmla="*/ 55 w 183"/>
                <a:gd name="T29" fmla="*/ 141 h 148"/>
                <a:gd name="T30" fmla="*/ 43 w 183"/>
                <a:gd name="T31" fmla="*/ 146 h 148"/>
                <a:gd name="T32" fmla="*/ 28 w 183"/>
                <a:gd name="T33" fmla="*/ 131 h 148"/>
                <a:gd name="T34" fmla="*/ 21 w 183"/>
                <a:gd name="T35" fmla="*/ 119 h 148"/>
                <a:gd name="T36" fmla="*/ 27 w 183"/>
                <a:gd name="T37" fmla="*/ 83 h 148"/>
                <a:gd name="T38" fmla="*/ 37 w 183"/>
                <a:gd name="T39" fmla="*/ 42 h 148"/>
                <a:gd name="T40" fmla="*/ 16 w 183"/>
                <a:gd name="T41" fmla="*/ 35 h 148"/>
                <a:gd name="T42" fmla="*/ 4 w 183"/>
                <a:gd name="T43" fmla="*/ 29 h 148"/>
                <a:gd name="T44" fmla="*/ 0 w 183"/>
                <a:gd name="T45" fmla="*/ 12 h 148"/>
                <a:gd name="T46" fmla="*/ 9 w 183"/>
                <a:gd name="T47" fmla="*/ 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83" h="148">
                  <a:moveTo>
                    <a:pt x="9" y="5"/>
                  </a:moveTo>
                  <a:cubicBezTo>
                    <a:pt x="13" y="0"/>
                    <a:pt x="48" y="3"/>
                    <a:pt x="54" y="3"/>
                  </a:cubicBezTo>
                  <a:cubicBezTo>
                    <a:pt x="62" y="9"/>
                    <a:pt x="72" y="7"/>
                    <a:pt x="81" y="3"/>
                  </a:cubicBezTo>
                  <a:cubicBezTo>
                    <a:pt x="113" y="5"/>
                    <a:pt x="122" y="15"/>
                    <a:pt x="156" y="17"/>
                  </a:cubicBezTo>
                  <a:cubicBezTo>
                    <a:pt x="167" y="25"/>
                    <a:pt x="155" y="25"/>
                    <a:pt x="175" y="27"/>
                  </a:cubicBezTo>
                  <a:cubicBezTo>
                    <a:pt x="177" y="34"/>
                    <a:pt x="183" y="37"/>
                    <a:pt x="175" y="39"/>
                  </a:cubicBezTo>
                  <a:cubicBezTo>
                    <a:pt x="171" y="46"/>
                    <a:pt x="162" y="47"/>
                    <a:pt x="154" y="48"/>
                  </a:cubicBezTo>
                  <a:cubicBezTo>
                    <a:pt x="148" y="53"/>
                    <a:pt x="147" y="59"/>
                    <a:pt x="139" y="62"/>
                  </a:cubicBezTo>
                  <a:cubicBezTo>
                    <a:pt x="135" y="68"/>
                    <a:pt x="136" y="74"/>
                    <a:pt x="129" y="77"/>
                  </a:cubicBezTo>
                  <a:cubicBezTo>
                    <a:pt x="123" y="84"/>
                    <a:pt x="125" y="91"/>
                    <a:pt x="132" y="96"/>
                  </a:cubicBezTo>
                  <a:cubicBezTo>
                    <a:pt x="131" y="98"/>
                    <a:pt x="132" y="101"/>
                    <a:pt x="130" y="102"/>
                  </a:cubicBezTo>
                  <a:cubicBezTo>
                    <a:pt x="128" y="104"/>
                    <a:pt x="125" y="102"/>
                    <a:pt x="123" y="104"/>
                  </a:cubicBezTo>
                  <a:cubicBezTo>
                    <a:pt x="115" y="114"/>
                    <a:pt x="125" y="111"/>
                    <a:pt x="112" y="119"/>
                  </a:cubicBezTo>
                  <a:cubicBezTo>
                    <a:pt x="105" y="129"/>
                    <a:pt x="102" y="130"/>
                    <a:pt x="91" y="134"/>
                  </a:cubicBezTo>
                  <a:cubicBezTo>
                    <a:pt x="78" y="144"/>
                    <a:pt x="78" y="140"/>
                    <a:pt x="55" y="141"/>
                  </a:cubicBezTo>
                  <a:cubicBezTo>
                    <a:pt x="48" y="145"/>
                    <a:pt x="52" y="148"/>
                    <a:pt x="43" y="146"/>
                  </a:cubicBezTo>
                  <a:cubicBezTo>
                    <a:pt x="39" y="140"/>
                    <a:pt x="35" y="132"/>
                    <a:pt x="28" y="131"/>
                  </a:cubicBezTo>
                  <a:cubicBezTo>
                    <a:pt x="25" y="126"/>
                    <a:pt x="24" y="124"/>
                    <a:pt x="21" y="119"/>
                  </a:cubicBezTo>
                  <a:cubicBezTo>
                    <a:pt x="28" y="108"/>
                    <a:pt x="21" y="95"/>
                    <a:pt x="27" y="83"/>
                  </a:cubicBezTo>
                  <a:cubicBezTo>
                    <a:pt x="30" y="67"/>
                    <a:pt x="29" y="56"/>
                    <a:pt x="37" y="42"/>
                  </a:cubicBezTo>
                  <a:cubicBezTo>
                    <a:pt x="31" y="34"/>
                    <a:pt x="27" y="36"/>
                    <a:pt x="16" y="35"/>
                  </a:cubicBezTo>
                  <a:cubicBezTo>
                    <a:pt x="11" y="33"/>
                    <a:pt x="9" y="32"/>
                    <a:pt x="4" y="29"/>
                  </a:cubicBezTo>
                  <a:cubicBezTo>
                    <a:pt x="3" y="24"/>
                    <a:pt x="1" y="17"/>
                    <a:pt x="0" y="12"/>
                  </a:cubicBezTo>
                  <a:cubicBezTo>
                    <a:pt x="3" y="10"/>
                    <a:pt x="9" y="8"/>
                    <a:pt x="9" y="8"/>
                  </a:cubicBezTo>
                </a:path>
              </a:pathLst>
            </a:custGeom>
            <a:solidFill>
              <a:schemeClr val="accent1"/>
            </a:solidFill>
            <a:ln w="9525" cap="flat" cmpd="sng">
              <a:solidFill>
                <a:schemeClr val="bg1"/>
              </a:solidFill>
              <a:prstDash val="solid"/>
              <a:round/>
              <a:headEnd type="none" w="med" len="med"/>
              <a:tailEnd type="none" w="med" len="med"/>
            </a:ln>
            <a:effectLst/>
            <a:extLst/>
          </p:spPr>
          <p:txBody>
            <a:bodyPr>
              <a:noAutofit/>
            </a:bodyPr>
            <a:lstStyle/>
            <a:p>
              <a:pPr fontAlgn="auto">
                <a:spcBef>
                  <a:spcPts val="0"/>
                </a:spcBef>
                <a:spcAft>
                  <a:spcPts val="0"/>
                </a:spcAft>
                <a:defRPr/>
              </a:pPr>
              <a:endParaRPr lang="en-CA" kern="0">
                <a:solidFill>
                  <a:sysClr val="windowText" lastClr="000000"/>
                </a:solidFill>
              </a:endParaRPr>
            </a:p>
          </p:txBody>
        </p:sp>
        <p:sp>
          <p:nvSpPr>
            <p:cNvPr id="406" name="Freeform 87"/>
            <p:cNvSpPr>
              <a:spLocks/>
            </p:cNvSpPr>
            <p:nvPr>
              <p:custDataLst>
                <p:tags r:id="rId80"/>
              </p:custDataLst>
            </p:nvPr>
          </p:nvSpPr>
          <p:spPr bwMode="gray">
            <a:xfrm>
              <a:off x="2902390" y="2048840"/>
              <a:ext cx="224816" cy="201636"/>
            </a:xfrm>
            <a:custGeom>
              <a:avLst/>
              <a:gdLst>
                <a:gd name="T0" fmla="*/ 5 w 277"/>
                <a:gd name="T1" fmla="*/ 5 h 262"/>
                <a:gd name="T2" fmla="*/ 1 w 277"/>
                <a:gd name="T3" fmla="*/ 37 h 262"/>
                <a:gd name="T4" fmla="*/ 2 w 277"/>
                <a:gd name="T5" fmla="*/ 53 h 262"/>
                <a:gd name="T6" fmla="*/ 15 w 277"/>
                <a:gd name="T7" fmla="*/ 67 h 262"/>
                <a:gd name="T8" fmla="*/ 26 w 277"/>
                <a:gd name="T9" fmla="*/ 77 h 262"/>
                <a:gd name="T10" fmla="*/ 14 w 277"/>
                <a:gd name="T11" fmla="*/ 100 h 262"/>
                <a:gd name="T12" fmla="*/ 28 w 277"/>
                <a:gd name="T13" fmla="*/ 121 h 262"/>
                <a:gd name="T14" fmla="*/ 46 w 277"/>
                <a:gd name="T15" fmla="*/ 139 h 262"/>
                <a:gd name="T16" fmla="*/ 53 w 277"/>
                <a:gd name="T17" fmla="*/ 173 h 262"/>
                <a:gd name="T18" fmla="*/ 85 w 277"/>
                <a:gd name="T19" fmla="*/ 182 h 262"/>
                <a:gd name="T20" fmla="*/ 94 w 277"/>
                <a:gd name="T21" fmla="*/ 208 h 262"/>
                <a:gd name="T22" fmla="*/ 115 w 277"/>
                <a:gd name="T23" fmla="*/ 218 h 262"/>
                <a:gd name="T24" fmla="*/ 119 w 277"/>
                <a:gd name="T25" fmla="*/ 220 h 262"/>
                <a:gd name="T26" fmla="*/ 130 w 277"/>
                <a:gd name="T27" fmla="*/ 221 h 262"/>
                <a:gd name="T28" fmla="*/ 145 w 277"/>
                <a:gd name="T29" fmla="*/ 233 h 262"/>
                <a:gd name="T30" fmla="*/ 173 w 277"/>
                <a:gd name="T31" fmla="*/ 215 h 262"/>
                <a:gd name="T32" fmla="*/ 193 w 277"/>
                <a:gd name="T33" fmla="*/ 221 h 262"/>
                <a:gd name="T34" fmla="*/ 202 w 277"/>
                <a:gd name="T35" fmla="*/ 251 h 262"/>
                <a:gd name="T36" fmla="*/ 236 w 277"/>
                <a:gd name="T37" fmla="*/ 257 h 262"/>
                <a:gd name="T38" fmla="*/ 256 w 277"/>
                <a:gd name="T39" fmla="*/ 241 h 262"/>
                <a:gd name="T40" fmla="*/ 268 w 277"/>
                <a:gd name="T41" fmla="*/ 233 h 262"/>
                <a:gd name="T42" fmla="*/ 277 w 277"/>
                <a:gd name="T43" fmla="*/ 230 h 262"/>
                <a:gd name="T44" fmla="*/ 269 w 277"/>
                <a:gd name="T45" fmla="*/ 208 h 262"/>
                <a:gd name="T46" fmla="*/ 253 w 277"/>
                <a:gd name="T47" fmla="*/ 199 h 262"/>
                <a:gd name="T48" fmla="*/ 248 w 277"/>
                <a:gd name="T49" fmla="*/ 176 h 262"/>
                <a:gd name="T50" fmla="*/ 251 w 277"/>
                <a:gd name="T51" fmla="*/ 164 h 262"/>
                <a:gd name="T52" fmla="*/ 243 w 277"/>
                <a:gd name="T53" fmla="*/ 146 h 262"/>
                <a:gd name="T54" fmla="*/ 239 w 277"/>
                <a:gd name="T55" fmla="*/ 127 h 262"/>
                <a:gd name="T56" fmla="*/ 247 w 277"/>
                <a:gd name="T57" fmla="*/ 80 h 262"/>
                <a:gd name="T58" fmla="*/ 227 w 277"/>
                <a:gd name="T59" fmla="*/ 61 h 262"/>
                <a:gd name="T60" fmla="*/ 209 w 277"/>
                <a:gd name="T61" fmla="*/ 49 h 262"/>
                <a:gd name="T62" fmla="*/ 185 w 277"/>
                <a:gd name="T63" fmla="*/ 40 h 262"/>
                <a:gd name="T64" fmla="*/ 165 w 277"/>
                <a:gd name="T65" fmla="*/ 38 h 262"/>
                <a:gd name="T66" fmla="*/ 146 w 277"/>
                <a:gd name="T67" fmla="*/ 44 h 262"/>
                <a:gd name="T68" fmla="*/ 128 w 277"/>
                <a:gd name="T69" fmla="*/ 52 h 262"/>
                <a:gd name="T70" fmla="*/ 97 w 277"/>
                <a:gd name="T71" fmla="*/ 61 h 262"/>
                <a:gd name="T72" fmla="*/ 73 w 277"/>
                <a:gd name="T73" fmla="*/ 41 h 262"/>
                <a:gd name="T74" fmla="*/ 53 w 277"/>
                <a:gd name="T75" fmla="*/ 19 h 262"/>
                <a:gd name="T76" fmla="*/ 43 w 277"/>
                <a:gd name="T77" fmla="*/ 8 h 262"/>
                <a:gd name="T78" fmla="*/ 31 w 277"/>
                <a:gd name="T79" fmla="*/ 10 h 262"/>
                <a:gd name="T80" fmla="*/ 17 w 277"/>
                <a:gd name="T81" fmla="*/ 8 h 262"/>
                <a:gd name="T82" fmla="*/ 5 w 277"/>
                <a:gd name="T83" fmla="*/ 5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77" h="262">
                  <a:moveTo>
                    <a:pt x="5" y="5"/>
                  </a:moveTo>
                  <a:cubicBezTo>
                    <a:pt x="0" y="9"/>
                    <a:pt x="1" y="28"/>
                    <a:pt x="1" y="37"/>
                  </a:cubicBezTo>
                  <a:cubicBezTo>
                    <a:pt x="1" y="45"/>
                    <a:pt x="0" y="48"/>
                    <a:pt x="2" y="53"/>
                  </a:cubicBezTo>
                  <a:cubicBezTo>
                    <a:pt x="4" y="58"/>
                    <a:pt x="11" y="63"/>
                    <a:pt x="15" y="67"/>
                  </a:cubicBezTo>
                  <a:cubicBezTo>
                    <a:pt x="19" y="71"/>
                    <a:pt x="26" y="72"/>
                    <a:pt x="26" y="77"/>
                  </a:cubicBezTo>
                  <a:cubicBezTo>
                    <a:pt x="18" y="85"/>
                    <a:pt x="25" y="96"/>
                    <a:pt x="14" y="100"/>
                  </a:cubicBezTo>
                  <a:cubicBezTo>
                    <a:pt x="12" y="110"/>
                    <a:pt x="19" y="117"/>
                    <a:pt x="28" y="121"/>
                  </a:cubicBezTo>
                  <a:cubicBezTo>
                    <a:pt x="34" y="129"/>
                    <a:pt x="37" y="135"/>
                    <a:pt x="46" y="139"/>
                  </a:cubicBezTo>
                  <a:cubicBezTo>
                    <a:pt x="54" y="149"/>
                    <a:pt x="45" y="163"/>
                    <a:pt x="53" y="173"/>
                  </a:cubicBezTo>
                  <a:cubicBezTo>
                    <a:pt x="67" y="170"/>
                    <a:pt x="78" y="169"/>
                    <a:pt x="85" y="182"/>
                  </a:cubicBezTo>
                  <a:cubicBezTo>
                    <a:pt x="87" y="192"/>
                    <a:pt x="90" y="199"/>
                    <a:pt x="94" y="208"/>
                  </a:cubicBezTo>
                  <a:cubicBezTo>
                    <a:pt x="96" y="221"/>
                    <a:pt x="104" y="216"/>
                    <a:pt x="115" y="218"/>
                  </a:cubicBezTo>
                  <a:cubicBezTo>
                    <a:pt x="116" y="219"/>
                    <a:pt x="118" y="220"/>
                    <a:pt x="119" y="220"/>
                  </a:cubicBezTo>
                  <a:cubicBezTo>
                    <a:pt x="123" y="221"/>
                    <a:pt x="127" y="220"/>
                    <a:pt x="130" y="221"/>
                  </a:cubicBezTo>
                  <a:cubicBezTo>
                    <a:pt x="136" y="224"/>
                    <a:pt x="134" y="231"/>
                    <a:pt x="145" y="233"/>
                  </a:cubicBezTo>
                  <a:cubicBezTo>
                    <a:pt x="153" y="237"/>
                    <a:pt x="166" y="220"/>
                    <a:pt x="173" y="215"/>
                  </a:cubicBezTo>
                  <a:cubicBezTo>
                    <a:pt x="178" y="216"/>
                    <a:pt x="189" y="218"/>
                    <a:pt x="193" y="221"/>
                  </a:cubicBezTo>
                  <a:cubicBezTo>
                    <a:pt x="198" y="224"/>
                    <a:pt x="190" y="249"/>
                    <a:pt x="202" y="251"/>
                  </a:cubicBezTo>
                  <a:cubicBezTo>
                    <a:pt x="224" y="262"/>
                    <a:pt x="198" y="256"/>
                    <a:pt x="236" y="257"/>
                  </a:cubicBezTo>
                  <a:cubicBezTo>
                    <a:pt x="274" y="255"/>
                    <a:pt x="241" y="262"/>
                    <a:pt x="256" y="241"/>
                  </a:cubicBezTo>
                  <a:cubicBezTo>
                    <a:pt x="262" y="241"/>
                    <a:pt x="266" y="233"/>
                    <a:pt x="268" y="233"/>
                  </a:cubicBezTo>
                  <a:cubicBezTo>
                    <a:pt x="271" y="230"/>
                    <a:pt x="277" y="234"/>
                    <a:pt x="277" y="230"/>
                  </a:cubicBezTo>
                  <a:cubicBezTo>
                    <a:pt x="277" y="226"/>
                    <a:pt x="273" y="213"/>
                    <a:pt x="269" y="208"/>
                  </a:cubicBezTo>
                  <a:cubicBezTo>
                    <a:pt x="268" y="201"/>
                    <a:pt x="258" y="204"/>
                    <a:pt x="253" y="199"/>
                  </a:cubicBezTo>
                  <a:cubicBezTo>
                    <a:pt x="248" y="186"/>
                    <a:pt x="247" y="198"/>
                    <a:pt x="248" y="176"/>
                  </a:cubicBezTo>
                  <a:cubicBezTo>
                    <a:pt x="247" y="170"/>
                    <a:pt x="252" y="168"/>
                    <a:pt x="251" y="164"/>
                  </a:cubicBezTo>
                  <a:cubicBezTo>
                    <a:pt x="250" y="159"/>
                    <a:pt x="245" y="152"/>
                    <a:pt x="243" y="146"/>
                  </a:cubicBezTo>
                  <a:cubicBezTo>
                    <a:pt x="237" y="138"/>
                    <a:pt x="238" y="136"/>
                    <a:pt x="239" y="127"/>
                  </a:cubicBezTo>
                  <a:cubicBezTo>
                    <a:pt x="239" y="117"/>
                    <a:pt x="249" y="91"/>
                    <a:pt x="247" y="80"/>
                  </a:cubicBezTo>
                  <a:cubicBezTo>
                    <a:pt x="245" y="69"/>
                    <a:pt x="233" y="66"/>
                    <a:pt x="227" y="61"/>
                  </a:cubicBezTo>
                  <a:cubicBezTo>
                    <a:pt x="223" y="54"/>
                    <a:pt x="218" y="50"/>
                    <a:pt x="209" y="49"/>
                  </a:cubicBezTo>
                  <a:cubicBezTo>
                    <a:pt x="202" y="46"/>
                    <a:pt x="192" y="41"/>
                    <a:pt x="185" y="40"/>
                  </a:cubicBezTo>
                  <a:cubicBezTo>
                    <a:pt x="177" y="38"/>
                    <a:pt x="171" y="37"/>
                    <a:pt x="165" y="38"/>
                  </a:cubicBezTo>
                  <a:cubicBezTo>
                    <a:pt x="159" y="39"/>
                    <a:pt x="152" y="42"/>
                    <a:pt x="146" y="44"/>
                  </a:cubicBezTo>
                  <a:cubicBezTo>
                    <a:pt x="141" y="48"/>
                    <a:pt x="135" y="51"/>
                    <a:pt x="128" y="52"/>
                  </a:cubicBezTo>
                  <a:cubicBezTo>
                    <a:pt x="120" y="53"/>
                    <a:pt x="106" y="63"/>
                    <a:pt x="97" y="61"/>
                  </a:cubicBezTo>
                  <a:cubicBezTo>
                    <a:pt x="88" y="59"/>
                    <a:pt x="80" y="48"/>
                    <a:pt x="73" y="41"/>
                  </a:cubicBezTo>
                  <a:cubicBezTo>
                    <a:pt x="69" y="35"/>
                    <a:pt x="57" y="24"/>
                    <a:pt x="53" y="19"/>
                  </a:cubicBezTo>
                  <a:cubicBezTo>
                    <a:pt x="48" y="13"/>
                    <a:pt x="50" y="11"/>
                    <a:pt x="43" y="8"/>
                  </a:cubicBezTo>
                  <a:cubicBezTo>
                    <a:pt x="38" y="11"/>
                    <a:pt x="36" y="6"/>
                    <a:pt x="31" y="10"/>
                  </a:cubicBezTo>
                  <a:cubicBezTo>
                    <a:pt x="27" y="4"/>
                    <a:pt x="24" y="11"/>
                    <a:pt x="17" y="8"/>
                  </a:cubicBezTo>
                  <a:cubicBezTo>
                    <a:pt x="11" y="0"/>
                    <a:pt x="12" y="9"/>
                    <a:pt x="5" y="5"/>
                  </a:cubicBezTo>
                  <a:close/>
                </a:path>
              </a:pathLst>
            </a:custGeom>
            <a:solidFill>
              <a:schemeClr val="bg1">
                <a:lumMod val="85000"/>
              </a:schemeClr>
            </a:solidFill>
            <a:ln w="9525" cap="flat" cmpd="sng">
              <a:solidFill>
                <a:schemeClr val="bg1"/>
              </a:solidFill>
              <a:prstDash val="solid"/>
              <a:round/>
              <a:headEnd type="none" w="med" len="med"/>
              <a:tailEnd type="none" w="med" len="med"/>
            </a:ln>
            <a:effectLst/>
            <a:extLst/>
          </p:spPr>
          <p:txBody>
            <a:bodyPr>
              <a:noAutofit/>
            </a:bodyPr>
            <a:lstStyle/>
            <a:p>
              <a:pPr fontAlgn="auto">
                <a:spcBef>
                  <a:spcPts val="0"/>
                </a:spcBef>
                <a:spcAft>
                  <a:spcPts val="0"/>
                </a:spcAft>
                <a:defRPr/>
              </a:pPr>
              <a:endParaRPr lang="en-CA" kern="0">
                <a:solidFill>
                  <a:sysClr val="windowText" lastClr="000000"/>
                </a:solidFill>
              </a:endParaRPr>
            </a:p>
          </p:txBody>
        </p:sp>
        <p:sp>
          <p:nvSpPr>
            <p:cNvPr id="407" name="Freeform 88"/>
            <p:cNvSpPr>
              <a:spLocks/>
            </p:cNvSpPr>
            <p:nvPr>
              <p:custDataLst>
                <p:tags r:id="rId81"/>
              </p:custDataLst>
            </p:nvPr>
          </p:nvSpPr>
          <p:spPr bwMode="gray">
            <a:xfrm>
              <a:off x="2823986" y="2087320"/>
              <a:ext cx="121607" cy="110823"/>
            </a:xfrm>
            <a:custGeom>
              <a:avLst/>
              <a:gdLst>
                <a:gd name="T0" fmla="*/ 92 w 149"/>
                <a:gd name="T1" fmla="*/ 3 h 144"/>
                <a:gd name="T2" fmla="*/ 76 w 149"/>
                <a:gd name="T3" fmla="*/ 8 h 144"/>
                <a:gd name="T4" fmla="*/ 49 w 149"/>
                <a:gd name="T5" fmla="*/ 5 h 144"/>
                <a:gd name="T6" fmla="*/ 41 w 149"/>
                <a:gd name="T7" fmla="*/ 40 h 144"/>
                <a:gd name="T8" fmla="*/ 32 w 149"/>
                <a:gd name="T9" fmla="*/ 51 h 144"/>
                <a:gd name="T10" fmla="*/ 22 w 149"/>
                <a:gd name="T11" fmla="*/ 66 h 144"/>
                <a:gd name="T12" fmla="*/ 7 w 149"/>
                <a:gd name="T13" fmla="*/ 71 h 144"/>
                <a:gd name="T14" fmla="*/ 20 w 149"/>
                <a:gd name="T15" fmla="*/ 95 h 144"/>
                <a:gd name="T16" fmla="*/ 34 w 149"/>
                <a:gd name="T17" fmla="*/ 95 h 144"/>
                <a:gd name="T18" fmla="*/ 49 w 149"/>
                <a:gd name="T19" fmla="*/ 102 h 144"/>
                <a:gd name="T20" fmla="*/ 58 w 149"/>
                <a:gd name="T21" fmla="*/ 107 h 144"/>
                <a:gd name="T22" fmla="*/ 71 w 149"/>
                <a:gd name="T23" fmla="*/ 117 h 144"/>
                <a:gd name="T24" fmla="*/ 83 w 149"/>
                <a:gd name="T25" fmla="*/ 131 h 144"/>
                <a:gd name="T26" fmla="*/ 97 w 149"/>
                <a:gd name="T27" fmla="*/ 134 h 144"/>
                <a:gd name="T28" fmla="*/ 110 w 149"/>
                <a:gd name="T29" fmla="*/ 143 h 144"/>
                <a:gd name="T30" fmla="*/ 128 w 149"/>
                <a:gd name="T31" fmla="*/ 140 h 144"/>
                <a:gd name="T32" fmla="*/ 146 w 149"/>
                <a:gd name="T33" fmla="*/ 125 h 144"/>
                <a:gd name="T34" fmla="*/ 147 w 149"/>
                <a:gd name="T35" fmla="*/ 114 h 144"/>
                <a:gd name="T36" fmla="*/ 145 w 149"/>
                <a:gd name="T37" fmla="*/ 93 h 144"/>
                <a:gd name="T38" fmla="*/ 122 w 149"/>
                <a:gd name="T39" fmla="*/ 71 h 144"/>
                <a:gd name="T40" fmla="*/ 110 w 149"/>
                <a:gd name="T41" fmla="*/ 59 h 144"/>
                <a:gd name="T42" fmla="*/ 119 w 149"/>
                <a:gd name="T43" fmla="*/ 45 h 144"/>
                <a:gd name="T44" fmla="*/ 119 w 149"/>
                <a:gd name="T45" fmla="*/ 35 h 144"/>
                <a:gd name="T46" fmla="*/ 121 w 149"/>
                <a:gd name="T47" fmla="*/ 23 h 144"/>
                <a:gd name="T48" fmla="*/ 113 w 149"/>
                <a:gd name="T49" fmla="*/ 18 h 144"/>
                <a:gd name="T50" fmla="*/ 103 w 149"/>
                <a:gd name="T51" fmla="*/ 14 h 144"/>
                <a:gd name="T52" fmla="*/ 95 w 149"/>
                <a:gd name="T53" fmla="*/ 6 h 144"/>
                <a:gd name="T54" fmla="*/ 92 w 149"/>
                <a:gd name="T55" fmla="*/ 3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49" h="144">
                  <a:moveTo>
                    <a:pt x="92" y="3"/>
                  </a:moveTo>
                  <a:cubicBezTo>
                    <a:pt x="89" y="2"/>
                    <a:pt x="83" y="8"/>
                    <a:pt x="76" y="8"/>
                  </a:cubicBezTo>
                  <a:cubicBezTo>
                    <a:pt x="69" y="8"/>
                    <a:pt x="55" y="0"/>
                    <a:pt x="49" y="5"/>
                  </a:cubicBezTo>
                  <a:cubicBezTo>
                    <a:pt x="41" y="12"/>
                    <a:pt x="44" y="32"/>
                    <a:pt x="41" y="40"/>
                  </a:cubicBezTo>
                  <a:cubicBezTo>
                    <a:pt x="38" y="48"/>
                    <a:pt x="35" y="47"/>
                    <a:pt x="32" y="51"/>
                  </a:cubicBezTo>
                  <a:cubicBezTo>
                    <a:pt x="28" y="55"/>
                    <a:pt x="26" y="63"/>
                    <a:pt x="22" y="66"/>
                  </a:cubicBezTo>
                  <a:cubicBezTo>
                    <a:pt x="18" y="69"/>
                    <a:pt x="7" y="66"/>
                    <a:pt x="7" y="71"/>
                  </a:cubicBezTo>
                  <a:cubicBezTo>
                    <a:pt x="0" y="85"/>
                    <a:pt x="8" y="93"/>
                    <a:pt x="20" y="95"/>
                  </a:cubicBezTo>
                  <a:cubicBezTo>
                    <a:pt x="24" y="100"/>
                    <a:pt x="29" y="94"/>
                    <a:pt x="34" y="95"/>
                  </a:cubicBezTo>
                  <a:cubicBezTo>
                    <a:pt x="39" y="96"/>
                    <a:pt x="45" y="100"/>
                    <a:pt x="49" y="102"/>
                  </a:cubicBezTo>
                  <a:cubicBezTo>
                    <a:pt x="53" y="104"/>
                    <a:pt x="54" y="105"/>
                    <a:pt x="58" y="107"/>
                  </a:cubicBezTo>
                  <a:cubicBezTo>
                    <a:pt x="61" y="110"/>
                    <a:pt x="67" y="113"/>
                    <a:pt x="71" y="117"/>
                  </a:cubicBezTo>
                  <a:cubicBezTo>
                    <a:pt x="75" y="121"/>
                    <a:pt x="79" y="128"/>
                    <a:pt x="83" y="131"/>
                  </a:cubicBezTo>
                  <a:cubicBezTo>
                    <a:pt x="89" y="135"/>
                    <a:pt x="90" y="133"/>
                    <a:pt x="97" y="134"/>
                  </a:cubicBezTo>
                  <a:cubicBezTo>
                    <a:pt x="102" y="135"/>
                    <a:pt x="105" y="142"/>
                    <a:pt x="110" y="143"/>
                  </a:cubicBezTo>
                  <a:cubicBezTo>
                    <a:pt x="115" y="144"/>
                    <a:pt x="122" y="143"/>
                    <a:pt x="128" y="140"/>
                  </a:cubicBezTo>
                  <a:cubicBezTo>
                    <a:pt x="134" y="137"/>
                    <a:pt x="147" y="136"/>
                    <a:pt x="146" y="125"/>
                  </a:cubicBezTo>
                  <a:cubicBezTo>
                    <a:pt x="149" y="121"/>
                    <a:pt x="147" y="119"/>
                    <a:pt x="147" y="114"/>
                  </a:cubicBezTo>
                  <a:cubicBezTo>
                    <a:pt x="147" y="109"/>
                    <a:pt x="149" y="100"/>
                    <a:pt x="145" y="93"/>
                  </a:cubicBezTo>
                  <a:cubicBezTo>
                    <a:pt x="141" y="86"/>
                    <a:pt x="128" y="77"/>
                    <a:pt x="122" y="71"/>
                  </a:cubicBezTo>
                  <a:cubicBezTo>
                    <a:pt x="118" y="65"/>
                    <a:pt x="114" y="64"/>
                    <a:pt x="110" y="59"/>
                  </a:cubicBezTo>
                  <a:cubicBezTo>
                    <a:pt x="108" y="54"/>
                    <a:pt x="118" y="49"/>
                    <a:pt x="119" y="45"/>
                  </a:cubicBezTo>
                  <a:cubicBezTo>
                    <a:pt x="120" y="41"/>
                    <a:pt x="119" y="39"/>
                    <a:pt x="119" y="35"/>
                  </a:cubicBezTo>
                  <a:cubicBezTo>
                    <a:pt x="120" y="29"/>
                    <a:pt x="124" y="26"/>
                    <a:pt x="121" y="23"/>
                  </a:cubicBezTo>
                  <a:cubicBezTo>
                    <a:pt x="120" y="20"/>
                    <a:pt x="116" y="20"/>
                    <a:pt x="113" y="18"/>
                  </a:cubicBezTo>
                  <a:cubicBezTo>
                    <a:pt x="110" y="16"/>
                    <a:pt x="106" y="16"/>
                    <a:pt x="103" y="14"/>
                  </a:cubicBezTo>
                  <a:cubicBezTo>
                    <a:pt x="99" y="7"/>
                    <a:pt x="102" y="11"/>
                    <a:pt x="95" y="6"/>
                  </a:cubicBezTo>
                  <a:cubicBezTo>
                    <a:pt x="90" y="3"/>
                    <a:pt x="89" y="3"/>
                    <a:pt x="92" y="3"/>
                  </a:cubicBezTo>
                  <a:close/>
                </a:path>
              </a:pathLst>
            </a:custGeom>
            <a:solidFill>
              <a:schemeClr val="bg1">
                <a:lumMod val="85000"/>
              </a:schemeClr>
            </a:solidFill>
            <a:ln w="9525" cap="flat" cmpd="sng">
              <a:solidFill>
                <a:schemeClr val="bg1"/>
              </a:solidFill>
              <a:prstDash val="solid"/>
              <a:round/>
              <a:headEnd type="none" w="med" len="med"/>
              <a:tailEnd type="none" w="med" len="med"/>
            </a:ln>
            <a:effectLst/>
            <a:extLst/>
          </p:spPr>
          <p:txBody>
            <a:bodyPr>
              <a:noAutofit/>
            </a:bodyPr>
            <a:lstStyle/>
            <a:p>
              <a:pPr fontAlgn="auto">
                <a:spcBef>
                  <a:spcPts val="0"/>
                </a:spcBef>
                <a:spcAft>
                  <a:spcPts val="0"/>
                </a:spcAft>
                <a:defRPr/>
              </a:pPr>
              <a:endParaRPr lang="en-CA" kern="0">
                <a:solidFill>
                  <a:sysClr val="windowText" lastClr="000000"/>
                </a:solidFill>
              </a:endParaRPr>
            </a:p>
          </p:txBody>
        </p:sp>
        <p:sp>
          <p:nvSpPr>
            <p:cNvPr id="408" name="Freeform 89"/>
            <p:cNvSpPr>
              <a:spLocks/>
            </p:cNvSpPr>
            <p:nvPr>
              <p:custDataLst>
                <p:tags r:id="rId82"/>
              </p:custDataLst>
            </p:nvPr>
          </p:nvSpPr>
          <p:spPr bwMode="gray">
            <a:xfrm>
              <a:off x="2499965" y="2503675"/>
              <a:ext cx="87205" cy="100817"/>
            </a:xfrm>
            <a:custGeom>
              <a:avLst/>
              <a:gdLst>
                <a:gd name="T0" fmla="*/ 67 w 107"/>
                <a:gd name="T1" fmla="*/ 14 h 131"/>
                <a:gd name="T2" fmla="*/ 70 w 107"/>
                <a:gd name="T3" fmla="*/ 16 h 131"/>
                <a:gd name="T4" fmla="*/ 86 w 107"/>
                <a:gd name="T5" fmla="*/ 1 h 131"/>
                <a:gd name="T6" fmla="*/ 103 w 107"/>
                <a:gd name="T7" fmla="*/ 2 h 131"/>
                <a:gd name="T8" fmla="*/ 106 w 107"/>
                <a:gd name="T9" fmla="*/ 29 h 131"/>
                <a:gd name="T10" fmla="*/ 98 w 107"/>
                <a:gd name="T11" fmla="*/ 43 h 131"/>
                <a:gd name="T12" fmla="*/ 100 w 107"/>
                <a:gd name="T13" fmla="*/ 64 h 131"/>
                <a:gd name="T14" fmla="*/ 86 w 107"/>
                <a:gd name="T15" fmla="*/ 73 h 131"/>
                <a:gd name="T16" fmla="*/ 77 w 107"/>
                <a:gd name="T17" fmla="*/ 86 h 131"/>
                <a:gd name="T18" fmla="*/ 71 w 107"/>
                <a:gd name="T19" fmla="*/ 101 h 131"/>
                <a:gd name="T20" fmla="*/ 65 w 107"/>
                <a:gd name="T21" fmla="*/ 113 h 131"/>
                <a:gd name="T22" fmla="*/ 50 w 107"/>
                <a:gd name="T23" fmla="*/ 119 h 131"/>
                <a:gd name="T24" fmla="*/ 39 w 107"/>
                <a:gd name="T25" fmla="*/ 119 h 131"/>
                <a:gd name="T26" fmla="*/ 25 w 107"/>
                <a:gd name="T27" fmla="*/ 121 h 131"/>
                <a:gd name="T28" fmla="*/ 11 w 107"/>
                <a:gd name="T29" fmla="*/ 130 h 131"/>
                <a:gd name="T30" fmla="*/ 1 w 107"/>
                <a:gd name="T31" fmla="*/ 115 h 131"/>
                <a:gd name="T32" fmla="*/ 16 w 107"/>
                <a:gd name="T33" fmla="*/ 103 h 131"/>
                <a:gd name="T34" fmla="*/ 16 w 107"/>
                <a:gd name="T35" fmla="*/ 88 h 131"/>
                <a:gd name="T36" fmla="*/ 26 w 107"/>
                <a:gd name="T37" fmla="*/ 80 h 131"/>
                <a:gd name="T38" fmla="*/ 49 w 107"/>
                <a:gd name="T39" fmla="*/ 85 h 131"/>
                <a:gd name="T40" fmla="*/ 53 w 107"/>
                <a:gd name="T41" fmla="*/ 71 h 131"/>
                <a:gd name="T42" fmla="*/ 46 w 107"/>
                <a:gd name="T43" fmla="*/ 50 h 131"/>
                <a:gd name="T44" fmla="*/ 47 w 107"/>
                <a:gd name="T45" fmla="*/ 37 h 131"/>
                <a:gd name="T46" fmla="*/ 35 w 107"/>
                <a:gd name="T47" fmla="*/ 37 h 131"/>
                <a:gd name="T48" fmla="*/ 28 w 107"/>
                <a:gd name="T49" fmla="*/ 20 h 131"/>
                <a:gd name="T50" fmla="*/ 58 w 107"/>
                <a:gd name="T51" fmla="*/ 22 h 131"/>
                <a:gd name="T52" fmla="*/ 73 w 107"/>
                <a:gd name="T53" fmla="*/ 11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07" h="131">
                  <a:moveTo>
                    <a:pt x="67" y="14"/>
                  </a:moveTo>
                  <a:cubicBezTo>
                    <a:pt x="76" y="18"/>
                    <a:pt x="67" y="23"/>
                    <a:pt x="70" y="16"/>
                  </a:cubicBezTo>
                  <a:cubicBezTo>
                    <a:pt x="67" y="7"/>
                    <a:pt x="76" y="2"/>
                    <a:pt x="86" y="1"/>
                  </a:cubicBezTo>
                  <a:cubicBezTo>
                    <a:pt x="92" y="1"/>
                    <a:pt x="98" y="0"/>
                    <a:pt x="103" y="2"/>
                  </a:cubicBezTo>
                  <a:cubicBezTo>
                    <a:pt x="106" y="6"/>
                    <a:pt x="107" y="22"/>
                    <a:pt x="106" y="29"/>
                  </a:cubicBezTo>
                  <a:cubicBezTo>
                    <a:pt x="105" y="36"/>
                    <a:pt x="99" y="37"/>
                    <a:pt x="98" y="43"/>
                  </a:cubicBezTo>
                  <a:cubicBezTo>
                    <a:pt x="97" y="53"/>
                    <a:pt x="102" y="59"/>
                    <a:pt x="100" y="64"/>
                  </a:cubicBezTo>
                  <a:cubicBezTo>
                    <a:pt x="98" y="69"/>
                    <a:pt x="90" y="69"/>
                    <a:pt x="86" y="73"/>
                  </a:cubicBezTo>
                  <a:cubicBezTo>
                    <a:pt x="85" y="81"/>
                    <a:pt x="81" y="80"/>
                    <a:pt x="77" y="86"/>
                  </a:cubicBezTo>
                  <a:cubicBezTo>
                    <a:pt x="75" y="92"/>
                    <a:pt x="73" y="97"/>
                    <a:pt x="71" y="101"/>
                  </a:cubicBezTo>
                  <a:cubicBezTo>
                    <a:pt x="69" y="105"/>
                    <a:pt x="68" y="110"/>
                    <a:pt x="65" y="113"/>
                  </a:cubicBezTo>
                  <a:cubicBezTo>
                    <a:pt x="60" y="117"/>
                    <a:pt x="56" y="118"/>
                    <a:pt x="50" y="119"/>
                  </a:cubicBezTo>
                  <a:cubicBezTo>
                    <a:pt x="46" y="120"/>
                    <a:pt x="43" y="119"/>
                    <a:pt x="39" y="119"/>
                  </a:cubicBezTo>
                  <a:cubicBezTo>
                    <a:pt x="35" y="119"/>
                    <a:pt x="30" y="119"/>
                    <a:pt x="25" y="121"/>
                  </a:cubicBezTo>
                  <a:cubicBezTo>
                    <a:pt x="19" y="121"/>
                    <a:pt x="15" y="131"/>
                    <a:pt x="11" y="130"/>
                  </a:cubicBezTo>
                  <a:cubicBezTo>
                    <a:pt x="7" y="129"/>
                    <a:pt x="0" y="119"/>
                    <a:pt x="1" y="115"/>
                  </a:cubicBezTo>
                  <a:cubicBezTo>
                    <a:pt x="0" y="109"/>
                    <a:pt x="14" y="107"/>
                    <a:pt x="16" y="103"/>
                  </a:cubicBezTo>
                  <a:cubicBezTo>
                    <a:pt x="18" y="99"/>
                    <a:pt x="14" y="92"/>
                    <a:pt x="16" y="88"/>
                  </a:cubicBezTo>
                  <a:cubicBezTo>
                    <a:pt x="18" y="84"/>
                    <a:pt x="21" y="80"/>
                    <a:pt x="26" y="80"/>
                  </a:cubicBezTo>
                  <a:cubicBezTo>
                    <a:pt x="31" y="80"/>
                    <a:pt x="45" y="86"/>
                    <a:pt x="49" y="85"/>
                  </a:cubicBezTo>
                  <a:cubicBezTo>
                    <a:pt x="53" y="84"/>
                    <a:pt x="53" y="77"/>
                    <a:pt x="53" y="71"/>
                  </a:cubicBezTo>
                  <a:cubicBezTo>
                    <a:pt x="53" y="65"/>
                    <a:pt x="47" y="56"/>
                    <a:pt x="46" y="50"/>
                  </a:cubicBezTo>
                  <a:cubicBezTo>
                    <a:pt x="45" y="44"/>
                    <a:pt x="49" y="39"/>
                    <a:pt x="47" y="37"/>
                  </a:cubicBezTo>
                  <a:cubicBezTo>
                    <a:pt x="45" y="35"/>
                    <a:pt x="38" y="40"/>
                    <a:pt x="35" y="37"/>
                  </a:cubicBezTo>
                  <a:cubicBezTo>
                    <a:pt x="32" y="34"/>
                    <a:pt x="24" y="22"/>
                    <a:pt x="28" y="20"/>
                  </a:cubicBezTo>
                  <a:cubicBezTo>
                    <a:pt x="32" y="18"/>
                    <a:pt x="51" y="23"/>
                    <a:pt x="58" y="22"/>
                  </a:cubicBezTo>
                  <a:cubicBezTo>
                    <a:pt x="65" y="21"/>
                    <a:pt x="70" y="13"/>
                    <a:pt x="73" y="11"/>
                  </a:cubicBezTo>
                </a:path>
              </a:pathLst>
            </a:custGeom>
            <a:solidFill>
              <a:schemeClr val="bg1">
                <a:lumMod val="85000"/>
              </a:schemeClr>
            </a:solidFill>
            <a:ln w="9525" cap="flat" cmpd="sng">
              <a:solidFill>
                <a:schemeClr val="bg1"/>
              </a:solidFill>
              <a:prstDash val="solid"/>
              <a:round/>
              <a:headEnd type="none" w="med" len="med"/>
              <a:tailEnd type="none" w="med" len="med"/>
            </a:ln>
            <a:effectLst/>
            <a:extLst/>
          </p:spPr>
          <p:txBody>
            <a:bodyPr>
              <a:noAutofit/>
            </a:bodyPr>
            <a:lstStyle/>
            <a:p>
              <a:pPr fontAlgn="auto">
                <a:spcBef>
                  <a:spcPts val="0"/>
                </a:spcBef>
                <a:spcAft>
                  <a:spcPts val="0"/>
                </a:spcAft>
                <a:defRPr/>
              </a:pPr>
              <a:endParaRPr lang="en-CA" kern="0">
                <a:solidFill>
                  <a:sysClr val="windowText" lastClr="000000"/>
                </a:solidFill>
              </a:endParaRPr>
            </a:p>
          </p:txBody>
        </p:sp>
        <p:sp>
          <p:nvSpPr>
            <p:cNvPr id="409" name="Freeform 90"/>
            <p:cNvSpPr>
              <a:spLocks/>
            </p:cNvSpPr>
            <p:nvPr>
              <p:custDataLst>
                <p:tags r:id="rId83"/>
              </p:custDataLst>
            </p:nvPr>
          </p:nvSpPr>
          <p:spPr bwMode="gray">
            <a:xfrm>
              <a:off x="2475162" y="2519067"/>
              <a:ext cx="68005" cy="73882"/>
            </a:xfrm>
            <a:custGeom>
              <a:avLst/>
              <a:gdLst>
                <a:gd name="T0" fmla="*/ 4 w 83"/>
                <a:gd name="T1" fmla="*/ 24 h 96"/>
                <a:gd name="T2" fmla="*/ 32 w 83"/>
                <a:gd name="T3" fmla="*/ 17 h 96"/>
                <a:gd name="T4" fmla="*/ 37 w 83"/>
                <a:gd name="T5" fmla="*/ 0 h 96"/>
                <a:gd name="T6" fmla="*/ 55 w 83"/>
                <a:gd name="T7" fmla="*/ 2 h 96"/>
                <a:gd name="T8" fmla="*/ 65 w 83"/>
                <a:gd name="T9" fmla="*/ 17 h 96"/>
                <a:gd name="T10" fmla="*/ 80 w 83"/>
                <a:gd name="T11" fmla="*/ 21 h 96"/>
                <a:gd name="T12" fmla="*/ 79 w 83"/>
                <a:gd name="T13" fmla="*/ 26 h 96"/>
                <a:gd name="T14" fmla="*/ 77 w 83"/>
                <a:gd name="T15" fmla="*/ 32 h 96"/>
                <a:gd name="T16" fmla="*/ 77 w 83"/>
                <a:gd name="T17" fmla="*/ 41 h 96"/>
                <a:gd name="T18" fmla="*/ 81 w 83"/>
                <a:gd name="T19" fmla="*/ 49 h 96"/>
                <a:gd name="T20" fmla="*/ 79 w 83"/>
                <a:gd name="T21" fmla="*/ 65 h 96"/>
                <a:gd name="T22" fmla="*/ 56 w 83"/>
                <a:gd name="T23" fmla="*/ 59 h 96"/>
                <a:gd name="T24" fmla="*/ 49 w 83"/>
                <a:gd name="T25" fmla="*/ 69 h 96"/>
                <a:gd name="T26" fmla="*/ 29 w 83"/>
                <a:gd name="T27" fmla="*/ 96 h 96"/>
                <a:gd name="T28" fmla="*/ 8 w 83"/>
                <a:gd name="T29" fmla="*/ 77 h 96"/>
                <a:gd name="T30" fmla="*/ 4 w 83"/>
                <a:gd name="T31" fmla="*/ 24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3" h="96">
                  <a:moveTo>
                    <a:pt x="4" y="24"/>
                  </a:moveTo>
                  <a:cubicBezTo>
                    <a:pt x="13" y="24"/>
                    <a:pt x="24" y="22"/>
                    <a:pt x="32" y="17"/>
                  </a:cubicBezTo>
                  <a:cubicBezTo>
                    <a:pt x="37" y="14"/>
                    <a:pt x="37" y="0"/>
                    <a:pt x="37" y="0"/>
                  </a:cubicBezTo>
                  <a:cubicBezTo>
                    <a:pt x="44" y="1"/>
                    <a:pt x="49" y="0"/>
                    <a:pt x="55" y="2"/>
                  </a:cubicBezTo>
                  <a:cubicBezTo>
                    <a:pt x="60" y="3"/>
                    <a:pt x="59" y="14"/>
                    <a:pt x="65" y="17"/>
                  </a:cubicBezTo>
                  <a:cubicBezTo>
                    <a:pt x="72" y="14"/>
                    <a:pt x="76" y="15"/>
                    <a:pt x="80" y="21"/>
                  </a:cubicBezTo>
                  <a:cubicBezTo>
                    <a:pt x="80" y="23"/>
                    <a:pt x="80" y="25"/>
                    <a:pt x="79" y="26"/>
                  </a:cubicBezTo>
                  <a:cubicBezTo>
                    <a:pt x="77" y="27"/>
                    <a:pt x="78" y="30"/>
                    <a:pt x="77" y="32"/>
                  </a:cubicBezTo>
                  <a:cubicBezTo>
                    <a:pt x="77" y="34"/>
                    <a:pt x="78" y="35"/>
                    <a:pt x="77" y="41"/>
                  </a:cubicBezTo>
                  <a:cubicBezTo>
                    <a:pt x="78" y="44"/>
                    <a:pt x="81" y="45"/>
                    <a:pt x="81" y="49"/>
                  </a:cubicBezTo>
                  <a:cubicBezTo>
                    <a:pt x="81" y="53"/>
                    <a:pt x="83" y="63"/>
                    <a:pt x="79" y="65"/>
                  </a:cubicBezTo>
                  <a:cubicBezTo>
                    <a:pt x="69" y="64"/>
                    <a:pt x="62" y="67"/>
                    <a:pt x="56" y="59"/>
                  </a:cubicBezTo>
                  <a:cubicBezTo>
                    <a:pt x="46" y="60"/>
                    <a:pt x="55" y="61"/>
                    <a:pt x="49" y="69"/>
                  </a:cubicBezTo>
                  <a:cubicBezTo>
                    <a:pt x="51" y="79"/>
                    <a:pt x="38" y="89"/>
                    <a:pt x="29" y="96"/>
                  </a:cubicBezTo>
                  <a:cubicBezTo>
                    <a:pt x="20" y="93"/>
                    <a:pt x="16" y="83"/>
                    <a:pt x="8" y="77"/>
                  </a:cubicBezTo>
                  <a:cubicBezTo>
                    <a:pt x="4" y="65"/>
                    <a:pt x="0" y="34"/>
                    <a:pt x="4" y="24"/>
                  </a:cubicBezTo>
                  <a:close/>
                </a:path>
              </a:pathLst>
            </a:custGeom>
            <a:solidFill>
              <a:schemeClr val="bg1">
                <a:lumMod val="85000"/>
              </a:schemeClr>
            </a:solidFill>
            <a:ln w="9525" cap="flat" cmpd="sng">
              <a:solidFill>
                <a:schemeClr val="bg1"/>
              </a:solidFill>
              <a:prstDash val="solid"/>
              <a:round/>
              <a:headEnd type="none" w="med" len="med"/>
              <a:tailEnd type="none" w="med" len="med"/>
            </a:ln>
            <a:effectLst/>
            <a:extLst/>
          </p:spPr>
          <p:txBody>
            <a:bodyPr>
              <a:noAutofit/>
            </a:bodyPr>
            <a:lstStyle/>
            <a:p>
              <a:pPr fontAlgn="auto">
                <a:spcBef>
                  <a:spcPts val="0"/>
                </a:spcBef>
                <a:spcAft>
                  <a:spcPts val="0"/>
                </a:spcAft>
                <a:defRPr/>
              </a:pPr>
              <a:endParaRPr lang="en-CA" kern="0">
                <a:solidFill>
                  <a:sysClr val="windowText" lastClr="000000"/>
                </a:solidFill>
              </a:endParaRPr>
            </a:p>
          </p:txBody>
        </p:sp>
        <p:sp>
          <p:nvSpPr>
            <p:cNvPr id="410" name="Freeform 91"/>
            <p:cNvSpPr>
              <a:spLocks/>
            </p:cNvSpPr>
            <p:nvPr>
              <p:custDataLst>
                <p:tags r:id="rId84"/>
              </p:custDataLst>
            </p:nvPr>
          </p:nvSpPr>
          <p:spPr bwMode="gray">
            <a:xfrm>
              <a:off x="2733579" y="2664522"/>
              <a:ext cx="130409" cy="192401"/>
            </a:xfrm>
            <a:custGeom>
              <a:avLst/>
              <a:gdLst>
                <a:gd name="T0" fmla="*/ 38 w 161"/>
                <a:gd name="T1" fmla="*/ 237 h 250"/>
                <a:gd name="T2" fmla="*/ 63 w 161"/>
                <a:gd name="T3" fmla="*/ 221 h 250"/>
                <a:gd name="T4" fmla="*/ 77 w 161"/>
                <a:gd name="T5" fmla="*/ 204 h 250"/>
                <a:gd name="T6" fmla="*/ 75 w 161"/>
                <a:gd name="T7" fmla="*/ 173 h 250"/>
                <a:gd name="T8" fmla="*/ 65 w 161"/>
                <a:gd name="T9" fmla="*/ 150 h 250"/>
                <a:gd name="T10" fmla="*/ 77 w 161"/>
                <a:gd name="T11" fmla="*/ 134 h 250"/>
                <a:gd name="T12" fmla="*/ 87 w 161"/>
                <a:gd name="T13" fmla="*/ 123 h 250"/>
                <a:gd name="T14" fmla="*/ 96 w 161"/>
                <a:gd name="T15" fmla="*/ 116 h 250"/>
                <a:gd name="T16" fmla="*/ 134 w 161"/>
                <a:gd name="T17" fmla="*/ 102 h 250"/>
                <a:gd name="T18" fmla="*/ 149 w 161"/>
                <a:gd name="T19" fmla="*/ 71 h 250"/>
                <a:gd name="T20" fmla="*/ 140 w 161"/>
                <a:gd name="T21" fmla="*/ 0 h 250"/>
                <a:gd name="T22" fmla="*/ 120 w 161"/>
                <a:gd name="T23" fmla="*/ 15 h 250"/>
                <a:gd name="T24" fmla="*/ 99 w 161"/>
                <a:gd name="T25" fmla="*/ 23 h 250"/>
                <a:gd name="T26" fmla="*/ 65 w 161"/>
                <a:gd name="T27" fmla="*/ 24 h 250"/>
                <a:gd name="T28" fmla="*/ 68 w 161"/>
                <a:gd name="T29" fmla="*/ 47 h 250"/>
                <a:gd name="T30" fmla="*/ 74 w 161"/>
                <a:gd name="T31" fmla="*/ 62 h 250"/>
                <a:gd name="T32" fmla="*/ 71 w 161"/>
                <a:gd name="T33" fmla="*/ 99 h 250"/>
                <a:gd name="T34" fmla="*/ 57 w 161"/>
                <a:gd name="T35" fmla="*/ 86 h 250"/>
                <a:gd name="T36" fmla="*/ 45 w 161"/>
                <a:gd name="T37" fmla="*/ 63 h 250"/>
                <a:gd name="T38" fmla="*/ 32 w 161"/>
                <a:gd name="T39" fmla="*/ 54 h 250"/>
                <a:gd name="T40" fmla="*/ 18 w 161"/>
                <a:gd name="T41" fmla="*/ 63 h 250"/>
                <a:gd name="T42" fmla="*/ 5 w 161"/>
                <a:gd name="T43" fmla="*/ 72 h 250"/>
                <a:gd name="T44" fmla="*/ 8 w 161"/>
                <a:gd name="T45" fmla="*/ 84 h 250"/>
                <a:gd name="T46" fmla="*/ 17 w 161"/>
                <a:gd name="T47" fmla="*/ 87 h 250"/>
                <a:gd name="T48" fmla="*/ 35 w 161"/>
                <a:gd name="T49" fmla="*/ 99 h 250"/>
                <a:gd name="T50" fmla="*/ 35 w 161"/>
                <a:gd name="T51" fmla="*/ 138 h 250"/>
                <a:gd name="T52" fmla="*/ 30 w 161"/>
                <a:gd name="T53" fmla="*/ 158 h 250"/>
                <a:gd name="T54" fmla="*/ 27 w 161"/>
                <a:gd name="T55" fmla="*/ 174 h 250"/>
                <a:gd name="T56" fmla="*/ 6 w 161"/>
                <a:gd name="T57" fmla="*/ 189 h 250"/>
                <a:gd name="T58" fmla="*/ 17 w 161"/>
                <a:gd name="T59" fmla="*/ 206 h 250"/>
                <a:gd name="T60" fmla="*/ 24 w 161"/>
                <a:gd name="T61" fmla="*/ 230 h 250"/>
                <a:gd name="T62" fmla="*/ 29 w 161"/>
                <a:gd name="T63" fmla="*/ 249 h 250"/>
                <a:gd name="T64" fmla="*/ 38 w 161"/>
                <a:gd name="T65" fmla="*/ 237 h 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1" h="250">
                  <a:moveTo>
                    <a:pt x="38" y="237"/>
                  </a:moveTo>
                  <a:cubicBezTo>
                    <a:pt x="40" y="223"/>
                    <a:pt x="51" y="222"/>
                    <a:pt x="63" y="221"/>
                  </a:cubicBezTo>
                  <a:cubicBezTo>
                    <a:pt x="70" y="218"/>
                    <a:pt x="73" y="211"/>
                    <a:pt x="77" y="204"/>
                  </a:cubicBezTo>
                  <a:cubicBezTo>
                    <a:pt x="79" y="194"/>
                    <a:pt x="80" y="183"/>
                    <a:pt x="75" y="173"/>
                  </a:cubicBezTo>
                  <a:cubicBezTo>
                    <a:pt x="73" y="164"/>
                    <a:pt x="70" y="158"/>
                    <a:pt x="65" y="150"/>
                  </a:cubicBezTo>
                  <a:cubicBezTo>
                    <a:pt x="66" y="135"/>
                    <a:pt x="65" y="136"/>
                    <a:pt x="77" y="134"/>
                  </a:cubicBezTo>
                  <a:cubicBezTo>
                    <a:pt x="87" y="129"/>
                    <a:pt x="82" y="129"/>
                    <a:pt x="87" y="123"/>
                  </a:cubicBezTo>
                  <a:cubicBezTo>
                    <a:pt x="89" y="120"/>
                    <a:pt x="96" y="116"/>
                    <a:pt x="96" y="116"/>
                  </a:cubicBezTo>
                  <a:cubicBezTo>
                    <a:pt x="104" y="102"/>
                    <a:pt x="119" y="104"/>
                    <a:pt x="134" y="102"/>
                  </a:cubicBezTo>
                  <a:cubicBezTo>
                    <a:pt x="135" y="89"/>
                    <a:pt x="143" y="82"/>
                    <a:pt x="149" y="71"/>
                  </a:cubicBezTo>
                  <a:cubicBezTo>
                    <a:pt x="148" y="50"/>
                    <a:pt x="161" y="15"/>
                    <a:pt x="140" y="0"/>
                  </a:cubicBezTo>
                  <a:cubicBezTo>
                    <a:pt x="134" y="7"/>
                    <a:pt x="129" y="14"/>
                    <a:pt x="120" y="15"/>
                  </a:cubicBezTo>
                  <a:cubicBezTo>
                    <a:pt x="107" y="13"/>
                    <a:pt x="109" y="22"/>
                    <a:pt x="99" y="23"/>
                  </a:cubicBezTo>
                  <a:cubicBezTo>
                    <a:pt x="88" y="24"/>
                    <a:pt x="76" y="24"/>
                    <a:pt x="65" y="24"/>
                  </a:cubicBezTo>
                  <a:cubicBezTo>
                    <a:pt x="62" y="33"/>
                    <a:pt x="59" y="42"/>
                    <a:pt x="68" y="47"/>
                  </a:cubicBezTo>
                  <a:cubicBezTo>
                    <a:pt x="72" y="52"/>
                    <a:pt x="72" y="56"/>
                    <a:pt x="74" y="62"/>
                  </a:cubicBezTo>
                  <a:cubicBezTo>
                    <a:pt x="76" y="74"/>
                    <a:pt x="83" y="90"/>
                    <a:pt x="71" y="99"/>
                  </a:cubicBezTo>
                  <a:cubicBezTo>
                    <a:pt x="60" y="97"/>
                    <a:pt x="61" y="94"/>
                    <a:pt x="57" y="86"/>
                  </a:cubicBezTo>
                  <a:cubicBezTo>
                    <a:pt x="56" y="62"/>
                    <a:pt x="60" y="68"/>
                    <a:pt x="45" y="63"/>
                  </a:cubicBezTo>
                  <a:cubicBezTo>
                    <a:pt x="41" y="58"/>
                    <a:pt x="38" y="56"/>
                    <a:pt x="32" y="54"/>
                  </a:cubicBezTo>
                  <a:cubicBezTo>
                    <a:pt x="28" y="61"/>
                    <a:pt x="26" y="62"/>
                    <a:pt x="18" y="63"/>
                  </a:cubicBezTo>
                  <a:cubicBezTo>
                    <a:pt x="14" y="70"/>
                    <a:pt x="11" y="68"/>
                    <a:pt x="5" y="72"/>
                  </a:cubicBezTo>
                  <a:cubicBezTo>
                    <a:pt x="1" y="78"/>
                    <a:pt x="0" y="82"/>
                    <a:pt x="8" y="84"/>
                  </a:cubicBezTo>
                  <a:cubicBezTo>
                    <a:pt x="11" y="85"/>
                    <a:pt x="14" y="85"/>
                    <a:pt x="17" y="87"/>
                  </a:cubicBezTo>
                  <a:cubicBezTo>
                    <a:pt x="24" y="92"/>
                    <a:pt x="25" y="97"/>
                    <a:pt x="35" y="99"/>
                  </a:cubicBezTo>
                  <a:cubicBezTo>
                    <a:pt x="38" y="107"/>
                    <a:pt x="36" y="128"/>
                    <a:pt x="35" y="138"/>
                  </a:cubicBezTo>
                  <a:cubicBezTo>
                    <a:pt x="34" y="148"/>
                    <a:pt x="31" y="152"/>
                    <a:pt x="30" y="158"/>
                  </a:cubicBezTo>
                  <a:cubicBezTo>
                    <a:pt x="29" y="165"/>
                    <a:pt x="33" y="170"/>
                    <a:pt x="27" y="174"/>
                  </a:cubicBezTo>
                  <a:cubicBezTo>
                    <a:pt x="24" y="182"/>
                    <a:pt x="13" y="185"/>
                    <a:pt x="6" y="189"/>
                  </a:cubicBezTo>
                  <a:cubicBezTo>
                    <a:pt x="8" y="194"/>
                    <a:pt x="15" y="201"/>
                    <a:pt x="17" y="206"/>
                  </a:cubicBezTo>
                  <a:cubicBezTo>
                    <a:pt x="18" y="222"/>
                    <a:pt x="16" y="220"/>
                    <a:pt x="24" y="230"/>
                  </a:cubicBezTo>
                  <a:cubicBezTo>
                    <a:pt x="26" y="243"/>
                    <a:pt x="18" y="247"/>
                    <a:pt x="29" y="249"/>
                  </a:cubicBezTo>
                  <a:cubicBezTo>
                    <a:pt x="31" y="250"/>
                    <a:pt x="32" y="242"/>
                    <a:pt x="38" y="237"/>
                  </a:cubicBezTo>
                  <a:close/>
                </a:path>
              </a:pathLst>
            </a:custGeom>
            <a:solidFill>
              <a:schemeClr val="bg1">
                <a:lumMod val="85000"/>
              </a:schemeClr>
            </a:solidFill>
            <a:ln w="9525" cap="flat" cmpd="sng">
              <a:solidFill>
                <a:schemeClr val="bg1"/>
              </a:solidFill>
              <a:prstDash val="solid"/>
              <a:round/>
              <a:headEnd type="none" w="med" len="med"/>
              <a:tailEnd type="none" w="med" len="med"/>
            </a:ln>
            <a:effectLst/>
            <a:extLst/>
          </p:spPr>
          <p:txBody>
            <a:bodyPr>
              <a:noAutofit/>
            </a:bodyPr>
            <a:lstStyle/>
            <a:p>
              <a:pPr fontAlgn="auto">
                <a:spcBef>
                  <a:spcPts val="0"/>
                </a:spcBef>
                <a:spcAft>
                  <a:spcPts val="0"/>
                </a:spcAft>
                <a:defRPr/>
              </a:pPr>
              <a:endParaRPr lang="en-CA" kern="0">
                <a:solidFill>
                  <a:sysClr val="windowText" lastClr="000000"/>
                </a:solidFill>
              </a:endParaRPr>
            </a:p>
          </p:txBody>
        </p:sp>
        <p:sp>
          <p:nvSpPr>
            <p:cNvPr id="411" name="Freeform 92"/>
            <p:cNvSpPr>
              <a:spLocks/>
            </p:cNvSpPr>
            <p:nvPr>
              <p:custDataLst>
                <p:tags r:id="rId85"/>
              </p:custDataLst>
            </p:nvPr>
          </p:nvSpPr>
          <p:spPr bwMode="gray">
            <a:xfrm>
              <a:off x="2712779" y="2573709"/>
              <a:ext cx="24001" cy="23858"/>
            </a:xfrm>
            <a:custGeom>
              <a:avLst/>
              <a:gdLst>
                <a:gd name="T0" fmla="*/ 25 w 29"/>
                <a:gd name="T1" fmla="*/ 0 h 31"/>
                <a:gd name="T2" fmla="*/ 3 w 29"/>
                <a:gd name="T3" fmla="*/ 7 h 31"/>
                <a:gd name="T4" fmla="*/ 4 w 29"/>
                <a:gd name="T5" fmla="*/ 28 h 31"/>
                <a:gd name="T6" fmla="*/ 18 w 29"/>
                <a:gd name="T7" fmla="*/ 25 h 31"/>
                <a:gd name="T8" fmla="*/ 27 w 29"/>
                <a:gd name="T9" fmla="*/ 18 h 31"/>
                <a:gd name="T10" fmla="*/ 25 w 29"/>
                <a:gd name="T11" fmla="*/ 7 h 31"/>
                <a:gd name="T12" fmla="*/ 25 w 29"/>
                <a:gd name="T13" fmla="*/ 0 h 31"/>
              </a:gdLst>
              <a:ahLst/>
              <a:cxnLst>
                <a:cxn ang="0">
                  <a:pos x="T0" y="T1"/>
                </a:cxn>
                <a:cxn ang="0">
                  <a:pos x="T2" y="T3"/>
                </a:cxn>
                <a:cxn ang="0">
                  <a:pos x="T4" y="T5"/>
                </a:cxn>
                <a:cxn ang="0">
                  <a:pos x="T6" y="T7"/>
                </a:cxn>
                <a:cxn ang="0">
                  <a:pos x="T8" y="T9"/>
                </a:cxn>
                <a:cxn ang="0">
                  <a:pos x="T10" y="T11"/>
                </a:cxn>
                <a:cxn ang="0">
                  <a:pos x="T12" y="T13"/>
                </a:cxn>
              </a:cxnLst>
              <a:rect l="0" t="0" r="r" b="b"/>
              <a:pathLst>
                <a:path w="29" h="31">
                  <a:moveTo>
                    <a:pt x="25" y="0"/>
                  </a:moveTo>
                  <a:cubicBezTo>
                    <a:pt x="16" y="1"/>
                    <a:pt x="9" y="0"/>
                    <a:pt x="3" y="7"/>
                  </a:cubicBezTo>
                  <a:cubicBezTo>
                    <a:pt x="0" y="11"/>
                    <a:pt x="2" y="25"/>
                    <a:pt x="4" y="28"/>
                  </a:cubicBezTo>
                  <a:cubicBezTo>
                    <a:pt x="6" y="31"/>
                    <a:pt x="14" y="27"/>
                    <a:pt x="18" y="25"/>
                  </a:cubicBezTo>
                  <a:cubicBezTo>
                    <a:pt x="21" y="23"/>
                    <a:pt x="26" y="21"/>
                    <a:pt x="27" y="18"/>
                  </a:cubicBezTo>
                  <a:cubicBezTo>
                    <a:pt x="28" y="15"/>
                    <a:pt x="25" y="10"/>
                    <a:pt x="25" y="7"/>
                  </a:cubicBezTo>
                  <a:cubicBezTo>
                    <a:pt x="25" y="4"/>
                    <a:pt x="29" y="0"/>
                    <a:pt x="25" y="0"/>
                  </a:cubicBezTo>
                  <a:close/>
                </a:path>
              </a:pathLst>
            </a:custGeom>
            <a:solidFill>
              <a:schemeClr val="bg1">
                <a:lumMod val="85000"/>
              </a:schemeClr>
            </a:solidFill>
            <a:ln w="9525" cap="flat" cmpd="sng">
              <a:solidFill>
                <a:schemeClr val="bg1"/>
              </a:solidFill>
              <a:prstDash val="solid"/>
              <a:round/>
              <a:headEnd type="none" w="med" len="med"/>
              <a:tailEnd type="none" w="med" len="med"/>
            </a:ln>
            <a:effectLst/>
            <a:extLst/>
          </p:spPr>
          <p:txBody>
            <a:bodyPr>
              <a:noAutofit/>
            </a:bodyPr>
            <a:lstStyle/>
            <a:p>
              <a:pPr fontAlgn="auto">
                <a:spcBef>
                  <a:spcPts val="0"/>
                </a:spcBef>
                <a:spcAft>
                  <a:spcPts val="0"/>
                </a:spcAft>
                <a:defRPr/>
              </a:pPr>
              <a:endParaRPr lang="en-CA" kern="0">
                <a:solidFill>
                  <a:sysClr val="windowText" lastClr="000000"/>
                </a:solidFill>
              </a:endParaRPr>
            </a:p>
          </p:txBody>
        </p:sp>
        <p:sp>
          <p:nvSpPr>
            <p:cNvPr id="412" name="Freeform 93"/>
            <p:cNvSpPr>
              <a:spLocks/>
            </p:cNvSpPr>
            <p:nvPr>
              <p:custDataLst>
                <p:tags r:id="rId86"/>
              </p:custDataLst>
            </p:nvPr>
          </p:nvSpPr>
          <p:spPr bwMode="gray">
            <a:xfrm>
              <a:off x="2714377" y="2556778"/>
              <a:ext cx="137610" cy="128524"/>
            </a:xfrm>
            <a:custGeom>
              <a:avLst/>
              <a:gdLst>
                <a:gd name="T0" fmla="*/ 10 w 169"/>
                <a:gd name="T1" fmla="*/ 2 h 167"/>
                <a:gd name="T2" fmla="*/ 53 w 169"/>
                <a:gd name="T3" fmla="*/ 2 h 167"/>
                <a:gd name="T4" fmla="*/ 77 w 169"/>
                <a:gd name="T5" fmla="*/ 5 h 167"/>
                <a:gd name="T6" fmla="*/ 103 w 169"/>
                <a:gd name="T7" fmla="*/ 13 h 167"/>
                <a:gd name="T8" fmla="*/ 128 w 169"/>
                <a:gd name="T9" fmla="*/ 37 h 167"/>
                <a:gd name="T10" fmla="*/ 149 w 169"/>
                <a:gd name="T11" fmla="*/ 49 h 167"/>
                <a:gd name="T12" fmla="*/ 154 w 169"/>
                <a:gd name="T13" fmla="*/ 106 h 167"/>
                <a:gd name="T14" fmla="*/ 157 w 169"/>
                <a:gd name="T15" fmla="*/ 122 h 167"/>
                <a:gd name="T16" fmla="*/ 155 w 169"/>
                <a:gd name="T17" fmla="*/ 151 h 167"/>
                <a:gd name="T18" fmla="*/ 136 w 169"/>
                <a:gd name="T19" fmla="*/ 155 h 167"/>
                <a:gd name="T20" fmla="*/ 124 w 169"/>
                <a:gd name="T21" fmla="*/ 163 h 167"/>
                <a:gd name="T22" fmla="*/ 106 w 169"/>
                <a:gd name="T23" fmla="*/ 164 h 167"/>
                <a:gd name="T24" fmla="*/ 89 w 169"/>
                <a:gd name="T25" fmla="*/ 160 h 167"/>
                <a:gd name="T26" fmla="*/ 38 w 169"/>
                <a:gd name="T27" fmla="*/ 121 h 167"/>
                <a:gd name="T28" fmla="*/ 20 w 169"/>
                <a:gd name="T29" fmla="*/ 109 h 167"/>
                <a:gd name="T30" fmla="*/ 23 w 169"/>
                <a:gd name="T31" fmla="*/ 92 h 167"/>
                <a:gd name="T32" fmla="*/ 10 w 169"/>
                <a:gd name="T33" fmla="*/ 85 h 167"/>
                <a:gd name="T34" fmla="*/ 1 w 169"/>
                <a:gd name="T35" fmla="*/ 73 h 167"/>
                <a:gd name="T36" fmla="*/ 2 w 169"/>
                <a:gd name="T37" fmla="*/ 53 h 167"/>
                <a:gd name="T38" fmla="*/ 12 w 169"/>
                <a:gd name="T39" fmla="*/ 52 h 167"/>
                <a:gd name="T40" fmla="*/ 26 w 169"/>
                <a:gd name="T41" fmla="*/ 38 h 167"/>
                <a:gd name="T42" fmla="*/ 23 w 169"/>
                <a:gd name="T43" fmla="*/ 23 h 167"/>
                <a:gd name="T44" fmla="*/ 25 w 169"/>
                <a:gd name="T45" fmla="*/ 13 h 167"/>
                <a:gd name="T46" fmla="*/ 10 w 169"/>
                <a:gd name="T47" fmla="*/ 2 h 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69" h="167">
                  <a:moveTo>
                    <a:pt x="10" y="2"/>
                  </a:moveTo>
                  <a:cubicBezTo>
                    <a:pt x="15" y="0"/>
                    <a:pt x="38" y="0"/>
                    <a:pt x="53" y="2"/>
                  </a:cubicBezTo>
                  <a:cubicBezTo>
                    <a:pt x="64" y="2"/>
                    <a:pt x="69" y="3"/>
                    <a:pt x="77" y="5"/>
                  </a:cubicBezTo>
                  <a:cubicBezTo>
                    <a:pt x="85" y="7"/>
                    <a:pt x="95" y="8"/>
                    <a:pt x="103" y="13"/>
                  </a:cubicBezTo>
                  <a:cubicBezTo>
                    <a:pt x="113" y="20"/>
                    <a:pt x="117" y="32"/>
                    <a:pt x="128" y="37"/>
                  </a:cubicBezTo>
                  <a:cubicBezTo>
                    <a:pt x="136" y="48"/>
                    <a:pt x="136" y="45"/>
                    <a:pt x="149" y="49"/>
                  </a:cubicBezTo>
                  <a:cubicBezTo>
                    <a:pt x="138" y="64"/>
                    <a:pt x="147" y="89"/>
                    <a:pt x="154" y="106"/>
                  </a:cubicBezTo>
                  <a:cubicBezTo>
                    <a:pt x="155" y="113"/>
                    <a:pt x="153" y="117"/>
                    <a:pt x="157" y="122"/>
                  </a:cubicBezTo>
                  <a:cubicBezTo>
                    <a:pt x="159" y="134"/>
                    <a:pt x="169" y="149"/>
                    <a:pt x="155" y="151"/>
                  </a:cubicBezTo>
                  <a:cubicBezTo>
                    <a:pt x="152" y="157"/>
                    <a:pt x="141" y="153"/>
                    <a:pt x="136" y="155"/>
                  </a:cubicBezTo>
                  <a:cubicBezTo>
                    <a:pt x="131" y="157"/>
                    <a:pt x="129" y="162"/>
                    <a:pt x="124" y="163"/>
                  </a:cubicBezTo>
                  <a:cubicBezTo>
                    <a:pt x="119" y="164"/>
                    <a:pt x="112" y="164"/>
                    <a:pt x="106" y="164"/>
                  </a:cubicBezTo>
                  <a:cubicBezTo>
                    <a:pt x="100" y="167"/>
                    <a:pt x="95" y="161"/>
                    <a:pt x="89" y="160"/>
                  </a:cubicBezTo>
                  <a:cubicBezTo>
                    <a:pt x="87" y="131"/>
                    <a:pt x="64" y="122"/>
                    <a:pt x="38" y="121"/>
                  </a:cubicBezTo>
                  <a:cubicBezTo>
                    <a:pt x="32" y="117"/>
                    <a:pt x="26" y="113"/>
                    <a:pt x="20" y="109"/>
                  </a:cubicBezTo>
                  <a:cubicBezTo>
                    <a:pt x="17" y="105"/>
                    <a:pt x="25" y="96"/>
                    <a:pt x="23" y="92"/>
                  </a:cubicBezTo>
                  <a:cubicBezTo>
                    <a:pt x="21" y="88"/>
                    <a:pt x="14" y="88"/>
                    <a:pt x="10" y="85"/>
                  </a:cubicBezTo>
                  <a:cubicBezTo>
                    <a:pt x="8" y="78"/>
                    <a:pt x="2" y="78"/>
                    <a:pt x="1" y="73"/>
                  </a:cubicBezTo>
                  <a:cubicBezTo>
                    <a:pt x="0" y="68"/>
                    <a:pt x="0" y="56"/>
                    <a:pt x="2" y="53"/>
                  </a:cubicBezTo>
                  <a:cubicBezTo>
                    <a:pt x="4" y="50"/>
                    <a:pt x="8" y="54"/>
                    <a:pt x="12" y="52"/>
                  </a:cubicBezTo>
                  <a:cubicBezTo>
                    <a:pt x="16" y="50"/>
                    <a:pt x="24" y="43"/>
                    <a:pt x="26" y="38"/>
                  </a:cubicBezTo>
                  <a:cubicBezTo>
                    <a:pt x="25" y="32"/>
                    <a:pt x="26" y="29"/>
                    <a:pt x="23" y="23"/>
                  </a:cubicBezTo>
                  <a:cubicBezTo>
                    <a:pt x="25" y="20"/>
                    <a:pt x="24" y="16"/>
                    <a:pt x="25" y="13"/>
                  </a:cubicBezTo>
                  <a:cubicBezTo>
                    <a:pt x="29" y="2"/>
                    <a:pt x="15" y="3"/>
                    <a:pt x="10" y="2"/>
                  </a:cubicBezTo>
                  <a:close/>
                </a:path>
              </a:pathLst>
            </a:custGeom>
            <a:solidFill>
              <a:schemeClr val="bg1">
                <a:lumMod val="85000"/>
              </a:schemeClr>
            </a:solidFill>
            <a:ln w="9525" cap="flat" cmpd="sng">
              <a:solidFill>
                <a:schemeClr val="bg1"/>
              </a:solidFill>
              <a:prstDash val="solid"/>
              <a:round/>
              <a:headEnd type="none" w="med" len="med"/>
              <a:tailEnd type="none" w="med" len="med"/>
            </a:ln>
            <a:effectLst/>
            <a:extLst/>
          </p:spPr>
          <p:txBody>
            <a:bodyPr>
              <a:noAutofit/>
            </a:bodyPr>
            <a:lstStyle/>
            <a:p>
              <a:pPr fontAlgn="auto">
                <a:spcBef>
                  <a:spcPts val="0"/>
                </a:spcBef>
                <a:spcAft>
                  <a:spcPts val="0"/>
                </a:spcAft>
                <a:defRPr/>
              </a:pPr>
              <a:endParaRPr lang="en-CA" kern="0">
                <a:solidFill>
                  <a:sysClr val="windowText" lastClr="000000"/>
                </a:solidFill>
              </a:endParaRPr>
            </a:p>
          </p:txBody>
        </p:sp>
        <p:sp>
          <p:nvSpPr>
            <p:cNvPr id="413" name="Freeform 94"/>
            <p:cNvSpPr>
              <a:spLocks/>
            </p:cNvSpPr>
            <p:nvPr>
              <p:custDataLst>
                <p:tags r:id="rId87"/>
              </p:custDataLst>
            </p:nvPr>
          </p:nvSpPr>
          <p:spPr bwMode="gray">
            <a:xfrm>
              <a:off x="2715978" y="2558318"/>
              <a:ext cx="26402" cy="19241"/>
            </a:xfrm>
            <a:custGeom>
              <a:avLst/>
              <a:gdLst>
                <a:gd name="T0" fmla="*/ 11 w 32"/>
                <a:gd name="T1" fmla="*/ 2 h 25"/>
                <a:gd name="T2" fmla="*/ 21 w 32"/>
                <a:gd name="T3" fmla="*/ 14 h 25"/>
                <a:gd name="T4" fmla="*/ 0 w 32"/>
                <a:gd name="T5" fmla="*/ 24 h 25"/>
                <a:gd name="T6" fmla="*/ 6 w 32"/>
                <a:gd name="T7" fmla="*/ 8 h 25"/>
                <a:gd name="T8" fmla="*/ 11 w 32"/>
                <a:gd name="T9" fmla="*/ 2 h 25"/>
              </a:gdLst>
              <a:ahLst/>
              <a:cxnLst>
                <a:cxn ang="0">
                  <a:pos x="T0" y="T1"/>
                </a:cxn>
                <a:cxn ang="0">
                  <a:pos x="T2" y="T3"/>
                </a:cxn>
                <a:cxn ang="0">
                  <a:pos x="T4" y="T5"/>
                </a:cxn>
                <a:cxn ang="0">
                  <a:pos x="T6" y="T7"/>
                </a:cxn>
                <a:cxn ang="0">
                  <a:pos x="T8" y="T9"/>
                </a:cxn>
              </a:cxnLst>
              <a:rect l="0" t="0" r="r" b="b"/>
              <a:pathLst>
                <a:path w="32" h="25">
                  <a:moveTo>
                    <a:pt x="11" y="2"/>
                  </a:moveTo>
                  <a:cubicBezTo>
                    <a:pt x="23" y="0"/>
                    <a:pt x="32" y="10"/>
                    <a:pt x="21" y="14"/>
                  </a:cubicBezTo>
                  <a:cubicBezTo>
                    <a:pt x="16" y="21"/>
                    <a:pt x="8" y="25"/>
                    <a:pt x="0" y="24"/>
                  </a:cubicBezTo>
                  <a:cubicBezTo>
                    <a:pt x="1" y="16"/>
                    <a:pt x="0" y="13"/>
                    <a:pt x="6" y="8"/>
                  </a:cubicBezTo>
                  <a:cubicBezTo>
                    <a:pt x="9" y="2"/>
                    <a:pt x="7" y="2"/>
                    <a:pt x="11" y="2"/>
                  </a:cubicBezTo>
                  <a:close/>
                </a:path>
              </a:pathLst>
            </a:custGeom>
            <a:solidFill>
              <a:schemeClr val="bg1">
                <a:lumMod val="85000"/>
              </a:schemeClr>
            </a:solidFill>
            <a:ln w="9525" cap="flat" cmpd="sng">
              <a:solidFill>
                <a:schemeClr val="bg1"/>
              </a:solidFill>
              <a:prstDash val="solid"/>
              <a:round/>
              <a:headEnd type="none" w="med" len="med"/>
              <a:tailEnd type="none" w="med" len="med"/>
            </a:ln>
            <a:effectLst/>
            <a:extLst/>
          </p:spPr>
          <p:txBody>
            <a:bodyPr>
              <a:noAutofit/>
            </a:bodyPr>
            <a:lstStyle/>
            <a:p>
              <a:pPr fontAlgn="auto">
                <a:spcBef>
                  <a:spcPts val="0"/>
                </a:spcBef>
                <a:spcAft>
                  <a:spcPts val="0"/>
                </a:spcAft>
                <a:defRPr/>
              </a:pPr>
              <a:endParaRPr lang="en-CA" kern="0">
                <a:solidFill>
                  <a:sysClr val="windowText" lastClr="000000"/>
                </a:solidFill>
              </a:endParaRPr>
            </a:p>
          </p:txBody>
        </p:sp>
        <p:sp>
          <p:nvSpPr>
            <p:cNvPr id="414" name="Freeform 95"/>
            <p:cNvSpPr>
              <a:spLocks/>
            </p:cNvSpPr>
            <p:nvPr>
              <p:custDataLst>
                <p:tags r:id="rId88"/>
              </p:custDataLst>
            </p:nvPr>
          </p:nvSpPr>
          <p:spPr bwMode="gray">
            <a:xfrm>
              <a:off x="2759181" y="2655287"/>
              <a:ext cx="38402" cy="85425"/>
            </a:xfrm>
            <a:custGeom>
              <a:avLst/>
              <a:gdLst>
                <a:gd name="T0" fmla="*/ 7 w 47"/>
                <a:gd name="T1" fmla="*/ 0 h 111"/>
                <a:gd name="T2" fmla="*/ 33 w 47"/>
                <a:gd name="T3" fmla="*/ 20 h 111"/>
                <a:gd name="T4" fmla="*/ 34 w 47"/>
                <a:gd name="T5" fmla="*/ 33 h 111"/>
                <a:gd name="T6" fmla="*/ 31 w 47"/>
                <a:gd name="T7" fmla="*/ 54 h 111"/>
                <a:gd name="T8" fmla="*/ 45 w 47"/>
                <a:gd name="T9" fmla="*/ 78 h 111"/>
                <a:gd name="T10" fmla="*/ 45 w 47"/>
                <a:gd name="T11" fmla="*/ 101 h 111"/>
                <a:gd name="T12" fmla="*/ 30 w 47"/>
                <a:gd name="T13" fmla="*/ 108 h 111"/>
                <a:gd name="T14" fmla="*/ 24 w 47"/>
                <a:gd name="T15" fmla="*/ 80 h 111"/>
                <a:gd name="T16" fmla="*/ 9 w 47"/>
                <a:gd name="T17" fmla="*/ 68 h 111"/>
                <a:gd name="T18" fmla="*/ 1 w 47"/>
                <a:gd name="T19" fmla="*/ 56 h 111"/>
                <a:gd name="T20" fmla="*/ 12 w 47"/>
                <a:gd name="T21" fmla="*/ 35 h 111"/>
                <a:gd name="T22" fmla="*/ 7 w 47"/>
                <a:gd name="T23" fmla="*/ 0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7" h="111">
                  <a:moveTo>
                    <a:pt x="7" y="0"/>
                  </a:moveTo>
                  <a:cubicBezTo>
                    <a:pt x="21" y="2"/>
                    <a:pt x="28" y="6"/>
                    <a:pt x="33" y="20"/>
                  </a:cubicBezTo>
                  <a:cubicBezTo>
                    <a:pt x="37" y="26"/>
                    <a:pt x="34" y="27"/>
                    <a:pt x="34" y="33"/>
                  </a:cubicBezTo>
                  <a:cubicBezTo>
                    <a:pt x="34" y="39"/>
                    <a:pt x="29" y="47"/>
                    <a:pt x="31" y="54"/>
                  </a:cubicBezTo>
                  <a:cubicBezTo>
                    <a:pt x="35" y="60"/>
                    <a:pt x="43" y="71"/>
                    <a:pt x="45" y="78"/>
                  </a:cubicBezTo>
                  <a:cubicBezTo>
                    <a:pt x="47" y="86"/>
                    <a:pt x="47" y="96"/>
                    <a:pt x="45" y="101"/>
                  </a:cubicBezTo>
                  <a:cubicBezTo>
                    <a:pt x="43" y="106"/>
                    <a:pt x="33" y="111"/>
                    <a:pt x="30" y="108"/>
                  </a:cubicBezTo>
                  <a:cubicBezTo>
                    <a:pt x="26" y="100"/>
                    <a:pt x="26" y="88"/>
                    <a:pt x="24" y="80"/>
                  </a:cubicBezTo>
                  <a:cubicBezTo>
                    <a:pt x="22" y="73"/>
                    <a:pt x="14" y="72"/>
                    <a:pt x="9" y="68"/>
                  </a:cubicBezTo>
                  <a:cubicBezTo>
                    <a:pt x="6" y="63"/>
                    <a:pt x="2" y="62"/>
                    <a:pt x="1" y="56"/>
                  </a:cubicBezTo>
                  <a:cubicBezTo>
                    <a:pt x="0" y="50"/>
                    <a:pt x="11" y="44"/>
                    <a:pt x="12" y="35"/>
                  </a:cubicBezTo>
                  <a:cubicBezTo>
                    <a:pt x="13" y="26"/>
                    <a:pt x="8" y="7"/>
                    <a:pt x="7" y="0"/>
                  </a:cubicBezTo>
                  <a:close/>
                </a:path>
              </a:pathLst>
            </a:custGeom>
            <a:solidFill>
              <a:schemeClr val="bg1">
                <a:lumMod val="85000"/>
              </a:schemeClr>
            </a:solidFill>
            <a:ln w="9525" cap="flat" cmpd="sng">
              <a:solidFill>
                <a:schemeClr val="bg1"/>
              </a:solidFill>
              <a:prstDash val="solid"/>
              <a:round/>
              <a:headEnd type="none" w="med" len="med"/>
              <a:tailEnd type="none" w="med" len="med"/>
            </a:ln>
            <a:effectLst/>
            <a:extLst/>
          </p:spPr>
          <p:txBody>
            <a:bodyPr>
              <a:noAutofit/>
            </a:bodyPr>
            <a:lstStyle/>
            <a:p>
              <a:pPr fontAlgn="auto">
                <a:spcBef>
                  <a:spcPts val="0"/>
                </a:spcBef>
                <a:spcAft>
                  <a:spcPts val="0"/>
                </a:spcAft>
                <a:defRPr/>
              </a:pPr>
              <a:endParaRPr lang="en-CA" kern="0">
                <a:solidFill>
                  <a:sysClr val="windowText" lastClr="000000"/>
                </a:solidFill>
              </a:endParaRPr>
            </a:p>
          </p:txBody>
        </p:sp>
        <p:sp>
          <p:nvSpPr>
            <p:cNvPr id="415" name="Freeform 96"/>
            <p:cNvSpPr>
              <a:spLocks/>
            </p:cNvSpPr>
            <p:nvPr>
              <p:custDataLst>
                <p:tags r:id="rId89"/>
              </p:custDataLst>
            </p:nvPr>
          </p:nvSpPr>
          <p:spPr bwMode="gray">
            <a:xfrm>
              <a:off x="2459162" y="2086551"/>
              <a:ext cx="48803" cy="86196"/>
            </a:xfrm>
            <a:custGeom>
              <a:avLst/>
              <a:gdLst>
                <a:gd name="T0" fmla="*/ 19 w 60"/>
                <a:gd name="T1" fmla="*/ 9 h 112"/>
                <a:gd name="T2" fmla="*/ 39 w 60"/>
                <a:gd name="T3" fmla="*/ 4 h 112"/>
                <a:gd name="T4" fmla="*/ 48 w 60"/>
                <a:gd name="T5" fmla="*/ 34 h 112"/>
                <a:gd name="T6" fmla="*/ 37 w 60"/>
                <a:gd name="T7" fmla="*/ 51 h 112"/>
                <a:gd name="T8" fmla="*/ 51 w 60"/>
                <a:gd name="T9" fmla="*/ 73 h 112"/>
                <a:gd name="T10" fmla="*/ 54 w 60"/>
                <a:gd name="T11" fmla="*/ 90 h 112"/>
                <a:gd name="T12" fmla="*/ 41 w 60"/>
                <a:gd name="T13" fmla="*/ 99 h 112"/>
                <a:gd name="T14" fmla="*/ 34 w 60"/>
                <a:gd name="T15" fmla="*/ 103 h 112"/>
                <a:gd name="T16" fmla="*/ 27 w 60"/>
                <a:gd name="T17" fmla="*/ 109 h 112"/>
                <a:gd name="T18" fmla="*/ 7 w 60"/>
                <a:gd name="T19" fmla="*/ 87 h 112"/>
                <a:gd name="T20" fmla="*/ 0 w 60"/>
                <a:gd name="T21" fmla="*/ 73 h 112"/>
                <a:gd name="T22" fmla="*/ 9 w 60"/>
                <a:gd name="T23" fmla="*/ 34 h 112"/>
                <a:gd name="T24" fmla="*/ 19 w 60"/>
                <a:gd name="T25" fmla="*/ 9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0" h="112">
                  <a:moveTo>
                    <a:pt x="19" y="9"/>
                  </a:moveTo>
                  <a:cubicBezTo>
                    <a:pt x="24" y="0"/>
                    <a:pt x="29" y="3"/>
                    <a:pt x="39" y="4"/>
                  </a:cubicBezTo>
                  <a:cubicBezTo>
                    <a:pt x="49" y="12"/>
                    <a:pt x="43" y="23"/>
                    <a:pt x="48" y="34"/>
                  </a:cubicBezTo>
                  <a:cubicBezTo>
                    <a:pt x="50" y="44"/>
                    <a:pt x="47" y="48"/>
                    <a:pt x="37" y="51"/>
                  </a:cubicBezTo>
                  <a:cubicBezTo>
                    <a:pt x="35" y="64"/>
                    <a:pt x="38" y="70"/>
                    <a:pt x="51" y="73"/>
                  </a:cubicBezTo>
                  <a:cubicBezTo>
                    <a:pt x="55" y="80"/>
                    <a:pt x="60" y="86"/>
                    <a:pt x="54" y="90"/>
                  </a:cubicBezTo>
                  <a:cubicBezTo>
                    <a:pt x="52" y="94"/>
                    <a:pt x="44" y="97"/>
                    <a:pt x="41" y="99"/>
                  </a:cubicBezTo>
                  <a:cubicBezTo>
                    <a:pt x="38" y="101"/>
                    <a:pt x="36" y="101"/>
                    <a:pt x="34" y="103"/>
                  </a:cubicBezTo>
                  <a:cubicBezTo>
                    <a:pt x="32" y="105"/>
                    <a:pt x="32" y="112"/>
                    <a:pt x="27" y="109"/>
                  </a:cubicBezTo>
                  <a:cubicBezTo>
                    <a:pt x="25" y="100"/>
                    <a:pt x="15" y="92"/>
                    <a:pt x="7" y="87"/>
                  </a:cubicBezTo>
                  <a:cubicBezTo>
                    <a:pt x="4" y="82"/>
                    <a:pt x="1" y="79"/>
                    <a:pt x="0" y="73"/>
                  </a:cubicBezTo>
                  <a:cubicBezTo>
                    <a:pt x="1" y="61"/>
                    <a:pt x="3" y="45"/>
                    <a:pt x="9" y="34"/>
                  </a:cubicBezTo>
                  <a:cubicBezTo>
                    <a:pt x="9" y="28"/>
                    <a:pt x="8" y="9"/>
                    <a:pt x="19" y="9"/>
                  </a:cubicBezTo>
                  <a:close/>
                </a:path>
              </a:pathLst>
            </a:custGeom>
            <a:solidFill>
              <a:schemeClr val="bg1">
                <a:lumMod val="85000"/>
              </a:schemeClr>
            </a:solidFill>
            <a:ln w="9525" cap="flat" cmpd="sng">
              <a:solidFill>
                <a:schemeClr val="bg1"/>
              </a:solidFill>
              <a:prstDash val="solid"/>
              <a:round/>
              <a:headEnd type="none" w="med" len="med"/>
              <a:tailEnd type="none" w="med" len="med"/>
            </a:ln>
            <a:effectLst/>
            <a:extLst/>
          </p:spPr>
          <p:txBody>
            <a:bodyPr>
              <a:noAutofit/>
            </a:bodyPr>
            <a:lstStyle/>
            <a:p>
              <a:pPr fontAlgn="auto">
                <a:spcBef>
                  <a:spcPts val="0"/>
                </a:spcBef>
                <a:spcAft>
                  <a:spcPts val="0"/>
                </a:spcAft>
                <a:defRPr/>
              </a:pPr>
              <a:endParaRPr lang="en-CA" kern="0">
                <a:solidFill>
                  <a:sysClr val="windowText" lastClr="000000"/>
                </a:solidFill>
              </a:endParaRPr>
            </a:p>
          </p:txBody>
        </p:sp>
        <p:sp>
          <p:nvSpPr>
            <p:cNvPr id="416" name="Freeform 100"/>
            <p:cNvSpPr>
              <a:spLocks/>
            </p:cNvSpPr>
            <p:nvPr>
              <p:custDataLst>
                <p:tags r:id="rId90"/>
              </p:custDataLst>
            </p:nvPr>
          </p:nvSpPr>
          <p:spPr bwMode="gray">
            <a:xfrm>
              <a:off x="2529565" y="1797950"/>
              <a:ext cx="126408" cy="98509"/>
            </a:xfrm>
            <a:custGeom>
              <a:avLst/>
              <a:gdLst>
                <a:gd name="T0" fmla="*/ 0 w 155"/>
                <a:gd name="T1" fmla="*/ 18 h 128"/>
                <a:gd name="T2" fmla="*/ 33 w 155"/>
                <a:gd name="T3" fmla="*/ 15 h 128"/>
                <a:gd name="T4" fmla="*/ 54 w 155"/>
                <a:gd name="T5" fmla="*/ 0 h 128"/>
                <a:gd name="T6" fmla="*/ 87 w 155"/>
                <a:gd name="T7" fmla="*/ 4 h 128"/>
                <a:gd name="T8" fmla="*/ 96 w 155"/>
                <a:gd name="T9" fmla="*/ 16 h 128"/>
                <a:gd name="T10" fmla="*/ 120 w 155"/>
                <a:gd name="T11" fmla="*/ 15 h 128"/>
                <a:gd name="T12" fmla="*/ 147 w 155"/>
                <a:gd name="T13" fmla="*/ 19 h 128"/>
                <a:gd name="T14" fmla="*/ 153 w 155"/>
                <a:gd name="T15" fmla="*/ 39 h 128"/>
                <a:gd name="T16" fmla="*/ 145 w 155"/>
                <a:gd name="T17" fmla="*/ 57 h 128"/>
                <a:gd name="T18" fmla="*/ 150 w 155"/>
                <a:gd name="T19" fmla="*/ 76 h 128"/>
                <a:gd name="T20" fmla="*/ 153 w 155"/>
                <a:gd name="T21" fmla="*/ 99 h 128"/>
                <a:gd name="T22" fmla="*/ 136 w 155"/>
                <a:gd name="T23" fmla="*/ 118 h 128"/>
                <a:gd name="T24" fmla="*/ 123 w 155"/>
                <a:gd name="T25" fmla="*/ 124 h 128"/>
                <a:gd name="T26" fmla="*/ 94 w 155"/>
                <a:gd name="T27" fmla="*/ 127 h 128"/>
                <a:gd name="T28" fmla="*/ 73 w 155"/>
                <a:gd name="T29" fmla="*/ 121 h 128"/>
                <a:gd name="T30" fmla="*/ 39 w 155"/>
                <a:gd name="T31" fmla="*/ 96 h 128"/>
                <a:gd name="T32" fmla="*/ 12 w 155"/>
                <a:gd name="T33" fmla="*/ 88 h 128"/>
                <a:gd name="T34" fmla="*/ 10 w 155"/>
                <a:gd name="T35" fmla="*/ 52 h 128"/>
                <a:gd name="T36" fmla="*/ 0 w 155"/>
                <a:gd name="T37" fmla="*/ 18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55" h="128">
                  <a:moveTo>
                    <a:pt x="0" y="18"/>
                  </a:moveTo>
                  <a:cubicBezTo>
                    <a:pt x="5" y="17"/>
                    <a:pt x="33" y="15"/>
                    <a:pt x="33" y="15"/>
                  </a:cubicBezTo>
                  <a:cubicBezTo>
                    <a:pt x="42" y="10"/>
                    <a:pt x="42" y="2"/>
                    <a:pt x="54" y="0"/>
                  </a:cubicBezTo>
                  <a:cubicBezTo>
                    <a:pt x="78" y="1"/>
                    <a:pt x="63" y="0"/>
                    <a:pt x="87" y="4"/>
                  </a:cubicBezTo>
                  <a:cubicBezTo>
                    <a:pt x="91" y="5"/>
                    <a:pt x="96" y="16"/>
                    <a:pt x="96" y="16"/>
                  </a:cubicBezTo>
                  <a:cubicBezTo>
                    <a:pt x="100" y="18"/>
                    <a:pt x="112" y="15"/>
                    <a:pt x="120" y="15"/>
                  </a:cubicBezTo>
                  <a:cubicBezTo>
                    <a:pt x="128" y="15"/>
                    <a:pt x="142" y="15"/>
                    <a:pt x="147" y="19"/>
                  </a:cubicBezTo>
                  <a:cubicBezTo>
                    <a:pt x="153" y="23"/>
                    <a:pt x="153" y="33"/>
                    <a:pt x="153" y="39"/>
                  </a:cubicBezTo>
                  <a:cubicBezTo>
                    <a:pt x="153" y="45"/>
                    <a:pt x="145" y="51"/>
                    <a:pt x="145" y="57"/>
                  </a:cubicBezTo>
                  <a:cubicBezTo>
                    <a:pt x="148" y="73"/>
                    <a:pt x="146" y="67"/>
                    <a:pt x="150" y="76"/>
                  </a:cubicBezTo>
                  <a:cubicBezTo>
                    <a:pt x="151" y="83"/>
                    <a:pt x="155" y="92"/>
                    <a:pt x="153" y="99"/>
                  </a:cubicBezTo>
                  <a:cubicBezTo>
                    <a:pt x="151" y="106"/>
                    <a:pt x="141" y="114"/>
                    <a:pt x="136" y="118"/>
                  </a:cubicBezTo>
                  <a:cubicBezTo>
                    <a:pt x="131" y="120"/>
                    <a:pt x="127" y="121"/>
                    <a:pt x="123" y="124"/>
                  </a:cubicBezTo>
                  <a:cubicBezTo>
                    <a:pt x="117" y="125"/>
                    <a:pt x="102" y="128"/>
                    <a:pt x="94" y="127"/>
                  </a:cubicBezTo>
                  <a:cubicBezTo>
                    <a:pt x="86" y="126"/>
                    <a:pt x="82" y="126"/>
                    <a:pt x="73" y="121"/>
                  </a:cubicBezTo>
                  <a:cubicBezTo>
                    <a:pt x="61" y="120"/>
                    <a:pt x="52" y="99"/>
                    <a:pt x="39" y="96"/>
                  </a:cubicBezTo>
                  <a:cubicBezTo>
                    <a:pt x="28" y="88"/>
                    <a:pt x="25" y="92"/>
                    <a:pt x="12" y="88"/>
                  </a:cubicBezTo>
                  <a:cubicBezTo>
                    <a:pt x="6" y="80"/>
                    <a:pt x="11" y="64"/>
                    <a:pt x="10" y="52"/>
                  </a:cubicBezTo>
                  <a:cubicBezTo>
                    <a:pt x="8" y="40"/>
                    <a:pt x="1" y="25"/>
                    <a:pt x="0" y="18"/>
                  </a:cubicBezTo>
                  <a:close/>
                </a:path>
              </a:pathLst>
            </a:custGeom>
            <a:solidFill>
              <a:schemeClr val="accent1"/>
            </a:solidFill>
            <a:ln w="9525" cap="flat" cmpd="sng">
              <a:solidFill>
                <a:schemeClr val="bg1"/>
              </a:solidFill>
              <a:prstDash val="solid"/>
              <a:round/>
              <a:headEnd type="none" w="med" len="med"/>
              <a:tailEnd type="none" w="med" len="med"/>
            </a:ln>
            <a:effectLst/>
            <a:extLst/>
          </p:spPr>
          <p:txBody>
            <a:bodyPr>
              <a:noAutofit/>
            </a:bodyPr>
            <a:lstStyle/>
            <a:p>
              <a:pPr fontAlgn="auto">
                <a:spcBef>
                  <a:spcPts val="0"/>
                </a:spcBef>
                <a:spcAft>
                  <a:spcPts val="0"/>
                </a:spcAft>
                <a:defRPr/>
              </a:pPr>
              <a:endParaRPr lang="en-CA" kern="0">
                <a:solidFill>
                  <a:sysClr val="windowText" lastClr="000000"/>
                </a:solidFill>
              </a:endParaRPr>
            </a:p>
          </p:txBody>
        </p:sp>
        <p:sp>
          <p:nvSpPr>
            <p:cNvPr id="417" name="Freeform 102"/>
            <p:cNvSpPr>
              <a:spLocks/>
            </p:cNvSpPr>
            <p:nvPr>
              <p:custDataLst>
                <p:tags r:id="rId91"/>
              </p:custDataLst>
            </p:nvPr>
          </p:nvSpPr>
          <p:spPr bwMode="gray">
            <a:xfrm>
              <a:off x="2460806" y="1736380"/>
              <a:ext cx="87407" cy="77010"/>
            </a:xfrm>
            <a:custGeom>
              <a:avLst/>
              <a:gdLst/>
              <a:ahLst/>
              <a:cxnLst/>
              <a:rect l="l" t="t" r="r" b="b"/>
              <a:pathLst>
                <a:path w="173435" h="158852">
                  <a:moveTo>
                    <a:pt x="161866" y="104174"/>
                  </a:moveTo>
                  <a:cubicBezTo>
                    <a:pt x="177799" y="106608"/>
                    <a:pt x="177890" y="118745"/>
                    <a:pt x="158299" y="114301"/>
                  </a:cubicBezTo>
                  <a:close/>
                  <a:moveTo>
                    <a:pt x="158299" y="103189"/>
                  </a:moveTo>
                  <a:cubicBezTo>
                    <a:pt x="161692" y="103189"/>
                    <a:pt x="162413" y="102751"/>
                    <a:pt x="161866" y="104174"/>
                  </a:cubicBezTo>
                  <a:close/>
                  <a:moveTo>
                    <a:pt x="51691" y="0"/>
                  </a:moveTo>
                  <a:cubicBezTo>
                    <a:pt x="61383" y="3175"/>
                    <a:pt x="74297" y="22223"/>
                    <a:pt x="74297" y="22223"/>
                  </a:cubicBezTo>
                  <a:cubicBezTo>
                    <a:pt x="71074" y="39684"/>
                    <a:pt x="59766" y="44446"/>
                    <a:pt x="64606" y="57145"/>
                  </a:cubicBezTo>
                  <a:cubicBezTo>
                    <a:pt x="56531" y="79368"/>
                    <a:pt x="51691" y="74605"/>
                    <a:pt x="67840" y="79368"/>
                  </a:cubicBezTo>
                  <a:lnTo>
                    <a:pt x="78619" y="73638"/>
                  </a:lnTo>
                  <a:cubicBezTo>
                    <a:pt x="82783" y="68355"/>
                    <a:pt x="73087" y="65081"/>
                    <a:pt x="103383" y="69843"/>
                  </a:cubicBezTo>
                  <a:cubicBezTo>
                    <a:pt x="109840" y="87320"/>
                    <a:pt x="100148" y="109543"/>
                    <a:pt x="96914" y="127004"/>
                  </a:cubicBezTo>
                  <a:cubicBezTo>
                    <a:pt x="72691" y="119067"/>
                    <a:pt x="82383" y="125417"/>
                    <a:pt x="67840" y="111131"/>
                  </a:cubicBezTo>
                  <a:cubicBezTo>
                    <a:pt x="59766" y="134941"/>
                    <a:pt x="67840" y="128591"/>
                    <a:pt x="45223" y="133353"/>
                  </a:cubicBezTo>
                  <a:cubicBezTo>
                    <a:pt x="42000" y="136528"/>
                    <a:pt x="32297" y="133353"/>
                    <a:pt x="30692" y="138115"/>
                  </a:cubicBezTo>
                  <a:cubicBezTo>
                    <a:pt x="27457" y="142877"/>
                    <a:pt x="37149" y="160338"/>
                    <a:pt x="32297" y="158751"/>
                  </a:cubicBezTo>
                  <a:cubicBezTo>
                    <a:pt x="12914" y="155576"/>
                    <a:pt x="9692" y="109543"/>
                    <a:pt x="9692" y="98432"/>
                  </a:cubicBezTo>
                  <a:lnTo>
                    <a:pt x="9692" y="123829"/>
                  </a:lnTo>
                  <a:cubicBezTo>
                    <a:pt x="8074" y="115893"/>
                    <a:pt x="8074" y="106368"/>
                    <a:pt x="6457" y="98432"/>
                  </a:cubicBezTo>
                  <a:cubicBezTo>
                    <a:pt x="4840" y="92082"/>
                    <a:pt x="0" y="79368"/>
                    <a:pt x="0" y="79368"/>
                  </a:cubicBezTo>
                  <a:cubicBezTo>
                    <a:pt x="3223" y="44446"/>
                    <a:pt x="-4852" y="36509"/>
                    <a:pt x="32297" y="31747"/>
                  </a:cubicBezTo>
                  <a:cubicBezTo>
                    <a:pt x="43606" y="20636"/>
                    <a:pt x="48457" y="14286"/>
                    <a:pt x="51691" y="0"/>
                  </a:cubicBezTo>
                  <a:close/>
                </a:path>
              </a:pathLst>
            </a:custGeom>
            <a:solidFill>
              <a:schemeClr val="accent1"/>
            </a:solidFill>
            <a:ln w="9525" cap="flat" cmpd="sng">
              <a:solidFill>
                <a:schemeClr val="bg1"/>
              </a:solidFill>
              <a:prstDash val="solid"/>
              <a:round/>
              <a:headEnd type="none" w="med" len="med"/>
              <a:tailEnd type="none" w="med" len="med"/>
            </a:ln>
            <a:effectLst/>
            <a:extLst/>
          </p:spPr>
          <p:txBody>
            <a:bodyPr>
              <a:noAutofit/>
            </a:bodyPr>
            <a:lstStyle/>
            <a:p>
              <a:pPr fontAlgn="auto">
                <a:spcBef>
                  <a:spcPts val="0"/>
                </a:spcBef>
                <a:spcAft>
                  <a:spcPts val="0"/>
                </a:spcAft>
                <a:defRPr/>
              </a:pPr>
              <a:endParaRPr lang="en-CA" kern="0">
                <a:solidFill>
                  <a:sysClr val="windowText" lastClr="000000"/>
                </a:solidFill>
              </a:endParaRPr>
            </a:p>
          </p:txBody>
        </p:sp>
        <p:sp>
          <p:nvSpPr>
            <p:cNvPr id="418" name="Freeform 105"/>
            <p:cNvSpPr>
              <a:spLocks/>
            </p:cNvSpPr>
            <p:nvPr>
              <p:custDataLst>
                <p:tags r:id="rId92"/>
              </p:custDataLst>
            </p:nvPr>
          </p:nvSpPr>
          <p:spPr bwMode="gray">
            <a:xfrm>
              <a:off x="3095204" y="2065001"/>
              <a:ext cx="133610" cy="129293"/>
            </a:xfrm>
            <a:custGeom>
              <a:avLst/>
              <a:gdLst>
                <a:gd name="T0" fmla="*/ 165 w 165"/>
                <a:gd name="T1" fmla="*/ 37 h 168"/>
                <a:gd name="T2" fmla="*/ 159 w 165"/>
                <a:gd name="T3" fmla="*/ 45 h 168"/>
                <a:gd name="T4" fmla="*/ 159 w 165"/>
                <a:gd name="T5" fmla="*/ 70 h 168"/>
                <a:gd name="T6" fmla="*/ 159 w 165"/>
                <a:gd name="T7" fmla="*/ 81 h 168"/>
                <a:gd name="T8" fmla="*/ 147 w 165"/>
                <a:gd name="T9" fmla="*/ 85 h 168"/>
                <a:gd name="T10" fmla="*/ 133 w 165"/>
                <a:gd name="T11" fmla="*/ 85 h 168"/>
                <a:gd name="T12" fmla="*/ 144 w 165"/>
                <a:gd name="T13" fmla="*/ 96 h 168"/>
                <a:gd name="T14" fmla="*/ 132 w 165"/>
                <a:gd name="T15" fmla="*/ 103 h 168"/>
                <a:gd name="T16" fmla="*/ 130 w 165"/>
                <a:gd name="T17" fmla="*/ 123 h 168"/>
                <a:gd name="T18" fmla="*/ 112 w 165"/>
                <a:gd name="T19" fmla="*/ 127 h 168"/>
                <a:gd name="T20" fmla="*/ 84 w 165"/>
                <a:gd name="T21" fmla="*/ 138 h 168"/>
                <a:gd name="T22" fmla="*/ 84 w 165"/>
                <a:gd name="T23" fmla="*/ 157 h 168"/>
                <a:gd name="T24" fmla="*/ 70 w 165"/>
                <a:gd name="T25" fmla="*/ 163 h 168"/>
                <a:gd name="T26" fmla="*/ 58 w 165"/>
                <a:gd name="T27" fmla="*/ 160 h 168"/>
                <a:gd name="T28" fmla="*/ 48 w 165"/>
                <a:gd name="T29" fmla="*/ 166 h 168"/>
                <a:gd name="T30" fmla="*/ 7 w 165"/>
                <a:gd name="T31" fmla="*/ 165 h 168"/>
                <a:gd name="T32" fmla="*/ 14 w 165"/>
                <a:gd name="T33" fmla="*/ 149 h 168"/>
                <a:gd name="T34" fmla="*/ 10 w 165"/>
                <a:gd name="T35" fmla="*/ 134 h 168"/>
                <a:gd name="T36" fmla="*/ 10 w 165"/>
                <a:gd name="T37" fmla="*/ 127 h 168"/>
                <a:gd name="T38" fmla="*/ 0 w 165"/>
                <a:gd name="T39" fmla="*/ 120 h 168"/>
                <a:gd name="T40" fmla="*/ 7 w 165"/>
                <a:gd name="T41" fmla="*/ 88 h 168"/>
                <a:gd name="T42" fmla="*/ 10 w 165"/>
                <a:gd name="T43" fmla="*/ 79 h 168"/>
                <a:gd name="T44" fmla="*/ 10 w 165"/>
                <a:gd name="T45" fmla="*/ 73 h 168"/>
                <a:gd name="T46" fmla="*/ 9 w 165"/>
                <a:gd name="T47" fmla="*/ 58 h 168"/>
                <a:gd name="T48" fmla="*/ 25 w 165"/>
                <a:gd name="T49" fmla="*/ 61 h 168"/>
                <a:gd name="T50" fmla="*/ 35 w 165"/>
                <a:gd name="T51" fmla="*/ 67 h 168"/>
                <a:gd name="T52" fmla="*/ 46 w 165"/>
                <a:gd name="T53" fmla="*/ 55 h 168"/>
                <a:gd name="T54" fmla="*/ 58 w 165"/>
                <a:gd name="T55" fmla="*/ 50 h 168"/>
                <a:gd name="T56" fmla="*/ 67 w 165"/>
                <a:gd name="T57" fmla="*/ 28 h 168"/>
                <a:gd name="T58" fmla="*/ 79 w 165"/>
                <a:gd name="T59" fmla="*/ 21 h 168"/>
                <a:gd name="T60" fmla="*/ 94 w 165"/>
                <a:gd name="T61" fmla="*/ 32 h 168"/>
                <a:gd name="T62" fmla="*/ 112 w 165"/>
                <a:gd name="T63" fmla="*/ 28 h 168"/>
                <a:gd name="T64" fmla="*/ 136 w 165"/>
                <a:gd name="T65" fmla="*/ 28 h 168"/>
                <a:gd name="T66" fmla="*/ 149 w 165"/>
                <a:gd name="T67" fmla="*/ 16 h 168"/>
                <a:gd name="T68" fmla="*/ 153 w 165"/>
                <a:gd name="T69" fmla="*/ 1 h 168"/>
                <a:gd name="T70" fmla="*/ 162 w 165"/>
                <a:gd name="T71" fmla="*/ 9 h 168"/>
                <a:gd name="T72" fmla="*/ 165 w 165"/>
                <a:gd name="T73" fmla="*/ 37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5" h="168">
                  <a:moveTo>
                    <a:pt x="165" y="37"/>
                  </a:moveTo>
                  <a:cubicBezTo>
                    <a:pt x="165" y="43"/>
                    <a:pt x="160" y="40"/>
                    <a:pt x="159" y="45"/>
                  </a:cubicBezTo>
                  <a:cubicBezTo>
                    <a:pt x="158" y="50"/>
                    <a:pt x="159" y="64"/>
                    <a:pt x="159" y="70"/>
                  </a:cubicBezTo>
                  <a:cubicBezTo>
                    <a:pt x="159" y="76"/>
                    <a:pt x="161" y="78"/>
                    <a:pt x="159" y="81"/>
                  </a:cubicBezTo>
                  <a:cubicBezTo>
                    <a:pt x="157" y="84"/>
                    <a:pt x="151" y="84"/>
                    <a:pt x="147" y="85"/>
                  </a:cubicBezTo>
                  <a:cubicBezTo>
                    <a:pt x="143" y="86"/>
                    <a:pt x="133" y="83"/>
                    <a:pt x="133" y="85"/>
                  </a:cubicBezTo>
                  <a:cubicBezTo>
                    <a:pt x="133" y="87"/>
                    <a:pt x="144" y="93"/>
                    <a:pt x="144" y="96"/>
                  </a:cubicBezTo>
                  <a:cubicBezTo>
                    <a:pt x="144" y="99"/>
                    <a:pt x="134" y="99"/>
                    <a:pt x="132" y="103"/>
                  </a:cubicBezTo>
                  <a:cubicBezTo>
                    <a:pt x="130" y="107"/>
                    <a:pt x="133" y="119"/>
                    <a:pt x="130" y="123"/>
                  </a:cubicBezTo>
                  <a:cubicBezTo>
                    <a:pt x="127" y="127"/>
                    <a:pt x="120" y="124"/>
                    <a:pt x="112" y="127"/>
                  </a:cubicBezTo>
                  <a:cubicBezTo>
                    <a:pt x="104" y="130"/>
                    <a:pt x="89" y="133"/>
                    <a:pt x="84" y="138"/>
                  </a:cubicBezTo>
                  <a:cubicBezTo>
                    <a:pt x="79" y="143"/>
                    <a:pt x="86" y="153"/>
                    <a:pt x="84" y="157"/>
                  </a:cubicBezTo>
                  <a:cubicBezTo>
                    <a:pt x="82" y="161"/>
                    <a:pt x="74" y="163"/>
                    <a:pt x="70" y="163"/>
                  </a:cubicBezTo>
                  <a:cubicBezTo>
                    <a:pt x="66" y="163"/>
                    <a:pt x="62" y="159"/>
                    <a:pt x="58" y="160"/>
                  </a:cubicBezTo>
                  <a:cubicBezTo>
                    <a:pt x="54" y="161"/>
                    <a:pt x="56" y="165"/>
                    <a:pt x="48" y="166"/>
                  </a:cubicBezTo>
                  <a:cubicBezTo>
                    <a:pt x="40" y="167"/>
                    <a:pt x="13" y="168"/>
                    <a:pt x="7" y="165"/>
                  </a:cubicBezTo>
                  <a:cubicBezTo>
                    <a:pt x="1" y="162"/>
                    <a:pt x="14" y="154"/>
                    <a:pt x="14" y="149"/>
                  </a:cubicBezTo>
                  <a:cubicBezTo>
                    <a:pt x="14" y="144"/>
                    <a:pt x="11" y="138"/>
                    <a:pt x="10" y="134"/>
                  </a:cubicBezTo>
                  <a:cubicBezTo>
                    <a:pt x="9" y="130"/>
                    <a:pt x="12" y="129"/>
                    <a:pt x="10" y="127"/>
                  </a:cubicBezTo>
                  <a:cubicBezTo>
                    <a:pt x="8" y="125"/>
                    <a:pt x="0" y="126"/>
                    <a:pt x="0" y="120"/>
                  </a:cubicBezTo>
                  <a:cubicBezTo>
                    <a:pt x="0" y="114"/>
                    <a:pt x="5" y="95"/>
                    <a:pt x="7" y="88"/>
                  </a:cubicBezTo>
                  <a:cubicBezTo>
                    <a:pt x="9" y="81"/>
                    <a:pt x="10" y="81"/>
                    <a:pt x="10" y="79"/>
                  </a:cubicBezTo>
                  <a:cubicBezTo>
                    <a:pt x="10" y="77"/>
                    <a:pt x="10" y="76"/>
                    <a:pt x="10" y="73"/>
                  </a:cubicBezTo>
                  <a:cubicBezTo>
                    <a:pt x="10" y="70"/>
                    <a:pt x="6" y="60"/>
                    <a:pt x="9" y="58"/>
                  </a:cubicBezTo>
                  <a:cubicBezTo>
                    <a:pt x="12" y="56"/>
                    <a:pt x="21" y="60"/>
                    <a:pt x="25" y="61"/>
                  </a:cubicBezTo>
                  <a:cubicBezTo>
                    <a:pt x="29" y="62"/>
                    <a:pt x="32" y="68"/>
                    <a:pt x="35" y="67"/>
                  </a:cubicBezTo>
                  <a:cubicBezTo>
                    <a:pt x="38" y="66"/>
                    <a:pt x="42" y="58"/>
                    <a:pt x="46" y="55"/>
                  </a:cubicBezTo>
                  <a:cubicBezTo>
                    <a:pt x="50" y="52"/>
                    <a:pt x="55" y="54"/>
                    <a:pt x="58" y="50"/>
                  </a:cubicBezTo>
                  <a:cubicBezTo>
                    <a:pt x="61" y="46"/>
                    <a:pt x="64" y="33"/>
                    <a:pt x="67" y="28"/>
                  </a:cubicBezTo>
                  <a:cubicBezTo>
                    <a:pt x="70" y="23"/>
                    <a:pt x="75" y="20"/>
                    <a:pt x="79" y="21"/>
                  </a:cubicBezTo>
                  <a:cubicBezTo>
                    <a:pt x="83" y="22"/>
                    <a:pt x="89" y="31"/>
                    <a:pt x="94" y="32"/>
                  </a:cubicBezTo>
                  <a:cubicBezTo>
                    <a:pt x="99" y="33"/>
                    <a:pt x="105" y="29"/>
                    <a:pt x="112" y="28"/>
                  </a:cubicBezTo>
                  <a:cubicBezTo>
                    <a:pt x="119" y="27"/>
                    <a:pt x="130" y="30"/>
                    <a:pt x="136" y="28"/>
                  </a:cubicBezTo>
                  <a:cubicBezTo>
                    <a:pt x="142" y="26"/>
                    <a:pt x="146" y="20"/>
                    <a:pt x="149" y="16"/>
                  </a:cubicBezTo>
                  <a:cubicBezTo>
                    <a:pt x="152" y="12"/>
                    <a:pt x="151" y="2"/>
                    <a:pt x="153" y="1"/>
                  </a:cubicBezTo>
                  <a:cubicBezTo>
                    <a:pt x="155" y="0"/>
                    <a:pt x="161" y="3"/>
                    <a:pt x="162" y="9"/>
                  </a:cubicBezTo>
                  <a:cubicBezTo>
                    <a:pt x="163" y="15"/>
                    <a:pt x="165" y="31"/>
                    <a:pt x="165" y="37"/>
                  </a:cubicBezTo>
                  <a:close/>
                </a:path>
              </a:pathLst>
            </a:custGeom>
            <a:solidFill>
              <a:schemeClr val="bg1">
                <a:lumMod val="85000"/>
              </a:schemeClr>
            </a:solidFill>
            <a:ln w="9525" cap="flat" cmpd="sng">
              <a:solidFill>
                <a:schemeClr val="bg1"/>
              </a:solidFill>
              <a:prstDash val="solid"/>
              <a:round/>
              <a:headEnd type="none" w="med" len="med"/>
              <a:tailEnd type="none" w="med" len="med"/>
            </a:ln>
            <a:effectLst/>
            <a:extLst/>
          </p:spPr>
          <p:txBody>
            <a:bodyPr>
              <a:noAutofit/>
            </a:bodyPr>
            <a:lstStyle/>
            <a:p>
              <a:pPr fontAlgn="auto">
                <a:spcBef>
                  <a:spcPts val="0"/>
                </a:spcBef>
                <a:spcAft>
                  <a:spcPts val="0"/>
                </a:spcAft>
                <a:defRPr/>
              </a:pPr>
              <a:endParaRPr lang="en-CA" kern="0">
                <a:solidFill>
                  <a:sysClr val="windowText" lastClr="000000"/>
                </a:solidFill>
              </a:endParaRPr>
            </a:p>
          </p:txBody>
        </p:sp>
        <p:sp>
          <p:nvSpPr>
            <p:cNvPr id="419" name="Freeform 106"/>
            <p:cNvSpPr>
              <a:spLocks/>
            </p:cNvSpPr>
            <p:nvPr>
              <p:custDataLst>
                <p:tags r:id="rId93"/>
              </p:custDataLst>
            </p:nvPr>
          </p:nvSpPr>
          <p:spPr bwMode="gray">
            <a:xfrm>
              <a:off x="3104804" y="2090400"/>
              <a:ext cx="167211" cy="172391"/>
            </a:xfrm>
            <a:custGeom>
              <a:avLst/>
              <a:gdLst>
                <a:gd name="T0" fmla="*/ 3 w 206"/>
                <a:gd name="T1" fmla="*/ 133 h 224"/>
                <a:gd name="T2" fmla="*/ 6 w 206"/>
                <a:gd name="T3" fmla="*/ 145 h 224"/>
                <a:gd name="T4" fmla="*/ 19 w 206"/>
                <a:gd name="T5" fmla="*/ 150 h 224"/>
                <a:gd name="T6" fmla="*/ 25 w 206"/>
                <a:gd name="T7" fmla="*/ 165 h 224"/>
                <a:gd name="T8" fmla="*/ 28 w 206"/>
                <a:gd name="T9" fmla="*/ 177 h 224"/>
                <a:gd name="T10" fmla="*/ 16 w 206"/>
                <a:gd name="T11" fmla="*/ 178 h 224"/>
                <a:gd name="T12" fmla="*/ 7 w 206"/>
                <a:gd name="T13" fmla="*/ 188 h 224"/>
                <a:gd name="T14" fmla="*/ 7 w 206"/>
                <a:gd name="T15" fmla="*/ 202 h 224"/>
                <a:gd name="T16" fmla="*/ 25 w 206"/>
                <a:gd name="T17" fmla="*/ 199 h 224"/>
                <a:gd name="T18" fmla="*/ 37 w 206"/>
                <a:gd name="T19" fmla="*/ 196 h 224"/>
                <a:gd name="T20" fmla="*/ 55 w 206"/>
                <a:gd name="T21" fmla="*/ 201 h 224"/>
                <a:gd name="T22" fmla="*/ 64 w 206"/>
                <a:gd name="T23" fmla="*/ 190 h 224"/>
                <a:gd name="T24" fmla="*/ 75 w 206"/>
                <a:gd name="T25" fmla="*/ 199 h 224"/>
                <a:gd name="T26" fmla="*/ 88 w 206"/>
                <a:gd name="T27" fmla="*/ 208 h 224"/>
                <a:gd name="T28" fmla="*/ 94 w 206"/>
                <a:gd name="T29" fmla="*/ 222 h 224"/>
                <a:gd name="T30" fmla="*/ 108 w 206"/>
                <a:gd name="T31" fmla="*/ 219 h 224"/>
                <a:gd name="T32" fmla="*/ 143 w 206"/>
                <a:gd name="T33" fmla="*/ 218 h 224"/>
                <a:gd name="T34" fmla="*/ 149 w 206"/>
                <a:gd name="T35" fmla="*/ 206 h 224"/>
                <a:gd name="T36" fmla="*/ 130 w 206"/>
                <a:gd name="T37" fmla="*/ 180 h 224"/>
                <a:gd name="T38" fmla="*/ 123 w 206"/>
                <a:gd name="T39" fmla="*/ 166 h 224"/>
                <a:gd name="T40" fmla="*/ 135 w 206"/>
                <a:gd name="T41" fmla="*/ 161 h 224"/>
                <a:gd name="T42" fmla="*/ 165 w 206"/>
                <a:gd name="T43" fmla="*/ 164 h 224"/>
                <a:gd name="T44" fmla="*/ 165 w 206"/>
                <a:gd name="T45" fmla="*/ 143 h 224"/>
                <a:gd name="T46" fmla="*/ 180 w 206"/>
                <a:gd name="T47" fmla="*/ 130 h 224"/>
                <a:gd name="T48" fmla="*/ 202 w 206"/>
                <a:gd name="T49" fmla="*/ 100 h 224"/>
                <a:gd name="T50" fmla="*/ 204 w 206"/>
                <a:gd name="T51" fmla="*/ 78 h 224"/>
                <a:gd name="T52" fmla="*/ 187 w 206"/>
                <a:gd name="T53" fmla="*/ 66 h 224"/>
                <a:gd name="T54" fmla="*/ 181 w 206"/>
                <a:gd name="T55" fmla="*/ 57 h 224"/>
                <a:gd name="T56" fmla="*/ 180 w 206"/>
                <a:gd name="T57" fmla="*/ 45 h 224"/>
                <a:gd name="T58" fmla="*/ 186 w 206"/>
                <a:gd name="T59" fmla="*/ 30 h 224"/>
                <a:gd name="T60" fmla="*/ 168 w 206"/>
                <a:gd name="T61" fmla="*/ 15 h 224"/>
                <a:gd name="T62" fmla="*/ 165 w 206"/>
                <a:gd name="T63" fmla="*/ 0 h 224"/>
                <a:gd name="T64" fmla="*/ 145 w 206"/>
                <a:gd name="T65" fmla="*/ 16 h 224"/>
                <a:gd name="T66" fmla="*/ 147 w 206"/>
                <a:gd name="T67" fmla="*/ 30 h 224"/>
                <a:gd name="T68" fmla="*/ 147 w 206"/>
                <a:gd name="T69" fmla="*/ 49 h 224"/>
                <a:gd name="T70" fmla="*/ 135 w 206"/>
                <a:gd name="T71" fmla="*/ 51 h 224"/>
                <a:gd name="T72" fmla="*/ 131 w 206"/>
                <a:gd name="T73" fmla="*/ 58 h 224"/>
                <a:gd name="T74" fmla="*/ 121 w 206"/>
                <a:gd name="T75" fmla="*/ 67 h 224"/>
                <a:gd name="T76" fmla="*/ 117 w 206"/>
                <a:gd name="T77" fmla="*/ 88 h 224"/>
                <a:gd name="T78" fmla="*/ 97 w 206"/>
                <a:gd name="T79" fmla="*/ 96 h 224"/>
                <a:gd name="T80" fmla="*/ 76 w 206"/>
                <a:gd name="T81" fmla="*/ 100 h 224"/>
                <a:gd name="T82" fmla="*/ 72 w 206"/>
                <a:gd name="T83" fmla="*/ 117 h 224"/>
                <a:gd name="T84" fmla="*/ 69 w 206"/>
                <a:gd name="T85" fmla="*/ 129 h 224"/>
                <a:gd name="T86" fmla="*/ 58 w 206"/>
                <a:gd name="T87" fmla="*/ 130 h 224"/>
                <a:gd name="T88" fmla="*/ 48 w 206"/>
                <a:gd name="T89" fmla="*/ 129 h 224"/>
                <a:gd name="T90" fmla="*/ 27 w 206"/>
                <a:gd name="T91" fmla="*/ 133 h 224"/>
                <a:gd name="T92" fmla="*/ 3 w 206"/>
                <a:gd name="T93" fmla="*/ 133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06" h="224">
                  <a:moveTo>
                    <a:pt x="3" y="133"/>
                  </a:moveTo>
                  <a:cubicBezTo>
                    <a:pt x="0" y="135"/>
                    <a:pt x="3" y="142"/>
                    <a:pt x="6" y="145"/>
                  </a:cubicBezTo>
                  <a:cubicBezTo>
                    <a:pt x="9" y="148"/>
                    <a:pt x="16" y="147"/>
                    <a:pt x="19" y="150"/>
                  </a:cubicBezTo>
                  <a:cubicBezTo>
                    <a:pt x="22" y="153"/>
                    <a:pt x="24" y="161"/>
                    <a:pt x="25" y="165"/>
                  </a:cubicBezTo>
                  <a:cubicBezTo>
                    <a:pt x="26" y="169"/>
                    <a:pt x="29" y="175"/>
                    <a:pt x="28" y="177"/>
                  </a:cubicBezTo>
                  <a:cubicBezTo>
                    <a:pt x="27" y="179"/>
                    <a:pt x="19" y="176"/>
                    <a:pt x="16" y="178"/>
                  </a:cubicBezTo>
                  <a:cubicBezTo>
                    <a:pt x="13" y="180"/>
                    <a:pt x="8" y="184"/>
                    <a:pt x="7" y="188"/>
                  </a:cubicBezTo>
                  <a:cubicBezTo>
                    <a:pt x="6" y="192"/>
                    <a:pt x="4" y="200"/>
                    <a:pt x="7" y="202"/>
                  </a:cubicBezTo>
                  <a:cubicBezTo>
                    <a:pt x="10" y="204"/>
                    <a:pt x="20" y="200"/>
                    <a:pt x="25" y="199"/>
                  </a:cubicBezTo>
                  <a:cubicBezTo>
                    <a:pt x="30" y="198"/>
                    <a:pt x="32" y="196"/>
                    <a:pt x="37" y="196"/>
                  </a:cubicBezTo>
                  <a:cubicBezTo>
                    <a:pt x="42" y="196"/>
                    <a:pt x="51" y="202"/>
                    <a:pt x="55" y="201"/>
                  </a:cubicBezTo>
                  <a:cubicBezTo>
                    <a:pt x="59" y="200"/>
                    <a:pt x="61" y="190"/>
                    <a:pt x="64" y="190"/>
                  </a:cubicBezTo>
                  <a:cubicBezTo>
                    <a:pt x="67" y="190"/>
                    <a:pt x="71" y="196"/>
                    <a:pt x="75" y="199"/>
                  </a:cubicBezTo>
                  <a:cubicBezTo>
                    <a:pt x="79" y="202"/>
                    <a:pt x="85" y="204"/>
                    <a:pt x="88" y="208"/>
                  </a:cubicBezTo>
                  <a:cubicBezTo>
                    <a:pt x="91" y="212"/>
                    <a:pt x="91" y="220"/>
                    <a:pt x="94" y="222"/>
                  </a:cubicBezTo>
                  <a:cubicBezTo>
                    <a:pt x="97" y="224"/>
                    <a:pt x="100" y="220"/>
                    <a:pt x="108" y="219"/>
                  </a:cubicBezTo>
                  <a:cubicBezTo>
                    <a:pt x="116" y="218"/>
                    <a:pt x="136" y="220"/>
                    <a:pt x="143" y="218"/>
                  </a:cubicBezTo>
                  <a:cubicBezTo>
                    <a:pt x="150" y="216"/>
                    <a:pt x="151" y="212"/>
                    <a:pt x="149" y="206"/>
                  </a:cubicBezTo>
                  <a:cubicBezTo>
                    <a:pt x="147" y="200"/>
                    <a:pt x="134" y="187"/>
                    <a:pt x="130" y="180"/>
                  </a:cubicBezTo>
                  <a:cubicBezTo>
                    <a:pt x="126" y="173"/>
                    <a:pt x="122" y="169"/>
                    <a:pt x="123" y="166"/>
                  </a:cubicBezTo>
                  <a:cubicBezTo>
                    <a:pt x="124" y="163"/>
                    <a:pt x="128" y="161"/>
                    <a:pt x="135" y="161"/>
                  </a:cubicBezTo>
                  <a:cubicBezTo>
                    <a:pt x="142" y="161"/>
                    <a:pt x="160" y="167"/>
                    <a:pt x="165" y="164"/>
                  </a:cubicBezTo>
                  <a:cubicBezTo>
                    <a:pt x="170" y="161"/>
                    <a:pt x="163" y="149"/>
                    <a:pt x="165" y="143"/>
                  </a:cubicBezTo>
                  <a:cubicBezTo>
                    <a:pt x="167" y="137"/>
                    <a:pt x="174" y="137"/>
                    <a:pt x="180" y="130"/>
                  </a:cubicBezTo>
                  <a:cubicBezTo>
                    <a:pt x="186" y="123"/>
                    <a:pt x="198" y="109"/>
                    <a:pt x="202" y="100"/>
                  </a:cubicBezTo>
                  <a:cubicBezTo>
                    <a:pt x="206" y="91"/>
                    <a:pt x="206" y="84"/>
                    <a:pt x="204" y="78"/>
                  </a:cubicBezTo>
                  <a:cubicBezTo>
                    <a:pt x="202" y="72"/>
                    <a:pt x="191" y="69"/>
                    <a:pt x="187" y="66"/>
                  </a:cubicBezTo>
                  <a:cubicBezTo>
                    <a:pt x="183" y="63"/>
                    <a:pt x="182" y="60"/>
                    <a:pt x="181" y="57"/>
                  </a:cubicBezTo>
                  <a:cubicBezTo>
                    <a:pt x="180" y="54"/>
                    <a:pt x="179" y="49"/>
                    <a:pt x="180" y="45"/>
                  </a:cubicBezTo>
                  <a:cubicBezTo>
                    <a:pt x="181" y="41"/>
                    <a:pt x="188" y="35"/>
                    <a:pt x="186" y="30"/>
                  </a:cubicBezTo>
                  <a:cubicBezTo>
                    <a:pt x="184" y="25"/>
                    <a:pt x="171" y="20"/>
                    <a:pt x="168" y="15"/>
                  </a:cubicBezTo>
                  <a:cubicBezTo>
                    <a:pt x="165" y="10"/>
                    <a:pt x="169" y="0"/>
                    <a:pt x="165" y="0"/>
                  </a:cubicBezTo>
                  <a:cubicBezTo>
                    <a:pt x="161" y="0"/>
                    <a:pt x="148" y="11"/>
                    <a:pt x="145" y="16"/>
                  </a:cubicBezTo>
                  <a:cubicBezTo>
                    <a:pt x="142" y="21"/>
                    <a:pt x="147" y="25"/>
                    <a:pt x="147" y="30"/>
                  </a:cubicBezTo>
                  <a:cubicBezTo>
                    <a:pt x="147" y="35"/>
                    <a:pt x="149" y="46"/>
                    <a:pt x="147" y="49"/>
                  </a:cubicBezTo>
                  <a:cubicBezTo>
                    <a:pt x="145" y="52"/>
                    <a:pt x="138" y="50"/>
                    <a:pt x="135" y="51"/>
                  </a:cubicBezTo>
                  <a:cubicBezTo>
                    <a:pt x="132" y="52"/>
                    <a:pt x="133" y="55"/>
                    <a:pt x="131" y="58"/>
                  </a:cubicBezTo>
                  <a:cubicBezTo>
                    <a:pt x="129" y="61"/>
                    <a:pt x="123" y="62"/>
                    <a:pt x="121" y="67"/>
                  </a:cubicBezTo>
                  <a:cubicBezTo>
                    <a:pt x="119" y="72"/>
                    <a:pt x="121" y="83"/>
                    <a:pt x="117" y="88"/>
                  </a:cubicBezTo>
                  <a:cubicBezTo>
                    <a:pt x="113" y="93"/>
                    <a:pt x="104" y="94"/>
                    <a:pt x="97" y="96"/>
                  </a:cubicBezTo>
                  <a:cubicBezTo>
                    <a:pt x="90" y="98"/>
                    <a:pt x="80" y="97"/>
                    <a:pt x="76" y="100"/>
                  </a:cubicBezTo>
                  <a:cubicBezTo>
                    <a:pt x="72" y="103"/>
                    <a:pt x="73" y="112"/>
                    <a:pt x="72" y="117"/>
                  </a:cubicBezTo>
                  <a:cubicBezTo>
                    <a:pt x="71" y="122"/>
                    <a:pt x="71" y="127"/>
                    <a:pt x="69" y="129"/>
                  </a:cubicBezTo>
                  <a:cubicBezTo>
                    <a:pt x="67" y="131"/>
                    <a:pt x="61" y="130"/>
                    <a:pt x="58" y="130"/>
                  </a:cubicBezTo>
                  <a:cubicBezTo>
                    <a:pt x="55" y="130"/>
                    <a:pt x="53" y="129"/>
                    <a:pt x="48" y="129"/>
                  </a:cubicBezTo>
                  <a:cubicBezTo>
                    <a:pt x="43" y="129"/>
                    <a:pt x="33" y="132"/>
                    <a:pt x="27" y="133"/>
                  </a:cubicBezTo>
                  <a:cubicBezTo>
                    <a:pt x="21" y="134"/>
                    <a:pt x="6" y="131"/>
                    <a:pt x="3" y="133"/>
                  </a:cubicBezTo>
                  <a:close/>
                </a:path>
              </a:pathLst>
            </a:custGeom>
            <a:solidFill>
              <a:schemeClr val="accent1"/>
            </a:solidFill>
            <a:ln w="9525" cap="flat" cmpd="sng">
              <a:solidFill>
                <a:schemeClr val="bg1"/>
              </a:solidFill>
              <a:prstDash val="solid"/>
              <a:round/>
              <a:headEnd type="none" w="med" len="med"/>
              <a:tailEnd type="none" w="med" len="med"/>
            </a:ln>
            <a:effectLst/>
            <a:extLst/>
          </p:spPr>
          <p:txBody>
            <a:bodyPr>
              <a:noAutofit/>
            </a:bodyPr>
            <a:lstStyle/>
            <a:p>
              <a:pPr fontAlgn="auto">
                <a:spcBef>
                  <a:spcPts val="0"/>
                </a:spcBef>
                <a:spcAft>
                  <a:spcPts val="0"/>
                </a:spcAft>
                <a:defRPr/>
              </a:pPr>
              <a:endParaRPr lang="en-CA" kern="0">
                <a:solidFill>
                  <a:sysClr val="windowText" lastClr="000000"/>
                </a:solidFill>
              </a:endParaRPr>
            </a:p>
          </p:txBody>
        </p:sp>
        <p:sp>
          <p:nvSpPr>
            <p:cNvPr id="420" name="Freeform 107"/>
            <p:cNvSpPr>
              <a:spLocks/>
            </p:cNvSpPr>
            <p:nvPr>
              <p:custDataLst>
                <p:tags r:id="rId94"/>
              </p:custDataLst>
            </p:nvPr>
          </p:nvSpPr>
          <p:spPr bwMode="gray">
            <a:xfrm>
              <a:off x="2490363" y="1901846"/>
              <a:ext cx="80807" cy="46946"/>
            </a:xfrm>
            <a:custGeom>
              <a:avLst/>
              <a:gdLst>
                <a:gd name="T0" fmla="*/ 12 w 100"/>
                <a:gd name="T1" fmla="*/ 37 h 61"/>
                <a:gd name="T2" fmla="*/ 20 w 100"/>
                <a:gd name="T3" fmla="*/ 31 h 61"/>
                <a:gd name="T4" fmla="*/ 30 w 100"/>
                <a:gd name="T5" fmla="*/ 29 h 61"/>
                <a:gd name="T6" fmla="*/ 49 w 100"/>
                <a:gd name="T7" fmla="*/ 7 h 61"/>
                <a:gd name="T8" fmla="*/ 73 w 100"/>
                <a:gd name="T9" fmla="*/ 0 h 61"/>
                <a:gd name="T10" fmla="*/ 92 w 100"/>
                <a:gd name="T11" fmla="*/ 6 h 61"/>
                <a:gd name="T12" fmla="*/ 98 w 100"/>
                <a:gd name="T13" fmla="*/ 21 h 61"/>
                <a:gd name="T14" fmla="*/ 97 w 100"/>
                <a:gd name="T15" fmla="*/ 33 h 61"/>
                <a:gd name="T16" fmla="*/ 91 w 100"/>
                <a:gd name="T17" fmla="*/ 34 h 61"/>
                <a:gd name="T18" fmla="*/ 71 w 100"/>
                <a:gd name="T19" fmla="*/ 52 h 61"/>
                <a:gd name="T20" fmla="*/ 61 w 100"/>
                <a:gd name="T21" fmla="*/ 60 h 61"/>
                <a:gd name="T22" fmla="*/ 34 w 100"/>
                <a:gd name="T23" fmla="*/ 51 h 61"/>
                <a:gd name="T24" fmla="*/ 16 w 100"/>
                <a:gd name="T25" fmla="*/ 51 h 61"/>
                <a:gd name="T26" fmla="*/ 7 w 100"/>
                <a:gd name="T27" fmla="*/ 51 h 61"/>
                <a:gd name="T28" fmla="*/ 2 w 100"/>
                <a:gd name="T29" fmla="*/ 49 h 61"/>
                <a:gd name="T30" fmla="*/ 12 w 100"/>
                <a:gd name="T31" fmla="*/ 37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0" h="61">
                  <a:moveTo>
                    <a:pt x="12" y="37"/>
                  </a:moveTo>
                  <a:cubicBezTo>
                    <a:pt x="10" y="34"/>
                    <a:pt x="17" y="32"/>
                    <a:pt x="20" y="31"/>
                  </a:cubicBezTo>
                  <a:cubicBezTo>
                    <a:pt x="23" y="30"/>
                    <a:pt x="25" y="33"/>
                    <a:pt x="30" y="29"/>
                  </a:cubicBezTo>
                  <a:cubicBezTo>
                    <a:pt x="35" y="25"/>
                    <a:pt x="42" y="12"/>
                    <a:pt x="49" y="7"/>
                  </a:cubicBezTo>
                  <a:cubicBezTo>
                    <a:pt x="55" y="2"/>
                    <a:pt x="65" y="2"/>
                    <a:pt x="73" y="0"/>
                  </a:cubicBezTo>
                  <a:cubicBezTo>
                    <a:pt x="80" y="1"/>
                    <a:pt x="85" y="4"/>
                    <a:pt x="92" y="6"/>
                  </a:cubicBezTo>
                  <a:cubicBezTo>
                    <a:pt x="95" y="11"/>
                    <a:pt x="95" y="16"/>
                    <a:pt x="98" y="21"/>
                  </a:cubicBezTo>
                  <a:cubicBezTo>
                    <a:pt x="98" y="25"/>
                    <a:pt x="99" y="29"/>
                    <a:pt x="97" y="33"/>
                  </a:cubicBezTo>
                  <a:cubicBezTo>
                    <a:pt x="96" y="35"/>
                    <a:pt x="92" y="32"/>
                    <a:pt x="91" y="34"/>
                  </a:cubicBezTo>
                  <a:cubicBezTo>
                    <a:pt x="80" y="50"/>
                    <a:pt x="100" y="49"/>
                    <a:pt x="71" y="52"/>
                  </a:cubicBezTo>
                  <a:cubicBezTo>
                    <a:pt x="70" y="59"/>
                    <a:pt x="67" y="57"/>
                    <a:pt x="61" y="60"/>
                  </a:cubicBezTo>
                  <a:cubicBezTo>
                    <a:pt x="53" y="61"/>
                    <a:pt x="44" y="52"/>
                    <a:pt x="34" y="51"/>
                  </a:cubicBezTo>
                  <a:cubicBezTo>
                    <a:pt x="27" y="50"/>
                    <a:pt x="20" y="51"/>
                    <a:pt x="16" y="51"/>
                  </a:cubicBezTo>
                  <a:cubicBezTo>
                    <a:pt x="12" y="51"/>
                    <a:pt x="9" y="51"/>
                    <a:pt x="7" y="51"/>
                  </a:cubicBezTo>
                  <a:cubicBezTo>
                    <a:pt x="7" y="47"/>
                    <a:pt x="0" y="53"/>
                    <a:pt x="2" y="49"/>
                  </a:cubicBezTo>
                  <a:cubicBezTo>
                    <a:pt x="4" y="45"/>
                    <a:pt x="12" y="44"/>
                    <a:pt x="12" y="37"/>
                  </a:cubicBezTo>
                  <a:close/>
                </a:path>
              </a:pathLst>
            </a:custGeom>
            <a:solidFill>
              <a:schemeClr val="accent1"/>
            </a:solidFill>
            <a:ln w="9525" cap="flat" cmpd="sng">
              <a:solidFill>
                <a:schemeClr val="bg1"/>
              </a:solidFill>
              <a:prstDash val="solid"/>
              <a:round/>
              <a:headEnd type="none" w="med" len="med"/>
              <a:tailEnd type="none" w="med" len="med"/>
            </a:ln>
            <a:effectLst/>
            <a:extLst/>
          </p:spPr>
          <p:txBody>
            <a:bodyPr>
              <a:noAutofit/>
            </a:bodyPr>
            <a:lstStyle/>
            <a:p>
              <a:pPr fontAlgn="auto">
                <a:spcBef>
                  <a:spcPts val="0"/>
                </a:spcBef>
                <a:spcAft>
                  <a:spcPts val="0"/>
                </a:spcAft>
                <a:defRPr/>
              </a:pPr>
              <a:endParaRPr lang="en-CA" kern="0">
                <a:solidFill>
                  <a:sysClr val="windowText" lastClr="000000"/>
                </a:solidFill>
              </a:endParaRPr>
            </a:p>
          </p:txBody>
        </p:sp>
        <p:sp>
          <p:nvSpPr>
            <p:cNvPr id="421" name="Freeform 108"/>
            <p:cNvSpPr>
              <a:spLocks/>
            </p:cNvSpPr>
            <p:nvPr>
              <p:custDataLst>
                <p:tags r:id="rId95"/>
              </p:custDataLst>
            </p:nvPr>
          </p:nvSpPr>
          <p:spPr bwMode="gray">
            <a:xfrm>
              <a:off x="2521567" y="1939557"/>
              <a:ext cx="40002" cy="23858"/>
            </a:xfrm>
            <a:custGeom>
              <a:avLst/>
              <a:gdLst>
                <a:gd name="T0" fmla="*/ 46 w 49"/>
                <a:gd name="T1" fmla="*/ 2 h 31"/>
                <a:gd name="T2" fmla="*/ 25 w 49"/>
                <a:gd name="T3" fmla="*/ 12 h 31"/>
                <a:gd name="T4" fmla="*/ 2 w 49"/>
                <a:gd name="T5" fmla="*/ 9 h 31"/>
                <a:gd name="T6" fmla="*/ 17 w 49"/>
                <a:gd name="T7" fmla="*/ 27 h 31"/>
                <a:gd name="T8" fmla="*/ 32 w 49"/>
                <a:gd name="T9" fmla="*/ 27 h 31"/>
                <a:gd name="T10" fmla="*/ 44 w 49"/>
                <a:gd name="T11" fmla="*/ 15 h 31"/>
                <a:gd name="T12" fmla="*/ 46 w 49"/>
                <a:gd name="T13" fmla="*/ 2 h 31"/>
              </a:gdLst>
              <a:ahLst/>
              <a:cxnLst>
                <a:cxn ang="0">
                  <a:pos x="T0" y="T1"/>
                </a:cxn>
                <a:cxn ang="0">
                  <a:pos x="T2" y="T3"/>
                </a:cxn>
                <a:cxn ang="0">
                  <a:pos x="T4" y="T5"/>
                </a:cxn>
                <a:cxn ang="0">
                  <a:pos x="T6" y="T7"/>
                </a:cxn>
                <a:cxn ang="0">
                  <a:pos x="T8" y="T9"/>
                </a:cxn>
                <a:cxn ang="0">
                  <a:pos x="T10" y="T11"/>
                </a:cxn>
                <a:cxn ang="0">
                  <a:pos x="T12" y="T13"/>
                </a:cxn>
              </a:cxnLst>
              <a:rect l="0" t="0" r="r" b="b"/>
              <a:pathLst>
                <a:path w="49" h="31">
                  <a:moveTo>
                    <a:pt x="46" y="2"/>
                  </a:moveTo>
                  <a:cubicBezTo>
                    <a:pt x="43" y="0"/>
                    <a:pt x="32" y="11"/>
                    <a:pt x="25" y="12"/>
                  </a:cubicBezTo>
                  <a:cubicBezTo>
                    <a:pt x="18" y="13"/>
                    <a:pt x="3" y="7"/>
                    <a:pt x="2" y="9"/>
                  </a:cubicBezTo>
                  <a:cubicBezTo>
                    <a:pt x="0" y="19"/>
                    <a:pt x="6" y="26"/>
                    <a:pt x="17" y="27"/>
                  </a:cubicBezTo>
                  <a:cubicBezTo>
                    <a:pt x="22" y="31"/>
                    <a:pt x="25" y="26"/>
                    <a:pt x="32" y="27"/>
                  </a:cubicBezTo>
                  <a:cubicBezTo>
                    <a:pt x="36" y="22"/>
                    <a:pt x="39" y="18"/>
                    <a:pt x="44" y="15"/>
                  </a:cubicBezTo>
                  <a:cubicBezTo>
                    <a:pt x="49" y="8"/>
                    <a:pt x="44" y="16"/>
                    <a:pt x="46" y="2"/>
                  </a:cubicBezTo>
                  <a:close/>
                </a:path>
              </a:pathLst>
            </a:custGeom>
            <a:solidFill>
              <a:schemeClr val="bg1">
                <a:lumMod val="85000"/>
              </a:schemeClr>
            </a:solidFill>
            <a:ln w="9525" cap="flat" cmpd="sng">
              <a:solidFill>
                <a:schemeClr val="bg1"/>
              </a:solidFill>
              <a:prstDash val="solid"/>
              <a:round/>
              <a:headEnd type="none" w="med" len="med"/>
              <a:tailEnd type="none" w="med" len="med"/>
            </a:ln>
            <a:effectLst/>
            <a:extLst/>
          </p:spPr>
          <p:txBody>
            <a:bodyPr>
              <a:noAutofit/>
            </a:bodyPr>
            <a:lstStyle/>
            <a:p>
              <a:pPr fontAlgn="auto">
                <a:spcBef>
                  <a:spcPts val="0"/>
                </a:spcBef>
                <a:spcAft>
                  <a:spcPts val="0"/>
                </a:spcAft>
                <a:defRPr/>
              </a:pPr>
              <a:endParaRPr lang="en-CA" kern="0">
                <a:solidFill>
                  <a:sysClr val="windowText" lastClr="000000"/>
                </a:solidFill>
              </a:endParaRPr>
            </a:p>
          </p:txBody>
        </p:sp>
        <p:sp>
          <p:nvSpPr>
            <p:cNvPr id="422" name="Freeform 109"/>
            <p:cNvSpPr>
              <a:spLocks/>
            </p:cNvSpPr>
            <p:nvPr>
              <p:custDataLst>
                <p:tags r:id="rId96"/>
              </p:custDataLst>
            </p:nvPr>
          </p:nvSpPr>
          <p:spPr bwMode="gray">
            <a:xfrm>
              <a:off x="2779182" y="2126570"/>
              <a:ext cx="24802" cy="43097"/>
            </a:xfrm>
            <a:custGeom>
              <a:avLst/>
              <a:gdLst>
                <a:gd name="T0" fmla="*/ 29 w 30"/>
                <a:gd name="T1" fmla="*/ 0 h 56"/>
                <a:gd name="T2" fmla="*/ 15 w 30"/>
                <a:gd name="T3" fmla="*/ 15 h 56"/>
                <a:gd name="T4" fmla="*/ 3 w 30"/>
                <a:gd name="T5" fmla="*/ 35 h 56"/>
                <a:gd name="T6" fmla="*/ 2 w 30"/>
                <a:gd name="T7" fmla="*/ 56 h 56"/>
                <a:gd name="T8" fmla="*/ 20 w 30"/>
                <a:gd name="T9" fmla="*/ 30 h 56"/>
                <a:gd name="T10" fmla="*/ 29 w 30"/>
                <a:gd name="T11" fmla="*/ 17 h 56"/>
                <a:gd name="T12" fmla="*/ 29 w 30"/>
                <a:gd name="T13" fmla="*/ 0 h 56"/>
              </a:gdLst>
              <a:ahLst/>
              <a:cxnLst>
                <a:cxn ang="0">
                  <a:pos x="T0" y="T1"/>
                </a:cxn>
                <a:cxn ang="0">
                  <a:pos x="T2" y="T3"/>
                </a:cxn>
                <a:cxn ang="0">
                  <a:pos x="T4" y="T5"/>
                </a:cxn>
                <a:cxn ang="0">
                  <a:pos x="T6" y="T7"/>
                </a:cxn>
                <a:cxn ang="0">
                  <a:pos x="T8" y="T9"/>
                </a:cxn>
                <a:cxn ang="0">
                  <a:pos x="T10" y="T11"/>
                </a:cxn>
                <a:cxn ang="0">
                  <a:pos x="T12" y="T13"/>
                </a:cxn>
              </a:cxnLst>
              <a:rect l="0" t="0" r="r" b="b"/>
              <a:pathLst>
                <a:path w="30" h="56">
                  <a:moveTo>
                    <a:pt x="29" y="0"/>
                  </a:moveTo>
                  <a:cubicBezTo>
                    <a:pt x="17" y="3"/>
                    <a:pt x="20" y="6"/>
                    <a:pt x="15" y="15"/>
                  </a:cubicBezTo>
                  <a:cubicBezTo>
                    <a:pt x="13" y="24"/>
                    <a:pt x="12" y="32"/>
                    <a:pt x="3" y="35"/>
                  </a:cubicBezTo>
                  <a:cubicBezTo>
                    <a:pt x="1" y="45"/>
                    <a:pt x="0" y="44"/>
                    <a:pt x="2" y="56"/>
                  </a:cubicBezTo>
                  <a:cubicBezTo>
                    <a:pt x="17" y="52"/>
                    <a:pt x="8" y="37"/>
                    <a:pt x="20" y="30"/>
                  </a:cubicBezTo>
                  <a:cubicBezTo>
                    <a:pt x="23" y="26"/>
                    <a:pt x="26" y="21"/>
                    <a:pt x="29" y="17"/>
                  </a:cubicBezTo>
                  <a:cubicBezTo>
                    <a:pt x="30" y="11"/>
                    <a:pt x="29" y="6"/>
                    <a:pt x="29" y="0"/>
                  </a:cubicBezTo>
                  <a:close/>
                </a:path>
              </a:pathLst>
            </a:custGeom>
            <a:solidFill>
              <a:schemeClr val="bg1">
                <a:lumMod val="85000"/>
              </a:schemeClr>
            </a:solidFill>
            <a:ln w="9525" cap="flat" cmpd="sng">
              <a:solidFill>
                <a:schemeClr val="bg1"/>
              </a:solidFill>
              <a:prstDash val="solid"/>
              <a:round/>
              <a:headEnd type="none" w="med" len="med"/>
              <a:tailEnd type="none" w="med" len="med"/>
            </a:ln>
            <a:effectLst/>
            <a:extLst/>
          </p:spPr>
          <p:txBody>
            <a:bodyPr>
              <a:noAutofit/>
            </a:bodyPr>
            <a:lstStyle/>
            <a:p>
              <a:pPr fontAlgn="auto">
                <a:spcBef>
                  <a:spcPts val="0"/>
                </a:spcBef>
                <a:spcAft>
                  <a:spcPts val="0"/>
                </a:spcAft>
                <a:defRPr/>
              </a:pPr>
              <a:endParaRPr lang="en-CA" kern="0">
                <a:solidFill>
                  <a:sysClr val="windowText" lastClr="000000"/>
                </a:solidFill>
              </a:endParaRPr>
            </a:p>
          </p:txBody>
        </p:sp>
        <p:sp>
          <p:nvSpPr>
            <p:cNvPr id="423" name="Freeform 110"/>
            <p:cNvSpPr>
              <a:spLocks/>
            </p:cNvSpPr>
            <p:nvPr>
              <p:custDataLst>
                <p:tags r:id="rId97"/>
              </p:custDataLst>
            </p:nvPr>
          </p:nvSpPr>
          <p:spPr bwMode="gray">
            <a:xfrm>
              <a:off x="2771183" y="2163511"/>
              <a:ext cx="25602" cy="23858"/>
            </a:xfrm>
            <a:custGeom>
              <a:avLst/>
              <a:gdLst>
                <a:gd name="T0" fmla="*/ 22 w 31"/>
                <a:gd name="T1" fmla="*/ 0 h 31"/>
                <a:gd name="T2" fmla="*/ 12 w 31"/>
                <a:gd name="T3" fmla="*/ 29 h 31"/>
                <a:gd name="T4" fmla="*/ 15 w 31"/>
                <a:gd name="T5" fmla="*/ 2 h 31"/>
                <a:gd name="T6" fmla="*/ 22 w 31"/>
                <a:gd name="T7" fmla="*/ 0 h 31"/>
              </a:gdLst>
              <a:ahLst/>
              <a:cxnLst>
                <a:cxn ang="0">
                  <a:pos x="T0" y="T1"/>
                </a:cxn>
                <a:cxn ang="0">
                  <a:pos x="T2" y="T3"/>
                </a:cxn>
                <a:cxn ang="0">
                  <a:pos x="T4" y="T5"/>
                </a:cxn>
                <a:cxn ang="0">
                  <a:pos x="T6" y="T7"/>
                </a:cxn>
              </a:cxnLst>
              <a:rect l="0" t="0" r="r" b="b"/>
              <a:pathLst>
                <a:path w="31" h="31">
                  <a:moveTo>
                    <a:pt x="22" y="0"/>
                  </a:moveTo>
                  <a:cubicBezTo>
                    <a:pt x="24" y="18"/>
                    <a:pt x="31" y="31"/>
                    <a:pt x="12" y="29"/>
                  </a:cubicBezTo>
                  <a:cubicBezTo>
                    <a:pt x="7" y="20"/>
                    <a:pt x="0" y="4"/>
                    <a:pt x="15" y="2"/>
                  </a:cubicBezTo>
                  <a:cubicBezTo>
                    <a:pt x="23" y="3"/>
                    <a:pt x="22" y="5"/>
                    <a:pt x="22" y="0"/>
                  </a:cubicBezTo>
                  <a:close/>
                </a:path>
              </a:pathLst>
            </a:custGeom>
            <a:solidFill>
              <a:schemeClr val="accent1"/>
            </a:solidFill>
            <a:ln w="9525" cap="flat" cmpd="sng">
              <a:solidFill>
                <a:schemeClr val="bg1"/>
              </a:solidFill>
              <a:prstDash val="solid"/>
              <a:round/>
              <a:headEnd type="none" w="med" len="med"/>
              <a:tailEnd type="none" w="med" len="med"/>
            </a:ln>
            <a:effectLst/>
            <a:extLst/>
          </p:spPr>
          <p:txBody>
            <a:bodyPr>
              <a:noAutofit/>
            </a:bodyPr>
            <a:lstStyle/>
            <a:p>
              <a:pPr fontAlgn="auto">
                <a:spcBef>
                  <a:spcPts val="0"/>
                </a:spcBef>
                <a:spcAft>
                  <a:spcPts val="0"/>
                </a:spcAft>
                <a:defRPr/>
              </a:pPr>
              <a:endParaRPr lang="en-CA" kern="0">
                <a:solidFill>
                  <a:sysClr val="windowText" lastClr="000000"/>
                </a:solidFill>
              </a:endParaRPr>
            </a:p>
          </p:txBody>
        </p:sp>
        <p:sp>
          <p:nvSpPr>
            <p:cNvPr id="424" name="Freeform 111"/>
            <p:cNvSpPr>
              <a:spLocks/>
            </p:cNvSpPr>
            <p:nvPr>
              <p:custDataLst>
                <p:tags r:id="rId98"/>
              </p:custDataLst>
            </p:nvPr>
          </p:nvSpPr>
          <p:spPr bwMode="gray">
            <a:xfrm>
              <a:off x="2475162" y="2522145"/>
              <a:ext cx="32803" cy="16931"/>
            </a:xfrm>
            <a:custGeom>
              <a:avLst/>
              <a:gdLst>
                <a:gd name="T0" fmla="*/ 10 w 40"/>
                <a:gd name="T1" fmla="*/ 5 h 22"/>
                <a:gd name="T2" fmla="*/ 2 w 40"/>
                <a:gd name="T3" fmla="*/ 22 h 22"/>
                <a:gd name="T4" fmla="*/ 35 w 40"/>
                <a:gd name="T5" fmla="*/ 14 h 22"/>
                <a:gd name="T6" fmla="*/ 29 w 40"/>
                <a:gd name="T7" fmla="*/ 1 h 22"/>
                <a:gd name="T8" fmla="*/ 10 w 40"/>
                <a:gd name="T9" fmla="*/ 5 h 22"/>
              </a:gdLst>
              <a:ahLst/>
              <a:cxnLst>
                <a:cxn ang="0">
                  <a:pos x="T0" y="T1"/>
                </a:cxn>
                <a:cxn ang="0">
                  <a:pos x="T2" y="T3"/>
                </a:cxn>
                <a:cxn ang="0">
                  <a:pos x="T4" y="T5"/>
                </a:cxn>
                <a:cxn ang="0">
                  <a:pos x="T6" y="T7"/>
                </a:cxn>
                <a:cxn ang="0">
                  <a:pos x="T8" y="T9"/>
                </a:cxn>
              </a:cxnLst>
              <a:rect l="0" t="0" r="r" b="b"/>
              <a:pathLst>
                <a:path w="40" h="22">
                  <a:moveTo>
                    <a:pt x="10" y="5"/>
                  </a:moveTo>
                  <a:cubicBezTo>
                    <a:pt x="6" y="12"/>
                    <a:pt x="0" y="13"/>
                    <a:pt x="2" y="22"/>
                  </a:cubicBezTo>
                  <a:cubicBezTo>
                    <a:pt x="11" y="21"/>
                    <a:pt x="28" y="19"/>
                    <a:pt x="35" y="14"/>
                  </a:cubicBezTo>
                  <a:cubicBezTo>
                    <a:pt x="40" y="11"/>
                    <a:pt x="33" y="2"/>
                    <a:pt x="29" y="1"/>
                  </a:cubicBezTo>
                  <a:cubicBezTo>
                    <a:pt x="25" y="0"/>
                    <a:pt x="14" y="4"/>
                    <a:pt x="10" y="5"/>
                  </a:cubicBezTo>
                  <a:close/>
                </a:path>
              </a:pathLst>
            </a:custGeom>
            <a:solidFill>
              <a:schemeClr val="bg1">
                <a:lumMod val="85000"/>
              </a:schemeClr>
            </a:solidFill>
            <a:ln w="9525" cap="flat" cmpd="sng">
              <a:solidFill>
                <a:schemeClr val="bg1"/>
              </a:solidFill>
              <a:prstDash val="solid"/>
              <a:round/>
              <a:headEnd type="none" w="med" len="med"/>
              <a:tailEnd type="none" w="med" len="med"/>
            </a:ln>
            <a:effectLst/>
            <a:extLst/>
          </p:spPr>
          <p:txBody>
            <a:bodyPr>
              <a:noAutofit/>
            </a:bodyPr>
            <a:lstStyle/>
            <a:p>
              <a:pPr fontAlgn="auto">
                <a:spcBef>
                  <a:spcPts val="0"/>
                </a:spcBef>
                <a:spcAft>
                  <a:spcPts val="0"/>
                </a:spcAft>
                <a:defRPr/>
              </a:pPr>
              <a:endParaRPr lang="en-CA" kern="0">
                <a:solidFill>
                  <a:sysClr val="windowText" lastClr="000000"/>
                </a:solidFill>
              </a:endParaRPr>
            </a:p>
          </p:txBody>
        </p:sp>
        <p:sp>
          <p:nvSpPr>
            <p:cNvPr id="425" name="Freeform 112"/>
            <p:cNvSpPr>
              <a:spLocks/>
            </p:cNvSpPr>
            <p:nvPr>
              <p:custDataLst>
                <p:tags r:id="rId99"/>
              </p:custDataLst>
            </p:nvPr>
          </p:nvSpPr>
          <p:spPr bwMode="gray">
            <a:xfrm>
              <a:off x="2615971" y="1409300"/>
              <a:ext cx="128808" cy="275517"/>
            </a:xfrm>
            <a:custGeom>
              <a:avLst/>
              <a:gdLst>
                <a:gd name="T0" fmla="*/ 123 w 158"/>
                <a:gd name="T1" fmla="*/ 16 h 358"/>
                <a:gd name="T2" fmla="*/ 117 w 158"/>
                <a:gd name="T3" fmla="*/ 41 h 358"/>
                <a:gd name="T4" fmla="*/ 111 w 158"/>
                <a:gd name="T5" fmla="*/ 49 h 358"/>
                <a:gd name="T6" fmla="*/ 129 w 158"/>
                <a:gd name="T7" fmla="*/ 92 h 358"/>
                <a:gd name="T8" fmla="*/ 129 w 158"/>
                <a:gd name="T9" fmla="*/ 131 h 358"/>
                <a:gd name="T10" fmla="*/ 132 w 158"/>
                <a:gd name="T11" fmla="*/ 154 h 358"/>
                <a:gd name="T12" fmla="*/ 141 w 158"/>
                <a:gd name="T13" fmla="*/ 188 h 358"/>
                <a:gd name="T14" fmla="*/ 143 w 158"/>
                <a:gd name="T15" fmla="*/ 256 h 358"/>
                <a:gd name="T16" fmla="*/ 152 w 158"/>
                <a:gd name="T17" fmla="*/ 271 h 358"/>
                <a:gd name="T18" fmla="*/ 153 w 158"/>
                <a:gd name="T19" fmla="*/ 298 h 358"/>
                <a:gd name="T20" fmla="*/ 140 w 158"/>
                <a:gd name="T21" fmla="*/ 308 h 358"/>
                <a:gd name="T22" fmla="*/ 140 w 158"/>
                <a:gd name="T23" fmla="*/ 323 h 358"/>
                <a:gd name="T24" fmla="*/ 129 w 158"/>
                <a:gd name="T25" fmla="*/ 331 h 358"/>
                <a:gd name="T26" fmla="*/ 111 w 158"/>
                <a:gd name="T27" fmla="*/ 329 h 358"/>
                <a:gd name="T28" fmla="*/ 104 w 158"/>
                <a:gd name="T29" fmla="*/ 346 h 358"/>
                <a:gd name="T30" fmla="*/ 71 w 158"/>
                <a:gd name="T31" fmla="*/ 349 h 358"/>
                <a:gd name="T32" fmla="*/ 54 w 158"/>
                <a:gd name="T33" fmla="*/ 353 h 358"/>
                <a:gd name="T34" fmla="*/ 41 w 158"/>
                <a:gd name="T35" fmla="*/ 358 h 358"/>
                <a:gd name="T36" fmla="*/ 12 w 158"/>
                <a:gd name="T37" fmla="*/ 334 h 358"/>
                <a:gd name="T38" fmla="*/ 5 w 158"/>
                <a:gd name="T39" fmla="*/ 265 h 358"/>
                <a:gd name="T40" fmla="*/ 27 w 158"/>
                <a:gd name="T41" fmla="*/ 247 h 358"/>
                <a:gd name="T42" fmla="*/ 39 w 158"/>
                <a:gd name="T43" fmla="*/ 221 h 358"/>
                <a:gd name="T44" fmla="*/ 53 w 158"/>
                <a:gd name="T45" fmla="*/ 211 h 358"/>
                <a:gd name="T46" fmla="*/ 47 w 158"/>
                <a:gd name="T47" fmla="*/ 175 h 358"/>
                <a:gd name="T48" fmla="*/ 50 w 158"/>
                <a:gd name="T49" fmla="*/ 116 h 358"/>
                <a:gd name="T50" fmla="*/ 42 w 158"/>
                <a:gd name="T51" fmla="*/ 88 h 358"/>
                <a:gd name="T52" fmla="*/ 36 w 158"/>
                <a:gd name="T53" fmla="*/ 76 h 358"/>
                <a:gd name="T54" fmla="*/ 33 w 158"/>
                <a:gd name="T55" fmla="*/ 71 h 358"/>
                <a:gd name="T56" fmla="*/ 24 w 158"/>
                <a:gd name="T57" fmla="*/ 62 h 358"/>
                <a:gd name="T58" fmla="*/ 35 w 158"/>
                <a:gd name="T59" fmla="*/ 55 h 358"/>
                <a:gd name="T60" fmla="*/ 51 w 158"/>
                <a:gd name="T61" fmla="*/ 55 h 358"/>
                <a:gd name="T62" fmla="*/ 66 w 158"/>
                <a:gd name="T63" fmla="*/ 64 h 358"/>
                <a:gd name="T64" fmla="*/ 75 w 158"/>
                <a:gd name="T65" fmla="*/ 38 h 358"/>
                <a:gd name="T66" fmla="*/ 74 w 158"/>
                <a:gd name="T67" fmla="*/ 25 h 358"/>
                <a:gd name="T68" fmla="*/ 77 w 158"/>
                <a:gd name="T69" fmla="*/ 13 h 358"/>
                <a:gd name="T70" fmla="*/ 98 w 158"/>
                <a:gd name="T71" fmla="*/ 10 h 358"/>
                <a:gd name="T72" fmla="*/ 123 w 158"/>
                <a:gd name="T73" fmla="*/ 16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58" h="358">
                  <a:moveTo>
                    <a:pt x="123" y="16"/>
                  </a:moveTo>
                  <a:cubicBezTo>
                    <a:pt x="122" y="24"/>
                    <a:pt x="121" y="33"/>
                    <a:pt x="117" y="41"/>
                  </a:cubicBezTo>
                  <a:cubicBezTo>
                    <a:pt x="116" y="44"/>
                    <a:pt x="111" y="46"/>
                    <a:pt x="111" y="49"/>
                  </a:cubicBezTo>
                  <a:cubicBezTo>
                    <a:pt x="109" y="74"/>
                    <a:pt x="119" y="75"/>
                    <a:pt x="129" y="92"/>
                  </a:cubicBezTo>
                  <a:cubicBezTo>
                    <a:pt x="131" y="105"/>
                    <a:pt x="135" y="119"/>
                    <a:pt x="129" y="131"/>
                  </a:cubicBezTo>
                  <a:cubicBezTo>
                    <a:pt x="131" y="138"/>
                    <a:pt x="130" y="147"/>
                    <a:pt x="132" y="154"/>
                  </a:cubicBezTo>
                  <a:cubicBezTo>
                    <a:pt x="133" y="167"/>
                    <a:pt x="140" y="175"/>
                    <a:pt x="141" y="188"/>
                  </a:cubicBezTo>
                  <a:cubicBezTo>
                    <a:pt x="141" y="211"/>
                    <a:pt x="134" y="229"/>
                    <a:pt x="143" y="256"/>
                  </a:cubicBezTo>
                  <a:cubicBezTo>
                    <a:pt x="146" y="262"/>
                    <a:pt x="149" y="263"/>
                    <a:pt x="152" y="271"/>
                  </a:cubicBezTo>
                  <a:cubicBezTo>
                    <a:pt x="153" y="280"/>
                    <a:pt x="158" y="290"/>
                    <a:pt x="153" y="298"/>
                  </a:cubicBezTo>
                  <a:cubicBezTo>
                    <a:pt x="152" y="305"/>
                    <a:pt x="145" y="304"/>
                    <a:pt x="140" y="308"/>
                  </a:cubicBezTo>
                  <a:cubicBezTo>
                    <a:pt x="137" y="311"/>
                    <a:pt x="142" y="319"/>
                    <a:pt x="140" y="323"/>
                  </a:cubicBezTo>
                  <a:cubicBezTo>
                    <a:pt x="138" y="327"/>
                    <a:pt x="134" y="330"/>
                    <a:pt x="129" y="331"/>
                  </a:cubicBezTo>
                  <a:cubicBezTo>
                    <a:pt x="126" y="334"/>
                    <a:pt x="111" y="329"/>
                    <a:pt x="111" y="329"/>
                  </a:cubicBezTo>
                  <a:cubicBezTo>
                    <a:pt x="109" y="337"/>
                    <a:pt x="113" y="345"/>
                    <a:pt x="104" y="346"/>
                  </a:cubicBezTo>
                  <a:cubicBezTo>
                    <a:pt x="93" y="347"/>
                    <a:pt x="71" y="349"/>
                    <a:pt x="71" y="349"/>
                  </a:cubicBezTo>
                  <a:cubicBezTo>
                    <a:pt x="65" y="350"/>
                    <a:pt x="60" y="352"/>
                    <a:pt x="54" y="353"/>
                  </a:cubicBezTo>
                  <a:cubicBezTo>
                    <a:pt x="50" y="355"/>
                    <a:pt x="45" y="356"/>
                    <a:pt x="41" y="358"/>
                  </a:cubicBezTo>
                  <a:cubicBezTo>
                    <a:pt x="29" y="353"/>
                    <a:pt x="22" y="342"/>
                    <a:pt x="12" y="334"/>
                  </a:cubicBezTo>
                  <a:cubicBezTo>
                    <a:pt x="0" y="311"/>
                    <a:pt x="18" y="287"/>
                    <a:pt x="5" y="265"/>
                  </a:cubicBezTo>
                  <a:cubicBezTo>
                    <a:pt x="7" y="254"/>
                    <a:pt x="20" y="254"/>
                    <a:pt x="27" y="247"/>
                  </a:cubicBezTo>
                  <a:cubicBezTo>
                    <a:pt x="32" y="235"/>
                    <a:pt x="29" y="228"/>
                    <a:pt x="39" y="221"/>
                  </a:cubicBezTo>
                  <a:cubicBezTo>
                    <a:pt x="44" y="212"/>
                    <a:pt x="41" y="213"/>
                    <a:pt x="53" y="211"/>
                  </a:cubicBezTo>
                  <a:cubicBezTo>
                    <a:pt x="59" y="201"/>
                    <a:pt x="56" y="182"/>
                    <a:pt x="47" y="175"/>
                  </a:cubicBezTo>
                  <a:cubicBezTo>
                    <a:pt x="46" y="159"/>
                    <a:pt x="51" y="130"/>
                    <a:pt x="50" y="116"/>
                  </a:cubicBezTo>
                  <a:cubicBezTo>
                    <a:pt x="49" y="102"/>
                    <a:pt x="44" y="95"/>
                    <a:pt x="42" y="88"/>
                  </a:cubicBezTo>
                  <a:cubicBezTo>
                    <a:pt x="40" y="81"/>
                    <a:pt x="37" y="79"/>
                    <a:pt x="36" y="76"/>
                  </a:cubicBezTo>
                  <a:cubicBezTo>
                    <a:pt x="35" y="73"/>
                    <a:pt x="35" y="73"/>
                    <a:pt x="33" y="71"/>
                  </a:cubicBezTo>
                  <a:cubicBezTo>
                    <a:pt x="31" y="69"/>
                    <a:pt x="24" y="65"/>
                    <a:pt x="24" y="62"/>
                  </a:cubicBezTo>
                  <a:cubicBezTo>
                    <a:pt x="24" y="59"/>
                    <a:pt x="31" y="56"/>
                    <a:pt x="35" y="55"/>
                  </a:cubicBezTo>
                  <a:cubicBezTo>
                    <a:pt x="39" y="54"/>
                    <a:pt x="46" y="54"/>
                    <a:pt x="51" y="55"/>
                  </a:cubicBezTo>
                  <a:cubicBezTo>
                    <a:pt x="58" y="52"/>
                    <a:pt x="62" y="67"/>
                    <a:pt x="66" y="64"/>
                  </a:cubicBezTo>
                  <a:cubicBezTo>
                    <a:pt x="70" y="61"/>
                    <a:pt x="74" y="45"/>
                    <a:pt x="75" y="38"/>
                  </a:cubicBezTo>
                  <a:cubicBezTo>
                    <a:pt x="76" y="31"/>
                    <a:pt x="74" y="29"/>
                    <a:pt x="74" y="25"/>
                  </a:cubicBezTo>
                  <a:cubicBezTo>
                    <a:pt x="74" y="21"/>
                    <a:pt x="73" y="15"/>
                    <a:pt x="77" y="13"/>
                  </a:cubicBezTo>
                  <a:cubicBezTo>
                    <a:pt x="84" y="11"/>
                    <a:pt x="91" y="11"/>
                    <a:pt x="98" y="10"/>
                  </a:cubicBezTo>
                  <a:cubicBezTo>
                    <a:pt x="112" y="0"/>
                    <a:pt x="112" y="16"/>
                    <a:pt x="123" y="16"/>
                  </a:cubicBezTo>
                  <a:close/>
                </a:path>
              </a:pathLst>
            </a:custGeom>
            <a:solidFill>
              <a:schemeClr val="accent1"/>
            </a:solidFill>
            <a:ln w="9525" cap="flat" cmpd="sng">
              <a:solidFill>
                <a:schemeClr val="bg1"/>
              </a:solidFill>
              <a:prstDash val="solid"/>
              <a:round/>
              <a:headEnd type="none" w="med" len="med"/>
              <a:tailEnd type="none" w="med" len="med"/>
            </a:ln>
            <a:effectLst/>
            <a:extLst/>
          </p:spPr>
          <p:txBody>
            <a:bodyPr>
              <a:noAutofit/>
            </a:bodyPr>
            <a:lstStyle/>
            <a:p>
              <a:pPr fontAlgn="auto">
                <a:spcBef>
                  <a:spcPts val="0"/>
                </a:spcBef>
                <a:spcAft>
                  <a:spcPts val="0"/>
                </a:spcAft>
                <a:defRPr/>
              </a:pPr>
              <a:endParaRPr lang="en-CA" kern="0">
                <a:solidFill>
                  <a:sysClr val="windowText" lastClr="000000"/>
                </a:solidFill>
              </a:endParaRPr>
            </a:p>
          </p:txBody>
        </p:sp>
        <p:sp>
          <p:nvSpPr>
            <p:cNvPr id="426" name="Freeform 115"/>
            <p:cNvSpPr>
              <a:spLocks/>
            </p:cNvSpPr>
            <p:nvPr>
              <p:custDataLst>
                <p:tags r:id="rId100"/>
              </p:custDataLst>
            </p:nvPr>
          </p:nvSpPr>
          <p:spPr bwMode="gray">
            <a:xfrm>
              <a:off x="2505360" y="1447013"/>
              <a:ext cx="152217" cy="329797"/>
            </a:xfrm>
            <a:custGeom>
              <a:avLst/>
              <a:gdLst/>
              <a:ahLst/>
              <a:cxnLst/>
              <a:rect l="l" t="t" r="r" b="b"/>
              <a:pathLst>
                <a:path w="302034" h="680289">
                  <a:moveTo>
                    <a:pt x="184297" y="582611"/>
                  </a:moveTo>
                  <a:lnTo>
                    <a:pt x="189135" y="586183"/>
                  </a:lnTo>
                  <a:lnTo>
                    <a:pt x="184297" y="592136"/>
                  </a:lnTo>
                  <a:cubicBezTo>
                    <a:pt x="174620" y="598486"/>
                    <a:pt x="171394" y="608011"/>
                    <a:pt x="169782" y="619124"/>
                  </a:cubicBezTo>
                  <a:cubicBezTo>
                    <a:pt x="158492" y="642936"/>
                    <a:pt x="156879" y="652461"/>
                    <a:pt x="155266" y="606424"/>
                  </a:cubicBezTo>
                  <a:cubicBezTo>
                    <a:pt x="158492" y="584199"/>
                    <a:pt x="160105" y="585786"/>
                    <a:pt x="184297" y="582611"/>
                  </a:cubicBezTo>
                  <a:close/>
                  <a:moveTo>
                    <a:pt x="184559" y="558798"/>
                  </a:moveTo>
                  <a:cubicBezTo>
                    <a:pt x="182972" y="563561"/>
                    <a:pt x="184559" y="569911"/>
                    <a:pt x="181384" y="573086"/>
                  </a:cubicBezTo>
                  <a:cubicBezTo>
                    <a:pt x="176621" y="577848"/>
                    <a:pt x="173446" y="558798"/>
                    <a:pt x="184559" y="558798"/>
                  </a:cubicBezTo>
                  <a:close/>
                  <a:moveTo>
                    <a:pt x="242362" y="0"/>
                  </a:moveTo>
                  <a:cubicBezTo>
                    <a:pt x="242121" y="2178"/>
                    <a:pt x="239917" y="9529"/>
                    <a:pt x="242362" y="9529"/>
                  </a:cubicBezTo>
                  <a:lnTo>
                    <a:pt x="248820" y="19059"/>
                  </a:lnTo>
                  <a:cubicBezTo>
                    <a:pt x="253641" y="28589"/>
                    <a:pt x="255248" y="27001"/>
                    <a:pt x="266558" y="28589"/>
                  </a:cubicBezTo>
                  <a:cubicBezTo>
                    <a:pt x="277838" y="33354"/>
                    <a:pt x="269772" y="47648"/>
                    <a:pt x="281082" y="49237"/>
                  </a:cubicBezTo>
                  <a:cubicBezTo>
                    <a:pt x="282689" y="57178"/>
                    <a:pt x="295576" y="72992"/>
                    <a:pt x="295576" y="72992"/>
                  </a:cubicBezTo>
                  <a:cubicBezTo>
                    <a:pt x="297183" y="82522"/>
                    <a:pt x="302034" y="93640"/>
                    <a:pt x="302034" y="101581"/>
                  </a:cubicBezTo>
                  <a:cubicBezTo>
                    <a:pt x="302034" y="109523"/>
                    <a:pt x="298820" y="117464"/>
                    <a:pt x="297183" y="125406"/>
                  </a:cubicBezTo>
                  <a:cubicBezTo>
                    <a:pt x="295576" y="133347"/>
                    <a:pt x="297183" y="144465"/>
                    <a:pt x="297183" y="152407"/>
                  </a:cubicBezTo>
                  <a:cubicBezTo>
                    <a:pt x="295576" y="161937"/>
                    <a:pt x="293969" y="161937"/>
                    <a:pt x="297183" y="171466"/>
                  </a:cubicBezTo>
                  <a:cubicBezTo>
                    <a:pt x="290755" y="211105"/>
                    <a:pt x="269772" y="176231"/>
                    <a:pt x="242362" y="196879"/>
                  </a:cubicBezTo>
                  <a:cubicBezTo>
                    <a:pt x="232689" y="222223"/>
                    <a:pt x="231082" y="247635"/>
                    <a:pt x="219773" y="273048"/>
                  </a:cubicBezTo>
                  <a:cubicBezTo>
                    <a:pt x="218165" y="285755"/>
                    <a:pt x="218165" y="288931"/>
                    <a:pt x="208493" y="296873"/>
                  </a:cubicBezTo>
                  <a:cubicBezTo>
                    <a:pt x="202035" y="307991"/>
                    <a:pt x="198820" y="309579"/>
                    <a:pt x="185904" y="311167"/>
                  </a:cubicBezTo>
                  <a:cubicBezTo>
                    <a:pt x="177838" y="325462"/>
                    <a:pt x="156886" y="325462"/>
                    <a:pt x="145576" y="339757"/>
                  </a:cubicBezTo>
                  <a:cubicBezTo>
                    <a:pt x="140755" y="353982"/>
                    <a:pt x="143969" y="368277"/>
                    <a:pt x="131083" y="377807"/>
                  </a:cubicBezTo>
                  <a:cubicBezTo>
                    <a:pt x="129476" y="398454"/>
                    <a:pt x="121410" y="434985"/>
                    <a:pt x="135904" y="454045"/>
                  </a:cubicBezTo>
                  <a:cubicBezTo>
                    <a:pt x="137511" y="465163"/>
                    <a:pt x="150428" y="469928"/>
                    <a:pt x="160100" y="476281"/>
                  </a:cubicBezTo>
                  <a:cubicBezTo>
                    <a:pt x="169773" y="495271"/>
                    <a:pt x="168166" y="517507"/>
                    <a:pt x="145576" y="520684"/>
                  </a:cubicBezTo>
                  <a:cubicBezTo>
                    <a:pt x="140755" y="530214"/>
                    <a:pt x="132690" y="547685"/>
                    <a:pt x="126231" y="552450"/>
                  </a:cubicBezTo>
                  <a:cubicBezTo>
                    <a:pt x="119773" y="557215"/>
                    <a:pt x="108493" y="544509"/>
                    <a:pt x="106886" y="547685"/>
                  </a:cubicBezTo>
                  <a:cubicBezTo>
                    <a:pt x="108493" y="557215"/>
                    <a:pt x="111707" y="566745"/>
                    <a:pt x="113345" y="576274"/>
                  </a:cubicBezTo>
                  <a:cubicBezTo>
                    <a:pt x="111707" y="595334"/>
                    <a:pt x="121410" y="601687"/>
                    <a:pt x="108493" y="611217"/>
                  </a:cubicBezTo>
                  <a:lnTo>
                    <a:pt x="105849" y="624662"/>
                  </a:lnTo>
                  <a:cubicBezTo>
                    <a:pt x="106079" y="629935"/>
                    <a:pt x="113345" y="617156"/>
                    <a:pt x="113345" y="644502"/>
                  </a:cubicBezTo>
                  <a:cubicBezTo>
                    <a:pt x="113345" y="663562"/>
                    <a:pt x="63345" y="671503"/>
                    <a:pt x="50428" y="676268"/>
                  </a:cubicBezTo>
                  <a:cubicBezTo>
                    <a:pt x="35904" y="687386"/>
                    <a:pt x="35904" y="673091"/>
                    <a:pt x="31083" y="661973"/>
                  </a:cubicBezTo>
                  <a:cubicBezTo>
                    <a:pt x="29476" y="641325"/>
                    <a:pt x="19773" y="625442"/>
                    <a:pt x="6887" y="609629"/>
                  </a:cubicBezTo>
                  <a:cubicBezTo>
                    <a:pt x="5279" y="601687"/>
                    <a:pt x="2035" y="595334"/>
                    <a:pt x="428" y="587392"/>
                  </a:cubicBezTo>
                  <a:cubicBezTo>
                    <a:pt x="-1179" y="574686"/>
                    <a:pt x="2035" y="542920"/>
                    <a:pt x="5279" y="528626"/>
                  </a:cubicBezTo>
                  <a:cubicBezTo>
                    <a:pt x="8494" y="514331"/>
                    <a:pt x="11738" y="512743"/>
                    <a:pt x="14952" y="506389"/>
                  </a:cubicBezTo>
                  <a:cubicBezTo>
                    <a:pt x="19773" y="500036"/>
                    <a:pt x="21410" y="493683"/>
                    <a:pt x="24624" y="485742"/>
                  </a:cubicBezTo>
                  <a:cubicBezTo>
                    <a:pt x="23017" y="460398"/>
                    <a:pt x="31083" y="428632"/>
                    <a:pt x="6887" y="414337"/>
                  </a:cubicBezTo>
                  <a:cubicBezTo>
                    <a:pt x="5279" y="404808"/>
                    <a:pt x="5279" y="398454"/>
                    <a:pt x="10101" y="390513"/>
                  </a:cubicBezTo>
                  <a:cubicBezTo>
                    <a:pt x="11738" y="355570"/>
                    <a:pt x="428" y="320697"/>
                    <a:pt x="31083" y="301637"/>
                  </a:cubicBezTo>
                  <a:cubicBezTo>
                    <a:pt x="34297" y="287343"/>
                    <a:pt x="50428" y="292108"/>
                    <a:pt x="63345" y="290519"/>
                  </a:cubicBezTo>
                  <a:cubicBezTo>
                    <a:pt x="69773" y="279401"/>
                    <a:pt x="68166" y="277813"/>
                    <a:pt x="58493" y="271460"/>
                  </a:cubicBezTo>
                  <a:cubicBezTo>
                    <a:pt x="56886" y="265107"/>
                    <a:pt x="48821" y="263518"/>
                    <a:pt x="48821" y="258754"/>
                  </a:cubicBezTo>
                  <a:cubicBezTo>
                    <a:pt x="48821" y="253989"/>
                    <a:pt x="52035" y="249224"/>
                    <a:pt x="55279" y="239694"/>
                  </a:cubicBezTo>
                  <a:cubicBezTo>
                    <a:pt x="58493" y="230164"/>
                    <a:pt x="66559" y="207928"/>
                    <a:pt x="69773" y="196879"/>
                  </a:cubicBezTo>
                  <a:cubicBezTo>
                    <a:pt x="73017" y="185761"/>
                    <a:pt x="68166" y="179408"/>
                    <a:pt x="73017" y="173055"/>
                  </a:cubicBezTo>
                  <a:cubicBezTo>
                    <a:pt x="76231" y="165113"/>
                    <a:pt x="82690" y="160348"/>
                    <a:pt x="87541" y="152407"/>
                  </a:cubicBezTo>
                  <a:cubicBezTo>
                    <a:pt x="93969" y="142877"/>
                    <a:pt x="102035" y="138112"/>
                    <a:pt x="106886" y="128582"/>
                  </a:cubicBezTo>
                  <a:cubicBezTo>
                    <a:pt x="108493" y="117464"/>
                    <a:pt x="113345" y="107935"/>
                    <a:pt x="116559" y="96816"/>
                  </a:cubicBezTo>
                  <a:cubicBezTo>
                    <a:pt x="119773" y="84110"/>
                    <a:pt x="119773" y="68227"/>
                    <a:pt x="127838" y="58766"/>
                  </a:cubicBezTo>
                  <a:cubicBezTo>
                    <a:pt x="135904" y="49237"/>
                    <a:pt x="148821" y="49237"/>
                    <a:pt x="161707" y="42883"/>
                  </a:cubicBezTo>
                  <a:cubicBezTo>
                    <a:pt x="192362" y="23824"/>
                    <a:pt x="140755" y="27001"/>
                    <a:pt x="203642" y="20647"/>
                  </a:cubicBezTo>
                  <a:cubicBezTo>
                    <a:pt x="213314" y="14294"/>
                    <a:pt x="213314" y="7941"/>
                    <a:pt x="219773" y="4764"/>
                  </a:cubicBezTo>
                  <a:cubicBezTo>
                    <a:pt x="226231" y="1588"/>
                    <a:pt x="239148" y="0"/>
                    <a:pt x="242362" y="0"/>
                  </a:cubicBezTo>
                  <a:close/>
                </a:path>
              </a:pathLst>
            </a:custGeom>
            <a:solidFill>
              <a:schemeClr val="accent1"/>
            </a:solidFill>
            <a:ln w="9525" cap="flat" cmpd="sng">
              <a:solidFill>
                <a:schemeClr val="bg1"/>
              </a:solidFill>
              <a:prstDash val="solid"/>
              <a:round/>
              <a:headEnd type="none" w="med" len="med"/>
              <a:tailEnd type="none" w="med" len="med"/>
            </a:ln>
            <a:effectLst/>
            <a:extLst/>
          </p:spPr>
          <p:txBody>
            <a:bodyPr>
              <a:noAutofit/>
            </a:bodyPr>
            <a:lstStyle/>
            <a:p>
              <a:pPr fontAlgn="auto">
                <a:spcBef>
                  <a:spcPts val="0"/>
                </a:spcBef>
                <a:spcAft>
                  <a:spcPts val="0"/>
                </a:spcAft>
                <a:defRPr/>
              </a:pPr>
              <a:endParaRPr lang="en-CA" kern="0">
                <a:solidFill>
                  <a:sysClr val="windowText" lastClr="000000"/>
                </a:solidFill>
              </a:endParaRPr>
            </a:p>
          </p:txBody>
        </p:sp>
        <p:sp>
          <p:nvSpPr>
            <p:cNvPr id="427" name="Freeform 116"/>
            <p:cNvSpPr>
              <a:spLocks/>
            </p:cNvSpPr>
            <p:nvPr>
              <p:custDataLst>
                <p:tags r:id="rId101"/>
              </p:custDataLst>
            </p:nvPr>
          </p:nvSpPr>
          <p:spPr bwMode="gray">
            <a:xfrm>
              <a:off x="2415959" y="1370050"/>
              <a:ext cx="328021" cy="360944"/>
            </a:xfrm>
            <a:custGeom>
              <a:avLst/>
              <a:gdLst>
                <a:gd name="T0" fmla="*/ 369 w 403"/>
                <a:gd name="T1" fmla="*/ 56 h 469"/>
                <a:gd name="T2" fmla="*/ 398 w 403"/>
                <a:gd name="T3" fmla="*/ 46 h 469"/>
                <a:gd name="T4" fmla="*/ 380 w 403"/>
                <a:gd name="T5" fmla="*/ 29 h 469"/>
                <a:gd name="T6" fmla="*/ 330 w 403"/>
                <a:gd name="T7" fmla="*/ 8 h 469"/>
                <a:gd name="T8" fmla="*/ 266 w 403"/>
                <a:gd name="T9" fmla="*/ 20 h 469"/>
                <a:gd name="T10" fmla="*/ 246 w 403"/>
                <a:gd name="T11" fmla="*/ 41 h 469"/>
                <a:gd name="T12" fmla="*/ 213 w 403"/>
                <a:gd name="T13" fmla="*/ 41 h 469"/>
                <a:gd name="T14" fmla="*/ 188 w 403"/>
                <a:gd name="T15" fmla="*/ 76 h 469"/>
                <a:gd name="T16" fmla="*/ 171 w 403"/>
                <a:gd name="T17" fmla="*/ 86 h 469"/>
                <a:gd name="T18" fmla="*/ 144 w 403"/>
                <a:gd name="T19" fmla="*/ 115 h 469"/>
                <a:gd name="T20" fmla="*/ 111 w 403"/>
                <a:gd name="T21" fmla="*/ 155 h 469"/>
                <a:gd name="T22" fmla="*/ 155 w 403"/>
                <a:gd name="T23" fmla="*/ 133 h 469"/>
                <a:gd name="T24" fmla="*/ 134 w 403"/>
                <a:gd name="T25" fmla="*/ 176 h 469"/>
                <a:gd name="T26" fmla="*/ 108 w 403"/>
                <a:gd name="T27" fmla="*/ 239 h 469"/>
                <a:gd name="T28" fmla="*/ 90 w 403"/>
                <a:gd name="T29" fmla="*/ 266 h 469"/>
                <a:gd name="T30" fmla="*/ 60 w 403"/>
                <a:gd name="T31" fmla="*/ 301 h 469"/>
                <a:gd name="T32" fmla="*/ 5 w 403"/>
                <a:gd name="T33" fmla="*/ 386 h 469"/>
                <a:gd name="T34" fmla="*/ 11 w 403"/>
                <a:gd name="T35" fmla="*/ 415 h 469"/>
                <a:gd name="T36" fmla="*/ 24 w 403"/>
                <a:gd name="T37" fmla="*/ 454 h 469"/>
                <a:gd name="T38" fmla="*/ 65 w 403"/>
                <a:gd name="T39" fmla="*/ 466 h 469"/>
                <a:gd name="T40" fmla="*/ 78 w 403"/>
                <a:gd name="T41" fmla="*/ 445 h 469"/>
                <a:gd name="T42" fmla="*/ 92 w 403"/>
                <a:gd name="T43" fmla="*/ 433 h 469"/>
                <a:gd name="T44" fmla="*/ 113 w 403"/>
                <a:gd name="T45" fmla="*/ 433 h 469"/>
                <a:gd name="T46" fmla="*/ 122 w 403"/>
                <a:gd name="T47" fmla="*/ 379 h 469"/>
                <a:gd name="T48" fmla="*/ 119 w 403"/>
                <a:gd name="T49" fmla="*/ 340 h 469"/>
                <a:gd name="T50" fmla="*/ 119 w 403"/>
                <a:gd name="T51" fmla="*/ 303 h 469"/>
                <a:gd name="T52" fmla="*/ 143 w 403"/>
                <a:gd name="T53" fmla="*/ 283 h 469"/>
                <a:gd name="T54" fmla="*/ 140 w 403"/>
                <a:gd name="T55" fmla="*/ 263 h 469"/>
                <a:gd name="T56" fmla="*/ 153 w 403"/>
                <a:gd name="T57" fmla="*/ 221 h 469"/>
                <a:gd name="T58" fmla="*/ 177 w 403"/>
                <a:gd name="T59" fmla="*/ 182 h 469"/>
                <a:gd name="T60" fmla="*/ 192 w 403"/>
                <a:gd name="T61" fmla="*/ 134 h 469"/>
                <a:gd name="T62" fmla="*/ 215 w 403"/>
                <a:gd name="T63" fmla="*/ 127 h 469"/>
                <a:gd name="T64" fmla="*/ 221 w 403"/>
                <a:gd name="T65" fmla="*/ 115 h 469"/>
                <a:gd name="T66" fmla="*/ 240 w 403"/>
                <a:gd name="T67" fmla="*/ 112 h 469"/>
                <a:gd name="T68" fmla="*/ 254 w 403"/>
                <a:gd name="T69" fmla="*/ 89 h 469"/>
                <a:gd name="T70" fmla="*/ 269 w 403"/>
                <a:gd name="T71" fmla="*/ 112 h 469"/>
                <a:gd name="T72" fmla="*/ 293 w 403"/>
                <a:gd name="T73" fmla="*/ 106 h 469"/>
                <a:gd name="T74" fmla="*/ 320 w 403"/>
                <a:gd name="T75" fmla="*/ 97 h 469"/>
                <a:gd name="T76" fmla="*/ 342 w 403"/>
                <a:gd name="T77" fmla="*/ 59 h 469"/>
                <a:gd name="T78" fmla="*/ 368 w 403"/>
                <a:gd name="T79" fmla="*/ 68 h 4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03" h="469">
                  <a:moveTo>
                    <a:pt x="368" y="68"/>
                  </a:moveTo>
                  <a:cubicBezTo>
                    <a:pt x="379" y="66"/>
                    <a:pt x="379" y="60"/>
                    <a:pt x="369" y="56"/>
                  </a:cubicBezTo>
                  <a:cubicBezTo>
                    <a:pt x="374" y="55"/>
                    <a:pt x="378" y="53"/>
                    <a:pt x="383" y="52"/>
                  </a:cubicBezTo>
                  <a:cubicBezTo>
                    <a:pt x="388" y="49"/>
                    <a:pt x="392" y="47"/>
                    <a:pt x="398" y="46"/>
                  </a:cubicBezTo>
                  <a:cubicBezTo>
                    <a:pt x="403" y="38"/>
                    <a:pt x="398" y="41"/>
                    <a:pt x="392" y="38"/>
                  </a:cubicBezTo>
                  <a:cubicBezTo>
                    <a:pt x="389" y="33"/>
                    <a:pt x="385" y="32"/>
                    <a:pt x="380" y="29"/>
                  </a:cubicBezTo>
                  <a:cubicBezTo>
                    <a:pt x="370" y="16"/>
                    <a:pt x="365" y="13"/>
                    <a:pt x="348" y="11"/>
                  </a:cubicBezTo>
                  <a:cubicBezTo>
                    <a:pt x="342" y="10"/>
                    <a:pt x="330" y="8"/>
                    <a:pt x="330" y="8"/>
                  </a:cubicBezTo>
                  <a:cubicBezTo>
                    <a:pt x="319" y="0"/>
                    <a:pt x="298" y="6"/>
                    <a:pt x="288" y="7"/>
                  </a:cubicBezTo>
                  <a:cubicBezTo>
                    <a:pt x="286" y="21"/>
                    <a:pt x="281" y="19"/>
                    <a:pt x="266" y="20"/>
                  </a:cubicBezTo>
                  <a:cubicBezTo>
                    <a:pt x="257" y="23"/>
                    <a:pt x="255" y="30"/>
                    <a:pt x="266" y="32"/>
                  </a:cubicBezTo>
                  <a:cubicBezTo>
                    <a:pt x="263" y="39"/>
                    <a:pt x="254" y="40"/>
                    <a:pt x="246" y="41"/>
                  </a:cubicBezTo>
                  <a:cubicBezTo>
                    <a:pt x="240" y="40"/>
                    <a:pt x="237" y="37"/>
                    <a:pt x="231" y="35"/>
                  </a:cubicBezTo>
                  <a:cubicBezTo>
                    <a:pt x="225" y="38"/>
                    <a:pt x="219" y="40"/>
                    <a:pt x="213" y="41"/>
                  </a:cubicBezTo>
                  <a:cubicBezTo>
                    <a:pt x="208" y="50"/>
                    <a:pt x="212" y="58"/>
                    <a:pt x="203" y="65"/>
                  </a:cubicBezTo>
                  <a:cubicBezTo>
                    <a:pt x="199" y="74"/>
                    <a:pt x="199" y="74"/>
                    <a:pt x="188" y="76"/>
                  </a:cubicBezTo>
                  <a:cubicBezTo>
                    <a:pt x="181" y="80"/>
                    <a:pt x="180" y="98"/>
                    <a:pt x="180" y="98"/>
                  </a:cubicBezTo>
                  <a:cubicBezTo>
                    <a:pt x="175" y="94"/>
                    <a:pt x="174" y="91"/>
                    <a:pt x="171" y="86"/>
                  </a:cubicBezTo>
                  <a:cubicBezTo>
                    <a:pt x="162" y="89"/>
                    <a:pt x="158" y="89"/>
                    <a:pt x="153" y="98"/>
                  </a:cubicBezTo>
                  <a:cubicBezTo>
                    <a:pt x="152" y="105"/>
                    <a:pt x="150" y="111"/>
                    <a:pt x="144" y="115"/>
                  </a:cubicBezTo>
                  <a:cubicBezTo>
                    <a:pt x="139" y="122"/>
                    <a:pt x="143" y="127"/>
                    <a:pt x="135" y="130"/>
                  </a:cubicBezTo>
                  <a:cubicBezTo>
                    <a:pt x="124" y="141"/>
                    <a:pt x="128" y="152"/>
                    <a:pt x="111" y="155"/>
                  </a:cubicBezTo>
                  <a:cubicBezTo>
                    <a:pt x="115" y="165"/>
                    <a:pt x="121" y="155"/>
                    <a:pt x="128" y="154"/>
                  </a:cubicBezTo>
                  <a:cubicBezTo>
                    <a:pt x="141" y="147"/>
                    <a:pt x="145" y="138"/>
                    <a:pt x="155" y="133"/>
                  </a:cubicBezTo>
                  <a:cubicBezTo>
                    <a:pt x="167" y="137"/>
                    <a:pt x="149" y="152"/>
                    <a:pt x="141" y="157"/>
                  </a:cubicBezTo>
                  <a:cubicBezTo>
                    <a:pt x="135" y="164"/>
                    <a:pt x="141" y="172"/>
                    <a:pt x="134" y="176"/>
                  </a:cubicBezTo>
                  <a:cubicBezTo>
                    <a:pt x="132" y="187"/>
                    <a:pt x="127" y="201"/>
                    <a:pt x="116" y="205"/>
                  </a:cubicBezTo>
                  <a:cubicBezTo>
                    <a:pt x="108" y="215"/>
                    <a:pt x="114" y="228"/>
                    <a:pt x="108" y="239"/>
                  </a:cubicBezTo>
                  <a:cubicBezTo>
                    <a:pt x="107" y="246"/>
                    <a:pt x="104" y="244"/>
                    <a:pt x="98" y="248"/>
                  </a:cubicBezTo>
                  <a:cubicBezTo>
                    <a:pt x="96" y="254"/>
                    <a:pt x="93" y="260"/>
                    <a:pt x="90" y="266"/>
                  </a:cubicBezTo>
                  <a:cubicBezTo>
                    <a:pt x="88" y="278"/>
                    <a:pt x="84" y="275"/>
                    <a:pt x="71" y="277"/>
                  </a:cubicBezTo>
                  <a:cubicBezTo>
                    <a:pt x="66" y="284"/>
                    <a:pt x="64" y="293"/>
                    <a:pt x="60" y="301"/>
                  </a:cubicBezTo>
                  <a:cubicBezTo>
                    <a:pt x="54" y="312"/>
                    <a:pt x="23" y="331"/>
                    <a:pt x="11" y="337"/>
                  </a:cubicBezTo>
                  <a:cubicBezTo>
                    <a:pt x="0" y="352"/>
                    <a:pt x="6" y="364"/>
                    <a:pt x="5" y="386"/>
                  </a:cubicBezTo>
                  <a:cubicBezTo>
                    <a:pt x="5" y="395"/>
                    <a:pt x="4" y="404"/>
                    <a:pt x="6" y="413"/>
                  </a:cubicBezTo>
                  <a:cubicBezTo>
                    <a:pt x="6" y="415"/>
                    <a:pt x="11" y="413"/>
                    <a:pt x="11" y="415"/>
                  </a:cubicBezTo>
                  <a:cubicBezTo>
                    <a:pt x="12" y="420"/>
                    <a:pt x="15" y="436"/>
                    <a:pt x="17" y="442"/>
                  </a:cubicBezTo>
                  <a:cubicBezTo>
                    <a:pt x="19" y="448"/>
                    <a:pt x="20" y="449"/>
                    <a:pt x="24" y="454"/>
                  </a:cubicBezTo>
                  <a:cubicBezTo>
                    <a:pt x="31" y="463"/>
                    <a:pt x="29" y="466"/>
                    <a:pt x="41" y="469"/>
                  </a:cubicBezTo>
                  <a:cubicBezTo>
                    <a:pt x="52" y="468"/>
                    <a:pt x="55" y="469"/>
                    <a:pt x="65" y="466"/>
                  </a:cubicBezTo>
                  <a:cubicBezTo>
                    <a:pt x="71" y="465"/>
                    <a:pt x="69" y="460"/>
                    <a:pt x="71" y="457"/>
                  </a:cubicBezTo>
                  <a:cubicBezTo>
                    <a:pt x="73" y="454"/>
                    <a:pt x="74" y="446"/>
                    <a:pt x="78" y="445"/>
                  </a:cubicBezTo>
                  <a:cubicBezTo>
                    <a:pt x="80" y="442"/>
                    <a:pt x="92" y="451"/>
                    <a:pt x="93" y="448"/>
                  </a:cubicBezTo>
                  <a:cubicBezTo>
                    <a:pt x="95" y="447"/>
                    <a:pt x="92" y="435"/>
                    <a:pt x="92" y="433"/>
                  </a:cubicBezTo>
                  <a:cubicBezTo>
                    <a:pt x="92" y="431"/>
                    <a:pt x="92" y="436"/>
                    <a:pt x="95" y="436"/>
                  </a:cubicBezTo>
                  <a:cubicBezTo>
                    <a:pt x="99" y="432"/>
                    <a:pt x="107" y="434"/>
                    <a:pt x="113" y="433"/>
                  </a:cubicBezTo>
                  <a:cubicBezTo>
                    <a:pt x="120" y="425"/>
                    <a:pt x="118" y="413"/>
                    <a:pt x="126" y="407"/>
                  </a:cubicBezTo>
                  <a:cubicBezTo>
                    <a:pt x="130" y="398"/>
                    <a:pt x="128" y="386"/>
                    <a:pt x="122" y="379"/>
                  </a:cubicBezTo>
                  <a:cubicBezTo>
                    <a:pt x="119" y="356"/>
                    <a:pt x="120" y="368"/>
                    <a:pt x="114" y="355"/>
                  </a:cubicBezTo>
                  <a:cubicBezTo>
                    <a:pt x="116" y="350"/>
                    <a:pt x="117" y="345"/>
                    <a:pt x="119" y="340"/>
                  </a:cubicBezTo>
                  <a:cubicBezTo>
                    <a:pt x="120" y="335"/>
                    <a:pt x="117" y="334"/>
                    <a:pt x="117" y="328"/>
                  </a:cubicBezTo>
                  <a:cubicBezTo>
                    <a:pt x="117" y="322"/>
                    <a:pt x="117" y="310"/>
                    <a:pt x="119" y="303"/>
                  </a:cubicBezTo>
                  <a:cubicBezTo>
                    <a:pt x="121" y="296"/>
                    <a:pt x="125" y="290"/>
                    <a:pt x="129" y="287"/>
                  </a:cubicBezTo>
                  <a:cubicBezTo>
                    <a:pt x="133" y="284"/>
                    <a:pt x="140" y="285"/>
                    <a:pt x="143" y="283"/>
                  </a:cubicBezTo>
                  <a:cubicBezTo>
                    <a:pt x="146" y="281"/>
                    <a:pt x="147" y="278"/>
                    <a:pt x="147" y="275"/>
                  </a:cubicBezTo>
                  <a:cubicBezTo>
                    <a:pt x="147" y="272"/>
                    <a:pt x="140" y="268"/>
                    <a:pt x="140" y="263"/>
                  </a:cubicBezTo>
                  <a:cubicBezTo>
                    <a:pt x="141" y="256"/>
                    <a:pt x="143" y="252"/>
                    <a:pt x="146" y="245"/>
                  </a:cubicBezTo>
                  <a:cubicBezTo>
                    <a:pt x="147" y="238"/>
                    <a:pt x="150" y="228"/>
                    <a:pt x="153" y="221"/>
                  </a:cubicBezTo>
                  <a:cubicBezTo>
                    <a:pt x="156" y="214"/>
                    <a:pt x="158" y="210"/>
                    <a:pt x="162" y="203"/>
                  </a:cubicBezTo>
                  <a:cubicBezTo>
                    <a:pt x="166" y="195"/>
                    <a:pt x="169" y="186"/>
                    <a:pt x="177" y="182"/>
                  </a:cubicBezTo>
                  <a:cubicBezTo>
                    <a:pt x="180" y="175"/>
                    <a:pt x="179" y="172"/>
                    <a:pt x="182" y="164"/>
                  </a:cubicBezTo>
                  <a:cubicBezTo>
                    <a:pt x="185" y="156"/>
                    <a:pt x="187" y="140"/>
                    <a:pt x="192" y="134"/>
                  </a:cubicBezTo>
                  <a:cubicBezTo>
                    <a:pt x="198" y="131"/>
                    <a:pt x="205" y="132"/>
                    <a:pt x="212" y="131"/>
                  </a:cubicBezTo>
                  <a:cubicBezTo>
                    <a:pt x="213" y="130"/>
                    <a:pt x="215" y="129"/>
                    <a:pt x="215" y="127"/>
                  </a:cubicBezTo>
                  <a:cubicBezTo>
                    <a:pt x="216" y="122"/>
                    <a:pt x="214" y="117"/>
                    <a:pt x="216" y="113"/>
                  </a:cubicBezTo>
                  <a:cubicBezTo>
                    <a:pt x="217" y="111"/>
                    <a:pt x="219" y="114"/>
                    <a:pt x="221" y="115"/>
                  </a:cubicBezTo>
                  <a:cubicBezTo>
                    <a:pt x="230" y="119"/>
                    <a:pt x="224" y="117"/>
                    <a:pt x="233" y="119"/>
                  </a:cubicBezTo>
                  <a:cubicBezTo>
                    <a:pt x="236" y="119"/>
                    <a:pt x="237" y="115"/>
                    <a:pt x="240" y="112"/>
                  </a:cubicBezTo>
                  <a:cubicBezTo>
                    <a:pt x="243" y="109"/>
                    <a:pt x="250" y="107"/>
                    <a:pt x="252" y="103"/>
                  </a:cubicBezTo>
                  <a:cubicBezTo>
                    <a:pt x="261" y="115"/>
                    <a:pt x="253" y="91"/>
                    <a:pt x="254" y="89"/>
                  </a:cubicBezTo>
                  <a:cubicBezTo>
                    <a:pt x="255" y="88"/>
                    <a:pt x="257" y="90"/>
                    <a:pt x="258" y="91"/>
                  </a:cubicBezTo>
                  <a:cubicBezTo>
                    <a:pt x="262" y="99"/>
                    <a:pt x="261" y="108"/>
                    <a:pt x="269" y="112"/>
                  </a:cubicBezTo>
                  <a:cubicBezTo>
                    <a:pt x="273" y="115"/>
                    <a:pt x="274" y="110"/>
                    <a:pt x="278" y="109"/>
                  </a:cubicBezTo>
                  <a:cubicBezTo>
                    <a:pt x="282" y="108"/>
                    <a:pt x="288" y="105"/>
                    <a:pt x="293" y="106"/>
                  </a:cubicBezTo>
                  <a:cubicBezTo>
                    <a:pt x="298" y="107"/>
                    <a:pt x="305" y="116"/>
                    <a:pt x="309" y="115"/>
                  </a:cubicBezTo>
                  <a:cubicBezTo>
                    <a:pt x="312" y="114"/>
                    <a:pt x="319" y="105"/>
                    <a:pt x="320" y="97"/>
                  </a:cubicBezTo>
                  <a:cubicBezTo>
                    <a:pt x="323" y="89"/>
                    <a:pt x="320" y="73"/>
                    <a:pt x="324" y="67"/>
                  </a:cubicBezTo>
                  <a:cubicBezTo>
                    <a:pt x="328" y="61"/>
                    <a:pt x="337" y="60"/>
                    <a:pt x="342" y="59"/>
                  </a:cubicBezTo>
                  <a:cubicBezTo>
                    <a:pt x="347" y="59"/>
                    <a:pt x="350" y="58"/>
                    <a:pt x="354" y="59"/>
                  </a:cubicBezTo>
                  <a:cubicBezTo>
                    <a:pt x="358" y="60"/>
                    <a:pt x="365" y="66"/>
                    <a:pt x="368" y="68"/>
                  </a:cubicBezTo>
                  <a:close/>
                </a:path>
              </a:pathLst>
            </a:custGeom>
            <a:solidFill>
              <a:schemeClr val="bg1">
                <a:lumMod val="85000"/>
              </a:schemeClr>
            </a:solidFill>
            <a:ln w="9525" cap="flat" cmpd="sng">
              <a:solidFill>
                <a:schemeClr val="bg1"/>
              </a:solidFill>
              <a:prstDash val="solid"/>
              <a:round/>
              <a:headEnd type="none" w="med" len="med"/>
              <a:tailEnd type="none" w="med" len="med"/>
            </a:ln>
            <a:effectLst/>
            <a:extLst/>
          </p:spPr>
          <p:txBody>
            <a:bodyPr>
              <a:noAutofit/>
            </a:bodyPr>
            <a:lstStyle/>
            <a:p>
              <a:pPr fontAlgn="auto">
                <a:spcBef>
                  <a:spcPts val="0"/>
                </a:spcBef>
                <a:spcAft>
                  <a:spcPts val="0"/>
                </a:spcAft>
                <a:defRPr/>
              </a:pPr>
              <a:endParaRPr lang="en-CA" kern="0">
                <a:solidFill>
                  <a:sysClr val="windowText" lastClr="000000"/>
                </a:solidFill>
              </a:endParaRPr>
            </a:p>
          </p:txBody>
        </p:sp>
        <p:sp>
          <p:nvSpPr>
            <p:cNvPr id="428" name="Freeform 117"/>
            <p:cNvSpPr>
              <a:spLocks/>
            </p:cNvSpPr>
            <p:nvPr>
              <p:custDataLst>
                <p:tags r:id="rId102"/>
              </p:custDataLst>
            </p:nvPr>
          </p:nvSpPr>
          <p:spPr bwMode="gray">
            <a:xfrm>
              <a:off x="2627974" y="1692513"/>
              <a:ext cx="87205" cy="64646"/>
            </a:xfrm>
            <a:custGeom>
              <a:avLst/>
              <a:gdLst>
                <a:gd name="T0" fmla="*/ 8 w 107"/>
                <a:gd name="T1" fmla="*/ 26 h 84"/>
                <a:gd name="T2" fmla="*/ 29 w 107"/>
                <a:gd name="T3" fmla="*/ 17 h 84"/>
                <a:gd name="T4" fmla="*/ 47 w 107"/>
                <a:gd name="T5" fmla="*/ 6 h 84"/>
                <a:gd name="T6" fmla="*/ 60 w 107"/>
                <a:gd name="T7" fmla="*/ 0 h 84"/>
                <a:gd name="T8" fmla="*/ 101 w 107"/>
                <a:gd name="T9" fmla="*/ 8 h 84"/>
                <a:gd name="T10" fmla="*/ 92 w 107"/>
                <a:gd name="T11" fmla="*/ 42 h 84"/>
                <a:gd name="T12" fmla="*/ 92 w 107"/>
                <a:gd name="T13" fmla="*/ 59 h 84"/>
                <a:gd name="T14" fmla="*/ 51 w 107"/>
                <a:gd name="T15" fmla="*/ 45 h 84"/>
                <a:gd name="T16" fmla="*/ 38 w 107"/>
                <a:gd name="T17" fmla="*/ 54 h 84"/>
                <a:gd name="T18" fmla="*/ 5 w 107"/>
                <a:gd name="T19" fmla="*/ 63 h 84"/>
                <a:gd name="T20" fmla="*/ 5 w 107"/>
                <a:gd name="T21" fmla="*/ 51 h 84"/>
                <a:gd name="T22" fmla="*/ 8 w 107"/>
                <a:gd name="T23" fmla="*/ 26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7" h="84">
                  <a:moveTo>
                    <a:pt x="8" y="26"/>
                  </a:moveTo>
                  <a:cubicBezTo>
                    <a:pt x="16" y="22"/>
                    <a:pt x="19" y="19"/>
                    <a:pt x="29" y="17"/>
                  </a:cubicBezTo>
                  <a:cubicBezTo>
                    <a:pt x="35" y="7"/>
                    <a:pt x="34" y="8"/>
                    <a:pt x="47" y="6"/>
                  </a:cubicBezTo>
                  <a:cubicBezTo>
                    <a:pt x="51" y="3"/>
                    <a:pt x="55" y="2"/>
                    <a:pt x="60" y="0"/>
                  </a:cubicBezTo>
                  <a:cubicBezTo>
                    <a:pt x="74" y="2"/>
                    <a:pt x="88" y="0"/>
                    <a:pt x="101" y="8"/>
                  </a:cubicBezTo>
                  <a:cubicBezTo>
                    <a:pt x="107" y="14"/>
                    <a:pt x="94" y="34"/>
                    <a:pt x="92" y="42"/>
                  </a:cubicBezTo>
                  <a:cubicBezTo>
                    <a:pt x="90" y="51"/>
                    <a:pt x="99" y="59"/>
                    <a:pt x="92" y="59"/>
                  </a:cubicBezTo>
                  <a:cubicBezTo>
                    <a:pt x="54" y="58"/>
                    <a:pt x="71" y="57"/>
                    <a:pt x="51" y="45"/>
                  </a:cubicBezTo>
                  <a:cubicBezTo>
                    <a:pt x="35" y="48"/>
                    <a:pt x="47" y="50"/>
                    <a:pt x="38" y="54"/>
                  </a:cubicBezTo>
                  <a:cubicBezTo>
                    <a:pt x="35" y="84"/>
                    <a:pt x="26" y="66"/>
                    <a:pt x="5" y="63"/>
                  </a:cubicBezTo>
                  <a:cubicBezTo>
                    <a:pt x="0" y="55"/>
                    <a:pt x="1" y="60"/>
                    <a:pt x="5" y="51"/>
                  </a:cubicBezTo>
                  <a:cubicBezTo>
                    <a:pt x="7" y="42"/>
                    <a:pt x="6" y="36"/>
                    <a:pt x="8" y="26"/>
                  </a:cubicBezTo>
                  <a:close/>
                </a:path>
              </a:pathLst>
            </a:custGeom>
            <a:solidFill>
              <a:schemeClr val="bg1">
                <a:lumMod val="85000"/>
              </a:schemeClr>
            </a:solidFill>
            <a:ln w="9525" cap="flat" cmpd="sng">
              <a:solidFill>
                <a:schemeClr val="bg1"/>
              </a:solidFill>
              <a:prstDash val="solid"/>
              <a:round/>
              <a:headEnd type="none" w="med" len="med"/>
              <a:tailEnd type="none" w="med" len="med"/>
            </a:ln>
            <a:effectLst/>
            <a:extLst/>
          </p:spPr>
          <p:txBody>
            <a:bodyPr>
              <a:noAutofit/>
            </a:bodyPr>
            <a:lstStyle/>
            <a:p>
              <a:pPr fontAlgn="auto">
                <a:spcBef>
                  <a:spcPts val="0"/>
                </a:spcBef>
                <a:spcAft>
                  <a:spcPts val="0"/>
                </a:spcAft>
                <a:defRPr/>
              </a:pPr>
              <a:endParaRPr lang="en-CA" kern="0">
                <a:solidFill>
                  <a:sysClr val="windowText" lastClr="000000"/>
                </a:solidFill>
              </a:endParaRPr>
            </a:p>
          </p:txBody>
        </p:sp>
        <p:sp>
          <p:nvSpPr>
            <p:cNvPr id="429" name="Freeform 118"/>
            <p:cNvSpPr>
              <a:spLocks/>
            </p:cNvSpPr>
            <p:nvPr>
              <p:custDataLst>
                <p:tags r:id="rId103"/>
              </p:custDataLst>
            </p:nvPr>
          </p:nvSpPr>
          <p:spPr bwMode="gray">
            <a:xfrm>
              <a:off x="2222347" y="2247397"/>
              <a:ext cx="195213" cy="179318"/>
            </a:xfrm>
            <a:custGeom>
              <a:avLst/>
              <a:gdLst>
                <a:gd name="T0" fmla="*/ 1 w 240"/>
                <a:gd name="T1" fmla="*/ 157 h 233"/>
                <a:gd name="T2" fmla="*/ 82 w 240"/>
                <a:gd name="T3" fmla="*/ 158 h 233"/>
                <a:gd name="T4" fmla="*/ 96 w 240"/>
                <a:gd name="T5" fmla="*/ 145 h 233"/>
                <a:gd name="T6" fmla="*/ 85 w 240"/>
                <a:gd name="T7" fmla="*/ 73 h 233"/>
                <a:gd name="T8" fmla="*/ 73 w 240"/>
                <a:gd name="T9" fmla="*/ 25 h 233"/>
                <a:gd name="T10" fmla="*/ 82 w 240"/>
                <a:gd name="T11" fmla="*/ 10 h 233"/>
                <a:gd name="T12" fmla="*/ 99 w 240"/>
                <a:gd name="T13" fmla="*/ 5 h 233"/>
                <a:gd name="T14" fmla="*/ 120 w 240"/>
                <a:gd name="T15" fmla="*/ 14 h 233"/>
                <a:gd name="T16" fmla="*/ 133 w 240"/>
                <a:gd name="T17" fmla="*/ 26 h 233"/>
                <a:gd name="T18" fmla="*/ 147 w 240"/>
                <a:gd name="T19" fmla="*/ 35 h 233"/>
                <a:gd name="T20" fmla="*/ 165 w 240"/>
                <a:gd name="T21" fmla="*/ 47 h 233"/>
                <a:gd name="T22" fmla="*/ 178 w 240"/>
                <a:gd name="T23" fmla="*/ 56 h 233"/>
                <a:gd name="T24" fmla="*/ 186 w 240"/>
                <a:gd name="T25" fmla="*/ 62 h 233"/>
                <a:gd name="T26" fmla="*/ 201 w 240"/>
                <a:gd name="T27" fmla="*/ 79 h 233"/>
                <a:gd name="T28" fmla="*/ 210 w 240"/>
                <a:gd name="T29" fmla="*/ 86 h 233"/>
                <a:gd name="T30" fmla="*/ 235 w 240"/>
                <a:gd name="T31" fmla="*/ 98 h 233"/>
                <a:gd name="T32" fmla="*/ 237 w 240"/>
                <a:gd name="T33" fmla="*/ 119 h 233"/>
                <a:gd name="T34" fmla="*/ 237 w 240"/>
                <a:gd name="T35" fmla="*/ 142 h 233"/>
                <a:gd name="T36" fmla="*/ 226 w 240"/>
                <a:gd name="T37" fmla="*/ 152 h 233"/>
                <a:gd name="T38" fmla="*/ 202 w 240"/>
                <a:gd name="T39" fmla="*/ 155 h 233"/>
                <a:gd name="T40" fmla="*/ 172 w 240"/>
                <a:gd name="T41" fmla="*/ 160 h 233"/>
                <a:gd name="T42" fmla="*/ 148 w 240"/>
                <a:gd name="T43" fmla="*/ 167 h 233"/>
                <a:gd name="T44" fmla="*/ 127 w 240"/>
                <a:gd name="T45" fmla="*/ 181 h 233"/>
                <a:gd name="T46" fmla="*/ 115 w 240"/>
                <a:gd name="T47" fmla="*/ 185 h 233"/>
                <a:gd name="T48" fmla="*/ 102 w 240"/>
                <a:gd name="T49" fmla="*/ 206 h 233"/>
                <a:gd name="T50" fmla="*/ 93 w 240"/>
                <a:gd name="T51" fmla="*/ 233 h 233"/>
                <a:gd name="T52" fmla="*/ 49 w 240"/>
                <a:gd name="T53" fmla="*/ 230 h 233"/>
                <a:gd name="T54" fmla="*/ 28 w 240"/>
                <a:gd name="T55" fmla="*/ 208 h 233"/>
                <a:gd name="T56" fmla="*/ 6 w 240"/>
                <a:gd name="T57" fmla="*/ 202 h 233"/>
                <a:gd name="T58" fmla="*/ 1 w 240"/>
                <a:gd name="T59" fmla="*/ 157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40" h="233">
                  <a:moveTo>
                    <a:pt x="1" y="157"/>
                  </a:moveTo>
                  <a:cubicBezTo>
                    <a:pt x="30" y="160"/>
                    <a:pt x="52" y="159"/>
                    <a:pt x="82" y="158"/>
                  </a:cubicBezTo>
                  <a:cubicBezTo>
                    <a:pt x="90" y="156"/>
                    <a:pt x="92" y="152"/>
                    <a:pt x="96" y="145"/>
                  </a:cubicBezTo>
                  <a:cubicBezTo>
                    <a:pt x="94" y="120"/>
                    <a:pt x="93" y="97"/>
                    <a:pt x="85" y="73"/>
                  </a:cubicBezTo>
                  <a:cubicBezTo>
                    <a:pt x="82" y="58"/>
                    <a:pt x="73" y="35"/>
                    <a:pt x="73" y="25"/>
                  </a:cubicBezTo>
                  <a:cubicBezTo>
                    <a:pt x="73" y="15"/>
                    <a:pt x="78" y="13"/>
                    <a:pt x="82" y="10"/>
                  </a:cubicBezTo>
                  <a:cubicBezTo>
                    <a:pt x="84" y="0"/>
                    <a:pt x="93" y="4"/>
                    <a:pt x="99" y="5"/>
                  </a:cubicBezTo>
                  <a:cubicBezTo>
                    <a:pt x="105" y="6"/>
                    <a:pt x="114" y="11"/>
                    <a:pt x="120" y="14"/>
                  </a:cubicBezTo>
                  <a:cubicBezTo>
                    <a:pt x="121" y="20"/>
                    <a:pt x="127" y="23"/>
                    <a:pt x="133" y="26"/>
                  </a:cubicBezTo>
                  <a:cubicBezTo>
                    <a:pt x="138" y="33"/>
                    <a:pt x="139" y="34"/>
                    <a:pt x="147" y="35"/>
                  </a:cubicBezTo>
                  <a:cubicBezTo>
                    <a:pt x="155" y="38"/>
                    <a:pt x="158" y="43"/>
                    <a:pt x="165" y="47"/>
                  </a:cubicBezTo>
                  <a:cubicBezTo>
                    <a:pt x="169" y="54"/>
                    <a:pt x="172" y="52"/>
                    <a:pt x="178" y="56"/>
                  </a:cubicBezTo>
                  <a:cubicBezTo>
                    <a:pt x="180" y="59"/>
                    <a:pt x="185" y="59"/>
                    <a:pt x="186" y="62"/>
                  </a:cubicBezTo>
                  <a:cubicBezTo>
                    <a:pt x="188" y="66"/>
                    <a:pt x="197" y="75"/>
                    <a:pt x="201" y="79"/>
                  </a:cubicBezTo>
                  <a:cubicBezTo>
                    <a:pt x="205" y="83"/>
                    <a:pt x="204" y="83"/>
                    <a:pt x="210" y="86"/>
                  </a:cubicBezTo>
                  <a:cubicBezTo>
                    <a:pt x="220" y="89"/>
                    <a:pt x="227" y="92"/>
                    <a:pt x="235" y="98"/>
                  </a:cubicBezTo>
                  <a:cubicBezTo>
                    <a:pt x="240" y="104"/>
                    <a:pt x="238" y="110"/>
                    <a:pt x="237" y="119"/>
                  </a:cubicBezTo>
                  <a:cubicBezTo>
                    <a:pt x="237" y="126"/>
                    <a:pt x="239" y="137"/>
                    <a:pt x="237" y="142"/>
                  </a:cubicBezTo>
                  <a:cubicBezTo>
                    <a:pt x="235" y="147"/>
                    <a:pt x="232" y="150"/>
                    <a:pt x="226" y="152"/>
                  </a:cubicBezTo>
                  <a:cubicBezTo>
                    <a:pt x="220" y="162"/>
                    <a:pt x="211" y="154"/>
                    <a:pt x="202" y="155"/>
                  </a:cubicBezTo>
                  <a:cubicBezTo>
                    <a:pt x="193" y="156"/>
                    <a:pt x="181" y="158"/>
                    <a:pt x="172" y="160"/>
                  </a:cubicBezTo>
                  <a:cubicBezTo>
                    <a:pt x="162" y="161"/>
                    <a:pt x="157" y="165"/>
                    <a:pt x="148" y="167"/>
                  </a:cubicBezTo>
                  <a:cubicBezTo>
                    <a:pt x="140" y="171"/>
                    <a:pt x="135" y="179"/>
                    <a:pt x="127" y="181"/>
                  </a:cubicBezTo>
                  <a:cubicBezTo>
                    <a:pt x="122" y="187"/>
                    <a:pt x="123" y="184"/>
                    <a:pt x="115" y="185"/>
                  </a:cubicBezTo>
                  <a:cubicBezTo>
                    <a:pt x="108" y="196"/>
                    <a:pt x="113" y="199"/>
                    <a:pt x="102" y="206"/>
                  </a:cubicBezTo>
                  <a:cubicBezTo>
                    <a:pt x="97" y="213"/>
                    <a:pt x="102" y="229"/>
                    <a:pt x="93" y="233"/>
                  </a:cubicBezTo>
                  <a:cubicBezTo>
                    <a:pt x="81" y="232"/>
                    <a:pt x="61" y="232"/>
                    <a:pt x="49" y="230"/>
                  </a:cubicBezTo>
                  <a:cubicBezTo>
                    <a:pt x="54" y="230"/>
                    <a:pt x="37" y="210"/>
                    <a:pt x="28" y="208"/>
                  </a:cubicBezTo>
                  <a:cubicBezTo>
                    <a:pt x="22" y="205"/>
                    <a:pt x="13" y="203"/>
                    <a:pt x="6" y="202"/>
                  </a:cubicBezTo>
                  <a:cubicBezTo>
                    <a:pt x="0" y="193"/>
                    <a:pt x="2" y="167"/>
                    <a:pt x="1" y="157"/>
                  </a:cubicBezTo>
                  <a:close/>
                </a:path>
              </a:pathLst>
            </a:custGeom>
            <a:solidFill>
              <a:schemeClr val="bg1">
                <a:lumMod val="85000"/>
              </a:schemeClr>
            </a:solidFill>
            <a:ln w="9525" cap="flat" cmpd="sng">
              <a:solidFill>
                <a:schemeClr val="bg1"/>
              </a:solidFill>
              <a:prstDash val="solid"/>
              <a:round/>
              <a:headEnd type="none" w="med" len="med"/>
              <a:tailEnd type="none" w="med" len="med"/>
            </a:ln>
            <a:effectLst/>
            <a:extLst/>
          </p:spPr>
          <p:txBody>
            <a:bodyPr>
              <a:noAutofit/>
            </a:bodyPr>
            <a:lstStyle/>
            <a:p>
              <a:pPr fontAlgn="auto">
                <a:spcBef>
                  <a:spcPts val="0"/>
                </a:spcBef>
                <a:spcAft>
                  <a:spcPts val="0"/>
                </a:spcAft>
                <a:defRPr/>
              </a:pPr>
              <a:endParaRPr lang="en-CA" kern="0">
                <a:solidFill>
                  <a:sysClr val="windowText" lastClr="000000"/>
                </a:solidFill>
              </a:endParaRPr>
            </a:p>
          </p:txBody>
        </p:sp>
        <p:sp>
          <p:nvSpPr>
            <p:cNvPr id="430" name="Freeform 119"/>
            <p:cNvSpPr>
              <a:spLocks/>
            </p:cNvSpPr>
            <p:nvPr>
              <p:custDataLst>
                <p:tags r:id="rId104"/>
              </p:custDataLst>
            </p:nvPr>
          </p:nvSpPr>
          <p:spPr bwMode="gray">
            <a:xfrm>
              <a:off x="2667976" y="2719934"/>
              <a:ext cx="98406" cy="90045"/>
            </a:xfrm>
            <a:custGeom>
              <a:avLst/>
              <a:gdLst>
                <a:gd name="T0" fmla="*/ 2 w 121"/>
                <a:gd name="T1" fmla="*/ 42 h 117"/>
                <a:gd name="T2" fmla="*/ 34 w 121"/>
                <a:gd name="T3" fmla="*/ 36 h 117"/>
                <a:gd name="T4" fmla="*/ 49 w 121"/>
                <a:gd name="T5" fmla="*/ 20 h 117"/>
                <a:gd name="T6" fmla="*/ 58 w 121"/>
                <a:gd name="T7" fmla="*/ 11 h 117"/>
                <a:gd name="T8" fmla="*/ 77 w 121"/>
                <a:gd name="T9" fmla="*/ 0 h 117"/>
                <a:gd name="T10" fmla="*/ 92 w 121"/>
                <a:gd name="T11" fmla="*/ 12 h 117"/>
                <a:gd name="T12" fmla="*/ 109 w 121"/>
                <a:gd name="T13" fmla="*/ 21 h 117"/>
                <a:gd name="T14" fmla="*/ 110 w 121"/>
                <a:gd name="T15" fmla="*/ 92 h 117"/>
                <a:gd name="T16" fmla="*/ 101 w 121"/>
                <a:gd name="T17" fmla="*/ 108 h 117"/>
                <a:gd name="T18" fmla="*/ 83 w 121"/>
                <a:gd name="T19" fmla="*/ 114 h 117"/>
                <a:gd name="T20" fmla="*/ 44 w 121"/>
                <a:gd name="T21" fmla="*/ 98 h 117"/>
                <a:gd name="T22" fmla="*/ 32 w 121"/>
                <a:gd name="T23" fmla="*/ 89 h 117"/>
                <a:gd name="T24" fmla="*/ 26 w 121"/>
                <a:gd name="T25" fmla="*/ 78 h 117"/>
                <a:gd name="T26" fmla="*/ 14 w 121"/>
                <a:gd name="T27" fmla="*/ 71 h 117"/>
                <a:gd name="T28" fmla="*/ 6 w 121"/>
                <a:gd name="T29" fmla="*/ 59 h 117"/>
                <a:gd name="T30" fmla="*/ 2 w 121"/>
                <a:gd name="T31" fmla="*/ 51 h 117"/>
                <a:gd name="T32" fmla="*/ 2 w 121"/>
                <a:gd name="T33" fmla="*/ 42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1" h="117">
                  <a:moveTo>
                    <a:pt x="2" y="42"/>
                  </a:moveTo>
                  <a:cubicBezTo>
                    <a:pt x="22" y="41"/>
                    <a:pt x="22" y="43"/>
                    <a:pt x="34" y="36"/>
                  </a:cubicBezTo>
                  <a:cubicBezTo>
                    <a:pt x="27" y="23"/>
                    <a:pt x="39" y="21"/>
                    <a:pt x="49" y="20"/>
                  </a:cubicBezTo>
                  <a:cubicBezTo>
                    <a:pt x="53" y="14"/>
                    <a:pt x="51" y="12"/>
                    <a:pt x="58" y="11"/>
                  </a:cubicBezTo>
                  <a:cubicBezTo>
                    <a:pt x="64" y="8"/>
                    <a:pt x="71" y="3"/>
                    <a:pt x="77" y="0"/>
                  </a:cubicBezTo>
                  <a:cubicBezTo>
                    <a:pt x="88" y="4"/>
                    <a:pt x="80" y="10"/>
                    <a:pt x="92" y="12"/>
                  </a:cubicBezTo>
                  <a:cubicBezTo>
                    <a:pt x="99" y="15"/>
                    <a:pt x="101" y="19"/>
                    <a:pt x="109" y="21"/>
                  </a:cubicBezTo>
                  <a:cubicBezTo>
                    <a:pt x="120" y="40"/>
                    <a:pt x="121" y="71"/>
                    <a:pt x="110" y="92"/>
                  </a:cubicBezTo>
                  <a:cubicBezTo>
                    <a:pt x="109" y="99"/>
                    <a:pt x="108" y="107"/>
                    <a:pt x="101" y="108"/>
                  </a:cubicBezTo>
                  <a:cubicBezTo>
                    <a:pt x="95" y="117"/>
                    <a:pt x="95" y="116"/>
                    <a:pt x="83" y="114"/>
                  </a:cubicBezTo>
                  <a:cubicBezTo>
                    <a:pt x="79" y="111"/>
                    <a:pt x="50" y="99"/>
                    <a:pt x="44" y="98"/>
                  </a:cubicBezTo>
                  <a:cubicBezTo>
                    <a:pt x="39" y="95"/>
                    <a:pt x="35" y="94"/>
                    <a:pt x="32" y="89"/>
                  </a:cubicBezTo>
                  <a:cubicBezTo>
                    <a:pt x="29" y="85"/>
                    <a:pt x="29" y="81"/>
                    <a:pt x="26" y="78"/>
                  </a:cubicBezTo>
                  <a:cubicBezTo>
                    <a:pt x="23" y="75"/>
                    <a:pt x="17" y="74"/>
                    <a:pt x="14" y="71"/>
                  </a:cubicBezTo>
                  <a:cubicBezTo>
                    <a:pt x="9" y="66"/>
                    <a:pt x="8" y="62"/>
                    <a:pt x="6" y="59"/>
                  </a:cubicBezTo>
                  <a:cubicBezTo>
                    <a:pt x="4" y="56"/>
                    <a:pt x="3" y="54"/>
                    <a:pt x="2" y="51"/>
                  </a:cubicBezTo>
                  <a:cubicBezTo>
                    <a:pt x="1" y="44"/>
                    <a:pt x="0" y="47"/>
                    <a:pt x="2" y="42"/>
                  </a:cubicBezTo>
                  <a:close/>
                </a:path>
              </a:pathLst>
            </a:custGeom>
            <a:solidFill>
              <a:schemeClr val="bg1">
                <a:lumMod val="85000"/>
              </a:schemeClr>
            </a:solidFill>
            <a:ln w="9525" cap="flat" cmpd="sng">
              <a:solidFill>
                <a:schemeClr val="bg1"/>
              </a:solidFill>
              <a:prstDash val="solid"/>
              <a:round/>
              <a:headEnd type="none" w="med" len="med"/>
              <a:tailEnd type="none" w="med" len="med"/>
            </a:ln>
            <a:effectLst/>
            <a:extLst/>
          </p:spPr>
          <p:txBody>
            <a:bodyPr>
              <a:noAutofit/>
            </a:bodyPr>
            <a:lstStyle/>
            <a:p>
              <a:pPr fontAlgn="auto">
                <a:spcBef>
                  <a:spcPts val="0"/>
                </a:spcBef>
                <a:spcAft>
                  <a:spcPts val="0"/>
                </a:spcAft>
                <a:defRPr/>
              </a:pPr>
              <a:endParaRPr lang="en-CA" kern="0">
                <a:solidFill>
                  <a:sysClr val="windowText" lastClr="000000"/>
                </a:solidFill>
              </a:endParaRPr>
            </a:p>
          </p:txBody>
        </p:sp>
        <p:sp>
          <p:nvSpPr>
            <p:cNvPr id="431" name="Freeform 120"/>
            <p:cNvSpPr>
              <a:spLocks/>
            </p:cNvSpPr>
            <p:nvPr>
              <p:custDataLst>
                <p:tags r:id="rId105"/>
              </p:custDataLst>
            </p:nvPr>
          </p:nvSpPr>
          <p:spPr bwMode="gray">
            <a:xfrm>
              <a:off x="2887190" y="2027292"/>
              <a:ext cx="33602" cy="30016"/>
            </a:xfrm>
            <a:custGeom>
              <a:avLst/>
              <a:gdLst>
                <a:gd name="T0" fmla="*/ 0 w 42"/>
                <a:gd name="T1" fmla="*/ 3 h 39"/>
                <a:gd name="T2" fmla="*/ 23 w 42"/>
                <a:gd name="T3" fmla="*/ 0 h 39"/>
                <a:gd name="T4" fmla="*/ 31 w 42"/>
                <a:gd name="T5" fmla="*/ 16 h 39"/>
                <a:gd name="T6" fmla="*/ 36 w 42"/>
                <a:gd name="T7" fmla="*/ 27 h 39"/>
                <a:gd name="T8" fmla="*/ 42 w 42"/>
                <a:gd name="T9" fmla="*/ 38 h 39"/>
                <a:gd name="T10" fmla="*/ 27 w 42"/>
                <a:gd name="T11" fmla="*/ 33 h 39"/>
                <a:gd name="T12" fmla="*/ 18 w 42"/>
                <a:gd name="T13" fmla="*/ 39 h 39"/>
                <a:gd name="T14" fmla="*/ 2 w 42"/>
                <a:gd name="T15" fmla="*/ 17 h 39"/>
                <a:gd name="T16" fmla="*/ 0 w 42"/>
                <a:gd name="T17" fmla="*/ 3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 h="39">
                  <a:moveTo>
                    <a:pt x="0" y="3"/>
                  </a:moveTo>
                  <a:lnTo>
                    <a:pt x="23" y="0"/>
                  </a:lnTo>
                  <a:lnTo>
                    <a:pt x="31" y="16"/>
                  </a:lnTo>
                  <a:lnTo>
                    <a:pt x="36" y="27"/>
                  </a:lnTo>
                  <a:lnTo>
                    <a:pt x="42" y="38"/>
                  </a:lnTo>
                  <a:lnTo>
                    <a:pt x="27" y="33"/>
                  </a:lnTo>
                  <a:lnTo>
                    <a:pt x="18" y="39"/>
                  </a:lnTo>
                  <a:lnTo>
                    <a:pt x="2" y="17"/>
                  </a:lnTo>
                  <a:lnTo>
                    <a:pt x="0" y="3"/>
                  </a:lnTo>
                  <a:close/>
                </a:path>
              </a:pathLst>
            </a:custGeom>
            <a:solidFill>
              <a:schemeClr val="bg1">
                <a:lumMod val="85000"/>
              </a:schemeClr>
            </a:solidFill>
            <a:ln w="9525" cap="flat" cmpd="sng">
              <a:solidFill>
                <a:schemeClr val="bg1"/>
              </a:solidFill>
              <a:prstDash val="solid"/>
              <a:round/>
              <a:headEnd type="none" w="med" len="med"/>
              <a:tailEnd type="none" w="med" len="med"/>
            </a:ln>
            <a:effectLst/>
            <a:extLst/>
          </p:spPr>
          <p:txBody>
            <a:bodyPr>
              <a:noAutofit/>
            </a:bodyPr>
            <a:lstStyle/>
            <a:p>
              <a:pPr fontAlgn="auto">
                <a:spcBef>
                  <a:spcPts val="0"/>
                </a:spcBef>
                <a:spcAft>
                  <a:spcPts val="0"/>
                </a:spcAft>
                <a:defRPr/>
              </a:pPr>
              <a:endParaRPr lang="en-CA" kern="0">
                <a:solidFill>
                  <a:sysClr val="windowText" lastClr="000000"/>
                </a:solidFill>
              </a:endParaRPr>
            </a:p>
          </p:txBody>
        </p:sp>
        <p:sp>
          <p:nvSpPr>
            <p:cNvPr id="432" name="Freeform 127"/>
            <p:cNvSpPr>
              <a:spLocks/>
            </p:cNvSpPr>
            <p:nvPr>
              <p:custDataLst>
                <p:tags r:id="rId106"/>
              </p:custDataLst>
            </p:nvPr>
          </p:nvSpPr>
          <p:spPr bwMode="gray">
            <a:xfrm>
              <a:off x="2161541" y="2385156"/>
              <a:ext cx="48803" cy="16931"/>
            </a:xfrm>
            <a:custGeom>
              <a:avLst/>
              <a:gdLst>
                <a:gd name="T0" fmla="*/ 0 w 60"/>
                <a:gd name="T1" fmla="*/ 9 h 22"/>
                <a:gd name="T2" fmla="*/ 27 w 60"/>
                <a:gd name="T3" fmla="*/ 9 h 22"/>
                <a:gd name="T4" fmla="*/ 39 w 60"/>
                <a:gd name="T5" fmla="*/ 8 h 22"/>
                <a:gd name="T6" fmla="*/ 48 w 60"/>
                <a:gd name="T7" fmla="*/ 0 h 22"/>
                <a:gd name="T8" fmla="*/ 60 w 60"/>
                <a:gd name="T9" fmla="*/ 9 h 22"/>
                <a:gd name="T10" fmla="*/ 49 w 60"/>
                <a:gd name="T11" fmla="*/ 19 h 22"/>
                <a:gd name="T12" fmla="*/ 40 w 60"/>
                <a:gd name="T13" fmla="*/ 16 h 22"/>
                <a:gd name="T14" fmla="*/ 30 w 60"/>
                <a:gd name="T15" fmla="*/ 22 h 22"/>
                <a:gd name="T16" fmla="*/ 3 w 60"/>
                <a:gd name="T17" fmla="*/ 21 h 22"/>
                <a:gd name="T18" fmla="*/ 0 w 60"/>
                <a:gd name="T19" fmla="*/ 9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22">
                  <a:moveTo>
                    <a:pt x="0" y="9"/>
                  </a:moveTo>
                  <a:lnTo>
                    <a:pt x="27" y="9"/>
                  </a:lnTo>
                  <a:lnTo>
                    <a:pt x="39" y="8"/>
                  </a:lnTo>
                  <a:lnTo>
                    <a:pt x="48" y="0"/>
                  </a:lnTo>
                  <a:lnTo>
                    <a:pt x="60" y="9"/>
                  </a:lnTo>
                  <a:lnTo>
                    <a:pt x="49" y="19"/>
                  </a:lnTo>
                  <a:lnTo>
                    <a:pt x="40" y="16"/>
                  </a:lnTo>
                  <a:lnTo>
                    <a:pt x="30" y="22"/>
                  </a:lnTo>
                  <a:lnTo>
                    <a:pt x="3" y="21"/>
                  </a:lnTo>
                  <a:lnTo>
                    <a:pt x="0" y="9"/>
                  </a:lnTo>
                  <a:close/>
                </a:path>
              </a:pathLst>
            </a:custGeom>
            <a:solidFill>
              <a:schemeClr val="bg1">
                <a:lumMod val="85000"/>
              </a:schemeClr>
            </a:solidFill>
            <a:ln w="9525" cap="flat" cmpd="sng">
              <a:solidFill>
                <a:schemeClr val="bg1"/>
              </a:solidFill>
              <a:prstDash val="solid"/>
              <a:round/>
              <a:headEnd type="none" w="med" len="med"/>
              <a:tailEnd type="none" w="med" len="med"/>
            </a:ln>
            <a:effectLst/>
            <a:extLst/>
          </p:spPr>
          <p:txBody>
            <a:bodyPr>
              <a:noAutofit/>
            </a:bodyPr>
            <a:lstStyle/>
            <a:p>
              <a:pPr fontAlgn="auto">
                <a:spcBef>
                  <a:spcPts val="0"/>
                </a:spcBef>
                <a:spcAft>
                  <a:spcPts val="0"/>
                </a:spcAft>
                <a:defRPr/>
              </a:pPr>
              <a:endParaRPr lang="en-CA" kern="0">
                <a:solidFill>
                  <a:sysClr val="windowText" lastClr="000000"/>
                </a:solidFill>
              </a:endParaRPr>
            </a:p>
          </p:txBody>
        </p:sp>
        <p:sp>
          <p:nvSpPr>
            <p:cNvPr id="433" name="Freeform 128"/>
            <p:cNvSpPr>
              <a:spLocks/>
            </p:cNvSpPr>
            <p:nvPr>
              <p:custDataLst>
                <p:tags r:id="rId107"/>
              </p:custDataLst>
            </p:nvPr>
          </p:nvSpPr>
          <p:spPr bwMode="gray">
            <a:xfrm>
              <a:off x="2162341" y="2399009"/>
              <a:ext cx="39203" cy="22319"/>
            </a:xfrm>
            <a:custGeom>
              <a:avLst/>
              <a:gdLst>
                <a:gd name="T0" fmla="*/ 0 w 48"/>
                <a:gd name="T1" fmla="*/ 23 h 29"/>
                <a:gd name="T2" fmla="*/ 21 w 48"/>
                <a:gd name="T3" fmla="*/ 29 h 29"/>
                <a:gd name="T4" fmla="*/ 30 w 48"/>
                <a:gd name="T5" fmla="*/ 21 h 29"/>
                <a:gd name="T6" fmla="*/ 48 w 48"/>
                <a:gd name="T7" fmla="*/ 0 h 29"/>
                <a:gd name="T8" fmla="*/ 26 w 48"/>
                <a:gd name="T9" fmla="*/ 3 h 29"/>
                <a:gd name="T10" fmla="*/ 3 w 48"/>
                <a:gd name="T11" fmla="*/ 3 h 29"/>
                <a:gd name="T12" fmla="*/ 2 w 48"/>
                <a:gd name="T13" fmla="*/ 14 h 29"/>
                <a:gd name="T14" fmla="*/ 0 w 48"/>
                <a:gd name="T15" fmla="*/ 23 h 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29">
                  <a:moveTo>
                    <a:pt x="0" y="23"/>
                  </a:moveTo>
                  <a:lnTo>
                    <a:pt x="21" y="29"/>
                  </a:lnTo>
                  <a:lnTo>
                    <a:pt x="30" y="21"/>
                  </a:lnTo>
                  <a:lnTo>
                    <a:pt x="48" y="0"/>
                  </a:lnTo>
                  <a:lnTo>
                    <a:pt x="26" y="3"/>
                  </a:lnTo>
                  <a:lnTo>
                    <a:pt x="3" y="3"/>
                  </a:lnTo>
                  <a:lnTo>
                    <a:pt x="2" y="14"/>
                  </a:lnTo>
                  <a:lnTo>
                    <a:pt x="0" y="23"/>
                  </a:lnTo>
                  <a:close/>
                </a:path>
              </a:pathLst>
            </a:custGeom>
            <a:solidFill>
              <a:schemeClr val="bg1">
                <a:lumMod val="85000"/>
              </a:schemeClr>
            </a:solidFill>
            <a:ln w="9525" cap="flat" cmpd="sng">
              <a:solidFill>
                <a:schemeClr val="bg1"/>
              </a:solidFill>
              <a:prstDash val="solid"/>
              <a:round/>
              <a:headEnd type="none" w="med" len="med"/>
              <a:tailEnd type="none" w="med" len="med"/>
            </a:ln>
            <a:effectLst/>
            <a:extLst/>
          </p:spPr>
          <p:txBody>
            <a:bodyPr>
              <a:noAutofit/>
            </a:bodyPr>
            <a:lstStyle/>
            <a:p>
              <a:pPr fontAlgn="auto">
                <a:spcBef>
                  <a:spcPts val="0"/>
                </a:spcBef>
                <a:spcAft>
                  <a:spcPts val="0"/>
                </a:spcAft>
                <a:defRPr/>
              </a:pPr>
              <a:endParaRPr lang="en-CA" kern="0">
                <a:solidFill>
                  <a:sysClr val="windowText" lastClr="000000"/>
                </a:solidFill>
              </a:endParaRPr>
            </a:p>
          </p:txBody>
        </p:sp>
        <p:sp>
          <p:nvSpPr>
            <p:cNvPr id="434" name="Freeform 129"/>
            <p:cNvSpPr>
              <a:spLocks/>
            </p:cNvSpPr>
            <p:nvPr>
              <p:custDataLst>
                <p:tags r:id="rId108"/>
              </p:custDataLst>
            </p:nvPr>
          </p:nvSpPr>
          <p:spPr bwMode="gray">
            <a:xfrm>
              <a:off x="2159141" y="2352064"/>
              <a:ext cx="64003" cy="53103"/>
            </a:xfrm>
            <a:custGeom>
              <a:avLst/>
              <a:gdLst>
                <a:gd name="T0" fmla="*/ 10 w 79"/>
                <a:gd name="T1" fmla="*/ 4 h 69"/>
                <a:gd name="T2" fmla="*/ 27 w 79"/>
                <a:gd name="T3" fmla="*/ 0 h 69"/>
                <a:gd name="T4" fmla="*/ 55 w 79"/>
                <a:gd name="T5" fmla="*/ 10 h 69"/>
                <a:gd name="T6" fmla="*/ 63 w 79"/>
                <a:gd name="T7" fmla="*/ 21 h 69"/>
                <a:gd name="T8" fmla="*/ 79 w 79"/>
                <a:gd name="T9" fmla="*/ 22 h 69"/>
                <a:gd name="T10" fmla="*/ 79 w 79"/>
                <a:gd name="T11" fmla="*/ 51 h 69"/>
                <a:gd name="T12" fmla="*/ 79 w 79"/>
                <a:gd name="T13" fmla="*/ 69 h 69"/>
                <a:gd name="T14" fmla="*/ 66 w 79"/>
                <a:gd name="T15" fmla="*/ 64 h 69"/>
                <a:gd name="T16" fmla="*/ 57 w 79"/>
                <a:gd name="T17" fmla="*/ 58 h 69"/>
                <a:gd name="T18" fmla="*/ 4 w 79"/>
                <a:gd name="T19" fmla="*/ 67 h 69"/>
                <a:gd name="T20" fmla="*/ 22 w 79"/>
                <a:gd name="T21" fmla="*/ 63 h 69"/>
                <a:gd name="T22" fmla="*/ 46 w 79"/>
                <a:gd name="T23" fmla="*/ 61 h 69"/>
                <a:gd name="T24" fmla="*/ 60 w 79"/>
                <a:gd name="T25" fmla="*/ 54 h 69"/>
                <a:gd name="T26" fmla="*/ 51 w 79"/>
                <a:gd name="T27" fmla="*/ 43 h 69"/>
                <a:gd name="T28" fmla="*/ 42 w 79"/>
                <a:gd name="T29" fmla="*/ 52 h 69"/>
                <a:gd name="T30" fmla="*/ 1 w 79"/>
                <a:gd name="T31" fmla="*/ 54 h 69"/>
                <a:gd name="T32" fmla="*/ 0 w 79"/>
                <a:gd name="T33" fmla="*/ 28 h 69"/>
                <a:gd name="T34" fmla="*/ 6 w 79"/>
                <a:gd name="T35" fmla="*/ 16 h 69"/>
                <a:gd name="T36" fmla="*/ 10 w 79"/>
                <a:gd name="T37" fmla="*/ 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9" h="69">
                  <a:moveTo>
                    <a:pt x="10" y="4"/>
                  </a:moveTo>
                  <a:lnTo>
                    <a:pt x="27" y="0"/>
                  </a:lnTo>
                  <a:lnTo>
                    <a:pt x="55" y="10"/>
                  </a:lnTo>
                  <a:lnTo>
                    <a:pt x="63" y="21"/>
                  </a:lnTo>
                  <a:lnTo>
                    <a:pt x="79" y="22"/>
                  </a:lnTo>
                  <a:lnTo>
                    <a:pt x="79" y="51"/>
                  </a:lnTo>
                  <a:lnTo>
                    <a:pt x="79" y="69"/>
                  </a:lnTo>
                  <a:lnTo>
                    <a:pt x="66" y="64"/>
                  </a:lnTo>
                  <a:lnTo>
                    <a:pt x="57" y="58"/>
                  </a:lnTo>
                  <a:lnTo>
                    <a:pt x="4" y="67"/>
                  </a:lnTo>
                  <a:lnTo>
                    <a:pt x="22" y="63"/>
                  </a:lnTo>
                  <a:lnTo>
                    <a:pt x="46" y="61"/>
                  </a:lnTo>
                  <a:lnTo>
                    <a:pt x="60" y="54"/>
                  </a:lnTo>
                  <a:lnTo>
                    <a:pt x="51" y="43"/>
                  </a:lnTo>
                  <a:lnTo>
                    <a:pt x="42" y="52"/>
                  </a:lnTo>
                  <a:lnTo>
                    <a:pt x="1" y="54"/>
                  </a:lnTo>
                  <a:lnTo>
                    <a:pt x="0" y="28"/>
                  </a:lnTo>
                  <a:lnTo>
                    <a:pt x="6" y="16"/>
                  </a:lnTo>
                  <a:lnTo>
                    <a:pt x="10" y="4"/>
                  </a:lnTo>
                  <a:close/>
                </a:path>
              </a:pathLst>
            </a:custGeom>
            <a:solidFill>
              <a:schemeClr val="bg1">
                <a:lumMod val="85000"/>
              </a:schemeClr>
            </a:solidFill>
            <a:ln w="9525" cap="flat" cmpd="sng">
              <a:solidFill>
                <a:schemeClr val="bg1"/>
              </a:solidFill>
              <a:prstDash val="solid"/>
              <a:round/>
              <a:headEnd type="none" w="med" len="med"/>
              <a:tailEnd type="none" w="med" len="med"/>
            </a:ln>
            <a:effectLst/>
            <a:extLst/>
          </p:spPr>
          <p:txBody>
            <a:bodyPr>
              <a:noAutofit/>
            </a:bodyPr>
            <a:lstStyle/>
            <a:p>
              <a:pPr fontAlgn="auto">
                <a:spcBef>
                  <a:spcPts val="0"/>
                </a:spcBef>
                <a:spcAft>
                  <a:spcPts val="0"/>
                </a:spcAft>
                <a:defRPr/>
              </a:pPr>
              <a:endParaRPr lang="en-CA" kern="0">
                <a:solidFill>
                  <a:sysClr val="windowText" lastClr="000000"/>
                </a:solidFill>
              </a:endParaRPr>
            </a:p>
          </p:txBody>
        </p:sp>
        <p:sp>
          <p:nvSpPr>
            <p:cNvPr id="435" name="Freeform 130"/>
            <p:cNvSpPr>
              <a:spLocks/>
            </p:cNvSpPr>
            <p:nvPr>
              <p:custDataLst>
                <p:tags r:id="rId109"/>
              </p:custDataLst>
            </p:nvPr>
          </p:nvSpPr>
          <p:spPr bwMode="gray">
            <a:xfrm>
              <a:off x="2867590" y="2400164"/>
              <a:ext cx="24001" cy="24627"/>
            </a:xfrm>
            <a:custGeom>
              <a:avLst/>
              <a:gdLst>
                <a:gd name="T0" fmla="*/ 11 w 30"/>
                <a:gd name="T1" fmla="*/ 9 h 32"/>
                <a:gd name="T2" fmla="*/ 24 w 30"/>
                <a:gd name="T3" fmla="*/ 0 h 32"/>
                <a:gd name="T4" fmla="*/ 15 w 30"/>
                <a:gd name="T5" fmla="*/ 20 h 32"/>
                <a:gd name="T6" fmla="*/ 11 w 30"/>
                <a:gd name="T7" fmla="*/ 9 h 32"/>
              </a:gdLst>
              <a:ahLst/>
              <a:cxnLst>
                <a:cxn ang="0">
                  <a:pos x="T0" y="T1"/>
                </a:cxn>
                <a:cxn ang="0">
                  <a:pos x="T2" y="T3"/>
                </a:cxn>
                <a:cxn ang="0">
                  <a:pos x="T4" y="T5"/>
                </a:cxn>
                <a:cxn ang="0">
                  <a:pos x="T6" y="T7"/>
                </a:cxn>
              </a:cxnLst>
              <a:rect l="0" t="0" r="r" b="b"/>
              <a:pathLst>
                <a:path w="30" h="32">
                  <a:moveTo>
                    <a:pt x="11" y="9"/>
                  </a:moveTo>
                  <a:cubicBezTo>
                    <a:pt x="12" y="0"/>
                    <a:pt x="16" y="3"/>
                    <a:pt x="24" y="0"/>
                  </a:cubicBezTo>
                  <a:cubicBezTo>
                    <a:pt x="29" y="13"/>
                    <a:pt x="30" y="32"/>
                    <a:pt x="15" y="20"/>
                  </a:cubicBezTo>
                  <a:cubicBezTo>
                    <a:pt x="11" y="14"/>
                    <a:pt x="0" y="7"/>
                    <a:pt x="11" y="9"/>
                  </a:cubicBezTo>
                  <a:close/>
                </a:path>
              </a:pathLst>
            </a:custGeom>
            <a:solidFill>
              <a:schemeClr val="bg1">
                <a:lumMod val="85000"/>
              </a:schemeClr>
            </a:solidFill>
            <a:ln w="9525" cap="flat" cmpd="sng">
              <a:solidFill>
                <a:schemeClr val="bg1"/>
              </a:solidFill>
              <a:prstDash val="solid"/>
              <a:round/>
              <a:headEnd type="none" w="med" len="med"/>
              <a:tailEnd type="none" w="med" len="med"/>
            </a:ln>
            <a:effectLst/>
            <a:extLst/>
          </p:spPr>
          <p:txBody>
            <a:bodyPr>
              <a:noAutofit/>
            </a:bodyPr>
            <a:lstStyle/>
            <a:p>
              <a:pPr fontAlgn="auto">
                <a:spcBef>
                  <a:spcPts val="0"/>
                </a:spcBef>
                <a:spcAft>
                  <a:spcPts val="0"/>
                </a:spcAft>
                <a:defRPr/>
              </a:pPr>
              <a:endParaRPr lang="en-CA" kern="0">
                <a:solidFill>
                  <a:sysClr val="windowText" lastClr="000000"/>
                </a:solidFill>
              </a:endParaRPr>
            </a:p>
          </p:txBody>
        </p:sp>
        <p:sp>
          <p:nvSpPr>
            <p:cNvPr id="436" name="Freeform 131"/>
            <p:cNvSpPr>
              <a:spLocks/>
            </p:cNvSpPr>
            <p:nvPr>
              <p:custDataLst>
                <p:tags r:id="rId110"/>
              </p:custDataLst>
            </p:nvPr>
          </p:nvSpPr>
          <p:spPr bwMode="gray">
            <a:xfrm>
              <a:off x="2910392" y="2176594"/>
              <a:ext cx="24802" cy="24627"/>
            </a:xfrm>
            <a:custGeom>
              <a:avLst/>
              <a:gdLst>
                <a:gd name="T0" fmla="*/ 11 w 30"/>
                <a:gd name="T1" fmla="*/ 9 h 32"/>
                <a:gd name="T2" fmla="*/ 24 w 30"/>
                <a:gd name="T3" fmla="*/ 0 h 32"/>
                <a:gd name="T4" fmla="*/ 15 w 30"/>
                <a:gd name="T5" fmla="*/ 20 h 32"/>
                <a:gd name="T6" fmla="*/ 11 w 30"/>
                <a:gd name="T7" fmla="*/ 9 h 32"/>
              </a:gdLst>
              <a:ahLst/>
              <a:cxnLst>
                <a:cxn ang="0">
                  <a:pos x="T0" y="T1"/>
                </a:cxn>
                <a:cxn ang="0">
                  <a:pos x="T2" y="T3"/>
                </a:cxn>
                <a:cxn ang="0">
                  <a:pos x="T4" y="T5"/>
                </a:cxn>
                <a:cxn ang="0">
                  <a:pos x="T6" y="T7"/>
                </a:cxn>
              </a:cxnLst>
              <a:rect l="0" t="0" r="r" b="b"/>
              <a:pathLst>
                <a:path w="30" h="32">
                  <a:moveTo>
                    <a:pt x="11" y="9"/>
                  </a:moveTo>
                  <a:cubicBezTo>
                    <a:pt x="12" y="0"/>
                    <a:pt x="16" y="3"/>
                    <a:pt x="24" y="0"/>
                  </a:cubicBezTo>
                  <a:cubicBezTo>
                    <a:pt x="29" y="13"/>
                    <a:pt x="30" y="32"/>
                    <a:pt x="15" y="20"/>
                  </a:cubicBezTo>
                  <a:cubicBezTo>
                    <a:pt x="11" y="14"/>
                    <a:pt x="0" y="7"/>
                    <a:pt x="11" y="9"/>
                  </a:cubicBezTo>
                  <a:close/>
                </a:path>
              </a:pathLst>
            </a:custGeom>
            <a:solidFill>
              <a:schemeClr val="bg1">
                <a:lumMod val="85000"/>
              </a:schemeClr>
            </a:solidFill>
            <a:ln w="9525" cap="flat" cmpd="sng">
              <a:solidFill>
                <a:schemeClr val="bg1"/>
              </a:solidFill>
              <a:prstDash val="solid"/>
              <a:round/>
              <a:headEnd type="none" w="med" len="med"/>
              <a:tailEnd type="none" w="med" len="med"/>
            </a:ln>
            <a:effectLst/>
            <a:extLst/>
          </p:spPr>
          <p:txBody>
            <a:bodyPr>
              <a:noAutofit/>
            </a:bodyPr>
            <a:lstStyle/>
            <a:p>
              <a:pPr fontAlgn="auto">
                <a:spcBef>
                  <a:spcPts val="0"/>
                </a:spcBef>
                <a:spcAft>
                  <a:spcPts val="0"/>
                </a:spcAft>
                <a:defRPr/>
              </a:pPr>
              <a:endParaRPr lang="en-CA" kern="0">
                <a:solidFill>
                  <a:sysClr val="windowText" lastClr="000000"/>
                </a:solidFill>
              </a:endParaRPr>
            </a:p>
          </p:txBody>
        </p:sp>
        <p:sp>
          <p:nvSpPr>
            <p:cNvPr id="437" name="Freeform 132"/>
            <p:cNvSpPr>
              <a:spLocks/>
            </p:cNvSpPr>
            <p:nvPr>
              <p:custDataLst>
                <p:tags r:id="rId111"/>
              </p:custDataLst>
            </p:nvPr>
          </p:nvSpPr>
          <p:spPr bwMode="gray">
            <a:xfrm>
              <a:off x="3210411" y="2001124"/>
              <a:ext cx="102408" cy="55411"/>
            </a:xfrm>
            <a:custGeom>
              <a:avLst/>
              <a:gdLst>
                <a:gd name="T0" fmla="*/ 10 w 126"/>
                <a:gd name="T1" fmla="*/ 15 h 72"/>
                <a:gd name="T2" fmla="*/ 22 w 126"/>
                <a:gd name="T3" fmla="*/ 7 h 72"/>
                <a:gd name="T4" fmla="*/ 40 w 126"/>
                <a:gd name="T5" fmla="*/ 15 h 72"/>
                <a:gd name="T6" fmla="*/ 48 w 126"/>
                <a:gd name="T7" fmla="*/ 7 h 72"/>
                <a:gd name="T8" fmla="*/ 58 w 126"/>
                <a:gd name="T9" fmla="*/ 0 h 72"/>
                <a:gd name="T10" fmla="*/ 84 w 126"/>
                <a:gd name="T11" fmla="*/ 9 h 72"/>
                <a:gd name="T12" fmla="*/ 108 w 126"/>
                <a:gd name="T13" fmla="*/ 6 h 72"/>
                <a:gd name="T14" fmla="*/ 124 w 126"/>
                <a:gd name="T15" fmla="*/ 9 h 72"/>
                <a:gd name="T16" fmla="*/ 126 w 126"/>
                <a:gd name="T17" fmla="*/ 19 h 72"/>
                <a:gd name="T18" fmla="*/ 108 w 126"/>
                <a:gd name="T19" fmla="*/ 39 h 72"/>
                <a:gd name="T20" fmla="*/ 85 w 126"/>
                <a:gd name="T21" fmla="*/ 52 h 72"/>
                <a:gd name="T22" fmla="*/ 73 w 126"/>
                <a:gd name="T23" fmla="*/ 55 h 72"/>
                <a:gd name="T24" fmla="*/ 52 w 126"/>
                <a:gd name="T25" fmla="*/ 60 h 72"/>
                <a:gd name="T26" fmla="*/ 51 w 126"/>
                <a:gd name="T27" fmla="*/ 72 h 72"/>
                <a:gd name="T28" fmla="*/ 9 w 126"/>
                <a:gd name="T29" fmla="*/ 70 h 72"/>
                <a:gd name="T30" fmla="*/ 0 w 126"/>
                <a:gd name="T31" fmla="*/ 51 h 72"/>
                <a:gd name="T32" fmla="*/ 25 w 126"/>
                <a:gd name="T33" fmla="*/ 51 h 72"/>
                <a:gd name="T34" fmla="*/ 34 w 126"/>
                <a:gd name="T35" fmla="*/ 36 h 72"/>
                <a:gd name="T36" fmla="*/ 28 w 126"/>
                <a:gd name="T37" fmla="*/ 28 h 72"/>
                <a:gd name="T38" fmla="*/ 22 w 126"/>
                <a:gd name="T39" fmla="*/ 2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26" h="72">
                  <a:moveTo>
                    <a:pt x="10" y="15"/>
                  </a:moveTo>
                  <a:lnTo>
                    <a:pt x="22" y="7"/>
                  </a:lnTo>
                  <a:lnTo>
                    <a:pt x="40" y="15"/>
                  </a:lnTo>
                  <a:lnTo>
                    <a:pt x="48" y="7"/>
                  </a:lnTo>
                  <a:lnTo>
                    <a:pt x="58" y="0"/>
                  </a:lnTo>
                  <a:lnTo>
                    <a:pt x="84" y="9"/>
                  </a:lnTo>
                  <a:lnTo>
                    <a:pt x="108" y="6"/>
                  </a:lnTo>
                  <a:lnTo>
                    <a:pt x="124" y="9"/>
                  </a:lnTo>
                  <a:lnTo>
                    <a:pt x="126" y="19"/>
                  </a:lnTo>
                  <a:lnTo>
                    <a:pt x="108" y="39"/>
                  </a:lnTo>
                  <a:lnTo>
                    <a:pt x="85" y="52"/>
                  </a:lnTo>
                  <a:lnTo>
                    <a:pt x="73" y="55"/>
                  </a:lnTo>
                  <a:lnTo>
                    <a:pt x="52" y="60"/>
                  </a:lnTo>
                  <a:lnTo>
                    <a:pt x="51" y="72"/>
                  </a:lnTo>
                  <a:lnTo>
                    <a:pt x="9" y="70"/>
                  </a:lnTo>
                  <a:lnTo>
                    <a:pt x="0" y="51"/>
                  </a:lnTo>
                  <a:lnTo>
                    <a:pt x="25" y="51"/>
                  </a:lnTo>
                  <a:lnTo>
                    <a:pt x="34" y="36"/>
                  </a:lnTo>
                  <a:lnTo>
                    <a:pt x="28" y="28"/>
                  </a:lnTo>
                  <a:lnTo>
                    <a:pt x="22" y="25"/>
                  </a:lnTo>
                </a:path>
              </a:pathLst>
            </a:custGeom>
            <a:solidFill>
              <a:schemeClr val="bg1">
                <a:lumMod val="85000"/>
              </a:schemeClr>
            </a:solidFill>
            <a:ln w="9525" cap="flat" cmpd="sng">
              <a:solidFill>
                <a:schemeClr val="bg1"/>
              </a:solidFill>
              <a:prstDash val="solid"/>
              <a:round/>
              <a:headEnd type="none" w="med" len="med"/>
              <a:tailEnd type="none" w="med" len="med"/>
            </a:ln>
            <a:effectLst/>
            <a:extLst/>
          </p:spPr>
          <p:txBody>
            <a:bodyPr>
              <a:noAutofit/>
            </a:bodyPr>
            <a:lstStyle/>
            <a:p>
              <a:pPr fontAlgn="auto">
                <a:spcBef>
                  <a:spcPts val="0"/>
                </a:spcBef>
                <a:spcAft>
                  <a:spcPts val="0"/>
                </a:spcAft>
                <a:defRPr/>
              </a:pPr>
              <a:endParaRPr lang="en-CA" kern="0">
                <a:solidFill>
                  <a:sysClr val="windowText" lastClr="000000"/>
                </a:solidFill>
              </a:endParaRPr>
            </a:p>
          </p:txBody>
        </p:sp>
        <p:sp>
          <p:nvSpPr>
            <p:cNvPr id="438" name="Freeform 133"/>
            <p:cNvSpPr>
              <a:spLocks/>
            </p:cNvSpPr>
            <p:nvPr>
              <p:custDataLst>
                <p:tags r:id="rId112"/>
              </p:custDataLst>
            </p:nvPr>
          </p:nvSpPr>
          <p:spPr bwMode="gray">
            <a:xfrm>
              <a:off x="3329619" y="2182751"/>
              <a:ext cx="104007" cy="53103"/>
            </a:xfrm>
            <a:custGeom>
              <a:avLst/>
              <a:gdLst>
                <a:gd name="T0" fmla="*/ 17 w 127"/>
                <a:gd name="T1" fmla="*/ 1 h 69"/>
                <a:gd name="T2" fmla="*/ 8 w 127"/>
                <a:gd name="T3" fmla="*/ 16 h 69"/>
                <a:gd name="T4" fmla="*/ 2 w 127"/>
                <a:gd name="T5" fmla="*/ 25 h 69"/>
                <a:gd name="T6" fmla="*/ 20 w 127"/>
                <a:gd name="T7" fmla="*/ 29 h 69"/>
                <a:gd name="T8" fmla="*/ 29 w 127"/>
                <a:gd name="T9" fmla="*/ 38 h 69"/>
                <a:gd name="T10" fmla="*/ 42 w 127"/>
                <a:gd name="T11" fmla="*/ 41 h 69"/>
                <a:gd name="T12" fmla="*/ 64 w 127"/>
                <a:gd name="T13" fmla="*/ 53 h 69"/>
                <a:gd name="T14" fmla="*/ 80 w 127"/>
                <a:gd name="T15" fmla="*/ 61 h 69"/>
                <a:gd name="T16" fmla="*/ 92 w 127"/>
                <a:gd name="T17" fmla="*/ 59 h 69"/>
                <a:gd name="T18" fmla="*/ 117 w 127"/>
                <a:gd name="T19" fmla="*/ 67 h 69"/>
                <a:gd name="T20" fmla="*/ 123 w 127"/>
                <a:gd name="T21" fmla="*/ 47 h 69"/>
                <a:gd name="T22" fmla="*/ 125 w 127"/>
                <a:gd name="T23" fmla="*/ 37 h 69"/>
                <a:gd name="T24" fmla="*/ 111 w 127"/>
                <a:gd name="T25" fmla="*/ 37 h 69"/>
                <a:gd name="T26" fmla="*/ 93 w 127"/>
                <a:gd name="T27" fmla="*/ 29 h 69"/>
                <a:gd name="T28" fmla="*/ 71 w 127"/>
                <a:gd name="T29" fmla="*/ 19 h 69"/>
                <a:gd name="T30" fmla="*/ 54 w 127"/>
                <a:gd name="T31" fmla="*/ 11 h 69"/>
                <a:gd name="T32" fmla="*/ 33 w 127"/>
                <a:gd name="T33" fmla="*/ 2 h 69"/>
                <a:gd name="T34" fmla="*/ 17 w 127"/>
                <a:gd name="T35" fmla="*/ 1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7" h="69">
                  <a:moveTo>
                    <a:pt x="17" y="1"/>
                  </a:moveTo>
                  <a:cubicBezTo>
                    <a:pt x="12" y="4"/>
                    <a:pt x="10" y="12"/>
                    <a:pt x="8" y="16"/>
                  </a:cubicBezTo>
                  <a:cubicBezTo>
                    <a:pt x="6" y="20"/>
                    <a:pt x="0" y="23"/>
                    <a:pt x="2" y="25"/>
                  </a:cubicBezTo>
                  <a:cubicBezTo>
                    <a:pt x="4" y="27"/>
                    <a:pt x="16" y="27"/>
                    <a:pt x="20" y="29"/>
                  </a:cubicBezTo>
                  <a:cubicBezTo>
                    <a:pt x="24" y="31"/>
                    <a:pt x="25" y="36"/>
                    <a:pt x="29" y="38"/>
                  </a:cubicBezTo>
                  <a:cubicBezTo>
                    <a:pt x="33" y="40"/>
                    <a:pt x="36" y="39"/>
                    <a:pt x="42" y="41"/>
                  </a:cubicBezTo>
                  <a:cubicBezTo>
                    <a:pt x="48" y="43"/>
                    <a:pt x="58" y="50"/>
                    <a:pt x="64" y="53"/>
                  </a:cubicBezTo>
                  <a:cubicBezTo>
                    <a:pt x="70" y="56"/>
                    <a:pt x="75" y="60"/>
                    <a:pt x="80" y="61"/>
                  </a:cubicBezTo>
                  <a:cubicBezTo>
                    <a:pt x="85" y="62"/>
                    <a:pt x="86" y="58"/>
                    <a:pt x="92" y="59"/>
                  </a:cubicBezTo>
                  <a:cubicBezTo>
                    <a:pt x="98" y="60"/>
                    <a:pt x="112" y="69"/>
                    <a:pt x="117" y="67"/>
                  </a:cubicBezTo>
                  <a:cubicBezTo>
                    <a:pt x="122" y="65"/>
                    <a:pt x="122" y="52"/>
                    <a:pt x="123" y="47"/>
                  </a:cubicBezTo>
                  <a:cubicBezTo>
                    <a:pt x="124" y="42"/>
                    <a:pt x="127" y="39"/>
                    <a:pt x="125" y="37"/>
                  </a:cubicBezTo>
                  <a:cubicBezTo>
                    <a:pt x="123" y="35"/>
                    <a:pt x="116" y="38"/>
                    <a:pt x="111" y="37"/>
                  </a:cubicBezTo>
                  <a:cubicBezTo>
                    <a:pt x="106" y="36"/>
                    <a:pt x="100" y="32"/>
                    <a:pt x="93" y="29"/>
                  </a:cubicBezTo>
                  <a:cubicBezTo>
                    <a:pt x="86" y="26"/>
                    <a:pt x="77" y="22"/>
                    <a:pt x="71" y="19"/>
                  </a:cubicBezTo>
                  <a:cubicBezTo>
                    <a:pt x="65" y="16"/>
                    <a:pt x="60" y="14"/>
                    <a:pt x="54" y="11"/>
                  </a:cubicBezTo>
                  <a:cubicBezTo>
                    <a:pt x="48" y="8"/>
                    <a:pt x="39" y="4"/>
                    <a:pt x="33" y="2"/>
                  </a:cubicBezTo>
                  <a:cubicBezTo>
                    <a:pt x="27" y="0"/>
                    <a:pt x="20" y="1"/>
                    <a:pt x="17" y="1"/>
                  </a:cubicBezTo>
                  <a:close/>
                </a:path>
              </a:pathLst>
            </a:custGeom>
            <a:solidFill>
              <a:schemeClr val="bg1">
                <a:lumMod val="85000"/>
              </a:schemeClr>
            </a:solidFill>
            <a:ln w="9525" cap="flat" cmpd="sng">
              <a:solidFill>
                <a:schemeClr val="bg1"/>
              </a:solidFill>
              <a:prstDash val="solid"/>
              <a:round/>
              <a:headEnd type="none" w="med" len="med"/>
              <a:tailEnd type="none" w="med" len="med"/>
            </a:ln>
            <a:effectLst/>
            <a:extLst/>
          </p:spPr>
          <p:txBody>
            <a:bodyPr>
              <a:noAutofit/>
            </a:bodyPr>
            <a:lstStyle/>
            <a:p>
              <a:pPr fontAlgn="auto">
                <a:spcBef>
                  <a:spcPts val="0"/>
                </a:spcBef>
                <a:spcAft>
                  <a:spcPts val="0"/>
                </a:spcAft>
                <a:defRPr/>
              </a:pPr>
              <a:endParaRPr lang="en-CA" kern="0">
                <a:solidFill>
                  <a:sysClr val="windowText" lastClr="000000"/>
                </a:solidFill>
              </a:endParaRPr>
            </a:p>
          </p:txBody>
        </p:sp>
        <p:sp>
          <p:nvSpPr>
            <p:cNvPr id="439" name="Freeform 134"/>
            <p:cNvSpPr>
              <a:spLocks/>
            </p:cNvSpPr>
            <p:nvPr>
              <p:custDataLst>
                <p:tags r:id="rId113"/>
              </p:custDataLst>
            </p:nvPr>
          </p:nvSpPr>
          <p:spPr bwMode="gray">
            <a:xfrm>
              <a:off x="3248816" y="1819499"/>
              <a:ext cx="752850" cy="512555"/>
            </a:xfrm>
            <a:custGeom>
              <a:avLst/>
              <a:gdLst>
                <a:gd name="T0" fmla="*/ 637 w 926"/>
                <a:gd name="T1" fmla="*/ 140 h 666"/>
                <a:gd name="T2" fmla="*/ 682 w 926"/>
                <a:gd name="T3" fmla="*/ 137 h 666"/>
                <a:gd name="T4" fmla="*/ 642 w 926"/>
                <a:gd name="T5" fmla="*/ 170 h 666"/>
                <a:gd name="T6" fmla="*/ 603 w 926"/>
                <a:gd name="T7" fmla="*/ 201 h 666"/>
                <a:gd name="T8" fmla="*/ 571 w 926"/>
                <a:gd name="T9" fmla="*/ 213 h 666"/>
                <a:gd name="T10" fmla="*/ 531 w 926"/>
                <a:gd name="T11" fmla="*/ 243 h 666"/>
                <a:gd name="T12" fmla="*/ 474 w 926"/>
                <a:gd name="T13" fmla="*/ 264 h 666"/>
                <a:gd name="T14" fmla="*/ 418 w 926"/>
                <a:gd name="T15" fmla="*/ 243 h 666"/>
                <a:gd name="T16" fmla="*/ 331 w 926"/>
                <a:gd name="T17" fmla="*/ 219 h 666"/>
                <a:gd name="T18" fmla="*/ 294 w 926"/>
                <a:gd name="T19" fmla="*/ 197 h 666"/>
                <a:gd name="T20" fmla="*/ 268 w 926"/>
                <a:gd name="T21" fmla="*/ 155 h 666"/>
                <a:gd name="T22" fmla="*/ 232 w 926"/>
                <a:gd name="T23" fmla="*/ 117 h 666"/>
                <a:gd name="T24" fmla="*/ 195 w 926"/>
                <a:gd name="T25" fmla="*/ 156 h 666"/>
                <a:gd name="T26" fmla="*/ 141 w 926"/>
                <a:gd name="T27" fmla="*/ 179 h 666"/>
                <a:gd name="T28" fmla="*/ 111 w 926"/>
                <a:gd name="T29" fmla="*/ 194 h 666"/>
                <a:gd name="T30" fmla="*/ 120 w 926"/>
                <a:gd name="T31" fmla="*/ 249 h 666"/>
                <a:gd name="T32" fmla="*/ 70 w 926"/>
                <a:gd name="T33" fmla="*/ 272 h 666"/>
                <a:gd name="T34" fmla="*/ 25 w 926"/>
                <a:gd name="T35" fmla="*/ 287 h 666"/>
                <a:gd name="T36" fmla="*/ 16 w 926"/>
                <a:gd name="T37" fmla="*/ 327 h 666"/>
                <a:gd name="T38" fmla="*/ 64 w 926"/>
                <a:gd name="T39" fmla="*/ 374 h 666"/>
                <a:gd name="T40" fmla="*/ 103 w 926"/>
                <a:gd name="T41" fmla="*/ 396 h 666"/>
                <a:gd name="T42" fmla="*/ 87 w 926"/>
                <a:gd name="T43" fmla="*/ 437 h 666"/>
                <a:gd name="T44" fmla="*/ 129 w 926"/>
                <a:gd name="T45" fmla="*/ 474 h 666"/>
                <a:gd name="T46" fmla="*/ 227 w 926"/>
                <a:gd name="T47" fmla="*/ 503 h 666"/>
                <a:gd name="T48" fmla="*/ 298 w 926"/>
                <a:gd name="T49" fmla="*/ 498 h 666"/>
                <a:gd name="T50" fmla="*/ 367 w 926"/>
                <a:gd name="T51" fmla="*/ 498 h 666"/>
                <a:gd name="T52" fmla="*/ 369 w 926"/>
                <a:gd name="T53" fmla="*/ 578 h 666"/>
                <a:gd name="T54" fmla="*/ 405 w 926"/>
                <a:gd name="T55" fmla="*/ 615 h 666"/>
                <a:gd name="T56" fmla="*/ 459 w 926"/>
                <a:gd name="T57" fmla="*/ 600 h 666"/>
                <a:gd name="T58" fmla="*/ 514 w 926"/>
                <a:gd name="T59" fmla="*/ 618 h 666"/>
                <a:gd name="T60" fmla="*/ 532 w 926"/>
                <a:gd name="T61" fmla="*/ 665 h 666"/>
                <a:gd name="T62" fmla="*/ 568 w 926"/>
                <a:gd name="T63" fmla="*/ 624 h 666"/>
                <a:gd name="T64" fmla="*/ 607 w 926"/>
                <a:gd name="T65" fmla="*/ 606 h 666"/>
                <a:gd name="T66" fmla="*/ 696 w 926"/>
                <a:gd name="T67" fmla="*/ 537 h 666"/>
                <a:gd name="T68" fmla="*/ 724 w 926"/>
                <a:gd name="T69" fmla="*/ 456 h 666"/>
                <a:gd name="T70" fmla="*/ 690 w 926"/>
                <a:gd name="T71" fmla="*/ 392 h 666"/>
                <a:gd name="T72" fmla="*/ 700 w 926"/>
                <a:gd name="T73" fmla="*/ 347 h 666"/>
                <a:gd name="T74" fmla="*/ 660 w 926"/>
                <a:gd name="T75" fmla="*/ 314 h 666"/>
                <a:gd name="T76" fmla="*/ 729 w 926"/>
                <a:gd name="T77" fmla="*/ 279 h 666"/>
                <a:gd name="T78" fmla="*/ 747 w 926"/>
                <a:gd name="T79" fmla="*/ 296 h 666"/>
                <a:gd name="T80" fmla="*/ 795 w 926"/>
                <a:gd name="T81" fmla="*/ 264 h 666"/>
                <a:gd name="T82" fmla="*/ 841 w 926"/>
                <a:gd name="T83" fmla="*/ 236 h 666"/>
                <a:gd name="T84" fmla="*/ 868 w 926"/>
                <a:gd name="T85" fmla="*/ 197 h 666"/>
                <a:gd name="T86" fmla="*/ 915 w 926"/>
                <a:gd name="T87" fmla="*/ 153 h 666"/>
                <a:gd name="T88" fmla="*/ 858 w 926"/>
                <a:gd name="T89" fmla="*/ 128 h 666"/>
                <a:gd name="T90" fmla="*/ 807 w 926"/>
                <a:gd name="T91" fmla="*/ 59 h 666"/>
                <a:gd name="T92" fmla="*/ 700 w 926"/>
                <a:gd name="T93" fmla="*/ 14 h 666"/>
                <a:gd name="T94" fmla="*/ 691 w 926"/>
                <a:gd name="T95" fmla="*/ 87 h 6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926" h="666">
                  <a:moveTo>
                    <a:pt x="640" y="99"/>
                  </a:moveTo>
                  <a:cubicBezTo>
                    <a:pt x="637" y="101"/>
                    <a:pt x="635" y="112"/>
                    <a:pt x="634" y="116"/>
                  </a:cubicBezTo>
                  <a:cubicBezTo>
                    <a:pt x="633" y="120"/>
                    <a:pt x="636" y="122"/>
                    <a:pt x="636" y="126"/>
                  </a:cubicBezTo>
                  <a:cubicBezTo>
                    <a:pt x="636" y="130"/>
                    <a:pt x="636" y="139"/>
                    <a:pt x="637" y="140"/>
                  </a:cubicBezTo>
                  <a:cubicBezTo>
                    <a:pt x="638" y="141"/>
                    <a:pt x="641" y="132"/>
                    <a:pt x="645" y="132"/>
                  </a:cubicBezTo>
                  <a:cubicBezTo>
                    <a:pt x="649" y="132"/>
                    <a:pt x="657" y="142"/>
                    <a:pt x="661" y="141"/>
                  </a:cubicBezTo>
                  <a:cubicBezTo>
                    <a:pt x="665" y="140"/>
                    <a:pt x="667" y="129"/>
                    <a:pt x="670" y="128"/>
                  </a:cubicBezTo>
                  <a:cubicBezTo>
                    <a:pt x="673" y="127"/>
                    <a:pt x="679" y="132"/>
                    <a:pt x="682" y="137"/>
                  </a:cubicBezTo>
                  <a:cubicBezTo>
                    <a:pt x="685" y="142"/>
                    <a:pt x="694" y="154"/>
                    <a:pt x="691" y="158"/>
                  </a:cubicBezTo>
                  <a:cubicBezTo>
                    <a:pt x="688" y="162"/>
                    <a:pt x="672" y="160"/>
                    <a:pt x="666" y="161"/>
                  </a:cubicBezTo>
                  <a:cubicBezTo>
                    <a:pt x="660" y="162"/>
                    <a:pt x="658" y="163"/>
                    <a:pt x="654" y="164"/>
                  </a:cubicBezTo>
                  <a:cubicBezTo>
                    <a:pt x="650" y="165"/>
                    <a:pt x="645" y="167"/>
                    <a:pt x="642" y="170"/>
                  </a:cubicBezTo>
                  <a:cubicBezTo>
                    <a:pt x="639" y="173"/>
                    <a:pt x="638" y="182"/>
                    <a:pt x="634" y="185"/>
                  </a:cubicBezTo>
                  <a:cubicBezTo>
                    <a:pt x="630" y="188"/>
                    <a:pt x="624" y="185"/>
                    <a:pt x="621" y="186"/>
                  </a:cubicBezTo>
                  <a:cubicBezTo>
                    <a:pt x="618" y="187"/>
                    <a:pt x="616" y="192"/>
                    <a:pt x="613" y="194"/>
                  </a:cubicBezTo>
                  <a:cubicBezTo>
                    <a:pt x="610" y="196"/>
                    <a:pt x="607" y="201"/>
                    <a:pt x="603" y="201"/>
                  </a:cubicBezTo>
                  <a:cubicBezTo>
                    <a:pt x="599" y="201"/>
                    <a:pt x="593" y="196"/>
                    <a:pt x="589" y="195"/>
                  </a:cubicBezTo>
                  <a:cubicBezTo>
                    <a:pt x="585" y="194"/>
                    <a:pt x="579" y="191"/>
                    <a:pt x="576" y="192"/>
                  </a:cubicBezTo>
                  <a:cubicBezTo>
                    <a:pt x="573" y="193"/>
                    <a:pt x="571" y="197"/>
                    <a:pt x="570" y="200"/>
                  </a:cubicBezTo>
                  <a:cubicBezTo>
                    <a:pt x="569" y="203"/>
                    <a:pt x="571" y="208"/>
                    <a:pt x="571" y="213"/>
                  </a:cubicBezTo>
                  <a:cubicBezTo>
                    <a:pt x="571" y="218"/>
                    <a:pt x="570" y="224"/>
                    <a:pt x="568" y="228"/>
                  </a:cubicBezTo>
                  <a:cubicBezTo>
                    <a:pt x="566" y="232"/>
                    <a:pt x="563" y="233"/>
                    <a:pt x="559" y="236"/>
                  </a:cubicBezTo>
                  <a:cubicBezTo>
                    <a:pt x="555" y="239"/>
                    <a:pt x="549" y="245"/>
                    <a:pt x="544" y="246"/>
                  </a:cubicBezTo>
                  <a:cubicBezTo>
                    <a:pt x="539" y="247"/>
                    <a:pt x="536" y="242"/>
                    <a:pt x="531" y="243"/>
                  </a:cubicBezTo>
                  <a:cubicBezTo>
                    <a:pt x="526" y="244"/>
                    <a:pt x="521" y="248"/>
                    <a:pt x="516" y="249"/>
                  </a:cubicBezTo>
                  <a:cubicBezTo>
                    <a:pt x="511" y="250"/>
                    <a:pt x="503" y="248"/>
                    <a:pt x="498" y="249"/>
                  </a:cubicBezTo>
                  <a:cubicBezTo>
                    <a:pt x="493" y="250"/>
                    <a:pt x="490" y="252"/>
                    <a:pt x="486" y="255"/>
                  </a:cubicBezTo>
                  <a:cubicBezTo>
                    <a:pt x="482" y="258"/>
                    <a:pt x="479" y="263"/>
                    <a:pt x="474" y="264"/>
                  </a:cubicBezTo>
                  <a:cubicBezTo>
                    <a:pt x="469" y="265"/>
                    <a:pt x="462" y="262"/>
                    <a:pt x="457" y="261"/>
                  </a:cubicBezTo>
                  <a:cubicBezTo>
                    <a:pt x="452" y="260"/>
                    <a:pt x="448" y="257"/>
                    <a:pt x="444" y="255"/>
                  </a:cubicBezTo>
                  <a:cubicBezTo>
                    <a:pt x="440" y="253"/>
                    <a:pt x="439" y="248"/>
                    <a:pt x="435" y="246"/>
                  </a:cubicBezTo>
                  <a:cubicBezTo>
                    <a:pt x="431" y="244"/>
                    <a:pt x="424" y="243"/>
                    <a:pt x="418" y="243"/>
                  </a:cubicBezTo>
                  <a:cubicBezTo>
                    <a:pt x="412" y="243"/>
                    <a:pt x="409" y="243"/>
                    <a:pt x="400" y="243"/>
                  </a:cubicBezTo>
                  <a:cubicBezTo>
                    <a:pt x="391" y="243"/>
                    <a:pt x="372" y="244"/>
                    <a:pt x="364" y="243"/>
                  </a:cubicBezTo>
                  <a:cubicBezTo>
                    <a:pt x="356" y="242"/>
                    <a:pt x="357" y="243"/>
                    <a:pt x="352" y="239"/>
                  </a:cubicBezTo>
                  <a:cubicBezTo>
                    <a:pt x="347" y="235"/>
                    <a:pt x="334" y="224"/>
                    <a:pt x="331" y="219"/>
                  </a:cubicBezTo>
                  <a:cubicBezTo>
                    <a:pt x="328" y="214"/>
                    <a:pt x="336" y="208"/>
                    <a:pt x="334" y="206"/>
                  </a:cubicBezTo>
                  <a:cubicBezTo>
                    <a:pt x="332" y="204"/>
                    <a:pt x="324" y="208"/>
                    <a:pt x="321" y="206"/>
                  </a:cubicBezTo>
                  <a:cubicBezTo>
                    <a:pt x="318" y="204"/>
                    <a:pt x="316" y="196"/>
                    <a:pt x="312" y="195"/>
                  </a:cubicBezTo>
                  <a:cubicBezTo>
                    <a:pt x="308" y="194"/>
                    <a:pt x="299" y="198"/>
                    <a:pt x="294" y="197"/>
                  </a:cubicBezTo>
                  <a:cubicBezTo>
                    <a:pt x="289" y="196"/>
                    <a:pt x="286" y="192"/>
                    <a:pt x="282" y="191"/>
                  </a:cubicBezTo>
                  <a:cubicBezTo>
                    <a:pt x="278" y="190"/>
                    <a:pt x="272" y="194"/>
                    <a:pt x="270" y="191"/>
                  </a:cubicBezTo>
                  <a:cubicBezTo>
                    <a:pt x="268" y="188"/>
                    <a:pt x="267" y="179"/>
                    <a:pt x="267" y="173"/>
                  </a:cubicBezTo>
                  <a:cubicBezTo>
                    <a:pt x="267" y="167"/>
                    <a:pt x="269" y="160"/>
                    <a:pt x="268" y="155"/>
                  </a:cubicBezTo>
                  <a:cubicBezTo>
                    <a:pt x="267" y="150"/>
                    <a:pt x="264" y="147"/>
                    <a:pt x="261" y="143"/>
                  </a:cubicBezTo>
                  <a:cubicBezTo>
                    <a:pt x="258" y="139"/>
                    <a:pt x="256" y="131"/>
                    <a:pt x="252" y="129"/>
                  </a:cubicBezTo>
                  <a:cubicBezTo>
                    <a:pt x="248" y="127"/>
                    <a:pt x="241" y="131"/>
                    <a:pt x="238" y="129"/>
                  </a:cubicBezTo>
                  <a:cubicBezTo>
                    <a:pt x="235" y="127"/>
                    <a:pt x="234" y="120"/>
                    <a:pt x="232" y="117"/>
                  </a:cubicBezTo>
                  <a:cubicBezTo>
                    <a:pt x="230" y="114"/>
                    <a:pt x="227" y="108"/>
                    <a:pt x="223" y="108"/>
                  </a:cubicBezTo>
                  <a:cubicBezTo>
                    <a:pt x="219" y="108"/>
                    <a:pt x="215" y="117"/>
                    <a:pt x="210" y="120"/>
                  </a:cubicBezTo>
                  <a:cubicBezTo>
                    <a:pt x="205" y="123"/>
                    <a:pt x="194" y="119"/>
                    <a:pt x="192" y="125"/>
                  </a:cubicBezTo>
                  <a:cubicBezTo>
                    <a:pt x="190" y="131"/>
                    <a:pt x="197" y="152"/>
                    <a:pt x="195" y="156"/>
                  </a:cubicBezTo>
                  <a:cubicBezTo>
                    <a:pt x="193" y="160"/>
                    <a:pt x="186" y="150"/>
                    <a:pt x="180" y="149"/>
                  </a:cubicBezTo>
                  <a:cubicBezTo>
                    <a:pt x="174" y="148"/>
                    <a:pt x="165" y="149"/>
                    <a:pt x="160" y="150"/>
                  </a:cubicBezTo>
                  <a:cubicBezTo>
                    <a:pt x="155" y="151"/>
                    <a:pt x="151" y="148"/>
                    <a:pt x="148" y="153"/>
                  </a:cubicBezTo>
                  <a:cubicBezTo>
                    <a:pt x="145" y="158"/>
                    <a:pt x="142" y="171"/>
                    <a:pt x="141" y="179"/>
                  </a:cubicBezTo>
                  <a:cubicBezTo>
                    <a:pt x="140" y="187"/>
                    <a:pt x="146" y="202"/>
                    <a:pt x="145" y="203"/>
                  </a:cubicBezTo>
                  <a:cubicBezTo>
                    <a:pt x="144" y="204"/>
                    <a:pt x="138" y="188"/>
                    <a:pt x="136" y="186"/>
                  </a:cubicBezTo>
                  <a:cubicBezTo>
                    <a:pt x="134" y="184"/>
                    <a:pt x="136" y="188"/>
                    <a:pt x="132" y="189"/>
                  </a:cubicBezTo>
                  <a:cubicBezTo>
                    <a:pt x="128" y="190"/>
                    <a:pt x="115" y="192"/>
                    <a:pt x="111" y="194"/>
                  </a:cubicBezTo>
                  <a:cubicBezTo>
                    <a:pt x="107" y="196"/>
                    <a:pt x="107" y="198"/>
                    <a:pt x="108" y="204"/>
                  </a:cubicBezTo>
                  <a:cubicBezTo>
                    <a:pt x="109" y="210"/>
                    <a:pt x="118" y="228"/>
                    <a:pt x="118" y="233"/>
                  </a:cubicBezTo>
                  <a:cubicBezTo>
                    <a:pt x="118" y="238"/>
                    <a:pt x="109" y="234"/>
                    <a:pt x="109" y="237"/>
                  </a:cubicBezTo>
                  <a:cubicBezTo>
                    <a:pt x="109" y="240"/>
                    <a:pt x="120" y="246"/>
                    <a:pt x="120" y="249"/>
                  </a:cubicBezTo>
                  <a:cubicBezTo>
                    <a:pt x="120" y="252"/>
                    <a:pt x="116" y="256"/>
                    <a:pt x="111" y="258"/>
                  </a:cubicBezTo>
                  <a:cubicBezTo>
                    <a:pt x="106" y="260"/>
                    <a:pt x="96" y="262"/>
                    <a:pt x="91" y="264"/>
                  </a:cubicBezTo>
                  <a:cubicBezTo>
                    <a:pt x="86" y="266"/>
                    <a:pt x="84" y="268"/>
                    <a:pt x="81" y="269"/>
                  </a:cubicBezTo>
                  <a:cubicBezTo>
                    <a:pt x="78" y="270"/>
                    <a:pt x="74" y="271"/>
                    <a:pt x="70" y="272"/>
                  </a:cubicBezTo>
                  <a:cubicBezTo>
                    <a:pt x="66" y="273"/>
                    <a:pt x="61" y="273"/>
                    <a:pt x="57" y="276"/>
                  </a:cubicBezTo>
                  <a:cubicBezTo>
                    <a:pt x="53" y="279"/>
                    <a:pt x="51" y="288"/>
                    <a:pt x="48" y="290"/>
                  </a:cubicBezTo>
                  <a:cubicBezTo>
                    <a:pt x="45" y="292"/>
                    <a:pt x="40" y="287"/>
                    <a:pt x="36" y="287"/>
                  </a:cubicBezTo>
                  <a:cubicBezTo>
                    <a:pt x="32" y="287"/>
                    <a:pt x="30" y="285"/>
                    <a:pt x="25" y="287"/>
                  </a:cubicBezTo>
                  <a:cubicBezTo>
                    <a:pt x="20" y="289"/>
                    <a:pt x="6" y="295"/>
                    <a:pt x="3" y="299"/>
                  </a:cubicBezTo>
                  <a:cubicBezTo>
                    <a:pt x="0" y="303"/>
                    <a:pt x="7" y="307"/>
                    <a:pt x="7" y="311"/>
                  </a:cubicBezTo>
                  <a:cubicBezTo>
                    <a:pt x="7" y="315"/>
                    <a:pt x="2" y="318"/>
                    <a:pt x="4" y="321"/>
                  </a:cubicBezTo>
                  <a:cubicBezTo>
                    <a:pt x="6" y="324"/>
                    <a:pt x="12" y="325"/>
                    <a:pt x="16" y="327"/>
                  </a:cubicBezTo>
                  <a:cubicBezTo>
                    <a:pt x="20" y="329"/>
                    <a:pt x="27" y="330"/>
                    <a:pt x="30" y="335"/>
                  </a:cubicBezTo>
                  <a:cubicBezTo>
                    <a:pt x="33" y="340"/>
                    <a:pt x="33" y="351"/>
                    <a:pt x="37" y="356"/>
                  </a:cubicBezTo>
                  <a:cubicBezTo>
                    <a:pt x="41" y="361"/>
                    <a:pt x="51" y="360"/>
                    <a:pt x="55" y="363"/>
                  </a:cubicBezTo>
                  <a:cubicBezTo>
                    <a:pt x="59" y="366"/>
                    <a:pt x="58" y="373"/>
                    <a:pt x="64" y="374"/>
                  </a:cubicBezTo>
                  <a:cubicBezTo>
                    <a:pt x="70" y="375"/>
                    <a:pt x="84" y="372"/>
                    <a:pt x="89" y="371"/>
                  </a:cubicBezTo>
                  <a:cubicBezTo>
                    <a:pt x="94" y="370"/>
                    <a:pt x="94" y="365"/>
                    <a:pt x="97" y="366"/>
                  </a:cubicBezTo>
                  <a:cubicBezTo>
                    <a:pt x="100" y="367"/>
                    <a:pt x="105" y="375"/>
                    <a:pt x="106" y="380"/>
                  </a:cubicBezTo>
                  <a:cubicBezTo>
                    <a:pt x="107" y="385"/>
                    <a:pt x="105" y="391"/>
                    <a:pt x="103" y="396"/>
                  </a:cubicBezTo>
                  <a:cubicBezTo>
                    <a:pt x="101" y="401"/>
                    <a:pt x="92" y="409"/>
                    <a:pt x="91" y="413"/>
                  </a:cubicBezTo>
                  <a:cubicBezTo>
                    <a:pt x="90" y="417"/>
                    <a:pt x="96" y="416"/>
                    <a:pt x="97" y="419"/>
                  </a:cubicBezTo>
                  <a:cubicBezTo>
                    <a:pt x="98" y="422"/>
                    <a:pt x="101" y="426"/>
                    <a:pt x="99" y="429"/>
                  </a:cubicBezTo>
                  <a:cubicBezTo>
                    <a:pt x="97" y="432"/>
                    <a:pt x="88" y="433"/>
                    <a:pt x="87" y="437"/>
                  </a:cubicBezTo>
                  <a:cubicBezTo>
                    <a:pt x="86" y="441"/>
                    <a:pt x="88" y="448"/>
                    <a:pt x="90" y="452"/>
                  </a:cubicBezTo>
                  <a:cubicBezTo>
                    <a:pt x="92" y="456"/>
                    <a:pt x="94" y="458"/>
                    <a:pt x="99" y="462"/>
                  </a:cubicBezTo>
                  <a:cubicBezTo>
                    <a:pt x="104" y="466"/>
                    <a:pt x="113" y="471"/>
                    <a:pt x="118" y="473"/>
                  </a:cubicBezTo>
                  <a:cubicBezTo>
                    <a:pt x="123" y="475"/>
                    <a:pt x="124" y="472"/>
                    <a:pt x="129" y="474"/>
                  </a:cubicBezTo>
                  <a:cubicBezTo>
                    <a:pt x="134" y="476"/>
                    <a:pt x="136" y="478"/>
                    <a:pt x="148" y="483"/>
                  </a:cubicBezTo>
                  <a:cubicBezTo>
                    <a:pt x="160" y="488"/>
                    <a:pt x="192" y="500"/>
                    <a:pt x="203" y="504"/>
                  </a:cubicBezTo>
                  <a:cubicBezTo>
                    <a:pt x="214" y="508"/>
                    <a:pt x="213" y="510"/>
                    <a:pt x="217" y="510"/>
                  </a:cubicBezTo>
                  <a:cubicBezTo>
                    <a:pt x="221" y="510"/>
                    <a:pt x="222" y="504"/>
                    <a:pt x="227" y="503"/>
                  </a:cubicBezTo>
                  <a:cubicBezTo>
                    <a:pt x="232" y="502"/>
                    <a:pt x="242" y="506"/>
                    <a:pt x="249" y="506"/>
                  </a:cubicBezTo>
                  <a:cubicBezTo>
                    <a:pt x="256" y="506"/>
                    <a:pt x="263" y="504"/>
                    <a:pt x="268" y="506"/>
                  </a:cubicBezTo>
                  <a:cubicBezTo>
                    <a:pt x="273" y="508"/>
                    <a:pt x="274" y="517"/>
                    <a:pt x="279" y="516"/>
                  </a:cubicBezTo>
                  <a:cubicBezTo>
                    <a:pt x="284" y="515"/>
                    <a:pt x="291" y="502"/>
                    <a:pt x="298" y="498"/>
                  </a:cubicBezTo>
                  <a:cubicBezTo>
                    <a:pt x="305" y="494"/>
                    <a:pt x="314" y="494"/>
                    <a:pt x="319" y="492"/>
                  </a:cubicBezTo>
                  <a:cubicBezTo>
                    <a:pt x="324" y="490"/>
                    <a:pt x="324" y="488"/>
                    <a:pt x="328" y="488"/>
                  </a:cubicBezTo>
                  <a:cubicBezTo>
                    <a:pt x="332" y="488"/>
                    <a:pt x="339" y="490"/>
                    <a:pt x="345" y="492"/>
                  </a:cubicBezTo>
                  <a:cubicBezTo>
                    <a:pt x="351" y="494"/>
                    <a:pt x="361" y="494"/>
                    <a:pt x="367" y="498"/>
                  </a:cubicBezTo>
                  <a:cubicBezTo>
                    <a:pt x="373" y="502"/>
                    <a:pt x="378" y="508"/>
                    <a:pt x="381" y="516"/>
                  </a:cubicBezTo>
                  <a:cubicBezTo>
                    <a:pt x="384" y="524"/>
                    <a:pt x="386" y="539"/>
                    <a:pt x="384" y="546"/>
                  </a:cubicBezTo>
                  <a:cubicBezTo>
                    <a:pt x="382" y="553"/>
                    <a:pt x="371" y="556"/>
                    <a:pt x="369" y="561"/>
                  </a:cubicBezTo>
                  <a:cubicBezTo>
                    <a:pt x="367" y="566"/>
                    <a:pt x="367" y="576"/>
                    <a:pt x="369" y="578"/>
                  </a:cubicBezTo>
                  <a:cubicBezTo>
                    <a:pt x="371" y="580"/>
                    <a:pt x="376" y="571"/>
                    <a:pt x="379" y="573"/>
                  </a:cubicBezTo>
                  <a:cubicBezTo>
                    <a:pt x="382" y="575"/>
                    <a:pt x="385" y="586"/>
                    <a:pt x="388" y="590"/>
                  </a:cubicBezTo>
                  <a:cubicBezTo>
                    <a:pt x="391" y="594"/>
                    <a:pt x="391" y="595"/>
                    <a:pt x="394" y="599"/>
                  </a:cubicBezTo>
                  <a:cubicBezTo>
                    <a:pt x="397" y="603"/>
                    <a:pt x="401" y="612"/>
                    <a:pt x="405" y="615"/>
                  </a:cubicBezTo>
                  <a:cubicBezTo>
                    <a:pt x="409" y="618"/>
                    <a:pt x="415" y="618"/>
                    <a:pt x="420" y="615"/>
                  </a:cubicBezTo>
                  <a:cubicBezTo>
                    <a:pt x="425" y="612"/>
                    <a:pt x="431" y="600"/>
                    <a:pt x="435" y="596"/>
                  </a:cubicBezTo>
                  <a:cubicBezTo>
                    <a:pt x="439" y="592"/>
                    <a:pt x="440" y="589"/>
                    <a:pt x="444" y="590"/>
                  </a:cubicBezTo>
                  <a:cubicBezTo>
                    <a:pt x="448" y="591"/>
                    <a:pt x="453" y="600"/>
                    <a:pt x="459" y="600"/>
                  </a:cubicBezTo>
                  <a:cubicBezTo>
                    <a:pt x="465" y="600"/>
                    <a:pt x="474" y="589"/>
                    <a:pt x="480" y="588"/>
                  </a:cubicBezTo>
                  <a:cubicBezTo>
                    <a:pt x="486" y="587"/>
                    <a:pt x="490" y="591"/>
                    <a:pt x="495" y="594"/>
                  </a:cubicBezTo>
                  <a:cubicBezTo>
                    <a:pt x="500" y="597"/>
                    <a:pt x="505" y="604"/>
                    <a:pt x="508" y="608"/>
                  </a:cubicBezTo>
                  <a:cubicBezTo>
                    <a:pt x="511" y="612"/>
                    <a:pt x="511" y="616"/>
                    <a:pt x="514" y="618"/>
                  </a:cubicBezTo>
                  <a:cubicBezTo>
                    <a:pt x="517" y="620"/>
                    <a:pt x="524" y="618"/>
                    <a:pt x="529" y="621"/>
                  </a:cubicBezTo>
                  <a:cubicBezTo>
                    <a:pt x="534" y="624"/>
                    <a:pt x="543" y="633"/>
                    <a:pt x="543" y="638"/>
                  </a:cubicBezTo>
                  <a:cubicBezTo>
                    <a:pt x="543" y="643"/>
                    <a:pt x="533" y="650"/>
                    <a:pt x="531" y="654"/>
                  </a:cubicBezTo>
                  <a:cubicBezTo>
                    <a:pt x="529" y="658"/>
                    <a:pt x="529" y="664"/>
                    <a:pt x="532" y="665"/>
                  </a:cubicBezTo>
                  <a:cubicBezTo>
                    <a:pt x="535" y="666"/>
                    <a:pt x="543" y="663"/>
                    <a:pt x="547" y="663"/>
                  </a:cubicBezTo>
                  <a:cubicBezTo>
                    <a:pt x="551" y="663"/>
                    <a:pt x="552" y="666"/>
                    <a:pt x="555" y="662"/>
                  </a:cubicBezTo>
                  <a:cubicBezTo>
                    <a:pt x="558" y="658"/>
                    <a:pt x="565" y="642"/>
                    <a:pt x="567" y="636"/>
                  </a:cubicBezTo>
                  <a:cubicBezTo>
                    <a:pt x="569" y="630"/>
                    <a:pt x="564" y="627"/>
                    <a:pt x="568" y="624"/>
                  </a:cubicBezTo>
                  <a:cubicBezTo>
                    <a:pt x="572" y="621"/>
                    <a:pt x="584" y="619"/>
                    <a:pt x="589" y="615"/>
                  </a:cubicBezTo>
                  <a:cubicBezTo>
                    <a:pt x="594" y="611"/>
                    <a:pt x="595" y="604"/>
                    <a:pt x="597" y="600"/>
                  </a:cubicBezTo>
                  <a:cubicBezTo>
                    <a:pt x="599" y="596"/>
                    <a:pt x="599" y="589"/>
                    <a:pt x="601" y="590"/>
                  </a:cubicBezTo>
                  <a:cubicBezTo>
                    <a:pt x="603" y="591"/>
                    <a:pt x="603" y="605"/>
                    <a:pt x="607" y="606"/>
                  </a:cubicBezTo>
                  <a:cubicBezTo>
                    <a:pt x="611" y="607"/>
                    <a:pt x="616" y="599"/>
                    <a:pt x="624" y="596"/>
                  </a:cubicBezTo>
                  <a:cubicBezTo>
                    <a:pt x="632" y="593"/>
                    <a:pt x="644" y="592"/>
                    <a:pt x="654" y="585"/>
                  </a:cubicBezTo>
                  <a:cubicBezTo>
                    <a:pt x="664" y="578"/>
                    <a:pt x="677" y="565"/>
                    <a:pt x="684" y="557"/>
                  </a:cubicBezTo>
                  <a:cubicBezTo>
                    <a:pt x="691" y="549"/>
                    <a:pt x="690" y="546"/>
                    <a:pt x="696" y="537"/>
                  </a:cubicBezTo>
                  <a:cubicBezTo>
                    <a:pt x="702" y="528"/>
                    <a:pt x="712" y="515"/>
                    <a:pt x="718" y="503"/>
                  </a:cubicBezTo>
                  <a:cubicBezTo>
                    <a:pt x="724" y="491"/>
                    <a:pt x="735" y="472"/>
                    <a:pt x="733" y="467"/>
                  </a:cubicBezTo>
                  <a:cubicBezTo>
                    <a:pt x="731" y="462"/>
                    <a:pt x="709" y="475"/>
                    <a:pt x="708" y="473"/>
                  </a:cubicBezTo>
                  <a:cubicBezTo>
                    <a:pt x="707" y="471"/>
                    <a:pt x="723" y="461"/>
                    <a:pt x="724" y="456"/>
                  </a:cubicBezTo>
                  <a:cubicBezTo>
                    <a:pt x="725" y="451"/>
                    <a:pt x="718" y="450"/>
                    <a:pt x="715" y="444"/>
                  </a:cubicBezTo>
                  <a:cubicBezTo>
                    <a:pt x="712" y="438"/>
                    <a:pt x="710" y="423"/>
                    <a:pt x="708" y="417"/>
                  </a:cubicBezTo>
                  <a:cubicBezTo>
                    <a:pt x="706" y="411"/>
                    <a:pt x="705" y="411"/>
                    <a:pt x="702" y="407"/>
                  </a:cubicBezTo>
                  <a:cubicBezTo>
                    <a:pt x="699" y="403"/>
                    <a:pt x="690" y="399"/>
                    <a:pt x="690" y="392"/>
                  </a:cubicBezTo>
                  <a:cubicBezTo>
                    <a:pt x="690" y="385"/>
                    <a:pt x="698" y="373"/>
                    <a:pt x="705" y="365"/>
                  </a:cubicBezTo>
                  <a:cubicBezTo>
                    <a:pt x="712" y="357"/>
                    <a:pt x="732" y="350"/>
                    <a:pt x="733" y="345"/>
                  </a:cubicBezTo>
                  <a:cubicBezTo>
                    <a:pt x="734" y="340"/>
                    <a:pt x="719" y="336"/>
                    <a:pt x="714" y="336"/>
                  </a:cubicBezTo>
                  <a:cubicBezTo>
                    <a:pt x="709" y="336"/>
                    <a:pt x="704" y="345"/>
                    <a:pt x="700" y="347"/>
                  </a:cubicBezTo>
                  <a:cubicBezTo>
                    <a:pt x="696" y="349"/>
                    <a:pt x="690" y="354"/>
                    <a:pt x="687" y="351"/>
                  </a:cubicBezTo>
                  <a:cubicBezTo>
                    <a:pt x="684" y="348"/>
                    <a:pt x="685" y="334"/>
                    <a:pt x="682" y="330"/>
                  </a:cubicBezTo>
                  <a:cubicBezTo>
                    <a:pt x="679" y="326"/>
                    <a:pt x="670" y="329"/>
                    <a:pt x="666" y="326"/>
                  </a:cubicBezTo>
                  <a:cubicBezTo>
                    <a:pt x="662" y="323"/>
                    <a:pt x="657" y="316"/>
                    <a:pt x="660" y="314"/>
                  </a:cubicBezTo>
                  <a:cubicBezTo>
                    <a:pt x="663" y="312"/>
                    <a:pt x="677" y="315"/>
                    <a:pt x="684" y="311"/>
                  </a:cubicBezTo>
                  <a:cubicBezTo>
                    <a:pt x="691" y="307"/>
                    <a:pt x="699" y="295"/>
                    <a:pt x="703" y="290"/>
                  </a:cubicBezTo>
                  <a:cubicBezTo>
                    <a:pt x="707" y="285"/>
                    <a:pt x="705" y="283"/>
                    <a:pt x="709" y="281"/>
                  </a:cubicBezTo>
                  <a:cubicBezTo>
                    <a:pt x="713" y="279"/>
                    <a:pt x="726" y="276"/>
                    <a:pt x="729" y="279"/>
                  </a:cubicBezTo>
                  <a:cubicBezTo>
                    <a:pt x="732" y="282"/>
                    <a:pt x="729" y="290"/>
                    <a:pt x="727" y="296"/>
                  </a:cubicBezTo>
                  <a:cubicBezTo>
                    <a:pt x="725" y="302"/>
                    <a:pt x="716" y="316"/>
                    <a:pt x="718" y="317"/>
                  </a:cubicBezTo>
                  <a:cubicBezTo>
                    <a:pt x="720" y="318"/>
                    <a:pt x="736" y="308"/>
                    <a:pt x="741" y="305"/>
                  </a:cubicBezTo>
                  <a:cubicBezTo>
                    <a:pt x="746" y="302"/>
                    <a:pt x="744" y="297"/>
                    <a:pt x="747" y="296"/>
                  </a:cubicBezTo>
                  <a:cubicBezTo>
                    <a:pt x="750" y="295"/>
                    <a:pt x="756" y="297"/>
                    <a:pt x="760" y="296"/>
                  </a:cubicBezTo>
                  <a:cubicBezTo>
                    <a:pt x="764" y="295"/>
                    <a:pt x="766" y="291"/>
                    <a:pt x="769" y="288"/>
                  </a:cubicBezTo>
                  <a:cubicBezTo>
                    <a:pt x="772" y="285"/>
                    <a:pt x="776" y="279"/>
                    <a:pt x="780" y="275"/>
                  </a:cubicBezTo>
                  <a:cubicBezTo>
                    <a:pt x="784" y="271"/>
                    <a:pt x="790" y="266"/>
                    <a:pt x="795" y="264"/>
                  </a:cubicBezTo>
                  <a:cubicBezTo>
                    <a:pt x="800" y="262"/>
                    <a:pt x="806" y="266"/>
                    <a:pt x="810" y="264"/>
                  </a:cubicBezTo>
                  <a:cubicBezTo>
                    <a:pt x="814" y="262"/>
                    <a:pt x="813" y="257"/>
                    <a:pt x="817" y="255"/>
                  </a:cubicBezTo>
                  <a:cubicBezTo>
                    <a:pt x="821" y="253"/>
                    <a:pt x="830" y="254"/>
                    <a:pt x="834" y="251"/>
                  </a:cubicBezTo>
                  <a:cubicBezTo>
                    <a:pt x="838" y="248"/>
                    <a:pt x="837" y="238"/>
                    <a:pt x="841" y="236"/>
                  </a:cubicBezTo>
                  <a:cubicBezTo>
                    <a:pt x="845" y="234"/>
                    <a:pt x="854" y="238"/>
                    <a:pt x="858" y="236"/>
                  </a:cubicBezTo>
                  <a:cubicBezTo>
                    <a:pt x="862" y="234"/>
                    <a:pt x="863" y="231"/>
                    <a:pt x="864" y="227"/>
                  </a:cubicBezTo>
                  <a:cubicBezTo>
                    <a:pt x="865" y="223"/>
                    <a:pt x="863" y="215"/>
                    <a:pt x="864" y="210"/>
                  </a:cubicBezTo>
                  <a:cubicBezTo>
                    <a:pt x="865" y="205"/>
                    <a:pt x="866" y="199"/>
                    <a:pt x="868" y="197"/>
                  </a:cubicBezTo>
                  <a:cubicBezTo>
                    <a:pt x="870" y="195"/>
                    <a:pt x="875" y="195"/>
                    <a:pt x="879" y="195"/>
                  </a:cubicBezTo>
                  <a:cubicBezTo>
                    <a:pt x="883" y="195"/>
                    <a:pt x="890" y="199"/>
                    <a:pt x="895" y="195"/>
                  </a:cubicBezTo>
                  <a:cubicBezTo>
                    <a:pt x="900" y="191"/>
                    <a:pt x="906" y="178"/>
                    <a:pt x="909" y="171"/>
                  </a:cubicBezTo>
                  <a:cubicBezTo>
                    <a:pt x="912" y="164"/>
                    <a:pt x="913" y="160"/>
                    <a:pt x="915" y="153"/>
                  </a:cubicBezTo>
                  <a:cubicBezTo>
                    <a:pt x="917" y="146"/>
                    <a:pt x="926" y="130"/>
                    <a:pt x="922" y="128"/>
                  </a:cubicBezTo>
                  <a:cubicBezTo>
                    <a:pt x="918" y="126"/>
                    <a:pt x="900" y="136"/>
                    <a:pt x="892" y="140"/>
                  </a:cubicBezTo>
                  <a:cubicBezTo>
                    <a:pt x="884" y="144"/>
                    <a:pt x="877" y="152"/>
                    <a:pt x="871" y="150"/>
                  </a:cubicBezTo>
                  <a:cubicBezTo>
                    <a:pt x="865" y="148"/>
                    <a:pt x="861" y="134"/>
                    <a:pt x="858" y="128"/>
                  </a:cubicBezTo>
                  <a:cubicBezTo>
                    <a:pt x="855" y="122"/>
                    <a:pt x="857" y="116"/>
                    <a:pt x="852" y="113"/>
                  </a:cubicBezTo>
                  <a:cubicBezTo>
                    <a:pt x="847" y="110"/>
                    <a:pt x="834" y="112"/>
                    <a:pt x="828" y="107"/>
                  </a:cubicBezTo>
                  <a:cubicBezTo>
                    <a:pt x="822" y="102"/>
                    <a:pt x="818" y="91"/>
                    <a:pt x="814" y="83"/>
                  </a:cubicBezTo>
                  <a:cubicBezTo>
                    <a:pt x="810" y="75"/>
                    <a:pt x="811" y="67"/>
                    <a:pt x="807" y="59"/>
                  </a:cubicBezTo>
                  <a:cubicBezTo>
                    <a:pt x="803" y="51"/>
                    <a:pt x="796" y="43"/>
                    <a:pt x="792" y="35"/>
                  </a:cubicBezTo>
                  <a:cubicBezTo>
                    <a:pt x="788" y="27"/>
                    <a:pt x="790" y="17"/>
                    <a:pt x="783" y="11"/>
                  </a:cubicBezTo>
                  <a:cubicBezTo>
                    <a:pt x="776" y="5"/>
                    <a:pt x="761" y="0"/>
                    <a:pt x="747" y="0"/>
                  </a:cubicBezTo>
                  <a:cubicBezTo>
                    <a:pt x="733" y="0"/>
                    <a:pt x="706" y="7"/>
                    <a:pt x="700" y="14"/>
                  </a:cubicBezTo>
                  <a:cubicBezTo>
                    <a:pt x="694" y="21"/>
                    <a:pt x="708" y="36"/>
                    <a:pt x="708" y="45"/>
                  </a:cubicBezTo>
                  <a:cubicBezTo>
                    <a:pt x="708" y="54"/>
                    <a:pt x="702" y="61"/>
                    <a:pt x="700" y="66"/>
                  </a:cubicBezTo>
                  <a:cubicBezTo>
                    <a:pt x="698" y="71"/>
                    <a:pt x="695" y="71"/>
                    <a:pt x="694" y="74"/>
                  </a:cubicBezTo>
                  <a:cubicBezTo>
                    <a:pt x="693" y="77"/>
                    <a:pt x="694" y="83"/>
                    <a:pt x="691" y="87"/>
                  </a:cubicBezTo>
                  <a:cubicBezTo>
                    <a:pt x="688" y="91"/>
                    <a:pt x="685" y="96"/>
                    <a:pt x="679" y="98"/>
                  </a:cubicBezTo>
                  <a:cubicBezTo>
                    <a:pt x="673" y="100"/>
                    <a:pt x="661" y="100"/>
                    <a:pt x="655" y="101"/>
                  </a:cubicBezTo>
                  <a:cubicBezTo>
                    <a:pt x="649" y="102"/>
                    <a:pt x="643" y="97"/>
                    <a:pt x="640" y="99"/>
                  </a:cubicBezTo>
                  <a:close/>
                </a:path>
              </a:pathLst>
            </a:custGeom>
            <a:solidFill>
              <a:schemeClr val="accent1"/>
            </a:solidFill>
            <a:ln w="9525" cap="flat" cmpd="sng">
              <a:solidFill>
                <a:schemeClr val="bg1"/>
              </a:solidFill>
              <a:prstDash val="solid"/>
              <a:round/>
              <a:headEnd type="none" w="med" len="med"/>
              <a:tailEnd type="none" w="med" len="med"/>
            </a:ln>
            <a:effectLst/>
            <a:extLst/>
          </p:spPr>
          <p:txBody>
            <a:bodyPr>
              <a:noAutofit/>
            </a:bodyPr>
            <a:lstStyle/>
            <a:p>
              <a:pPr fontAlgn="auto">
                <a:spcBef>
                  <a:spcPts val="0"/>
                </a:spcBef>
                <a:spcAft>
                  <a:spcPts val="0"/>
                </a:spcAft>
                <a:defRPr/>
              </a:pPr>
              <a:endParaRPr lang="en-CA" kern="0">
                <a:solidFill>
                  <a:sysClr val="windowText" lastClr="000000"/>
                </a:solidFill>
              </a:endParaRPr>
            </a:p>
          </p:txBody>
        </p:sp>
        <p:sp>
          <p:nvSpPr>
            <p:cNvPr id="440" name="Freeform 135"/>
            <p:cNvSpPr>
              <a:spLocks/>
            </p:cNvSpPr>
            <p:nvPr>
              <p:custDataLst>
                <p:tags r:id="rId114"/>
              </p:custDataLst>
            </p:nvPr>
          </p:nvSpPr>
          <p:spPr bwMode="gray">
            <a:xfrm>
              <a:off x="3432027" y="1856440"/>
              <a:ext cx="383225" cy="167774"/>
            </a:xfrm>
            <a:custGeom>
              <a:avLst/>
              <a:gdLst>
                <a:gd name="T0" fmla="*/ 4 w 472"/>
                <a:gd name="T1" fmla="*/ 66 h 218"/>
                <a:gd name="T2" fmla="*/ 7 w 472"/>
                <a:gd name="T3" fmla="*/ 78 h 218"/>
                <a:gd name="T4" fmla="*/ 28 w 472"/>
                <a:gd name="T5" fmla="*/ 81 h 218"/>
                <a:gd name="T6" fmla="*/ 45 w 472"/>
                <a:gd name="T7" fmla="*/ 113 h 218"/>
                <a:gd name="T8" fmla="*/ 43 w 472"/>
                <a:gd name="T9" fmla="*/ 123 h 218"/>
                <a:gd name="T10" fmla="*/ 40 w 472"/>
                <a:gd name="T11" fmla="*/ 141 h 218"/>
                <a:gd name="T12" fmla="*/ 57 w 472"/>
                <a:gd name="T13" fmla="*/ 147 h 218"/>
                <a:gd name="T14" fmla="*/ 88 w 472"/>
                <a:gd name="T15" fmla="*/ 149 h 218"/>
                <a:gd name="T16" fmla="*/ 103 w 472"/>
                <a:gd name="T17" fmla="*/ 161 h 218"/>
                <a:gd name="T18" fmla="*/ 118 w 472"/>
                <a:gd name="T19" fmla="*/ 185 h 218"/>
                <a:gd name="T20" fmla="*/ 133 w 472"/>
                <a:gd name="T21" fmla="*/ 197 h 218"/>
                <a:gd name="T22" fmla="*/ 156 w 472"/>
                <a:gd name="T23" fmla="*/ 197 h 218"/>
                <a:gd name="T24" fmla="*/ 199 w 472"/>
                <a:gd name="T25" fmla="*/ 197 h 218"/>
                <a:gd name="T26" fmla="*/ 238 w 472"/>
                <a:gd name="T27" fmla="*/ 215 h 218"/>
                <a:gd name="T28" fmla="*/ 252 w 472"/>
                <a:gd name="T29" fmla="*/ 213 h 218"/>
                <a:gd name="T30" fmla="*/ 271 w 472"/>
                <a:gd name="T31" fmla="*/ 204 h 218"/>
                <a:gd name="T32" fmla="*/ 282 w 472"/>
                <a:gd name="T33" fmla="*/ 200 h 218"/>
                <a:gd name="T34" fmla="*/ 297 w 472"/>
                <a:gd name="T35" fmla="*/ 200 h 218"/>
                <a:gd name="T36" fmla="*/ 322 w 472"/>
                <a:gd name="T37" fmla="*/ 195 h 218"/>
                <a:gd name="T38" fmla="*/ 342 w 472"/>
                <a:gd name="T39" fmla="*/ 183 h 218"/>
                <a:gd name="T40" fmla="*/ 349 w 472"/>
                <a:gd name="T41" fmla="*/ 168 h 218"/>
                <a:gd name="T42" fmla="*/ 349 w 472"/>
                <a:gd name="T43" fmla="*/ 150 h 218"/>
                <a:gd name="T44" fmla="*/ 354 w 472"/>
                <a:gd name="T45" fmla="*/ 141 h 218"/>
                <a:gd name="T46" fmla="*/ 385 w 472"/>
                <a:gd name="T47" fmla="*/ 153 h 218"/>
                <a:gd name="T48" fmla="*/ 393 w 472"/>
                <a:gd name="T49" fmla="*/ 144 h 218"/>
                <a:gd name="T50" fmla="*/ 400 w 472"/>
                <a:gd name="T51" fmla="*/ 135 h 218"/>
                <a:gd name="T52" fmla="*/ 417 w 472"/>
                <a:gd name="T53" fmla="*/ 131 h 218"/>
                <a:gd name="T54" fmla="*/ 430 w 472"/>
                <a:gd name="T55" fmla="*/ 113 h 218"/>
                <a:gd name="T56" fmla="*/ 469 w 472"/>
                <a:gd name="T57" fmla="*/ 110 h 218"/>
                <a:gd name="T58" fmla="*/ 451 w 472"/>
                <a:gd name="T59" fmla="*/ 81 h 218"/>
                <a:gd name="T60" fmla="*/ 436 w 472"/>
                <a:gd name="T61" fmla="*/ 90 h 218"/>
                <a:gd name="T62" fmla="*/ 420 w 472"/>
                <a:gd name="T63" fmla="*/ 83 h 218"/>
                <a:gd name="T64" fmla="*/ 412 w 472"/>
                <a:gd name="T65" fmla="*/ 92 h 218"/>
                <a:gd name="T66" fmla="*/ 415 w 472"/>
                <a:gd name="T67" fmla="*/ 78 h 218"/>
                <a:gd name="T68" fmla="*/ 408 w 472"/>
                <a:gd name="T69" fmla="*/ 66 h 218"/>
                <a:gd name="T70" fmla="*/ 418 w 472"/>
                <a:gd name="T71" fmla="*/ 47 h 218"/>
                <a:gd name="T72" fmla="*/ 403 w 472"/>
                <a:gd name="T73" fmla="*/ 47 h 218"/>
                <a:gd name="T74" fmla="*/ 391 w 472"/>
                <a:gd name="T75" fmla="*/ 44 h 218"/>
                <a:gd name="T76" fmla="*/ 352 w 472"/>
                <a:gd name="T77" fmla="*/ 65 h 218"/>
                <a:gd name="T78" fmla="*/ 334 w 472"/>
                <a:gd name="T79" fmla="*/ 66 h 218"/>
                <a:gd name="T80" fmla="*/ 316 w 472"/>
                <a:gd name="T81" fmla="*/ 69 h 218"/>
                <a:gd name="T82" fmla="*/ 303 w 472"/>
                <a:gd name="T83" fmla="*/ 66 h 218"/>
                <a:gd name="T84" fmla="*/ 294 w 472"/>
                <a:gd name="T85" fmla="*/ 56 h 218"/>
                <a:gd name="T86" fmla="*/ 286 w 472"/>
                <a:gd name="T87" fmla="*/ 44 h 218"/>
                <a:gd name="T88" fmla="*/ 267 w 472"/>
                <a:gd name="T89" fmla="*/ 38 h 218"/>
                <a:gd name="T90" fmla="*/ 226 w 472"/>
                <a:gd name="T91" fmla="*/ 41 h 218"/>
                <a:gd name="T92" fmla="*/ 207 w 472"/>
                <a:gd name="T93" fmla="*/ 17 h 218"/>
                <a:gd name="T94" fmla="*/ 162 w 472"/>
                <a:gd name="T95" fmla="*/ 3 h 218"/>
                <a:gd name="T96" fmla="*/ 148 w 472"/>
                <a:gd name="T97" fmla="*/ 35 h 218"/>
                <a:gd name="T98" fmla="*/ 147 w 472"/>
                <a:gd name="T99" fmla="*/ 48 h 218"/>
                <a:gd name="T100" fmla="*/ 142 w 472"/>
                <a:gd name="T101" fmla="*/ 48 h 218"/>
                <a:gd name="T102" fmla="*/ 136 w 472"/>
                <a:gd name="T103" fmla="*/ 56 h 218"/>
                <a:gd name="T104" fmla="*/ 112 w 472"/>
                <a:gd name="T105" fmla="*/ 53 h 218"/>
                <a:gd name="T106" fmla="*/ 100 w 472"/>
                <a:gd name="T107" fmla="*/ 47 h 218"/>
                <a:gd name="T108" fmla="*/ 85 w 472"/>
                <a:gd name="T109" fmla="*/ 36 h 218"/>
                <a:gd name="T110" fmla="*/ 73 w 472"/>
                <a:gd name="T111" fmla="*/ 30 h 218"/>
                <a:gd name="T112" fmla="*/ 55 w 472"/>
                <a:gd name="T113" fmla="*/ 29 h 218"/>
                <a:gd name="T114" fmla="*/ 42 w 472"/>
                <a:gd name="T115" fmla="*/ 37 h 218"/>
                <a:gd name="T116" fmla="*/ 33 w 472"/>
                <a:gd name="T117" fmla="*/ 47 h 218"/>
                <a:gd name="T118" fmla="*/ 16 w 472"/>
                <a:gd name="T119" fmla="*/ 54 h 218"/>
                <a:gd name="T120" fmla="*/ 4 w 472"/>
                <a:gd name="T121" fmla="*/ 66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72" h="218">
                  <a:moveTo>
                    <a:pt x="4" y="66"/>
                  </a:moveTo>
                  <a:cubicBezTo>
                    <a:pt x="0" y="71"/>
                    <a:pt x="3" y="76"/>
                    <a:pt x="7" y="78"/>
                  </a:cubicBezTo>
                  <a:cubicBezTo>
                    <a:pt x="11" y="80"/>
                    <a:pt x="22" y="75"/>
                    <a:pt x="28" y="81"/>
                  </a:cubicBezTo>
                  <a:cubicBezTo>
                    <a:pt x="34" y="87"/>
                    <a:pt x="43" y="106"/>
                    <a:pt x="45" y="113"/>
                  </a:cubicBezTo>
                  <a:cubicBezTo>
                    <a:pt x="47" y="120"/>
                    <a:pt x="44" y="118"/>
                    <a:pt x="43" y="123"/>
                  </a:cubicBezTo>
                  <a:cubicBezTo>
                    <a:pt x="42" y="128"/>
                    <a:pt x="38" y="137"/>
                    <a:pt x="40" y="141"/>
                  </a:cubicBezTo>
                  <a:cubicBezTo>
                    <a:pt x="42" y="145"/>
                    <a:pt x="49" y="146"/>
                    <a:pt x="57" y="147"/>
                  </a:cubicBezTo>
                  <a:cubicBezTo>
                    <a:pt x="65" y="148"/>
                    <a:pt x="80" y="147"/>
                    <a:pt x="88" y="149"/>
                  </a:cubicBezTo>
                  <a:cubicBezTo>
                    <a:pt x="96" y="151"/>
                    <a:pt x="98" y="155"/>
                    <a:pt x="103" y="161"/>
                  </a:cubicBezTo>
                  <a:cubicBezTo>
                    <a:pt x="108" y="167"/>
                    <a:pt x="113" y="179"/>
                    <a:pt x="118" y="185"/>
                  </a:cubicBezTo>
                  <a:cubicBezTo>
                    <a:pt x="123" y="191"/>
                    <a:pt x="127" y="195"/>
                    <a:pt x="133" y="197"/>
                  </a:cubicBezTo>
                  <a:cubicBezTo>
                    <a:pt x="139" y="199"/>
                    <a:pt x="145" y="197"/>
                    <a:pt x="156" y="197"/>
                  </a:cubicBezTo>
                  <a:cubicBezTo>
                    <a:pt x="167" y="197"/>
                    <a:pt x="185" y="194"/>
                    <a:pt x="199" y="197"/>
                  </a:cubicBezTo>
                  <a:cubicBezTo>
                    <a:pt x="213" y="200"/>
                    <a:pt x="229" y="212"/>
                    <a:pt x="238" y="215"/>
                  </a:cubicBezTo>
                  <a:cubicBezTo>
                    <a:pt x="247" y="218"/>
                    <a:pt x="247" y="215"/>
                    <a:pt x="252" y="213"/>
                  </a:cubicBezTo>
                  <a:cubicBezTo>
                    <a:pt x="257" y="211"/>
                    <a:pt x="266" y="206"/>
                    <a:pt x="271" y="204"/>
                  </a:cubicBezTo>
                  <a:cubicBezTo>
                    <a:pt x="276" y="202"/>
                    <a:pt x="278" y="201"/>
                    <a:pt x="282" y="200"/>
                  </a:cubicBezTo>
                  <a:cubicBezTo>
                    <a:pt x="286" y="199"/>
                    <a:pt x="290" y="201"/>
                    <a:pt x="297" y="200"/>
                  </a:cubicBezTo>
                  <a:cubicBezTo>
                    <a:pt x="304" y="199"/>
                    <a:pt x="315" y="198"/>
                    <a:pt x="322" y="195"/>
                  </a:cubicBezTo>
                  <a:cubicBezTo>
                    <a:pt x="329" y="192"/>
                    <a:pt x="338" y="187"/>
                    <a:pt x="342" y="183"/>
                  </a:cubicBezTo>
                  <a:cubicBezTo>
                    <a:pt x="346" y="179"/>
                    <a:pt x="348" y="173"/>
                    <a:pt x="349" y="168"/>
                  </a:cubicBezTo>
                  <a:cubicBezTo>
                    <a:pt x="350" y="163"/>
                    <a:pt x="348" y="154"/>
                    <a:pt x="349" y="150"/>
                  </a:cubicBezTo>
                  <a:cubicBezTo>
                    <a:pt x="350" y="146"/>
                    <a:pt x="348" y="140"/>
                    <a:pt x="354" y="141"/>
                  </a:cubicBezTo>
                  <a:cubicBezTo>
                    <a:pt x="360" y="142"/>
                    <a:pt x="379" y="153"/>
                    <a:pt x="385" y="153"/>
                  </a:cubicBezTo>
                  <a:cubicBezTo>
                    <a:pt x="391" y="153"/>
                    <a:pt x="391" y="147"/>
                    <a:pt x="393" y="144"/>
                  </a:cubicBezTo>
                  <a:cubicBezTo>
                    <a:pt x="395" y="141"/>
                    <a:pt x="396" y="137"/>
                    <a:pt x="400" y="135"/>
                  </a:cubicBezTo>
                  <a:cubicBezTo>
                    <a:pt x="404" y="133"/>
                    <a:pt x="412" y="135"/>
                    <a:pt x="417" y="131"/>
                  </a:cubicBezTo>
                  <a:cubicBezTo>
                    <a:pt x="422" y="127"/>
                    <a:pt x="421" y="116"/>
                    <a:pt x="430" y="113"/>
                  </a:cubicBezTo>
                  <a:cubicBezTo>
                    <a:pt x="439" y="110"/>
                    <a:pt x="466" y="115"/>
                    <a:pt x="469" y="110"/>
                  </a:cubicBezTo>
                  <a:cubicBezTo>
                    <a:pt x="472" y="105"/>
                    <a:pt x="456" y="84"/>
                    <a:pt x="451" y="81"/>
                  </a:cubicBezTo>
                  <a:cubicBezTo>
                    <a:pt x="446" y="78"/>
                    <a:pt x="441" y="90"/>
                    <a:pt x="436" y="90"/>
                  </a:cubicBezTo>
                  <a:cubicBezTo>
                    <a:pt x="431" y="90"/>
                    <a:pt x="424" y="83"/>
                    <a:pt x="420" y="83"/>
                  </a:cubicBezTo>
                  <a:cubicBezTo>
                    <a:pt x="416" y="83"/>
                    <a:pt x="413" y="93"/>
                    <a:pt x="412" y="92"/>
                  </a:cubicBezTo>
                  <a:cubicBezTo>
                    <a:pt x="411" y="91"/>
                    <a:pt x="416" y="82"/>
                    <a:pt x="415" y="78"/>
                  </a:cubicBezTo>
                  <a:cubicBezTo>
                    <a:pt x="414" y="74"/>
                    <a:pt x="408" y="71"/>
                    <a:pt x="408" y="66"/>
                  </a:cubicBezTo>
                  <a:cubicBezTo>
                    <a:pt x="408" y="61"/>
                    <a:pt x="419" y="50"/>
                    <a:pt x="418" y="47"/>
                  </a:cubicBezTo>
                  <a:cubicBezTo>
                    <a:pt x="417" y="44"/>
                    <a:pt x="407" y="47"/>
                    <a:pt x="403" y="47"/>
                  </a:cubicBezTo>
                  <a:cubicBezTo>
                    <a:pt x="399" y="47"/>
                    <a:pt x="399" y="41"/>
                    <a:pt x="391" y="44"/>
                  </a:cubicBezTo>
                  <a:cubicBezTo>
                    <a:pt x="383" y="47"/>
                    <a:pt x="361" y="61"/>
                    <a:pt x="352" y="65"/>
                  </a:cubicBezTo>
                  <a:cubicBezTo>
                    <a:pt x="343" y="69"/>
                    <a:pt x="340" y="65"/>
                    <a:pt x="334" y="66"/>
                  </a:cubicBezTo>
                  <a:cubicBezTo>
                    <a:pt x="328" y="67"/>
                    <a:pt x="321" y="69"/>
                    <a:pt x="316" y="69"/>
                  </a:cubicBezTo>
                  <a:cubicBezTo>
                    <a:pt x="311" y="69"/>
                    <a:pt x="307" y="68"/>
                    <a:pt x="303" y="66"/>
                  </a:cubicBezTo>
                  <a:cubicBezTo>
                    <a:pt x="299" y="64"/>
                    <a:pt x="297" y="60"/>
                    <a:pt x="294" y="56"/>
                  </a:cubicBezTo>
                  <a:cubicBezTo>
                    <a:pt x="291" y="52"/>
                    <a:pt x="290" y="47"/>
                    <a:pt x="286" y="44"/>
                  </a:cubicBezTo>
                  <a:cubicBezTo>
                    <a:pt x="282" y="41"/>
                    <a:pt x="277" y="38"/>
                    <a:pt x="267" y="38"/>
                  </a:cubicBezTo>
                  <a:cubicBezTo>
                    <a:pt x="257" y="38"/>
                    <a:pt x="236" y="44"/>
                    <a:pt x="226" y="41"/>
                  </a:cubicBezTo>
                  <a:cubicBezTo>
                    <a:pt x="216" y="38"/>
                    <a:pt x="218" y="23"/>
                    <a:pt x="207" y="17"/>
                  </a:cubicBezTo>
                  <a:cubicBezTo>
                    <a:pt x="196" y="11"/>
                    <a:pt x="172" y="0"/>
                    <a:pt x="162" y="3"/>
                  </a:cubicBezTo>
                  <a:cubicBezTo>
                    <a:pt x="152" y="6"/>
                    <a:pt x="150" y="28"/>
                    <a:pt x="148" y="35"/>
                  </a:cubicBezTo>
                  <a:cubicBezTo>
                    <a:pt x="146" y="42"/>
                    <a:pt x="148" y="46"/>
                    <a:pt x="147" y="48"/>
                  </a:cubicBezTo>
                  <a:cubicBezTo>
                    <a:pt x="146" y="50"/>
                    <a:pt x="144" y="47"/>
                    <a:pt x="142" y="48"/>
                  </a:cubicBezTo>
                  <a:cubicBezTo>
                    <a:pt x="140" y="49"/>
                    <a:pt x="141" y="55"/>
                    <a:pt x="136" y="56"/>
                  </a:cubicBezTo>
                  <a:cubicBezTo>
                    <a:pt x="131" y="57"/>
                    <a:pt x="118" y="54"/>
                    <a:pt x="112" y="53"/>
                  </a:cubicBezTo>
                  <a:cubicBezTo>
                    <a:pt x="106" y="52"/>
                    <a:pt x="104" y="50"/>
                    <a:pt x="100" y="47"/>
                  </a:cubicBezTo>
                  <a:cubicBezTo>
                    <a:pt x="96" y="44"/>
                    <a:pt x="89" y="39"/>
                    <a:pt x="85" y="36"/>
                  </a:cubicBezTo>
                  <a:cubicBezTo>
                    <a:pt x="81" y="33"/>
                    <a:pt x="78" y="31"/>
                    <a:pt x="73" y="30"/>
                  </a:cubicBezTo>
                  <a:cubicBezTo>
                    <a:pt x="68" y="29"/>
                    <a:pt x="60" y="28"/>
                    <a:pt x="55" y="29"/>
                  </a:cubicBezTo>
                  <a:cubicBezTo>
                    <a:pt x="50" y="30"/>
                    <a:pt x="46" y="34"/>
                    <a:pt x="42" y="37"/>
                  </a:cubicBezTo>
                  <a:cubicBezTo>
                    <a:pt x="38" y="40"/>
                    <a:pt x="37" y="44"/>
                    <a:pt x="33" y="47"/>
                  </a:cubicBezTo>
                  <a:cubicBezTo>
                    <a:pt x="29" y="50"/>
                    <a:pt x="21" y="51"/>
                    <a:pt x="16" y="54"/>
                  </a:cubicBezTo>
                  <a:cubicBezTo>
                    <a:pt x="11" y="57"/>
                    <a:pt x="6" y="64"/>
                    <a:pt x="4" y="66"/>
                  </a:cubicBezTo>
                  <a:close/>
                </a:path>
              </a:pathLst>
            </a:custGeom>
            <a:solidFill>
              <a:schemeClr val="bg1">
                <a:lumMod val="85000"/>
              </a:schemeClr>
            </a:solidFill>
            <a:ln w="9525" cap="flat" cmpd="sng">
              <a:solidFill>
                <a:schemeClr val="bg1"/>
              </a:solidFill>
              <a:prstDash val="solid"/>
              <a:round/>
              <a:headEnd type="none" w="med" len="med"/>
              <a:tailEnd type="none" w="med" len="med"/>
            </a:ln>
            <a:effectLst/>
            <a:extLst/>
          </p:spPr>
          <p:txBody>
            <a:bodyPr>
              <a:noAutofit/>
            </a:bodyPr>
            <a:lstStyle/>
            <a:p>
              <a:pPr fontAlgn="auto">
                <a:spcBef>
                  <a:spcPts val="0"/>
                </a:spcBef>
                <a:spcAft>
                  <a:spcPts val="0"/>
                </a:spcAft>
                <a:defRPr/>
              </a:pPr>
              <a:endParaRPr lang="en-CA" kern="0">
                <a:solidFill>
                  <a:sysClr val="windowText" lastClr="000000"/>
                </a:solidFill>
              </a:endParaRPr>
            </a:p>
          </p:txBody>
        </p:sp>
        <p:sp>
          <p:nvSpPr>
            <p:cNvPr id="441" name="Freeform 136"/>
            <p:cNvSpPr>
              <a:spLocks/>
            </p:cNvSpPr>
            <p:nvPr>
              <p:custDataLst>
                <p:tags r:id="rId115"/>
              </p:custDataLst>
            </p:nvPr>
          </p:nvSpPr>
          <p:spPr bwMode="gray">
            <a:xfrm>
              <a:off x="3429626" y="2234314"/>
              <a:ext cx="52003" cy="59260"/>
            </a:xfrm>
            <a:custGeom>
              <a:avLst/>
              <a:gdLst>
                <a:gd name="T0" fmla="*/ 36 w 63"/>
                <a:gd name="T1" fmla="*/ 73 h 77"/>
                <a:gd name="T2" fmla="*/ 48 w 63"/>
                <a:gd name="T3" fmla="*/ 42 h 77"/>
                <a:gd name="T4" fmla="*/ 63 w 63"/>
                <a:gd name="T5" fmla="*/ 34 h 77"/>
                <a:gd name="T6" fmla="*/ 54 w 63"/>
                <a:gd name="T7" fmla="*/ 21 h 77"/>
                <a:gd name="T8" fmla="*/ 24 w 63"/>
                <a:gd name="T9" fmla="*/ 15 h 77"/>
                <a:gd name="T10" fmla="*/ 6 w 63"/>
                <a:gd name="T11" fmla="*/ 0 h 77"/>
                <a:gd name="T12" fmla="*/ 11 w 63"/>
                <a:gd name="T13" fmla="*/ 10 h 77"/>
                <a:gd name="T14" fmla="*/ 0 w 63"/>
                <a:gd name="T15" fmla="*/ 28 h 77"/>
                <a:gd name="T16" fmla="*/ 11 w 63"/>
                <a:gd name="T17" fmla="*/ 33 h 77"/>
                <a:gd name="T18" fmla="*/ 17 w 63"/>
                <a:gd name="T19" fmla="*/ 67 h 77"/>
                <a:gd name="T20" fmla="*/ 21 w 63"/>
                <a:gd name="T21" fmla="*/ 75 h 77"/>
                <a:gd name="T22" fmla="*/ 33 w 63"/>
                <a:gd name="T23" fmla="*/ 69 h 77"/>
                <a:gd name="T24" fmla="*/ 30 w 63"/>
                <a:gd name="T25" fmla="*/ 73 h 77"/>
                <a:gd name="T26" fmla="*/ 36 w 63"/>
                <a:gd name="T27" fmla="*/ 73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 h="77">
                  <a:moveTo>
                    <a:pt x="36" y="73"/>
                  </a:moveTo>
                  <a:cubicBezTo>
                    <a:pt x="39" y="30"/>
                    <a:pt x="32" y="54"/>
                    <a:pt x="48" y="42"/>
                  </a:cubicBezTo>
                  <a:cubicBezTo>
                    <a:pt x="51" y="34"/>
                    <a:pt x="56" y="37"/>
                    <a:pt x="63" y="34"/>
                  </a:cubicBezTo>
                  <a:cubicBezTo>
                    <a:pt x="62" y="26"/>
                    <a:pt x="63" y="22"/>
                    <a:pt x="54" y="21"/>
                  </a:cubicBezTo>
                  <a:cubicBezTo>
                    <a:pt x="44" y="16"/>
                    <a:pt x="36" y="16"/>
                    <a:pt x="24" y="15"/>
                  </a:cubicBezTo>
                  <a:cubicBezTo>
                    <a:pt x="22" y="6"/>
                    <a:pt x="15" y="2"/>
                    <a:pt x="6" y="0"/>
                  </a:cubicBezTo>
                  <a:cubicBezTo>
                    <a:pt x="1" y="7"/>
                    <a:pt x="4" y="9"/>
                    <a:pt x="11" y="10"/>
                  </a:cubicBezTo>
                  <a:cubicBezTo>
                    <a:pt x="9" y="23"/>
                    <a:pt x="10" y="22"/>
                    <a:pt x="0" y="28"/>
                  </a:cubicBezTo>
                  <a:cubicBezTo>
                    <a:pt x="3" y="30"/>
                    <a:pt x="10" y="29"/>
                    <a:pt x="11" y="33"/>
                  </a:cubicBezTo>
                  <a:cubicBezTo>
                    <a:pt x="15" y="44"/>
                    <a:pt x="11" y="56"/>
                    <a:pt x="17" y="67"/>
                  </a:cubicBezTo>
                  <a:cubicBezTo>
                    <a:pt x="17" y="71"/>
                    <a:pt x="18" y="73"/>
                    <a:pt x="21" y="75"/>
                  </a:cubicBezTo>
                  <a:cubicBezTo>
                    <a:pt x="22" y="77"/>
                    <a:pt x="31" y="69"/>
                    <a:pt x="33" y="69"/>
                  </a:cubicBezTo>
                  <a:cubicBezTo>
                    <a:pt x="34" y="69"/>
                    <a:pt x="30" y="72"/>
                    <a:pt x="30" y="73"/>
                  </a:cubicBezTo>
                  <a:cubicBezTo>
                    <a:pt x="30" y="74"/>
                    <a:pt x="35" y="73"/>
                    <a:pt x="36" y="73"/>
                  </a:cubicBezTo>
                  <a:close/>
                </a:path>
              </a:pathLst>
            </a:custGeom>
            <a:solidFill>
              <a:schemeClr val="bg1">
                <a:lumMod val="85000"/>
              </a:schemeClr>
            </a:solidFill>
            <a:ln w="9525" cap="flat" cmpd="sng">
              <a:solidFill>
                <a:schemeClr val="bg1"/>
              </a:solidFill>
              <a:prstDash val="solid"/>
              <a:round/>
              <a:headEnd type="none" w="med" len="med"/>
              <a:tailEnd type="none" w="med" len="med"/>
            </a:ln>
            <a:effectLst/>
            <a:extLst/>
          </p:spPr>
          <p:txBody>
            <a:bodyPr>
              <a:noAutofit/>
            </a:bodyPr>
            <a:lstStyle/>
            <a:p>
              <a:pPr fontAlgn="auto">
                <a:spcBef>
                  <a:spcPts val="0"/>
                </a:spcBef>
                <a:spcAft>
                  <a:spcPts val="0"/>
                </a:spcAft>
                <a:defRPr/>
              </a:pPr>
              <a:endParaRPr lang="en-CA" kern="0">
                <a:solidFill>
                  <a:sysClr val="windowText" lastClr="000000"/>
                </a:solidFill>
              </a:endParaRPr>
            </a:p>
          </p:txBody>
        </p:sp>
        <p:sp>
          <p:nvSpPr>
            <p:cNvPr id="442" name="Freeform 137"/>
            <p:cNvSpPr>
              <a:spLocks/>
            </p:cNvSpPr>
            <p:nvPr>
              <p:custDataLst>
                <p:tags r:id="rId116"/>
              </p:custDataLst>
            </p:nvPr>
          </p:nvSpPr>
          <p:spPr bwMode="gray">
            <a:xfrm>
              <a:off x="3443226" y="2205840"/>
              <a:ext cx="38402" cy="22319"/>
            </a:xfrm>
            <a:custGeom>
              <a:avLst/>
              <a:gdLst>
                <a:gd name="T0" fmla="*/ 4 w 47"/>
                <a:gd name="T1" fmla="*/ 26 h 29"/>
                <a:gd name="T2" fmla="*/ 28 w 47"/>
                <a:gd name="T3" fmla="*/ 26 h 29"/>
                <a:gd name="T4" fmla="*/ 43 w 47"/>
                <a:gd name="T5" fmla="*/ 26 h 29"/>
                <a:gd name="T6" fmla="*/ 46 w 47"/>
                <a:gd name="T7" fmla="*/ 16 h 29"/>
                <a:gd name="T8" fmla="*/ 38 w 47"/>
                <a:gd name="T9" fmla="*/ 16 h 29"/>
                <a:gd name="T10" fmla="*/ 29 w 47"/>
                <a:gd name="T11" fmla="*/ 2 h 29"/>
                <a:gd name="T12" fmla="*/ 16 w 47"/>
                <a:gd name="T13" fmla="*/ 2 h 29"/>
                <a:gd name="T14" fmla="*/ 2 w 47"/>
                <a:gd name="T15" fmla="*/ 10 h 29"/>
                <a:gd name="T16" fmla="*/ 4 w 47"/>
                <a:gd name="T17" fmla="*/ 26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7" h="29">
                  <a:moveTo>
                    <a:pt x="4" y="26"/>
                  </a:moveTo>
                  <a:cubicBezTo>
                    <a:pt x="9" y="29"/>
                    <a:pt x="22" y="26"/>
                    <a:pt x="28" y="26"/>
                  </a:cubicBezTo>
                  <a:cubicBezTo>
                    <a:pt x="34" y="26"/>
                    <a:pt x="40" y="28"/>
                    <a:pt x="43" y="26"/>
                  </a:cubicBezTo>
                  <a:cubicBezTo>
                    <a:pt x="46" y="24"/>
                    <a:pt x="47" y="18"/>
                    <a:pt x="46" y="16"/>
                  </a:cubicBezTo>
                  <a:cubicBezTo>
                    <a:pt x="45" y="14"/>
                    <a:pt x="41" y="18"/>
                    <a:pt x="38" y="16"/>
                  </a:cubicBezTo>
                  <a:cubicBezTo>
                    <a:pt x="35" y="14"/>
                    <a:pt x="33" y="4"/>
                    <a:pt x="29" y="2"/>
                  </a:cubicBezTo>
                  <a:cubicBezTo>
                    <a:pt x="25" y="0"/>
                    <a:pt x="20" y="1"/>
                    <a:pt x="16" y="2"/>
                  </a:cubicBezTo>
                  <a:cubicBezTo>
                    <a:pt x="12" y="3"/>
                    <a:pt x="4" y="6"/>
                    <a:pt x="2" y="10"/>
                  </a:cubicBezTo>
                  <a:cubicBezTo>
                    <a:pt x="0" y="14"/>
                    <a:pt x="4" y="23"/>
                    <a:pt x="4" y="26"/>
                  </a:cubicBezTo>
                  <a:close/>
                </a:path>
              </a:pathLst>
            </a:custGeom>
            <a:solidFill>
              <a:schemeClr val="bg1">
                <a:lumMod val="85000"/>
              </a:schemeClr>
            </a:solidFill>
            <a:ln w="9525" cap="flat" cmpd="sng">
              <a:solidFill>
                <a:schemeClr val="bg1"/>
              </a:solidFill>
              <a:prstDash val="solid"/>
              <a:round/>
              <a:headEnd type="none" w="med" len="med"/>
              <a:tailEnd type="none" w="med" len="med"/>
            </a:ln>
            <a:effectLst/>
            <a:extLst/>
          </p:spPr>
          <p:txBody>
            <a:bodyPr>
              <a:noAutofit/>
            </a:bodyPr>
            <a:lstStyle/>
            <a:p>
              <a:pPr fontAlgn="auto">
                <a:spcBef>
                  <a:spcPts val="0"/>
                </a:spcBef>
                <a:spcAft>
                  <a:spcPts val="0"/>
                </a:spcAft>
                <a:defRPr/>
              </a:pPr>
              <a:endParaRPr lang="en-CA" kern="0">
                <a:solidFill>
                  <a:sysClr val="windowText" lastClr="000000"/>
                </a:solidFill>
              </a:endParaRPr>
            </a:p>
          </p:txBody>
        </p:sp>
        <p:sp>
          <p:nvSpPr>
            <p:cNvPr id="443" name="Freeform 138"/>
            <p:cNvSpPr>
              <a:spLocks/>
            </p:cNvSpPr>
            <p:nvPr>
              <p:custDataLst>
                <p:tags r:id="rId117"/>
              </p:custDataLst>
            </p:nvPr>
          </p:nvSpPr>
          <p:spPr bwMode="gray">
            <a:xfrm>
              <a:off x="3478430" y="2208917"/>
              <a:ext cx="100807" cy="154691"/>
            </a:xfrm>
            <a:custGeom>
              <a:avLst/>
              <a:gdLst>
                <a:gd name="T0" fmla="*/ 2 w 124"/>
                <a:gd name="T1" fmla="*/ 106 h 201"/>
                <a:gd name="T2" fmla="*/ 6 w 124"/>
                <a:gd name="T3" fmla="*/ 117 h 201"/>
                <a:gd name="T4" fmla="*/ 24 w 124"/>
                <a:gd name="T5" fmla="*/ 141 h 201"/>
                <a:gd name="T6" fmla="*/ 33 w 124"/>
                <a:gd name="T7" fmla="*/ 153 h 201"/>
                <a:gd name="T8" fmla="*/ 36 w 124"/>
                <a:gd name="T9" fmla="*/ 192 h 201"/>
                <a:gd name="T10" fmla="*/ 65 w 124"/>
                <a:gd name="T11" fmla="*/ 183 h 201"/>
                <a:gd name="T12" fmla="*/ 71 w 124"/>
                <a:gd name="T13" fmla="*/ 175 h 201"/>
                <a:gd name="T14" fmla="*/ 80 w 124"/>
                <a:gd name="T15" fmla="*/ 183 h 201"/>
                <a:gd name="T16" fmla="*/ 86 w 124"/>
                <a:gd name="T17" fmla="*/ 199 h 201"/>
                <a:gd name="T18" fmla="*/ 98 w 124"/>
                <a:gd name="T19" fmla="*/ 195 h 201"/>
                <a:gd name="T20" fmla="*/ 86 w 124"/>
                <a:gd name="T21" fmla="*/ 175 h 201"/>
                <a:gd name="T22" fmla="*/ 81 w 124"/>
                <a:gd name="T23" fmla="*/ 165 h 201"/>
                <a:gd name="T24" fmla="*/ 83 w 124"/>
                <a:gd name="T25" fmla="*/ 145 h 201"/>
                <a:gd name="T26" fmla="*/ 90 w 124"/>
                <a:gd name="T27" fmla="*/ 132 h 201"/>
                <a:gd name="T28" fmla="*/ 105 w 124"/>
                <a:gd name="T29" fmla="*/ 132 h 201"/>
                <a:gd name="T30" fmla="*/ 116 w 124"/>
                <a:gd name="T31" fmla="*/ 123 h 201"/>
                <a:gd name="T32" fmla="*/ 122 w 124"/>
                <a:gd name="T33" fmla="*/ 114 h 201"/>
                <a:gd name="T34" fmla="*/ 105 w 124"/>
                <a:gd name="T35" fmla="*/ 84 h 201"/>
                <a:gd name="T36" fmla="*/ 98 w 124"/>
                <a:gd name="T37" fmla="*/ 70 h 201"/>
                <a:gd name="T38" fmla="*/ 86 w 124"/>
                <a:gd name="T39" fmla="*/ 72 h 201"/>
                <a:gd name="T40" fmla="*/ 83 w 124"/>
                <a:gd name="T41" fmla="*/ 57 h 201"/>
                <a:gd name="T42" fmla="*/ 98 w 124"/>
                <a:gd name="T43" fmla="*/ 40 h 201"/>
                <a:gd name="T44" fmla="*/ 99 w 124"/>
                <a:gd name="T45" fmla="*/ 16 h 201"/>
                <a:gd name="T46" fmla="*/ 89 w 124"/>
                <a:gd name="T47" fmla="*/ 0 h 201"/>
                <a:gd name="T48" fmla="*/ 60 w 124"/>
                <a:gd name="T49" fmla="*/ 19 h 201"/>
                <a:gd name="T50" fmla="*/ 47 w 124"/>
                <a:gd name="T51" fmla="*/ 21 h 201"/>
                <a:gd name="T52" fmla="*/ 47 w 124"/>
                <a:gd name="T53" fmla="*/ 46 h 201"/>
                <a:gd name="T54" fmla="*/ 33 w 124"/>
                <a:gd name="T55" fmla="*/ 75 h 201"/>
                <a:gd name="T56" fmla="*/ 18 w 124"/>
                <a:gd name="T57" fmla="*/ 70 h 201"/>
                <a:gd name="T58" fmla="*/ 21 w 124"/>
                <a:gd name="T59" fmla="*/ 97 h 201"/>
                <a:gd name="T60" fmla="*/ 2 w 124"/>
                <a:gd name="T61" fmla="*/ 106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24" h="201">
                  <a:moveTo>
                    <a:pt x="2" y="106"/>
                  </a:moveTo>
                  <a:cubicBezTo>
                    <a:pt x="0" y="109"/>
                    <a:pt x="2" y="111"/>
                    <a:pt x="6" y="117"/>
                  </a:cubicBezTo>
                  <a:cubicBezTo>
                    <a:pt x="10" y="123"/>
                    <a:pt x="19" y="135"/>
                    <a:pt x="24" y="141"/>
                  </a:cubicBezTo>
                  <a:cubicBezTo>
                    <a:pt x="29" y="147"/>
                    <a:pt x="31" y="145"/>
                    <a:pt x="33" y="153"/>
                  </a:cubicBezTo>
                  <a:cubicBezTo>
                    <a:pt x="35" y="161"/>
                    <a:pt x="31" y="187"/>
                    <a:pt x="36" y="192"/>
                  </a:cubicBezTo>
                  <a:cubicBezTo>
                    <a:pt x="41" y="197"/>
                    <a:pt x="59" y="186"/>
                    <a:pt x="65" y="183"/>
                  </a:cubicBezTo>
                  <a:cubicBezTo>
                    <a:pt x="71" y="180"/>
                    <a:pt x="69" y="175"/>
                    <a:pt x="71" y="175"/>
                  </a:cubicBezTo>
                  <a:cubicBezTo>
                    <a:pt x="73" y="175"/>
                    <a:pt x="77" y="179"/>
                    <a:pt x="80" y="183"/>
                  </a:cubicBezTo>
                  <a:cubicBezTo>
                    <a:pt x="83" y="187"/>
                    <a:pt x="83" y="197"/>
                    <a:pt x="86" y="199"/>
                  </a:cubicBezTo>
                  <a:cubicBezTo>
                    <a:pt x="89" y="201"/>
                    <a:pt x="98" y="199"/>
                    <a:pt x="98" y="195"/>
                  </a:cubicBezTo>
                  <a:cubicBezTo>
                    <a:pt x="98" y="191"/>
                    <a:pt x="89" y="180"/>
                    <a:pt x="86" y="175"/>
                  </a:cubicBezTo>
                  <a:cubicBezTo>
                    <a:pt x="83" y="170"/>
                    <a:pt x="81" y="170"/>
                    <a:pt x="81" y="165"/>
                  </a:cubicBezTo>
                  <a:cubicBezTo>
                    <a:pt x="81" y="160"/>
                    <a:pt x="82" y="150"/>
                    <a:pt x="83" y="145"/>
                  </a:cubicBezTo>
                  <a:cubicBezTo>
                    <a:pt x="84" y="140"/>
                    <a:pt x="86" y="134"/>
                    <a:pt x="90" y="132"/>
                  </a:cubicBezTo>
                  <a:cubicBezTo>
                    <a:pt x="94" y="130"/>
                    <a:pt x="101" y="133"/>
                    <a:pt x="105" y="132"/>
                  </a:cubicBezTo>
                  <a:cubicBezTo>
                    <a:pt x="109" y="131"/>
                    <a:pt x="113" y="126"/>
                    <a:pt x="116" y="123"/>
                  </a:cubicBezTo>
                  <a:cubicBezTo>
                    <a:pt x="119" y="120"/>
                    <a:pt x="124" y="120"/>
                    <a:pt x="122" y="114"/>
                  </a:cubicBezTo>
                  <a:cubicBezTo>
                    <a:pt x="120" y="108"/>
                    <a:pt x="109" y="91"/>
                    <a:pt x="105" y="84"/>
                  </a:cubicBezTo>
                  <a:cubicBezTo>
                    <a:pt x="101" y="77"/>
                    <a:pt x="101" y="72"/>
                    <a:pt x="98" y="70"/>
                  </a:cubicBezTo>
                  <a:cubicBezTo>
                    <a:pt x="95" y="68"/>
                    <a:pt x="88" y="74"/>
                    <a:pt x="86" y="72"/>
                  </a:cubicBezTo>
                  <a:cubicBezTo>
                    <a:pt x="84" y="70"/>
                    <a:pt x="81" y="62"/>
                    <a:pt x="83" y="57"/>
                  </a:cubicBezTo>
                  <a:cubicBezTo>
                    <a:pt x="85" y="52"/>
                    <a:pt x="95" y="47"/>
                    <a:pt x="98" y="40"/>
                  </a:cubicBezTo>
                  <a:cubicBezTo>
                    <a:pt x="101" y="33"/>
                    <a:pt x="100" y="23"/>
                    <a:pt x="99" y="16"/>
                  </a:cubicBezTo>
                  <a:cubicBezTo>
                    <a:pt x="98" y="9"/>
                    <a:pt x="95" y="0"/>
                    <a:pt x="89" y="0"/>
                  </a:cubicBezTo>
                  <a:cubicBezTo>
                    <a:pt x="83" y="0"/>
                    <a:pt x="67" y="16"/>
                    <a:pt x="60" y="19"/>
                  </a:cubicBezTo>
                  <a:cubicBezTo>
                    <a:pt x="53" y="22"/>
                    <a:pt x="49" y="17"/>
                    <a:pt x="47" y="21"/>
                  </a:cubicBezTo>
                  <a:cubicBezTo>
                    <a:pt x="45" y="25"/>
                    <a:pt x="49" y="37"/>
                    <a:pt x="47" y="46"/>
                  </a:cubicBezTo>
                  <a:cubicBezTo>
                    <a:pt x="45" y="55"/>
                    <a:pt x="38" y="71"/>
                    <a:pt x="33" y="75"/>
                  </a:cubicBezTo>
                  <a:cubicBezTo>
                    <a:pt x="28" y="79"/>
                    <a:pt x="20" y="66"/>
                    <a:pt x="18" y="70"/>
                  </a:cubicBezTo>
                  <a:cubicBezTo>
                    <a:pt x="16" y="74"/>
                    <a:pt x="23" y="91"/>
                    <a:pt x="21" y="97"/>
                  </a:cubicBezTo>
                  <a:cubicBezTo>
                    <a:pt x="19" y="103"/>
                    <a:pt x="4" y="103"/>
                    <a:pt x="2" y="106"/>
                  </a:cubicBezTo>
                  <a:close/>
                </a:path>
              </a:pathLst>
            </a:custGeom>
            <a:solidFill>
              <a:schemeClr val="bg1">
                <a:lumMod val="85000"/>
              </a:schemeClr>
            </a:solidFill>
            <a:ln w="9525" cap="flat" cmpd="sng">
              <a:solidFill>
                <a:schemeClr val="bg1"/>
              </a:solidFill>
              <a:prstDash val="solid"/>
              <a:round/>
              <a:headEnd type="none" w="med" len="med"/>
              <a:tailEnd type="none" w="med" len="med"/>
            </a:ln>
            <a:effectLst/>
            <a:extLst/>
          </p:spPr>
          <p:txBody>
            <a:bodyPr>
              <a:noAutofit/>
            </a:bodyPr>
            <a:lstStyle/>
            <a:p>
              <a:pPr fontAlgn="auto">
                <a:spcBef>
                  <a:spcPts val="0"/>
                </a:spcBef>
                <a:spcAft>
                  <a:spcPts val="0"/>
                </a:spcAft>
                <a:defRPr/>
              </a:pPr>
              <a:endParaRPr lang="en-CA" kern="0">
                <a:solidFill>
                  <a:sysClr val="windowText" lastClr="000000"/>
                </a:solidFill>
              </a:endParaRPr>
            </a:p>
          </p:txBody>
        </p:sp>
        <p:sp>
          <p:nvSpPr>
            <p:cNvPr id="444" name="Freeform 139"/>
            <p:cNvSpPr>
              <a:spLocks/>
            </p:cNvSpPr>
            <p:nvPr>
              <p:custDataLst>
                <p:tags r:id="rId118"/>
              </p:custDataLst>
            </p:nvPr>
          </p:nvSpPr>
          <p:spPr bwMode="gray">
            <a:xfrm>
              <a:off x="3329619" y="2435181"/>
              <a:ext cx="24802" cy="43868"/>
            </a:xfrm>
            <a:custGeom>
              <a:avLst/>
              <a:gdLst>
                <a:gd name="T0" fmla="*/ 6 w 30"/>
                <a:gd name="T1" fmla="*/ 52 h 57"/>
                <a:gd name="T2" fmla="*/ 29 w 30"/>
                <a:gd name="T3" fmla="*/ 43 h 57"/>
                <a:gd name="T4" fmla="*/ 24 w 30"/>
                <a:gd name="T5" fmla="*/ 22 h 57"/>
                <a:gd name="T6" fmla="*/ 17 w 30"/>
                <a:gd name="T7" fmla="*/ 7 h 57"/>
                <a:gd name="T8" fmla="*/ 6 w 30"/>
                <a:gd name="T9" fmla="*/ 3 h 57"/>
                <a:gd name="T10" fmla="*/ 0 w 30"/>
                <a:gd name="T11" fmla="*/ 27 h 57"/>
                <a:gd name="T12" fmla="*/ 2 w 30"/>
                <a:gd name="T13" fmla="*/ 51 h 57"/>
                <a:gd name="T14" fmla="*/ 6 w 30"/>
                <a:gd name="T15" fmla="*/ 52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 h="57">
                  <a:moveTo>
                    <a:pt x="6" y="52"/>
                  </a:moveTo>
                  <a:cubicBezTo>
                    <a:pt x="18" y="57"/>
                    <a:pt x="23" y="53"/>
                    <a:pt x="29" y="43"/>
                  </a:cubicBezTo>
                  <a:cubicBezTo>
                    <a:pt x="30" y="34"/>
                    <a:pt x="29" y="30"/>
                    <a:pt x="24" y="22"/>
                  </a:cubicBezTo>
                  <a:cubicBezTo>
                    <a:pt x="27" y="0"/>
                    <a:pt x="27" y="15"/>
                    <a:pt x="17" y="7"/>
                  </a:cubicBezTo>
                  <a:cubicBezTo>
                    <a:pt x="14" y="1"/>
                    <a:pt x="12" y="0"/>
                    <a:pt x="6" y="3"/>
                  </a:cubicBezTo>
                  <a:cubicBezTo>
                    <a:pt x="1" y="10"/>
                    <a:pt x="3" y="19"/>
                    <a:pt x="0" y="27"/>
                  </a:cubicBezTo>
                  <a:cubicBezTo>
                    <a:pt x="1" y="35"/>
                    <a:pt x="0" y="43"/>
                    <a:pt x="2" y="51"/>
                  </a:cubicBezTo>
                  <a:cubicBezTo>
                    <a:pt x="2" y="52"/>
                    <a:pt x="6" y="53"/>
                    <a:pt x="6" y="52"/>
                  </a:cubicBezTo>
                  <a:close/>
                </a:path>
              </a:pathLst>
            </a:custGeom>
            <a:solidFill>
              <a:schemeClr val="bg1">
                <a:lumMod val="85000"/>
              </a:schemeClr>
            </a:solidFill>
            <a:ln w="9525" cap="flat" cmpd="sng">
              <a:solidFill>
                <a:schemeClr val="bg1"/>
              </a:solidFill>
              <a:prstDash val="solid"/>
              <a:round/>
              <a:headEnd type="none" w="med" len="med"/>
              <a:tailEnd type="none" w="med" len="med"/>
            </a:ln>
            <a:effectLst/>
            <a:extLst/>
          </p:spPr>
          <p:txBody>
            <a:bodyPr>
              <a:noAutofit/>
            </a:bodyPr>
            <a:lstStyle/>
            <a:p>
              <a:pPr fontAlgn="auto">
                <a:spcBef>
                  <a:spcPts val="0"/>
                </a:spcBef>
                <a:spcAft>
                  <a:spcPts val="0"/>
                </a:spcAft>
                <a:defRPr/>
              </a:pPr>
              <a:endParaRPr lang="en-CA" kern="0">
                <a:solidFill>
                  <a:sysClr val="windowText" lastClr="000000"/>
                </a:solidFill>
              </a:endParaRPr>
            </a:p>
          </p:txBody>
        </p:sp>
        <p:sp>
          <p:nvSpPr>
            <p:cNvPr id="445" name="Freeform 146"/>
            <p:cNvSpPr>
              <a:spLocks/>
            </p:cNvSpPr>
            <p:nvPr>
              <p:custDataLst>
                <p:tags r:id="rId119"/>
              </p:custDataLst>
            </p:nvPr>
          </p:nvSpPr>
          <p:spPr bwMode="gray">
            <a:xfrm>
              <a:off x="3193790" y="2090980"/>
              <a:ext cx="355853" cy="377205"/>
            </a:xfrm>
            <a:custGeom>
              <a:avLst/>
              <a:gdLst/>
              <a:ahLst/>
              <a:cxnLst/>
              <a:rect l="l" t="t" r="r" b="b"/>
              <a:pathLst>
                <a:path w="706099" h="778080">
                  <a:moveTo>
                    <a:pt x="599618" y="738575"/>
                  </a:moveTo>
                  <a:cubicBezTo>
                    <a:pt x="602843" y="757625"/>
                    <a:pt x="604456" y="757625"/>
                    <a:pt x="612519" y="771913"/>
                  </a:cubicBezTo>
                  <a:cubicBezTo>
                    <a:pt x="607681" y="781438"/>
                    <a:pt x="602843" y="778263"/>
                    <a:pt x="593167" y="773501"/>
                  </a:cubicBezTo>
                  <a:cubicBezTo>
                    <a:pt x="596392" y="748100"/>
                    <a:pt x="577040" y="756038"/>
                    <a:pt x="599618" y="738575"/>
                  </a:cubicBezTo>
                  <a:close/>
                  <a:moveTo>
                    <a:pt x="575428" y="711588"/>
                  </a:moveTo>
                  <a:cubicBezTo>
                    <a:pt x="580266" y="713176"/>
                    <a:pt x="585104" y="711588"/>
                    <a:pt x="588329" y="714763"/>
                  </a:cubicBezTo>
                  <a:cubicBezTo>
                    <a:pt x="591554" y="719526"/>
                    <a:pt x="577040" y="725876"/>
                    <a:pt x="573815" y="721113"/>
                  </a:cubicBezTo>
                  <a:cubicBezTo>
                    <a:pt x="572202" y="717938"/>
                    <a:pt x="575428" y="714763"/>
                    <a:pt x="575428" y="711588"/>
                  </a:cubicBezTo>
                  <a:close/>
                  <a:moveTo>
                    <a:pt x="578250" y="683212"/>
                  </a:moveTo>
                  <a:cubicBezTo>
                    <a:pt x="581476" y="684601"/>
                    <a:pt x="582685" y="688569"/>
                    <a:pt x="580266" y="695713"/>
                  </a:cubicBezTo>
                  <a:cubicBezTo>
                    <a:pt x="573815" y="694126"/>
                    <a:pt x="564139" y="686188"/>
                    <a:pt x="564139" y="686188"/>
                  </a:cubicBezTo>
                  <a:cubicBezTo>
                    <a:pt x="569784" y="683013"/>
                    <a:pt x="575025" y="681823"/>
                    <a:pt x="578250" y="683212"/>
                  </a:cubicBezTo>
                  <a:close/>
                  <a:moveTo>
                    <a:pt x="580266" y="616338"/>
                  </a:moveTo>
                  <a:cubicBezTo>
                    <a:pt x="601231" y="630626"/>
                    <a:pt x="610907" y="660788"/>
                    <a:pt x="580266" y="667138"/>
                  </a:cubicBezTo>
                  <a:cubicBezTo>
                    <a:pt x="567364" y="657613"/>
                    <a:pt x="570590" y="648088"/>
                    <a:pt x="573815" y="633801"/>
                  </a:cubicBezTo>
                  <a:cubicBezTo>
                    <a:pt x="568977" y="624276"/>
                    <a:pt x="570590" y="621101"/>
                    <a:pt x="580266" y="616338"/>
                  </a:cubicBezTo>
                  <a:close/>
                  <a:moveTo>
                    <a:pt x="589942" y="592525"/>
                  </a:moveTo>
                  <a:lnTo>
                    <a:pt x="599417" y="597089"/>
                  </a:lnTo>
                  <a:cubicBezTo>
                    <a:pt x="600425" y="598081"/>
                    <a:pt x="600425" y="599669"/>
                    <a:pt x="602844" y="605225"/>
                  </a:cubicBezTo>
                  <a:lnTo>
                    <a:pt x="597426" y="609715"/>
                  </a:lnTo>
                  <a:cubicBezTo>
                    <a:pt x="593571" y="609789"/>
                    <a:pt x="593571" y="598478"/>
                    <a:pt x="589942" y="592525"/>
                  </a:cubicBezTo>
                  <a:close/>
                  <a:moveTo>
                    <a:pt x="483499" y="235374"/>
                  </a:moveTo>
                  <a:cubicBezTo>
                    <a:pt x="488335" y="232147"/>
                    <a:pt x="496372" y="249589"/>
                    <a:pt x="498007" y="262343"/>
                  </a:cubicBezTo>
                  <a:lnTo>
                    <a:pt x="496612" y="281584"/>
                  </a:lnTo>
                  <a:cubicBezTo>
                    <a:pt x="487515" y="281701"/>
                    <a:pt x="478649" y="281924"/>
                    <a:pt x="471855" y="282419"/>
                  </a:cubicBezTo>
                  <a:cubicBezTo>
                    <a:pt x="472068" y="282114"/>
                    <a:pt x="472131" y="281764"/>
                    <a:pt x="472191" y="281398"/>
                  </a:cubicBezTo>
                  <a:cubicBezTo>
                    <a:pt x="473827" y="271871"/>
                    <a:pt x="478663" y="238524"/>
                    <a:pt x="483499" y="235374"/>
                  </a:cubicBezTo>
                  <a:close/>
                  <a:moveTo>
                    <a:pt x="656036" y="216319"/>
                  </a:moveTo>
                  <a:cubicBezTo>
                    <a:pt x="668980" y="219469"/>
                    <a:pt x="704469" y="232147"/>
                    <a:pt x="706033" y="240061"/>
                  </a:cubicBezTo>
                  <a:cubicBezTo>
                    <a:pt x="707669" y="248052"/>
                    <a:pt x="678652" y="259116"/>
                    <a:pt x="670544" y="263880"/>
                  </a:cubicBezTo>
                  <a:cubicBezTo>
                    <a:pt x="662508" y="268644"/>
                    <a:pt x="660872" y="268644"/>
                    <a:pt x="656036" y="271871"/>
                  </a:cubicBezTo>
                  <a:cubicBezTo>
                    <a:pt x="651200" y="275021"/>
                    <a:pt x="639963" y="276635"/>
                    <a:pt x="638327" y="281398"/>
                  </a:cubicBezTo>
                  <a:cubicBezTo>
                    <a:pt x="636691" y="286162"/>
                    <a:pt x="644799" y="295690"/>
                    <a:pt x="643163" y="305217"/>
                  </a:cubicBezTo>
                  <a:cubicBezTo>
                    <a:pt x="641527" y="314745"/>
                    <a:pt x="636691" y="332186"/>
                    <a:pt x="631855" y="340100"/>
                  </a:cubicBezTo>
                  <a:cubicBezTo>
                    <a:pt x="627019" y="348014"/>
                    <a:pt x="620618" y="352778"/>
                    <a:pt x="614146" y="354392"/>
                  </a:cubicBezTo>
                  <a:cubicBezTo>
                    <a:pt x="607674" y="356005"/>
                    <a:pt x="596366" y="340100"/>
                    <a:pt x="594802" y="348014"/>
                  </a:cubicBezTo>
                  <a:cubicBezTo>
                    <a:pt x="593166" y="356005"/>
                    <a:pt x="602838" y="389351"/>
                    <a:pt x="602838" y="400416"/>
                  </a:cubicBezTo>
                  <a:cubicBezTo>
                    <a:pt x="602838" y="411557"/>
                    <a:pt x="596366" y="408407"/>
                    <a:pt x="591530" y="411557"/>
                  </a:cubicBezTo>
                  <a:cubicBezTo>
                    <a:pt x="586694" y="414707"/>
                    <a:pt x="573821" y="419471"/>
                    <a:pt x="570621" y="414707"/>
                  </a:cubicBezTo>
                  <a:cubicBezTo>
                    <a:pt x="567349" y="409943"/>
                    <a:pt x="573821" y="387738"/>
                    <a:pt x="570621" y="382974"/>
                  </a:cubicBezTo>
                  <a:cubicBezTo>
                    <a:pt x="567349" y="378210"/>
                    <a:pt x="556041" y="381361"/>
                    <a:pt x="549640" y="382974"/>
                  </a:cubicBezTo>
                  <a:cubicBezTo>
                    <a:pt x="543169" y="384588"/>
                    <a:pt x="533496" y="397266"/>
                    <a:pt x="530296" y="397266"/>
                  </a:cubicBezTo>
                  <a:cubicBezTo>
                    <a:pt x="527024" y="397266"/>
                    <a:pt x="527024" y="387738"/>
                    <a:pt x="530296" y="381361"/>
                  </a:cubicBezTo>
                  <a:cubicBezTo>
                    <a:pt x="533496" y="375060"/>
                    <a:pt x="544804" y="362306"/>
                    <a:pt x="551205" y="357542"/>
                  </a:cubicBezTo>
                  <a:cubicBezTo>
                    <a:pt x="557677" y="352778"/>
                    <a:pt x="564149" y="352778"/>
                    <a:pt x="567349" y="348014"/>
                  </a:cubicBezTo>
                  <a:cubicBezTo>
                    <a:pt x="570621" y="343250"/>
                    <a:pt x="575457" y="333800"/>
                    <a:pt x="570621" y="329036"/>
                  </a:cubicBezTo>
                  <a:cubicBezTo>
                    <a:pt x="565785" y="324272"/>
                    <a:pt x="548005" y="322659"/>
                    <a:pt x="536697" y="319508"/>
                  </a:cubicBezTo>
                  <a:cubicBezTo>
                    <a:pt x="525460" y="316281"/>
                    <a:pt x="504479" y="319508"/>
                    <a:pt x="498007" y="309981"/>
                  </a:cubicBezTo>
                  <a:cubicBezTo>
                    <a:pt x="494097" y="304225"/>
                    <a:pt x="495509" y="292664"/>
                    <a:pt x="496612" y="281584"/>
                  </a:cubicBezTo>
                  <a:lnTo>
                    <a:pt x="530296" y="281398"/>
                  </a:lnTo>
                  <a:cubicBezTo>
                    <a:pt x="548005" y="281398"/>
                    <a:pt x="564149" y="284549"/>
                    <a:pt x="570621" y="281398"/>
                  </a:cubicBezTo>
                  <a:cubicBezTo>
                    <a:pt x="577022" y="278171"/>
                    <a:pt x="570621" y="268644"/>
                    <a:pt x="570621" y="262343"/>
                  </a:cubicBezTo>
                  <a:cubicBezTo>
                    <a:pt x="570621" y="255966"/>
                    <a:pt x="570621" y="249589"/>
                    <a:pt x="573821" y="244825"/>
                  </a:cubicBezTo>
                  <a:cubicBezTo>
                    <a:pt x="577022" y="240061"/>
                    <a:pt x="580293" y="233761"/>
                    <a:pt x="588330" y="230610"/>
                  </a:cubicBezTo>
                  <a:cubicBezTo>
                    <a:pt x="596366" y="227383"/>
                    <a:pt x="612510" y="222620"/>
                    <a:pt x="623819" y="221083"/>
                  </a:cubicBezTo>
                  <a:cubicBezTo>
                    <a:pt x="635127" y="219469"/>
                    <a:pt x="643163" y="213092"/>
                    <a:pt x="656036" y="216319"/>
                  </a:cubicBezTo>
                  <a:close/>
                  <a:moveTo>
                    <a:pt x="154942" y="0"/>
                  </a:moveTo>
                  <a:cubicBezTo>
                    <a:pt x="155351" y="393"/>
                    <a:pt x="155351" y="1181"/>
                    <a:pt x="157769" y="1949"/>
                  </a:cubicBezTo>
                  <a:lnTo>
                    <a:pt x="178679" y="6713"/>
                  </a:lnTo>
                  <a:cubicBezTo>
                    <a:pt x="185151" y="9940"/>
                    <a:pt x="194823" y="14704"/>
                    <a:pt x="201295" y="19468"/>
                  </a:cubicBezTo>
                  <a:cubicBezTo>
                    <a:pt x="207767" y="24231"/>
                    <a:pt x="210967" y="32146"/>
                    <a:pt x="215803" y="33759"/>
                  </a:cubicBezTo>
                  <a:cubicBezTo>
                    <a:pt x="220639" y="35296"/>
                    <a:pt x="227111" y="32146"/>
                    <a:pt x="235148" y="30532"/>
                  </a:cubicBezTo>
                  <a:cubicBezTo>
                    <a:pt x="243185" y="28995"/>
                    <a:pt x="257693" y="16241"/>
                    <a:pt x="265801" y="21004"/>
                  </a:cubicBezTo>
                  <a:cubicBezTo>
                    <a:pt x="273837" y="25768"/>
                    <a:pt x="280309" y="49587"/>
                    <a:pt x="280309" y="59115"/>
                  </a:cubicBezTo>
                  <a:cubicBezTo>
                    <a:pt x="280309" y="68642"/>
                    <a:pt x="267436" y="70256"/>
                    <a:pt x="264165" y="76556"/>
                  </a:cubicBezTo>
                  <a:cubicBezTo>
                    <a:pt x="260965" y="82933"/>
                    <a:pt x="259329" y="90847"/>
                    <a:pt x="259329" y="97225"/>
                  </a:cubicBezTo>
                  <a:cubicBezTo>
                    <a:pt x="259329" y="103602"/>
                    <a:pt x="270637" y="111516"/>
                    <a:pt x="269001" y="116280"/>
                  </a:cubicBezTo>
                  <a:cubicBezTo>
                    <a:pt x="267436" y="121044"/>
                    <a:pt x="257693" y="121044"/>
                    <a:pt x="254493" y="125807"/>
                  </a:cubicBezTo>
                  <a:cubicBezTo>
                    <a:pt x="251292" y="130571"/>
                    <a:pt x="246456" y="136948"/>
                    <a:pt x="249656" y="144862"/>
                  </a:cubicBezTo>
                  <a:cubicBezTo>
                    <a:pt x="252857" y="152776"/>
                    <a:pt x="262529" y="165454"/>
                    <a:pt x="270637" y="171832"/>
                  </a:cubicBezTo>
                  <a:cubicBezTo>
                    <a:pt x="278673" y="178209"/>
                    <a:pt x="298018" y="176595"/>
                    <a:pt x="299654" y="186123"/>
                  </a:cubicBezTo>
                  <a:cubicBezTo>
                    <a:pt x="301290" y="195650"/>
                    <a:pt x="280309" y="217856"/>
                    <a:pt x="280309" y="225847"/>
                  </a:cubicBezTo>
                  <a:cubicBezTo>
                    <a:pt x="280309" y="233761"/>
                    <a:pt x="293182" y="232147"/>
                    <a:pt x="299654" y="235374"/>
                  </a:cubicBezTo>
                  <a:cubicBezTo>
                    <a:pt x="306126" y="238524"/>
                    <a:pt x="315798" y="243288"/>
                    <a:pt x="322199" y="248052"/>
                  </a:cubicBezTo>
                  <a:cubicBezTo>
                    <a:pt x="328671" y="252816"/>
                    <a:pt x="335143" y="255966"/>
                    <a:pt x="341615" y="259116"/>
                  </a:cubicBezTo>
                  <a:cubicBezTo>
                    <a:pt x="348015" y="262343"/>
                    <a:pt x="357688" y="265493"/>
                    <a:pt x="367360" y="268644"/>
                  </a:cubicBezTo>
                  <a:cubicBezTo>
                    <a:pt x="377032" y="271871"/>
                    <a:pt x="388340" y="279785"/>
                    <a:pt x="396448" y="282935"/>
                  </a:cubicBezTo>
                  <a:cubicBezTo>
                    <a:pt x="404485" y="286162"/>
                    <a:pt x="406120" y="284549"/>
                    <a:pt x="414157" y="286162"/>
                  </a:cubicBezTo>
                  <a:cubicBezTo>
                    <a:pt x="422193" y="287699"/>
                    <a:pt x="441609" y="292463"/>
                    <a:pt x="449646" y="292463"/>
                  </a:cubicBezTo>
                  <a:cubicBezTo>
                    <a:pt x="457682" y="292463"/>
                    <a:pt x="451282" y="284549"/>
                    <a:pt x="464154" y="282935"/>
                  </a:cubicBezTo>
                  <a:cubicBezTo>
                    <a:pt x="466201" y="282691"/>
                    <a:pt x="468820" y="282485"/>
                    <a:pt x="471855" y="282419"/>
                  </a:cubicBezTo>
                  <a:cubicBezTo>
                    <a:pt x="470382" y="290816"/>
                    <a:pt x="467418" y="289616"/>
                    <a:pt x="468990" y="297226"/>
                  </a:cubicBezTo>
                  <a:cubicBezTo>
                    <a:pt x="470626" y="305217"/>
                    <a:pt x="483499" y="319508"/>
                    <a:pt x="483499" y="325809"/>
                  </a:cubicBezTo>
                  <a:cubicBezTo>
                    <a:pt x="483499" y="332186"/>
                    <a:pt x="467355" y="335336"/>
                    <a:pt x="467355" y="338487"/>
                  </a:cubicBezTo>
                  <a:cubicBezTo>
                    <a:pt x="467355" y="341714"/>
                    <a:pt x="481863" y="344864"/>
                    <a:pt x="486699" y="348014"/>
                  </a:cubicBezTo>
                  <a:cubicBezTo>
                    <a:pt x="491535" y="351241"/>
                    <a:pt x="493171" y="352778"/>
                    <a:pt x="493171" y="362306"/>
                  </a:cubicBezTo>
                  <a:cubicBezTo>
                    <a:pt x="493171" y="371833"/>
                    <a:pt x="493171" y="397266"/>
                    <a:pt x="488335" y="405180"/>
                  </a:cubicBezTo>
                  <a:cubicBezTo>
                    <a:pt x="483499" y="413170"/>
                    <a:pt x="465790" y="406793"/>
                    <a:pt x="459318" y="411557"/>
                  </a:cubicBezTo>
                  <a:cubicBezTo>
                    <a:pt x="452846" y="416321"/>
                    <a:pt x="454482" y="432149"/>
                    <a:pt x="448010" y="438526"/>
                  </a:cubicBezTo>
                  <a:cubicBezTo>
                    <a:pt x="441609" y="444903"/>
                    <a:pt x="433502" y="448053"/>
                    <a:pt x="423829" y="454431"/>
                  </a:cubicBezTo>
                  <a:cubicBezTo>
                    <a:pt x="414157" y="460731"/>
                    <a:pt x="393177" y="465495"/>
                    <a:pt x="385140" y="473486"/>
                  </a:cubicBezTo>
                  <a:cubicBezTo>
                    <a:pt x="377032" y="481400"/>
                    <a:pt x="380304" y="492541"/>
                    <a:pt x="372196" y="500455"/>
                  </a:cubicBezTo>
                  <a:cubicBezTo>
                    <a:pt x="364160" y="508369"/>
                    <a:pt x="344815" y="513133"/>
                    <a:pt x="338343" y="521124"/>
                  </a:cubicBezTo>
                  <a:cubicBezTo>
                    <a:pt x="331942" y="529038"/>
                    <a:pt x="336778" y="543329"/>
                    <a:pt x="331942" y="548093"/>
                  </a:cubicBezTo>
                  <a:cubicBezTo>
                    <a:pt x="327106" y="552856"/>
                    <a:pt x="320634" y="544866"/>
                    <a:pt x="312526" y="548093"/>
                  </a:cubicBezTo>
                  <a:cubicBezTo>
                    <a:pt x="304490" y="551243"/>
                    <a:pt x="288346" y="557620"/>
                    <a:pt x="283510" y="567148"/>
                  </a:cubicBezTo>
                  <a:cubicBezTo>
                    <a:pt x="278673" y="576675"/>
                    <a:pt x="283510" y="587740"/>
                    <a:pt x="283510" y="602031"/>
                  </a:cubicBezTo>
                  <a:cubicBezTo>
                    <a:pt x="283510" y="616322"/>
                    <a:pt x="286781" y="636991"/>
                    <a:pt x="283510" y="652819"/>
                  </a:cubicBezTo>
                  <a:cubicBezTo>
                    <a:pt x="280309" y="668724"/>
                    <a:pt x="269001" y="686165"/>
                    <a:pt x="260965" y="700456"/>
                  </a:cubicBezTo>
                  <a:cubicBezTo>
                    <a:pt x="252857" y="714748"/>
                    <a:pt x="244820" y="727426"/>
                    <a:pt x="236784" y="735416"/>
                  </a:cubicBezTo>
                  <a:cubicBezTo>
                    <a:pt x="230703" y="741352"/>
                    <a:pt x="228303" y="756234"/>
                    <a:pt x="220672" y="753936"/>
                  </a:cubicBezTo>
                  <a:lnTo>
                    <a:pt x="210967" y="744944"/>
                  </a:lnTo>
                  <a:cubicBezTo>
                    <a:pt x="194823" y="722662"/>
                    <a:pt x="157769" y="643291"/>
                    <a:pt x="139989" y="597267"/>
                  </a:cubicBezTo>
                  <a:cubicBezTo>
                    <a:pt x="122281" y="551243"/>
                    <a:pt x="112608" y="495691"/>
                    <a:pt x="104501" y="463958"/>
                  </a:cubicBezTo>
                  <a:cubicBezTo>
                    <a:pt x="96464" y="432149"/>
                    <a:pt x="101300" y="414707"/>
                    <a:pt x="94828" y="409943"/>
                  </a:cubicBezTo>
                  <a:cubicBezTo>
                    <a:pt x="88427" y="405180"/>
                    <a:pt x="77119" y="436912"/>
                    <a:pt x="65811" y="438526"/>
                  </a:cubicBezTo>
                  <a:cubicBezTo>
                    <a:pt x="54503" y="440139"/>
                    <a:pt x="28758" y="425848"/>
                    <a:pt x="22286" y="419471"/>
                  </a:cubicBezTo>
                  <a:cubicBezTo>
                    <a:pt x="15814" y="413170"/>
                    <a:pt x="17450" y="402029"/>
                    <a:pt x="22286" y="397266"/>
                  </a:cubicBezTo>
                  <a:cubicBezTo>
                    <a:pt x="27122" y="392502"/>
                    <a:pt x="54503" y="389351"/>
                    <a:pt x="51303" y="387738"/>
                  </a:cubicBezTo>
                  <a:cubicBezTo>
                    <a:pt x="48102" y="386124"/>
                    <a:pt x="12614" y="387738"/>
                    <a:pt x="4506" y="382974"/>
                  </a:cubicBezTo>
                  <a:cubicBezTo>
                    <a:pt x="-3531" y="378210"/>
                    <a:pt x="1306" y="367069"/>
                    <a:pt x="2941" y="362306"/>
                  </a:cubicBezTo>
                  <a:lnTo>
                    <a:pt x="19014" y="349628"/>
                  </a:lnTo>
                  <a:cubicBezTo>
                    <a:pt x="27122" y="348014"/>
                    <a:pt x="44831" y="351241"/>
                    <a:pt x="52939" y="349628"/>
                  </a:cubicBezTo>
                  <a:cubicBezTo>
                    <a:pt x="60975" y="348014"/>
                    <a:pt x="64176" y="343250"/>
                    <a:pt x="65811" y="338487"/>
                  </a:cubicBezTo>
                  <a:lnTo>
                    <a:pt x="65811" y="319508"/>
                  </a:lnTo>
                  <a:cubicBezTo>
                    <a:pt x="64176" y="314745"/>
                    <a:pt x="54503" y="316281"/>
                    <a:pt x="51303" y="311518"/>
                  </a:cubicBezTo>
                  <a:cubicBezTo>
                    <a:pt x="48102" y="306754"/>
                    <a:pt x="46467" y="294076"/>
                    <a:pt x="41631" y="287699"/>
                  </a:cubicBezTo>
                  <a:cubicBezTo>
                    <a:pt x="36794" y="281398"/>
                    <a:pt x="20650" y="273407"/>
                    <a:pt x="22286" y="268644"/>
                  </a:cubicBezTo>
                  <a:cubicBezTo>
                    <a:pt x="23851" y="263880"/>
                    <a:pt x="46467" y="259116"/>
                    <a:pt x="56139" y="257579"/>
                  </a:cubicBezTo>
                  <a:cubicBezTo>
                    <a:pt x="65811" y="255966"/>
                    <a:pt x="77119" y="263880"/>
                    <a:pt x="85156" y="257579"/>
                  </a:cubicBezTo>
                  <a:cubicBezTo>
                    <a:pt x="93264" y="251202"/>
                    <a:pt x="89992" y="233761"/>
                    <a:pt x="99664" y="221083"/>
                  </a:cubicBezTo>
                  <a:cubicBezTo>
                    <a:pt x="109337" y="208328"/>
                    <a:pt x="133518" y="192500"/>
                    <a:pt x="143190" y="178209"/>
                  </a:cubicBezTo>
                  <a:cubicBezTo>
                    <a:pt x="152933" y="163918"/>
                    <a:pt x="164170" y="141712"/>
                    <a:pt x="162606" y="130571"/>
                  </a:cubicBezTo>
                  <a:cubicBezTo>
                    <a:pt x="160970" y="119430"/>
                    <a:pt x="136789" y="124194"/>
                    <a:pt x="130317" y="114666"/>
                  </a:cubicBezTo>
                  <a:cubicBezTo>
                    <a:pt x="123845" y="105139"/>
                    <a:pt x="123845" y="82933"/>
                    <a:pt x="122281" y="76556"/>
                  </a:cubicBezTo>
                  <a:cubicBezTo>
                    <a:pt x="121076" y="71917"/>
                    <a:pt x="117250" y="74110"/>
                    <a:pt x="115809" y="73406"/>
                  </a:cubicBezTo>
                  <a:cubicBezTo>
                    <a:pt x="117444" y="70256"/>
                    <a:pt x="127117" y="57501"/>
                    <a:pt x="128681" y="52737"/>
                  </a:cubicBezTo>
                  <a:cubicBezTo>
                    <a:pt x="130317" y="47974"/>
                    <a:pt x="128681" y="46437"/>
                    <a:pt x="123845" y="43287"/>
                  </a:cubicBezTo>
                  <a:cubicBezTo>
                    <a:pt x="119009" y="40060"/>
                    <a:pt x="102936" y="33759"/>
                    <a:pt x="99664" y="28995"/>
                  </a:cubicBezTo>
                  <a:cubicBezTo>
                    <a:pt x="96464" y="24231"/>
                    <a:pt x="99664" y="14704"/>
                    <a:pt x="104501" y="9940"/>
                  </a:cubicBezTo>
                  <a:cubicBezTo>
                    <a:pt x="109337" y="5176"/>
                    <a:pt x="125481" y="3563"/>
                    <a:pt x="128681" y="1949"/>
                  </a:cubicBezTo>
                  <a:lnTo>
                    <a:pt x="125706" y="4890"/>
                  </a:lnTo>
                  <a:lnTo>
                    <a:pt x="106136" y="9940"/>
                  </a:lnTo>
                  <a:cubicBezTo>
                    <a:pt x="99664" y="13090"/>
                    <a:pt x="106136" y="21004"/>
                    <a:pt x="106136" y="24231"/>
                  </a:cubicBezTo>
                  <a:lnTo>
                    <a:pt x="125706" y="4890"/>
                  </a:lnTo>
                  <a:cubicBezTo>
                    <a:pt x="135262" y="2946"/>
                    <a:pt x="145405" y="1227"/>
                    <a:pt x="149662" y="413"/>
                  </a:cubicBezTo>
                  <a:close/>
                </a:path>
              </a:pathLst>
            </a:custGeom>
            <a:solidFill>
              <a:schemeClr val="accent1"/>
            </a:solidFill>
            <a:ln w="9525" cap="flat" cmpd="sng">
              <a:solidFill>
                <a:schemeClr val="bg1"/>
              </a:solidFill>
              <a:prstDash val="solid"/>
              <a:round/>
              <a:headEnd type="none" w="med" len="med"/>
              <a:tailEnd type="none" w="med" len="med"/>
            </a:ln>
            <a:effectLst/>
            <a:extLst/>
          </p:spPr>
          <p:txBody>
            <a:bodyPr>
              <a:noAutofit/>
            </a:bodyPr>
            <a:lstStyle/>
            <a:p>
              <a:pPr fontAlgn="auto">
                <a:spcBef>
                  <a:spcPts val="0"/>
                </a:spcBef>
                <a:spcAft>
                  <a:spcPts val="0"/>
                </a:spcAft>
                <a:defRPr/>
              </a:pPr>
              <a:endParaRPr lang="en-CA" kern="0">
                <a:solidFill>
                  <a:sysClr val="windowText" lastClr="000000"/>
                </a:solidFill>
              </a:endParaRPr>
            </a:p>
          </p:txBody>
        </p:sp>
        <p:sp>
          <p:nvSpPr>
            <p:cNvPr id="446" name="Freeform 147"/>
            <p:cNvSpPr>
              <a:spLocks/>
            </p:cNvSpPr>
            <p:nvPr>
              <p:custDataLst>
                <p:tags r:id="rId120"/>
              </p:custDataLst>
            </p:nvPr>
          </p:nvSpPr>
          <p:spPr bwMode="gray">
            <a:xfrm>
              <a:off x="3540834" y="2305888"/>
              <a:ext cx="101608" cy="176239"/>
            </a:xfrm>
            <a:custGeom>
              <a:avLst/>
              <a:gdLst>
                <a:gd name="T0" fmla="*/ 65 w 125"/>
                <a:gd name="T1" fmla="*/ 217 h 229"/>
                <a:gd name="T2" fmla="*/ 50 w 125"/>
                <a:gd name="T3" fmla="*/ 208 h 229"/>
                <a:gd name="T4" fmla="*/ 46 w 125"/>
                <a:gd name="T5" fmla="*/ 192 h 229"/>
                <a:gd name="T6" fmla="*/ 43 w 125"/>
                <a:gd name="T7" fmla="*/ 180 h 229"/>
                <a:gd name="T8" fmla="*/ 46 w 125"/>
                <a:gd name="T9" fmla="*/ 168 h 229"/>
                <a:gd name="T10" fmla="*/ 34 w 125"/>
                <a:gd name="T11" fmla="*/ 171 h 229"/>
                <a:gd name="T12" fmla="*/ 28 w 125"/>
                <a:gd name="T13" fmla="*/ 157 h 229"/>
                <a:gd name="T14" fmla="*/ 41 w 125"/>
                <a:gd name="T15" fmla="*/ 142 h 229"/>
                <a:gd name="T16" fmla="*/ 43 w 125"/>
                <a:gd name="T17" fmla="*/ 127 h 229"/>
                <a:gd name="T18" fmla="*/ 44 w 125"/>
                <a:gd name="T19" fmla="*/ 112 h 229"/>
                <a:gd name="T20" fmla="*/ 53 w 125"/>
                <a:gd name="T21" fmla="*/ 108 h 229"/>
                <a:gd name="T22" fmla="*/ 58 w 125"/>
                <a:gd name="T23" fmla="*/ 124 h 229"/>
                <a:gd name="T24" fmla="*/ 71 w 125"/>
                <a:gd name="T25" fmla="*/ 126 h 229"/>
                <a:gd name="T26" fmla="*/ 82 w 125"/>
                <a:gd name="T27" fmla="*/ 139 h 229"/>
                <a:gd name="T28" fmla="*/ 91 w 125"/>
                <a:gd name="T29" fmla="*/ 153 h 229"/>
                <a:gd name="T30" fmla="*/ 101 w 125"/>
                <a:gd name="T31" fmla="*/ 157 h 229"/>
                <a:gd name="T32" fmla="*/ 112 w 125"/>
                <a:gd name="T33" fmla="*/ 159 h 229"/>
                <a:gd name="T34" fmla="*/ 100 w 125"/>
                <a:gd name="T35" fmla="*/ 147 h 229"/>
                <a:gd name="T36" fmla="*/ 83 w 125"/>
                <a:gd name="T37" fmla="*/ 126 h 229"/>
                <a:gd name="T38" fmla="*/ 83 w 125"/>
                <a:gd name="T39" fmla="*/ 100 h 229"/>
                <a:gd name="T40" fmla="*/ 106 w 125"/>
                <a:gd name="T41" fmla="*/ 99 h 229"/>
                <a:gd name="T42" fmla="*/ 122 w 125"/>
                <a:gd name="T43" fmla="*/ 94 h 229"/>
                <a:gd name="T44" fmla="*/ 124 w 125"/>
                <a:gd name="T45" fmla="*/ 73 h 229"/>
                <a:gd name="T46" fmla="*/ 113 w 125"/>
                <a:gd name="T47" fmla="*/ 63 h 229"/>
                <a:gd name="T48" fmla="*/ 115 w 125"/>
                <a:gd name="T49" fmla="*/ 46 h 229"/>
                <a:gd name="T50" fmla="*/ 97 w 125"/>
                <a:gd name="T51" fmla="*/ 33 h 229"/>
                <a:gd name="T52" fmla="*/ 83 w 125"/>
                <a:gd name="T53" fmla="*/ 39 h 229"/>
                <a:gd name="T54" fmla="*/ 68 w 125"/>
                <a:gd name="T55" fmla="*/ 36 h 229"/>
                <a:gd name="T56" fmla="*/ 58 w 125"/>
                <a:gd name="T57" fmla="*/ 46 h 229"/>
                <a:gd name="T58" fmla="*/ 62 w 125"/>
                <a:gd name="T59" fmla="*/ 19 h 229"/>
                <a:gd name="T60" fmla="*/ 50 w 125"/>
                <a:gd name="T61" fmla="*/ 9 h 229"/>
                <a:gd name="T62" fmla="*/ 43 w 125"/>
                <a:gd name="T63" fmla="*/ 0 h 229"/>
                <a:gd name="T64" fmla="*/ 17 w 125"/>
                <a:gd name="T65" fmla="*/ 7 h 229"/>
                <a:gd name="T66" fmla="*/ 5 w 125"/>
                <a:gd name="T67" fmla="*/ 18 h 229"/>
                <a:gd name="T68" fmla="*/ 5 w 125"/>
                <a:gd name="T69" fmla="*/ 37 h 229"/>
                <a:gd name="T70" fmla="*/ 17 w 125"/>
                <a:gd name="T71" fmla="*/ 57 h 229"/>
                <a:gd name="T72" fmla="*/ 16 w 125"/>
                <a:gd name="T73" fmla="*/ 73 h 229"/>
                <a:gd name="T74" fmla="*/ 3 w 125"/>
                <a:gd name="T75" fmla="*/ 63 h 229"/>
                <a:gd name="T76" fmla="*/ 1 w 125"/>
                <a:gd name="T77" fmla="*/ 57 h 229"/>
                <a:gd name="T78" fmla="*/ 7 w 125"/>
                <a:gd name="T79" fmla="*/ 90 h 229"/>
                <a:gd name="T80" fmla="*/ 8 w 125"/>
                <a:gd name="T81" fmla="*/ 100 h 229"/>
                <a:gd name="T82" fmla="*/ 17 w 125"/>
                <a:gd name="T83" fmla="*/ 111 h 229"/>
                <a:gd name="T84" fmla="*/ 5 w 125"/>
                <a:gd name="T85" fmla="*/ 117 h 229"/>
                <a:gd name="T86" fmla="*/ 2 w 125"/>
                <a:gd name="T87" fmla="*/ 124 h 229"/>
                <a:gd name="T88" fmla="*/ 14 w 125"/>
                <a:gd name="T89" fmla="*/ 150 h 229"/>
                <a:gd name="T90" fmla="*/ 14 w 125"/>
                <a:gd name="T91" fmla="*/ 163 h 229"/>
                <a:gd name="T92" fmla="*/ 25 w 125"/>
                <a:gd name="T93" fmla="*/ 192 h 229"/>
                <a:gd name="T94" fmla="*/ 38 w 125"/>
                <a:gd name="T95" fmla="*/ 213 h 229"/>
                <a:gd name="T96" fmla="*/ 58 w 125"/>
                <a:gd name="T97" fmla="*/ 229 h 229"/>
                <a:gd name="T98" fmla="*/ 65 w 125"/>
                <a:gd name="T99" fmla="*/ 217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25" h="229">
                  <a:moveTo>
                    <a:pt x="65" y="217"/>
                  </a:moveTo>
                  <a:cubicBezTo>
                    <a:pt x="64" y="214"/>
                    <a:pt x="53" y="212"/>
                    <a:pt x="50" y="208"/>
                  </a:cubicBezTo>
                  <a:cubicBezTo>
                    <a:pt x="47" y="204"/>
                    <a:pt x="47" y="197"/>
                    <a:pt x="46" y="192"/>
                  </a:cubicBezTo>
                  <a:cubicBezTo>
                    <a:pt x="45" y="187"/>
                    <a:pt x="43" y="184"/>
                    <a:pt x="43" y="180"/>
                  </a:cubicBezTo>
                  <a:cubicBezTo>
                    <a:pt x="43" y="176"/>
                    <a:pt x="47" y="169"/>
                    <a:pt x="46" y="168"/>
                  </a:cubicBezTo>
                  <a:cubicBezTo>
                    <a:pt x="45" y="167"/>
                    <a:pt x="37" y="173"/>
                    <a:pt x="34" y="171"/>
                  </a:cubicBezTo>
                  <a:cubicBezTo>
                    <a:pt x="31" y="169"/>
                    <a:pt x="27" y="162"/>
                    <a:pt x="28" y="157"/>
                  </a:cubicBezTo>
                  <a:cubicBezTo>
                    <a:pt x="29" y="152"/>
                    <a:pt x="39" y="147"/>
                    <a:pt x="41" y="142"/>
                  </a:cubicBezTo>
                  <a:cubicBezTo>
                    <a:pt x="43" y="137"/>
                    <a:pt x="43" y="132"/>
                    <a:pt x="43" y="127"/>
                  </a:cubicBezTo>
                  <a:cubicBezTo>
                    <a:pt x="43" y="122"/>
                    <a:pt x="42" y="115"/>
                    <a:pt x="44" y="112"/>
                  </a:cubicBezTo>
                  <a:cubicBezTo>
                    <a:pt x="46" y="109"/>
                    <a:pt x="51" y="106"/>
                    <a:pt x="53" y="108"/>
                  </a:cubicBezTo>
                  <a:cubicBezTo>
                    <a:pt x="55" y="110"/>
                    <a:pt x="55" y="121"/>
                    <a:pt x="58" y="124"/>
                  </a:cubicBezTo>
                  <a:cubicBezTo>
                    <a:pt x="61" y="127"/>
                    <a:pt x="67" y="124"/>
                    <a:pt x="71" y="126"/>
                  </a:cubicBezTo>
                  <a:cubicBezTo>
                    <a:pt x="75" y="128"/>
                    <a:pt x="79" y="134"/>
                    <a:pt x="82" y="139"/>
                  </a:cubicBezTo>
                  <a:cubicBezTo>
                    <a:pt x="85" y="144"/>
                    <a:pt x="88" y="150"/>
                    <a:pt x="91" y="153"/>
                  </a:cubicBezTo>
                  <a:cubicBezTo>
                    <a:pt x="94" y="156"/>
                    <a:pt x="97" y="156"/>
                    <a:pt x="101" y="157"/>
                  </a:cubicBezTo>
                  <a:cubicBezTo>
                    <a:pt x="105" y="158"/>
                    <a:pt x="112" y="161"/>
                    <a:pt x="112" y="159"/>
                  </a:cubicBezTo>
                  <a:cubicBezTo>
                    <a:pt x="112" y="157"/>
                    <a:pt x="105" y="152"/>
                    <a:pt x="100" y="147"/>
                  </a:cubicBezTo>
                  <a:cubicBezTo>
                    <a:pt x="95" y="142"/>
                    <a:pt x="86" y="134"/>
                    <a:pt x="83" y="126"/>
                  </a:cubicBezTo>
                  <a:cubicBezTo>
                    <a:pt x="80" y="118"/>
                    <a:pt x="79" y="104"/>
                    <a:pt x="83" y="100"/>
                  </a:cubicBezTo>
                  <a:cubicBezTo>
                    <a:pt x="87" y="96"/>
                    <a:pt x="100" y="100"/>
                    <a:pt x="106" y="99"/>
                  </a:cubicBezTo>
                  <a:cubicBezTo>
                    <a:pt x="112" y="98"/>
                    <a:pt x="119" y="98"/>
                    <a:pt x="122" y="94"/>
                  </a:cubicBezTo>
                  <a:cubicBezTo>
                    <a:pt x="125" y="90"/>
                    <a:pt x="125" y="78"/>
                    <a:pt x="124" y="73"/>
                  </a:cubicBezTo>
                  <a:cubicBezTo>
                    <a:pt x="123" y="68"/>
                    <a:pt x="114" y="67"/>
                    <a:pt x="113" y="63"/>
                  </a:cubicBezTo>
                  <a:cubicBezTo>
                    <a:pt x="112" y="59"/>
                    <a:pt x="118" y="51"/>
                    <a:pt x="115" y="46"/>
                  </a:cubicBezTo>
                  <a:cubicBezTo>
                    <a:pt x="112" y="41"/>
                    <a:pt x="102" y="34"/>
                    <a:pt x="97" y="33"/>
                  </a:cubicBezTo>
                  <a:cubicBezTo>
                    <a:pt x="92" y="32"/>
                    <a:pt x="88" y="39"/>
                    <a:pt x="83" y="39"/>
                  </a:cubicBezTo>
                  <a:cubicBezTo>
                    <a:pt x="78" y="39"/>
                    <a:pt x="72" y="35"/>
                    <a:pt x="68" y="36"/>
                  </a:cubicBezTo>
                  <a:cubicBezTo>
                    <a:pt x="64" y="37"/>
                    <a:pt x="59" y="49"/>
                    <a:pt x="58" y="46"/>
                  </a:cubicBezTo>
                  <a:cubicBezTo>
                    <a:pt x="57" y="43"/>
                    <a:pt x="63" y="25"/>
                    <a:pt x="62" y="19"/>
                  </a:cubicBezTo>
                  <a:cubicBezTo>
                    <a:pt x="61" y="13"/>
                    <a:pt x="53" y="12"/>
                    <a:pt x="50" y="9"/>
                  </a:cubicBezTo>
                  <a:cubicBezTo>
                    <a:pt x="47" y="6"/>
                    <a:pt x="48" y="0"/>
                    <a:pt x="43" y="0"/>
                  </a:cubicBezTo>
                  <a:cubicBezTo>
                    <a:pt x="38" y="0"/>
                    <a:pt x="23" y="4"/>
                    <a:pt x="17" y="7"/>
                  </a:cubicBezTo>
                  <a:cubicBezTo>
                    <a:pt x="11" y="10"/>
                    <a:pt x="7" y="13"/>
                    <a:pt x="5" y="18"/>
                  </a:cubicBezTo>
                  <a:cubicBezTo>
                    <a:pt x="3" y="23"/>
                    <a:pt x="3" y="30"/>
                    <a:pt x="5" y="37"/>
                  </a:cubicBezTo>
                  <a:cubicBezTo>
                    <a:pt x="7" y="44"/>
                    <a:pt x="15" y="51"/>
                    <a:pt x="17" y="57"/>
                  </a:cubicBezTo>
                  <a:cubicBezTo>
                    <a:pt x="19" y="63"/>
                    <a:pt x="18" y="72"/>
                    <a:pt x="16" y="73"/>
                  </a:cubicBezTo>
                  <a:cubicBezTo>
                    <a:pt x="14" y="74"/>
                    <a:pt x="5" y="66"/>
                    <a:pt x="3" y="63"/>
                  </a:cubicBezTo>
                  <a:cubicBezTo>
                    <a:pt x="1" y="60"/>
                    <a:pt x="0" y="53"/>
                    <a:pt x="1" y="57"/>
                  </a:cubicBezTo>
                  <a:cubicBezTo>
                    <a:pt x="2" y="61"/>
                    <a:pt x="6" y="83"/>
                    <a:pt x="7" y="90"/>
                  </a:cubicBezTo>
                  <a:cubicBezTo>
                    <a:pt x="8" y="97"/>
                    <a:pt x="6" y="97"/>
                    <a:pt x="8" y="100"/>
                  </a:cubicBezTo>
                  <a:cubicBezTo>
                    <a:pt x="10" y="103"/>
                    <a:pt x="17" y="108"/>
                    <a:pt x="17" y="111"/>
                  </a:cubicBezTo>
                  <a:cubicBezTo>
                    <a:pt x="17" y="114"/>
                    <a:pt x="7" y="115"/>
                    <a:pt x="5" y="117"/>
                  </a:cubicBezTo>
                  <a:cubicBezTo>
                    <a:pt x="3" y="119"/>
                    <a:pt x="1" y="119"/>
                    <a:pt x="2" y="124"/>
                  </a:cubicBezTo>
                  <a:cubicBezTo>
                    <a:pt x="3" y="129"/>
                    <a:pt x="12" y="144"/>
                    <a:pt x="14" y="150"/>
                  </a:cubicBezTo>
                  <a:cubicBezTo>
                    <a:pt x="16" y="156"/>
                    <a:pt x="12" y="156"/>
                    <a:pt x="14" y="163"/>
                  </a:cubicBezTo>
                  <a:cubicBezTo>
                    <a:pt x="16" y="170"/>
                    <a:pt x="21" y="184"/>
                    <a:pt x="25" y="192"/>
                  </a:cubicBezTo>
                  <a:cubicBezTo>
                    <a:pt x="29" y="200"/>
                    <a:pt x="33" y="207"/>
                    <a:pt x="38" y="213"/>
                  </a:cubicBezTo>
                  <a:cubicBezTo>
                    <a:pt x="43" y="219"/>
                    <a:pt x="53" y="229"/>
                    <a:pt x="58" y="229"/>
                  </a:cubicBezTo>
                  <a:cubicBezTo>
                    <a:pt x="63" y="229"/>
                    <a:pt x="66" y="220"/>
                    <a:pt x="65" y="217"/>
                  </a:cubicBezTo>
                  <a:close/>
                </a:path>
              </a:pathLst>
            </a:custGeom>
            <a:solidFill>
              <a:schemeClr val="accent1"/>
            </a:solidFill>
            <a:ln w="9525" cap="flat" cmpd="sng">
              <a:solidFill>
                <a:schemeClr val="bg1"/>
              </a:solidFill>
              <a:prstDash val="solid"/>
              <a:round/>
              <a:headEnd type="none" w="med" len="med"/>
              <a:tailEnd type="none" w="med" len="med"/>
            </a:ln>
            <a:effectLst/>
            <a:extLst/>
          </p:spPr>
          <p:txBody>
            <a:bodyPr>
              <a:noAutofit/>
            </a:bodyPr>
            <a:lstStyle/>
            <a:p>
              <a:pPr fontAlgn="auto">
                <a:spcBef>
                  <a:spcPts val="0"/>
                </a:spcBef>
                <a:spcAft>
                  <a:spcPts val="0"/>
                </a:spcAft>
                <a:defRPr/>
              </a:pPr>
              <a:endParaRPr lang="en-CA" kern="0">
                <a:solidFill>
                  <a:sysClr val="windowText" lastClr="000000"/>
                </a:solidFill>
              </a:endParaRPr>
            </a:p>
          </p:txBody>
        </p:sp>
        <p:sp>
          <p:nvSpPr>
            <p:cNvPr id="447" name="Freeform 148"/>
            <p:cNvSpPr>
              <a:spLocks/>
            </p:cNvSpPr>
            <p:nvPr>
              <p:custDataLst>
                <p:tags r:id="rId121"/>
              </p:custDataLst>
            </p:nvPr>
          </p:nvSpPr>
          <p:spPr bwMode="gray">
            <a:xfrm>
              <a:off x="3602437" y="2268177"/>
              <a:ext cx="88806" cy="180856"/>
            </a:xfrm>
            <a:custGeom>
              <a:avLst/>
              <a:gdLst>
                <a:gd name="T0" fmla="*/ 33 w 109"/>
                <a:gd name="T1" fmla="*/ 202 h 235"/>
                <a:gd name="T2" fmla="*/ 49 w 109"/>
                <a:gd name="T3" fmla="*/ 187 h 235"/>
                <a:gd name="T4" fmla="*/ 75 w 109"/>
                <a:gd name="T5" fmla="*/ 176 h 235"/>
                <a:gd name="T6" fmla="*/ 75 w 109"/>
                <a:gd name="T7" fmla="*/ 148 h 235"/>
                <a:gd name="T8" fmla="*/ 54 w 109"/>
                <a:gd name="T9" fmla="*/ 143 h 235"/>
                <a:gd name="T10" fmla="*/ 76 w 109"/>
                <a:gd name="T11" fmla="*/ 139 h 235"/>
                <a:gd name="T12" fmla="*/ 64 w 109"/>
                <a:gd name="T13" fmla="*/ 110 h 235"/>
                <a:gd name="T14" fmla="*/ 45 w 109"/>
                <a:gd name="T15" fmla="*/ 86 h 235"/>
                <a:gd name="T16" fmla="*/ 25 w 109"/>
                <a:gd name="T17" fmla="*/ 70 h 235"/>
                <a:gd name="T18" fmla="*/ 39 w 109"/>
                <a:gd name="T19" fmla="*/ 53 h 235"/>
                <a:gd name="T20" fmla="*/ 27 w 109"/>
                <a:gd name="T21" fmla="*/ 45 h 235"/>
                <a:gd name="T22" fmla="*/ 20 w 109"/>
                <a:gd name="T23" fmla="*/ 38 h 235"/>
                <a:gd name="T24" fmla="*/ 6 w 109"/>
                <a:gd name="T25" fmla="*/ 28 h 235"/>
                <a:gd name="T26" fmla="*/ 0 w 109"/>
                <a:gd name="T27" fmla="*/ 16 h 235"/>
                <a:gd name="T28" fmla="*/ 6 w 109"/>
                <a:gd name="T29" fmla="*/ 7 h 235"/>
                <a:gd name="T30" fmla="*/ 19 w 109"/>
                <a:gd name="T31" fmla="*/ 16 h 235"/>
                <a:gd name="T32" fmla="*/ 34 w 109"/>
                <a:gd name="T33" fmla="*/ 10 h 235"/>
                <a:gd name="T34" fmla="*/ 45 w 109"/>
                <a:gd name="T35" fmla="*/ 4 h 235"/>
                <a:gd name="T36" fmla="*/ 81 w 109"/>
                <a:gd name="T37" fmla="*/ 32 h 235"/>
                <a:gd name="T38" fmla="*/ 63 w 109"/>
                <a:gd name="T39" fmla="*/ 49 h 235"/>
                <a:gd name="T40" fmla="*/ 51 w 109"/>
                <a:gd name="T41" fmla="*/ 65 h 235"/>
                <a:gd name="T42" fmla="*/ 55 w 109"/>
                <a:gd name="T43" fmla="*/ 82 h 235"/>
                <a:gd name="T44" fmla="*/ 79 w 109"/>
                <a:gd name="T45" fmla="*/ 110 h 235"/>
                <a:gd name="T46" fmla="*/ 94 w 109"/>
                <a:gd name="T47" fmla="*/ 130 h 235"/>
                <a:gd name="T48" fmla="*/ 105 w 109"/>
                <a:gd name="T49" fmla="*/ 154 h 235"/>
                <a:gd name="T50" fmla="*/ 105 w 109"/>
                <a:gd name="T51" fmla="*/ 193 h 235"/>
                <a:gd name="T52" fmla="*/ 81 w 109"/>
                <a:gd name="T53" fmla="*/ 197 h 235"/>
                <a:gd name="T54" fmla="*/ 64 w 109"/>
                <a:gd name="T55" fmla="*/ 209 h 235"/>
                <a:gd name="T56" fmla="*/ 61 w 109"/>
                <a:gd name="T57" fmla="*/ 221 h 235"/>
                <a:gd name="T58" fmla="*/ 43 w 109"/>
                <a:gd name="T59" fmla="*/ 235 h 235"/>
                <a:gd name="T60" fmla="*/ 36 w 109"/>
                <a:gd name="T61" fmla="*/ 220 h 235"/>
                <a:gd name="T62" fmla="*/ 33 w 109"/>
                <a:gd name="T63" fmla="*/ 202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09" h="235">
                  <a:moveTo>
                    <a:pt x="33" y="202"/>
                  </a:moveTo>
                  <a:cubicBezTo>
                    <a:pt x="35" y="197"/>
                    <a:pt x="42" y="191"/>
                    <a:pt x="49" y="187"/>
                  </a:cubicBezTo>
                  <a:cubicBezTo>
                    <a:pt x="56" y="183"/>
                    <a:pt x="71" y="182"/>
                    <a:pt x="75" y="176"/>
                  </a:cubicBezTo>
                  <a:cubicBezTo>
                    <a:pt x="79" y="170"/>
                    <a:pt x="78" y="153"/>
                    <a:pt x="75" y="148"/>
                  </a:cubicBezTo>
                  <a:cubicBezTo>
                    <a:pt x="72" y="143"/>
                    <a:pt x="54" y="144"/>
                    <a:pt x="54" y="143"/>
                  </a:cubicBezTo>
                  <a:cubicBezTo>
                    <a:pt x="54" y="142"/>
                    <a:pt x="74" y="144"/>
                    <a:pt x="76" y="139"/>
                  </a:cubicBezTo>
                  <a:cubicBezTo>
                    <a:pt x="78" y="134"/>
                    <a:pt x="69" y="119"/>
                    <a:pt x="64" y="110"/>
                  </a:cubicBezTo>
                  <a:cubicBezTo>
                    <a:pt x="59" y="101"/>
                    <a:pt x="51" y="93"/>
                    <a:pt x="45" y="86"/>
                  </a:cubicBezTo>
                  <a:cubicBezTo>
                    <a:pt x="39" y="79"/>
                    <a:pt x="26" y="75"/>
                    <a:pt x="25" y="70"/>
                  </a:cubicBezTo>
                  <a:cubicBezTo>
                    <a:pt x="24" y="65"/>
                    <a:pt x="39" y="57"/>
                    <a:pt x="39" y="53"/>
                  </a:cubicBezTo>
                  <a:cubicBezTo>
                    <a:pt x="39" y="49"/>
                    <a:pt x="30" y="47"/>
                    <a:pt x="27" y="45"/>
                  </a:cubicBezTo>
                  <a:cubicBezTo>
                    <a:pt x="24" y="43"/>
                    <a:pt x="23" y="41"/>
                    <a:pt x="20" y="38"/>
                  </a:cubicBezTo>
                  <a:cubicBezTo>
                    <a:pt x="17" y="35"/>
                    <a:pt x="9" y="32"/>
                    <a:pt x="6" y="28"/>
                  </a:cubicBezTo>
                  <a:cubicBezTo>
                    <a:pt x="3" y="24"/>
                    <a:pt x="0" y="19"/>
                    <a:pt x="0" y="16"/>
                  </a:cubicBezTo>
                  <a:cubicBezTo>
                    <a:pt x="0" y="13"/>
                    <a:pt x="3" y="7"/>
                    <a:pt x="6" y="7"/>
                  </a:cubicBezTo>
                  <a:cubicBezTo>
                    <a:pt x="9" y="7"/>
                    <a:pt x="14" y="15"/>
                    <a:pt x="19" y="16"/>
                  </a:cubicBezTo>
                  <a:cubicBezTo>
                    <a:pt x="24" y="17"/>
                    <a:pt x="30" y="12"/>
                    <a:pt x="34" y="10"/>
                  </a:cubicBezTo>
                  <a:cubicBezTo>
                    <a:pt x="38" y="8"/>
                    <a:pt x="37" y="0"/>
                    <a:pt x="45" y="4"/>
                  </a:cubicBezTo>
                  <a:cubicBezTo>
                    <a:pt x="53" y="8"/>
                    <a:pt x="78" y="25"/>
                    <a:pt x="81" y="32"/>
                  </a:cubicBezTo>
                  <a:cubicBezTo>
                    <a:pt x="84" y="39"/>
                    <a:pt x="68" y="43"/>
                    <a:pt x="63" y="49"/>
                  </a:cubicBezTo>
                  <a:cubicBezTo>
                    <a:pt x="58" y="55"/>
                    <a:pt x="52" y="60"/>
                    <a:pt x="51" y="65"/>
                  </a:cubicBezTo>
                  <a:cubicBezTo>
                    <a:pt x="50" y="70"/>
                    <a:pt x="50" y="75"/>
                    <a:pt x="55" y="82"/>
                  </a:cubicBezTo>
                  <a:cubicBezTo>
                    <a:pt x="60" y="89"/>
                    <a:pt x="72" y="102"/>
                    <a:pt x="79" y="110"/>
                  </a:cubicBezTo>
                  <a:cubicBezTo>
                    <a:pt x="86" y="118"/>
                    <a:pt x="90" y="123"/>
                    <a:pt x="94" y="130"/>
                  </a:cubicBezTo>
                  <a:cubicBezTo>
                    <a:pt x="98" y="137"/>
                    <a:pt x="103" y="144"/>
                    <a:pt x="105" y="154"/>
                  </a:cubicBezTo>
                  <a:cubicBezTo>
                    <a:pt x="107" y="164"/>
                    <a:pt x="109" y="186"/>
                    <a:pt x="105" y="193"/>
                  </a:cubicBezTo>
                  <a:cubicBezTo>
                    <a:pt x="101" y="200"/>
                    <a:pt x="88" y="194"/>
                    <a:pt x="81" y="197"/>
                  </a:cubicBezTo>
                  <a:cubicBezTo>
                    <a:pt x="74" y="200"/>
                    <a:pt x="67" y="205"/>
                    <a:pt x="64" y="209"/>
                  </a:cubicBezTo>
                  <a:cubicBezTo>
                    <a:pt x="61" y="213"/>
                    <a:pt x="65" y="217"/>
                    <a:pt x="61" y="221"/>
                  </a:cubicBezTo>
                  <a:cubicBezTo>
                    <a:pt x="57" y="225"/>
                    <a:pt x="47" y="235"/>
                    <a:pt x="43" y="235"/>
                  </a:cubicBezTo>
                  <a:cubicBezTo>
                    <a:pt x="39" y="235"/>
                    <a:pt x="37" y="225"/>
                    <a:pt x="36" y="220"/>
                  </a:cubicBezTo>
                  <a:cubicBezTo>
                    <a:pt x="35" y="215"/>
                    <a:pt x="31" y="207"/>
                    <a:pt x="33" y="202"/>
                  </a:cubicBezTo>
                  <a:close/>
                </a:path>
              </a:pathLst>
            </a:custGeom>
            <a:solidFill>
              <a:schemeClr val="bg1">
                <a:lumMod val="85000"/>
              </a:schemeClr>
            </a:solidFill>
            <a:ln w="9525" cap="flat" cmpd="sng">
              <a:solidFill>
                <a:schemeClr val="bg1"/>
              </a:solidFill>
              <a:prstDash val="solid"/>
              <a:round/>
              <a:headEnd type="none" w="med" len="med"/>
              <a:tailEnd type="none" w="med" len="med"/>
            </a:ln>
            <a:effectLst/>
            <a:extLst/>
          </p:spPr>
          <p:txBody>
            <a:bodyPr>
              <a:noAutofit/>
            </a:bodyPr>
            <a:lstStyle/>
            <a:p>
              <a:pPr fontAlgn="auto">
                <a:spcBef>
                  <a:spcPts val="0"/>
                </a:spcBef>
                <a:spcAft>
                  <a:spcPts val="0"/>
                </a:spcAft>
                <a:defRPr/>
              </a:pPr>
              <a:endParaRPr lang="en-CA" kern="0">
                <a:solidFill>
                  <a:sysClr val="windowText" lastClr="000000"/>
                </a:solidFill>
              </a:endParaRPr>
            </a:p>
          </p:txBody>
        </p:sp>
        <p:sp>
          <p:nvSpPr>
            <p:cNvPr id="448" name="Freeform 154"/>
            <p:cNvSpPr>
              <a:spLocks/>
            </p:cNvSpPr>
            <p:nvPr>
              <p:custDataLst>
                <p:tags r:id="rId122"/>
              </p:custDataLst>
            </p:nvPr>
          </p:nvSpPr>
          <p:spPr bwMode="gray">
            <a:xfrm>
              <a:off x="4372889" y="2977750"/>
              <a:ext cx="146410" cy="200866"/>
            </a:xfrm>
            <a:custGeom>
              <a:avLst/>
              <a:gdLst>
                <a:gd name="T0" fmla="*/ 36 w 180"/>
                <a:gd name="T1" fmla="*/ 244 h 261"/>
                <a:gd name="T2" fmla="*/ 55 w 180"/>
                <a:gd name="T3" fmla="*/ 237 h 261"/>
                <a:gd name="T4" fmla="*/ 66 w 180"/>
                <a:gd name="T5" fmla="*/ 214 h 261"/>
                <a:gd name="T6" fmla="*/ 81 w 180"/>
                <a:gd name="T7" fmla="*/ 198 h 261"/>
                <a:gd name="T8" fmla="*/ 85 w 180"/>
                <a:gd name="T9" fmla="*/ 186 h 261"/>
                <a:gd name="T10" fmla="*/ 108 w 180"/>
                <a:gd name="T11" fmla="*/ 186 h 261"/>
                <a:gd name="T12" fmla="*/ 96 w 180"/>
                <a:gd name="T13" fmla="*/ 172 h 261"/>
                <a:gd name="T14" fmla="*/ 105 w 180"/>
                <a:gd name="T15" fmla="*/ 156 h 261"/>
                <a:gd name="T16" fmla="*/ 121 w 180"/>
                <a:gd name="T17" fmla="*/ 136 h 261"/>
                <a:gd name="T18" fmla="*/ 129 w 180"/>
                <a:gd name="T19" fmla="*/ 129 h 261"/>
                <a:gd name="T20" fmla="*/ 142 w 180"/>
                <a:gd name="T21" fmla="*/ 135 h 261"/>
                <a:gd name="T22" fmla="*/ 156 w 180"/>
                <a:gd name="T23" fmla="*/ 108 h 261"/>
                <a:gd name="T24" fmla="*/ 162 w 180"/>
                <a:gd name="T25" fmla="*/ 97 h 261"/>
                <a:gd name="T26" fmla="*/ 175 w 180"/>
                <a:gd name="T27" fmla="*/ 82 h 261"/>
                <a:gd name="T28" fmla="*/ 178 w 180"/>
                <a:gd name="T29" fmla="*/ 64 h 261"/>
                <a:gd name="T30" fmla="*/ 162 w 180"/>
                <a:gd name="T31" fmla="*/ 69 h 261"/>
                <a:gd name="T32" fmla="*/ 147 w 180"/>
                <a:gd name="T33" fmla="*/ 60 h 261"/>
                <a:gd name="T34" fmla="*/ 144 w 180"/>
                <a:gd name="T35" fmla="*/ 34 h 261"/>
                <a:gd name="T36" fmla="*/ 135 w 180"/>
                <a:gd name="T37" fmla="*/ 27 h 261"/>
                <a:gd name="T38" fmla="*/ 124 w 180"/>
                <a:gd name="T39" fmla="*/ 19 h 261"/>
                <a:gd name="T40" fmla="*/ 112 w 180"/>
                <a:gd name="T41" fmla="*/ 9 h 261"/>
                <a:gd name="T42" fmla="*/ 100 w 180"/>
                <a:gd name="T43" fmla="*/ 3 h 261"/>
                <a:gd name="T44" fmla="*/ 103 w 180"/>
                <a:gd name="T45" fmla="*/ 27 h 261"/>
                <a:gd name="T46" fmla="*/ 121 w 180"/>
                <a:gd name="T47" fmla="*/ 52 h 261"/>
                <a:gd name="T48" fmla="*/ 130 w 180"/>
                <a:gd name="T49" fmla="*/ 72 h 261"/>
                <a:gd name="T50" fmla="*/ 123 w 180"/>
                <a:gd name="T51" fmla="*/ 84 h 261"/>
                <a:gd name="T52" fmla="*/ 114 w 180"/>
                <a:gd name="T53" fmla="*/ 91 h 261"/>
                <a:gd name="T54" fmla="*/ 136 w 180"/>
                <a:gd name="T55" fmla="*/ 115 h 261"/>
                <a:gd name="T56" fmla="*/ 121 w 180"/>
                <a:gd name="T57" fmla="*/ 132 h 261"/>
                <a:gd name="T58" fmla="*/ 103 w 180"/>
                <a:gd name="T59" fmla="*/ 129 h 261"/>
                <a:gd name="T60" fmla="*/ 99 w 180"/>
                <a:gd name="T61" fmla="*/ 117 h 261"/>
                <a:gd name="T62" fmla="*/ 79 w 180"/>
                <a:gd name="T63" fmla="*/ 129 h 261"/>
                <a:gd name="T64" fmla="*/ 79 w 180"/>
                <a:gd name="T65" fmla="*/ 142 h 261"/>
                <a:gd name="T66" fmla="*/ 75 w 180"/>
                <a:gd name="T67" fmla="*/ 157 h 261"/>
                <a:gd name="T68" fmla="*/ 45 w 180"/>
                <a:gd name="T69" fmla="*/ 186 h 261"/>
                <a:gd name="T70" fmla="*/ 28 w 180"/>
                <a:gd name="T71" fmla="*/ 189 h 261"/>
                <a:gd name="T72" fmla="*/ 4 w 180"/>
                <a:gd name="T73" fmla="*/ 210 h 261"/>
                <a:gd name="T74" fmla="*/ 3 w 180"/>
                <a:gd name="T75" fmla="*/ 229 h 261"/>
                <a:gd name="T76" fmla="*/ 15 w 180"/>
                <a:gd name="T77" fmla="*/ 237 h 261"/>
                <a:gd name="T78" fmla="*/ 19 w 180"/>
                <a:gd name="T79" fmla="*/ 258 h 261"/>
                <a:gd name="T80" fmla="*/ 33 w 180"/>
                <a:gd name="T81" fmla="*/ 256 h 261"/>
                <a:gd name="T82" fmla="*/ 36 w 180"/>
                <a:gd name="T83" fmla="*/ 244 h 2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80" h="261">
                  <a:moveTo>
                    <a:pt x="36" y="244"/>
                  </a:moveTo>
                  <a:cubicBezTo>
                    <a:pt x="40" y="241"/>
                    <a:pt x="50" y="242"/>
                    <a:pt x="55" y="237"/>
                  </a:cubicBezTo>
                  <a:cubicBezTo>
                    <a:pt x="60" y="232"/>
                    <a:pt x="62" y="220"/>
                    <a:pt x="66" y="214"/>
                  </a:cubicBezTo>
                  <a:cubicBezTo>
                    <a:pt x="70" y="208"/>
                    <a:pt x="78" y="203"/>
                    <a:pt x="81" y="198"/>
                  </a:cubicBezTo>
                  <a:cubicBezTo>
                    <a:pt x="84" y="193"/>
                    <a:pt x="81" y="188"/>
                    <a:pt x="85" y="186"/>
                  </a:cubicBezTo>
                  <a:cubicBezTo>
                    <a:pt x="89" y="184"/>
                    <a:pt x="106" y="188"/>
                    <a:pt x="108" y="186"/>
                  </a:cubicBezTo>
                  <a:cubicBezTo>
                    <a:pt x="110" y="184"/>
                    <a:pt x="97" y="177"/>
                    <a:pt x="96" y="172"/>
                  </a:cubicBezTo>
                  <a:cubicBezTo>
                    <a:pt x="95" y="167"/>
                    <a:pt x="101" y="162"/>
                    <a:pt x="105" y="156"/>
                  </a:cubicBezTo>
                  <a:cubicBezTo>
                    <a:pt x="109" y="150"/>
                    <a:pt x="117" y="141"/>
                    <a:pt x="121" y="136"/>
                  </a:cubicBezTo>
                  <a:cubicBezTo>
                    <a:pt x="125" y="131"/>
                    <a:pt x="126" y="129"/>
                    <a:pt x="129" y="129"/>
                  </a:cubicBezTo>
                  <a:cubicBezTo>
                    <a:pt x="132" y="129"/>
                    <a:pt x="138" y="138"/>
                    <a:pt x="142" y="135"/>
                  </a:cubicBezTo>
                  <a:cubicBezTo>
                    <a:pt x="146" y="132"/>
                    <a:pt x="153" y="114"/>
                    <a:pt x="156" y="108"/>
                  </a:cubicBezTo>
                  <a:cubicBezTo>
                    <a:pt x="159" y="102"/>
                    <a:pt x="159" y="101"/>
                    <a:pt x="162" y="97"/>
                  </a:cubicBezTo>
                  <a:cubicBezTo>
                    <a:pt x="165" y="93"/>
                    <a:pt x="172" y="87"/>
                    <a:pt x="175" y="82"/>
                  </a:cubicBezTo>
                  <a:cubicBezTo>
                    <a:pt x="178" y="77"/>
                    <a:pt x="180" y="66"/>
                    <a:pt x="178" y="64"/>
                  </a:cubicBezTo>
                  <a:cubicBezTo>
                    <a:pt x="176" y="62"/>
                    <a:pt x="167" y="70"/>
                    <a:pt x="162" y="69"/>
                  </a:cubicBezTo>
                  <a:cubicBezTo>
                    <a:pt x="157" y="68"/>
                    <a:pt x="150" y="66"/>
                    <a:pt x="147" y="60"/>
                  </a:cubicBezTo>
                  <a:cubicBezTo>
                    <a:pt x="144" y="54"/>
                    <a:pt x="146" y="39"/>
                    <a:pt x="144" y="34"/>
                  </a:cubicBezTo>
                  <a:cubicBezTo>
                    <a:pt x="142" y="29"/>
                    <a:pt x="138" y="29"/>
                    <a:pt x="135" y="27"/>
                  </a:cubicBezTo>
                  <a:cubicBezTo>
                    <a:pt x="132" y="25"/>
                    <a:pt x="128" y="22"/>
                    <a:pt x="124" y="19"/>
                  </a:cubicBezTo>
                  <a:cubicBezTo>
                    <a:pt x="120" y="16"/>
                    <a:pt x="116" y="12"/>
                    <a:pt x="112" y="9"/>
                  </a:cubicBezTo>
                  <a:cubicBezTo>
                    <a:pt x="108" y="6"/>
                    <a:pt x="101" y="0"/>
                    <a:pt x="100" y="3"/>
                  </a:cubicBezTo>
                  <a:cubicBezTo>
                    <a:pt x="99" y="6"/>
                    <a:pt x="100" y="19"/>
                    <a:pt x="103" y="27"/>
                  </a:cubicBezTo>
                  <a:cubicBezTo>
                    <a:pt x="106" y="35"/>
                    <a:pt x="117" y="45"/>
                    <a:pt x="121" y="52"/>
                  </a:cubicBezTo>
                  <a:cubicBezTo>
                    <a:pt x="125" y="59"/>
                    <a:pt x="130" y="67"/>
                    <a:pt x="130" y="72"/>
                  </a:cubicBezTo>
                  <a:cubicBezTo>
                    <a:pt x="130" y="77"/>
                    <a:pt x="126" y="81"/>
                    <a:pt x="123" y="84"/>
                  </a:cubicBezTo>
                  <a:cubicBezTo>
                    <a:pt x="120" y="87"/>
                    <a:pt x="112" y="86"/>
                    <a:pt x="114" y="91"/>
                  </a:cubicBezTo>
                  <a:cubicBezTo>
                    <a:pt x="116" y="96"/>
                    <a:pt x="135" y="108"/>
                    <a:pt x="136" y="115"/>
                  </a:cubicBezTo>
                  <a:cubicBezTo>
                    <a:pt x="137" y="122"/>
                    <a:pt x="126" y="130"/>
                    <a:pt x="121" y="132"/>
                  </a:cubicBezTo>
                  <a:cubicBezTo>
                    <a:pt x="116" y="134"/>
                    <a:pt x="107" y="131"/>
                    <a:pt x="103" y="129"/>
                  </a:cubicBezTo>
                  <a:cubicBezTo>
                    <a:pt x="99" y="127"/>
                    <a:pt x="103" y="117"/>
                    <a:pt x="99" y="117"/>
                  </a:cubicBezTo>
                  <a:cubicBezTo>
                    <a:pt x="95" y="117"/>
                    <a:pt x="82" y="125"/>
                    <a:pt x="79" y="129"/>
                  </a:cubicBezTo>
                  <a:cubicBezTo>
                    <a:pt x="76" y="133"/>
                    <a:pt x="80" y="137"/>
                    <a:pt x="79" y="142"/>
                  </a:cubicBezTo>
                  <a:cubicBezTo>
                    <a:pt x="78" y="147"/>
                    <a:pt x="81" y="150"/>
                    <a:pt x="75" y="157"/>
                  </a:cubicBezTo>
                  <a:cubicBezTo>
                    <a:pt x="69" y="164"/>
                    <a:pt x="53" y="181"/>
                    <a:pt x="45" y="186"/>
                  </a:cubicBezTo>
                  <a:cubicBezTo>
                    <a:pt x="37" y="191"/>
                    <a:pt x="35" y="185"/>
                    <a:pt x="28" y="189"/>
                  </a:cubicBezTo>
                  <a:cubicBezTo>
                    <a:pt x="21" y="193"/>
                    <a:pt x="8" y="203"/>
                    <a:pt x="4" y="210"/>
                  </a:cubicBezTo>
                  <a:cubicBezTo>
                    <a:pt x="0" y="217"/>
                    <a:pt x="1" y="225"/>
                    <a:pt x="3" y="229"/>
                  </a:cubicBezTo>
                  <a:cubicBezTo>
                    <a:pt x="5" y="233"/>
                    <a:pt x="12" y="232"/>
                    <a:pt x="15" y="237"/>
                  </a:cubicBezTo>
                  <a:cubicBezTo>
                    <a:pt x="18" y="242"/>
                    <a:pt x="16" y="255"/>
                    <a:pt x="19" y="258"/>
                  </a:cubicBezTo>
                  <a:cubicBezTo>
                    <a:pt x="22" y="261"/>
                    <a:pt x="30" y="258"/>
                    <a:pt x="33" y="256"/>
                  </a:cubicBezTo>
                  <a:cubicBezTo>
                    <a:pt x="36" y="254"/>
                    <a:pt x="32" y="247"/>
                    <a:pt x="36" y="244"/>
                  </a:cubicBezTo>
                  <a:close/>
                </a:path>
              </a:pathLst>
            </a:custGeom>
            <a:solidFill>
              <a:schemeClr val="accent1"/>
            </a:solidFill>
            <a:ln w="9525" cap="flat" cmpd="sng">
              <a:solidFill>
                <a:schemeClr val="bg1"/>
              </a:solidFill>
              <a:prstDash val="solid"/>
              <a:round/>
              <a:headEnd type="none" w="med" len="med"/>
              <a:tailEnd type="none" w="med" len="med"/>
            </a:ln>
            <a:effectLst/>
            <a:extLst/>
          </p:spPr>
          <p:txBody>
            <a:bodyPr>
              <a:noAutofit/>
            </a:bodyPr>
            <a:lstStyle/>
            <a:p>
              <a:pPr fontAlgn="auto">
                <a:spcBef>
                  <a:spcPts val="0"/>
                </a:spcBef>
                <a:spcAft>
                  <a:spcPts val="0"/>
                </a:spcAft>
                <a:defRPr/>
              </a:pPr>
              <a:endParaRPr lang="en-CA" kern="0">
                <a:solidFill>
                  <a:sysClr val="windowText" lastClr="000000"/>
                </a:solidFill>
              </a:endParaRPr>
            </a:p>
          </p:txBody>
        </p:sp>
        <p:sp>
          <p:nvSpPr>
            <p:cNvPr id="449" name="Freeform 164"/>
            <p:cNvSpPr>
              <a:spLocks/>
            </p:cNvSpPr>
            <p:nvPr>
              <p:custDataLst>
                <p:tags r:id="rId123"/>
              </p:custDataLst>
            </p:nvPr>
          </p:nvSpPr>
          <p:spPr bwMode="gray">
            <a:xfrm>
              <a:off x="3809652" y="2299731"/>
              <a:ext cx="90406" cy="180042"/>
            </a:xfrm>
            <a:custGeom>
              <a:avLst/>
              <a:gdLst/>
              <a:ahLst/>
              <a:cxnLst/>
              <a:rect l="l" t="t" r="r" b="b"/>
              <a:pathLst>
                <a:path w="179388" h="371381">
                  <a:moveTo>
                    <a:pt x="84324" y="270723"/>
                  </a:moveTo>
                  <a:lnTo>
                    <a:pt x="84038" y="271462"/>
                  </a:lnTo>
                  <a:cubicBezTo>
                    <a:pt x="78442" y="272731"/>
                    <a:pt x="79725" y="272085"/>
                    <a:pt x="84324" y="270723"/>
                  </a:cubicBezTo>
                  <a:close/>
                  <a:moveTo>
                    <a:pt x="54140" y="47625"/>
                  </a:moveTo>
                  <a:cubicBezTo>
                    <a:pt x="58584" y="47228"/>
                    <a:pt x="62220" y="48418"/>
                    <a:pt x="67877" y="53975"/>
                  </a:cubicBezTo>
                  <a:cubicBezTo>
                    <a:pt x="69493" y="65087"/>
                    <a:pt x="69493" y="74612"/>
                    <a:pt x="64645" y="84137"/>
                  </a:cubicBezTo>
                  <a:cubicBezTo>
                    <a:pt x="72725" y="103187"/>
                    <a:pt x="71109" y="115887"/>
                    <a:pt x="50099" y="120650"/>
                  </a:cubicBezTo>
                  <a:cubicBezTo>
                    <a:pt x="32322" y="142875"/>
                    <a:pt x="48483" y="144462"/>
                    <a:pt x="72725" y="146050"/>
                  </a:cubicBezTo>
                  <a:cubicBezTo>
                    <a:pt x="79190" y="174625"/>
                    <a:pt x="79190" y="168275"/>
                    <a:pt x="117976" y="169862"/>
                  </a:cubicBezTo>
                  <a:cubicBezTo>
                    <a:pt x="113128" y="193675"/>
                    <a:pt x="121208" y="201612"/>
                    <a:pt x="142218" y="211137"/>
                  </a:cubicBezTo>
                  <a:cubicBezTo>
                    <a:pt x="145450" y="236537"/>
                    <a:pt x="148682" y="239712"/>
                    <a:pt x="159995" y="258762"/>
                  </a:cubicBezTo>
                  <a:cubicBezTo>
                    <a:pt x="161611" y="290513"/>
                    <a:pt x="161611" y="303213"/>
                    <a:pt x="179388" y="327025"/>
                  </a:cubicBezTo>
                  <a:cubicBezTo>
                    <a:pt x="156763" y="341313"/>
                    <a:pt x="176156" y="352425"/>
                    <a:pt x="142218" y="355600"/>
                  </a:cubicBezTo>
                  <a:lnTo>
                    <a:pt x="137370" y="371078"/>
                  </a:lnTo>
                  <a:cubicBezTo>
                    <a:pt x="134945" y="372269"/>
                    <a:pt x="130905" y="369888"/>
                    <a:pt x="122824" y="365125"/>
                  </a:cubicBezTo>
                  <a:cubicBezTo>
                    <a:pt x="114744" y="354013"/>
                    <a:pt x="105047" y="346075"/>
                    <a:pt x="98583" y="331788"/>
                  </a:cubicBezTo>
                  <a:cubicBezTo>
                    <a:pt x="98583" y="315913"/>
                    <a:pt x="124441" y="276225"/>
                    <a:pt x="122824" y="266700"/>
                  </a:cubicBezTo>
                  <a:cubicBezTo>
                    <a:pt x="122554" y="260449"/>
                    <a:pt x="94803" y="267516"/>
                    <a:pt x="84324" y="270723"/>
                  </a:cubicBezTo>
                  <a:cubicBezTo>
                    <a:pt x="100983" y="262770"/>
                    <a:pt x="61496" y="226831"/>
                    <a:pt x="69493" y="209550"/>
                  </a:cubicBezTo>
                  <a:cubicBezTo>
                    <a:pt x="59796" y="200025"/>
                    <a:pt x="32322" y="215900"/>
                    <a:pt x="25857" y="212725"/>
                  </a:cubicBezTo>
                  <a:cubicBezTo>
                    <a:pt x="33938" y="207962"/>
                    <a:pt x="40402" y="207962"/>
                    <a:pt x="30706" y="193675"/>
                  </a:cubicBezTo>
                  <a:cubicBezTo>
                    <a:pt x="27474" y="188912"/>
                    <a:pt x="16161" y="182562"/>
                    <a:pt x="16161" y="182562"/>
                  </a:cubicBezTo>
                  <a:cubicBezTo>
                    <a:pt x="21009" y="155575"/>
                    <a:pt x="12929" y="147637"/>
                    <a:pt x="0" y="127000"/>
                  </a:cubicBezTo>
                  <a:cubicBezTo>
                    <a:pt x="4848" y="117475"/>
                    <a:pt x="9696" y="114300"/>
                    <a:pt x="14545" y="106362"/>
                  </a:cubicBezTo>
                  <a:cubicBezTo>
                    <a:pt x="14545" y="93662"/>
                    <a:pt x="12929" y="80962"/>
                    <a:pt x="16161" y="69850"/>
                  </a:cubicBezTo>
                  <a:cubicBezTo>
                    <a:pt x="17777" y="61912"/>
                    <a:pt x="35554" y="60325"/>
                    <a:pt x="35554" y="50800"/>
                  </a:cubicBezTo>
                  <a:cubicBezTo>
                    <a:pt x="44443" y="50006"/>
                    <a:pt x="49695" y="48022"/>
                    <a:pt x="54140" y="47625"/>
                  </a:cubicBezTo>
                  <a:close/>
                  <a:moveTo>
                    <a:pt x="55562" y="0"/>
                  </a:moveTo>
                  <a:cubicBezTo>
                    <a:pt x="60325" y="12700"/>
                    <a:pt x="53975" y="22225"/>
                    <a:pt x="69850" y="26988"/>
                  </a:cubicBezTo>
                  <a:cubicBezTo>
                    <a:pt x="58738" y="41275"/>
                    <a:pt x="53975" y="26988"/>
                    <a:pt x="46037" y="17463"/>
                  </a:cubicBezTo>
                  <a:cubicBezTo>
                    <a:pt x="49212" y="1588"/>
                    <a:pt x="46037" y="7938"/>
                    <a:pt x="55562" y="0"/>
                  </a:cubicBezTo>
                  <a:close/>
                </a:path>
              </a:pathLst>
            </a:custGeom>
            <a:solidFill>
              <a:schemeClr val="accent1"/>
            </a:solidFill>
            <a:ln w="9525" cap="flat" cmpd="sng">
              <a:solidFill>
                <a:schemeClr val="bg1"/>
              </a:solidFill>
              <a:prstDash val="solid"/>
              <a:round/>
              <a:headEnd type="none" w="med" len="med"/>
              <a:tailEnd type="none" w="med" len="med"/>
            </a:ln>
            <a:effectLst/>
            <a:extLst/>
          </p:spPr>
          <p:txBody>
            <a:bodyPr>
              <a:noAutofit/>
            </a:bodyPr>
            <a:lstStyle/>
            <a:p>
              <a:pPr fontAlgn="auto">
                <a:spcBef>
                  <a:spcPts val="0"/>
                </a:spcBef>
                <a:spcAft>
                  <a:spcPts val="0"/>
                </a:spcAft>
                <a:defRPr/>
              </a:pPr>
              <a:endParaRPr lang="en-CA" kern="0">
                <a:solidFill>
                  <a:sysClr val="windowText" lastClr="000000"/>
                </a:solidFill>
              </a:endParaRPr>
            </a:p>
          </p:txBody>
        </p:sp>
        <p:sp>
          <p:nvSpPr>
            <p:cNvPr id="450" name="Freeform 166"/>
            <p:cNvSpPr>
              <a:spLocks/>
            </p:cNvSpPr>
            <p:nvPr>
              <p:custDataLst>
                <p:tags r:id="rId124"/>
              </p:custDataLst>
            </p:nvPr>
          </p:nvSpPr>
          <p:spPr bwMode="gray">
            <a:xfrm>
              <a:off x="3868056" y="2003433"/>
              <a:ext cx="74406" cy="73112"/>
            </a:xfrm>
            <a:custGeom>
              <a:avLst/>
              <a:gdLst>
                <a:gd name="T0" fmla="*/ 1 w 91"/>
                <a:gd name="T1" fmla="*/ 61 h 95"/>
                <a:gd name="T2" fmla="*/ 12 w 91"/>
                <a:gd name="T3" fmla="*/ 63 h 95"/>
                <a:gd name="T4" fmla="*/ 9 w 91"/>
                <a:gd name="T5" fmla="*/ 84 h 95"/>
                <a:gd name="T6" fmla="*/ 4 w 91"/>
                <a:gd name="T7" fmla="*/ 94 h 95"/>
                <a:gd name="T8" fmla="*/ 24 w 91"/>
                <a:gd name="T9" fmla="*/ 90 h 95"/>
                <a:gd name="T10" fmla="*/ 51 w 91"/>
                <a:gd name="T11" fmla="*/ 69 h 95"/>
                <a:gd name="T12" fmla="*/ 58 w 91"/>
                <a:gd name="T13" fmla="*/ 52 h 95"/>
                <a:gd name="T14" fmla="*/ 79 w 91"/>
                <a:gd name="T15" fmla="*/ 37 h 95"/>
                <a:gd name="T16" fmla="*/ 91 w 91"/>
                <a:gd name="T17" fmla="*/ 13 h 95"/>
                <a:gd name="T18" fmla="*/ 78 w 91"/>
                <a:gd name="T19" fmla="*/ 1 h 95"/>
                <a:gd name="T20" fmla="*/ 72 w 91"/>
                <a:gd name="T21" fmla="*/ 9 h 95"/>
                <a:gd name="T22" fmla="*/ 55 w 91"/>
                <a:gd name="T23" fmla="*/ 13 h 95"/>
                <a:gd name="T24" fmla="*/ 46 w 91"/>
                <a:gd name="T25" fmla="*/ 24 h 95"/>
                <a:gd name="T26" fmla="*/ 31 w 91"/>
                <a:gd name="T27" fmla="*/ 28 h 95"/>
                <a:gd name="T28" fmla="*/ 6 w 91"/>
                <a:gd name="T29" fmla="*/ 46 h 95"/>
                <a:gd name="T30" fmla="*/ 1 w 91"/>
                <a:gd name="T31" fmla="*/ 61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1" h="95">
                  <a:moveTo>
                    <a:pt x="1" y="61"/>
                  </a:moveTo>
                  <a:cubicBezTo>
                    <a:pt x="2" y="64"/>
                    <a:pt x="11" y="59"/>
                    <a:pt x="12" y="63"/>
                  </a:cubicBezTo>
                  <a:cubicBezTo>
                    <a:pt x="13" y="67"/>
                    <a:pt x="10" y="79"/>
                    <a:pt x="9" y="84"/>
                  </a:cubicBezTo>
                  <a:cubicBezTo>
                    <a:pt x="8" y="89"/>
                    <a:pt x="2" y="93"/>
                    <a:pt x="4" y="94"/>
                  </a:cubicBezTo>
                  <a:cubicBezTo>
                    <a:pt x="6" y="95"/>
                    <a:pt x="16" y="94"/>
                    <a:pt x="24" y="90"/>
                  </a:cubicBezTo>
                  <a:cubicBezTo>
                    <a:pt x="32" y="86"/>
                    <a:pt x="45" y="75"/>
                    <a:pt x="51" y="69"/>
                  </a:cubicBezTo>
                  <a:cubicBezTo>
                    <a:pt x="57" y="63"/>
                    <a:pt x="53" y="57"/>
                    <a:pt x="58" y="52"/>
                  </a:cubicBezTo>
                  <a:cubicBezTo>
                    <a:pt x="63" y="47"/>
                    <a:pt x="74" y="43"/>
                    <a:pt x="79" y="37"/>
                  </a:cubicBezTo>
                  <a:cubicBezTo>
                    <a:pt x="84" y="31"/>
                    <a:pt x="91" y="19"/>
                    <a:pt x="91" y="13"/>
                  </a:cubicBezTo>
                  <a:cubicBezTo>
                    <a:pt x="91" y="7"/>
                    <a:pt x="81" y="2"/>
                    <a:pt x="78" y="1"/>
                  </a:cubicBezTo>
                  <a:cubicBezTo>
                    <a:pt x="75" y="0"/>
                    <a:pt x="76" y="7"/>
                    <a:pt x="72" y="9"/>
                  </a:cubicBezTo>
                  <a:cubicBezTo>
                    <a:pt x="68" y="11"/>
                    <a:pt x="59" y="10"/>
                    <a:pt x="55" y="13"/>
                  </a:cubicBezTo>
                  <a:cubicBezTo>
                    <a:pt x="51" y="16"/>
                    <a:pt x="50" y="21"/>
                    <a:pt x="46" y="24"/>
                  </a:cubicBezTo>
                  <a:cubicBezTo>
                    <a:pt x="42" y="27"/>
                    <a:pt x="38" y="24"/>
                    <a:pt x="31" y="28"/>
                  </a:cubicBezTo>
                  <a:cubicBezTo>
                    <a:pt x="24" y="32"/>
                    <a:pt x="11" y="42"/>
                    <a:pt x="6" y="46"/>
                  </a:cubicBezTo>
                  <a:cubicBezTo>
                    <a:pt x="1" y="50"/>
                    <a:pt x="0" y="58"/>
                    <a:pt x="1" y="61"/>
                  </a:cubicBezTo>
                  <a:close/>
                </a:path>
              </a:pathLst>
            </a:custGeom>
            <a:solidFill>
              <a:schemeClr val="bg1">
                <a:lumMod val="85000"/>
              </a:schemeClr>
            </a:solidFill>
            <a:ln w="9525" cap="flat" cmpd="sng">
              <a:solidFill>
                <a:schemeClr val="bg1"/>
              </a:solidFill>
              <a:prstDash val="solid"/>
              <a:round/>
              <a:headEnd type="none" w="med" len="med"/>
              <a:tailEnd type="none" w="med" len="med"/>
            </a:ln>
            <a:effectLst/>
            <a:extLst/>
          </p:spPr>
          <p:txBody>
            <a:bodyPr>
              <a:noAutofit/>
            </a:bodyPr>
            <a:lstStyle/>
            <a:p>
              <a:pPr fontAlgn="auto">
                <a:spcBef>
                  <a:spcPts val="0"/>
                </a:spcBef>
                <a:spcAft>
                  <a:spcPts val="0"/>
                </a:spcAft>
                <a:defRPr/>
              </a:pPr>
              <a:endParaRPr lang="en-CA" kern="0">
                <a:solidFill>
                  <a:sysClr val="windowText" lastClr="000000"/>
                </a:solidFill>
              </a:endParaRPr>
            </a:p>
          </p:txBody>
        </p:sp>
        <p:sp>
          <p:nvSpPr>
            <p:cNvPr id="451" name="Freeform 168"/>
            <p:cNvSpPr>
              <a:spLocks/>
            </p:cNvSpPr>
            <p:nvPr>
              <p:custDataLst>
                <p:tags r:id="rId125"/>
              </p:custDataLst>
            </p:nvPr>
          </p:nvSpPr>
          <p:spPr bwMode="gray">
            <a:xfrm>
              <a:off x="3875257" y="2056536"/>
              <a:ext cx="56804" cy="74652"/>
            </a:xfrm>
            <a:custGeom>
              <a:avLst/>
              <a:gdLst>
                <a:gd name="T0" fmla="*/ 0 w 69"/>
                <a:gd name="T1" fmla="*/ 24 h 97"/>
                <a:gd name="T2" fmla="*/ 24 w 69"/>
                <a:gd name="T3" fmla="*/ 15 h 97"/>
                <a:gd name="T4" fmla="*/ 39 w 69"/>
                <a:gd name="T5" fmla="*/ 0 h 97"/>
                <a:gd name="T6" fmla="*/ 58 w 69"/>
                <a:gd name="T7" fmla="*/ 21 h 97"/>
                <a:gd name="T8" fmla="*/ 69 w 69"/>
                <a:gd name="T9" fmla="*/ 45 h 97"/>
                <a:gd name="T10" fmla="*/ 34 w 69"/>
                <a:gd name="T11" fmla="*/ 87 h 97"/>
                <a:gd name="T12" fmla="*/ 22 w 69"/>
                <a:gd name="T13" fmla="*/ 94 h 97"/>
                <a:gd name="T14" fmla="*/ 21 w 69"/>
                <a:gd name="T15" fmla="*/ 54 h 97"/>
                <a:gd name="T16" fmla="*/ 7 w 69"/>
                <a:gd name="T17" fmla="*/ 30 h 97"/>
                <a:gd name="T18" fmla="*/ 0 w 69"/>
                <a:gd name="T19" fmla="*/ 24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9" h="97">
                  <a:moveTo>
                    <a:pt x="0" y="24"/>
                  </a:moveTo>
                  <a:cubicBezTo>
                    <a:pt x="19" y="21"/>
                    <a:pt x="11" y="25"/>
                    <a:pt x="24" y="15"/>
                  </a:cubicBezTo>
                  <a:cubicBezTo>
                    <a:pt x="32" y="9"/>
                    <a:pt x="28" y="2"/>
                    <a:pt x="39" y="0"/>
                  </a:cubicBezTo>
                  <a:cubicBezTo>
                    <a:pt x="49" y="2"/>
                    <a:pt x="48" y="16"/>
                    <a:pt x="58" y="21"/>
                  </a:cubicBezTo>
                  <a:cubicBezTo>
                    <a:pt x="64" y="28"/>
                    <a:pt x="64" y="37"/>
                    <a:pt x="69" y="45"/>
                  </a:cubicBezTo>
                  <a:cubicBezTo>
                    <a:pt x="66" y="74"/>
                    <a:pt x="65" y="83"/>
                    <a:pt x="34" y="87"/>
                  </a:cubicBezTo>
                  <a:cubicBezTo>
                    <a:pt x="26" y="91"/>
                    <a:pt x="30" y="97"/>
                    <a:pt x="22" y="94"/>
                  </a:cubicBezTo>
                  <a:cubicBezTo>
                    <a:pt x="20" y="81"/>
                    <a:pt x="13" y="69"/>
                    <a:pt x="21" y="54"/>
                  </a:cubicBezTo>
                  <a:cubicBezTo>
                    <a:pt x="19" y="42"/>
                    <a:pt x="20" y="33"/>
                    <a:pt x="7" y="30"/>
                  </a:cubicBezTo>
                  <a:cubicBezTo>
                    <a:pt x="2" y="26"/>
                    <a:pt x="4" y="28"/>
                    <a:pt x="0" y="24"/>
                  </a:cubicBezTo>
                  <a:close/>
                </a:path>
              </a:pathLst>
            </a:custGeom>
            <a:solidFill>
              <a:schemeClr val="accent1"/>
            </a:solidFill>
            <a:ln w="9525" cap="flat" cmpd="sng">
              <a:solidFill>
                <a:schemeClr val="bg1"/>
              </a:solidFill>
              <a:prstDash val="solid"/>
              <a:round/>
              <a:headEnd type="none" w="med" len="med"/>
              <a:tailEnd type="none" w="med" len="med"/>
            </a:ln>
            <a:effectLst/>
            <a:extLst/>
          </p:spPr>
          <p:txBody>
            <a:bodyPr>
              <a:noAutofit/>
            </a:bodyPr>
            <a:lstStyle/>
            <a:p>
              <a:pPr fontAlgn="auto">
                <a:spcBef>
                  <a:spcPts val="0"/>
                </a:spcBef>
                <a:spcAft>
                  <a:spcPts val="0"/>
                </a:spcAft>
                <a:defRPr/>
              </a:pPr>
              <a:endParaRPr lang="en-CA" kern="0">
                <a:solidFill>
                  <a:sysClr val="windowText" lastClr="000000"/>
                </a:solidFill>
              </a:endParaRPr>
            </a:p>
          </p:txBody>
        </p:sp>
        <p:sp>
          <p:nvSpPr>
            <p:cNvPr id="452" name="Freeform 169"/>
            <p:cNvSpPr>
              <a:spLocks/>
            </p:cNvSpPr>
            <p:nvPr>
              <p:custDataLst>
                <p:tags r:id="rId126"/>
              </p:custDataLst>
            </p:nvPr>
          </p:nvSpPr>
          <p:spPr bwMode="gray">
            <a:xfrm>
              <a:off x="3604037" y="2375152"/>
              <a:ext cx="62404" cy="52333"/>
            </a:xfrm>
            <a:custGeom>
              <a:avLst/>
              <a:gdLst>
                <a:gd name="T0" fmla="*/ 47 w 77"/>
                <a:gd name="T1" fmla="*/ 3 h 68"/>
                <a:gd name="T2" fmla="*/ 76 w 77"/>
                <a:gd name="T3" fmla="*/ 10 h 68"/>
                <a:gd name="T4" fmla="*/ 68 w 77"/>
                <a:gd name="T5" fmla="*/ 37 h 68"/>
                <a:gd name="T6" fmla="*/ 56 w 77"/>
                <a:gd name="T7" fmla="*/ 46 h 68"/>
                <a:gd name="T8" fmla="*/ 44 w 77"/>
                <a:gd name="T9" fmla="*/ 48 h 68"/>
                <a:gd name="T10" fmla="*/ 35 w 77"/>
                <a:gd name="T11" fmla="*/ 61 h 68"/>
                <a:gd name="T12" fmla="*/ 23 w 77"/>
                <a:gd name="T13" fmla="*/ 61 h 68"/>
                <a:gd name="T14" fmla="*/ 8 w 77"/>
                <a:gd name="T15" fmla="*/ 39 h 68"/>
                <a:gd name="T16" fmla="*/ 44 w 77"/>
                <a:gd name="T17" fmla="*/ 7 h 68"/>
                <a:gd name="T18" fmla="*/ 47 w 77"/>
                <a:gd name="T19" fmla="*/ 3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7" h="68">
                  <a:moveTo>
                    <a:pt x="47" y="3"/>
                  </a:moveTo>
                  <a:cubicBezTo>
                    <a:pt x="57" y="5"/>
                    <a:pt x="67" y="3"/>
                    <a:pt x="76" y="10"/>
                  </a:cubicBezTo>
                  <a:cubicBezTo>
                    <a:pt x="75" y="20"/>
                    <a:pt x="77" y="32"/>
                    <a:pt x="68" y="37"/>
                  </a:cubicBezTo>
                  <a:cubicBezTo>
                    <a:pt x="64" y="43"/>
                    <a:pt x="63" y="45"/>
                    <a:pt x="56" y="46"/>
                  </a:cubicBezTo>
                  <a:cubicBezTo>
                    <a:pt x="52" y="49"/>
                    <a:pt x="47" y="46"/>
                    <a:pt x="44" y="48"/>
                  </a:cubicBezTo>
                  <a:cubicBezTo>
                    <a:pt x="41" y="50"/>
                    <a:pt x="38" y="59"/>
                    <a:pt x="35" y="61"/>
                  </a:cubicBezTo>
                  <a:cubicBezTo>
                    <a:pt x="31" y="68"/>
                    <a:pt x="30" y="65"/>
                    <a:pt x="23" y="61"/>
                  </a:cubicBezTo>
                  <a:cubicBezTo>
                    <a:pt x="18" y="54"/>
                    <a:pt x="13" y="46"/>
                    <a:pt x="8" y="39"/>
                  </a:cubicBezTo>
                  <a:cubicBezTo>
                    <a:pt x="0" y="0"/>
                    <a:pt x="1" y="10"/>
                    <a:pt x="44" y="7"/>
                  </a:cubicBezTo>
                  <a:cubicBezTo>
                    <a:pt x="50" y="4"/>
                    <a:pt x="51" y="5"/>
                    <a:pt x="47" y="3"/>
                  </a:cubicBezTo>
                  <a:close/>
                </a:path>
              </a:pathLst>
            </a:custGeom>
            <a:solidFill>
              <a:schemeClr val="bg1">
                <a:lumMod val="85000"/>
              </a:schemeClr>
            </a:solidFill>
            <a:ln w="9525" cap="flat" cmpd="sng">
              <a:solidFill>
                <a:schemeClr val="bg1"/>
              </a:solidFill>
              <a:prstDash val="solid"/>
              <a:round/>
              <a:headEnd type="none" w="med" len="med"/>
              <a:tailEnd type="none" w="med" len="med"/>
            </a:ln>
            <a:effectLst/>
            <a:extLst/>
          </p:spPr>
          <p:txBody>
            <a:bodyPr>
              <a:noAutofit/>
            </a:bodyPr>
            <a:lstStyle/>
            <a:p>
              <a:pPr fontAlgn="auto">
                <a:spcBef>
                  <a:spcPts val="0"/>
                </a:spcBef>
                <a:spcAft>
                  <a:spcPts val="0"/>
                </a:spcAft>
                <a:defRPr/>
              </a:pPr>
              <a:endParaRPr lang="en-CA" kern="0">
                <a:solidFill>
                  <a:sysClr val="windowText" lastClr="000000"/>
                </a:solidFill>
              </a:endParaRPr>
            </a:p>
          </p:txBody>
        </p:sp>
        <p:sp>
          <p:nvSpPr>
            <p:cNvPr id="453" name="Freeform 170"/>
            <p:cNvSpPr>
              <a:spLocks/>
            </p:cNvSpPr>
            <p:nvPr>
              <p:custDataLst>
                <p:tags r:id="rId127"/>
              </p:custDataLst>
            </p:nvPr>
          </p:nvSpPr>
          <p:spPr bwMode="gray">
            <a:xfrm>
              <a:off x="3571236" y="2282799"/>
              <a:ext cx="93606" cy="97740"/>
            </a:xfrm>
            <a:custGeom>
              <a:avLst/>
              <a:gdLst>
                <a:gd name="T0" fmla="*/ 11 w 115"/>
                <a:gd name="T1" fmla="*/ 15 h 127"/>
                <a:gd name="T2" fmla="*/ 35 w 115"/>
                <a:gd name="T3" fmla="*/ 6 h 127"/>
                <a:gd name="T4" fmla="*/ 38 w 115"/>
                <a:gd name="T5" fmla="*/ 1 h 127"/>
                <a:gd name="T6" fmla="*/ 44 w 115"/>
                <a:gd name="T7" fmla="*/ 9 h 127"/>
                <a:gd name="T8" fmla="*/ 65 w 115"/>
                <a:gd name="T9" fmla="*/ 22 h 127"/>
                <a:gd name="T10" fmla="*/ 75 w 115"/>
                <a:gd name="T11" fmla="*/ 33 h 127"/>
                <a:gd name="T12" fmla="*/ 63 w 115"/>
                <a:gd name="T13" fmla="*/ 48 h 127"/>
                <a:gd name="T14" fmla="*/ 89 w 115"/>
                <a:gd name="T15" fmla="*/ 70 h 127"/>
                <a:gd name="T16" fmla="*/ 96 w 115"/>
                <a:gd name="T17" fmla="*/ 85 h 127"/>
                <a:gd name="T18" fmla="*/ 108 w 115"/>
                <a:gd name="T19" fmla="*/ 99 h 127"/>
                <a:gd name="T20" fmla="*/ 115 w 115"/>
                <a:gd name="T21" fmla="*/ 111 h 127"/>
                <a:gd name="T22" fmla="*/ 110 w 115"/>
                <a:gd name="T23" fmla="*/ 124 h 127"/>
                <a:gd name="T24" fmla="*/ 90 w 115"/>
                <a:gd name="T25" fmla="*/ 123 h 127"/>
                <a:gd name="T26" fmla="*/ 83 w 115"/>
                <a:gd name="T27" fmla="*/ 103 h 127"/>
                <a:gd name="T28" fmla="*/ 75 w 115"/>
                <a:gd name="T29" fmla="*/ 73 h 127"/>
                <a:gd name="T30" fmla="*/ 59 w 115"/>
                <a:gd name="T31" fmla="*/ 61 h 127"/>
                <a:gd name="T32" fmla="*/ 44 w 115"/>
                <a:gd name="T33" fmla="*/ 69 h 127"/>
                <a:gd name="T34" fmla="*/ 24 w 115"/>
                <a:gd name="T35" fmla="*/ 69 h 127"/>
                <a:gd name="T36" fmla="*/ 27 w 115"/>
                <a:gd name="T37" fmla="*/ 51 h 127"/>
                <a:gd name="T38" fmla="*/ 9 w 115"/>
                <a:gd name="T39" fmla="*/ 36 h 127"/>
                <a:gd name="T40" fmla="*/ 8 w 115"/>
                <a:gd name="T41" fmla="*/ 25 h 127"/>
                <a:gd name="T42" fmla="*/ 11 w 115"/>
                <a:gd name="T43" fmla="*/ 15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15" h="127">
                  <a:moveTo>
                    <a:pt x="11" y="15"/>
                  </a:moveTo>
                  <a:cubicBezTo>
                    <a:pt x="31" y="11"/>
                    <a:pt x="23" y="8"/>
                    <a:pt x="35" y="6"/>
                  </a:cubicBezTo>
                  <a:cubicBezTo>
                    <a:pt x="36" y="4"/>
                    <a:pt x="36" y="2"/>
                    <a:pt x="38" y="1"/>
                  </a:cubicBezTo>
                  <a:cubicBezTo>
                    <a:pt x="42" y="0"/>
                    <a:pt x="43" y="8"/>
                    <a:pt x="44" y="9"/>
                  </a:cubicBezTo>
                  <a:cubicBezTo>
                    <a:pt x="49" y="16"/>
                    <a:pt x="57" y="20"/>
                    <a:pt x="65" y="22"/>
                  </a:cubicBezTo>
                  <a:cubicBezTo>
                    <a:pt x="71" y="27"/>
                    <a:pt x="74" y="25"/>
                    <a:pt x="75" y="33"/>
                  </a:cubicBezTo>
                  <a:cubicBezTo>
                    <a:pt x="73" y="43"/>
                    <a:pt x="71" y="43"/>
                    <a:pt x="63" y="48"/>
                  </a:cubicBezTo>
                  <a:cubicBezTo>
                    <a:pt x="69" y="59"/>
                    <a:pt x="76" y="67"/>
                    <a:pt x="89" y="70"/>
                  </a:cubicBezTo>
                  <a:cubicBezTo>
                    <a:pt x="94" y="76"/>
                    <a:pt x="93" y="80"/>
                    <a:pt x="96" y="85"/>
                  </a:cubicBezTo>
                  <a:cubicBezTo>
                    <a:pt x="99" y="90"/>
                    <a:pt x="105" y="95"/>
                    <a:pt x="108" y="99"/>
                  </a:cubicBezTo>
                  <a:cubicBezTo>
                    <a:pt x="110" y="103"/>
                    <a:pt x="115" y="107"/>
                    <a:pt x="115" y="111"/>
                  </a:cubicBezTo>
                  <a:cubicBezTo>
                    <a:pt x="115" y="115"/>
                    <a:pt x="114" y="122"/>
                    <a:pt x="110" y="124"/>
                  </a:cubicBezTo>
                  <a:cubicBezTo>
                    <a:pt x="103" y="124"/>
                    <a:pt x="95" y="127"/>
                    <a:pt x="90" y="123"/>
                  </a:cubicBezTo>
                  <a:cubicBezTo>
                    <a:pt x="81" y="117"/>
                    <a:pt x="94" y="108"/>
                    <a:pt x="83" y="103"/>
                  </a:cubicBezTo>
                  <a:cubicBezTo>
                    <a:pt x="74" y="91"/>
                    <a:pt x="80" y="92"/>
                    <a:pt x="75" y="73"/>
                  </a:cubicBezTo>
                  <a:cubicBezTo>
                    <a:pt x="74" y="68"/>
                    <a:pt x="63" y="64"/>
                    <a:pt x="59" y="61"/>
                  </a:cubicBezTo>
                  <a:cubicBezTo>
                    <a:pt x="54" y="60"/>
                    <a:pt x="50" y="68"/>
                    <a:pt x="44" y="69"/>
                  </a:cubicBezTo>
                  <a:cubicBezTo>
                    <a:pt x="38" y="70"/>
                    <a:pt x="27" y="72"/>
                    <a:pt x="24" y="69"/>
                  </a:cubicBezTo>
                  <a:cubicBezTo>
                    <a:pt x="17" y="68"/>
                    <a:pt x="29" y="56"/>
                    <a:pt x="27" y="51"/>
                  </a:cubicBezTo>
                  <a:cubicBezTo>
                    <a:pt x="25" y="46"/>
                    <a:pt x="12" y="40"/>
                    <a:pt x="9" y="36"/>
                  </a:cubicBezTo>
                  <a:cubicBezTo>
                    <a:pt x="5" y="30"/>
                    <a:pt x="0" y="28"/>
                    <a:pt x="8" y="25"/>
                  </a:cubicBezTo>
                  <a:cubicBezTo>
                    <a:pt x="9" y="18"/>
                    <a:pt x="8" y="21"/>
                    <a:pt x="11" y="15"/>
                  </a:cubicBezTo>
                  <a:close/>
                </a:path>
              </a:pathLst>
            </a:custGeom>
            <a:solidFill>
              <a:schemeClr val="bg1">
                <a:lumMod val="85000"/>
              </a:schemeClr>
            </a:solidFill>
            <a:ln w="9525" cap="flat" cmpd="sng">
              <a:solidFill>
                <a:schemeClr val="bg1"/>
              </a:solidFill>
              <a:prstDash val="solid"/>
              <a:round/>
              <a:headEnd type="none" w="med" len="med"/>
              <a:tailEnd type="none" w="med" len="med"/>
            </a:ln>
            <a:effectLst/>
            <a:extLst/>
          </p:spPr>
          <p:txBody>
            <a:bodyPr>
              <a:noAutofit/>
            </a:bodyPr>
            <a:lstStyle/>
            <a:p>
              <a:pPr fontAlgn="auto">
                <a:spcBef>
                  <a:spcPts val="0"/>
                </a:spcBef>
                <a:spcAft>
                  <a:spcPts val="0"/>
                </a:spcAft>
                <a:defRPr/>
              </a:pPr>
              <a:endParaRPr lang="en-CA" kern="0">
                <a:solidFill>
                  <a:sysClr val="windowText" lastClr="000000"/>
                </a:solidFill>
              </a:endParaRPr>
            </a:p>
          </p:txBody>
        </p:sp>
        <p:sp>
          <p:nvSpPr>
            <p:cNvPr id="454" name="Freeform 171"/>
            <p:cNvSpPr>
              <a:spLocks/>
            </p:cNvSpPr>
            <p:nvPr>
              <p:custDataLst>
                <p:tags r:id="rId128"/>
              </p:custDataLst>
            </p:nvPr>
          </p:nvSpPr>
          <p:spPr bwMode="gray">
            <a:xfrm>
              <a:off x="3743247" y="2489823"/>
              <a:ext cx="13600" cy="13852"/>
            </a:xfrm>
            <a:custGeom>
              <a:avLst/>
              <a:gdLst>
                <a:gd name="T0" fmla="*/ 0 w 17"/>
                <a:gd name="T1" fmla="*/ 9 h 18"/>
                <a:gd name="T2" fmla="*/ 14 w 17"/>
                <a:gd name="T3" fmla="*/ 13 h 18"/>
                <a:gd name="T4" fmla="*/ 6 w 17"/>
                <a:gd name="T5" fmla="*/ 3 h 18"/>
                <a:gd name="T6" fmla="*/ 0 w 17"/>
                <a:gd name="T7" fmla="*/ 9 h 18"/>
              </a:gdLst>
              <a:ahLst/>
              <a:cxnLst>
                <a:cxn ang="0">
                  <a:pos x="T0" y="T1"/>
                </a:cxn>
                <a:cxn ang="0">
                  <a:pos x="T2" y="T3"/>
                </a:cxn>
                <a:cxn ang="0">
                  <a:pos x="T4" y="T5"/>
                </a:cxn>
                <a:cxn ang="0">
                  <a:pos x="T6" y="T7"/>
                </a:cxn>
              </a:cxnLst>
              <a:rect l="0" t="0" r="r" b="b"/>
              <a:pathLst>
                <a:path w="17" h="18">
                  <a:moveTo>
                    <a:pt x="0" y="9"/>
                  </a:moveTo>
                  <a:cubicBezTo>
                    <a:pt x="3" y="18"/>
                    <a:pt x="6" y="18"/>
                    <a:pt x="14" y="13"/>
                  </a:cubicBezTo>
                  <a:cubicBezTo>
                    <a:pt x="17" y="3"/>
                    <a:pt x="17" y="0"/>
                    <a:pt x="6" y="3"/>
                  </a:cubicBezTo>
                  <a:cubicBezTo>
                    <a:pt x="2" y="10"/>
                    <a:pt x="4" y="9"/>
                    <a:pt x="0" y="9"/>
                  </a:cubicBezTo>
                  <a:close/>
                </a:path>
              </a:pathLst>
            </a:custGeom>
            <a:solidFill>
              <a:schemeClr val="bg1">
                <a:lumMod val="85000"/>
              </a:schemeClr>
            </a:solidFill>
            <a:ln w="9525" cap="flat" cmpd="sng">
              <a:solidFill>
                <a:schemeClr val="bg1"/>
              </a:solidFill>
              <a:prstDash val="solid"/>
              <a:round/>
              <a:headEnd type="none" w="med" len="med"/>
              <a:tailEnd type="none" w="med" len="med"/>
            </a:ln>
            <a:effectLst/>
            <a:extLst/>
          </p:spPr>
          <p:txBody>
            <a:bodyPr>
              <a:noAutofit/>
            </a:bodyPr>
            <a:lstStyle/>
            <a:p>
              <a:pPr fontAlgn="auto">
                <a:spcBef>
                  <a:spcPts val="0"/>
                </a:spcBef>
                <a:spcAft>
                  <a:spcPts val="0"/>
                </a:spcAft>
                <a:defRPr/>
              </a:pPr>
              <a:endParaRPr lang="en-CA" kern="0">
                <a:solidFill>
                  <a:sysClr val="windowText" lastClr="000000"/>
                </a:solidFill>
              </a:endParaRPr>
            </a:p>
          </p:txBody>
        </p:sp>
        <p:sp>
          <p:nvSpPr>
            <p:cNvPr id="455" name="Freeform 172"/>
            <p:cNvSpPr>
              <a:spLocks/>
            </p:cNvSpPr>
            <p:nvPr>
              <p:custDataLst>
                <p:tags r:id="rId129"/>
              </p:custDataLst>
            </p:nvPr>
          </p:nvSpPr>
          <p:spPr bwMode="gray">
            <a:xfrm>
              <a:off x="3804051" y="2248167"/>
              <a:ext cx="40803" cy="44637"/>
            </a:xfrm>
            <a:custGeom>
              <a:avLst/>
              <a:gdLst>
                <a:gd name="T0" fmla="*/ 4 w 50"/>
                <a:gd name="T1" fmla="*/ 24 h 58"/>
                <a:gd name="T2" fmla="*/ 16 w 50"/>
                <a:gd name="T3" fmla="*/ 22 h 58"/>
                <a:gd name="T4" fmla="*/ 22 w 50"/>
                <a:gd name="T5" fmla="*/ 12 h 58"/>
                <a:gd name="T6" fmla="*/ 37 w 50"/>
                <a:gd name="T7" fmla="*/ 0 h 58"/>
                <a:gd name="T8" fmla="*/ 38 w 50"/>
                <a:gd name="T9" fmla="*/ 22 h 58"/>
                <a:gd name="T10" fmla="*/ 25 w 50"/>
                <a:gd name="T11" fmla="*/ 39 h 58"/>
                <a:gd name="T12" fmla="*/ 17 w 50"/>
                <a:gd name="T13" fmla="*/ 46 h 58"/>
                <a:gd name="T14" fmla="*/ 4 w 50"/>
                <a:gd name="T15" fmla="*/ 30 h 58"/>
                <a:gd name="T16" fmla="*/ 4 w 50"/>
                <a:gd name="T17" fmla="*/ 24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 h="58">
                  <a:moveTo>
                    <a:pt x="4" y="24"/>
                  </a:moveTo>
                  <a:cubicBezTo>
                    <a:pt x="8" y="23"/>
                    <a:pt x="13" y="25"/>
                    <a:pt x="16" y="22"/>
                  </a:cubicBezTo>
                  <a:cubicBezTo>
                    <a:pt x="32" y="8"/>
                    <a:pt x="6" y="15"/>
                    <a:pt x="22" y="12"/>
                  </a:cubicBezTo>
                  <a:cubicBezTo>
                    <a:pt x="29" y="7"/>
                    <a:pt x="28" y="2"/>
                    <a:pt x="37" y="0"/>
                  </a:cubicBezTo>
                  <a:cubicBezTo>
                    <a:pt x="50" y="2"/>
                    <a:pt x="44" y="14"/>
                    <a:pt x="38" y="22"/>
                  </a:cubicBezTo>
                  <a:cubicBezTo>
                    <a:pt x="34" y="40"/>
                    <a:pt x="40" y="36"/>
                    <a:pt x="25" y="39"/>
                  </a:cubicBezTo>
                  <a:cubicBezTo>
                    <a:pt x="24" y="45"/>
                    <a:pt x="22" y="58"/>
                    <a:pt x="17" y="46"/>
                  </a:cubicBezTo>
                  <a:cubicBezTo>
                    <a:pt x="15" y="37"/>
                    <a:pt x="11" y="35"/>
                    <a:pt x="4" y="30"/>
                  </a:cubicBezTo>
                  <a:cubicBezTo>
                    <a:pt x="2" y="24"/>
                    <a:pt x="0" y="26"/>
                    <a:pt x="4" y="24"/>
                  </a:cubicBezTo>
                  <a:close/>
                </a:path>
              </a:pathLst>
            </a:custGeom>
            <a:solidFill>
              <a:schemeClr val="accent1"/>
            </a:solidFill>
            <a:ln w="9525" cap="flat" cmpd="sng">
              <a:solidFill>
                <a:schemeClr val="bg1"/>
              </a:solidFill>
              <a:prstDash val="solid"/>
              <a:round/>
              <a:headEnd type="none" w="med" len="med"/>
              <a:tailEnd type="none" w="med" len="med"/>
            </a:ln>
            <a:effectLst/>
            <a:extLst/>
          </p:spPr>
          <p:txBody>
            <a:bodyPr>
              <a:noAutofit/>
            </a:bodyPr>
            <a:lstStyle/>
            <a:p>
              <a:pPr fontAlgn="auto">
                <a:spcBef>
                  <a:spcPts val="0"/>
                </a:spcBef>
                <a:spcAft>
                  <a:spcPts val="0"/>
                </a:spcAft>
                <a:defRPr/>
              </a:pPr>
              <a:endParaRPr lang="en-CA" kern="0">
                <a:solidFill>
                  <a:sysClr val="windowText" lastClr="000000"/>
                </a:solidFill>
              </a:endParaRPr>
            </a:p>
          </p:txBody>
        </p:sp>
        <p:sp>
          <p:nvSpPr>
            <p:cNvPr id="456" name="Freeform 205"/>
            <p:cNvSpPr>
              <a:spLocks/>
            </p:cNvSpPr>
            <p:nvPr>
              <p:custDataLst>
                <p:tags r:id="rId130"/>
              </p:custDataLst>
            </p:nvPr>
          </p:nvSpPr>
          <p:spPr bwMode="gray">
            <a:xfrm>
              <a:off x="4227540" y="2664522"/>
              <a:ext cx="25132" cy="18470"/>
            </a:xfrm>
            <a:custGeom>
              <a:avLst/>
              <a:gdLst>
                <a:gd name="T0" fmla="*/ 1 w 31"/>
                <a:gd name="T1" fmla="*/ 0 h 24"/>
                <a:gd name="T2" fmla="*/ 12 w 31"/>
                <a:gd name="T3" fmla="*/ 3 h 24"/>
                <a:gd name="T4" fmla="*/ 31 w 31"/>
                <a:gd name="T5" fmla="*/ 14 h 24"/>
                <a:gd name="T6" fmla="*/ 3 w 31"/>
                <a:gd name="T7" fmla="*/ 14 h 24"/>
                <a:gd name="T8" fmla="*/ 1 w 31"/>
                <a:gd name="T9" fmla="*/ 0 h 24"/>
              </a:gdLst>
              <a:ahLst/>
              <a:cxnLst>
                <a:cxn ang="0">
                  <a:pos x="T0" y="T1"/>
                </a:cxn>
                <a:cxn ang="0">
                  <a:pos x="T2" y="T3"/>
                </a:cxn>
                <a:cxn ang="0">
                  <a:pos x="T4" y="T5"/>
                </a:cxn>
                <a:cxn ang="0">
                  <a:pos x="T6" y="T7"/>
                </a:cxn>
                <a:cxn ang="0">
                  <a:pos x="T8" y="T9"/>
                </a:cxn>
              </a:cxnLst>
              <a:rect l="0" t="0" r="r" b="b"/>
              <a:pathLst>
                <a:path w="31" h="24">
                  <a:moveTo>
                    <a:pt x="1" y="0"/>
                  </a:moveTo>
                  <a:cubicBezTo>
                    <a:pt x="5" y="1"/>
                    <a:pt x="9" y="1"/>
                    <a:pt x="12" y="3"/>
                  </a:cubicBezTo>
                  <a:cubicBezTo>
                    <a:pt x="25" y="11"/>
                    <a:pt x="8" y="10"/>
                    <a:pt x="31" y="14"/>
                  </a:cubicBezTo>
                  <a:cubicBezTo>
                    <a:pt x="24" y="24"/>
                    <a:pt x="12" y="16"/>
                    <a:pt x="3" y="14"/>
                  </a:cubicBezTo>
                  <a:cubicBezTo>
                    <a:pt x="0" y="7"/>
                    <a:pt x="4" y="7"/>
                    <a:pt x="1" y="0"/>
                  </a:cubicBezTo>
                  <a:close/>
                </a:path>
              </a:pathLst>
            </a:custGeom>
            <a:solidFill>
              <a:schemeClr val="bg1">
                <a:lumMod val="85000"/>
              </a:schemeClr>
            </a:solidFill>
            <a:ln w="9525" cap="flat" cmpd="sng">
              <a:solidFill>
                <a:schemeClr val="bg1"/>
              </a:solidFill>
              <a:prstDash val="solid"/>
              <a:round/>
              <a:headEnd type="none" w="med" len="med"/>
              <a:tailEnd type="none" w="med" len="med"/>
            </a:ln>
            <a:effectLst/>
            <a:extLst/>
          </p:spPr>
          <p:txBody>
            <a:bodyPr>
              <a:noAutofit/>
            </a:bodyPr>
            <a:lstStyle/>
            <a:p>
              <a:pPr fontAlgn="auto">
                <a:spcBef>
                  <a:spcPts val="0"/>
                </a:spcBef>
                <a:spcAft>
                  <a:spcPts val="0"/>
                </a:spcAft>
                <a:defRPr/>
              </a:pPr>
              <a:endParaRPr lang="en-CA" kern="0">
                <a:solidFill>
                  <a:sysClr val="windowText" lastClr="000000"/>
                </a:solidFill>
              </a:endParaRPr>
            </a:p>
          </p:txBody>
        </p:sp>
        <p:sp>
          <p:nvSpPr>
            <p:cNvPr id="457" name="Freeform 206"/>
            <p:cNvSpPr>
              <a:spLocks/>
            </p:cNvSpPr>
            <p:nvPr>
              <p:custDataLst>
                <p:tags r:id="rId131"/>
              </p:custDataLst>
            </p:nvPr>
          </p:nvSpPr>
          <p:spPr bwMode="gray">
            <a:xfrm>
              <a:off x="4085670" y="2575248"/>
              <a:ext cx="119170" cy="97740"/>
            </a:xfrm>
            <a:custGeom>
              <a:avLst/>
              <a:gdLst>
                <a:gd name="T0" fmla="*/ 0 w 123"/>
                <a:gd name="T1" fmla="*/ 80 h 106"/>
                <a:gd name="T2" fmla="*/ 0 w 123"/>
                <a:gd name="T3" fmla="*/ 33 h 106"/>
                <a:gd name="T4" fmla="*/ 0 w 123"/>
                <a:gd name="T5" fmla="*/ 0 h 106"/>
                <a:gd name="T6" fmla="*/ 32 w 123"/>
                <a:gd name="T7" fmla="*/ 9 h 106"/>
                <a:gd name="T8" fmla="*/ 57 w 123"/>
                <a:gd name="T9" fmla="*/ 25 h 106"/>
                <a:gd name="T10" fmla="*/ 57 w 123"/>
                <a:gd name="T11" fmla="*/ 33 h 106"/>
                <a:gd name="T12" fmla="*/ 88 w 123"/>
                <a:gd name="T13" fmla="*/ 49 h 106"/>
                <a:gd name="T14" fmla="*/ 72 w 123"/>
                <a:gd name="T15" fmla="*/ 57 h 106"/>
                <a:gd name="T16" fmla="*/ 81 w 123"/>
                <a:gd name="T17" fmla="*/ 57 h 106"/>
                <a:gd name="T18" fmla="*/ 88 w 123"/>
                <a:gd name="T19" fmla="*/ 65 h 106"/>
                <a:gd name="T20" fmla="*/ 97 w 123"/>
                <a:gd name="T21" fmla="*/ 80 h 106"/>
                <a:gd name="T22" fmla="*/ 104 w 123"/>
                <a:gd name="T23" fmla="*/ 80 h 106"/>
                <a:gd name="T24" fmla="*/ 104 w 123"/>
                <a:gd name="T25" fmla="*/ 90 h 106"/>
                <a:gd name="T26" fmla="*/ 122 w 123"/>
                <a:gd name="T27" fmla="*/ 99 h 106"/>
                <a:gd name="T28" fmla="*/ 122 w 123"/>
                <a:gd name="T29" fmla="*/ 105 h 106"/>
                <a:gd name="T30" fmla="*/ 81 w 123"/>
                <a:gd name="T31" fmla="*/ 99 h 106"/>
                <a:gd name="T32" fmla="*/ 63 w 123"/>
                <a:gd name="T33" fmla="*/ 65 h 106"/>
                <a:gd name="T34" fmla="*/ 47 w 123"/>
                <a:gd name="T35" fmla="*/ 65 h 106"/>
                <a:gd name="T36" fmla="*/ 40 w 123"/>
                <a:gd name="T37" fmla="*/ 65 h 106"/>
                <a:gd name="T38" fmla="*/ 23 w 123"/>
                <a:gd name="T39" fmla="*/ 74 h 106"/>
                <a:gd name="T40" fmla="*/ 32 w 123"/>
                <a:gd name="T41" fmla="*/ 80 h 106"/>
                <a:gd name="T42" fmla="*/ 15 w 123"/>
                <a:gd name="T43" fmla="*/ 80 h 106"/>
                <a:gd name="T44" fmla="*/ 0 w 123"/>
                <a:gd name="T45" fmla="*/ 8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23" h="106">
                  <a:moveTo>
                    <a:pt x="0" y="80"/>
                  </a:moveTo>
                  <a:lnTo>
                    <a:pt x="0" y="33"/>
                  </a:lnTo>
                  <a:lnTo>
                    <a:pt x="0" y="0"/>
                  </a:lnTo>
                  <a:lnTo>
                    <a:pt x="32" y="9"/>
                  </a:lnTo>
                  <a:lnTo>
                    <a:pt x="57" y="25"/>
                  </a:lnTo>
                  <a:lnTo>
                    <a:pt x="57" y="33"/>
                  </a:lnTo>
                  <a:lnTo>
                    <a:pt x="88" y="49"/>
                  </a:lnTo>
                  <a:lnTo>
                    <a:pt x="72" y="57"/>
                  </a:lnTo>
                  <a:lnTo>
                    <a:pt x="81" y="57"/>
                  </a:lnTo>
                  <a:lnTo>
                    <a:pt x="88" y="65"/>
                  </a:lnTo>
                  <a:lnTo>
                    <a:pt x="97" y="80"/>
                  </a:lnTo>
                  <a:lnTo>
                    <a:pt x="104" y="80"/>
                  </a:lnTo>
                  <a:lnTo>
                    <a:pt x="104" y="90"/>
                  </a:lnTo>
                  <a:lnTo>
                    <a:pt x="122" y="99"/>
                  </a:lnTo>
                  <a:lnTo>
                    <a:pt x="122" y="105"/>
                  </a:lnTo>
                  <a:lnTo>
                    <a:pt x="81" y="99"/>
                  </a:lnTo>
                  <a:lnTo>
                    <a:pt x="63" y="65"/>
                  </a:lnTo>
                  <a:lnTo>
                    <a:pt x="47" y="65"/>
                  </a:lnTo>
                  <a:lnTo>
                    <a:pt x="40" y="65"/>
                  </a:lnTo>
                  <a:lnTo>
                    <a:pt x="23" y="74"/>
                  </a:lnTo>
                  <a:lnTo>
                    <a:pt x="32" y="80"/>
                  </a:lnTo>
                  <a:lnTo>
                    <a:pt x="15" y="80"/>
                  </a:lnTo>
                  <a:lnTo>
                    <a:pt x="0" y="80"/>
                  </a:lnTo>
                </a:path>
              </a:pathLst>
            </a:custGeom>
            <a:solidFill>
              <a:schemeClr val="bg1">
                <a:lumMod val="85000"/>
              </a:schemeClr>
            </a:solidFill>
            <a:ln w="9525" cap="flat" cmpd="sng">
              <a:solidFill>
                <a:schemeClr val="bg1"/>
              </a:solidFill>
              <a:prstDash val="solid"/>
              <a:round/>
              <a:headEnd type="none" w="med" len="med"/>
              <a:tailEnd type="none" w="med" len="med"/>
            </a:ln>
            <a:effectLst/>
            <a:extLst/>
          </p:spPr>
          <p:txBody>
            <a:bodyPr>
              <a:noAutofit/>
            </a:bodyPr>
            <a:lstStyle/>
            <a:p>
              <a:pPr fontAlgn="auto">
                <a:spcBef>
                  <a:spcPts val="0"/>
                </a:spcBef>
                <a:spcAft>
                  <a:spcPts val="0"/>
                </a:spcAft>
                <a:defRPr/>
              </a:pPr>
              <a:endParaRPr lang="en-CA" kern="0">
                <a:solidFill>
                  <a:sysClr val="windowText" lastClr="000000"/>
                </a:solidFill>
              </a:endParaRPr>
            </a:p>
          </p:txBody>
        </p:sp>
        <p:sp>
          <p:nvSpPr>
            <p:cNvPr id="458" name="Freeform 207"/>
            <p:cNvSpPr>
              <a:spLocks/>
            </p:cNvSpPr>
            <p:nvPr>
              <p:custDataLst>
                <p:tags r:id="rId132"/>
              </p:custDataLst>
            </p:nvPr>
          </p:nvSpPr>
          <p:spPr bwMode="gray">
            <a:xfrm>
              <a:off x="4171603" y="2589871"/>
              <a:ext cx="55127" cy="30784"/>
            </a:xfrm>
            <a:custGeom>
              <a:avLst/>
              <a:gdLst>
                <a:gd name="T0" fmla="*/ 0 w 57"/>
                <a:gd name="T1" fmla="*/ 16 h 33"/>
                <a:gd name="T2" fmla="*/ 16 w 57"/>
                <a:gd name="T3" fmla="*/ 32 h 33"/>
                <a:gd name="T4" fmla="*/ 34 w 57"/>
                <a:gd name="T5" fmla="*/ 32 h 33"/>
                <a:gd name="T6" fmla="*/ 49 w 57"/>
                <a:gd name="T7" fmla="*/ 23 h 33"/>
                <a:gd name="T8" fmla="*/ 56 w 57"/>
                <a:gd name="T9" fmla="*/ 8 h 33"/>
                <a:gd name="T10" fmla="*/ 56 w 57"/>
                <a:gd name="T11" fmla="*/ 0 h 33"/>
                <a:gd name="T12" fmla="*/ 49 w 57"/>
                <a:gd name="T13" fmla="*/ 0 h 33"/>
                <a:gd name="T14" fmla="*/ 49 w 57"/>
                <a:gd name="T15" fmla="*/ 16 h 33"/>
                <a:gd name="T16" fmla="*/ 41 w 57"/>
                <a:gd name="T17" fmla="*/ 16 h 33"/>
                <a:gd name="T18" fmla="*/ 34 w 57"/>
                <a:gd name="T19" fmla="*/ 16 h 33"/>
                <a:gd name="T20" fmla="*/ 0 w 57"/>
                <a:gd name="T21" fmla="*/ 16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7" h="33">
                  <a:moveTo>
                    <a:pt x="0" y="16"/>
                  </a:moveTo>
                  <a:lnTo>
                    <a:pt x="16" y="32"/>
                  </a:lnTo>
                  <a:lnTo>
                    <a:pt x="34" y="32"/>
                  </a:lnTo>
                  <a:lnTo>
                    <a:pt x="49" y="23"/>
                  </a:lnTo>
                  <a:lnTo>
                    <a:pt x="56" y="8"/>
                  </a:lnTo>
                  <a:lnTo>
                    <a:pt x="56" y="0"/>
                  </a:lnTo>
                  <a:lnTo>
                    <a:pt x="49" y="0"/>
                  </a:lnTo>
                  <a:lnTo>
                    <a:pt x="49" y="16"/>
                  </a:lnTo>
                  <a:lnTo>
                    <a:pt x="41" y="16"/>
                  </a:lnTo>
                  <a:lnTo>
                    <a:pt x="34" y="16"/>
                  </a:lnTo>
                  <a:lnTo>
                    <a:pt x="0" y="16"/>
                  </a:lnTo>
                </a:path>
              </a:pathLst>
            </a:custGeom>
            <a:solidFill>
              <a:schemeClr val="bg1">
                <a:lumMod val="85000"/>
              </a:schemeClr>
            </a:solidFill>
            <a:ln w="9525" cap="flat" cmpd="sng">
              <a:solidFill>
                <a:schemeClr val="bg1"/>
              </a:solidFill>
              <a:prstDash val="solid"/>
              <a:round/>
              <a:headEnd type="none" w="med" len="med"/>
              <a:tailEnd type="none" w="med" len="med"/>
            </a:ln>
            <a:effectLst/>
            <a:extLst/>
          </p:spPr>
          <p:txBody>
            <a:bodyPr>
              <a:noAutofit/>
            </a:bodyPr>
            <a:lstStyle/>
            <a:p>
              <a:pPr fontAlgn="auto">
                <a:spcBef>
                  <a:spcPts val="0"/>
                </a:spcBef>
                <a:spcAft>
                  <a:spcPts val="0"/>
                </a:spcAft>
                <a:defRPr/>
              </a:pPr>
              <a:endParaRPr lang="en-CA" kern="0">
                <a:solidFill>
                  <a:sysClr val="windowText" lastClr="000000"/>
                </a:solidFill>
              </a:endParaRPr>
            </a:p>
          </p:txBody>
        </p:sp>
        <p:sp>
          <p:nvSpPr>
            <p:cNvPr id="459" name="Freeform 208"/>
            <p:cNvSpPr>
              <a:spLocks/>
            </p:cNvSpPr>
            <p:nvPr>
              <p:custDataLst>
                <p:tags r:id="rId133"/>
              </p:custDataLst>
            </p:nvPr>
          </p:nvSpPr>
          <p:spPr bwMode="gray">
            <a:xfrm>
              <a:off x="4211327" y="2583715"/>
              <a:ext cx="24320" cy="15392"/>
            </a:xfrm>
            <a:custGeom>
              <a:avLst/>
              <a:gdLst>
                <a:gd name="T0" fmla="*/ 0 w 25"/>
                <a:gd name="T1" fmla="*/ 0 h 17"/>
                <a:gd name="T2" fmla="*/ 15 w 25"/>
                <a:gd name="T3" fmla="*/ 8 h 17"/>
                <a:gd name="T4" fmla="*/ 24 w 25"/>
                <a:gd name="T5" fmla="*/ 16 h 17"/>
                <a:gd name="T6" fmla="*/ 24 w 25"/>
                <a:gd name="T7" fmla="*/ 8 h 17"/>
                <a:gd name="T8" fmla="*/ 0 w 25"/>
                <a:gd name="T9" fmla="*/ 0 h 17"/>
              </a:gdLst>
              <a:ahLst/>
              <a:cxnLst>
                <a:cxn ang="0">
                  <a:pos x="T0" y="T1"/>
                </a:cxn>
                <a:cxn ang="0">
                  <a:pos x="T2" y="T3"/>
                </a:cxn>
                <a:cxn ang="0">
                  <a:pos x="T4" y="T5"/>
                </a:cxn>
                <a:cxn ang="0">
                  <a:pos x="T6" y="T7"/>
                </a:cxn>
                <a:cxn ang="0">
                  <a:pos x="T8" y="T9"/>
                </a:cxn>
              </a:cxnLst>
              <a:rect l="0" t="0" r="r" b="b"/>
              <a:pathLst>
                <a:path w="25" h="17">
                  <a:moveTo>
                    <a:pt x="0" y="0"/>
                  </a:moveTo>
                  <a:lnTo>
                    <a:pt x="15" y="8"/>
                  </a:lnTo>
                  <a:lnTo>
                    <a:pt x="24" y="16"/>
                  </a:lnTo>
                  <a:lnTo>
                    <a:pt x="24" y="8"/>
                  </a:lnTo>
                  <a:lnTo>
                    <a:pt x="0" y="0"/>
                  </a:lnTo>
                </a:path>
              </a:pathLst>
            </a:custGeom>
            <a:solidFill>
              <a:schemeClr val="bg1">
                <a:lumMod val="85000"/>
              </a:schemeClr>
            </a:solidFill>
            <a:ln w="9525" cap="flat" cmpd="sng">
              <a:solidFill>
                <a:schemeClr val="bg1"/>
              </a:solidFill>
              <a:prstDash val="solid"/>
              <a:round/>
              <a:headEnd type="none" w="med" len="med"/>
              <a:tailEnd type="none" w="med" len="med"/>
            </a:ln>
            <a:effectLst/>
            <a:extLst/>
          </p:spPr>
          <p:txBody>
            <a:bodyPr>
              <a:noAutofit/>
            </a:bodyPr>
            <a:lstStyle/>
            <a:p>
              <a:pPr fontAlgn="auto">
                <a:spcBef>
                  <a:spcPts val="0"/>
                </a:spcBef>
                <a:spcAft>
                  <a:spcPts val="0"/>
                </a:spcAft>
                <a:defRPr/>
              </a:pPr>
              <a:endParaRPr lang="en-CA" kern="0">
                <a:solidFill>
                  <a:sysClr val="windowText" lastClr="000000"/>
                </a:solidFill>
              </a:endParaRPr>
            </a:p>
          </p:txBody>
        </p:sp>
        <p:sp>
          <p:nvSpPr>
            <p:cNvPr id="460" name="Freeform 209"/>
            <p:cNvSpPr>
              <a:spLocks/>
            </p:cNvSpPr>
            <p:nvPr>
              <p:custDataLst>
                <p:tags r:id="rId134"/>
              </p:custDataLst>
            </p:nvPr>
          </p:nvSpPr>
          <p:spPr bwMode="gray">
            <a:xfrm>
              <a:off x="4258346" y="2605264"/>
              <a:ext cx="17835" cy="22319"/>
            </a:xfrm>
            <a:custGeom>
              <a:avLst/>
              <a:gdLst>
                <a:gd name="T0" fmla="*/ 0 w 18"/>
                <a:gd name="T1" fmla="*/ 0 h 25"/>
                <a:gd name="T2" fmla="*/ 8 w 18"/>
                <a:gd name="T3" fmla="*/ 24 h 25"/>
                <a:gd name="T4" fmla="*/ 17 w 18"/>
                <a:gd name="T5" fmla="*/ 16 h 25"/>
                <a:gd name="T6" fmla="*/ 0 w 18"/>
                <a:gd name="T7" fmla="*/ 0 h 25"/>
              </a:gdLst>
              <a:ahLst/>
              <a:cxnLst>
                <a:cxn ang="0">
                  <a:pos x="T0" y="T1"/>
                </a:cxn>
                <a:cxn ang="0">
                  <a:pos x="T2" y="T3"/>
                </a:cxn>
                <a:cxn ang="0">
                  <a:pos x="T4" y="T5"/>
                </a:cxn>
                <a:cxn ang="0">
                  <a:pos x="T6" y="T7"/>
                </a:cxn>
              </a:cxnLst>
              <a:rect l="0" t="0" r="r" b="b"/>
              <a:pathLst>
                <a:path w="18" h="25">
                  <a:moveTo>
                    <a:pt x="0" y="0"/>
                  </a:moveTo>
                  <a:lnTo>
                    <a:pt x="8" y="24"/>
                  </a:lnTo>
                  <a:lnTo>
                    <a:pt x="17" y="16"/>
                  </a:lnTo>
                  <a:lnTo>
                    <a:pt x="0" y="0"/>
                  </a:lnTo>
                </a:path>
              </a:pathLst>
            </a:custGeom>
            <a:solidFill>
              <a:schemeClr val="bg1">
                <a:lumMod val="85000"/>
              </a:schemeClr>
            </a:solidFill>
            <a:ln w="9525" cap="flat" cmpd="sng">
              <a:solidFill>
                <a:schemeClr val="bg1"/>
              </a:solidFill>
              <a:prstDash val="solid"/>
              <a:round/>
              <a:headEnd type="none" w="med" len="med"/>
              <a:tailEnd type="none" w="med" len="med"/>
            </a:ln>
            <a:effectLst/>
            <a:extLst/>
          </p:spPr>
          <p:txBody>
            <a:bodyPr>
              <a:noAutofit/>
            </a:bodyPr>
            <a:lstStyle/>
            <a:p>
              <a:pPr fontAlgn="auto">
                <a:spcBef>
                  <a:spcPts val="0"/>
                </a:spcBef>
                <a:spcAft>
                  <a:spcPts val="0"/>
                </a:spcAft>
                <a:defRPr/>
              </a:pPr>
              <a:endParaRPr lang="en-CA" kern="0">
                <a:solidFill>
                  <a:sysClr val="windowText" lastClr="000000"/>
                </a:solidFill>
              </a:endParaRPr>
            </a:p>
          </p:txBody>
        </p:sp>
        <p:sp>
          <p:nvSpPr>
            <p:cNvPr id="461" name="Freeform 210"/>
            <p:cNvSpPr>
              <a:spLocks/>
            </p:cNvSpPr>
            <p:nvPr>
              <p:custDataLst>
                <p:tags r:id="rId135"/>
              </p:custDataLst>
            </p:nvPr>
          </p:nvSpPr>
          <p:spPr bwMode="gray">
            <a:xfrm>
              <a:off x="4313472" y="2648361"/>
              <a:ext cx="16214" cy="15392"/>
            </a:xfrm>
            <a:custGeom>
              <a:avLst/>
              <a:gdLst>
                <a:gd name="T0" fmla="*/ 0 w 17"/>
                <a:gd name="T1" fmla="*/ 0 h 17"/>
                <a:gd name="T2" fmla="*/ 0 w 17"/>
                <a:gd name="T3" fmla="*/ 16 h 17"/>
                <a:gd name="T4" fmla="*/ 16 w 17"/>
                <a:gd name="T5" fmla="*/ 16 h 17"/>
                <a:gd name="T6" fmla="*/ 0 w 17"/>
                <a:gd name="T7" fmla="*/ 0 h 17"/>
              </a:gdLst>
              <a:ahLst/>
              <a:cxnLst>
                <a:cxn ang="0">
                  <a:pos x="T0" y="T1"/>
                </a:cxn>
                <a:cxn ang="0">
                  <a:pos x="T2" y="T3"/>
                </a:cxn>
                <a:cxn ang="0">
                  <a:pos x="T4" y="T5"/>
                </a:cxn>
                <a:cxn ang="0">
                  <a:pos x="T6" y="T7"/>
                </a:cxn>
              </a:cxnLst>
              <a:rect l="0" t="0" r="r" b="b"/>
              <a:pathLst>
                <a:path w="17" h="17">
                  <a:moveTo>
                    <a:pt x="0" y="0"/>
                  </a:moveTo>
                  <a:lnTo>
                    <a:pt x="0" y="16"/>
                  </a:lnTo>
                  <a:lnTo>
                    <a:pt x="16" y="16"/>
                  </a:lnTo>
                  <a:lnTo>
                    <a:pt x="0" y="0"/>
                  </a:lnTo>
                </a:path>
              </a:pathLst>
            </a:custGeom>
            <a:solidFill>
              <a:schemeClr val="bg1">
                <a:lumMod val="85000"/>
              </a:schemeClr>
            </a:solidFill>
            <a:ln w="9525" cap="flat" cmpd="sng">
              <a:solidFill>
                <a:schemeClr val="bg1"/>
              </a:solidFill>
              <a:prstDash val="solid"/>
              <a:round/>
              <a:headEnd type="none" w="med" len="med"/>
              <a:tailEnd type="none" w="med" len="med"/>
            </a:ln>
            <a:effectLst/>
            <a:extLst/>
          </p:spPr>
          <p:txBody>
            <a:bodyPr>
              <a:noAutofit/>
            </a:bodyPr>
            <a:lstStyle/>
            <a:p>
              <a:pPr fontAlgn="auto">
                <a:spcBef>
                  <a:spcPts val="0"/>
                </a:spcBef>
                <a:spcAft>
                  <a:spcPts val="0"/>
                </a:spcAft>
                <a:defRPr/>
              </a:pPr>
              <a:endParaRPr lang="en-CA" kern="0">
                <a:solidFill>
                  <a:sysClr val="windowText" lastClr="000000"/>
                </a:solidFill>
              </a:endParaRPr>
            </a:p>
          </p:txBody>
        </p:sp>
        <p:sp>
          <p:nvSpPr>
            <p:cNvPr id="462" name="Freeform 213"/>
            <p:cNvSpPr>
              <a:spLocks/>
            </p:cNvSpPr>
            <p:nvPr>
              <p:custDataLst>
                <p:tags r:id="rId136"/>
              </p:custDataLst>
            </p:nvPr>
          </p:nvSpPr>
          <p:spPr bwMode="gray">
            <a:xfrm>
              <a:off x="3578436" y="2461348"/>
              <a:ext cx="237457" cy="66824"/>
            </a:xfrm>
            <a:custGeom>
              <a:avLst/>
              <a:gdLst/>
              <a:ahLst/>
              <a:cxnLst/>
              <a:rect l="l" t="t" r="r" b="b"/>
              <a:pathLst>
                <a:path w="471173" h="137842">
                  <a:moveTo>
                    <a:pt x="406205" y="0"/>
                  </a:moveTo>
                  <a:lnTo>
                    <a:pt x="423398" y="16764"/>
                  </a:lnTo>
                  <a:lnTo>
                    <a:pt x="423398" y="33528"/>
                  </a:lnTo>
                  <a:lnTo>
                    <a:pt x="471173" y="46562"/>
                  </a:lnTo>
                  <a:lnTo>
                    <a:pt x="436787" y="46562"/>
                  </a:lnTo>
                  <a:lnTo>
                    <a:pt x="452053" y="63326"/>
                  </a:lnTo>
                  <a:lnTo>
                    <a:pt x="436787" y="63326"/>
                  </a:lnTo>
                  <a:lnTo>
                    <a:pt x="392841" y="63326"/>
                  </a:lnTo>
                  <a:lnTo>
                    <a:pt x="346993" y="121078"/>
                  </a:lnTo>
                  <a:lnTo>
                    <a:pt x="329800" y="137842"/>
                  </a:lnTo>
                  <a:lnTo>
                    <a:pt x="299218" y="121078"/>
                  </a:lnTo>
                  <a:lnTo>
                    <a:pt x="282025" y="137842"/>
                  </a:lnTo>
                  <a:lnTo>
                    <a:pt x="251468" y="137842"/>
                  </a:lnTo>
                  <a:lnTo>
                    <a:pt x="222813" y="121078"/>
                  </a:lnTo>
                  <a:lnTo>
                    <a:pt x="270563" y="121078"/>
                  </a:lnTo>
                  <a:lnTo>
                    <a:pt x="270563" y="93138"/>
                  </a:lnTo>
                  <a:lnTo>
                    <a:pt x="299218" y="93138"/>
                  </a:lnTo>
                  <a:lnTo>
                    <a:pt x="329800" y="63326"/>
                  </a:lnTo>
                  <a:lnTo>
                    <a:pt x="346993" y="63326"/>
                  </a:lnTo>
                  <a:lnTo>
                    <a:pt x="358455" y="63326"/>
                  </a:lnTo>
                  <a:lnTo>
                    <a:pt x="375648" y="46562"/>
                  </a:lnTo>
                  <a:lnTo>
                    <a:pt x="358455" y="46562"/>
                  </a:lnTo>
                  <a:lnTo>
                    <a:pt x="375648" y="33528"/>
                  </a:lnTo>
                  <a:close/>
                  <a:moveTo>
                    <a:pt x="0" y="0"/>
                  </a:moveTo>
                  <a:lnTo>
                    <a:pt x="17728" y="16764"/>
                  </a:lnTo>
                  <a:lnTo>
                    <a:pt x="35457" y="33528"/>
                  </a:lnTo>
                  <a:lnTo>
                    <a:pt x="47275" y="16764"/>
                  </a:lnTo>
                  <a:lnTo>
                    <a:pt x="84701" y="46562"/>
                  </a:lnTo>
                  <a:lnTo>
                    <a:pt x="84701" y="93138"/>
                  </a:lnTo>
                  <a:lnTo>
                    <a:pt x="96520" y="137842"/>
                  </a:lnTo>
                  <a:lnTo>
                    <a:pt x="84701" y="137842"/>
                  </a:lnTo>
                  <a:lnTo>
                    <a:pt x="35457" y="93138"/>
                  </a:lnTo>
                  <a:lnTo>
                    <a:pt x="0" y="63326"/>
                  </a:lnTo>
                  <a:lnTo>
                    <a:pt x="0" y="16764"/>
                  </a:lnTo>
                  <a:close/>
                </a:path>
              </a:pathLst>
            </a:custGeom>
            <a:solidFill>
              <a:schemeClr val="accent1"/>
            </a:solidFill>
            <a:ln w="9525" cap="flat" cmpd="sng">
              <a:solidFill>
                <a:schemeClr val="bg1"/>
              </a:solidFill>
              <a:prstDash val="solid"/>
              <a:round/>
              <a:headEnd type="none" w="med" len="med"/>
              <a:tailEnd type="none" w="med" len="med"/>
            </a:ln>
            <a:effectLst/>
            <a:extLst/>
          </p:spPr>
          <p:txBody>
            <a:bodyPr>
              <a:noAutofit/>
            </a:bodyPr>
            <a:lstStyle/>
            <a:p>
              <a:pPr fontAlgn="auto">
                <a:spcBef>
                  <a:spcPts val="0"/>
                </a:spcBef>
                <a:spcAft>
                  <a:spcPts val="0"/>
                </a:spcAft>
                <a:defRPr/>
              </a:pPr>
              <a:endParaRPr lang="en-CA" kern="0">
                <a:solidFill>
                  <a:sysClr val="windowText" lastClr="000000"/>
                </a:solidFill>
              </a:endParaRPr>
            </a:p>
          </p:txBody>
        </p:sp>
        <p:sp>
          <p:nvSpPr>
            <p:cNvPr id="463" name="Freeform 215"/>
            <p:cNvSpPr>
              <a:spLocks/>
            </p:cNvSpPr>
            <p:nvPr>
              <p:custDataLst>
                <p:tags r:id="rId137"/>
              </p:custDataLst>
            </p:nvPr>
          </p:nvSpPr>
          <p:spPr bwMode="gray">
            <a:xfrm>
              <a:off x="3745246" y="2483666"/>
              <a:ext cx="24410" cy="15392"/>
            </a:xfrm>
            <a:custGeom>
              <a:avLst/>
              <a:gdLst>
                <a:gd name="T0" fmla="*/ 0 w 25"/>
                <a:gd name="T1" fmla="*/ 16 h 17"/>
                <a:gd name="T2" fmla="*/ 9 w 25"/>
                <a:gd name="T3" fmla="*/ 16 h 17"/>
                <a:gd name="T4" fmla="*/ 15 w 25"/>
                <a:gd name="T5" fmla="*/ 16 h 17"/>
                <a:gd name="T6" fmla="*/ 24 w 25"/>
                <a:gd name="T7" fmla="*/ 0 h 17"/>
                <a:gd name="T8" fmla="*/ 15 w 25"/>
                <a:gd name="T9" fmla="*/ 0 h 17"/>
                <a:gd name="T10" fmla="*/ 0 w 25"/>
                <a:gd name="T11" fmla="*/ 16 h 17"/>
              </a:gdLst>
              <a:ahLst/>
              <a:cxnLst>
                <a:cxn ang="0">
                  <a:pos x="T0" y="T1"/>
                </a:cxn>
                <a:cxn ang="0">
                  <a:pos x="T2" y="T3"/>
                </a:cxn>
                <a:cxn ang="0">
                  <a:pos x="T4" y="T5"/>
                </a:cxn>
                <a:cxn ang="0">
                  <a:pos x="T6" y="T7"/>
                </a:cxn>
                <a:cxn ang="0">
                  <a:pos x="T8" y="T9"/>
                </a:cxn>
                <a:cxn ang="0">
                  <a:pos x="T10" y="T11"/>
                </a:cxn>
              </a:cxnLst>
              <a:rect l="0" t="0" r="r" b="b"/>
              <a:pathLst>
                <a:path w="25" h="17">
                  <a:moveTo>
                    <a:pt x="0" y="16"/>
                  </a:moveTo>
                  <a:lnTo>
                    <a:pt x="9" y="16"/>
                  </a:lnTo>
                  <a:lnTo>
                    <a:pt x="15" y="16"/>
                  </a:lnTo>
                  <a:lnTo>
                    <a:pt x="24" y="0"/>
                  </a:lnTo>
                  <a:lnTo>
                    <a:pt x="15" y="0"/>
                  </a:lnTo>
                  <a:lnTo>
                    <a:pt x="0" y="16"/>
                  </a:lnTo>
                </a:path>
              </a:pathLst>
            </a:custGeom>
            <a:solidFill>
              <a:schemeClr val="bg1">
                <a:lumMod val="85000"/>
              </a:schemeClr>
            </a:solidFill>
            <a:ln w="9525" cap="flat" cmpd="sng">
              <a:solidFill>
                <a:schemeClr val="bg1"/>
              </a:solidFill>
              <a:prstDash val="solid"/>
              <a:round/>
              <a:headEnd type="none" w="med" len="med"/>
              <a:tailEnd type="none" w="med" len="med"/>
            </a:ln>
            <a:effectLst/>
            <a:extLst/>
          </p:spPr>
          <p:txBody>
            <a:bodyPr>
              <a:noAutofit/>
            </a:bodyPr>
            <a:lstStyle/>
            <a:p>
              <a:pPr fontAlgn="auto">
                <a:spcBef>
                  <a:spcPts val="0"/>
                </a:spcBef>
                <a:spcAft>
                  <a:spcPts val="0"/>
                </a:spcAft>
                <a:defRPr/>
              </a:pPr>
              <a:endParaRPr lang="en-CA" kern="0">
                <a:solidFill>
                  <a:sysClr val="windowText" lastClr="000000"/>
                </a:solidFill>
              </a:endParaRPr>
            </a:p>
          </p:txBody>
        </p:sp>
        <p:sp>
          <p:nvSpPr>
            <p:cNvPr id="464" name="Oval 216"/>
            <p:cNvSpPr>
              <a:spLocks noChangeArrowheads="1"/>
            </p:cNvSpPr>
            <p:nvPr>
              <p:custDataLst>
                <p:tags r:id="rId138"/>
              </p:custDataLst>
            </p:nvPr>
          </p:nvSpPr>
          <p:spPr bwMode="gray">
            <a:xfrm>
              <a:off x="3612611" y="2513680"/>
              <a:ext cx="13832" cy="13083"/>
            </a:xfrm>
            <a:prstGeom prst="ellipse">
              <a:avLst/>
            </a:prstGeom>
            <a:solidFill>
              <a:schemeClr val="accent1"/>
            </a:solidFill>
            <a:ln w="9525" cap="flat" cmpd="sng">
              <a:solidFill>
                <a:schemeClr val="bg1"/>
              </a:solidFill>
              <a:prstDash val="solid"/>
              <a:round/>
              <a:headEnd type="none" w="med" len="med"/>
              <a:tailEnd type="none" w="med" len="med"/>
            </a:ln>
            <a:effectLst/>
            <a:extLst/>
          </p:spPr>
          <p:txBody>
            <a:bodyPr>
              <a:noAutofit/>
            </a:bodyPr>
            <a:lstStyle/>
            <a:p>
              <a:pPr fontAlgn="auto">
                <a:spcBef>
                  <a:spcPts val="0"/>
                </a:spcBef>
                <a:spcAft>
                  <a:spcPts val="0"/>
                </a:spcAft>
                <a:defRPr/>
              </a:pPr>
              <a:endParaRPr lang="en-CA" kern="0">
                <a:solidFill>
                  <a:sysClr val="windowText" lastClr="000000"/>
                </a:solidFill>
              </a:endParaRPr>
            </a:p>
          </p:txBody>
        </p:sp>
        <p:grpSp>
          <p:nvGrpSpPr>
            <p:cNvPr id="465" name="Group 233"/>
            <p:cNvGrpSpPr>
              <a:grpSpLocks/>
            </p:cNvGrpSpPr>
            <p:nvPr>
              <p:custDataLst>
                <p:tags r:id="rId139"/>
              </p:custDataLst>
            </p:nvPr>
          </p:nvGrpSpPr>
          <p:grpSpPr bwMode="auto">
            <a:xfrm>
              <a:off x="2918391" y="1793333"/>
              <a:ext cx="511234" cy="240115"/>
              <a:chOff x="3419" y="1862"/>
              <a:chExt cx="629" cy="312"/>
            </a:xfrm>
            <a:solidFill>
              <a:schemeClr val="bg1">
                <a:lumMod val="85000"/>
              </a:schemeClr>
            </a:solidFill>
          </p:grpSpPr>
          <p:sp>
            <p:nvSpPr>
              <p:cNvPr id="520" name="Freeform 234"/>
              <p:cNvSpPr>
                <a:spLocks/>
              </p:cNvSpPr>
              <p:nvPr>
                <p:custDataLst>
                  <p:tags r:id="rId188"/>
                </p:custDataLst>
              </p:nvPr>
            </p:nvSpPr>
            <p:spPr bwMode="gray">
              <a:xfrm>
                <a:off x="3692" y="1862"/>
                <a:ext cx="356" cy="312"/>
              </a:xfrm>
              <a:custGeom>
                <a:avLst/>
                <a:gdLst>
                  <a:gd name="T0" fmla="*/ 0 w 356"/>
                  <a:gd name="T1" fmla="*/ 25 h 312"/>
                  <a:gd name="T2" fmla="*/ 75 w 356"/>
                  <a:gd name="T3" fmla="*/ 0 h 312"/>
                  <a:gd name="T4" fmla="*/ 99 w 356"/>
                  <a:gd name="T5" fmla="*/ 27 h 312"/>
                  <a:gd name="T6" fmla="*/ 114 w 356"/>
                  <a:gd name="T7" fmla="*/ 12 h 312"/>
                  <a:gd name="T8" fmla="*/ 154 w 356"/>
                  <a:gd name="T9" fmla="*/ 40 h 312"/>
                  <a:gd name="T10" fmla="*/ 160 w 356"/>
                  <a:gd name="T11" fmla="*/ 42 h 312"/>
                  <a:gd name="T12" fmla="*/ 187 w 356"/>
                  <a:gd name="T13" fmla="*/ 30 h 312"/>
                  <a:gd name="T14" fmla="*/ 191 w 356"/>
                  <a:gd name="T15" fmla="*/ 28 h 312"/>
                  <a:gd name="T16" fmla="*/ 196 w 356"/>
                  <a:gd name="T17" fmla="*/ 42 h 312"/>
                  <a:gd name="T18" fmla="*/ 214 w 356"/>
                  <a:gd name="T19" fmla="*/ 54 h 312"/>
                  <a:gd name="T20" fmla="*/ 226 w 356"/>
                  <a:gd name="T21" fmla="*/ 70 h 312"/>
                  <a:gd name="T22" fmla="*/ 233 w 356"/>
                  <a:gd name="T23" fmla="*/ 85 h 312"/>
                  <a:gd name="T24" fmla="*/ 232 w 356"/>
                  <a:gd name="T25" fmla="*/ 100 h 312"/>
                  <a:gd name="T26" fmla="*/ 236 w 356"/>
                  <a:gd name="T27" fmla="*/ 103 h 312"/>
                  <a:gd name="T28" fmla="*/ 248 w 356"/>
                  <a:gd name="T29" fmla="*/ 108 h 312"/>
                  <a:gd name="T30" fmla="*/ 265 w 356"/>
                  <a:gd name="T31" fmla="*/ 105 h 312"/>
                  <a:gd name="T32" fmla="*/ 277 w 356"/>
                  <a:gd name="T33" fmla="*/ 112 h 312"/>
                  <a:gd name="T34" fmla="*/ 287 w 356"/>
                  <a:gd name="T35" fmla="*/ 108 h 312"/>
                  <a:gd name="T36" fmla="*/ 302 w 356"/>
                  <a:gd name="T37" fmla="*/ 114 h 312"/>
                  <a:gd name="T38" fmla="*/ 320 w 356"/>
                  <a:gd name="T39" fmla="*/ 130 h 312"/>
                  <a:gd name="T40" fmla="*/ 353 w 356"/>
                  <a:gd name="T41" fmla="*/ 138 h 312"/>
                  <a:gd name="T42" fmla="*/ 340 w 356"/>
                  <a:gd name="T43" fmla="*/ 152 h 312"/>
                  <a:gd name="T44" fmla="*/ 329 w 356"/>
                  <a:gd name="T45" fmla="*/ 157 h 312"/>
                  <a:gd name="T46" fmla="*/ 328 w 356"/>
                  <a:gd name="T47" fmla="*/ 175 h 312"/>
                  <a:gd name="T48" fmla="*/ 323 w 356"/>
                  <a:gd name="T49" fmla="*/ 195 h 312"/>
                  <a:gd name="T50" fmla="*/ 319 w 356"/>
                  <a:gd name="T51" fmla="*/ 192 h 312"/>
                  <a:gd name="T52" fmla="*/ 305 w 356"/>
                  <a:gd name="T53" fmla="*/ 183 h 312"/>
                  <a:gd name="T54" fmla="*/ 281 w 356"/>
                  <a:gd name="T55" fmla="*/ 195 h 312"/>
                  <a:gd name="T56" fmla="*/ 274 w 356"/>
                  <a:gd name="T57" fmla="*/ 214 h 312"/>
                  <a:gd name="T58" fmla="*/ 278 w 356"/>
                  <a:gd name="T59" fmla="*/ 234 h 312"/>
                  <a:gd name="T60" fmla="*/ 268 w 356"/>
                  <a:gd name="T61" fmla="*/ 226 h 312"/>
                  <a:gd name="T62" fmla="*/ 241 w 356"/>
                  <a:gd name="T63" fmla="*/ 232 h 312"/>
                  <a:gd name="T64" fmla="*/ 247 w 356"/>
                  <a:gd name="T65" fmla="*/ 261 h 312"/>
                  <a:gd name="T66" fmla="*/ 245 w 356"/>
                  <a:gd name="T67" fmla="*/ 274 h 312"/>
                  <a:gd name="T68" fmla="*/ 254 w 356"/>
                  <a:gd name="T69" fmla="*/ 283 h 312"/>
                  <a:gd name="T70" fmla="*/ 242 w 356"/>
                  <a:gd name="T71" fmla="*/ 287 h 312"/>
                  <a:gd name="T72" fmla="*/ 196 w 356"/>
                  <a:gd name="T73" fmla="*/ 309 h 312"/>
                  <a:gd name="T74" fmla="*/ 208 w 356"/>
                  <a:gd name="T75" fmla="*/ 282 h 312"/>
                  <a:gd name="T76" fmla="*/ 172 w 356"/>
                  <a:gd name="T77" fmla="*/ 279 h 312"/>
                  <a:gd name="T78" fmla="*/ 144 w 356"/>
                  <a:gd name="T79" fmla="*/ 270 h 312"/>
                  <a:gd name="T80" fmla="*/ 124 w 356"/>
                  <a:gd name="T81" fmla="*/ 283 h 312"/>
                  <a:gd name="T82" fmla="*/ 109 w 356"/>
                  <a:gd name="T83" fmla="*/ 279 h 312"/>
                  <a:gd name="T84" fmla="*/ 79 w 356"/>
                  <a:gd name="T85" fmla="*/ 292 h 312"/>
                  <a:gd name="T86" fmla="*/ 51 w 356"/>
                  <a:gd name="T87" fmla="*/ 312 h 3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56" h="312">
                    <a:moveTo>
                      <a:pt x="0" y="25"/>
                    </a:moveTo>
                    <a:cubicBezTo>
                      <a:pt x="10" y="28"/>
                      <a:pt x="59" y="0"/>
                      <a:pt x="75" y="0"/>
                    </a:cubicBezTo>
                    <a:cubicBezTo>
                      <a:pt x="91" y="0"/>
                      <a:pt x="92" y="25"/>
                      <a:pt x="99" y="27"/>
                    </a:cubicBezTo>
                    <a:cubicBezTo>
                      <a:pt x="106" y="29"/>
                      <a:pt x="105" y="10"/>
                      <a:pt x="114" y="12"/>
                    </a:cubicBezTo>
                    <a:cubicBezTo>
                      <a:pt x="123" y="14"/>
                      <a:pt x="146" y="35"/>
                      <a:pt x="154" y="40"/>
                    </a:cubicBezTo>
                    <a:cubicBezTo>
                      <a:pt x="162" y="45"/>
                      <a:pt x="155" y="44"/>
                      <a:pt x="160" y="42"/>
                    </a:cubicBezTo>
                    <a:cubicBezTo>
                      <a:pt x="166" y="32"/>
                      <a:pt x="176" y="31"/>
                      <a:pt x="187" y="30"/>
                    </a:cubicBezTo>
                    <a:cubicBezTo>
                      <a:pt x="188" y="29"/>
                      <a:pt x="190" y="27"/>
                      <a:pt x="191" y="28"/>
                    </a:cubicBezTo>
                    <a:cubicBezTo>
                      <a:pt x="194" y="29"/>
                      <a:pt x="195" y="41"/>
                      <a:pt x="196" y="42"/>
                    </a:cubicBezTo>
                    <a:cubicBezTo>
                      <a:pt x="198" y="46"/>
                      <a:pt x="210" y="52"/>
                      <a:pt x="214" y="54"/>
                    </a:cubicBezTo>
                    <a:cubicBezTo>
                      <a:pt x="218" y="60"/>
                      <a:pt x="222" y="64"/>
                      <a:pt x="226" y="70"/>
                    </a:cubicBezTo>
                    <a:cubicBezTo>
                      <a:pt x="228" y="76"/>
                      <a:pt x="232" y="80"/>
                      <a:pt x="233" y="85"/>
                    </a:cubicBezTo>
                    <a:cubicBezTo>
                      <a:pt x="234" y="90"/>
                      <a:pt x="231" y="97"/>
                      <a:pt x="232" y="100"/>
                    </a:cubicBezTo>
                    <a:cubicBezTo>
                      <a:pt x="233" y="106"/>
                      <a:pt x="233" y="102"/>
                      <a:pt x="236" y="103"/>
                    </a:cubicBezTo>
                    <a:cubicBezTo>
                      <a:pt x="239" y="104"/>
                      <a:pt x="243" y="108"/>
                      <a:pt x="248" y="108"/>
                    </a:cubicBezTo>
                    <a:cubicBezTo>
                      <a:pt x="254" y="104"/>
                      <a:pt x="258" y="106"/>
                      <a:pt x="265" y="105"/>
                    </a:cubicBezTo>
                    <a:cubicBezTo>
                      <a:pt x="269" y="110"/>
                      <a:pt x="271" y="111"/>
                      <a:pt x="277" y="112"/>
                    </a:cubicBezTo>
                    <a:cubicBezTo>
                      <a:pt x="281" y="111"/>
                      <a:pt x="283" y="108"/>
                      <a:pt x="287" y="108"/>
                    </a:cubicBezTo>
                    <a:cubicBezTo>
                      <a:pt x="291" y="108"/>
                      <a:pt x="299" y="111"/>
                      <a:pt x="302" y="114"/>
                    </a:cubicBezTo>
                    <a:cubicBezTo>
                      <a:pt x="306" y="120"/>
                      <a:pt x="314" y="127"/>
                      <a:pt x="320" y="130"/>
                    </a:cubicBezTo>
                    <a:cubicBezTo>
                      <a:pt x="329" y="141"/>
                      <a:pt x="338" y="136"/>
                      <a:pt x="353" y="138"/>
                    </a:cubicBezTo>
                    <a:cubicBezTo>
                      <a:pt x="356" y="142"/>
                      <a:pt x="344" y="149"/>
                      <a:pt x="340" y="152"/>
                    </a:cubicBezTo>
                    <a:cubicBezTo>
                      <a:pt x="336" y="155"/>
                      <a:pt x="331" y="153"/>
                      <a:pt x="329" y="157"/>
                    </a:cubicBezTo>
                    <a:cubicBezTo>
                      <a:pt x="325" y="162"/>
                      <a:pt x="329" y="169"/>
                      <a:pt x="328" y="175"/>
                    </a:cubicBezTo>
                    <a:cubicBezTo>
                      <a:pt x="327" y="181"/>
                      <a:pt x="324" y="192"/>
                      <a:pt x="323" y="195"/>
                    </a:cubicBezTo>
                    <a:cubicBezTo>
                      <a:pt x="323" y="197"/>
                      <a:pt x="320" y="193"/>
                      <a:pt x="319" y="192"/>
                    </a:cubicBezTo>
                    <a:cubicBezTo>
                      <a:pt x="314" y="189"/>
                      <a:pt x="310" y="186"/>
                      <a:pt x="305" y="183"/>
                    </a:cubicBezTo>
                    <a:cubicBezTo>
                      <a:pt x="287" y="186"/>
                      <a:pt x="286" y="182"/>
                      <a:pt x="281" y="195"/>
                    </a:cubicBezTo>
                    <a:cubicBezTo>
                      <a:pt x="277" y="200"/>
                      <a:pt x="275" y="207"/>
                      <a:pt x="274" y="214"/>
                    </a:cubicBezTo>
                    <a:cubicBezTo>
                      <a:pt x="274" y="220"/>
                      <a:pt x="279" y="232"/>
                      <a:pt x="278" y="234"/>
                    </a:cubicBezTo>
                    <a:cubicBezTo>
                      <a:pt x="274" y="230"/>
                      <a:pt x="273" y="229"/>
                      <a:pt x="268" y="226"/>
                    </a:cubicBezTo>
                    <a:cubicBezTo>
                      <a:pt x="263" y="226"/>
                      <a:pt x="244" y="226"/>
                      <a:pt x="241" y="232"/>
                    </a:cubicBezTo>
                    <a:cubicBezTo>
                      <a:pt x="238" y="238"/>
                      <a:pt x="246" y="254"/>
                      <a:pt x="247" y="261"/>
                    </a:cubicBezTo>
                    <a:cubicBezTo>
                      <a:pt x="246" y="265"/>
                      <a:pt x="244" y="270"/>
                      <a:pt x="245" y="274"/>
                    </a:cubicBezTo>
                    <a:cubicBezTo>
                      <a:pt x="246" y="278"/>
                      <a:pt x="254" y="283"/>
                      <a:pt x="254" y="283"/>
                    </a:cubicBezTo>
                    <a:cubicBezTo>
                      <a:pt x="254" y="285"/>
                      <a:pt x="248" y="284"/>
                      <a:pt x="242" y="287"/>
                    </a:cubicBezTo>
                    <a:cubicBezTo>
                      <a:pt x="232" y="291"/>
                      <a:pt x="202" y="310"/>
                      <a:pt x="196" y="309"/>
                    </a:cubicBezTo>
                    <a:cubicBezTo>
                      <a:pt x="190" y="308"/>
                      <a:pt x="212" y="287"/>
                      <a:pt x="208" y="282"/>
                    </a:cubicBezTo>
                    <a:cubicBezTo>
                      <a:pt x="204" y="277"/>
                      <a:pt x="183" y="281"/>
                      <a:pt x="172" y="279"/>
                    </a:cubicBezTo>
                    <a:cubicBezTo>
                      <a:pt x="161" y="277"/>
                      <a:pt x="152" y="269"/>
                      <a:pt x="144" y="270"/>
                    </a:cubicBezTo>
                    <a:cubicBezTo>
                      <a:pt x="136" y="271"/>
                      <a:pt x="130" y="282"/>
                      <a:pt x="124" y="283"/>
                    </a:cubicBezTo>
                    <a:cubicBezTo>
                      <a:pt x="118" y="284"/>
                      <a:pt x="116" y="278"/>
                      <a:pt x="109" y="279"/>
                    </a:cubicBezTo>
                    <a:cubicBezTo>
                      <a:pt x="102" y="280"/>
                      <a:pt x="89" y="287"/>
                      <a:pt x="79" y="292"/>
                    </a:cubicBezTo>
                    <a:cubicBezTo>
                      <a:pt x="69" y="297"/>
                      <a:pt x="57" y="308"/>
                      <a:pt x="51" y="312"/>
                    </a:cubicBezTo>
                  </a:path>
                </a:pathLst>
              </a:custGeom>
              <a:grp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oAutofit/>
              </a:bodyPr>
              <a:lstStyle/>
              <a:p>
                <a:pPr fontAlgn="auto">
                  <a:spcBef>
                    <a:spcPts val="0"/>
                  </a:spcBef>
                  <a:spcAft>
                    <a:spcPts val="0"/>
                  </a:spcAft>
                  <a:defRPr/>
                </a:pPr>
                <a:endParaRPr lang="en-CA" kern="0">
                  <a:solidFill>
                    <a:sysClr val="windowText" lastClr="000000"/>
                  </a:solidFill>
                </a:endParaRPr>
              </a:p>
            </p:txBody>
          </p:sp>
          <p:sp>
            <p:nvSpPr>
              <p:cNvPr id="521" name="Freeform 235"/>
              <p:cNvSpPr>
                <a:spLocks/>
              </p:cNvSpPr>
              <p:nvPr>
                <p:custDataLst>
                  <p:tags r:id="rId189"/>
                </p:custDataLst>
              </p:nvPr>
            </p:nvSpPr>
            <p:spPr bwMode="gray">
              <a:xfrm>
                <a:off x="3419" y="1864"/>
                <a:ext cx="339" cy="308"/>
              </a:xfrm>
              <a:custGeom>
                <a:avLst/>
                <a:gdLst>
                  <a:gd name="T0" fmla="*/ 339 w 339"/>
                  <a:gd name="T1" fmla="*/ 0 h 308"/>
                  <a:gd name="T2" fmla="*/ 273 w 339"/>
                  <a:gd name="T3" fmla="*/ 23 h 308"/>
                  <a:gd name="T4" fmla="*/ 252 w 339"/>
                  <a:gd name="T5" fmla="*/ 31 h 308"/>
                  <a:gd name="T6" fmla="*/ 233 w 339"/>
                  <a:gd name="T7" fmla="*/ 34 h 308"/>
                  <a:gd name="T8" fmla="*/ 226 w 339"/>
                  <a:gd name="T9" fmla="*/ 55 h 308"/>
                  <a:gd name="T10" fmla="*/ 216 w 339"/>
                  <a:gd name="T11" fmla="*/ 74 h 308"/>
                  <a:gd name="T12" fmla="*/ 221 w 339"/>
                  <a:gd name="T13" fmla="*/ 92 h 308"/>
                  <a:gd name="T14" fmla="*/ 228 w 339"/>
                  <a:gd name="T15" fmla="*/ 103 h 308"/>
                  <a:gd name="T16" fmla="*/ 221 w 339"/>
                  <a:gd name="T17" fmla="*/ 112 h 308"/>
                  <a:gd name="T18" fmla="*/ 194 w 339"/>
                  <a:gd name="T19" fmla="*/ 109 h 308"/>
                  <a:gd name="T20" fmla="*/ 180 w 339"/>
                  <a:gd name="T21" fmla="*/ 101 h 308"/>
                  <a:gd name="T22" fmla="*/ 164 w 339"/>
                  <a:gd name="T23" fmla="*/ 100 h 308"/>
                  <a:gd name="T24" fmla="*/ 147 w 339"/>
                  <a:gd name="T25" fmla="*/ 110 h 308"/>
                  <a:gd name="T26" fmla="*/ 101 w 339"/>
                  <a:gd name="T27" fmla="*/ 86 h 308"/>
                  <a:gd name="T28" fmla="*/ 66 w 339"/>
                  <a:gd name="T29" fmla="*/ 88 h 308"/>
                  <a:gd name="T30" fmla="*/ 54 w 339"/>
                  <a:gd name="T31" fmla="*/ 97 h 308"/>
                  <a:gd name="T32" fmla="*/ 36 w 339"/>
                  <a:gd name="T33" fmla="*/ 116 h 308"/>
                  <a:gd name="T34" fmla="*/ 23 w 339"/>
                  <a:gd name="T35" fmla="*/ 118 h 308"/>
                  <a:gd name="T36" fmla="*/ 12 w 339"/>
                  <a:gd name="T37" fmla="*/ 142 h 308"/>
                  <a:gd name="T38" fmla="*/ 5 w 339"/>
                  <a:gd name="T39" fmla="*/ 155 h 308"/>
                  <a:gd name="T40" fmla="*/ 12 w 339"/>
                  <a:gd name="T41" fmla="*/ 173 h 308"/>
                  <a:gd name="T42" fmla="*/ 26 w 339"/>
                  <a:gd name="T43" fmla="*/ 181 h 308"/>
                  <a:gd name="T44" fmla="*/ 41 w 339"/>
                  <a:gd name="T45" fmla="*/ 202 h 308"/>
                  <a:gd name="T46" fmla="*/ 47 w 339"/>
                  <a:gd name="T47" fmla="*/ 211 h 308"/>
                  <a:gd name="T48" fmla="*/ 48 w 339"/>
                  <a:gd name="T49" fmla="*/ 206 h 308"/>
                  <a:gd name="T50" fmla="*/ 57 w 339"/>
                  <a:gd name="T51" fmla="*/ 200 h 308"/>
                  <a:gd name="T52" fmla="*/ 89 w 339"/>
                  <a:gd name="T53" fmla="*/ 197 h 308"/>
                  <a:gd name="T54" fmla="*/ 108 w 339"/>
                  <a:gd name="T55" fmla="*/ 211 h 308"/>
                  <a:gd name="T56" fmla="*/ 108 w 339"/>
                  <a:gd name="T57" fmla="*/ 221 h 308"/>
                  <a:gd name="T58" fmla="*/ 125 w 339"/>
                  <a:gd name="T59" fmla="*/ 227 h 308"/>
                  <a:gd name="T60" fmla="*/ 113 w 339"/>
                  <a:gd name="T61" fmla="*/ 247 h 308"/>
                  <a:gd name="T62" fmla="*/ 99 w 339"/>
                  <a:gd name="T63" fmla="*/ 233 h 308"/>
                  <a:gd name="T64" fmla="*/ 87 w 339"/>
                  <a:gd name="T65" fmla="*/ 238 h 308"/>
                  <a:gd name="T66" fmla="*/ 74 w 339"/>
                  <a:gd name="T67" fmla="*/ 248 h 308"/>
                  <a:gd name="T68" fmla="*/ 77 w 339"/>
                  <a:gd name="T69" fmla="*/ 265 h 308"/>
                  <a:gd name="T70" fmla="*/ 87 w 339"/>
                  <a:gd name="T71" fmla="*/ 279 h 308"/>
                  <a:gd name="T72" fmla="*/ 102 w 339"/>
                  <a:gd name="T73" fmla="*/ 295 h 308"/>
                  <a:gd name="T74" fmla="*/ 134 w 339"/>
                  <a:gd name="T75" fmla="*/ 293 h 308"/>
                  <a:gd name="T76" fmla="*/ 152 w 339"/>
                  <a:gd name="T77" fmla="*/ 302 h 308"/>
                  <a:gd name="T78" fmla="*/ 153 w 339"/>
                  <a:gd name="T79" fmla="*/ 242 h 308"/>
                  <a:gd name="T80" fmla="*/ 170 w 339"/>
                  <a:gd name="T81" fmla="*/ 235 h 308"/>
                  <a:gd name="T82" fmla="*/ 188 w 339"/>
                  <a:gd name="T83" fmla="*/ 226 h 308"/>
                  <a:gd name="T84" fmla="*/ 206 w 339"/>
                  <a:gd name="T85" fmla="*/ 230 h 308"/>
                  <a:gd name="T86" fmla="*/ 230 w 339"/>
                  <a:gd name="T87" fmla="*/ 253 h 308"/>
                  <a:gd name="T88" fmla="*/ 254 w 339"/>
                  <a:gd name="T89" fmla="*/ 269 h 308"/>
                  <a:gd name="T90" fmla="*/ 287 w 339"/>
                  <a:gd name="T91" fmla="*/ 269 h 308"/>
                  <a:gd name="T92" fmla="*/ 303 w 339"/>
                  <a:gd name="T93" fmla="*/ 287 h 308"/>
                  <a:gd name="T94" fmla="*/ 321 w 339"/>
                  <a:gd name="T95" fmla="*/ 308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39" h="308">
                    <a:moveTo>
                      <a:pt x="339" y="0"/>
                    </a:moveTo>
                    <a:cubicBezTo>
                      <a:pt x="328" y="3"/>
                      <a:pt x="287" y="18"/>
                      <a:pt x="273" y="23"/>
                    </a:cubicBezTo>
                    <a:cubicBezTo>
                      <a:pt x="262" y="26"/>
                      <a:pt x="259" y="29"/>
                      <a:pt x="252" y="31"/>
                    </a:cubicBezTo>
                    <a:cubicBezTo>
                      <a:pt x="245" y="33"/>
                      <a:pt x="237" y="30"/>
                      <a:pt x="233" y="34"/>
                    </a:cubicBezTo>
                    <a:cubicBezTo>
                      <a:pt x="225" y="39"/>
                      <a:pt x="229" y="48"/>
                      <a:pt x="226" y="55"/>
                    </a:cubicBezTo>
                    <a:cubicBezTo>
                      <a:pt x="223" y="62"/>
                      <a:pt x="217" y="68"/>
                      <a:pt x="216" y="74"/>
                    </a:cubicBezTo>
                    <a:cubicBezTo>
                      <a:pt x="211" y="82"/>
                      <a:pt x="216" y="85"/>
                      <a:pt x="221" y="92"/>
                    </a:cubicBezTo>
                    <a:cubicBezTo>
                      <a:pt x="223" y="101"/>
                      <a:pt x="226" y="94"/>
                      <a:pt x="228" y="103"/>
                    </a:cubicBezTo>
                    <a:cubicBezTo>
                      <a:pt x="227" y="105"/>
                      <a:pt x="225" y="112"/>
                      <a:pt x="221" y="112"/>
                    </a:cubicBezTo>
                    <a:cubicBezTo>
                      <a:pt x="212" y="112"/>
                      <a:pt x="194" y="109"/>
                      <a:pt x="194" y="109"/>
                    </a:cubicBezTo>
                    <a:cubicBezTo>
                      <a:pt x="189" y="107"/>
                      <a:pt x="185" y="104"/>
                      <a:pt x="180" y="101"/>
                    </a:cubicBezTo>
                    <a:cubicBezTo>
                      <a:pt x="175" y="100"/>
                      <a:pt x="169" y="99"/>
                      <a:pt x="164" y="100"/>
                    </a:cubicBezTo>
                    <a:cubicBezTo>
                      <a:pt x="159" y="101"/>
                      <a:pt x="157" y="112"/>
                      <a:pt x="147" y="110"/>
                    </a:cubicBezTo>
                    <a:cubicBezTo>
                      <a:pt x="133" y="108"/>
                      <a:pt x="114" y="90"/>
                      <a:pt x="101" y="86"/>
                    </a:cubicBezTo>
                    <a:cubicBezTo>
                      <a:pt x="88" y="82"/>
                      <a:pt x="74" y="86"/>
                      <a:pt x="66" y="88"/>
                    </a:cubicBezTo>
                    <a:cubicBezTo>
                      <a:pt x="62" y="93"/>
                      <a:pt x="59" y="94"/>
                      <a:pt x="54" y="97"/>
                    </a:cubicBezTo>
                    <a:cubicBezTo>
                      <a:pt x="53" y="105"/>
                      <a:pt x="43" y="112"/>
                      <a:pt x="36" y="116"/>
                    </a:cubicBezTo>
                    <a:cubicBezTo>
                      <a:pt x="35" y="127"/>
                      <a:pt x="32" y="122"/>
                      <a:pt x="23" y="118"/>
                    </a:cubicBezTo>
                    <a:cubicBezTo>
                      <a:pt x="17" y="112"/>
                      <a:pt x="18" y="136"/>
                      <a:pt x="12" y="142"/>
                    </a:cubicBezTo>
                    <a:cubicBezTo>
                      <a:pt x="11" y="149"/>
                      <a:pt x="10" y="151"/>
                      <a:pt x="5" y="155"/>
                    </a:cubicBezTo>
                    <a:cubicBezTo>
                      <a:pt x="0" y="164"/>
                      <a:pt x="2" y="172"/>
                      <a:pt x="12" y="173"/>
                    </a:cubicBezTo>
                    <a:cubicBezTo>
                      <a:pt x="17" y="175"/>
                      <a:pt x="21" y="178"/>
                      <a:pt x="26" y="181"/>
                    </a:cubicBezTo>
                    <a:cubicBezTo>
                      <a:pt x="32" y="189"/>
                      <a:pt x="31" y="198"/>
                      <a:pt x="41" y="202"/>
                    </a:cubicBezTo>
                    <a:cubicBezTo>
                      <a:pt x="41" y="204"/>
                      <a:pt x="41" y="213"/>
                      <a:pt x="47" y="211"/>
                    </a:cubicBezTo>
                    <a:cubicBezTo>
                      <a:pt x="49" y="210"/>
                      <a:pt x="47" y="207"/>
                      <a:pt x="48" y="206"/>
                    </a:cubicBezTo>
                    <a:cubicBezTo>
                      <a:pt x="50" y="203"/>
                      <a:pt x="54" y="201"/>
                      <a:pt x="57" y="200"/>
                    </a:cubicBezTo>
                    <a:cubicBezTo>
                      <a:pt x="67" y="196"/>
                      <a:pt x="78" y="198"/>
                      <a:pt x="89" y="197"/>
                    </a:cubicBezTo>
                    <a:cubicBezTo>
                      <a:pt x="103" y="195"/>
                      <a:pt x="102" y="200"/>
                      <a:pt x="108" y="211"/>
                    </a:cubicBezTo>
                    <a:cubicBezTo>
                      <a:pt x="113" y="214"/>
                      <a:pt x="105" y="218"/>
                      <a:pt x="108" y="221"/>
                    </a:cubicBezTo>
                    <a:cubicBezTo>
                      <a:pt x="111" y="224"/>
                      <a:pt x="124" y="223"/>
                      <a:pt x="125" y="227"/>
                    </a:cubicBezTo>
                    <a:cubicBezTo>
                      <a:pt x="123" y="236"/>
                      <a:pt x="121" y="243"/>
                      <a:pt x="113" y="247"/>
                    </a:cubicBezTo>
                    <a:cubicBezTo>
                      <a:pt x="106" y="243"/>
                      <a:pt x="108" y="236"/>
                      <a:pt x="99" y="233"/>
                    </a:cubicBezTo>
                    <a:cubicBezTo>
                      <a:pt x="78" y="238"/>
                      <a:pt x="95" y="228"/>
                      <a:pt x="87" y="238"/>
                    </a:cubicBezTo>
                    <a:cubicBezTo>
                      <a:pt x="85" y="241"/>
                      <a:pt x="74" y="248"/>
                      <a:pt x="74" y="248"/>
                    </a:cubicBezTo>
                    <a:cubicBezTo>
                      <a:pt x="70" y="255"/>
                      <a:pt x="66" y="263"/>
                      <a:pt x="77" y="265"/>
                    </a:cubicBezTo>
                    <a:cubicBezTo>
                      <a:pt x="79" y="270"/>
                      <a:pt x="83" y="274"/>
                      <a:pt x="87" y="279"/>
                    </a:cubicBezTo>
                    <a:cubicBezTo>
                      <a:pt x="91" y="284"/>
                      <a:pt x="94" y="293"/>
                      <a:pt x="102" y="295"/>
                    </a:cubicBezTo>
                    <a:cubicBezTo>
                      <a:pt x="113" y="290"/>
                      <a:pt x="120" y="292"/>
                      <a:pt x="134" y="293"/>
                    </a:cubicBezTo>
                    <a:cubicBezTo>
                      <a:pt x="140" y="296"/>
                      <a:pt x="146" y="298"/>
                      <a:pt x="152" y="302"/>
                    </a:cubicBezTo>
                    <a:cubicBezTo>
                      <a:pt x="156" y="293"/>
                      <a:pt x="150" y="253"/>
                      <a:pt x="153" y="242"/>
                    </a:cubicBezTo>
                    <a:cubicBezTo>
                      <a:pt x="156" y="231"/>
                      <a:pt x="164" y="238"/>
                      <a:pt x="170" y="235"/>
                    </a:cubicBezTo>
                    <a:cubicBezTo>
                      <a:pt x="176" y="231"/>
                      <a:pt x="181" y="227"/>
                      <a:pt x="188" y="226"/>
                    </a:cubicBezTo>
                    <a:cubicBezTo>
                      <a:pt x="194" y="227"/>
                      <a:pt x="200" y="229"/>
                      <a:pt x="206" y="230"/>
                    </a:cubicBezTo>
                    <a:cubicBezTo>
                      <a:pt x="217" y="238"/>
                      <a:pt x="214" y="250"/>
                      <a:pt x="230" y="253"/>
                    </a:cubicBezTo>
                    <a:cubicBezTo>
                      <a:pt x="238" y="258"/>
                      <a:pt x="245" y="267"/>
                      <a:pt x="254" y="269"/>
                    </a:cubicBezTo>
                    <a:cubicBezTo>
                      <a:pt x="263" y="272"/>
                      <a:pt x="279" y="266"/>
                      <a:pt x="287" y="269"/>
                    </a:cubicBezTo>
                    <a:cubicBezTo>
                      <a:pt x="295" y="274"/>
                      <a:pt x="295" y="282"/>
                      <a:pt x="303" y="287"/>
                    </a:cubicBezTo>
                    <a:cubicBezTo>
                      <a:pt x="304" y="300"/>
                      <a:pt x="310" y="301"/>
                      <a:pt x="321" y="308"/>
                    </a:cubicBezTo>
                  </a:path>
                </a:pathLst>
              </a:custGeom>
              <a:grp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oAutofit/>
              </a:bodyPr>
              <a:lstStyle/>
              <a:p>
                <a:pPr fontAlgn="auto">
                  <a:spcBef>
                    <a:spcPts val="0"/>
                  </a:spcBef>
                  <a:spcAft>
                    <a:spcPts val="0"/>
                  </a:spcAft>
                  <a:defRPr/>
                </a:pPr>
                <a:endParaRPr lang="en-CA" kern="0">
                  <a:solidFill>
                    <a:sysClr val="windowText" lastClr="000000"/>
                  </a:solidFill>
                </a:endParaRPr>
              </a:p>
            </p:txBody>
          </p:sp>
        </p:grpSp>
        <p:sp>
          <p:nvSpPr>
            <p:cNvPr id="466" name="Freeform 236"/>
            <p:cNvSpPr>
              <a:spLocks/>
            </p:cNvSpPr>
            <p:nvPr>
              <p:custDataLst>
                <p:tags r:id="rId140"/>
              </p:custDataLst>
            </p:nvPr>
          </p:nvSpPr>
          <p:spPr bwMode="gray">
            <a:xfrm>
              <a:off x="2143941" y="1189964"/>
              <a:ext cx="16000" cy="16162"/>
            </a:xfrm>
            <a:custGeom>
              <a:avLst/>
              <a:gdLst>
                <a:gd name="T0" fmla="*/ 0 w 17"/>
                <a:gd name="T1" fmla="*/ 0 h 18"/>
                <a:gd name="T2" fmla="*/ 0 w 17"/>
                <a:gd name="T3" fmla="*/ 17 h 18"/>
                <a:gd name="T4" fmla="*/ 16 w 17"/>
                <a:gd name="T5" fmla="*/ 17 h 18"/>
                <a:gd name="T6" fmla="*/ 0 w 17"/>
                <a:gd name="T7" fmla="*/ 0 h 18"/>
              </a:gdLst>
              <a:ahLst/>
              <a:cxnLst>
                <a:cxn ang="0">
                  <a:pos x="T0" y="T1"/>
                </a:cxn>
                <a:cxn ang="0">
                  <a:pos x="T2" y="T3"/>
                </a:cxn>
                <a:cxn ang="0">
                  <a:pos x="T4" y="T5"/>
                </a:cxn>
                <a:cxn ang="0">
                  <a:pos x="T6" y="T7"/>
                </a:cxn>
              </a:cxnLst>
              <a:rect l="0" t="0" r="r" b="b"/>
              <a:pathLst>
                <a:path w="17" h="18">
                  <a:moveTo>
                    <a:pt x="0" y="0"/>
                  </a:moveTo>
                  <a:lnTo>
                    <a:pt x="0" y="17"/>
                  </a:lnTo>
                  <a:lnTo>
                    <a:pt x="16" y="17"/>
                  </a:lnTo>
                  <a:lnTo>
                    <a:pt x="0" y="0"/>
                  </a:lnTo>
                </a:path>
              </a:pathLst>
            </a:custGeom>
            <a:solidFill>
              <a:schemeClr val="bg1">
                <a:lumMod val="85000"/>
              </a:schemeClr>
            </a:solidFill>
            <a:ln w="9525" cap="flat" cmpd="sng">
              <a:solidFill>
                <a:schemeClr val="bg1"/>
              </a:solidFill>
              <a:prstDash val="solid"/>
              <a:round/>
              <a:headEnd type="none" w="med" len="med"/>
              <a:tailEnd type="none" w="med" len="med"/>
            </a:ln>
            <a:effectLst/>
            <a:extLst/>
          </p:spPr>
          <p:txBody>
            <a:bodyPr>
              <a:noAutofit/>
            </a:bodyPr>
            <a:lstStyle/>
            <a:p>
              <a:pPr fontAlgn="auto">
                <a:spcBef>
                  <a:spcPts val="0"/>
                </a:spcBef>
                <a:spcAft>
                  <a:spcPts val="0"/>
                </a:spcAft>
                <a:defRPr/>
              </a:pPr>
              <a:endParaRPr lang="en-CA" kern="0">
                <a:solidFill>
                  <a:sysClr val="windowText" lastClr="000000"/>
                </a:solidFill>
              </a:endParaRPr>
            </a:p>
          </p:txBody>
        </p:sp>
        <p:sp>
          <p:nvSpPr>
            <p:cNvPr id="467" name="Freeform 237"/>
            <p:cNvSpPr>
              <a:spLocks/>
            </p:cNvSpPr>
            <p:nvPr>
              <p:custDataLst>
                <p:tags r:id="rId141"/>
              </p:custDataLst>
            </p:nvPr>
          </p:nvSpPr>
          <p:spPr bwMode="gray">
            <a:xfrm>
              <a:off x="2143941" y="1189964"/>
              <a:ext cx="16000" cy="16162"/>
            </a:xfrm>
            <a:custGeom>
              <a:avLst/>
              <a:gdLst>
                <a:gd name="T0" fmla="*/ 0 w 17"/>
                <a:gd name="T1" fmla="*/ 0 h 18"/>
                <a:gd name="T2" fmla="*/ 0 w 17"/>
                <a:gd name="T3" fmla="*/ 17 h 18"/>
                <a:gd name="T4" fmla="*/ 16 w 17"/>
                <a:gd name="T5" fmla="*/ 17 h 18"/>
                <a:gd name="T6" fmla="*/ 0 w 17"/>
                <a:gd name="T7" fmla="*/ 0 h 18"/>
              </a:gdLst>
              <a:ahLst/>
              <a:cxnLst>
                <a:cxn ang="0">
                  <a:pos x="T0" y="T1"/>
                </a:cxn>
                <a:cxn ang="0">
                  <a:pos x="T2" y="T3"/>
                </a:cxn>
                <a:cxn ang="0">
                  <a:pos x="T4" y="T5"/>
                </a:cxn>
                <a:cxn ang="0">
                  <a:pos x="T6" y="T7"/>
                </a:cxn>
              </a:cxnLst>
              <a:rect l="0" t="0" r="r" b="b"/>
              <a:pathLst>
                <a:path w="17" h="18">
                  <a:moveTo>
                    <a:pt x="0" y="0"/>
                  </a:moveTo>
                  <a:lnTo>
                    <a:pt x="0" y="17"/>
                  </a:lnTo>
                  <a:lnTo>
                    <a:pt x="16" y="17"/>
                  </a:lnTo>
                  <a:lnTo>
                    <a:pt x="0" y="0"/>
                  </a:lnTo>
                </a:path>
              </a:pathLst>
            </a:custGeom>
            <a:solidFill>
              <a:schemeClr val="bg1">
                <a:lumMod val="85000"/>
              </a:schemeClr>
            </a:solidFill>
            <a:ln w="9525" cap="flat" cmpd="sng">
              <a:solidFill>
                <a:schemeClr val="bg1"/>
              </a:solidFill>
              <a:prstDash val="solid"/>
              <a:round/>
              <a:headEnd type="none" w="med" len="med"/>
              <a:tailEnd type="none" w="med" len="med"/>
            </a:ln>
            <a:effectLst/>
            <a:extLst/>
          </p:spPr>
          <p:txBody>
            <a:bodyPr>
              <a:noAutofit/>
            </a:bodyPr>
            <a:lstStyle/>
            <a:p>
              <a:pPr fontAlgn="auto">
                <a:spcBef>
                  <a:spcPts val="0"/>
                </a:spcBef>
                <a:spcAft>
                  <a:spcPts val="0"/>
                </a:spcAft>
                <a:defRPr/>
              </a:pPr>
              <a:endParaRPr lang="en-CA" kern="0">
                <a:solidFill>
                  <a:sysClr val="windowText" lastClr="000000"/>
                </a:solidFill>
              </a:endParaRPr>
            </a:p>
          </p:txBody>
        </p:sp>
        <p:sp>
          <p:nvSpPr>
            <p:cNvPr id="468" name="Freeform 311"/>
            <p:cNvSpPr>
              <a:spLocks/>
            </p:cNvSpPr>
            <p:nvPr>
              <p:custDataLst>
                <p:tags r:id="rId142"/>
              </p:custDataLst>
            </p:nvPr>
          </p:nvSpPr>
          <p:spPr bwMode="gray">
            <a:xfrm>
              <a:off x="2065536" y="1517045"/>
              <a:ext cx="137610" cy="86965"/>
            </a:xfrm>
            <a:custGeom>
              <a:avLst/>
              <a:gdLst>
                <a:gd name="T0" fmla="*/ 32 w 169"/>
                <a:gd name="T1" fmla="*/ 1 h 113"/>
                <a:gd name="T2" fmla="*/ 50 w 169"/>
                <a:gd name="T3" fmla="*/ 17 h 113"/>
                <a:gd name="T4" fmla="*/ 60 w 169"/>
                <a:gd name="T5" fmla="*/ 31 h 113"/>
                <a:gd name="T6" fmla="*/ 72 w 169"/>
                <a:gd name="T7" fmla="*/ 25 h 113"/>
                <a:gd name="T8" fmla="*/ 114 w 169"/>
                <a:gd name="T9" fmla="*/ 13 h 113"/>
                <a:gd name="T10" fmla="*/ 152 w 169"/>
                <a:gd name="T11" fmla="*/ 11 h 113"/>
                <a:gd name="T12" fmla="*/ 148 w 169"/>
                <a:gd name="T13" fmla="*/ 23 h 113"/>
                <a:gd name="T14" fmla="*/ 166 w 169"/>
                <a:gd name="T15" fmla="*/ 45 h 113"/>
                <a:gd name="T16" fmla="*/ 158 w 169"/>
                <a:gd name="T17" fmla="*/ 67 h 113"/>
                <a:gd name="T18" fmla="*/ 134 w 169"/>
                <a:gd name="T19" fmla="*/ 87 h 113"/>
                <a:gd name="T20" fmla="*/ 116 w 169"/>
                <a:gd name="T21" fmla="*/ 95 h 113"/>
                <a:gd name="T22" fmla="*/ 112 w 169"/>
                <a:gd name="T23" fmla="*/ 107 h 113"/>
                <a:gd name="T24" fmla="*/ 94 w 169"/>
                <a:gd name="T25" fmla="*/ 113 h 113"/>
                <a:gd name="T26" fmla="*/ 54 w 169"/>
                <a:gd name="T27" fmla="*/ 97 h 113"/>
                <a:gd name="T28" fmla="*/ 24 w 169"/>
                <a:gd name="T29" fmla="*/ 107 h 113"/>
                <a:gd name="T30" fmla="*/ 38 w 169"/>
                <a:gd name="T31" fmla="*/ 85 h 113"/>
                <a:gd name="T32" fmla="*/ 16 w 169"/>
                <a:gd name="T33" fmla="*/ 69 h 113"/>
                <a:gd name="T34" fmla="*/ 2 w 169"/>
                <a:gd name="T35" fmla="*/ 55 h 113"/>
                <a:gd name="T36" fmla="*/ 26 w 169"/>
                <a:gd name="T37" fmla="*/ 53 h 113"/>
                <a:gd name="T38" fmla="*/ 24 w 169"/>
                <a:gd name="T39" fmla="*/ 47 h 113"/>
                <a:gd name="T40" fmla="*/ 0 w 169"/>
                <a:gd name="T41" fmla="*/ 41 h 113"/>
                <a:gd name="T42" fmla="*/ 4 w 169"/>
                <a:gd name="T43" fmla="*/ 29 h 113"/>
                <a:gd name="T44" fmla="*/ 16 w 169"/>
                <a:gd name="T45" fmla="*/ 21 h 113"/>
                <a:gd name="T46" fmla="*/ 28 w 169"/>
                <a:gd name="T47" fmla="*/ 5 h 113"/>
                <a:gd name="T48" fmla="*/ 32 w 169"/>
                <a:gd name="T49" fmla="*/ 1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69" h="113">
                  <a:moveTo>
                    <a:pt x="32" y="1"/>
                  </a:moveTo>
                  <a:cubicBezTo>
                    <a:pt x="35" y="6"/>
                    <a:pt x="45" y="15"/>
                    <a:pt x="50" y="17"/>
                  </a:cubicBezTo>
                  <a:cubicBezTo>
                    <a:pt x="53" y="45"/>
                    <a:pt x="50" y="43"/>
                    <a:pt x="60" y="31"/>
                  </a:cubicBezTo>
                  <a:cubicBezTo>
                    <a:pt x="63" y="27"/>
                    <a:pt x="68" y="26"/>
                    <a:pt x="72" y="25"/>
                  </a:cubicBezTo>
                  <a:cubicBezTo>
                    <a:pt x="81" y="11"/>
                    <a:pt x="99" y="14"/>
                    <a:pt x="114" y="13"/>
                  </a:cubicBezTo>
                  <a:cubicBezTo>
                    <a:pt x="126" y="5"/>
                    <a:pt x="131" y="0"/>
                    <a:pt x="152" y="11"/>
                  </a:cubicBezTo>
                  <a:cubicBezTo>
                    <a:pt x="156" y="13"/>
                    <a:pt x="148" y="23"/>
                    <a:pt x="148" y="23"/>
                  </a:cubicBezTo>
                  <a:cubicBezTo>
                    <a:pt x="157" y="29"/>
                    <a:pt x="158" y="37"/>
                    <a:pt x="166" y="45"/>
                  </a:cubicBezTo>
                  <a:cubicBezTo>
                    <a:pt x="169" y="54"/>
                    <a:pt x="168" y="64"/>
                    <a:pt x="158" y="67"/>
                  </a:cubicBezTo>
                  <a:cubicBezTo>
                    <a:pt x="147" y="84"/>
                    <a:pt x="161" y="84"/>
                    <a:pt x="134" y="87"/>
                  </a:cubicBezTo>
                  <a:cubicBezTo>
                    <a:pt x="127" y="89"/>
                    <a:pt x="123" y="93"/>
                    <a:pt x="116" y="95"/>
                  </a:cubicBezTo>
                  <a:cubicBezTo>
                    <a:pt x="115" y="99"/>
                    <a:pt x="113" y="103"/>
                    <a:pt x="112" y="107"/>
                  </a:cubicBezTo>
                  <a:cubicBezTo>
                    <a:pt x="110" y="113"/>
                    <a:pt x="94" y="113"/>
                    <a:pt x="94" y="113"/>
                  </a:cubicBezTo>
                  <a:cubicBezTo>
                    <a:pt x="77" y="111"/>
                    <a:pt x="69" y="102"/>
                    <a:pt x="54" y="97"/>
                  </a:cubicBezTo>
                  <a:cubicBezTo>
                    <a:pt x="26" y="100"/>
                    <a:pt x="41" y="101"/>
                    <a:pt x="24" y="107"/>
                  </a:cubicBezTo>
                  <a:cubicBezTo>
                    <a:pt x="21" y="98"/>
                    <a:pt x="32" y="93"/>
                    <a:pt x="38" y="85"/>
                  </a:cubicBezTo>
                  <a:cubicBezTo>
                    <a:pt x="28" y="79"/>
                    <a:pt x="29" y="72"/>
                    <a:pt x="16" y="69"/>
                  </a:cubicBezTo>
                  <a:cubicBezTo>
                    <a:pt x="9" y="64"/>
                    <a:pt x="9" y="60"/>
                    <a:pt x="2" y="55"/>
                  </a:cubicBezTo>
                  <a:cubicBezTo>
                    <a:pt x="10" y="54"/>
                    <a:pt x="18" y="56"/>
                    <a:pt x="26" y="53"/>
                  </a:cubicBezTo>
                  <a:cubicBezTo>
                    <a:pt x="28" y="52"/>
                    <a:pt x="26" y="48"/>
                    <a:pt x="24" y="47"/>
                  </a:cubicBezTo>
                  <a:cubicBezTo>
                    <a:pt x="17" y="43"/>
                    <a:pt x="0" y="41"/>
                    <a:pt x="0" y="41"/>
                  </a:cubicBezTo>
                  <a:cubicBezTo>
                    <a:pt x="1" y="37"/>
                    <a:pt x="0" y="31"/>
                    <a:pt x="4" y="29"/>
                  </a:cubicBezTo>
                  <a:cubicBezTo>
                    <a:pt x="8" y="26"/>
                    <a:pt x="16" y="21"/>
                    <a:pt x="16" y="21"/>
                  </a:cubicBezTo>
                  <a:cubicBezTo>
                    <a:pt x="19" y="13"/>
                    <a:pt x="21" y="10"/>
                    <a:pt x="28" y="5"/>
                  </a:cubicBezTo>
                  <a:cubicBezTo>
                    <a:pt x="38" y="8"/>
                    <a:pt x="38" y="9"/>
                    <a:pt x="32" y="1"/>
                  </a:cubicBezTo>
                  <a:close/>
                </a:path>
              </a:pathLst>
            </a:custGeom>
            <a:solidFill>
              <a:schemeClr val="bg1">
                <a:lumMod val="85000"/>
              </a:schemeClr>
            </a:solidFill>
            <a:ln w="9525" cap="flat" cmpd="sng">
              <a:solidFill>
                <a:schemeClr val="bg1"/>
              </a:solidFill>
              <a:prstDash val="solid"/>
              <a:round/>
              <a:headEnd type="none" w="med" len="med"/>
              <a:tailEnd type="none" w="med" len="med"/>
            </a:ln>
            <a:effectLst/>
            <a:extLst/>
          </p:spPr>
          <p:txBody>
            <a:bodyPr>
              <a:noAutofit/>
            </a:bodyPr>
            <a:lstStyle/>
            <a:p>
              <a:pPr fontAlgn="auto">
                <a:spcBef>
                  <a:spcPts val="0"/>
                </a:spcBef>
                <a:spcAft>
                  <a:spcPts val="0"/>
                </a:spcAft>
                <a:defRPr/>
              </a:pPr>
              <a:endParaRPr lang="en-CA" kern="0">
                <a:solidFill>
                  <a:sysClr val="windowText" lastClr="000000"/>
                </a:solidFill>
              </a:endParaRPr>
            </a:p>
          </p:txBody>
        </p:sp>
        <p:sp>
          <p:nvSpPr>
            <p:cNvPr id="469" name="Freeform 312"/>
            <p:cNvSpPr>
              <a:spLocks/>
            </p:cNvSpPr>
            <p:nvPr>
              <p:custDataLst>
                <p:tags r:id="rId143"/>
              </p:custDataLst>
            </p:nvPr>
          </p:nvSpPr>
          <p:spPr bwMode="gray">
            <a:xfrm>
              <a:off x="1531899" y="1129936"/>
              <a:ext cx="610441" cy="552575"/>
            </a:xfrm>
            <a:custGeom>
              <a:avLst/>
              <a:gdLst>
                <a:gd name="T0" fmla="*/ 188 w 763"/>
                <a:gd name="T1" fmla="*/ 119 h 718"/>
                <a:gd name="T2" fmla="*/ 209 w 763"/>
                <a:gd name="T3" fmla="*/ 172 h 718"/>
                <a:gd name="T4" fmla="*/ 210 w 763"/>
                <a:gd name="T5" fmla="*/ 248 h 718"/>
                <a:gd name="T6" fmla="*/ 228 w 763"/>
                <a:gd name="T7" fmla="*/ 287 h 718"/>
                <a:gd name="T8" fmla="*/ 248 w 763"/>
                <a:gd name="T9" fmla="*/ 299 h 718"/>
                <a:gd name="T10" fmla="*/ 276 w 763"/>
                <a:gd name="T11" fmla="*/ 324 h 718"/>
                <a:gd name="T12" fmla="*/ 222 w 763"/>
                <a:gd name="T13" fmla="*/ 332 h 718"/>
                <a:gd name="T14" fmla="*/ 238 w 763"/>
                <a:gd name="T15" fmla="*/ 380 h 718"/>
                <a:gd name="T16" fmla="*/ 276 w 763"/>
                <a:gd name="T17" fmla="*/ 354 h 718"/>
                <a:gd name="T18" fmla="*/ 276 w 763"/>
                <a:gd name="T19" fmla="*/ 410 h 718"/>
                <a:gd name="T20" fmla="*/ 237 w 763"/>
                <a:gd name="T21" fmla="*/ 427 h 718"/>
                <a:gd name="T22" fmla="*/ 256 w 763"/>
                <a:gd name="T23" fmla="*/ 525 h 718"/>
                <a:gd name="T24" fmla="*/ 303 w 763"/>
                <a:gd name="T25" fmla="*/ 669 h 718"/>
                <a:gd name="T26" fmla="*/ 353 w 763"/>
                <a:gd name="T27" fmla="*/ 690 h 718"/>
                <a:gd name="T28" fmla="*/ 392 w 763"/>
                <a:gd name="T29" fmla="*/ 707 h 718"/>
                <a:gd name="T30" fmla="*/ 411 w 763"/>
                <a:gd name="T31" fmla="*/ 629 h 718"/>
                <a:gd name="T32" fmla="*/ 440 w 763"/>
                <a:gd name="T33" fmla="*/ 559 h 718"/>
                <a:gd name="T34" fmla="*/ 442 w 763"/>
                <a:gd name="T35" fmla="*/ 542 h 718"/>
                <a:gd name="T36" fmla="*/ 486 w 763"/>
                <a:gd name="T37" fmla="*/ 525 h 718"/>
                <a:gd name="T38" fmla="*/ 591 w 763"/>
                <a:gd name="T39" fmla="*/ 429 h 718"/>
                <a:gd name="T40" fmla="*/ 698 w 763"/>
                <a:gd name="T41" fmla="*/ 361 h 718"/>
                <a:gd name="T42" fmla="*/ 672 w 763"/>
                <a:gd name="T43" fmla="*/ 337 h 718"/>
                <a:gd name="T44" fmla="*/ 670 w 763"/>
                <a:gd name="T45" fmla="*/ 315 h 718"/>
                <a:gd name="T46" fmla="*/ 679 w 763"/>
                <a:gd name="T47" fmla="*/ 284 h 718"/>
                <a:gd name="T48" fmla="*/ 697 w 763"/>
                <a:gd name="T49" fmla="*/ 337 h 718"/>
                <a:gd name="T50" fmla="*/ 722 w 763"/>
                <a:gd name="T51" fmla="*/ 283 h 718"/>
                <a:gd name="T52" fmla="*/ 720 w 763"/>
                <a:gd name="T53" fmla="*/ 248 h 718"/>
                <a:gd name="T54" fmla="*/ 698 w 763"/>
                <a:gd name="T55" fmla="*/ 200 h 718"/>
                <a:gd name="T56" fmla="*/ 737 w 763"/>
                <a:gd name="T57" fmla="*/ 159 h 718"/>
                <a:gd name="T58" fmla="*/ 756 w 763"/>
                <a:gd name="T59" fmla="*/ 143 h 718"/>
                <a:gd name="T60" fmla="*/ 746 w 763"/>
                <a:gd name="T61" fmla="*/ 112 h 718"/>
                <a:gd name="T62" fmla="*/ 751 w 763"/>
                <a:gd name="T63" fmla="*/ 65 h 718"/>
                <a:gd name="T64" fmla="*/ 727 w 763"/>
                <a:gd name="T65" fmla="*/ 19 h 718"/>
                <a:gd name="T66" fmla="*/ 4 w 763"/>
                <a:gd name="T67" fmla="*/ 0 h 718"/>
                <a:gd name="T68" fmla="*/ 4 w 763"/>
                <a:gd name="T69" fmla="*/ 33 h 718"/>
                <a:gd name="T70" fmla="*/ 57 w 763"/>
                <a:gd name="T71" fmla="*/ 30 h 718"/>
                <a:gd name="T72" fmla="*/ 172 w 763"/>
                <a:gd name="T73" fmla="*/ 61 h 7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63" h="718">
                  <a:moveTo>
                    <a:pt x="172" y="71"/>
                  </a:moveTo>
                  <a:lnTo>
                    <a:pt x="188" y="119"/>
                  </a:lnTo>
                  <a:lnTo>
                    <a:pt x="191" y="150"/>
                  </a:lnTo>
                  <a:lnTo>
                    <a:pt x="209" y="172"/>
                  </a:lnTo>
                  <a:lnTo>
                    <a:pt x="203" y="230"/>
                  </a:lnTo>
                  <a:lnTo>
                    <a:pt x="210" y="248"/>
                  </a:lnTo>
                  <a:lnTo>
                    <a:pt x="210" y="290"/>
                  </a:lnTo>
                  <a:lnTo>
                    <a:pt x="228" y="287"/>
                  </a:lnTo>
                  <a:lnTo>
                    <a:pt x="237" y="265"/>
                  </a:lnTo>
                  <a:lnTo>
                    <a:pt x="248" y="299"/>
                  </a:lnTo>
                  <a:lnTo>
                    <a:pt x="266" y="305"/>
                  </a:lnTo>
                  <a:lnTo>
                    <a:pt x="276" y="324"/>
                  </a:lnTo>
                  <a:lnTo>
                    <a:pt x="231" y="314"/>
                  </a:lnTo>
                  <a:lnTo>
                    <a:pt x="222" y="332"/>
                  </a:lnTo>
                  <a:lnTo>
                    <a:pt x="220" y="361"/>
                  </a:lnTo>
                  <a:lnTo>
                    <a:pt x="238" y="380"/>
                  </a:lnTo>
                  <a:lnTo>
                    <a:pt x="257" y="373"/>
                  </a:lnTo>
                  <a:lnTo>
                    <a:pt x="276" y="354"/>
                  </a:lnTo>
                  <a:lnTo>
                    <a:pt x="287" y="380"/>
                  </a:lnTo>
                  <a:lnTo>
                    <a:pt x="276" y="410"/>
                  </a:lnTo>
                  <a:lnTo>
                    <a:pt x="260" y="410"/>
                  </a:lnTo>
                  <a:lnTo>
                    <a:pt x="237" y="427"/>
                  </a:lnTo>
                  <a:lnTo>
                    <a:pt x="238" y="510"/>
                  </a:lnTo>
                  <a:lnTo>
                    <a:pt x="256" y="525"/>
                  </a:lnTo>
                  <a:lnTo>
                    <a:pt x="268" y="575"/>
                  </a:lnTo>
                  <a:lnTo>
                    <a:pt x="303" y="669"/>
                  </a:lnTo>
                  <a:lnTo>
                    <a:pt x="324" y="690"/>
                  </a:lnTo>
                  <a:lnTo>
                    <a:pt x="353" y="690"/>
                  </a:lnTo>
                  <a:lnTo>
                    <a:pt x="381" y="718"/>
                  </a:lnTo>
                  <a:lnTo>
                    <a:pt x="392" y="707"/>
                  </a:lnTo>
                  <a:lnTo>
                    <a:pt x="411" y="646"/>
                  </a:lnTo>
                  <a:lnTo>
                    <a:pt x="411" y="629"/>
                  </a:lnTo>
                  <a:lnTo>
                    <a:pt x="430" y="603"/>
                  </a:lnTo>
                  <a:lnTo>
                    <a:pt x="440" y="559"/>
                  </a:lnTo>
                  <a:lnTo>
                    <a:pt x="430" y="545"/>
                  </a:lnTo>
                  <a:lnTo>
                    <a:pt x="442" y="542"/>
                  </a:lnTo>
                  <a:lnTo>
                    <a:pt x="446" y="523"/>
                  </a:lnTo>
                  <a:lnTo>
                    <a:pt x="486" y="525"/>
                  </a:lnTo>
                  <a:lnTo>
                    <a:pt x="574" y="427"/>
                  </a:lnTo>
                  <a:lnTo>
                    <a:pt x="591" y="429"/>
                  </a:lnTo>
                  <a:lnTo>
                    <a:pt x="635" y="408"/>
                  </a:lnTo>
                  <a:lnTo>
                    <a:pt x="698" y="361"/>
                  </a:lnTo>
                  <a:lnTo>
                    <a:pt x="709" y="343"/>
                  </a:lnTo>
                  <a:lnTo>
                    <a:pt x="672" y="337"/>
                  </a:lnTo>
                  <a:lnTo>
                    <a:pt x="647" y="343"/>
                  </a:lnTo>
                  <a:lnTo>
                    <a:pt x="670" y="315"/>
                  </a:lnTo>
                  <a:lnTo>
                    <a:pt x="661" y="293"/>
                  </a:lnTo>
                  <a:lnTo>
                    <a:pt x="679" y="284"/>
                  </a:lnTo>
                  <a:lnTo>
                    <a:pt x="688" y="326"/>
                  </a:lnTo>
                  <a:lnTo>
                    <a:pt x="697" y="337"/>
                  </a:lnTo>
                  <a:lnTo>
                    <a:pt x="720" y="326"/>
                  </a:lnTo>
                  <a:lnTo>
                    <a:pt x="722" y="283"/>
                  </a:lnTo>
                  <a:lnTo>
                    <a:pt x="678" y="230"/>
                  </a:lnTo>
                  <a:lnTo>
                    <a:pt x="720" y="248"/>
                  </a:lnTo>
                  <a:lnTo>
                    <a:pt x="720" y="208"/>
                  </a:lnTo>
                  <a:lnTo>
                    <a:pt x="698" y="200"/>
                  </a:lnTo>
                  <a:lnTo>
                    <a:pt x="737" y="178"/>
                  </a:lnTo>
                  <a:lnTo>
                    <a:pt x="737" y="159"/>
                  </a:lnTo>
                  <a:lnTo>
                    <a:pt x="726" y="152"/>
                  </a:lnTo>
                  <a:lnTo>
                    <a:pt x="756" y="143"/>
                  </a:lnTo>
                  <a:lnTo>
                    <a:pt x="763" y="115"/>
                  </a:lnTo>
                  <a:lnTo>
                    <a:pt x="746" y="112"/>
                  </a:lnTo>
                  <a:lnTo>
                    <a:pt x="757" y="87"/>
                  </a:lnTo>
                  <a:lnTo>
                    <a:pt x="751" y="65"/>
                  </a:lnTo>
                  <a:lnTo>
                    <a:pt x="747" y="33"/>
                  </a:lnTo>
                  <a:lnTo>
                    <a:pt x="727" y="19"/>
                  </a:lnTo>
                  <a:lnTo>
                    <a:pt x="727" y="3"/>
                  </a:lnTo>
                  <a:lnTo>
                    <a:pt x="4" y="0"/>
                  </a:lnTo>
                  <a:lnTo>
                    <a:pt x="0" y="15"/>
                  </a:lnTo>
                  <a:lnTo>
                    <a:pt x="4" y="33"/>
                  </a:lnTo>
                  <a:lnTo>
                    <a:pt x="49" y="42"/>
                  </a:lnTo>
                  <a:lnTo>
                    <a:pt x="57" y="30"/>
                  </a:lnTo>
                  <a:lnTo>
                    <a:pt x="118" y="34"/>
                  </a:lnTo>
                  <a:lnTo>
                    <a:pt x="172" y="61"/>
                  </a:lnTo>
                  <a:lnTo>
                    <a:pt x="172" y="71"/>
                  </a:lnTo>
                  <a:close/>
                </a:path>
              </a:pathLst>
            </a:custGeom>
            <a:solidFill>
              <a:schemeClr val="bg1">
                <a:lumMod val="85000"/>
              </a:schemeClr>
            </a:solidFill>
            <a:ln w="9525" cap="flat" cmpd="sng">
              <a:solidFill>
                <a:schemeClr val="bg1"/>
              </a:solidFill>
              <a:prstDash val="solid"/>
              <a:round/>
              <a:headEnd type="none" w="med" len="med"/>
              <a:tailEnd type="none" w="med" len="med"/>
            </a:ln>
            <a:effectLst/>
            <a:extLst/>
          </p:spPr>
          <p:txBody>
            <a:bodyPr>
              <a:noAutofit/>
            </a:bodyPr>
            <a:lstStyle/>
            <a:p>
              <a:pPr fontAlgn="auto">
                <a:spcBef>
                  <a:spcPts val="0"/>
                </a:spcBef>
                <a:spcAft>
                  <a:spcPts val="0"/>
                </a:spcAft>
                <a:defRPr/>
              </a:pPr>
              <a:endParaRPr lang="en-CA" kern="0">
                <a:solidFill>
                  <a:sysClr val="windowText" lastClr="000000"/>
                </a:solidFill>
              </a:endParaRPr>
            </a:p>
          </p:txBody>
        </p:sp>
        <p:sp>
          <p:nvSpPr>
            <p:cNvPr id="470" name="Freeform 320"/>
            <p:cNvSpPr>
              <a:spLocks/>
            </p:cNvSpPr>
            <p:nvPr>
              <p:custDataLst>
                <p:tags r:id="rId144"/>
              </p:custDataLst>
            </p:nvPr>
          </p:nvSpPr>
          <p:spPr bwMode="gray">
            <a:xfrm>
              <a:off x="2253548" y="2004974"/>
              <a:ext cx="40002" cy="83117"/>
            </a:xfrm>
            <a:custGeom>
              <a:avLst/>
              <a:gdLst>
                <a:gd name="T0" fmla="*/ 9 w 50"/>
                <a:gd name="T1" fmla="*/ 0 h 111"/>
                <a:gd name="T2" fmla="*/ 25 w 50"/>
                <a:gd name="T3" fmla="*/ 17 h 111"/>
                <a:gd name="T4" fmla="*/ 46 w 50"/>
                <a:gd name="T5" fmla="*/ 20 h 111"/>
                <a:gd name="T6" fmla="*/ 46 w 50"/>
                <a:gd name="T7" fmla="*/ 33 h 111"/>
                <a:gd name="T8" fmla="*/ 40 w 50"/>
                <a:gd name="T9" fmla="*/ 47 h 111"/>
                <a:gd name="T10" fmla="*/ 28 w 50"/>
                <a:gd name="T11" fmla="*/ 111 h 111"/>
                <a:gd name="T12" fmla="*/ 4 w 50"/>
                <a:gd name="T13" fmla="*/ 86 h 111"/>
                <a:gd name="T14" fmla="*/ 9 w 50"/>
                <a:gd name="T15" fmla="*/ 63 h 111"/>
                <a:gd name="T16" fmla="*/ 7 w 50"/>
                <a:gd name="T17" fmla="*/ 12 h 111"/>
                <a:gd name="T18" fmla="*/ 9 w 50"/>
                <a:gd name="T19" fmla="*/ 0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 h="111">
                  <a:moveTo>
                    <a:pt x="9" y="0"/>
                  </a:moveTo>
                  <a:cubicBezTo>
                    <a:pt x="12" y="1"/>
                    <a:pt x="19" y="14"/>
                    <a:pt x="25" y="17"/>
                  </a:cubicBezTo>
                  <a:cubicBezTo>
                    <a:pt x="31" y="20"/>
                    <a:pt x="42" y="17"/>
                    <a:pt x="46" y="20"/>
                  </a:cubicBezTo>
                  <a:cubicBezTo>
                    <a:pt x="50" y="25"/>
                    <a:pt x="49" y="27"/>
                    <a:pt x="46" y="33"/>
                  </a:cubicBezTo>
                  <a:cubicBezTo>
                    <a:pt x="45" y="39"/>
                    <a:pt x="43" y="42"/>
                    <a:pt x="40" y="47"/>
                  </a:cubicBezTo>
                  <a:cubicBezTo>
                    <a:pt x="38" y="68"/>
                    <a:pt x="41" y="93"/>
                    <a:pt x="28" y="111"/>
                  </a:cubicBezTo>
                  <a:cubicBezTo>
                    <a:pt x="3" y="109"/>
                    <a:pt x="16" y="103"/>
                    <a:pt x="4" y="86"/>
                  </a:cubicBezTo>
                  <a:cubicBezTo>
                    <a:pt x="2" y="77"/>
                    <a:pt x="0" y="68"/>
                    <a:pt x="9" y="63"/>
                  </a:cubicBezTo>
                  <a:cubicBezTo>
                    <a:pt x="10" y="41"/>
                    <a:pt x="15" y="31"/>
                    <a:pt x="7" y="12"/>
                  </a:cubicBezTo>
                  <a:cubicBezTo>
                    <a:pt x="8" y="8"/>
                    <a:pt x="9" y="0"/>
                    <a:pt x="9" y="0"/>
                  </a:cubicBezTo>
                  <a:close/>
                </a:path>
              </a:pathLst>
            </a:custGeom>
            <a:solidFill>
              <a:schemeClr val="accent1"/>
            </a:solidFill>
            <a:ln w="9525" cap="flat" cmpd="sng">
              <a:solidFill>
                <a:schemeClr val="bg1"/>
              </a:solidFill>
              <a:prstDash val="solid"/>
              <a:round/>
              <a:headEnd type="none" w="med" len="med"/>
              <a:tailEnd type="none" w="med" len="med"/>
            </a:ln>
            <a:effectLst/>
            <a:extLst/>
          </p:spPr>
          <p:txBody>
            <a:bodyPr>
              <a:noAutofit/>
            </a:bodyPr>
            <a:lstStyle/>
            <a:p>
              <a:pPr fontAlgn="auto">
                <a:spcBef>
                  <a:spcPts val="0"/>
                </a:spcBef>
                <a:spcAft>
                  <a:spcPts val="0"/>
                </a:spcAft>
                <a:defRPr/>
              </a:pPr>
              <a:endParaRPr lang="en-CA" kern="0">
                <a:solidFill>
                  <a:sysClr val="windowText" lastClr="000000"/>
                </a:solidFill>
              </a:endParaRPr>
            </a:p>
          </p:txBody>
        </p:sp>
        <p:sp>
          <p:nvSpPr>
            <p:cNvPr id="471" name="Freeform 331"/>
            <p:cNvSpPr>
              <a:spLocks/>
            </p:cNvSpPr>
            <p:nvPr/>
          </p:nvSpPr>
          <p:spPr bwMode="gray">
            <a:xfrm>
              <a:off x="3740847" y="2667037"/>
              <a:ext cx="468381" cy="400758"/>
            </a:xfrm>
            <a:custGeom>
              <a:avLst/>
              <a:gdLst/>
              <a:ahLst/>
              <a:cxnLst/>
              <a:rect l="l" t="t" r="r" b="b"/>
              <a:pathLst>
                <a:path w="929381" h="826665">
                  <a:moveTo>
                    <a:pt x="693000" y="752264"/>
                  </a:moveTo>
                  <a:cubicBezTo>
                    <a:pt x="698193" y="754675"/>
                    <a:pt x="703711" y="759498"/>
                    <a:pt x="709229" y="760531"/>
                  </a:cubicBezTo>
                  <a:cubicBezTo>
                    <a:pt x="711826" y="761909"/>
                    <a:pt x="717993" y="762598"/>
                    <a:pt x="717993" y="762598"/>
                  </a:cubicBezTo>
                  <a:cubicBezTo>
                    <a:pt x="721239" y="764320"/>
                    <a:pt x="725459" y="763975"/>
                    <a:pt x="729029" y="764664"/>
                  </a:cubicBezTo>
                  <a:cubicBezTo>
                    <a:pt x="734547" y="767075"/>
                    <a:pt x="739741" y="765353"/>
                    <a:pt x="746233" y="765353"/>
                  </a:cubicBezTo>
                  <a:cubicBezTo>
                    <a:pt x="747856" y="764320"/>
                    <a:pt x="749154" y="763631"/>
                    <a:pt x="751102" y="763287"/>
                  </a:cubicBezTo>
                  <a:cubicBezTo>
                    <a:pt x="753049" y="761564"/>
                    <a:pt x="756295" y="759842"/>
                    <a:pt x="758892" y="759153"/>
                  </a:cubicBezTo>
                  <a:cubicBezTo>
                    <a:pt x="762138" y="757431"/>
                    <a:pt x="766033" y="758120"/>
                    <a:pt x="769603" y="758464"/>
                  </a:cubicBezTo>
                  <a:cubicBezTo>
                    <a:pt x="770577" y="763287"/>
                    <a:pt x="771226" y="768109"/>
                    <a:pt x="768954" y="772931"/>
                  </a:cubicBezTo>
                  <a:cubicBezTo>
                    <a:pt x="768305" y="776720"/>
                    <a:pt x="768305" y="780509"/>
                    <a:pt x="767007" y="783954"/>
                  </a:cubicBezTo>
                  <a:cubicBezTo>
                    <a:pt x="766682" y="786709"/>
                    <a:pt x="765059" y="788776"/>
                    <a:pt x="763111" y="790498"/>
                  </a:cubicBezTo>
                  <a:cubicBezTo>
                    <a:pt x="761813" y="792909"/>
                    <a:pt x="761489" y="795320"/>
                    <a:pt x="760190" y="797731"/>
                  </a:cubicBezTo>
                  <a:cubicBezTo>
                    <a:pt x="759866" y="799798"/>
                    <a:pt x="758892" y="800832"/>
                    <a:pt x="758243" y="802554"/>
                  </a:cubicBezTo>
                  <a:cubicBezTo>
                    <a:pt x="757593" y="805654"/>
                    <a:pt x="758892" y="809443"/>
                    <a:pt x="755321" y="810132"/>
                  </a:cubicBezTo>
                  <a:cubicBezTo>
                    <a:pt x="752238" y="811337"/>
                    <a:pt x="750777" y="810993"/>
                    <a:pt x="745584" y="811854"/>
                  </a:cubicBezTo>
                  <a:lnTo>
                    <a:pt x="740390" y="815987"/>
                  </a:lnTo>
                  <a:cubicBezTo>
                    <a:pt x="739416" y="817021"/>
                    <a:pt x="739416" y="816676"/>
                    <a:pt x="737793" y="818054"/>
                  </a:cubicBezTo>
                  <a:cubicBezTo>
                    <a:pt x="736170" y="819432"/>
                    <a:pt x="735521" y="822187"/>
                    <a:pt x="733574" y="823565"/>
                  </a:cubicBezTo>
                  <a:cubicBezTo>
                    <a:pt x="732600" y="825632"/>
                    <a:pt x="732275" y="826321"/>
                    <a:pt x="730003" y="826665"/>
                  </a:cubicBezTo>
                  <a:cubicBezTo>
                    <a:pt x="719292" y="826321"/>
                    <a:pt x="720915" y="826665"/>
                    <a:pt x="714423" y="822532"/>
                  </a:cubicBezTo>
                  <a:cubicBezTo>
                    <a:pt x="712800" y="820121"/>
                    <a:pt x="711826" y="818743"/>
                    <a:pt x="709554" y="817365"/>
                  </a:cubicBezTo>
                  <a:cubicBezTo>
                    <a:pt x="707931" y="814954"/>
                    <a:pt x="707606" y="813576"/>
                    <a:pt x="704685" y="812887"/>
                  </a:cubicBezTo>
                  <a:cubicBezTo>
                    <a:pt x="702088" y="810821"/>
                    <a:pt x="699167" y="806343"/>
                    <a:pt x="697869" y="802898"/>
                  </a:cubicBezTo>
                  <a:cubicBezTo>
                    <a:pt x="697544" y="799454"/>
                    <a:pt x="696570" y="794976"/>
                    <a:pt x="700465" y="794287"/>
                  </a:cubicBezTo>
                  <a:cubicBezTo>
                    <a:pt x="702413" y="793254"/>
                    <a:pt x="701764" y="792220"/>
                    <a:pt x="700790" y="790154"/>
                  </a:cubicBezTo>
                  <a:cubicBezTo>
                    <a:pt x="700465" y="787742"/>
                    <a:pt x="699167" y="785676"/>
                    <a:pt x="697544" y="783954"/>
                  </a:cubicBezTo>
                  <a:cubicBezTo>
                    <a:pt x="696570" y="781542"/>
                    <a:pt x="695272" y="779820"/>
                    <a:pt x="693974" y="777753"/>
                  </a:cubicBezTo>
                  <a:cubicBezTo>
                    <a:pt x="693649" y="775342"/>
                    <a:pt x="693000" y="774998"/>
                    <a:pt x="691052" y="773964"/>
                  </a:cubicBezTo>
                  <a:cubicBezTo>
                    <a:pt x="690728" y="771553"/>
                    <a:pt x="690403" y="770864"/>
                    <a:pt x="688780" y="769487"/>
                  </a:cubicBezTo>
                  <a:cubicBezTo>
                    <a:pt x="687806" y="767075"/>
                    <a:pt x="687482" y="764664"/>
                    <a:pt x="687157" y="762253"/>
                  </a:cubicBezTo>
                  <a:cubicBezTo>
                    <a:pt x="687806" y="758464"/>
                    <a:pt x="687157" y="756053"/>
                    <a:pt x="689754" y="753986"/>
                  </a:cubicBezTo>
                  <a:cubicBezTo>
                    <a:pt x="691052" y="751575"/>
                    <a:pt x="690079" y="752264"/>
                    <a:pt x="693000" y="752264"/>
                  </a:cubicBezTo>
                  <a:close/>
                  <a:moveTo>
                    <a:pt x="0" y="395067"/>
                  </a:moveTo>
                  <a:cubicBezTo>
                    <a:pt x="1288" y="397374"/>
                    <a:pt x="2497" y="399746"/>
                    <a:pt x="3037" y="402446"/>
                  </a:cubicBezTo>
                  <a:cubicBezTo>
                    <a:pt x="891" y="400845"/>
                    <a:pt x="184" y="395849"/>
                    <a:pt x="0" y="395067"/>
                  </a:cubicBezTo>
                  <a:close/>
                  <a:moveTo>
                    <a:pt x="681395" y="757"/>
                  </a:moveTo>
                  <a:cubicBezTo>
                    <a:pt x="682613" y="-1224"/>
                    <a:pt x="686183" y="671"/>
                    <a:pt x="694623" y="6526"/>
                  </a:cubicBezTo>
                  <a:cubicBezTo>
                    <a:pt x="698193" y="12382"/>
                    <a:pt x="697869" y="15826"/>
                    <a:pt x="704036" y="18237"/>
                  </a:cubicBezTo>
                  <a:cubicBezTo>
                    <a:pt x="705984" y="38216"/>
                    <a:pt x="704036" y="29604"/>
                    <a:pt x="708905" y="44760"/>
                  </a:cubicBezTo>
                  <a:cubicBezTo>
                    <a:pt x="710528" y="49582"/>
                    <a:pt x="713449" y="59572"/>
                    <a:pt x="713449" y="59572"/>
                  </a:cubicBezTo>
                  <a:cubicBezTo>
                    <a:pt x="715072" y="70938"/>
                    <a:pt x="713774" y="91606"/>
                    <a:pt x="725784" y="96083"/>
                  </a:cubicBezTo>
                  <a:cubicBezTo>
                    <a:pt x="736820" y="91950"/>
                    <a:pt x="731951" y="88161"/>
                    <a:pt x="740065" y="90917"/>
                  </a:cubicBezTo>
                  <a:cubicBezTo>
                    <a:pt x="743636" y="97117"/>
                    <a:pt x="747206" y="96428"/>
                    <a:pt x="750777" y="102628"/>
                  </a:cubicBezTo>
                  <a:cubicBezTo>
                    <a:pt x="751426" y="108484"/>
                    <a:pt x="751426" y="114684"/>
                    <a:pt x="752400" y="120539"/>
                  </a:cubicBezTo>
                  <a:cubicBezTo>
                    <a:pt x="753049" y="123984"/>
                    <a:pt x="755646" y="130529"/>
                    <a:pt x="755646" y="130529"/>
                  </a:cubicBezTo>
                  <a:cubicBezTo>
                    <a:pt x="756295" y="136384"/>
                    <a:pt x="758892" y="146718"/>
                    <a:pt x="760839" y="152573"/>
                  </a:cubicBezTo>
                  <a:cubicBezTo>
                    <a:pt x="762787" y="158429"/>
                    <a:pt x="766357" y="162907"/>
                    <a:pt x="767980" y="167040"/>
                  </a:cubicBezTo>
                  <a:cubicBezTo>
                    <a:pt x="768954" y="170485"/>
                    <a:pt x="771226" y="173585"/>
                    <a:pt x="771226" y="177029"/>
                  </a:cubicBezTo>
                  <a:cubicBezTo>
                    <a:pt x="771551" y="187363"/>
                    <a:pt x="770577" y="198041"/>
                    <a:pt x="772524" y="208374"/>
                  </a:cubicBezTo>
                  <a:cubicBezTo>
                    <a:pt x="772849" y="210441"/>
                    <a:pt x="775770" y="210441"/>
                    <a:pt x="777393" y="211475"/>
                  </a:cubicBezTo>
                  <a:cubicBezTo>
                    <a:pt x="784859" y="216641"/>
                    <a:pt x="792649" y="218708"/>
                    <a:pt x="800764" y="221464"/>
                  </a:cubicBezTo>
                  <a:cubicBezTo>
                    <a:pt x="803685" y="223875"/>
                    <a:pt x="807580" y="225253"/>
                    <a:pt x="810177" y="228008"/>
                  </a:cubicBezTo>
                  <a:lnTo>
                    <a:pt x="813098" y="233132"/>
                  </a:lnTo>
                  <a:cubicBezTo>
                    <a:pt x="812855" y="233433"/>
                    <a:pt x="812936" y="233175"/>
                    <a:pt x="817967" y="234897"/>
                  </a:cubicBezTo>
                  <a:cubicBezTo>
                    <a:pt x="821538" y="240753"/>
                    <a:pt x="824134" y="242820"/>
                    <a:pt x="830302" y="244542"/>
                  </a:cubicBezTo>
                  <a:cubicBezTo>
                    <a:pt x="837118" y="249709"/>
                    <a:pt x="834521" y="251431"/>
                    <a:pt x="830302" y="257975"/>
                  </a:cubicBezTo>
                  <a:cubicBezTo>
                    <a:pt x="834846" y="262798"/>
                    <a:pt x="837442" y="267620"/>
                    <a:pt x="842636" y="271065"/>
                  </a:cubicBezTo>
                  <a:cubicBezTo>
                    <a:pt x="843610" y="282087"/>
                    <a:pt x="840364" y="293798"/>
                    <a:pt x="850426" y="297587"/>
                  </a:cubicBezTo>
                  <a:cubicBezTo>
                    <a:pt x="859190" y="294487"/>
                    <a:pt x="862761" y="299999"/>
                    <a:pt x="870875" y="302410"/>
                  </a:cubicBezTo>
                  <a:cubicBezTo>
                    <a:pt x="875744" y="305165"/>
                    <a:pt x="869901" y="315499"/>
                    <a:pt x="876718" y="325488"/>
                  </a:cubicBezTo>
                  <a:cubicBezTo>
                    <a:pt x="883534" y="335477"/>
                    <a:pt x="904957" y="354422"/>
                    <a:pt x="911449" y="362000"/>
                  </a:cubicBezTo>
                  <a:cubicBezTo>
                    <a:pt x="917616" y="369233"/>
                    <a:pt x="912423" y="360966"/>
                    <a:pt x="915020" y="370955"/>
                  </a:cubicBezTo>
                  <a:cubicBezTo>
                    <a:pt x="917941" y="370267"/>
                    <a:pt x="928328" y="356488"/>
                    <a:pt x="929301" y="358211"/>
                  </a:cubicBezTo>
                  <a:cubicBezTo>
                    <a:pt x="930275" y="359933"/>
                    <a:pt x="922160" y="371300"/>
                    <a:pt x="920538" y="381289"/>
                  </a:cubicBezTo>
                  <a:cubicBezTo>
                    <a:pt x="918915" y="391278"/>
                    <a:pt x="918590" y="406089"/>
                    <a:pt x="919564" y="417456"/>
                  </a:cubicBezTo>
                  <a:cubicBezTo>
                    <a:pt x="920538" y="428823"/>
                    <a:pt x="926380" y="437090"/>
                    <a:pt x="925406" y="450179"/>
                  </a:cubicBezTo>
                  <a:cubicBezTo>
                    <a:pt x="924108" y="463268"/>
                    <a:pt x="914046" y="483247"/>
                    <a:pt x="912747" y="495991"/>
                  </a:cubicBezTo>
                  <a:cubicBezTo>
                    <a:pt x="908528" y="509425"/>
                    <a:pt x="903983" y="523547"/>
                    <a:pt x="900413" y="530781"/>
                  </a:cubicBezTo>
                  <a:cubicBezTo>
                    <a:pt x="897816" y="534225"/>
                    <a:pt x="893921" y="535948"/>
                    <a:pt x="891000" y="539048"/>
                  </a:cubicBezTo>
                  <a:cubicBezTo>
                    <a:pt x="888728" y="545592"/>
                    <a:pt x="890675" y="551103"/>
                    <a:pt x="884833" y="553515"/>
                  </a:cubicBezTo>
                  <a:cubicBezTo>
                    <a:pt x="880613" y="560059"/>
                    <a:pt x="871849" y="562126"/>
                    <a:pt x="867629" y="568670"/>
                  </a:cubicBezTo>
                  <a:cubicBezTo>
                    <a:pt x="865357" y="576248"/>
                    <a:pt x="863734" y="576248"/>
                    <a:pt x="857242" y="578660"/>
                  </a:cubicBezTo>
                  <a:cubicBezTo>
                    <a:pt x="854321" y="582104"/>
                    <a:pt x="854970" y="587271"/>
                    <a:pt x="852698" y="592093"/>
                  </a:cubicBezTo>
                  <a:cubicBezTo>
                    <a:pt x="850426" y="596915"/>
                    <a:pt x="847505" y="601738"/>
                    <a:pt x="844259" y="606905"/>
                  </a:cubicBezTo>
                  <a:cubicBezTo>
                    <a:pt x="841987" y="614138"/>
                    <a:pt x="841013" y="620683"/>
                    <a:pt x="833547" y="623438"/>
                  </a:cubicBezTo>
                  <a:cubicBezTo>
                    <a:pt x="830626" y="627572"/>
                    <a:pt x="828354" y="623094"/>
                    <a:pt x="825757" y="631705"/>
                  </a:cubicBezTo>
                  <a:cubicBezTo>
                    <a:pt x="823810" y="639627"/>
                    <a:pt x="823161" y="667528"/>
                    <a:pt x="817967" y="676139"/>
                  </a:cubicBezTo>
                  <a:cubicBezTo>
                    <a:pt x="816020" y="684062"/>
                    <a:pt x="798167" y="683717"/>
                    <a:pt x="794597" y="684406"/>
                  </a:cubicBezTo>
                  <a:cubicBezTo>
                    <a:pt x="787131" y="686817"/>
                    <a:pt x="777069" y="684062"/>
                    <a:pt x="769603" y="686817"/>
                  </a:cubicBezTo>
                  <a:cubicBezTo>
                    <a:pt x="762138" y="689573"/>
                    <a:pt x="755321" y="697151"/>
                    <a:pt x="749154" y="700940"/>
                  </a:cubicBezTo>
                  <a:cubicBezTo>
                    <a:pt x="741688" y="706451"/>
                    <a:pt x="742662" y="707140"/>
                    <a:pt x="732924" y="710584"/>
                  </a:cubicBezTo>
                  <a:cubicBezTo>
                    <a:pt x="727731" y="710929"/>
                    <a:pt x="722862" y="706106"/>
                    <a:pt x="717993" y="702662"/>
                  </a:cubicBezTo>
                  <a:lnTo>
                    <a:pt x="710406" y="693921"/>
                  </a:lnTo>
                  <a:cubicBezTo>
                    <a:pt x="709310" y="692759"/>
                    <a:pt x="708418" y="692328"/>
                    <a:pt x="704036" y="689573"/>
                  </a:cubicBezTo>
                  <a:cubicBezTo>
                    <a:pt x="698031" y="691360"/>
                    <a:pt x="704360" y="689487"/>
                    <a:pt x="694623" y="694395"/>
                  </a:cubicBezTo>
                  <a:cubicBezTo>
                    <a:pt x="688131" y="697495"/>
                    <a:pt x="672550" y="706795"/>
                    <a:pt x="665085" y="707484"/>
                  </a:cubicBezTo>
                  <a:cubicBezTo>
                    <a:pt x="655347" y="705418"/>
                    <a:pt x="660540" y="707484"/>
                    <a:pt x="649504" y="699217"/>
                  </a:cubicBezTo>
                  <a:cubicBezTo>
                    <a:pt x="639442" y="696117"/>
                    <a:pt x="646583" y="697840"/>
                    <a:pt x="627757" y="696117"/>
                  </a:cubicBezTo>
                  <a:cubicBezTo>
                    <a:pt x="621914" y="691640"/>
                    <a:pt x="615747" y="690262"/>
                    <a:pt x="608931" y="687851"/>
                  </a:cubicBezTo>
                  <a:cubicBezTo>
                    <a:pt x="602439" y="683028"/>
                    <a:pt x="600816" y="675106"/>
                    <a:pt x="593350" y="673039"/>
                  </a:cubicBezTo>
                  <a:lnTo>
                    <a:pt x="590683" y="668637"/>
                  </a:lnTo>
                  <a:cubicBezTo>
                    <a:pt x="589496" y="666602"/>
                    <a:pt x="592052" y="669509"/>
                    <a:pt x="592052" y="657883"/>
                  </a:cubicBezTo>
                  <a:cubicBezTo>
                    <a:pt x="592052" y="646516"/>
                    <a:pt x="582963" y="633772"/>
                    <a:pt x="573226" y="629983"/>
                  </a:cubicBezTo>
                  <a:cubicBezTo>
                    <a:pt x="572252" y="628260"/>
                    <a:pt x="571927" y="625505"/>
                    <a:pt x="569980" y="624816"/>
                  </a:cubicBezTo>
                  <a:cubicBezTo>
                    <a:pt x="566085" y="623094"/>
                    <a:pt x="561216" y="630672"/>
                    <a:pt x="557645" y="628260"/>
                  </a:cubicBezTo>
                  <a:cubicBezTo>
                    <a:pt x="555049" y="626538"/>
                    <a:pt x="561865" y="617583"/>
                    <a:pt x="565436" y="615171"/>
                  </a:cubicBezTo>
                  <a:cubicBezTo>
                    <a:pt x="564137" y="606905"/>
                    <a:pt x="561865" y="602771"/>
                    <a:pt x="559268" y="595193"/>
                  </a:cubicBezTo>
                  <a:cubicBezTo>
                    <a:pt x="558295" y="596915"/>
                    <a:pt x="557321" y="598638"/>
                    <a:pt x="556022" y="600015"/>
                  </a:cubicBezTo>
                  <a:cubicBezTo>
                    <a:pt x="554724" y="601049"/>
                    <a:pt x="552452" y="600360"/>
                    <a:pt x="551478" y="601738"/>
                  </a:cubicBezTo>
                  <a:cubicBezTo>
                    <a:pt x="544013" y="610005"/>
                    <a:pt x="556347" y="604838"/>
                    <a:pt x="545311" y="608282"/>
                  </a:cubicBezTo>
                  <a:lnTo>
                    <a:pt x="543688" y="616549"/>
                  </a:lnTo>
                  <a:lnTo>
                    <a:pt x="532693" y="617927"/>
                  </a:lnTo>
                  <a:cubicBezTo>
                    <a:pt x="530948" y="616377"/>
                    <a:pt x="530542" y="613277"/>
                    <a:pt x="529731" y="610005"/>
                  </a:cubicBezTo>
                  <a:cubicBezTo>
                    <a:pt x="534275" y="608282"/>
                    <a:pt x="541091" y="611382"/>
                    <a:pt x="543688" y="606905"/>
                  </a:cubicBezTo>
                  <a:cubicBezTo>
                    <a:pt x="546934" y="603804"/>
                    <a:pt x="543039" y="599327"/>
                    <a:pt x="545636" y="591749"/>
                  </a:cubicBezTo>
                  <a:cubicBezTo>
                    <a:pt x="547259" y="586582"/>
                    <a:pt x="552127" y="581071"/>
                    <a:pt x="554400" y="576248"/>
                  </a:cubicBezTo>
                  <a:lnTo>
                    <a:pt x="559268" y="562126"/>
                  </a:lnTo>
                  <a:lnTo>
                    <a:pt x="556469" y="552352"/>
                  </a:lnTo>
                  <a:cubicBezTo>
                    <a:pt x="555860" y="551706"/>
                    <a:pt x="554887" y="553515"/>
                    <a:pt x="551478" y="557304"/>
                  </a:cubicBezTo>
                  <a:lnTo>
                    <a:pt x="548800" y="566044"/>
                  </a:lnTo>
                  <a:cubicBezTo>
                    <a:pt x="548232" y="567206"/>
                    <a:pt x="547259" y="567637"/>
                    <a:pt x="543688" y="570393"/>
                  </a:cubicBezTo>
                  <a:cubicBezTo>
                    <a:pt x="541091" y="577626"/>
                    <a:pt x="538495" y="576937"/>
                    <a:pt x="532652" y="580382"/>
                  </a:cubicBezTo>
                  <a:cubicBezTo>
                    <a:pt x="529406" y="582448"/>
                    <a:pt x="523239" y="586926"/>
                    <a:pt x="523239" y="586926"/>
                  </a:cubicBezTo>
                  <a:cubicBezTo>
                    <a:pt x="516422" y="597604"/>
                    <a:pt x="518045" y="596915"/>
                    <a:pt x="507659" y="600015"/>
                  </a:cubicBezTo>
                  <a:cubicBezTo>
                    <a:pt x="503114" y="608282"/>
                    <a:pt x="500193" y="608627"/>
                    <a:pt x="493701" y="601738"/>
                  </a:cubicBezTo>
                  <a:cubicBezTo>
                    <a:pt x="490780" y="587615"/>
                    <a:pt x="490780" y="572115"/>
                    <a:pt x="476498" y="566948"/>
                  </a:cubicBezTo>
                  <a:cubicBezTo>
                    <a:pt x="471304" y="561437"/>
                    <a:pt x="468059" y="559715"/>
                    <a:pt x="470331" y="552137"/>
                  </a:cubicBezTo>
                  <a:cubicBezTo>
                    <a:pt x="466760" y="541803"/>
                    <a:pt x="470655" y="548348"/>
                    <a:pt x="453127" y="545592"/>
                  </a:cubicBezTo>
                  <a:cubicBezTo>
                    <a:pt x="447934" y="543870"/>
                    <a:pt x="445013" y="538703"/>
                    <a:pt x="439819" y="537325"/>
                  </a:cubicBezTo>
                  <a:cubicBezTo>
                    <a:pt x="434626" y="535948"/>
                    <a:pt x="426836" y="539392"/>
                    <a:pt x="421967" y="537325"/>
                  </a:cubicBezTo>
                  <a:cubicBezTo>
                    <a:pt x="419045" y="532503"/>
                    <a:pt x="409632" y="525614"/>
                    <a:pt x="409632" y="525614"/>
                  </a:cubicBezTo>
                  <a:cubicBezTo>
                    <a:pt x="390482" y="526303"/>
                    <a:pt x="369708" y="521136"/>
                    <a:pt x="351855" y="529059"/>
                  </a:cubicBezTo>
                  <a:cubicBezTo>
                    <a:pt x="348609" y="530436"/>
                    <a:pt x="346337" y="534225"/>
                    <a:pt x="342767" y="535603"/>
                  </a:cubicBezTo>
                  <a:cubicBezTo>
                    <a:pt x="339521" y="536636"/>
                    <a:pt x="336600" y="538014"/>
                    <a:pt x="333354" y="539048"/>
                  </a:cubicBezTo>
                  <a:cubicBezTo>
                    <a:pt x="320046" y="543870"/>
                    <a:pt x="291157" y="545592"/>
                    <a:pt x="291157" y="545592"/>
                  </a:cubicBezTo>
                  <a:cubicBezTo>
                    <a:pt x="283367" y="548348"/>
                    <a:pt x="273954" y="550415"/>
                    <a:pt x="267462" y="555926"/>
                  </a:cubicBezTo>
                  <a:cubicBezTo>
                    <a:pt x="259347" y="560059"/>
                    <a:pt x="249934" y="558337"/>
                    <a:pt x="243767" y="563159"/>
                  </a:cubicBezTo>
                  <a:cubicBezTo>
                    <a:pt x="242469" y="565226"/>
                    <a:pt x="234029" y="583137"/>
                    <a:pt x="230459" y="585204"/>
                  </a:cubicBezTo>
                  <a:cubicBezTo>
                    <a:pt x="214878" y="588993"/>
                    <a:pt x="167813" y="583137"/>
                    <a:pt x="149311" y="585204"/>
                  </a:cubicBezTo>
                  <a:cubicBezTo>
                    <a:pt x="132757" y="585893"/>
                    <a:pt x="136003" y="596227"/>
                    <a:pt x="131134" y="598293"/>
                  </a:cubicBezTo>
                  <a:cubicBezTo>
                    <a:pt x="126265" y="600360"/>
                    <a:pt x="124967" y="596227"/>
                    <a:pt x="119773" y="598638"/>
                  </a:cubicBezTo>
                  <a:cubicBezTo>
                    <a:pt x="114255" y="599671"/>
                    <a:pt x="109062" y="611038"/>
                    <a:pt x="99649" y="613449"/>
                  </a:cubicBezTo>
                  <a:cubicBezTo>
                    <a:pt x="90236" y="615860"/>
                    <a:pt x="72059" y="614827"/>
                    <a:pt x="63619" y="613449"/>
                  </a:cubicBezTo>
                  <a:cubicBezTo>
                    <a:pt x="53233" y="605871"/>
                    <a:pt x="58101" y="608282"/>
                    <a:pt x="49662" y="605182"/>
                  </a:cubicBezTo>
                  <a:cubicBezTo>
                    <a:pt x="45442" y="597604"/>
                    <a:pt x="42521" y="596915"/>
                    <a:pt x="34082" y="595193"/>
                  </a:cubicBezTo>
                  <a:cubicBezTo>
                    <a:pt x="33108" y="592093"/>
                    <a:pt x="28564" y="583482"/>
                    <a:pt x="32459" y="580382"/>
                  </a:cubicBezTo>
                  <a:cubicBezTo>
                    <a:pt x="36678" y="577282"/>
                    <a:pt x="42196" y="576593"/>
                    <a:pt x="46741" y="573837"/>
                  </a:cubicBezTo>
                  <a:lnTo>
                    <a:pt x="51285" y="563848"/>
                  </a:lnTo>
                  <a:cubicBezTo>
                    <a:pt x="50960" y="560404"/>
                    <a:pt x="48039" y="553859"/>
                    <a:pt x="48039" y="553859"/>
                  </a:cubicBezTo>
                  <a:cubicBezTo>
                    <a:pt x="50960" y="545592"/>
                    <a:pt x="52583" y="537325"/>
                    <a:pt x="49662" y="529059"/>
                  </a:cubicBezTo>
                  <a:cubicBezTo>
                    <a:pt x="47390" y="522514"/>
                    <a:pt x="45118" y="519069"/>
                    <a:pt x="40249" y="514247"/>
                  </a:cubicBezTo>
                  <a:cubicBezTo>
                    <a:pt x="39275" y="510803"/>
                    <a:pt x="36678" y="507703"/>
                    <a:pt x="35705" y="504258"/>
                  </a:cubicBezTo>
                  <a:cubicBezTo>
                    <a:pt x="32783" y="491169"/>
                    <a:pt x="35055" y="477391"/>
                    <a:pt x="31160" y="464646"/>
                  </a:cubicBezTo>
                  <a:cubicBezTo>
                    <a:pt x="28888" y="456724"/>
                    <a:pt x="22721" y="452246"/>
                    <a:pt x="20124" y="444668"/>
                  </a:cubicBezTo>
                  <a:cubicBezTo>
                    <a:pt x="17852" y="437435"/>
                    <a:pt x="16554" y="431234"/>
                    <a:pt x="12334" y="425034"/>
                  </a:cubicBezTo>
                  <a:lnTo>
                    <a:pt x="3037" y="402446"/>
                  </a:lnTo>
                  <a:cubicBezTo>
                    <a:pt x="4102" y="404212"/>
                    <a:pt x="6140" y="403876"/>
                    <a:pt x="9088" y="398512"/>
                  </a:cubicBezTo>
                  <a:cubicBezTo>
                    <a:pt x="10711" y="395756"/>
                    <a:pt x="8115" y="391967"/>
                    <a:pt x="7790" y="388522"/>
                  </a:cubicBezTo>
                  <a:cubicBezTo>
                    <a:pt x="11584" y="383571"/>
                    <a:pt x="12497" y="393000"/>
                    <a:pt x="13957" y="395067"/>
                  </a:cubicBezTo>
                  <a:cubicBezTo>
                    <a:pt x="14931" y="396445"/>
                    <a:pt x="16878" y="396100"/>
                    <a:pt x="18501" y="396789"/>
                  </a:cubicBezTo>
                  <a:cubicBezTo>
                    <a:pt x="28888" y="393000"/>
                    <a:pt x="23370" y="382667"/>
                    <a:pt x="18501" y="375433"/>
                  </a:cubicBezTo>
                  <a:cubicBezTo>
                    <a:pt x="16229" y="368544"/>
                    <a:pt x="13308" y="369233"/>
                    <a:pt x="7790" y="365444"/>
                  </a:cubicBezTo>
                  <a:cubicBezTo>
                    <a:pt x="7141" y="363722"/>
                    <a:pt x="6492" y="362000"/>
                    <a:pt x="6167" y="360277"/>
                  </a:cubicBezTo>
                  <a:cubicBezTo>
                    <a:pt x="5518" y="358211"/>
                    <a:pt x="5193" y="355800"/>
                    <a:pt x="4544" y="353733"/>
                  </a:cubicBezTo>
                  <a:cubicBezTo>
                    <a:pt x="3570" y="350288"/>
                    <a:pt x="1298" y="343744"/>
                    <a:pt x="1298" y="343744"/>
                  </a:cubicBezTo>
                  <a:cubicBezTo>
                    <a:pt x="2596" y="333066"/>
                    <a:pt x="5842" y="329277"/>
                    <a:pt x="11036" y="321010"/>
                  </a:cubicBezTo>
                  <a:cubicBezTo>
                    <a:pt x="13957" y="309988"/>
                    <a:pt x="8764" y="285187"/>
                    <a:pt x="20124" y="281054"/>
                  </a:cubicBezTo>
                  <a:cubicBezTo>
                    <a:pt x="17528" y="289665"/>
                    <a:pt x="12334" y="297243"/>
                    <a:pt x="23370" y="301032"/>
                  </a:cubicBezTo>
                  <a:cubicBezTo>
                    <a:pt x="29537" y="290009"/>
                    <a:pt x="33757" y="284154"/>
                    <a:pt x="44469" y="276576"/>
                  </a:cubicBezTo>
                  <a:cubicBezTo>
                    <a:pt x="49662" y="271065"/>
                    <a:pt x="51285" y="270376"/>
                    <a:pt x="54531" y="267965"/>
                  </a:cubicBezTo>
                  <a:cubicBezTo>
                    <a:pt x="57777" y="265898"/>
                    <a:pt x="63619" y="261076"/>
                    <a:pt x="63619" y="261076"/>
                  </a:cubicBezTo>
                  <a:cubicBezTo>
                    <a:pt x="65892" y="254531"/>
                    <a:pt x="70436" y="255564"/>
                    <a:pt x="76603" y="253842"/>
                  </a:cubicBezTo>
                  <a:cubicBezTo>
                    <a:pt x="83744" y="248331"/>
                    <a:pt x="88288" y="248331"/>
                    <a:pt x="96403" y="251431"/>
                  </a:cubicBezTo>
                  <a:cubicBezTo>
                    <a:pt x="99973" y="250742"/>
                    <a:pt x="103869" y="250742"/>
                    <a:pt x="107439" y="249709"/>
                  </a:cubicBezTo>
                  <a:cubicBezTo>
                    <a:pt x="109062" y="249020"/>
                    <a:pt x="110685" y="247642"/>
                    <a:pt x="111983" y="246264"/>
                  </a:cubicBezTo>
                  <a:cubicBezTo>
                    <a:pt x="113282" y="244886"/>
                    <a:pt x="113606" y="242131"/>
                    <a:pt x="115229" y="241442"/>
                  </a:cubicBezTo>
                  <a:cubicBezTo>
                    <a:pt x="120098" y="239720"/>
                    <a:pt x="125616" y="240408"/>
                    <a:pt x="130810" y="239720"/>
                  </a:cubicBezTo>
                  <a:cubicBezTo>
                    <a:pt x="136003" y="238342"/>
                    <a:pt x="140223" y="236275"/>
                    <a:pt x="146714" y="235242"/>
                  </a:cubicBezTo>
                  <a:cubicBezTo>
                    <a:pt x="153206" y="234208"/>
                    <a:pt x="163269" y="235242"/>
                    <a:pt x="169760" y="233175"/>
                  </a:cubicBezTo>
                  <a:cubicBezTo>
                    <a:pt x="178849" y="230419"/>
                    <a:pt x="181121" y="226975"/>
                    <a:pt x="185341" y="223186"/>
                  </a:cubicBezTo>
                  <a:cubicBezTo>
                    <a:pt x="190534" y="219397"/>
                    <a:pt x="192482" y="216297"/>
                    <a:pt x="194754" y="210097"/>
                  </a:cubicBezTo>
                  <a:cubicBezTo>
                    <a:pt x="198324" y="206308"/>
                    <a:pt x="198973" y="198730"/>
                    <a:pt x="202219" y="195285"/>
                  </a:cubicBezTo>
                  <a:cubicBezTo>
                    <a:pt x="205465" y="191841"/>
                    <a:pt x="213580" y="194596"/>
                    <a:pt x="214878" y="190119"/>
                  </a:cubicBezTo>
                  <a:cubicBezTo>
                    <a:pt x="216501" y="186330"/>
                    <a:pt x="209360" y="172896"/>
                    <a:pt x="210659" y="167385"/>
                  </a:cubicBezTo>
                  <a:cubicBezTo>
                    <a:pt x="211957" y="161874"/>
                    <a:pt x="218773" y="158429"/>
                    <a:pt x="222669" y="157051"/>
                  </a:cubicBezTo>
                  <a:lnTo>
                    <a:pt x="228389" y="147751"/>
                  </a:lnTo>
                  <a:cubicBezTo>
                    <a:pt x="230378" y="148354"/>
                    <a:pt x="232406" y="152229"/>
                    <a:pt x="234354" y="158085"/>
                  </a:cubicBezTo>
                  <a:cubicBezTo>
                    <a:pt x="235977" y="162907"/>
                    <a:pt x="240521" y="170485"/>
                    <a:pt x="242144" y="175307"/>
                  </a:cubicBezTo>
                  <a:cubicBezTo>
                    <a:pt x="244741" y="177718"/>
                    <a:pt x="244741" y="173240"/>
                    <a:pt x="246039" y="171174"/>
                  </a:cubicBezTo>
                  <a:cubicBezTo>
                    <a:pt x="247337" y="169107"/>
                    <a:pt x="249934" y="167040"/>
                    <a:pt x="249285" y="163596"/>
                  </a:cubicBezTo>
                  <a:cubicBezTo>
                    <a:pt x="254478" y="154985"/>
                    <a:pt x="249609" y="154985"/>
                    <a:pt x="242793" y="150507"/>
                  </a:cubicBezTo>
                  <a:lnTo>
                    <a:pt x="244391" y="143935"/>
                  </a:lnTo>
                  <a:cubicBezTo>
                    <a:pt x="245471" y="141142"/>
                    <a:pt x="246688" y="147407"/>
                    <a:pt x="263242" y="142240"/>
                  </a:cubicBezTo>
                  <a:cubicBezTo>
                    <a:pt x="268111" y="140862"/>
                    <a:pt x="269409" y="127428"/>
                    <a:pt x="269409" y="127428"/>
                  </a:cubicBezTo>
                  <a:lnTo>
                    <a:pt x="266164" y="122262"/>
                  </a:lnTo>
                  <a:cubicBezTo>
                    <a:pt x="267787" y="119851"/>
                    <a:pt x="271357" y="121573"/>
                    <a:pt x="273954" y="120539"/>
                  </a:cubicBezTo>
                  <a:cubicBezTo>
                    <a:pt x="275577" y="119851"/>
                    <a:pt x="277200" y="118473"/>
                    <a:pt x="278823" y="117439"/>
                  </a:cubicBezTo>
                  <a:cubicBezTo>
                    <a:pt x="280121" y="116750"/>
                    <a:pt x="281744" y="116406"/>
                    <a:pt x="283367" y="115717"/>
                  </a:cubicBezTo>
                  <a:cubicBezTo>
                    <a:pt x="284665" y="111584"/>
                    <a:pt x="284341" y="106417"/>
                    <a:pt x="286613" y="102628"/>
                  </a:cubicBezTo>
                  <a:cubicBezTo>
                    <a:pt x="288560" y="99528"/>
                    <a:pt x="293105" y="99528"/>
                    <a:pt x="296026" y="97461"/>
                  </a:cubicBezTo>
                  <a:cubicBezTo>
                    <a:pt x="298298" y="88850"/>
                    <a:pt x="304465" y="88505"/>
                    <a:pt x="311606" y="86094"/>
                  </a:cubicBezTo>
                  <a:cubicBezTo>
                    <a:pt x="314528" y="85061"/>
                    <a:pt x="320695" y="82650"/>
                    <a:pt x="320695" y="82650"/>
                  </a:cubicBezTo>
                  <a:cubicBezTo>
                    <a:pt x="325564" y="75416"/>
                    <a:pt x="324265" y="79894"/>
                    <a:pt x="331406" y="82650"/>
                  </a:cubicBezTo>
                  <a:cubicBezTo>
                    <a:pt x="339196" y="94361"/>
                    <a:pt x="351531" y="101250"/>
                    <a:pt x="364514" y="105728"/>
                  </a:cubicBezTo>
                  <a:cubicBezTo>
                    <a:pt x="372305" y="109517"/>
                    <a:pt x="381068" y="108828"/>
                    <a:pt x="384314" y="106072"/>
                  </a:cubicBezTo>
                  <a:cubicBezTo>
                    <a:pt x="387236" y="104350"/>
                    <a:pt x="382042" y="97806"/>
                    <a:pt x="382042" y="95050"/>
                  </a:cubicBezTo>
                  <a:cubicBezTo>
                    <a:pt x="382042" y="92294"/>
                    <a:pt x="383341" y="90917"/>
                    <a:pt x="384639" y="89194"/>
                  </a:cubicBezTo>
                  <a:cubicBezTo>
                    <a:pt x="385937" y="85750"/>
                    <a:pt x="385937" y="87472"/>
                    <a:pt x="389183" y="84372"/>
                  </a:cubicBezTo>
                  <a:lnTo>
                    <a:pt x="393727" y="73350"/>
                  </a:lnTo>
                  <a:cubicBezTo>
                    <a:pt x="396000" y="71283"/>
                    <a:pt x="401518" y="73350"/>
                    <a:pt x="403465" y="70938"/>
                  </a:cubicBezTo>
                  <a:lnTo>
                    <a:pt x="398840" y="61035"/>
                  </a:lnTo>
                  <a:cubicBezTo>
                    <a:pt x="398272" y="59658"/>
                    <a:pt x="399732" y="59399"/>
                    <a:pt x="406386" y="57849"/>
                  </a:cubicBezTo>
                  <a:cubicBezTo>
                    <a:pt x="409632" y="52683"/>
                    <a:pt x="415800" y="44760"/>
                    <a:pt x="420668" y="43038"/>
                  </a:cubicBezTo>
                  <a:cubicBezTo>
                    <a:pt x="422941" y="39249"/>
                    <a:pt x="422616" y="37182"/>
                    <a:pt x="427809" y="37871"/>
                  </a:cubicBezTo>
                  <a:lnTo>
                    <a:pt x="435600" y="42005"/>
                  </a:lnTo>
                  <a:cubicBezTo>
                    <a:pt x="442416" y="41316"/>
                    <a:pt x="453777" y="41316"/>
                    <a:pt x="459619" y="37871"/>
                  </a:cubicBezTo>
                  <a:cubicBezTo>
                    <a:pt x="462216" y="36149"/>
                    <a:pt x="460268" y="30638"/>
                    <a:pt x="457996" y="28227"/>
                  </a:cubicBezTo>
                  <a:cubicBezTo>
                    <a:pt x="455724" y="25815"/>
                    <a:pt x="451829" y="27193"/>
                    <a:pt x="448583" y="26504"/>
                  </a:cubicBezTo>
                  <a:lnTo>
                    <a:pt x="441630" y="20170"/>
                  </a:lnTo>
                  <a:cubicBezTo>
                    <a:pt x="438784" y="15762"/>
                    <a:pt x="447122" y="16343"/>
                    <a:pt x="456373" y="14793"/>
                  </a:cubicBezTo>
                  <a:cubicBezTo>
                    <a:pt x="461242" y="15826"/>
                    <a:pt x="467085" y="14793"/>
                    <a:pt x="470331" y="18237"/>
                  </a:cubicBezTo>
                  <a:cubicBezTo>
                    <a:pt x="472786" y="24179"/>
                    <a:pt x="466517" y="21079"/>
                    <a:pt x="476498" y="26504"/>
                  </a:cubicBezTo>
                  <a:cubicBezTo>
                    <a:pt x="481691" y="28571"/>
                    <a:pt x="489482" y="35804"/>
                    <a:pt x="498895" y="36838"/>
                  </a:cubicBezTo>
                  <a:cubicBezTo>
                    <a:pt x="506360" y="38905"/>
                    <a:pt x="515124" y="40627"/>
                    <a:pt x="520642" y="39938"/>
                  </a:cubicBezTo>
                  <a:cubicBezTo>
                    <a:pt x="526160" y="39249"/>
                    <a:pt x="529082" y="33738"/>
                    <a:pt x="532652" y="33049"/>
                  </a:cubicBezTo>
                  <a:cubicBezTo>
                    <a:pt x="536223" y="31671"/>
                    <a:pt x="537845" y="35460"/>
                    <a:pt x="541741" y="35804"/>
                  </a:cubicBezTo>
                  <a:cubicBezTo>
                    <a:pt x="545636" y="36149"/>
                    <a:pt x="554075" y="32360"/>
                    <a:pt x="556022" y="34771"/>
                  </a:cubicBezTo>
                  <a:cubicBezTo>
                    <a:pt x="559918" y="37527"/>
                    <a:pt x="555049" y="44760"/>
                    <a:pt x="554400" y="49582"/>
                  </a:cubicBezTo>
                  <a:cubicBezTo>
                    <a:pt x="553101" y="57849"/>
                    <a:pt x="551478" y="64738"/>
                    <a:pt x="545311" y="69561"/>
                  </a:cubicBezTo>
                  <a:lnTo>
                    <a:pt x="546822" y="76428"/>
                  </a:lnTo>
                  <a:cubicBezTo>
                    <a:pt x="548253" y="80045"/>
                    <a:pt x="549774" y="76105"/>
                    <a:pt x="554400" y="84372"/>
                  </a:cubicBezTo>
                  <a:cubicBezTo>
                    <a:pt x="554075" y="87817"/>
                    <a:pt x="555373" y="91950"/>
                    <a:pt x="553101" y="94361"/>
                  </a:cubicBezTo>
                  <a:cubicBezTo>
                    <a:pt x="546609" y="101250"/>
                    <a:pt x="545960" y="88161"/>
                    <a:pt x="545311" y="87472"/>
                  </a:cubicBezTo>
                  <a:cubicBezTo>
                    <a:pt x="544013" y="85750"/>
                    <a:pt x="542065" y="85405"/>
                    <a:pt x="540442" y="84372"/>
                  </a:cubicBezTo>
                  <a:cubicBezTo>
                    <a:pt x="535898" y="89194"/>
                    <a:pt x="531354" y="90917"/>
                    <a:pt x="529731" y="97461"/>
                  </a:cubicBezTo>
                  <a:cubicBezTo>
                    <a:pt x="528108" y="100906"/>
                    <a:pt x="524213" y="103661"/>
                    <a:pt x="524537" y="106417"/>
                  </a:cubicBezTo>
                  <a:cubicBezTo>
                    <a:pt x="524862" y="109173"/>
                    <a:pt x="527459" y="110895"/>
                    <a:pt x="531029" y="113995"/>
                  </a:cubicBezTo>
                  <a:cubicBezTo>
                    <a:pt x="532652" y="120195"/>
                    <a:pt x="545311" y="125706"/>
                    <a:pt x="545311" y="125706"/>
                  </a:cubicBezTo>
                  <a:cubicBezTo>
                    <a:pt x="550829" y="130184"/>
                    <a:pt x="555049" y="132940"/>
                    <a:pt x="565436" y="137418"/>
                  </a:cubicBezTo>
                  <a:cubicBezTo>
                    <a:pt x="572901" y="142240"/>
                    <a:pt x="582963" y="150507"/>
                    <a:pt x="590429" y="153951"/>
                  </a:cubicBezTo>
                  <a:cubicBezTo>
                    <a:pt x="597895" y="157396"/>
                    <a:pt x="606983" y="156362"/>
                    <a:pt x="610554" y="158774"/>
                  </a:cubicBezTo>
                  <a:cubicBezTo>
                    <a:pt x="611852" y="159807"/>
                    <a:pt x="610878" y="166696"/>
                    <a:pt x="612177" y="168074"/>
                  </a:cubicBezTo>
                  <a:cubicBezTo>
                    <a:pt x="614449" y="170485"/>
                    <a:pt x="616721" y="167040"/>
                    <a:pt x="618344" y="170140"/>
                  </a:cubicBezTo>
                  <a:cubicBezTo>
                    <a:pt x="621265" y="175996"/>
                    <a:pt x="621265" y="174963"/>
                    <a:pt x="626134" y="178407"/>
                  </a:cubicBezTo>
                  <a:cubicBezTo>
                    <a:pt x="637170" y="177718"/>
                    <a:pt x="647557" y="181507"/>
                    <a:pt x="651127" y="170140"/>
                  </a:cubicBezTo>
                  <a:cubicBezTo>
                    <a:pt x="652426" y="160496"/>
                    <a:pt x="655347" y="150162"/>
                    <a:pt x="660865" y="142240"/>
                  </a:cubicBezTo>
                  <a:cubicBezTo>
                    <a:pt x="664111" y="128117"/>
                    <a:pt x="664760" y="137073"/>
                    <a:pt x="667357" y="113306"/>
                  </a:cubicBezTo>
                  <a:cubicBezTo>
                    <a:pt x="668006" y="107106"/>
                    <a:pt x="666708" y="100906"/>
                    <a:pt x="666708" y="100906"/>
                  </a:cubicBezTo>
                  <a:cubicBezTo>
                    <a:pt x="668980" y="68527"/>
                    <a:pt x="665734" y="85061"/>
                    <a:pt x="669954" y="70938"/>
                  </a:cubicBezTo>
                  <a:cubicBezTo>
                    <a:pt x="671252" y="66116"/>
                    <a:pt x="674498" y="56127"/>
                    <a:pt x="674498" y="56127"/>
                  </a:cubicBezTo>
                  <a:cubicBezTo>
                    <a:pt x="675147" y="48549"/>
                    <a:pt x="674822" y="40627"/>
                    <a:pt x="676121" y="33049"/>
                  </a:cubicBezTo>
                  <a:cubicBezTo>
                    <a:pt x="677095" y="27882"/>
                    <a:pt x="682288" y="18237"/>
                    <a:pt x="682288" y="18237"/>
                  </a:cubicBezTo>
                  <a:close/>
                </a:path>
              </a:pathLst>
            </a:custGeom>
            <a:solidFill>
              <a:schemeClr val="accent1"/>
            </a:solidFill>
            <a:ln w="9525" cap="flat" cmpd="sng">
              <a:solidFill>
                <a:schemeClr val="bg1"/>
              </a:solidFill>
              <a:prstDash val="solid"/>
              <a:round/>
              <a:headEnd type="none" w="med" len="med"/>
              <a:tailEnd type="none" w="med" len="med"/>
            </a:ln>
            <a:effectLst/>
            <a:extLst/>
          </p:spPr>
          <p:txBody>
            <a:bodyPr>
              <a:noAutofit/>
            </a:bodyPr>
            <a:lstStyle/>
            <a:p>
              <a:pPr fontAlgn="auto">
                <a:spcBef>
                  <a:spcPts val="0"/>
                </a:spcBef>
                <a:spcAft>
                  <a:spcPts val="0"/>
                </a:spcAft>
                <a:defRPr/>
              </a:pPr>
              <a:endParaRPr lang="en-CA" kern="0">
                <a:solidFill>
                  <a:sysClr val="windowText" lastClr="000000"/>
                </a:solidFill>
              </a:endParaRPr>
            </a:p>
          </p:txBody>
        </p:sp>
        <p:sp>
          <p:nvSpPr>
            <p:cNvPr id="472" name="Freeform 339"/>
            <p:cNvSpPr>
              <a:spLocks/>
            </p:cNvSpPr>
            <p:nvPr>
              <p:custDataLst>
                <p:tags r:id="rId145"/>
              </p:custDataLst>
            </p:nvPr>
          </p:nvSpPr>
          <p:spPr bwMode="gray">
            <a:xfrm>
              <a:off x="3928347" y="1958909"/>
              <a:ext cx="184524" cy="216382"/>
            </a:xfrm>
            <a:custGeom>
              <a:avLst/>
              <a:gdLst/>
              <a:ahLst/>
              <a:cxnLst/>
              <a:rect l="l" t="t" r="r" b="b"/>
              <a:pathLst>
                <a:path w="366140" h="446343">
                  <a:moveTo>
                    <a:pt x="278678" y="132903"/>
                  </a:moveTo>
                  <a:cubicBezTo>
                    <a:pt x="281307" y="132784"/>
                    <a:pt x="283589" y="133643"/>
                    <a:pt x="285177" y="135934"/>
                  </a:cubicBezTo>
                  <a:cubicBezTo>
                    <a:pt x="291527" y="145098"/>
                    <a:pt x="294702" y="187863"/>
                    <a:pt x="296289" y="203136"/>
                  </a:cubicBezTo>
                  <a:cubicBezTo>
                    <a:pt x="297877" y="218409"/>
                    <a:pt x="299464" y="215354"/>
                    <a:pt x="296289" y="224518"/>
                  </a:cubicBezTo>
                  <a:cubicBezTo>
                    <a:pt x="293114" y="233682"/>
                    <a:pt x="286764" y="242846"/>
                    <a:pt x="282002" y="256592"/>
                  </a:cubicBezTo>
                  <a:cubicBezTo>
                    <a:pt x="275652" y="270338"/>
                    <a:pt x="269302" y="299356"/>
                    <a:pt x="262952" y="310048"/>
                  </a:cubicBezTo>
                  <a:cubicBezTo>
                    <a:pt x="256602" y="320739"/>
                    <a:pt x="250252" y="316157"/>
                    <a:pt x="243902" y="320739"/>
                  </a:cubicBezTo>
                  <a:cubicBezTo>
                    <a:pt x="237552" y="325321"/>
                    <a:pt x="228027" y="332957"/>
                    <a:pt x="226439" y="337539"/>
                  </a:cubicBezTo>
                  <a:cubicBezTo>
                    <a:pt x="224852" y="342121"/>
                    <a:pt x="239139" y="352812"/>
                    <a:pt x="235964" y="352812"/>
                  </a:cubicBezTo>
                  <a:cubicBezTo>
                    <a:pt x="232789" y="352812"/>
                    <a:pt x="218502" y="337539"/>
                    <a:pt x="210564" y="334485"/>
                  </a:cubicBezTo>
                  <a:cubicBezTo>
                    <a:pt x="202627" y="331430"/>
                    <a:pt x="189927" y="331430"/>
                    <a:pt x="183577" y="332957"/>
                  </a:cubicBezTo>
                  <a:cubicBezTo>
                    <a:pt x="177227" y="334485"/>
                    <a:pt x="172464" y="340594"/>
                    <a:pt x="167702" y="346703"/>
                  </a:cubicBezTo>
                  <a:cubicBezTo>
                    <a:pt x="162939" y="352812"/>
                    <a:pt x="161352" y="363504"/>
                    <a:pt x="155002" y="366558"/>
                  </a:cubicBezTo>
                  <a:cubicBezTo>
                    <a:pt x="148652" y="369613"/>
                    <a:pt x="137539" y="369613"/>
                    <a:pt x="129602" y="369613"/>
                  </a:cubicBezTo>
                  <a:cubicBezTo>
                    <a:pt x="121664" y="369613"/>
                    <a:pt x="113727" y="363504"/>
                    <a:pt x="105789" y="365031"/>
                  </a:cubicBezTo>
                  <a:cubicBezTo>
                    <a:pt x="97852" y="366558"/>
                    <a:pt x="93089" y="374195"/>
                    <a:pt x="85152" y="380304"/>
                  </a:cubicBezTo>
                  <a:cubicBezTo>
                    <a:pt x="77214" y="386413"/>
                    <a:pt x="62927" y="392523"/>
                    <a:pt x="56577" y="401686"/>
                  </a:cubicBezTo>
                  <a:cubicBezTo>
                    <a:pt x="50227" y="412378"/>
                    <a:pt x="50227" y="442924"/>
                    <a:pt x="42289" y="445979"/>
                  </a:cubicBezTo>
                  <a:cubicBezTo>
                    <a:pt x="34352" y="449033"/>
                    <a:pt x="10539" y="432233"/>
                    <a:pt x="4189" y="420014"/>
                  </a:cubicBezTo>
                  <a:cubicBezTo>
                    <a:pt x="-2161" y="407796"/>
                    <a:pt x="-573" y="386413"/>
                    <a:pt x="4189" y="374195"/>
                  </a:cubicBezTo>
                  <a:cubicBezTo>
                    <a:pt x="8952" y="361976"/>
                    <a:pt x="23239" y="351285"/>
                    <a:pt x="32764" y="343649"/>
                  </a:cubicBezTo>
                  <a:cubicBezTo>
                    <a:pt x="42289" y="336012"/>
                    <a:pt x="53402" y="337539"/>
                    <a:pt x="61339" y="332957"/>
                  </a:cubicBezTo>
                  <a:cubicBezTo>
                    <a:pt x="69277" y="328375"/>
                    <a:pt x="70864" y="314630"/>
                    <a:pt x="85152" y="311575"/>
                  </a:cubicBezTo>
                  <a:cubicBezTo>
                    <a:pt x="97852" y="308520"/>
                    <a:pt x="135952" y="314630"/>
                    <a:pt x="150239" y="310048"/>
                  </a:cubicBezTo>
                  <a:cubicBezTo>
                    <a:pt x="164527" y="305466"/>
                    <a:pt x="170877" y="294775"/>
                    <a:pt x="174052" y="288665"/>
                  </a:cubicBezTo>
                  <a:cubicBezTo>
                    <a:pt x="177227" y="281029"/>
                    <a:pt x="167702" y="264228"/>
                    <a:pt x="174052" y="261174"/>
                  </a:cubicBezTo>
                  <a:cubicBezTo>
                    <a:pt x="180402" y="258119"/>
                    <a:pt x="199452" y="270338"/>
                    <a:pt x="207389" y="267283"/>
                  </a:cubicBezTo>
                  <a:cubicBezTo>
                    <a:pt x="215327" y="264228"/>
                    <a:pt x="213739" y="244373"/>
                    <a:pt x="220089" y="238264"/>
                  </a:cubicBezTo>
                  <a:cubicBezTo>
                    <a:pt x="226439" y="232155"/>
                    <a:pt x="240727" y="242846"/>
                    <a:pt x="245489" y="233682"/>
                  </a:cubicBezTo>
                  <a:cubicBezTo>
                    <a:pt x="250252" y="224518"/>
                    <a:pt x="247077" y="198554"/>
                    <a:pt x="248664" y="184808"/>
                  </a:cubicBezTo>
                  <a:cubicBezTo>
                    <a:pt x="250252" y="172590"/>
                    <a:pt x="248664" y="155789"/>
                    <a:pt x="255014" y="148153"/>
                  </a:cubicBezTo>
                  <a:cubicBezTo>
                    <a:pt x="259777" y="142425"/>
                    <a:pt x="270790" y="133261"/>
                    <a:pt x="278678" y="132903"/>
                  </a:cubicBezTo>
                  <a:close/>
                  <a:moveTo>
                    <a:pt x="266560" y="2495"/>
                  </a:moveTo>
                  <a:lnTo>
                    <a:pt x="264539" y="2723"/>
                  </a:lnTo>
                  <a:cubicBezTo>
                    <a:pt x="263055" y="2723"/>
                    <a:pt x="264193" y="2574"/>
                    <a:pt x="266560" y="2495"/>
                  </a:cubicBezTo>
                  <a:close/>
                  <a:moveTo>
                    <a:pt x="285177" y="425"/>
                  </a:moveTo>
                  <a:cubicBezTo>
                    <a:pt x="294702" y="-341"/>
                    <a:pt x="305021" y="-341"/>
                    <a:pt x="310577" y="2723"/>
                  </a:cubicBezTo>
                  <a:cubicBezTo>
                    <a:pt x="321690" y="8852"/>
                    <a:pt x="324865" y="34898"/>
                    <a:pt x="334390" y="41027"/>
                  </a:cubicBezTo>
                  <a:cubicBezTo>
                    <a:pt x="343915" y="47155"/>
                    <a:pt x="361377" y="33366"/>
                    <a:pt x="366140" y="36430"/>
                  </a:cubicBezTo>
                  <a:cubicBezTo>
                    <a:pt x="370902" y="39494"/>
                    <a:pt x="370902" y="53284"/>
                    <a:pt x="366140" y="60944"/>
                  </a:cubicBezTo>
                  <a:cubicBezTo>
                    <a:pt x="361377" y="68605"/>
                    <a:pt x="347090" y="77798"/>
                    <a:pt x="339152" y="83926"/>
                  </a:cubicBezTo>
                  <a:cubicBezTo>
                    <a:pt x="331215" y="90055"/>
                    <a:pt x="329627" y="97715"/>
                    <a:pt x="320102" y="97715"/>
                  </a:cubicBezTo>
                  <a:cubicBezTo>
                    <a:pt x="310577" y="97715"/>
                    <a:pt x="283589" y="85458"/>
                    <a:pt x="277239" y="88523"/>
                  </a:cubicBezTo>
                  <a:cubicBezTo>
                    <a:pt x="272477" y="91587"/>
                    <a:pt x="285177" y="106908"/>
                    <a:pt x="280414" y="113037"/>
                  </a:cubicBezTo>
                  <a:cubicBezTo>
                    <a:pt x="275652" y="119165"/>
                    <a:pt x="258189" y="128358"/>
                    <a:pt x="250252" y="125294"/>
                  </a:cubicBezTo>
                  <a:cubicBezTo>
                    <a:pt x="242314" y="122229"/>
                    <a:pt x="232789" y="105376"/>
                    <a:pt x="234377" y="94651"/>
                  </a:cubicBezTo>
                  <a:cubicBezTo>
                    <a:pt x="235964" y="83926"/>
                    <a:pt x="255014" y="74733"/>
                    <a:pt x="262952" y="62476"/>
                  </a:cubicBezTo>
                  <a:cubicBezTo>
                    <a:pt x="270889" y="50219"/>
                    <a:pt x="278827" y="31834"/>
                    <a:pt x="282002" y="22641"/>
                  </a:cubicBezTo>
                  <a:cubicBezTo>
                    <a:pt x="285177" y="13448"/>
                    <a:pt x="288352" y="7320"/>
                    <a:pt x="285177" y="4256"/>
                  </a:cubicBezTo>
                  <a:cubicBezTo>
                    <a:pt x="282992" y="2147"/>
                    <a:pt x="271782" y="2215"/>
                    <a:pt x="266560" y="2495"/>
                  </a:cubicBezTo>
                  <a:cubicBezTo>
                    <a:pt x="270296" y="2164"/>
                    <a:pt x="277477" y="1044"/>
                    <a:pt x="285177" y="425"/>
                  </a:cubicBezTo>
                  <a:close/>
                </a:path>
              </a:pathLst>
            </a:custGeom>
            <a:solidFill>
              <a:schemeClr val="accent1"/>
            </a:solidFill>
            <a:ln w="9525" cap="flat" cmpd="sng">
              <a:solidFill>
                <a:schemeClr val="bg1"/>
              </a:solidFill>
              <a:prstDash val="solid"/>
              <a:round/>
              <a:headEnd type="none" w="med" len="med"/>
              <a:tailEnd type="none" w="med" len="med"/>
            </a:ln>
            <a:effectLst/>
            <a:extLst/>
          </p:spPr>
          <p:txBody>
            <a:bodyPr>
              <a:noAutofit/>
            </a:bodyPr>
            <a:lstStyle/>
            <a:p>
              <a:pPr fontAlgn="auto">
                <a:spcBef>
                  <a:spcPts val="0"/>
                </a:spcBef>
                <a:spcAft>
                  <a:spcPts val="0"/>
                </a:spcAft>
                <a:defRPr/>
              </a:pPr>
              <a:endParaRPr lang="en-CA" kern="0">
                <a:solidFill>
                  <a:sysClr val="windowText" lastClr="000000"/>
                </a:solidFill>
              </a:endParaRPr>
            </a:p>
          </p:txBody>
        </p:sp>
        <p:sp>
          <p:nvSpPr>
            <p:cNvPr id="473" name="Freeform 404"/>
            <p:cNvSpPr>
              <a:spLocks/>
            </p:cNvSpPr>
            <p:nvPr>
              <p:custDataLst>
                <p:tags r:id="rId146"/>
              </p:custDataLst>
            </p:nvPr>
          </p:nvSpPr>
          <p:spPr bwMode="gray">
            <a:xfrm>
              <a:off x="1479897" y="2411322"/>
              <a:ext cx="163211" cy="123136"/>
            </a:xfrm>
            <a:custGeom>
              <a:avLst/>
              <a:gdLst>
                <a:gd name="T0" fmla="*/ 18 w 200"/>
                <a:gd name="T1" fmla="*/ 4 h 160"/>
                <a:gd name="T2" fmla="*/ 16 w 200"/>
                <a:gd name="T3" fmla="*/ 25 h 160"/>
                <a:gd name="T4" fmla="*/ 30 w 200"/>
                <a:gd name="T5" fmla="*/ 36 h 160"/>
                <a:gd name="T6" fmla="*/ 31 w 200"/>
                <a:gd name="T7" fmla="*/ 13 h 160"/>
                <a:gd name="T8" fmla="*/ 51 w 200"/>
                <a:gd name="T9" fmla="*/ 9 h 160"/>
                <a:gd name="T10" fmla="*/ 69 w 200"/>
                <a:gd name="T11" fmla="*/ 3 h 160"/>
                <a:gd name="T12" fmla="*/ 93 w 200"/>
                <a:gd name="T13" fmla="*/ 16 h 160"/>
                <a:gd name="T14" fmla="*/ 117 w 200"/>
                <a:gd name="T15" fmla="*/ 21 h 160"/>
                <a:gd name="T16" fmla="*/ 133 w 200"/>
                <a:gd name="T17" fmla="*/ 12 h 160"/>
                <a:gd name="T18" fmla="*/ 154 w 200"/>
                <a:gd name="T19" fmla="*/ 18 h 160"/>
                <a:gd name="T20" fmla="*/ 174 w 200"/>
                <a:gd name="T21" fmla="*/ 27 h 160"/>
                <a:gd name="T22" fmla="*/ 186 w 200"/>
                <a:gd name="T23" fmla="*/ 37 h 160"/>
                <a:gd name="T24" fmla="*/ 189 w 200"/>
                <a:gd name="T25" fmla="*/ 57 h 160"/>
                <a:gd name="T26" fmla="*/ 181 w 200"/>
                <a:gd name="T27" fmla="*/ 72 h 160"/>
                <a:gd name="T28" fmla="*/ 178 w 200"/>
                <a:gd name="T29" fmla="*/ 87 h 160"/>
                <a:gd name="T30" fmla="*/ 175 w 200"/>
                <a:gd name="T31" fmla="*/ 100 h 160"/>
                <a:gd name="T32" fmla="*/ 162 w 200"/>
                <a:gd name="T33" fmla="*/ 115 h 160"/>
                <a:gd name="T34" fmla="*/ 135 w 200"/>
                <a:gd name="T35" fmla="*/ 120 h 160"/>
                <a:gd name="T36" fmla="*/ 135 w 200"/>
                <a:gd name="T37" fmla="*/ 135 h 160"/>
                <a:gd name="T38" fmla="*/ 129 w 200"/>
                <a:gd name="T39" fmla="*/ 151 h 160"/>
                <a:gd name="T40" fmla="*/ 124 w 200"/>
                <a:gd name="T41" fmla="*/ 157 h 160"/>
                <a:gd name="T42" fmla="*/ 106 w 200"/>
                <a:gd name="T43" fmla="*/ 159 h 160"/>
                <a:gd name="T44" fmla="*/ 82 w 200"/>
                <a:gd name="T45" fmla="*/ 148 h 160"/>
                <a:gd name="T46" fmla="*/ 84 w 200"/>
                <a:gd name="T47" fmla="*/ 136 h 160"/>
                <a:gd name="T48" fmla="*/ 82 w 200"/>
                <a:gd name="T49" fmla="*/ 87 h 160"/>
                <a:gd name="T50" fmla="*/ 61 w 200"/>
                <a:gd name="T51" fmla="*/ 82 h 160"/>
                <a:gd name="T52" fmla="*/ 43 w 200"/>
                <a:gd name="T53" fmla="*/ 73 h 160"/>
                <a:gd name="T54" fmla="*/ 30 w 200"/>
                <a:gd name="T55" fmla="*/ 63 h 160"/>
                <a:gd name="T56" fmla="*/ 18 w 200"/>
                <a:gd name="T57" fmla="*/ 57 h 160"/>
                <a:gd name="T58" fmla="*/ 6 w 200"/>
                <a:gd name="T59" fmla="*/ 37 h 160"/>
                <a:gd name="T60" fmla="*/ 0 w 200"/>
                <a:gd name="T61" fmla="*/ 22 h 160"/>
                <a:gd name="T62" fmla="*/ 15 w 200"/>
                <a:gd name="T63" fmla="*/ 6 h 160"/>
                <a:gd name="T64" fmla="*/ 24 w 200"/>
                <a:gd name="T65" fmla="*/ 13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00" h="160">
                  <a:moveTo>
                    <a:pt x="18" y="4"/>
                  </a:moveTo>
                  <a:cubicBezTo>
                    <a:pt x="23" y="12"/>
                    <a:pt x="31" y="23"/>
                    <a:pt x="16" y="25"/>
                  </a:cubicBezTo>
                  <a:cubicBezTo>
                    <a:pt x="13" y="39"/>
                    <a:pt x="15" y="37"/>
                    <a:pt x="30" y="36"/>
                  </a:cubicBezTo>
                  <a:cubicBezTo>
                    <a:pt x="30" y="28"/>
                    <a:pt x="27" y="20"/>
                    <a:pt x="31" y="13"/>
                  </a:cubicBezTo>
                  <a:cubicBezTo>
                    <a:pt x="35" y="7"/>
                    <a:pt x="51" y="9"/>
                    <a:pt x="51" y="9"/>
                  </a:cubicBezTo>
                  <a:cubicBezTo>
                    <a:pt x="59" y="3"/>
                    <a:pt x="57" y="0"/>
                    <a:pt x="69" y="3"/>
                  </a:cubicBezTo>
                  <a:cubicBezTo>
                    <a:pt x="71" y="22"/>
                    <a:pt x="73" y="18"/>
                    <a:pt x="93" y="16"/>
                  </a:cubicBezTo>
                  <a:cubicBezTo>
                    <a:pt x="111" y="20"/>
                    <a:pt x="103" y="18"/>
                    <a:pt x="117" y="21"/>
                  </a:cubicBezTo>
                  <a:cubicBezTo>
                    <a:pt x="127" y="19"/>
                    <a:pt x="126" y="17"/>
                    <a:pt x="133" y="12"/>
                  </a:cubicBezTo>
                  <a:cubicBezTo>
                    <a:pt x="143" y="13"/>
                    <a:pt x="147" y="12"/>
                    <a:pt x="154" y="18"/>
                  </a:cubicBezTo>
                  <a:cubicBezTo>
                    <a:pt x="158" y="26"/>
                    <a:pt x="166" y="25"/>
                    <a:pt x="174" y="27"/>
                  </a:cubicBezTo>
                  <a:cubicBezTo>
                    <a:pt x="175" y="35"/>
                    <a:pt x="178" y="36"/>
                    <a:pt x="186" y="37"/>
                  </a:cubicBezTo>
                  <a:cubicBezTo>
                    <a:pt x="196" y="42"/>
                    <a:pt x="200" y="55"/>
                    <a:pt x="189" y="57"/>
                  </a:cubicBezTo>
                  <a:cubicBezTo>
                    <a:pt x="188" y="75"/>
                    <a:pt x="189" y="62"/>
                    <a:pt x="181" y="72"/>
                  </a:cubicBezTo>
                  <a:cubicBezTo>
                    <a:pt x="179" y="77"/>
                    <a:pt x="179" y="82"/>
                    <a:pt x="178" y="87"/>
                  </a:cubicBezTo>
                  <a:cubicBezTo>
                    <a:pt x="177" y="92"/>
                    <a:pt x="178" y="95"/>
                    <a:pt x="175" y="100"/>
                  </a:cubicBezTo>
                  <a:cubicBezTo>
                    <a:pt x="172" y="105"/>
                    <a:pt x="169" y="112"/>
                    <a:pt x="162" y="115"/>
                  </a:cubicBezTo>
                  <a:cubicBezTo>
                    <a:pt x="152" y="115"/>
                    <a:pt x="146" y="116"/>
                    <a:pt x="135" y="120"/>
                  </a:cubicBezTo>
                  <a:cubicBezTo>
                    <a:pt x="136" y="126"/>
                    <a:pt x="132" y="129"/>
                    <a:pt x="135" y="135"/>
                  </a:cubicBezTo>
                  <a:cubicBezTo>
                    <a:pt x="134" y="140"/>
                    <a:pt x="131" y="148"/>
                    <a:pt x="129" y="151"/>
                  </a:cubicBezTo>
                  <a:cubicBezTo>
                    <a:pt x="127" y="154"/>
                    <a:pt x="128" y="156"/>
                    <a:pt x="124" y="157"/>
                  </a:cubicBezTo>
                  <a:cubicBezTo>
                    <a:pt x="120" y="158"/>
                    <a:pt x="113" y="160"/>
                    <a:pt x="106" y="159"/>
                  </a:cubicBezTo>
                  <a:cubicBezTo>
                    <a:pt x="99" y="158"/>
                    <a:pt x="86" y="152"/>
                    <a:pt x="82" y="148"/>
                  </a:cubicBezTo>
                  <a:cubicBezTo>
                    <a:pt x="78" y="144"/>
                    <a:pt x="84" y="146"/>
                    <a:pt x="84" y="136"/>
                  </a:cubicBezTo>
                  <a:cubicBezTo>
                    <a:pt x="81" y="125"/>
                    <a:pt x="86" y="96"/>
                    <a:pt x="82" y="87"/>
                  </a:cubicBezTo>
                  <a:cubicBezTo>
                    <a:pt x="78" y="78"/>
                    <a:pt x="67" y="84"/>
                    <a:pt x="61" y="82"/>
                  </a:cubicBezTo>
                  <a:cubicBezTo>
                    <a:pt x="55" y="78"/>
                    <a:pt x="49" y="77"/>
                    <a:pt x="43" y="73"/>
                  </a:cubicBezTo>
                  <a:cubicBezTo>
                    <a:pt x="37" y="69"/>
                    <a:pt x="37" y="64"/>
                    <a:pt x="30" y="63"/>
                  </a:cubicBezTo>
                  <a:cubicBezTo>
                    <a:pt x="23" y="60"/>
                    <a:pt x="25" y="61"/>
                    <a:pt x="18" y="57"/>
                  </a:cubicBezTo>
                  <a:cubicBezTo>
                    <a:pt x="15" y="52"/>
                    <a:pt x="11" y="40"/>
                    <a:pt x="6" y="37"/>
                  </a:cubicBezTo>
                  <a:cubicBezTo>
                    <a:pt x="3" y="32"/>
                    <a:pt x="1" y="28"/>
                    <a:pt x="0" y="22"/>
                  </a:cubicBezTo>
                  <a:cubicBezTo>
                    <a:pt x="2" y="13"/>
                    <a:pt x="6" y="8"/>
                    <a:pt x="15" y="6"/>
                  </a:cubicBezTo>
                  <a:cubicBezTo>
                    <a:pt x="16" y="16"/>
                    <a:pt x="14" y="13"/>
                    <a:pt x="24" y="13"/>
                  </a:cubicBezTo>
                </a:path>
              </a:pathLst>
            </a:custGeom>
            <a:solidFill>
              <a:schemeClr val="bg1">
                <a:lumMod val="85000"/>
              </a:schemeClr>
            </a:solidFill>
            <a:ln w="9525" cap="flat" cmpd="sng">
              <a:solidFill>
                <a:schemeClr val="bg1"/>
              </a:solidFill>
              <a:prstDash val="solid"/>
              <a:round/>
              <a:headEnd type="none" w="med" len="med"/>
              <a:tailEnd type="none" w="med" len="med"/>
            </a:ln>
            <a:effectLst/>
            <a:extLst/>
          </p:spPr>
          <p:txBody>
            <a:bodyPr>
              <a:noAutofit/>
            </a:bodyPr>
            <a:lstStyle/>
            <a:p>
              <a:pPr fontAlgn="auto">
                <a:spcBef>
                  <a:spcPts val="0"/>
                </a:spcBef>
                <a:spcAft>
                  <a:spcPts val="0"/>
                </a:spcAft>
                <a:defRPr/>
              </a:pPr>
              <a:endParaRPr lang="en-CA" kern="0">
                <a:solidFill>
                  <a:sysClr val="windowText" lastClr="000000"/>
                </a:solidFill>
              </a:endParaRPr>
            </a:p>
          </p:txBody>
        </p:sp>
        <p:sp>
          <p:nvSpPr>
            <p:cNvPr id="474" name="Freeform 405"/>
            <p:cNvSpPr>
              <a:spLocks/>
            </p:cNvSpPr>
            <p:nvPr>
              <p:custDataLst>
                <p:tags r:id="rId147"/>
              </p:custDataLst>
            </p:nvPr>
          </p:nvSpPr>
          <p:spPr bwMode="gray">
            <a:xfrm>
              <a:off x="1695110" y="2469814"/>
              <a:ext cx="52804" cy="46946"/>
            </a:xfrm>
            <a:custGeom>
              <a:avLst/>
              <a:gdLst>
                <a:gd name="T0" fmla="*/ 15 w 65"/>
                <a:gd name="T1" fmla="*/ 56 h 61"/>
                <a:gd name="T2" fmla="*/ 57 w 65"/>
                <a:gd name="T3" fmla="*/ 45 h 61"/>
                <a:gd name="T4" fmla="*/ 36 w 65"/>
                <a:gd name="T5" fmla="*/ 12 h 61"/>
                <a:gd name="T6" fmla="*/ 15 w 65"/>
                <a:gd name="T7" fmla="*/ 56 h 61"/>
              </a:gdLst>
              <a:ahLst/>
              <a:cxnLst>
                <a:cxn ang="0">
                  <a:pos x="T0" y="T1"/>
                </a:cxn>
                <a:cxn ang="0">
                  <a:pos x="T2" y="T3"/>
                </a:cxn>
                <a:cxn ang="0">
                  <a:pos x="T4" y="T5"/>
                </a:cxn>
                <a:cxn ang="0">
                  <a:pos x="T6" y="T7"/>
                </a:cxn>
              </a:cxnLst>
              <a:rect l="0" t="0" r="r" b="b"/>
              <a:pathLst>
                <a:path w="65" h="61">
                  <a:moveTo>
                    <a:pt x="15" y="56"/>
                  </a:moveTo>
                  <a:cubicBezTo>
                    <a:pt x="56" y="54"/>
                    <a:pt x="36" y="61"/>
                    <a:pt x="57" y="45"/>
                  </a:cubicBezTo>
                  <a:cubicBezTo>
                    <a:pt x="65" y="29"/>
                    <a:pt x="46" y="20"/>
                    <a:pt x="36" y="12"/>
                  </a:cubicBezTo>
                  <a:cubicBezTo>
                    <a:pt x="0" y="16"/>
                    <a:pt x="15" y="0"/>
                    <a:pt x="15" y="56"/>
                  </a:cubicBezTo>
                  <a:close/>
                </a:path>
              </a:pathLst>
            </a:custGeom>
            <a:solidFill>
              <a:schemeClr val="bg1">
                <a:lumMod val="85000"/>
              </a:schemeClr>
            </a:solidFill>
            <a:ln w="9525" cap="flat" cmpd="sng">
              <a:solidFill>
                <a:schemeClr val="bg1"/>
              </a:solidFill>
              <a:prstDash val="solid"/>
              <a:round/>
              <a:headEnd type="none" w="med" len="med"/>
              <a:tailEnd type="none" w="med" len="med"/>
            </a:ln>
            <a:effectLst/>
            <a:extLst/>
          </p:spPr>
          <p:txBody>
            <a:bodyPr>
              <a:noAutofit/>
            </a:bodyPr>
            <a:lstStyle/>
            <a:p>
              <a:pPr fontAlgn="auto">
                <a:spcBef>
                  <a:spcPts val="0"/>
                </a:spcBef>
                <a:spcAft>
                  <a:spcPts val="0"/>
                </a:spcAft>
                <a:defRPr/>
              </a:pPr>
              <a:endParaRPr lang="en-CA" kern="0">
                <a:solidFill>
                  <a:sysClr val="windowText" lastClr="000000"/>
                </a:solidFill>
              </a:endParaRPr>
            </a:p>
          </p:txBody>
        </p:sp>
        <p:sp>
          <p:nvSpPr>
            <p:cNvPr id="475" name="Freeform 406"/>
            <p:cNvSpPr>
              <a:spLocks/>
            </p:cNvSpPr>
            <p:nvPr>
              <p:custDataLst>
                <p:tags r:id="rId148"/>
              </p:custDataLst>
            </p:nvPr>
          </p:nvSpPr>
          <p:spPr bwMode="gray">
            <a:xfrm>
              <a:off x="1661509" y="2474431"/>
              <a:ext cx="47205" cy="48485"/>
            </a:xfrm>
            <a:custGeom>
              <a:avLst/>
              <a:gdLst>
                <a:gd name="T0" fmla="*/ 9 w 57"/>
                <a:gd name="T1" fmla="*/ 0 h 63"/>
                <a:gd name="T2" fmla="*/ 36 w 57"/>
                <a:gd name="T3" fmla="*/ 5 h 63"/>
                <a:gd name="T4" fmla="*/ 51 w 57"/>
                <a:gd name="T5" fmla="*/ 8 h 63"/>
                <a:gd name="T6" fmla="*/ 57 w 57"/>
                <a:gd name="T7" fmla="*/ 35 h 63"/>
                <a:gd name="T8" fmla="*/ 29 w 57"/>
                <a:gd name="T9" fmla="*/ 54 h 63"/>
                <a:gd name="T10" fmla="*/ 17 w 57"/>
                <a:gd name="T11" fmla="*/ 54 h 63"/>
                <a:gd name="T12" fmla="*/ 8 w 57"/>
                <a:gd name="T13" fmla="*/ 39 h 63"/>
                <a:gd name="T14" fmla="*/ 3 w 57"/>
                <a:gd name="T15" fmla="*/ 38 h 63"/>
                <a:gd name="T16" fmla="*/ 14 w 57"/>
                <a:gd name="T17" fmla="*/ 17 h 63"/>
                <a:gd name="T18" fmla="*/ 9 w 57"/>
                <a:gd name="T19" fmla="*/ 0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 h="63">
                  <a:moveTo>
                    <a:pt x="9" y="0"/>
                  </a:moveTo>
                  <a:cubicBezTo>
                    <a:pt x="22" y="1"/>
                    <a:pt x="26" y="2"/>
                    <a:pt x="36" y="5"/>
                  </a:cubicBezTo>
                  <a:cubicBezTo>
                    <a:pt x="41" y="6"/>
                    <a:pt x="51" y="8"/>
                    <a:pt x="51" y="8"/>
                  </a:cubicBezTo>
                  <a:cubicBezTo>
                    <a:pt x="57" y="16"/>
                    <a:pt x="55" y="26"/>
                    <a:pt x="57" y="35"/>
                  </a:cubicBezTo>
                  <a:cubicBezTo>
                    <a:pt x="55" y="55"/>
                    <a:pt x="49" y="53"/>
                    <a:pt x="29" y="54"/>
                  </a:cubicBezTo>
                  <a:cubicBezTo>
                    <a:pt x="24" y="63"/>
                    <a:pt x="27" y="55"/>
                    <a:pt x="17" y="54"/>
                  </a:cubicBezTo>
                  <a:cubicBezTo>
                    <a:pt x="17" y="47"/>
                    <a:pt x="10" y="45"/>
                    <a:pt x="8" y="39"/>
                  </a:cubicBezTo>
                  <a:cubicBezTo>
                    <a:pt x="8" y="37"/>
                    <a:pt x="4" y="40"/>
                    <a:pt x="3" y="38"/>
                  </a:cubicBezTo>
                  <a:cubicBezTo>
                    <a:pt x="0" y="29"/>
                    <a:pt x="15" y="24"/>
                    <a:pt x="14" y="17"/>
                  </a:cubicBezTo>
                  <a:cubicBezTo>
                    <a:pt x="13" y="11"/>
                    <a:pt x="11" y="6"/>
                    <a:pt x="9" y="0"/>
                  </a:cubicBezTo>
                  <a:close/>
                </a:path>
              </a:pathLst>
            </a:custGeom>
            <a:solidFill>
              <a:schemeClr val="bg1">
                <a:lumMod val="85000"/>
              </a:schemeClr>
            </a:solidFill>
            <a:ln w="9525" cap="flat" cmpd="sng">
              <a:solidFill>
                <a:schemeClr val="bg1"/>
              </a:solidFill>
              <a:prstDash val="solid"/>
              <a:round/>
              <a:headEnd type="none" w="med" len="med"/>
              <a:tailEnd type="none" w="med" len="med"/>
            </a:ln>
            <a:effectLst/>
            <a:extLst/>
          </p:spPr>
          <p:txBody>
            <a:bodyPr>
              <a:noAutofit/>
            </a:bodyPr>
            <a:lstStyle/>
            <a:p>
              <a:pPr fontAlgn="auto">
                <a:spcBef>
                  <a:spcPts val="0"/>
                </a:spcBef>
                <a:spcAft>
                  <a:spcPts val="0"/>
                </a:spcAft>
                <a:defRPr/>
              </a:pPr>
              <a:endParaRPr lang="en-CA" kern="0">
                <a:solidFill>
                  <a:sysClr val="windowText" lastClr="000000"/>
                </a:solidFill>
              </a:endParaRPr>
            </a:p>
          </p:txBody>
        </p:sp>
        <p:sp>
          <p:nvSpPr>
            <p:cNvPr id="476" name="Freeform 407"/>
            <p:cNvSpPr>
              <a:spLocks/>
            </p:cNvSpPr>
            <p:nvPr>
              <p:custDataLst>
                <p:tags r:id="rId149"/>
              </p:custDataLst>
            </p:nvPr>
          </p:nvSpPr>
          <p:spPr bwMode="gray">
            <a:xfrm>
              <a:off x="1616705" y="2440569"/>
              <a:ext cx="61604" cy="89273"/>
            </a:xfrm>
            <a:custGeom>
              <a:avLst/>
              <a:gdLst>
                <a:gd name="T0" fmla="*/ 24 w 76"/>
                <a:gd name="T1" fmla="*/ 13 h 116"/>
                <a:gd name="T2" fmla="*/ 13 w 76"/>
                <a:gd name="T3" fmla="*/ 35 h 116"/>
                <a:gd name="T4" fmla="*/ 13 w 76"/>
                <a:gd name="T5" fmla="*/ 67 h 116"/>
                <a:gd name="T6" fmla="*/ 22 w 76"/>
                <a:gd name="T7" fmla="*/ 70 h 116"/>
                <a:gd name="T8" fmla="*/ 24 w 76"/>
                <a:gd name="T9" fmla="*/ 83 h 116"/>
                <a:gd name="T10" fmla="*/ 30 w 76"/>
                <a:gd name="T11" fmla="*/ 97 h 116"/>
                <a:gd name="T12" fmla="*/ 36 w 76"/>
                <a:gd name="T13" fmla="*/ 110 h 116"/>
                <a:gd name="T14" fmla="*/ 45 w 76"/>
                <a:gd name="T15" fmla="*/ 115 h 116"/>
                <a:gd name="T16" fmla="*/ 63 w 76"/>
                <a:gd name="T17" fmla="*/ 110 h 116"/>
                <a:gd name="T18" fmla="*/ 70 w 76"/>
                <a:gd name="T19" fmla="*/ 101 h 116"/>
                <a:gd name="T20" fmla="*/ 61 w 76"/>
                <a:gd name="T21" fmla="*/ 82 h 116"/>
                <a:gd name="T22" fmla="*/ 66 w 76"/>
                <a:gd name="T23" fmla="*/ 65 h 116"/>
                <a:gd name="T24" fmla="*/ 49 w 76"/>
                <a:gd name="T25" fmla="*/ 28 h 116"/>
                <a:gd name="T26" fmla="*/ 33 w 76"/>
                <a:gd name="T27" fmla="*/ 13 h 116"/>
                <a:gd name="T28" fmla="*/ 21 w 76"/>
                <a:gd name="T29" fmla="*/ 23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6" h="116">
                  <a:moveTo>
                    <a:pt x="24" y="13"/>
                  </a:moveTo>
                  <a:cubicBezTo>
                    <a:pt x="20" y="21"/>
                    <a:pt x="20" y="31"/>
                    <a:pt x="13" y="35"/>
                  </a:cubicBezTo>
                  <a:cubicBezTo>
                    <a:pt x="7" y="45"/>
                    <a:pt x="0" y="63"/>
                    <a:pt x="13" y="67"/>
                  </a:cubicBezTo>
                  <a:cubicBezTo>
                    <a:pt x="18" y="70"/>
                    <a:pt x="19" y="65"/>
                    <a:pt x="22" y="70"/>
                  </a:cubicBezTo>
                  <a:cubicBezTo>
                    <a:pt x="20" y="75"/>
                    <a:pt x="27" y="78"/>
                    <a:pt x="24" y="83"/>
                  </a:cubicBezTo>
                  <a:cubicBezTo>
                    <a:pt x="25" y="88"/>
                    <a:pt x="28" y="93"/>
                    <a:pt x="30" y="97"/>
                  </a:cubicBezTo>
                  <a:cubicBezTo>
                    <a:pt x="32" y="101"/>
                    <a:pt x="33" y="107"/>
                    <a:pt x="36" y="110"/>
                  </a:cubicBezTo>
                  <a:cubicBezTo>
                    <a:pt x="37" y="116"/>
                    <a:pt x="39" y="112"/>
                    <a:pt x="45" y="115"/>
                  </a:cubicBezTo>
                  <a:cubicBezTo>
                    <a:pt x="54" y="113"/>
                    <a:pt x="56" y="113"/>
                    <a:pt x="63" y="110"/>
                  </a:cubicBezTo>
                  <a:cubicBezTo>
                    <a:pt x="66" y="106"/>
                    <a:pt x="67" y="105"/>
                    <a:pt x="70" y="101"/>
                  </a:cubicBezTo>
                  <a:cubicBezTo>
                    <a:pt x="72" y="93"/>
                    <a:pt x="68" y="87"/>
                    <a:pt x="61" y="82"/>
                  </a:cubicBezTo>
                  <a:cubicBezTo>
                    <a:pt x="57" y="75"/>
                    <a:pt x="59" y="70"/>
                    <a:pt x="66" y="65"/>
                  </a:cubicBezTo>
                  <a:cubicBezTo>
                    <a:pt x="76" y="49"/>
                    <a:pt x="63" y="36"/>
                    <a:pt x="49" y="28"/>
                  </a:cubicBezTo>
                  <a:cubicBezTo>
                    <a:pt x="45" y="21"/>
                    <a:pt x="40" y="18"/>
                    <a:pt x="33" y="13"/>
                  </a:cubicBezTo>
                  <a:cubicBezTo>
                    <a:pt x="25" y="0"/>
                    <a:pt x="26" y="18"/>
                    <a:pt x="21" y="23"/>
                  </a:cubicBezTo>
                </a:path>
              </a:pathLst>
            </a:custGeom>
            <a:solidFill>
              <a:schemeClr val="bg1">
                <a:lumMod val="85000"/>
              </a:schemeClr>
            </a:solidFill>
            <a:ln w="9525" cap="flat" cmpd="sng">
              <a:solidFill>
                <a:schemeClr val="bg1"/>
              </a:solidFill>
              <a:prstDash val="solid"/>
              <a:round/>
              <a:headEnd type="none" w="med" len="med"/>
              <a:tailEnd type="none" w="med" len="med"/>
            </a:ln>
            <a:effectLst/>
            <a:extLst/>
          </p:spPr>
          <p:txBody>
            <a:bodyPr>
              <a:noAutofit/>
            </a:bodyPr>
            <a:lstStyle/>
            <a:p>
              <a:pPr fontAlgn="auto">
                <a:spcBef>
                  <a:spcPts val="0"/>
                </a:spcBef>
                <a:spcAft>
                  <a:spcPts val="0"/>
                </a:spcAft>
                <a:defRPr/>
              </a:pPr>
              <a:endParaRPr lang="en-CA" kern="0">
                <a:solidFill>
                  <a:sysClr val="windowText" lastClr="000000"/>
                </a:solidFill>
              </a:endParaRPr>
            </a:p>
          </p:txBody>
        </p:sp>
        <p:sp>
          <p:nvSpPr>
            <p:cNvPr id="477" name="Freeform 408"/>
            <p:cNvSpPr>
              <a:spLocks/>
            </p:cNvSpPr>
            <p:nvPr>
              <p:custDataLst>
                <p:tags r:id="rId150"/>
              </p:custDataLst>
            </p:nvPr>
          </p:nvSpPr>
          <p:spPr bwMode="gray">
            <a:xfrm>
              <a:off x="1375889" y="2431332"/>
              <a:ext cx="56004" cy="30016"/>
            </a:xfrm>
            <a:custGeom>
              <a:avLst/>
              <a:gdLst>
                <a:gd name="T0" fmla="*/ 10 w 67"/>
                <a:gd name="T1" fmla="*/ 16 h 39"/>
                <a:gd name="T2" fmla="*/ 30 w 67"/>
                <a:gd name="T3" fmla="*/ 2 h 39"/>
                <a:gd name="T4" fmla="*/ 45 w 67"/>
                <a:gd name="T5" fmla="*/ 4 h 39"/>
                <a:gd name="T6" fmla="*/ 58 w 67"/>
                <a:gd name="T7" fmla="*/ 13 h 39"/>
                <a:gd name="T8" fmla="*/ 67 w 67"/>
                <a:gd name="T9" fmla="*/ 20 h 39"/>
                <a:gd name="T10" fmla="*/ 58 w 67"/>
                <a:gd name="T11" fmla="*/ 34 h 39"/>
                <a:gd name="T12" fmla="*/ 39 w 67"/>
                <a:gd name="T13" fmla="*/ 17 h 39"/>
                <a:gd name="T14" fmla="*/ 22 w 67"/>
                <a:gd name="T15" fmla="*/ 25 h 39"/>
                <a:gd name="T16" fmla="*/ 22 w 67"/>
                <a:gd name="T17" fmla="*/ 37 h 39"/>
                <a:gd name="T18" fmla="*/ 3 w 67"/>
                <a:gd name="T19" fmla="*/ 35 h 39"/>
                <a:gd name="T20" fmla="*/ 6 w 67"/>
                <a:gd name="T21" fmla="*/ 19 h 39"/>
                <a:gd name="T22" fmla="*/ 10 w 67"/>
                <a:gd name="T23" fmla="*/ 16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7" h="39">
                  <a:moveTo>
                    <a:pt x="10" y="16"/>
                  </a:moveTo>
                  <a:cubicBezTo>
                    <a:pt x="13" y="10"/>
                    <a:pt x="24" y="4"/>
                    <a:pt x="30" y="2"/>
                  </a:cubicBezTo>
                  <a:cubicBezTo>
                    <a:pt x="36" y="0"/>
                    <a:pt x="40" y="2"/>
                    <a:pt x="45" y="4"/>
                  </a:cubicBezTo>
                  <a:cubicBezTo>
                    <a:pt x="50" y="6"/>
                    <a:pt x="54" y="10"/>
                    <a:pt x="58" y="13"/>
                  </a:cubicBezTo>
                  <a:cubicBezTo>
                    <a:pt x="62" y="16"/>
                    <a:pt x="67" y="17"/>
                    <a:pt x="67" y="20"/>
                  </a:cubicBezTo>
                  <a:cubicBezTo>
                    <a:pt x="67" y="23"/>
                    <a:pt x="63" y="34"/>
                    <a:pt x="58" y="34"/>
                  </a:cubicBezTo>
                  <a:cubicBezTo>
                    <a:pt x="53" y="34"/>
                    <a:pt x="45" y="18"/>
                    <a:pt x="39" y="17"/>
                  </a:cubicBezTo>
                  <a:cubicBezTo>
                    <a:pt x="33" y="16"/>
                    <a:pt x="25" y="22"/>
                    <a:pt x="22" y="25"/>
                  </a:cubicBezTo>
                  <a:cubicBezTo>
                    <a:pt x="19" y="28"/>
                    <a:pt x="25" y="35"/>
                    <a:pt x="22" y="37"/>
                  </a:cubicBezTo>
                  <a:cubicBezTo>
                    <a:pt x="19" y="39"/>
                    <a:pt x="6" y="38"/>
                    <a:pt x="3" y="35"/>
                  </a:cubicBezTo>
                  <a:cubicBezTo>
                    <a:pt x="0" y="32"/>
                    <a:pt x="5" y="22"/>
                    <a:pt x="6" y="19"/>
                  </a:cubicBezTo>
                  <a:cubicBezTo>
                    <a:pt x="7" y="16"/>
                    <a:pt x="9" y="17"/>
                    <a:pt x="10" y="16"/>
                  </a:cubicBezTo>
                  <a:close/>
                </a:path>
              </a:pathLst>
            </a:custGeom>
            <a:solidFill>
              <a:schemeClr val="bg1">
                <a:lumMod val="85000"/>
              </a:schemeClr>
            </a:solidFill>
            <a:ln w="9525" cap="flat" cmpd="sng">
              <a:solidFill>
                <a:schemeClr val="bg1"/>
              </a:solidFill>
              <a:prstDash val="solid"/>
              <a:round/>
              <a:headEnd type="none" w="med" len="med"/>
              <a:tailEnd type="none" w="med" len="med"/>
            </a:ln>
            <a:effectLst/>
            <a:extLst/>
          </p:spPr>
          <p:txBody>
            <a:bodyPr>
              <a:noAutofit/>
            </a:bodyPr>
            <a:lstStyle/>
            <a:p>
              <a:pPr fontAlgn="auto">
                <a:spcBef>
                  <a:spcPts val="0"/>
                </a:spcBef>
                <a:spcAft>
                  <a:spcPts val="0"/>
                </a:spcAft>
                <a:defRPr/>
              </a:pPr>
              <a:endParaRPr lang="en-CA" kern="0">
                <a:solidFill>
                  <a:sysClr val="windowText" lastClr="000000"/>
                </a:solidFill>
              </a:endParaRPr>
            </a:p>
          </p:txBody>
        </p:sp>
        <p:sp>
          <p:nvSpPr>
            <p:cNvPr id="478" name="Freeform 409"/>
            <p:cNvSpPr>
              <a:spLocks/>
            </p:cNvSpPr>
            <p:nvPr>
              <p:custDataLst>
                <p:tags r:id="rId151"/>
              </p:custDataLst>
            </p:nvPr>
          </p:nvSpPr>
          <p:spPr bwMode="gray">
            <a:xfrm>
              <a:off x="1405491" y="2408245"/>
              <a:ext cx="144010" cy="169313"/>
            </a:xfrm>
            <a:custGeom>
              <a:avLst/>
              <a:gdLst>
                <a:gd name="T0" fmla="*/ 34 w 177"/>
                <a:gd name="T1" fmla="*/ 55 h 220"/>
                <a:gd name="T2" fmla="*/ 52 w 177"/>
                <a:gd name="T3" fmla="*/ 41 h 220"/>
                <a:gd name="T4" fmla="*/ 85 w 177"/>
                <a:gd name="T5" fmla="*/ 10 h 220"/>
                <a:gd name="T6" fmla="*/ 101 w 177"/>
                <a:gd name="T7" fmla="*/ 4 h 220"/>
                <a:gd name="T8" fmla="*/ 97 w 177"/>
                <a:gd name="T9" fmla="*/ 32 h 220"/>
                <a:gd name="T10" fmla="*/ 110 w 177"/>
                <a:gd name="T11" fmla="*/ 58 h 220"/>
                <a:gd name="T12" fmla="*/ 111 w 177"/>
                <a:gd name="T13" fmla="*/ 67 h 220"/>
                <a:gd name="T14" fmla="*/ 124 w 177"/>
                <a:gd name="T15" fmla="*/ 68 h 220"/>
                <a:gd name="T16" fmla="*/ 152 w 177"/>
                <a:gd name="T17" fmla="*/ 88 h 220"/>
                <a:gd name="T18" fmla="*/ 172 w 177"/>
                <a:gd name="T19" fmla="*/ 85 h 220"/>
                <a:gd name="T20" fmla="*/ 172 w 177"/>
                <a:gd name="T21" fmla="*/ 152 h 220"/>
                <a:gd name="T22" fmla="*/ 143 w 177"/>
                <a:gd name="T23" fmla="*/ 158 h 220"/>
                <a:gd name="T24" fmla="*/ 142 w 177"/>
                <a:gd name="T25" fmla="*/ 184 h 220"/>
                <a:gd name="T26" fmla="*/ 124 w 177"/>
                <a:gd name="T27" fmla="*/ 215 h 220"/>
                <a:gd name="T28" fmla="*/ 100 w 177"/>
                <a:gd name="T29" fmla="*/ 215 h 220"/>
                <a:gd name="T30" fmla="*/ 88 w 177"/>
                <a:gd name="T31" fmla="*/ 205 h 220"/>
                <a:gd name="T32" fmla="*/ 65 w 177"/>
                <a:gd name="T33" fmla="*/ 184 h 220"/>
                <a:gd name="T34" fmla="*/ 44 w 177"/>
                <a:gd name="T35" fmla="*/ 175 h 220"/>
                <a:gd name="T36" fmla="*/ 32 w 177"/>
                <a:gd name="T37" fmla="*/ 166 h 220"/>
                <a:gd name="T38" fmla="*/ 5 w 177"/>
                <a:gd name="T39" fmla="*/ 160 h 220"/>
                <a:gd name="T40" fmla="*/ 10 w 177"/>
                <a:gd name="T41" fmla="*/ 143 h 220"/>
                <a:gd name="T42" fmla="*/ 22 w 177"/>
                <a:gd name="T43" fmla="*/ 127 h 220"/>
                <a:gd name="T44" fmla="*/ 31 w 177"/>
                <a:gd name="T45" fmla="*/ 107 h 220"/>
                <a:gd name="T46" fmla="*/ 29 w 177"/>
                <a:gd name="T47" fmla="*/ 91 h 220"/>
                <a:gd name="T48" fmla="*/ 28 w 177"/>
                <a:gd name="T49" fmla="*/ 61 h 220"/>
                <a:gd name="T50" fmla="*/ 34 w 177"/>
                <a:gd name="T51" fmla="*/ 55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77" h="220">
                  <a:moveTo>
                    <a:pt x="34" y="55"/>
                  </a:moveTo>
                  <a:cubicBezTo>
                    <a:pt x="41" y="52"/>
                    <a:pt x="45" y="45"/>
                    <a:pt x="52" y="41"/>
                  </a:cubicBezTo>
                  <a:cubicBezTo>
                    <a:pt x="57" y="10"/>
                    <a:pt x="56" y="16"/>
                    <a:pt x="85" y="10"/>
                  </a:cubicBezTo>
                  <a:cubicBezTo>
                    <a:pt x="93" y="4"/>
                    <a:pt x="99" y="0"/>
                    <a:pt x="101" y="4"/>
                  </a:cubicBezTo>
                  <a:cubicBezTo>
                    <a:pt x="96" y="14"/>
                    <a:pt x="107" y="27"/>
                    <a:pt x="97" y="32"/>
                  </a:cubicBezTo>
                  <a:cubicBezTo>
                    <a:pt x="92" y="41"/>
                    <a:pt x="107" y="49"/>
                    <a:pt x="110" y="58"/>
                  </a:cubicBezTo>
                  <a:cubicBezTo>
                    <a:pt x="118" y="68"/>
                    <a:pt x="109" y="65"/>
                    <a:pt x="111" y="67"/>
                  </a:cubicBezTo>
                  <a:cubicBezTo>
                    <a:pt x="113" y="69"/>
                    <a:pt x="117" y="65"/>
                    <a:pt x="124" y="68"/>
                  </a:cubicBezTo>
                  <a:cubicBezTo>
                    <a:pt x="132" y="72"/>
                    <a:pt x="144" y="86"/>
                    <a:pt x="152" y="88"/>
                  </a:cubicBezTo>
                  <a:cubicBezTo>
                    <a:pt x="159" y="89"/>
                    <a:pt x="172" y="85"/>
                    <a:pt x="172" y="85"/>
                  </a:cubicBezTo>
                  <a:cubicBezTo>
                    <a:pt x="176" y="96"/>
                    <a:pt x="177" y="140"/>
                    <a:pt x="172" y="152"/>
                  </a:cubicBezTo>
                  <a:cubicBezTo>
                    <a:pt x="167" y="164"/>
                    <a:pt x="148" y="153"/>
                    <a:pt x="143" y="158"/>
                  </a:cubicBezTo>
                  <a:cubicBezTo>
                    <a:pt x="142" y="170"/>
                    <a:pt x="135" y="173"/>
                    <a:pt x="142" y="184"/>
                  </a:cubicBezTo>
                  <a:cubicBezTo>
                    <a:pt x="140" y="213"/>
                    <a:pt x="148" y="219"/>
                    <a:pt x="124" y="215"/>
                  </a:cubicBezTo>
                  <a:cubicBezTo>
                    <a:pt x="117" y="211"/>
                    <a:pt x="100" y="215"/>
                    <a:pt x="100" y="215"/>
                  </a:cubicBezTo>
                  <a:cubicBezTo>
                    <a:pt x="91" y="220"/>
                    <a:pt x="95" y="210"/>
                    <a:pt x="88" y="205"/>
                  </a:cubicBezTo>
                  <a:cubicBezTo>
                    <a:pt x="85" y="197"/>
                    <a:pt x="72" y="188"/>
                    <a:pt x="65" y="184"/>
                  </a:cubicBezTo>
                  <a:cubicBezTo>
                    <a:pt x="61" y="177"/>
                    <a:pt x="52" y="177"/>
                    <a:pt x="44" y="175"/>
                  </a:cubicBezTo>
                  <a:cubicBezTo>
                    <a:pt x="39" y="171"/>
                    <a:pt x="39" y="167"/>
                    <a:pt x="32" y="166"/>
                  </a:cubicBezTo>
                  <a:cubicBezTo>
                    <a:pt x="24" y="162"/>
                    <a:pt x="14" y="162"/>
                    <a:pt x="5" y="160"/>
                  </a:cubicBezTo>
                  <a:cubicBezTo>
                    <a:pt x="3" y="151"/>
                    <a:pt x="0" y="148"/>
                    <a:pt x="10" y="143"/>
                  </a:cubicBezTo>
                  <a:cubicBezTo>
                    <a:pt x="14" y="137"/>
                    <a:pt x="19" y="134"/>
                    <a:pt x="22" y="127"/>
                  </a:cubicBezTo>
                  <a:cubicBezTo>
                    <a:pt x="23" y="120"/>
                    <a:pt x="28" y="114"/>
                    <a:pt x="31" y="107"/>
                  </a:cubicBezTo>
                  <a:cubicBezTo>
                    <a:pt x="32" y="101"/>
                    <a:pt x="32" y="97"/>
                    <a:pt x="29" y="91"/>
                  </a:cubicBezTo>
                  <a:cubicBezTo>
                    <a:pt x="28" y="82"/>
                    <a:pt x="25" y="70"/>
                    <a:pt x="28" y="61"/>
                  </a:cubicBezTo>
                  <a:cubicBezTo>
                    <a:pt x="29" y="58"/>
                    <a:pt x="35" y="52"/>
                    <a:pt x="34" y="55"/>
                  </a:cubicBezTo>
                  <a:close/>
                </a:path>
              </a:pathLst>
            </a:custGeom>
            <a:solidFill>
              <a:schemeClr val="accent1"/>
            </a:solidFill>
            <a:ln w="9525" cap="flat" cmpd="sng">
              <a:solidFill>
                <a:schemeClr val="bg1"/>
              </a:solidFill>
              <a:prstDash val="solid"/>
              <a:round/>
              <a:headEnd type="none" w="med" len="med"/>
              <a:tailEnd type="none" w="med" len="med"/>
            </a:ln>
            <a:effectLst/>
            <a:extLst/>
          </p:spPr>
          <p:txBody>
            <a:bodyPr>
              <a:noAutofit/>
            </a:bodyPr>
            <a:lstStyle/>
            <a:p>
              <a:pPr fontAlgn="auto">
                <a:spcBef>
                  <a:spcPts val="0"/>
                </a:spcBef>
                <a:spcAft>
                  <a:spcPts val="0"/>
                </a:spcAft>
                <a:defRPr/>
              </a:pPr>
              <a:endParaRPr lang="en-CA" kern="0">
                <a:solidFill>
                  <a:sysClr val="windowText" lastClr="000000"/>
                </a:solidFill>
              </a:endParaRPr>
            </a:p>
          </p:txBody>
        </p:sp>
        <p:sp>
          <p:nvSpPr>
            <p:cNvPr id="479" name="Freeform 410"/>
            <p:cNvSpPr>
              <a:spLocks/>
            </p:cNvSpPr>
            <p:nvPr>
              <p:custDataLst>
                <p:tags r:id="rId152"/>
              </p:custDataLst>
            </p:nvPr>
          </p:nvSpPr>
          <p:spPr bwMode="gray">
            <a:xfrm>
              <a:off x="1516699" y="2651440"/>
              <a:ext cx="151211" cy="155460"/>
            </a:xfrm>
            <a:custGeom>
              <a:avLst/>
              <a:gdLst>
                <a:gd name="T0" fmla="*/ 0 w 185"/>
                <a:gd name="T1" fmla="*/ 25 h 203"/>
                <a:gd name="T2" fmla="*/ 26 w 185"/>
                <a:gd name="T3" fmla="*/ 21 h 203"/>
                <a:gd name="T4" fmla="*/ 41 w 185"/>
                <a:gd name="T5" fmla="*/ 18 h 203"/>
                <a:gd name="T6" fmla="*/ 46 w 185"/>
                <a:gd name="T7" fmla="*/ 13 h 203"/>
                <a:gd name="T8" fmla="*/ 60 w 185"/>
                <a:gd name="T9" fmla="*/ 3 h 203"/>
                <a:gd name="T10" fmla="*/ 71 w 185"/>
                <a:gd name="T11" fmla="*/ 33 h 203"/>
                <a:gd name="T12" fmla="*/ 86 w 185"/>
                <a:gd name="T13" fmla="*/ 52 h 203"/>
                <a:gd name="T14" fmla="*/ 105 w 185"/>
                <a:gd name="T15" fmla="*/ 61 h 203"/>
                <a:gd name="T16" fmla="*/ 123 w 185"/>
                <a:gd name="T17" fmla="*/ 61 h 203"/>
                <a:gd name="T18" fmla="*/ 138 w 185"/>
                <a:gd name="T19" fmla="*/ 69 h 203"/>
                <a:gd name="T20" fmla="*/ 143 w 185"/>
                <a:gd name="T21" fmla="*/ 99 h 203"/>
                <a:gd name="T22" fmla="*/ 161 w 185"/>
                <a:gd name="T23" fmla="*/ 102 h 203"/>
                <a:gd name="T24" fmla="*/ 170 w 185"/>
                <a:gd name="T25" fmla="*/ 106 h 203"/>
                <a:gd name="T26" fmla="*/ 183 w 185"/>
                <a:gd name="T27" fmla="*/ 133 h 203"/>
                <a:gd name="T28" fmla="*/ 174 w 185"/>
                <a:gd name="T29" fmla="*/ 160 h 203"/>
                <a:gd name="T30" fmla="*/ 119 w 185"/>
                <a:gd name="T31" fmla="*/ 163 h 203"/>
                <a:gd name="T32" fmla="*/ 101 w 185"/>
                <a:gd name="T33" fmla="*/ 198 h 203"/>
                <a:gd name="T34" fmla="*/ 79 w 185"/>
                <a:gd name="T35" fmla="*/ 196 h 203"/>
                <a:gd name="T36" fmla="*/ 58 w 185"/>
                <a:gd name="T37" fmla="*/ 195 h 203"/>
                <a:gd name="T38" fmla="*/ 44 w 185"/>
                <a:gd name="T39" fmla="*/ 196 h 203"/>
                <a:gd name="T40" fmla="*/ 21 w 185"/>
                <a:gd name="T41" fmla="*/ 186 h 203"/>
                <a:gd name="T42" fmla="*/ 17 w 185"/>
                <a:gd name="T43" fmla="*/ 172 h 203"/>
                <a:gd name="T44" fmla="*/ 15 w 185"/>
                <a:gd name="T45" fmla="*/ 137 h 203"/>
                <a:gd name="T46" fmla="*/ 9 w 185"/>
                <a:gd name="T47" fmla="*/ 117 h 203"/>
                <a:gd name="T48" fmla="*/ 12 w 185"/>
                <a:gd name="T49" fmla="*/ 91 h 203"/>
                <a:gd name="T50" fmla="*/ 15 w 185"/>
                <a:gd name="T51" fmla="*/ 66 h 203"/>
                <a:gd name="T52" fmla="*/ 15 w 185"/>
                <a:gd name="T53" fmla="*/ 45 h 203"/>
                <a:gd name="T54" fmla="*/ 8 w 185"/>
                <a:gd name="T55" fmla="*/ 31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85" h="203">
                  <a:moveTo>
                    <a:pt x="0" y="25"/>
                  </a:moveTo>
                  <a:cubicBezTo>
                    <a:pt x="11" y="24"/>
                    <a:pt x="16" y="23"/>
                    <a:pt x="26" y="21"/>
                  </a:cubicBezTo>
                  <a:cubicBezTo>
                    <a:pt x="31" y="20"/>
                    <a:pt x="41" y="18"/>
                    <a:pt x="41" y="18"/>
                  </a:cubicBezTo>
                  <a:cubicBezTo>
                    <a:pt x="44" y="17"/>
                    <a:pt x="43" y="15"/>
                    <a:pt x="46" y="13"/>
                  </a:cubicBezTo>
                  <a:cubicBezTo>
                    <a:pt x="49" y="11"/>
                    <a:pt x="56" y="0"/>
                    <a:pt x="60" y="3"/>
                  </a:cubicBezTo>
                  <a:cubicBezTo>
                    <a:pt x="64" y="6"/>
                    <a:pt x="67" y="25"/>
                    <a:pt x="71" y="33"/>
                  </a:cubicBezTo>
                  <a:cubicBezTo>
                    <a:pt x="75" y="41"/>
                    <a:pt x="80" y="47"/>
                    <a:pt x="86" y="52"/>
                  </a:cubicBezTo>
                  <a:cubicBezTo>
                    <a:pt x="95" y="57"/>
                    <a:pt x="95" y="60"/>
                    <a:pt x="105" y="61"/>
                  </a:cubicBezTo>
                  <a:cubicBezTo>
                    <a:pt x="111" y="63"/>
                    <a:pt x="118" y="60"/>
                    <a:pt x="123" y="61"/>
                  </a:cubicBezTo>
                  <a:cubicBezTo>
                    <a:pt x="128" y="62"/>
                    <a:pt x="135" y="63"/>
                    <a:pt x="138" y="69"/>
                  </a:cubicBezTo>
                  <a:cubicBezTo>
                    <a:pt x="142" y="76"/>
                    <a:pt x="136" y="96"/>
                    <a:pt x="143" y="99"/>
                  </a:cubicBezTo>
                  <a:cubicBezTo>
                    <a:pt x="149" y="101"/>
                    <a:pt x="161" y="102"/>
                    <a:pt x="161" y="102"/>
                  </a:cubicBezTo>
                  <a:cubicBezTo>
                    <a:pt x="164" y="104"/>
                    <a:pt x="168" y="104"/>
                    <a:pt x="170" y="106"/>
                  </a:cubicBezTo>
                  <a:cubicBezTo>
                    <a:pt x="174" y="111"/>
                    <a:pt x="182" y="124"/>
                    <a:pt x="183" y="133"/>
                  </a:cubicBezTo>
                  <a:cubicBezTo>
                    <a:pt x="184" y="142"/>
                    <a:pt x="185" y="155"/>
                    <a:pt x="174" y="160"/>
                  </a:cubicBezTo>
                  <a:cubicBezTo>
                    <a:pt x="158" y="159"/>
                    <a:pt x="132" y="153"/>
                    <a:pt x="119" y="163"/>
                  </a:cubicBezTo>
                  <a:cubicBezTo>
                    <a:pt x="114" y="176"/>
                    <a:pt x="114" y="192"/>
                    <a:pt x="101" y="198"/>
                  </a:cubicBezTo>
                  <a:cubicBezTo>
                    <a:pt x="94" y="203"/>
                    <a:pt x="88" y="196"/>
                    <a:pt x="79" y="196"/>
                  </a:cubicBezTo>
                  <a:cubicBezTo>
                    <a:pt x="72" y="196"/>
                    <a:pt x="64" y="195"/>
                    <a:pt x="58" y="195"/>
                  </a:cubicBezTo>
                  <a:cubicBezTo>
                    <a:pt x="52" y="195"/>
                    <a:pt x="50" y="197"/>
                    <a:pt x="44" y="196"/>
                  </a:cubicBezTo>
                  <a:cubicBezTo>
                    <a:pt x="34" y="194"/>
                    <a:pt x="26" y="190"/>
                    <a:pt x="21" y="186"/>
                  </a:cubicBezTo>
                  <a:cubicBezTo>
                    <a:pt x="20" y="181"/>
                    <a:pt x="18" y="177"/>
                    <a:pt x="17" y="172"/>
                  </a:cubicBezTo>
                  <a:cubicBezTo>
                    <a:pt x="16" y="164"/>
                    <a:pt x="16" y="146"/>
                    <a:pt x="15" y="137"/>
                  </a:cubicBezTo>
                  <a:cubicBezTo>
                    <a:pt x="14" y="128"/>
                    <a:pt x="9" y="125"/>
                    <a:pt x="9" y="117"/>
                  </a:cubicBezTo>
                  <a:cubicBezTo>
                    <a:pt x="8" y="105"/>
                    <a:pt x="11" y="99"/>
                    <a:pt x="12" y="91"/>
                  </a:cubicBezTo>
                  <a:cubicBezTo>
                    <a:pt x="13" y="83"/>
                    <a:pt x="15" y="74"/>
                    <a:pt x="15" y="66"/>
                  </a:cubicBezTo>
                  <a:cubicBezTo>
                    <a:pt x="15" y="54"/>
                    <a:pt x="16" y="51"/>
                    <a:pt x="15" y="45"/>
                  </a:cubicBezTo>
                  <a:cubicBezTo>
                    <a:pt x="14" y="39"/>
                    <a:pt x="9" y="34"/>
                    <a:pt x="8" y="31"/>
                  </a:cubicBezTo>
                </a:path>
              </a:pathLst>
            </a:custGeom>
            <a:solidFill>
              <a:schemeClr val="bg1">
                <a:lumMod val="85000"/>
              </a:schemeClr>
            </a:solidFill>
            <a:ln w="9525" cap="flat" cmpd="sng">
              <a:solidFill>
                <a:schemeClr val="bg1"/>
              </a:solidFill>
              <a:prstDash val="solid"/>
              <a:round/>
              <a:headEnd type="none" w="med" len="med"/>
              <a:tailEnd type="none" w="med" len="med"/>
            </a:ln>
            <a:effectLst/>
            <a:extLst/>
          </p:spPr>
          <p:txBody>
            <a:bodyPr>
              <a:noAutofit/>
            </a:bodyPr>
            <a:lstStyle/>
            <a:p>
              <a:pPr fontAlgn="auto">
                <a:spcBef>
                  <a:spcPts val="0"/>
                </a:spcBef>
                <a:spcAft>
                  <a:spcPts val="0"/>
                </a:spcAft>
                <a:defRPr/>
              </a:pPr>
              <a:endParaRPr lang="en-CA" kern="0">
                <a:solidFill>
                  <a:sysClr val="windowText" lastClr="000000"/>
                </a:solidFill>
              </a:endParaRPr>
            </a:p>
          </p:txBody>
        </p:sp>
        <p:sp>
          <p:nvSpPr>
            <p:cNvPr id="480" name="Freeform 411"/>
            <p:cNvSpPr>
              <a:spLocks/>
            </p:cNvSpPr>
            <p:nvPr>
              <p:custDataLst>
                <p:tags r:id="rId153"/>
              </p:custDataLst>
            </p:nvPr>
          </p:nvSpPr>
          <p:spPr bwMode="gray">
            <a:xfrm>
              <a:off x="1471095" y="2492133"/>
              <a:ext cx="476832" cy="464071"/>
            </a:xfrm>
            <a:custGeom>
              <a:avLst/>
              <a:gdLst>
                <a:gd name="T0" fmla="*/ 313 w 584"/>
                <a:gd name="T1" fmla="*/ 582 h 604"/>
                <a:gd name="T2" fmla="*/ 346 w 584"/>
                <a:gd name="T3" fmla="*/ 550 h 604"/>
                <a:gd name="T4" fmla="*/ 376 w 584"/>
                <a:gd name="T5" fmla="*/ 502 h 604"/>
                <a:gd name="T6" fmla="*/ 400 w 584"/>
                <a:gd name="T7" fmla="*/ 442 h 604"/>
                <a:gd name="T8" fmla="*/ 445 w 584"/>
                <a:gd name="T9" fmla="*/ 418 h 604"/>
                <a:gd name="T10" fmla="*/ 487 w 584"/>
                <a:gd name="T11" fmla="*/ 399 h 604"/>
                <a:gd name="T12" fmla="*/ 508 w 584"/>
                <a:gd name="T13" fmla="*/ 345 h 604"/>
                <a:gd name="T14" fmla="*/ 518 w 584"/>
                <a:gd name="T15" fmla="*/ 315 h 604"/>
                <a:gd name="T16" fmla="*/ 550 w 584"/>
                <a:gd name="T17" fmla="*/ 235 h 604"/>
                <a:gd name="T18" fmla="*/ 575 w 584"/>
                <a:gd name="T19" fmla="*/ 189 h 604"/>
                <a:gd name="T20" fmla="*/ 515 w 584"/>
                <a:gd name="T21" fmla="*/ 123 h 604"/>
                <a:gd name="T22" fmla="*/ 446 w 584"/>
                <a:gd name="T23" fmla="*/ 105 h 604"/>
                <a:gd name="T24" fmla="*/ 371 w 584"/>
                <a:gd name="T25" fmla="*/ 75 h 604"/>
                <a:gd name="T26" fmla="*/ 346 w 584"/>
                <a:gd name="T27" fmla="*/ 45 h 604"/>
                <a:gd name="T28" fmla="*/ 331 w 584"/>
                <a:gd name="T29" fmla="*/ 10 h 604"/>
                <a:gd name="T30" fmla="*/ 305 w 584"/>
                <a:gd name="T31" fmla="*/ 27 h 604"/>
                <a:gd name="T32" fmla="*/ 274 w 584"/>
                <a:gd name="T33" fmla="*/ 28 h 604"/>
                <a:gd name="T34" fmla="*/ 238 w 584"/>
                <a:gd name="T35" fmla="*/ 43 h 604"/>
                <a:gd name="T36" fmla="*/ 208 w 584"/>
                <a:gd name="T37" fmla="*/ 33 h 604"/>
                <a:gd name="T38" fmla="*/ 191 w 584"/>
                <a:gd name="T39" fmla="*/ 0 h 604"/>
                <a:gd name="T40" fmla="*/ 143 w 584"/>
                <a:gd name="T41" fmla="*/ 12 h 604"/>
                <a:gd name="T42" fmla="*/ 140 w 584"/>
                <a:gd name="T43" fmla="*/ 45 h 604"/>
                <a:gd name="T44" fmla="*/ 113 w 584"/>
                <a:gd name="T45" fmla="*/ 55 h 604"/>
                <a:gd name="T46" fmla="*/ 59 w 584"/>
                <a:gd name="T47" fmla="*/ 54 h 604"/>
                <a:gd name="T48" fmla="*/ 56 w 584"/>
                <a:gd name="T49" fmla="*/ 121 h 604"/>
                <a:gd name="T50" fmla="*/ 17 w 584"/>
                <a:gd name="T51" fmla="*/ 141 h 604"/>
                <a:gd name="T52" fmla="*/ 4 w 584"/>
                <a:gd name="T53" fmla="*/ 177 h 604"/>
                <a:gd name="T54" fmla="*/ 31 w 584"/>
                <a:gd name="T55" fmla="*/ 216 h 604"/>
                <a:gd name="T56" fmla="*/ 91 w 584"/>
                <a:gd name="T57" fmla="*/ 229 h 604"/>
                <a:gd name="T58" fmla="*/ 121 w 584"/>
                <a:gd name="T59" fmla="*/ 216 h 604"/>
                <a:gd name="T60" fmla="*/ 157 w 584"/>
                <a:gd name="T61" fmla="*/ 267 h 604"/>
                <a:gd name="T62" fmla="*/ 184 w 584"/>
                <a:gd name="T63" fmla="*/ 268 h 604"/>
                <a:gd name="T64" fmla="*/ 221 w 584"/>
                <a:gd name="T65" fmla="*/ 312 h 604"/>
                <a:gd name="T66" fmla="*/ 235 w 584"/>
                <a:gd name="T67" fmla="*/ 330 h 604"/>
                <a:gd name="T68" fmla="*/ 232 w 584"/>
                <a:gd name="T69" fmla="*/ 369 h 604"/>
                <a:gd name="T70" fmla="*/ 275 w 584"/>
                <a:gd name="T71" fmla="*/ 412 h 604"/>
                <a:gd name="T72" fmla="*/ 281 w 584"/>
                <a:gd name="T73" fmla="*/ 430 h 604"/>
                <a:gd name="T74" fmla="*/ 298 w 584"/>
                <a:gd name="T75" fmla="*/ 450 h 604"/>
                <a:gd name="T76" fmla="*/ 256 w 584"/>
                <a:gd name="T77" fmla="*/ 517 h 604"/>
                <a:gd name="T78" fmla="*/ 289 w 584"/>
                <a:gd name="T79" fmla="*/ 56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84" h="604">
                  <a:moveTo>
                    <a:pt x="305" y="604"/>
                  </a:moveTo>
                  <a:cubicBezTo>
                    <a:pt x="310" y="598"/>
                    <a:pt x="310" y="589"/>
                    <a:pt x="313" y="582"/>
                  </a:cubicBezTo>
                  <a:cubicBezTo>
                    <a:pt x="315" y="571"/>
                    <a:pt x="324" y="571"/>
                    <a:pt x="334" y="570"/>
                  </a:cubicBezTo>
                  <a:cubicBezTo>
                    <a:pt x="341" y="565"/>
                    <a:pt x="341" y="557"/>
                    <a:pt x="346" y="550"/>
                  </a:cubicBezTo>
                  <a:cubicBezTo>
                    <a:pt x="346" y="543"/>
                    <a:pt x="349" y="541"/>
                    <a:pt x="350" y="534"/>
                  </a:cubicBezTo>
                  <a:cubicBezTo>
                    <a:pt x="352" y="519"/>
                    <a:pt x="371" y="515"/>
                    <a:pt x="376" y="502"/>
                  </a:cubicBezTo>
                  <a:cubicBezTo>
                    <a:pt x="374" y="482"/>
                    <a:pt x="372" y="466"/>
                    <a:pt x="388" y="453"/>
                  </a:cubicBezTo>
                  <a:cubicBezTo>
                    <a:pt x="391" y="447"/>
                    <a:pt x="394" y="445"/>
                    <a:pt x="400" y="442"/>
                  </a:cubicBezTo>
                  <a:cubicBezTo>
                    <a:pt x="405" y="437"/>
                    <a:pt x="415" y="433"/>
                    <a:pt x="422" y="429"/>
                  </a:cubicBezTo>
                  <a:cubicBezTo>
                    <a:pt x="429" y="425"/>
                    <a:pt x="437" y="419"/>
                    <a:pt x="445" y="418"/>
                  </a:cubicBezTo>
                  <a:cubicBezTo>
                    <a:pt x="453" y="417"/>
                    <a:pt x="462" y="428"/>
                    <a:pt x="469" y="424"/>
                  </a:cubicBezTo>
                  <a:cubicBezTo>
                    <a:pt x="471" y="413"/>
                    <a:pt x="478" y="405"/>
                    <a:pt x="487" y="399"/>
                  </a:cubicBezTo>
                  <a:cubicBezTo>
                    <a:pt x="490" y="394"/>
                    <a:pt x="493" y="391"/>
                    <a:pt x="494" y="385"/>
                  </a:cubicBezTo>
                  <a:cubicBezTo>
                    <a:pt x="496" y="368"/>
                    <a:pt x="494" y="355"/>
                    <a:pt x="508" y="345"/>
                  </a:cubicBezTo>
                  <a:cubicBezTo>
                    <a:pt x="510" y="336"/>
                    <a:pt x="516" y="332"/>
                    <a:pt x="523" y="328"/>
                  </a:cubicBezTo>
                  <a:cubicBezTo>
                    <a:pt x="528" y="321"/>
                    <a:pt x="522" y="321"/>
                    <a:pt x="518" y="315"/>
                  </a:cubicBezTo>
                  <a:cubicBezTo>
                    <a:pt x="515" y="298"/>
                    <a:pt x="507" y="272"/>
                    <a:pt x="523" y="262"/>
                  </a:cubicBezTo>
                  <a:cubicBezTo>
                    <a:pt x="532" y="249"/>
                    <a:pt x="535" y="244"/>
                    <a:pt x="550" y="235"/>
                  </a:cubicBezTo>
                  <a:cubicBezTo>
                    <a:pt x="553" y="231"/>
                    <a:pt x="556" y="226"/>
                    <a:pt x="559" y="222"/>
                  </a:cubicBezTo>
                  <a:cubicBezTo>
                    <a:pt x="560" y="214"/>
                    <a:pt x="565" y="191"/>
                    <a:pt x="575" y="189"/>
                  </a:cubicBezTo>
                  <a:cubicBezTo>
                    <a:pt x="584" y="174"/>
                    <a:pt x="576" y="151"/>
                    <a:pt x="556" y="145"/>
                  </a:cubicBezTo>
                  <a:cubicBezTo>
                    <a:pt x="542" y="137"/>
                    <a:pt x="531" y="126"/>
                    <a:pt x="515" y="123"/>
                  </a:cubicBezTo>
                  <a:cubicBezTo>
                    <a:pt x="492" y="111"/>
                    <a:pt x="498" y="112"/>
                    <a:pt x="460" y="111"/>
                  </a:cubicBezTo>
                  <a:cubicBezTo>
                    <a:pt x="455" y="109"/>
                    <a:pt x="452" y="106"/>
                    <a:pt x="446" y="105"/>
                  </a:cubicBezTo>
                  <a:cubicBezTo>
                    <a:pt x="440" y="102"/>
                    <a:pt x="435" y="97"/>
                    <a:pt x="428" y="96"/>
                  </a:cubicBezTo>
                  <a:cubicBezTo>
                    <a:pt x="413" y="77"/>
                    <a:pt x="397" y="76"/>
                    <a:pt x="371" y="75"/>
                  </a:cubicBezTo>
                  <a:cubicBezTo>
                    <a:pt x="363" y="69"/>
                    <a:pt x="358" y="67"/>
                    <a:pt x="353" y="57"/>
                  </a:cubicBezTo>
                  <a:cubicBezTo>
                    <a:pt x="352" y="51"/>
                    <a:pt x="351" y="49"/>
                    <a:pt x="346" y="45"/>
                  </a:cubicBezTo>
                  <a:cubicBezTo>
                    <a:pt x="343" y="37"/>
                    <a:pt x="336" y="32"/>
                    <a:pt x="332" y="24"/>
                  </a:cubicBezTo>
                  <a:cubicBezTo>
                    <a:pt x="332" y="19"/>
                    <a:pt x="333" y="14"/>
                    <a:pt x="331" y="10"/>
                  </a:cubicBezTo>
                  <a:cubicBezTo>
                    <a:pt x="331" y="9"/>
                    <a:pt x="326" y="19"/>
                    <a:pt x="326" y="19"/>
                  </a:cubicBezTo>
                  <a:cubicBezTo>
                    <a:pt x="323" y="25"/>
                    <a:pt x="311" y="24"/>
                    <a:pt x="305" y="27"/>
                  </a:cubicBezTo>
                  <a:cubicBezTo>
                    <a:pt x="299" y="29"/>
                    <a:pt x="294" y="27"/>
                    <a:pt x="289" y="27"/>
                  </a:cubicBezTo>
                  <a:cubicBezTo>
                    <a:pt x="284" y="27"/>
                    <a:pt x="281" y="27"/>
                    <a:pt x="274" y="28"/>
                  </a:cubicBezTo>
                  <a:cubicBezTo>
                    <a:pt x="267" y="29"/>
                    <a:pt x="254" y="34"/>
                    <a:pt x="248" y="36"/>
                  </a:cubicBezTo>
                  <a:cubicBezTo>
                    <a:pt x="243" y="40"/>
                    <a:pt x="244" y="42"/>
                    <a:pt x="238" y="43"/>
                  </a:cubicBezTo>
                  <a:cubicBezTo>
                    <a:pt x="233" y="45"/>
                    <a:pt x="225" y="49"/>
                    <a:pt x="220" y="51"/>
                  </a:cubicBezTo>
                  <a:cubicBezTo>
                    <a:pt x="214" y="45"/>
                    <a:pt x="215" y="38"/>
                    <a:pt x="208" y="33"/>
                  </a:cubicBezTo>
                  <a:cubicBezTo>
                    <a:pt x="205" y="26"/>
                    <a:pt x="208" y="17"/>
                    <a:pt x="205" y="12"/>
                  </a:cubicBezTo>
                  <a:cubicBezTo>
                    <a:pt x="202" y="7"/>
                    <a:pt x="196" y="1"/>
                    <a:pt x="191" y="0"/>
                  </a:cubicBezTo>
                  <a:cubicBezTo>
                    <a:pt x="184" y="1"/>
                    <a:pt x="182" y="4"/>
                    <a:pt x="176" y="7"/>
                  </a:cubicBezTo>
                  <a:cubicBezTo>
                    <a:pt x="166" y="11"/>
                    <a:pt x="152" y="11"/>
                    <a:pt x="143" y="12"/>
                  </a:cubicBezTo>
                  <a:cubicBezTo>
                    <a:pt x="137" y="15"/>
                    <a:pt x="143" y="25"/>
                    <a:pt x="143" y="30"/>
                  </a:cubicBezTo>
                  <a:cubicBezTo>
                    <a:pt x="143" y="35"/>
                    <a:pt x="142" y="41"/>
                    <a:pt x="140" y="45"/>
                  </a:cubicBezTo>
                  <a:cubicBezTo>
                    <a:pt x="138" y="49"/>
                    <a:pt x="132" y="50"/>
                    <a:pt x="128" y="52"/>
                  </a:cubicBezTo>
                  <a:cubicBezTo>
                    <a:pt x="122" y="57"/>
                    <a:pt x="120" y="57"/>
                    <a:pt x="113" y="55"/>
                  </a:cubicBezTo>
                  <a:cubicBezTo>
                    <a:pt x="108" y="51"/>
                    <a:pt x="103" y="49"/>
                    <a:pt x="98" y="46"/>
                  </a:cubicBezTo>
                  <a:cubicBezTo>
                    <a:pt x="66" y="48"/>
                    <a:pt x="75" y="44"/>
                    <a:pt x="59" y="54"/>
                  </a:cubicBezTo>
                  <a:cubicBezTo>
                    <a:pt x="53" y="61"/>
                    <a:pt x="59" y="77"/>
                    <a:pt x="59" y="88"/>
                  </a:cubicBezTo>
                  <a:cubicBezTo>
                    <a:pt x="59" y="99"/>
                    <a:pt x="60" y="114"/>
                    <a:pt x="56" y="121"/>
                  </a:cubicBezTo>
                  <a:cubicBezTo>
                    <a:pt x="53" y="136"/>
                    <a:pt x="40" y="129"/>
                    <a:pt x="35" y="133"/>
                  </a:cubicBezTo>
                  <a:cubicBezTo>
                    <a:pt x="29" y="136"/>
                    <a:pt x="21" y="137"/>
                    <a:pt x="17" y="141"/>
                  </a:cubicBezTo>
                  <a:cubicBezTo>
                    <a:pt x="13" y="146"/>
                    <a:pt x="11" y="150"/>
                    <a:pt x="10" y="156"/>
                  </a:cubicBezTo>
                  <a:cubicBezTo>
                    <a:pt x="8" y="162"/>
                    <a:pt x="5" y="170"/>
                    <a:pt x="4" y="177"/>
                  </a:cubicBezTo>
                  <a:cubicBezTo>
                    <a:pt x="3" y="183"/>
                    <a:pt x="0" y="193"/>
                    <a:pt x="5" y="199"/>
                  </a:cubicBezTo>
                  <a:cubicBezTo>
                    <a:pt x="9" y="205"/>
                    <a:pt x="23" y="211"/>
                    <a:pt x="31" y="216"/>
                  </a:cubicBezTo>
                  <a:cubicBezTo>
                    <a:pt x="38" y="221"/>
                    <a:pt x="44" y="229"/>
                    <a:pt x="53" y="231"/>
                  </a:cubicBezTo>
                  <a:cubicBezTo>
                    <a:pt x="64" y="230"/>
                    <a:pt x="81" y="231"/>
                    <a:pt x="91" y="229"/>
                  </a:cubicBezTo>
                  <a:cubicBezTo>
                    <a:pt x="100" y="224"/>
                    <a:pt x="99" y="214"/>
                    <a:pt x="109" y="213"/>
                  </a:cubicBezTo>
                  <a:cubicBezTo>
                    <a:pt x="111" y="213"/>
                    <a:pt x="119" y="212"/>
                    <a:pt x="121" y="216"/>
                  </a:cubicBezTo>
                  <a:cubicBezTo>
                    <a:pt x="127" y="226"/>
                    <a:pt x="125" y="245"/>
                    <a:pt x="136" y="252"/>
                  </a:cubicBezTo>
                  <a:cubicBezTo>
                    <a:pt x="141" y="260"/>
                    <a:pt x="151" y="264"/>
                    <a:pt x="157" y="267"/>
                  </a:cubicBezTo>
                  <a:cubicBezTo>
                    <a:pt x="163" y="270"/>
                    <a:pt x="168" y="268"/>
                    <a:pt x="172" y="268"/>
                  </a:cubicBezTo>
                  <a:cubicBezTo>
                    <a:pt x="176" y="270"/>
                    <a:pt x="180" y="266"/>
                    <a:pt x="184" y="268"/>
                  </a:cubicBezTo>
                  <a:cubicBezTo>
                    <a:pt x="188" y="270"/>
                    <a:pt x="193" y="277"/>
                    <a:pt x="193" y="277"/>
                  </a:cubicBezTo>
                  <a:cubicBezTo>
                    <a:pt x="195" y="313"/>
                    <a:pt x="189" y="309"/>
                    <a:pt x="221" y="312"/>
                  </a:cubicBezTo>
                  <a:cubicBezTo>
                    <a:pt x="228" y="320"/>
                    <a:pt x="230" y="321"/>
                    <a:pt x="232" y="324"/>
                  </a:cubicBezTo>
                  <a:cubicBezTo>
                    <a:pt x="234" y="327"/>
                    <a:pt x="234" y="324"/>
                    <a:pt x="235" y="330"/>
                  </a:cubicBezTo>
                  <a:cubicBezTo>
                    <a:pt x="238" y="337"/>
                    <a:pt x="236" y="352"/>
                    <a:pt x="236" y="358"/>
                  </a:cubicBezTo>
                  <a:cubicBezTo>
                    <a:pt x="236" y="364"/>
                    <a:pt x="231" y="361"/>
                    <a:pt x="232" y="369"/>
                  </a:cubicBezTo>
                  <a:cubicBezTo>
                    <a:pt x="234" y="400"/>
                    <a:pt x="224" y="406"/>
                    <a:pt x="245" y="409"/>
                  </a:cubicBezTo>
                  <a:cubicBezTo>
                    <a:pt x="254" y="413"/>
                    <a:pt x="266" y="407"/>
                    <a:pt x="275" y="412"/>
                  </a:cubicBezTo>
                  <a:cubicBezTo>
                    <a:pt x="279" y="415"/>
                    <a:pt x="275" y="422"/>
                    <a:pt x="277" y="427"/>
                  </a:cubicBezTo>
                  <a:cubicBezTo>
                    <a:pt x="278" y="429"/>
                    <a:pt x="279" y="429"/>
                    <a:pt x="281" y="430"/>
                  </a:cubicBezTo>
                  <a:cubicBezTo>
                    <a:pt x="284" y="431"/>
                    <a:pt x="286" y="431"/>
                    <a:pt x="289" y="432"/>
                  </a:cubicBezTo>
                  <a:cubicBezTo>
                    <a:pt x="290" y="435"/>
                    <a:pt x="298" y="442"/>
                    <a:pt x="298" y="450"/>
                  </a:cubicBezTo>
                  <a:cubicBezTo>
                    <a:pt x="298" y="458"/>
                    <a:pt x="294" y="467"/>
                    <a:pt x="287" y="478"/>
                  </a:cubicBezTo>
                  <a:cubicBezTo>
                    <a:pt x="281" y="486"/>
                    <a:pt x="264" y="506"/>
                    <a:pt x="256" y="517"/>
                  </a:cubicBezTo>
                  <a:cubicBezTo>
                    <a:pt x="255" y="523"/>
                    <a:pt x="250" y="526"/>
                    <a:pt x="253" y="532"/>
                  </a:cubicBezTo>
                  <a:cubicBezTo>
                    <a:pt x="254" y="535"/>
                    <a:pt x="284" y="561"/>
                    <a:pt x="289" y="564"/>
                  </a:cubicBezTo>
                  <a:cubicBezTo>
                    <a:pt x="293" y="569"/>
                    <a:pt x="298" y="572"/>
                    <a:pt x="302" y="577"/>
                  </a:cubicBezTo>
                </a:path>
              </a:pathLst>
            </a:custGeom>
            <a:solidFill>
              <a:schemeClr val="accent1"/>
            </a:solidFill>
            <a:ln w="9525" cap="flat" cmpd="sng">
              <a:solidFill>
                <a:schemeClr val="bg1"/>
              </a:solidFill>
              <a:prstDash val="solid"/>
              <a:round/>
              <a:headEnd type="none" w="med" len="med"/>
              <a:tailEnd type="none" w="med" len="med"/>
            </a:ln>
            <a:effectLst/>
            <a:extLst/>
          </p:spPr>
          <p:txBody>
            <a:bodyPr>
              <a:noAutofit/>
            </a:bodyPr>
            <a:lstStyle/>
            <a:p>
              <a:pPr fontAlgn="auto">
                <a:spcBef>
                  <a:spcPts val="0"/>
                </a:spcBef>
                <a:spcAft>
                  <a:spcPts val="0"/>
                </a:spcAft>
                <a:defRPr/>
              </a:pPr>
              <a:endParaRPr lang="en-CA" kern="0">
                <a:solidFill>
                  <a:sysClr val="windowText" lastClr="000000"/>
                </a:solidFill>
              </a:endParaRPr>
            </a:p>
          </p:txBody>
        </p:sp>
        <p:sp>
          <p:nvSpPr>
            <p:cNvPr id="481" name="Freeform 412"/>
            <p:cNvSpPr>
              <a:spLocks/>
            </p:cNvSpPr>
            <p:nvPr>
              <p:custDataLst>
                <p:tags r:id="rId154"/>
              </p:custDataLst>
            </p:nvPr>
          </p:nvSpPr>
          <p:spPr bwMode="gray">
            <a:xfrm>
              <a:off x="1375090" y="2541387"/>
              <a:ext cx="155209" cy="215488"/>
            </a:xfrm>
            <a:custGeom>
              <a:avLst/>
              <a:gdLst>
                <a:gd name="T0" fmla="*/ 20 w 189"/>
                <a:gd name="T1" fmla="*/ 66 h 280"/>
                <a:gd name="T2" fmla="*/ 17 w 189"/>
                <a:gd name="T3" fmla="*/ 98 h 280"/>
                <a:gd name="T4" fmla="*/ 31 w 189"/>
                <a:gd name="T5" fmla="*/ 113 h 280"/>
                <a:gd name="T6" fmla="*/ 40 w 189"/>
                <a:gd name="T7" fmla="*/ 126 h 280"/>
                <a:gd name="T8" fmla="*/ 52 w 189"/>
                <a:gd name="T9" fmla="*/ 156 h 280"/>
                <a:gd name="T10" fmla="*/ 58 w 189"/>
                <a:gd name="T11" fmla="*/ 177 h 280"/>
                <a:gd name="T12" fmla="*/ 79 w 189"/>
                <a:gd name="T13" fmla="*/ 195 h 280"/>
                <a:gd name="T14" fmla="*/ 85 w 189"/>
                <a:gd name="T15" fmla="*/ 213 h 280"/>
                <a:gd name="T16" fmla="*/ 109 w 189"/>
                <a:gd name="T17" fmla="*/ 240 h 280"/>
                <a:gd name="T18" fmla="*/ 124 w 189"/>
                <a:gd name="T19" fmla="*/ 246 h 280"/>
                <a:gd name="T20" fmla="*/ 148 w 189"/>
                <a:gd name="T21" fmla="*/ 258 h 280"/>
                <a:gd name="T22" fmla="*/ 163 w 189"/>
                <a:gd name="T23" fmla="*/ 270 h 280"/>
                <a:gd name="T24" fmla="*/ 182 w 189"/>
                <a:gd name="T25" fmla="*/ 255 h 280"/>
                <a:gd name="T26" fmla="*/ 187 w 189"/>
                <a:gd name="T27" fmla="*/ 185 h 280"/>
                <a:gd name="T28" fmla="*/ 167 w 189"/>
                <a:gd name="T29" fmla="*/ 168 h 280"/>
                <a:gd name="T30" fmla="*/ 142 w 189"/>
                <a:gd name="T31" fmla="*/ 150 h 280"/>
                <a:gd name="T32" fmla="*/ 130 w 189"/>
                <a:gd name="T33" fmla="*/ 143 h 280"/>
                <a:gd name="T34" fmla="*/ 119 w 189"/>
                <a:gd name="T35" fmla="*/ 129 h 280"/>
                <a:gd name="T36" fmla="*/ 127 w 189"/>
                <a:gd name="T37" fmla="*/ 96 h 280"/>
                <a:gd name="T38" fmla="*/ 142 w 189"/>
                <a:gd name="T39" fmla="*/ 74 h 280"/>
                <a:gd name="T40" fmla="*/ 163 w 189"/>
                <a:gd name="T41" fmla="*/ 68 h 280"/>
                <a:gd name="T42" fmla="*/ 175 w 189"/>
                <a:gd name="T43" fmla="*/ 53 h 280"/>
                <a:gd name="T44" fmla="*/ 136 w 189"/>
                <a:gd name="T45" fmla="*/ 42 h 280"/>
                <a:gd name="T46" fmla="*/ 104 w 189"/>
                <a:gd name="T47" fmla="*/ 12 h 280"/>
                <a:gd name="T48" fmla="*/ 82 w 189"/>
                <a:gd name="T49" fmla="*/ 0 h 280"/>
                <a:gd name="T50" fmla="*/ 94 w 189"/>
                <a:gd name="T51" fmla="*/ 21 h 280"/>
                <a:gd name="T52" fmla="*/ 80 w 189"/>
                <a:gd name="T53" fmla="*/ 39 h 280"/>
                <a:gd name="T54" fmla="*/ 62 w 189"/>
                <a:gd name="T55" fmla="*/ 44 h 280"/>
                <a:gd name="T56" fmla="*/ 50 w 189"/>
                <a:gd name="T57" fmla="*/ 54 h 280"/>
                <a:gd name="T58" fmla="*/ 38 w 189"/>
                <a:gd name="T59" fmla="*/ 78 h 280"/>
                <a:gd name="T60" fmla="*/ 14 w 189"/>
                <a:gd name="T61" fmla="*/ 66 h 280"/>
                <a:gd name="T62" fmla="*/ 20 w 189"/>
                <a:gd name="T63" fmla="*/ 66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89" h="280">
                  <a:moveTo>
                    <a:pt x="20" y="66"/>
                  </a:moveTo>
                  <a:cubicBezTo>
                    <a:pt x="0" y="56"/>
                    <a:pt x="6" y="92"/>
                    <a:pt x="17" y="98"/>
                  </a:cubicBezTo>
                  <a:cubicBezTo>
                    <a:pt x="21" y="103"/>
                    <a:pt x="26" y="110"/>
                    <a:pt x="31" y="113"/>
                  </a:cubicBezTo>
                  <a:cubicBezTo>
                    <a:pt x="39" y="123"/>
                    <a:pt x="36" y="119"/>
                    <a:pt x="40" y="126"/>
                  </a:cubicBezTo>
                  <a:cubicBezTo>
                    <a:pt x="42" y="138"/>
                    <a:pt x="43" y="147"/>
                    <a:pt x="52" y="156"/>
                  </a:cubicBezTo>
                  <a:cubicBezTo>
                    <a:pt x="53" y="166"/>
                    <a:pt x="52" y="170"/>
                    <a:pt x="58" y="177"/>
                  </a:cubicBezTo>
                  <a:cubicBezTo>
                    <a:pt x="60" y="190"/>
                    <a:pt x="66" y="193"/>
                    <a:pt x="79" y="195"/>
                  </a:cubicBezTo>
                  <a:cubicBezTo>
                    <a:pt x="80" y="201"/>
                    <a:pt x="82" y="207"/>
                    <a:pt x="85" y="213"/>
                  </a:cubicBezTo>
                  <a:cubicBezTo>
                    <a:pt x="87" y="227"/>
                    <a:pt x="95" y="237"/>
                    <a:pt x="109" y="240"/>
                  </a:cubicBezTo>
                  <a:cubicBezTo>
                    <a:pt x="114" y="244"/>
                    <a:pt x="118" y="245"/>
                    <a:pt x="124" y="246"/>
                  </a:cubicBezTo>
                  <a:cubicBezTo>
                    <a:pt x="130" y="251"/>
                    <a:pt x="140" y="256"/>
                    <a:pt x="148" y="258"/>
                  </a:cubicBezTo>
                  <a:cubicBezTo>
                    <a:pt x="155" y="263"/>
                    <a:pt x="154" y="268"/>
                    <a:pt x="163" y="270"/>
                  </a:cubicBezTo>
                  <a:cubicBezTo>
                    <a:pt x="176" y="280"/>
                    <a:pt x="180" y="265"/>
                    <a:pt x="182" y="255"/>
                  </a:cubicBezTo>
                  <a:cubicBezTo>
                    <a:pt x="186" y="241"/>
                    <a:pt x="189" y="199"/>
                    <a:pt x="187" y="185"/>
                  </a:cubicBezTo>
                  <a:cubicBezTo>
                    <a:pt x="185" y="171"/>
                    <a:pt x="174" y="174"/>
                    <a:pt x="167" y="168"/>
                  </a:cubicBezTo>
                  <a:cubicBezTo>
                    <a:pt x="160" y="151"/>
                    <a:pt x="150" y="157"/>
                    <a:pt x="142" y="150"/>
                  </a:cubicBezTo>
                  <a:cubicBezTo>
                    <a:pt x="136" y="145"/>
                    <a:pt x="134" y="146"/>
                    <a:pt x="130" y="143"/>
                  </a:cubicBezTo>
                  <a:cubicBezTo>
                    <a:pt x="126" y="140"/>
                    <a:pt x="119" y="137"/>
                    <a:pt x="119" y="129"/>
                  </a:cubicBezTo>
                  <a:cubicBezTo>
                    <a:pt x="117" y="115"/>
                    <a:pt x="120" y="108"/>
                    <a:pt x="127" y="96"/>
                  </a:cubicBezTo>
                  <a:cubicBezTo>
                    <a:pt x="128" y="83"/>
                    <a:pt x="128" y="76"/>
                    <a:pt x="142" y="74"/>
                  </a:cubicBezTo>
                  <a:cubicBezTo>
                    <a:pt x="149" y="72"/>
                    <a:pt x="156" y="69"/>
                    <a:pt x="163" y="68"/>
                  </a:cubicBezTo>
                  <a:cubicBezTo>
                    <a:pt x="169" y="65"/>
                    <a:pt x="172" y="59"/>
                    <a:pt x="175" y="53"/>
                  </a:cubicBezTo>
                  <a:cubicBezTo>
                    <a:pt x="169" y="38"/>
                    <a:pt x="149" y="43"/>
                    <a:pt x="136" y="42"/>
                  </a:cubicBezTo>
                  <a:cubicBezTo>
                    <a:pt x="124" y="35"/>
                    <a:pt x="117" y="20"/>
                    <a:pt x="104" y="12"/>
                  </a:cubicBezTo>
                  <a:cubicBezTo>
                    <a:pt x="100" y="7"/>
                    <a:pt x="87" y="4"/>
                    <a:pt x="82" y="0"/>
                  </a:cubicBezTo>
                  <a:cubicBezTo>
                    <a:pt x="79" y="2"/>
                    <a:pt x="94" y="15"/>
                    <a:pt x="94" y="21"/>
                  </a:cubicBezTo>
                  <a:cubicBezTo>
                    <a:pt x="94" y="27"/>
                    <a:pt x="85" y="35"/>
                    <a:pt x="80" y="39"/>
                  </a:cubicBezTo>
                  <a:cubicBezTo>
                    <a:pt x="74" y="42"/>
                    <a:pt x="68" y="42"/>
                    <a:pt x="62" y="44"/>
                  </a:cubicBezTo>
                  <a:cubicBezTo>
                    <a:pt x="57" y="47"/>
                    <a:pt x="55" y="51"/>
                    <a:pt x="50" y="54"/>
                  </a:cubicBezTo>
                  <a:cubicBezTo>
                    <a:pt x="48" y="62"/>
                    <a:pt x="45" y="77"/>
                    <a:pt x="38" y="78"/>
                  </a:cubicBezTo>
                  <a:cubicBezTo>
                    <a:pt x="35" y="77"/>
                    <a:pt x="14" y="67"/>
                    <a:pt x="14" y="66"/>
                  </a:cubicBezTo>
                  <a:cubicBezTo>
                    <a:pt x="15" y="64"/>
                    <a:pt x="18" y="66"/>
                    <a:pt x="20" y="66"/>
                  </a:cubicBezTo>
                  <a:close/>
                </a:path>
              </a:pathLst>
            </a:custGeom>
            <a:solidFill>
              <a:schemeClr val="accent1"/>
            </a:solidFill>
            <a:ln w="9525" cap="flat" cmpd="sng">
              <a:solidFill>
                <a:schemeClr val="bg1"/>
              </a:solidFill>
              <a:prstDash val="solid"/>
              <a:round/>
              <a:headEnd type="none" w="med" len="med"/>
              <a:tailEnd type="none" w="med" len="med"/>
            </a:ln>
            <a:effectLst/>
            <a:extLst/>
          </p:spPr>
          <p:txBody>
            <a:bodyPr>
              <a:noAutofit/>
            </a:bodyPr>
            <a:lstStyle/>
            <a:p>
              <a:pPr fontAlgn="auto">
                <a:spcBef>
                  <a:spcPts val="0"/>
                </a:spcBef>
                <a:spcAft>
                  <a:spcPts val="0"/>
                </a:spcAft>
                <a:defRPr/>
              </a:pPr>
              <a:endParaRPr lang="en-CA" kern="0">
                <a:solidFill>
                  <a:sysClr val="windowText" lastClr="000000"/>
                </a:solidFill>
              </a:endParaRPr>
            </a:p>
          </p:txBody>
        </p:sp>
        <p:sp>
          <p:nvSpPr>
            <p:cNvPr id="482" name="Freeform 413"/>
            <p:cNvSpPr>
              <a:spLocks/>
            </p:cNvSpPr>
            <p:nvPr>
              <p:custDataLst>
                <p:tags r:id="rId155"/>
              </p:custDataLst>
            </p:nvPr>
          </p:nvSpPr>
          <p:spPr bwMode="gray">
            <a:xfrm>
              <a:off x="1381490" y="2532152"/>
              <a:ext cx="68005" cy="71573"/>
            </a:xfrm>
            <a:custGeom>
              <a:avLst/>
              <a:gdLst>
                <a:gd name="T0" fmla="*/ 30 w 84"/>
                <a:gd name="T1" fmla="*/ 0 h 94"/>
                <a:gd name="T2" fmla="*/ 12 w 84"/>
                <a:gd name="T3" fmla="*/ 18 h 94"/>
                <a:gd name="T4" fmla="*/ 4 w 84"/>
                <a:gd name="T5" fmla="*/ 38 h 94"/>
                <a:gd name="T6" fmla="*/ 19 w 84"/>
                <a:gd name="T7" fmla="*/ 51 h 94"/>
                <a:gd name="T8" fmla="*/ 16 w 84"/>
                <a:gd name="T9" fmla="*/ 74 h 94"/>
                <a:gd name="T10" fmla="*/ 19 w 84"/>
                <a:gd name="T11" fmla="*/ 84 h 94"/>
                <a:gd name="T12" fmla="*/ 36 w 84"/>
                <a:gd name="T13" fmla="*/ 87 h 94"/>
                <a:gd name="T14" fmla="*/ 42 w 84"/>
                <a:gd name="T15" fmla="*/ 72 h 94"/>
                <a:gd name="T16" fmla="*/ 72 w 84"/>
                <a:gd name="T17" fmla="*/ 50 h 94"/>
                <a:gd name="T18" fmla="*/ 84 w 84"/>
                <a:gd name="T19" fmla="*/ 35 h 94"/>
                <a:gd name="T20" fmla="*/ 51 w 84"/>
                <a:gd name="T21" fmla="*/ 0 h 94"/>
                <a:gd name="T22" fmla="*/ 30 w 84"/>
                <a:gd name="T23" fmla="*/ 0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4" h="94">
                  <a:moveTo>
                    <a:pt x="30" y="0"/>
                  </a:moveTo>
                  <a:cubicBezTo>
                    <a:pt x="20" y="4"/>
                    <a:pt x="20" y="12"/>
                    <a:pt x="12" y="18"/>
                  </a:cubicBezTo>
                  <a:cubicBezTo>
                    <a:pt x="9" y="25"/>
                    <a:pt x="7" y="31"/>
                    <a:pt x="4" y="38"/>
                  </a:cubicBezTo>
                  <a:cubicBezTo>
                    <a:pt x="0" y="61"/>
                    <a:pt x="4" y="62"/>
                    <a:pt x="19" y="51"/>
                  </a:cubicBezTo>
                  <a:cubicBezTo>
                    <a:pt x="22" y="59"/>
                    <a:pt x="20" y="67"/>
                    <a:pt x="16" y="74"/>
                  </a:cubicBezTo>
                  <a:cubicBezTo>
                    <a:pt x="14" y="84"/>
                    <a:pt x="12" y="79"/>
                    <a:pt x="19" y="84"/>
                  </a:cubicBezTo>
                  <a:cubicBezTo>
                    <a:pt x="21" y="89"/>
                    <a:pt x="27" y="94"/>
                    <a:pt x="36" y="87"/>
                  </a:cubicBezTo>
                  <a:cubicBezTo>
                    <a:pt x="37" y="87"/>
                    <a:pt x="41" y="74"/>
                    <a:pt x="42" y="72"/>
                  </a:cubicBezTo>
                  <a:cubicBezTo>
                    <a:pt x="49" y="62"/>
                    <a:pt x="60" y="52"/>
                    <a:pt x="72" y="50"/>
                  </a:cubicBezTo>
                  <a:cubicBezTo>
                    <a:pt x="79" y="47"/>
                    <a:pt x="80" y="41"/>
                    <a:pt x="84" y="35"/>
                  </a:cubicBezTo>
                  <a:cubicBezTo>
                    <a:pt x="81" y="17"/>
                    <a:pt x="66" y="8"/>
                    <a:pt x="51" y="0"/>
                  </a:cubicBezTo>
                  <a:cubicBezTo>
                    <a:pt x="47" y="1"/>
                    <a:pt x="32" y="6"/>
                    <a:pt x="30" y="0"/>
                  </a:cubicBezTo>
                  <a:close/>
                </a:path>
              </a:pathLst>
            </a:custGeom>
            <a:solidFill>
              <a:schemeClr val="bg1">
                <a:lumMod val="85000"/>
              </a:schemeClr>
            </a:solidFill>
            <a:ln w="9525" cap="flat" cmpd="sng">
              <a:solidFill>
                <a:schemeClr val="bg1"/>
              </a:solidFill>
              <a:prstDash val="solid"/>
              <a:round/>
              <a:headEnd type="none" w="med" len="med"/>
              <a:tailEnd type="none" w="med" len="med"/>
            </a:ln>
            <a:effectLst/>
            <a:extLst/>
          </p:spPr>
          <p:txBody>
            <a:bodyPr>
              <a:noAutofit/>
            </a:bodyPr>
            <a:lstStyle/>
            <a:p>
              <a:pPr fontAlgn="auto">
                <a:spcBef>
                  <a:spcPts val="0"/>
                </a:spcBef>
                <a:spcAft>
                  <a:spcPts val="0"/>
                </a:spcAft>
                <a:defRPr/>
              </a:pPr>
              <a:endParaRPr lang="en-CA" kern="0">
                <a:solidFill>
                  <a:sysClr val="windowText" lastClr="000000"/>
                </a:solidFill>
              </a:endParaRPr>
            </a:p>
          </p:txBody>
        </p:sp>
        <p:sp>
          <p:nvSpPr>
            <p:cNvPr id="483" name="Freeform 414"/>
            <p:cNvSpPr>
              <a:spLocks/>
            </p:cNvSpPr>
            <p:nvPr>
              <p:custDataLst>
                <p:tags r:id="rId156"/>
              </p:custDataLst>
            </p:nvPr>
          </p:nvSpPr>
          <p:spPr bwMode="gray">
            <a:xfrm>
              <a:off x="1657509" y="2898483"/>
              <a:ext cx="66404" cy="65417"/>
            </a:xfrm>
            <a:custGeom>
              <a:avLst/>
              <a:gdLst>
                <a:gd name="T0" fmla="*/ 23 w 82"/>
                <a:gd name="T1" fmla="*/ 0 h 84"/>
                <a:gd name="T2" fmla="*/ 59 w 82"/>
                <a:gd name="T3" fmla="*/ 30 h 84"/>
                <a:gd name="T4" fmla="*/ 67 w 82"/>
                <a:gd name="T5" fmla="*/ 38 h 84"/>
                <a:gd name="T6" fmla="*/ 76 w 82"/>
                <a:gd name="T7" fmla="*/ 51 h 84"/>
                <a:gd name="T8" fmla="*/ 58 w 82"/>
                <a:gd name="T9" fmla="*/ 84 h 84"/>
                <a:gd name="T10" fmla="*/ 26 w 82"/>
                <a:gd name="T11" fmla="*/ 83 h 84"/>
                <a:gd name="T12" fmla="*/ 5 w 82"/>
                <a:gd name="T13" fmla="*/ 74 h 84"/>
                <a:gd name="T14" fmla="*/ 2 w 82"/>
                <a:gd name="T15" fmla="*/ 48 h 84"/>
                <a:gd name="T16" fmla="*/ 4 w 82"/>
                <a:gd name="T17" fmla="*/ 20 h 84"/>
                <a:gd name="T18" fmla="*/ 23 w 82"/>
                <a:gd name="T19" fmla="*/ 0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2" h="84">
                  <a:moveTo>
                    <a:pt x="23" y="0"/>
                  </a:moveTo>
                  <a:cubicBezTo>
                    <a:pt x="31" y="10"/>
                    <a:pt x="48" y="23"/>
                    <a:pt x="59" y="30"/>
                  </a:cubicBezTo>
                  <a:cubicBezTo>
                    <a:pt x="64" y="36"/>
                    <a:pt x="61" y="34"/>
                    <a:pt x="67" y="38"/>
                  </a:cubicBezTo>
                  <a:cubicBezTo>
                    <a:pt x="71" y="45"/>
                    <a:pt x="72" y="44"/>
                    <a:pt x="76" y="51"/>
                  </a:cubicBezTo>
                  <a:cubicBezTo>
                    <a:pt x="80" y="77"/>
                    <a:pt x="82" y="82"/>
                    <a:pt x="58" y="84"/>
                  </a:cubicBezTo>
                  <a:cubicBezTo>
                    <a:pt x="47" y="84"/>
                    <a:pt x="37" y="84"/>
                    <a:pt x="26" y="83"/>
                  </a:cubicBezTo>
                  <a:cubicBezTo>
                    <a:pt x="19" y="82"/>
                    <a:pt x="13" y="75"/>
                    <a:pt x="5" y="74"/>
                  </a:cubicBezTo>
                  <a:cubicBezTo>
                    <a:pt x="0" y="67"/>
                    <a:pt x="2" y="57"/>
                    <a:pt x="2" y="48"/>
                  </a:cubicBezTo>
                  <a:cubicBezTo>
                    <a:pt x="2" y="39"/>
                    <a:pt x="1" y="28"/>
                    <a:pt x="4" y="20"/>
                  </a:cubicBezTo>
                  <a:cubicBezTo>
                    <a:pt x="7" y="12"/>
                    <a:pt x="20" y="4"/>
                    <a:pt x="23" y="0"/>
                  </a:cubicBezTo>
                  <a:close/>
                </a:path>
              </a:pathLst>
            </a:custGeom>
            <a:solidFill>
              <a:schemeClr val="bg1">
                <a:lumMod val="85000"/>
              </a:schemeClr>
            </a:solidFill>
            <a:ln w="9525" cap="flat" cmpd="sng">
              <a:solidFill>
                <a:schemeClr val="bg1"/>
              </a:solidFill>
              <a:prstDash val="solid"/>
              <a:round/>
              <a:headEnd type="none" w="med" len="med"/>
              <a:tailEnd type="none" w="med" len="med"/>
            </a:ln>
            <a:effectLst/>
            <a:extLst/>
          </p:spPr>
          <p:txBody>
            <a:bodyPr>
              <a:noAutofit/>
            </a:bodyPr>
            <a:lstStyle/>
            <a:p>
              <a:pPr fontAlgn="auto">
                <a:spcBef>
                  <a:spcPts val="0"/>
                </a:spcBef>
                <a:spcAft>
                  <a:spcPts val="0"/>
                </a:spcAft>
                <a:defRPr/>
              </a:pPr>
              <a:endParaRPr lang="en-CA" kern="0">
                <a:solidFill>
                  <a:sysClr val="windowText" lastClr="000000"/>
                </a:solidFill>
              </a:endParaRPr>
            </a:p>
          </p:txBody>
        </p:sp>
        <p:sp>
          <p:nvSpPr>
            <p:cNvPr id="484" name="Freeform 416"/>
            <p:cNvSpPr>
              <a:spLocks/>
            </p:cNvSpPr>
            <p:nvPr>
              <p:custDataLst>
                <p:tags r:id="rId157"/>
              </p:custDataLst>
            </p:nvPr>
          </p:nvSpPr>
          <p:spPr bwMode="gray">
            <a:xfrm>
              <a:off x="1247081" y="2332054"/>
              <a:ext cx="46404" cy="53103"/>
            </a:xfrm>
            <a:custGeom>
              <a:avLst/>
              <a:gdLst>
                <a:gd name="T0" fmla="*/ 1 w 57"/>
                <a:gd name="T1" fmla="*/ 58 h 69"/>
                <a:gd name="T2" fmla="*/ 15 w 57"/>
                <a:gd name="T3" fmla="*/ 68 h 69"/>
                <a:gd name="T4" fmla="*/ 34 w 57"/>
                <a:gd name="T5" fmla="*/ 65 h 69"/>
                <a:gd name="T6" fmla="*/ 52 w 57"/>
                <a:gd name="T7" fmla="*/ 49 h 69"/>
                <a:gd name="T8" fmla="*/ 46 w 57"/>
                <a:gd name="T9" fmla="*/ 40 h 69"/>
                <a:gd name="T10" fmla="*/ 52 w 57"/>
                <a:gd name="T11" fmla="*/ 20 h 69"/>
                <a:gd name="T12" fmla="*/ 57 w 57"/>
                <a:gd name="T13" fmla="*/ 2 h 69"/>
                <a:gd name="T14" fmla="*/ 49 w 57"/>
                <a:gd name="T15" fmla="*/ 7 h 69"/>
                <a:gd name="T16" fmla="*/ 25 w 57"/>
                <a:gd name="T17" fmla="*/ 7 h 69"/>
                <a:gd name="T18" fmla="*/ 27 w 57"/>
                <a:gd name="T19" fmla="*/ 22 h 69"/>
                <a:gd name="T20" fmla="*/ 37 w 57"/>
                <a:gd name="T21" fmla="*/ 34 h 69"/>
                <a:gd name="T22" fmla="*/ 15 w 57"/>
                <a:gd name="T23" fmla="*/ 35 h 69"/>
                <a:gd name="T24" fmla="*/ 6 w 57"/>
                <a:gd name="T25" fmla="*/ 46 h 69"/>
                <a:gd name="T26" fmla="*/ 1 w 57"/>
                <a:gd name="T27" fmla="*/ 58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69">
                  <a:moveTo>
                    <a:pt x="1" y="58"/>
                  </a:moveTo>
                  <a:cubicBezTo>
                    <a:pt x="2" y="62"/>
                    <a:pt x="10" y="67"/>
                    <a:pt x="15" y="68"/>
                  </a:cubicBezTo>
                  <a:cubicBezTo>
                    <a:pt x="20" y="69"/>
                    <a:pt x="28" y="68"/>
                    <a:pt x="34" y="65"/>
                  </a:cubicBezTo>
                  <a:cubicBezTo>
                    <a:pt x="40" y="62"/>
                    <a:pt x="50" y="53"/>
                    <a:pt x="52" y="49"/>
                  </a:cubicBezTo>
                  <a:cubicBezTo>
                    <a:pt x="54" y="45"/>
                    <a:pt x="46" y="45"/>
                    <a:pt x="46" y="40"/>
                  </a:cubicBezTo>
                  <a:cubicBezTo>
                    <a:pt x="46" y="35"/>
                    <a:pt x="50" y="26"/>
                    <a:pt x="52" y="20"/>
                  </a:cubicBezTo>
                  <a:cubicBezTo>
                    <a:pt x="54" y="14"/>
                    <a:pt x="57" y="4"/>
                    <a:pt x="57" y="2"/>
                  </a:cubicBezTo>
                  <a:cubicBezTo>
                    <a:pt x="57" y="0"/>
                    <a:pt x="54" y="6"/>
                    <a:pt x="49" y="7"/>
                  </a:cubicBezTo>
                  <a:cubicBezTo>
                    <a:pt x="44" y="8"/>
                    <a:pt x="29" y="5"/>
                    <a:pt x="25" y="7"/>
                  </a:cubicBezTo>
                  <a:cubicBezTo>
                    <a:pt x="21" y="9"/>
                    <a:pt x="25" y="18"/>
                    <a:pt x="27" y="22"/>
                  </a:cubicBezTo>
                  <a:cubicBezTo>
                    <a:pt x="29" y="26"/>
                    <a:pt x="39" y="32"/>
                    <a:pt x="37" y="34"/>
                  </a:cubicBezTo>
                  <a:cubicBezTo>
                    <a:pt x="35" y="36"/>
                    <a:pt x="20" y="33"/>
                    <a:pt x="15" y="35"/>
                  </a:cubicBezTo>
                  <a:cubicBezTo>
                    <a:pt x="10" y="37"/>
                    <a:pt x="8" y="42"/>
                    <a:pt x="6" y="46"/>
                  </a:cubicBezTo>
                  <a:cubicBezTo>
                    <a:pt x="4" y="50"/>
                    <a:pt x="0" y="54"/>
                    <a:pt x="1" y="58"/>
                  </a:cubicBezTo>
                  <a:close/>
                </a:path>
              </a:pathLst>
            </a:custGeom>
            <a:solidFill>
              <a:schemeClr val="bg1">
                <a:lumMod val="85000"/>
              </a:schemeClr>
            </a:solidFill>
            <a:ln w="9525" cap="flat" cmpd="sng">
              <a:solidFill>
                <a:schemeClr val="bg1"/>
              </a:solidFill>
              <a:prstDash val="solid"/>
              <a:round/>
              <a:headEnd type="none" w="med" len="med"/>
              <a:tailEnd type="none" w="med" len="med"/>
            </a:ln>
            <a:effectLst/>
            <a:extLst/>
          </p:spPr>
          <p:txBody>
            <a:bodyPr>
              <a:noAutofit/>
            </a:bodyPr>
            <a:lstStyle/>
            <a:p>
              <a:pPr fontAlgn="auto">
                <a:spcBef>
                  <a:spcPts val="0"/>
                </a:spcBef>
                <a:spcAft>
                  <a:spcPts val="0"/>
                </a:spcAft>
                <a:defRPr/>
              </a:pPr>
              <a:endParaRPr lang="en-CA" kern="0">
                <a:solidFill>
                  <a:sysClr val="windowText" lastClr="000000"/>
                </a:solidFill>
              </a:endParaRPr>
            </a:p>
          </p:txBody>
        </p:sp>
        <p:sp>
          <p:nvSpPr>
            <p:cNvPr id="485" name="Freeform 417"/>
            <p:cNvSpPr>
              <a:spLocks/>
            </p:cNvSpPr>
            <p:nvPr>
              <p:custDataLst>
                <p:tags r:id="rId158"/>
              </p:custDataLst>
            </p:nvPr>
          </p:nvSpPr>
          <p:spPr bwMode="gray">
            <a:xfrm>
              <a:off x="1286283" y="2353604"/>
              <a:ext cx="72806" cy="40789"/>
            </a:xfrm>
            <a:custGeom>
              <a:avLst/>
              <a:gdLst>
                <a:gd name="T0" fmla="*/ 3 w 89"/>
                <a:gd name="T1" fmla="*/ 34 h 53"/>
                <a:gd name="T2" fmla="*/ 18 w 89"/>
                <a:gd name="T3" fmla="*/ 42 h 53"/>
                <a:gd name="T4" fmla="*/ 25 w 89"/>
                <a:gd name="T5" fmla="*/ 52 h 53"/>
                <a:gd name="T6" fmla="*/ 46 w 89"/>
                <a:gd name="T7" fmla="*/ 39 h 53"/>
                <a:gd name="T8" fmla="*/ 66 w 89"/>
                <a:gd name="T9" fmla="*/ 30 h 53"/>
                <a:gd name="T10" fmla="*/ 87 w 89"/>
                <a:gd name="T11" fmla="*/ 28 h 53"/>
                <a:gd name="T12" fmla="*/ 78 w 89"/>
                <a:gd name="T13" fmla="*/ 7 h 53"/>
                <a:gd name="T14" fmla="*/ 63 w 89"/>
                <a:gd name="T15" fmla="*/ 7 h 53"/>
                <a:gd name="T16" fmla="*/ 40 w 89"/>
                <a:gd name="T17" fmla="*/ 1 h 53"/>
                <a:gd name="T18" fmla="*/ 24 w 89"/>
                <a:gd name="T19" fmla="*/ 12 h 53"/>
                <a:gd name="T20" fmla="*/ 9 w 89"/>
                <a:gd name="T21" fmla="*/ 12 h 53"/>
                <a:gd name="T22" fmla="*/ 1 w 89"/>
                <a:gd name="T23" fmla="*/ 22 h 53"/>
                <a:gd name="T24" fmla="*/ 3 w 8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9" h="53">
                  <a:moveTo>
                    <a:pt x="3" y="34"/>
                  </a:moveTo>
                  <a:cubicBezTo>
                    <a:pt x="6" y="37"/>
                    <a:pt x="14" y="39"/>
                    <a:pt x="18" y="42"/>
                  </a:cubicBezTo>
                  <a:cubicBezTo>
                    <a:pt x="22" y="45"/>
                    <a:pt x="20" y="53"/>
                    <a:pt x="25" y="52"/>
                  </a:cubicBezTo>
                  <a:cubicBezTo>
                    <a:pt x="30" y="51"/>
                    <a:pt x="39" y="43"/>
                    <a:pt x="46" y="39"/>
                  </a:cubicBezTo>
                  <a:cubicBezTo>
                    <a:pt x="53" y="35"/>
                    <a:pt x="59" y="32"/>
                    <a:pt x="66" y="30"/>
                  </a:cubicBezTo>
                  <a:cubicBezTo>
                    <a:pt x="73" y="28"/>
                    <a:pt x="85" y="32"/>
                    <a:pt x="87" y="28"/>
                  </a:cubicBezTo>
                  <a:cubicBezTo>
                    <a:pt x="89" y="24"/>
                    <a:pt x="82" y="10"/>
                    <a:pt x="78" y="7"/>
                  </a:cubicBezTo>
                  <a:cubicBezTo>
                    <a:pt x="74" y="4"/>
                    <a:pt x="69" y="8"/>
                    <a:pt x="63" y="7"/>
                  </a:cubicBezTo>
                  <a:cubicBezTo>
                    <a:pt x="57" y="6"/>
                    <a:pt x="46" y="0"/>
                    <a:pt x="40" y="1"/>
                  </a:cubicBezTo>
                  <a:cubicBezTo>
                    <a:pt x="34" y="2"/>
                    <a:pt x="29" y="10"/>
                    <a:pt x="24" y="12"/>
                  </a:cubicBezTo>
                  <a:cubicBezTo>
                    <a:pt x="19" y="14"/>
                    <a:pt x="13" y="10"/>
                    <a:pt x="9" y="12"/>
                  </a:cubicBezTo>
                  <a:cubicBezTo>
                    <a:pt x="5" y="14"/>
                    <a:pt x="2" y="18"/>
                    <a:pt x="1" y="22"/>
                  </a:cubicBezTo>
                  <a:cubicBezTo>
                    <a:pt x="0" y="26"/>
                    <a:pt x="1" y="30"/>
                    <a:pt x="3" y="34"/>
                  </a:cubicBezTo>
                  <a:close/>
                </a:path>
              </a:pathLst>
            </a:custGeom>
            <a:solidFill>
              <a:schemeClr val="bg1">
                <a:lumMod val="85000"/>
              </a:schemeClr>
            </a:solidFill>
            <a:ln w="9525" cap="flat" cmpd="sng">
              <a:solidFill>
                <a:schemeClr val="bg1"/>
              </a:solidFill>
              <a:prstDash val="solid"/>
              <a:round/>
              <a:headEnd type="none" w="med" len="med"/>
              <a:tailEnd type="none" w="med" len="med"/>
            </a:ln>
            <a:effectLst/>
            <a:extLst/>
          </p:spPr>
          <p:txBody>
            <a:bodyPr>
              <a:noAutofit/>
            </a:bodyPr>
            <a:lstStyle/>
            <a:p>
              <a:pPr fontAlgn="auto">
                <a:spcBef>
                  <a:spcPts val="0"/>
                </a:spcBef>
                <a:spcAft>
                  <a:spcPts val="0"/>
                </a:spcAft>
                <a:defRPr/>
              </a:pPr>
              <a:endParaRPr lang="en-CA" kern="0">
                <a:solidFill>
                  <a:sysClr val="windowText" lastClr="000000"/>
                </a:solidFill>
              </a:endParaRPr>
            </a:p>
          </p:txBody>
        </p:sp>
        <p:sp>
          <p:nvSpPr>
            <p:cNvPr id="486" name="Freeform 418"/>
            <p:cNvSpPr>
              <a:spLocks/>
            </p:cNvSpPr>
            <p:nvPr>
              <p:custDataLst>
                <p:tags r:id="rId159"/>
              </p:custDataLst>
            </p:nvPr>
          </p:nvSpPr>
          <p:spPr bwMode="gray">
            <a:xfrm>
              <a:off x="1267881" y="2379001"/>
              <a:ext cx="40803" cy="26167"/>
            </a:xfrm>
            <a:custGeom>
              <a:avLst/>
              <a:gdLst>
                <a:gd name="T0" fmla="*/ 13 w 50"/>
                <a:gd name="T1" fmla="*/ 0 h 34"/>
                <a:gd name="T2" fmla="*/ 1 w 50"/>
                <a:gd name="T3" fmla="*/ 16 h 34"/>
                <a:gd name="T4" fmla="*/ 10 w 50"/>
                <a:gd name="T5" fmla="*/ 24 h 34"/>
                <a:gd name="T6" fmla="*/ 32 w 50"/>
                <a:gd name="T7" fmla="*/ 27 h 34"/>
                <a:gd name="T8" fmla="*/ 44 w 50"/>
                <a:gd name="T9" fmla="*/ 33 h 34"/>
                <a:gd name="T10" fmla="*/ 49 w 50"/>
                <a:gd name="T11" fmla="*/ 22 h 34"/>
                <a:gd name="T12" fmla="*/ 38 w 50"/>
                <a:gd name="T13" fmla="*/ 12 h 34"/>
                <a:gd name="T14" fmla="*/ 31 w 50"/>
                <a:gd name="T15" fmla="*/ 3 h 34"/>
                <a:gd name="T16" fmla="*/ 15 w 50"/>
                <a:gd name="T17" fmla="*/ 1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 h="34">
                  <a:moveTo>
                    <a:pt x="13" y="0"/>
                  </a:moveTo>
                  <a:cubicBezTo>
                    <a:pt x="11" y="3"/>
                    <a:pt x="2" y="12"/>
                    <a:pt x="1" y="16"/>
                  </a:cubicBezTo>
                  <a:cubicBezTo>
                    <a:pt x="0" y="20"/>
                    <a:pt x="5" y="22"/>
                    <a:pt x="10" y="24"/>
                  </a:cubicBezTo>
                  <a:cubicBezTo>
                    <a:pt x="15" y="26"/>
                    <a:pt x="26" y="26"/>
                    <a:pt x="32" y="27"/>
                  </a:cubicBezTo>
                  <a:cubicBezTo>
                    <a:pt x="38" y="28"/>
                    <a:pt x="41" y="34"/>
                    <a:pt x="44" y="33"/>
                  </a:cubicBezTo>
                  <a:cubicBezTo>
                    <a:pt x="47" y="32"/>
                    <a:pt x="50" y="26"/>
                    <a:pt x="49" y="22"/>
                  </a:cubicBezTo>
                  <a:cubicBezTo>
                    <a:pt x="48" y="18"/>
                    <a:pt x="41" y="15"/>
                    <a:pt x="38" y="12"/>
                  </a:cubicBezTo>
                  <a:cubicBezTo>
                    <a:pt x="35" y="9"/>
                    <a:pt x="35" y="5"/>
                    <a:pt x="31" y="3"/>
                  </a:cubicBezTo>
                  <a:cubicBezTo>
                    <a:pt x="27" y="1"/>
                    <a:pt x="18" y="2"/>
                    <a:pt x="15" y="1"/>
                  </a:cubicBezTo>
                </a:path>
              </a:pathLst>
            </a:custGeom>
            <a:solidFill>
              <a:schemeClr val="bg1">
                <a:lumMod val="85000"/>
              </a:schemeClr>
            </a:solidFill>
            <a:ln w="9525" cap="flat" cmpd="sng">
              <a:solidFill>
                <a:schemeClr val="bg1"/>
              </a:solidFill>
              <a:prstDash val="solid"/>
              <a:round/>
              <a:headEnd type="none" w="med" len="med"/>
              <a:tailEnd type="none" w="med" len="med"/>
            </a:ln>
            <a:effectLst/>
            <a:extLst/>
          </p:spPr>
          <p:txBody>
            <a:bodyPr>
              <a:noAutofit/>
            </a:bodyPr>
            <a:lstStyle/>
            <a:p>
              <a:pPr fontAlgn="auto">
                <a:spcBef>
                  <a:spcPts val="0"/>
                </a:spcBef>
                <a:spcAft>
                  <a:spcPts val="0"/>
                </a:spcAft>
                <a:defRPr/>
              </a:pPr>
              <a:endParaRPr lang="en-CA" kern="0">
                <a:solidFill>
                  <a:sysClr val="windowText" lastClr="000000"/>
                </a:solidFill>
              </a:endParaRPr>
            </a:p>
          </p:txBody>
        </p:sp>
        <p:sp>
          <p:nvSpPr>
            <p:cNvPr id="487" name="Freeform 419"/>
            <p:cNvSpPr>
              <a:spLocks/>
            </p:cNvSpPr>
            <p:nvPr>
              <p:custDataLst>
                <p:tags r:id="rId160"/>
              </p:custDataLst>
            </p:nvPr>
          </p:nvSpPr>
          <p:spPr bwMode="gray">
            <a:xfrm>
              <a:off x="1303884" y="2373614"/>
              <a:ext cx="55204" cy="51563"/>
            </a:xfrm>
            <a:custGeom>
              <a:avLst/>
              <a:gdLst>
                <a:gd name="T0" fmla="*/ 3 w 67"/>
                <a:gd name="T1" fmla="*/ 35 h 67"/>
                <a:gd name="T2" fmla="*/ 18 w 67"/>
                <a:gd name="T3" fmla="*/ 50 h 67"/>
                <a:gd name="T4" fmla="*/ 26 w 67"/>
                <a:gd name="T5" fmla="*/ 58 h 67"/>
                <a:gd name="T6" fmla="*/ 26 w 67"/>
                <a:gd name="T7" fmla="*/ 55 h 67"/>
                <a:gd name="T8" fmla="*/ 42 w 67"/>
                <a:gd name="T9" fmla="*/ 65 h 67"/>
                <a:gd name="T10" fmla="*/ 60 w 67"/>
                <a:gd name="T11" fmla="*/ 59 h 67"/>
                <a:gd name="T12" fmla="*/ 62 w 67"/>
                <a:gd name="T13" fmla="*/ 16 h 67"/>
                <a:gd name="T14" fmla="*/ 62 w 67"/>
                <a:gd name="T15" fmla="*/ 1 h 67"/>
                <a:gd name="T16" fmla="*/ 33 w 67"/>
                <a:gd name="T17" fmla="*/ 8 h 67"/>
                <a:gd name="T18" fmla="*/ 3 w 67"/>
                <a:gd name="T19" fmla="*/ 35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7" h="67">
                  <a:moveTo>
                    <a:pt x="3" y="35"/>
                  </a:moveTo>
                  <a:cubicBezTo>
                    <a:pt x="0" y="42"/>
                    <a:pt x="14" y="46"/>
                    <a:pt x="18" y="50"/>
                  </a:cubicBezTo>
                  <a:cubicBezTo>
                    <a:pt x="22" y="54"/>
                    <a:pt x="25" y="57"/>
                    <a:pt x="26" y="58"/>
                  </a:cubicBezTo>
                  <a:cubicBezTo>
                    <a:pt x="27" y="59"/>
                    <a:pt x="23" y="54"/>
                    <a:pt x="26" y="55"/>
                  </a:cubicBezTo>
                  <a:cubicBezTo>
                    <a:pt x="29" y="56"/>
                    <a:pt x="36" y="64"/>
                    <a:pt x="42" y="65"/>
                  </a:cubicBezTo>
                  <a:cubicBezTo>
                    <a:pt x="48" y="66"/>
                    <a:pt x="57" y="67"/>
                    <a:pt x="60" y="59"/>
                  </a:cubicBezTo>
                  <a:cubicBezTo>
                    <a:pt x="63" y="51"/>
                    <a:pt x="62" y="26"/>
                    <a:pt x="62" y="16"/>
                  </a:cubicBezTo>
                  <a:cubicBezTo>
                    <a:pt x="62" y="6"/>
                    <a:pt x="67" y="2"/>
                    <a:pt x="62" y="1"/>
                  </a:cubicBezTo>
                  <a:cubicBezTo>
                    <a:pt x="57" y="0"/>
                    <a:pt x="43" y="3"/>
                    <a:pt x="33" y="8"/>
                  </a:cubicBezTo>
                  <a:cubicBezTo>
                    <a:pt x="23" y="13"/>
                    <a:pt x="6" y="28"/>
                    <a:pt x="3" y="35"/>
                  </a:cubicBezTo>
                  <a:close/>
                </a:path>
              </a:pathLst>
            </a:custGeom>
            <a:solidFill>
              <a:schemeClr val="bg1">
                <a:lumMod val="85000"/>
              </a:schemeClr>
            </a:solidFill>
            <a:ln w="9525" cap="flat" cmpd="sng">
              <a:solidFill>
                <a:schemeClr val="bg1"/>
              </a:solidFill>
              <a:prstDash val="solid"/>
              <a:round/>
              <a:headEnd type="none" w="med" len="med"/>
              <a:tailEnd type="none" w="med" len="med"/>
            </a:ln>
            <a:effectLst/>
            <a:extLst/>
          </p:spPr>
          <p:txBody>
            <a:bodyPr>
              <a:noAutofit/>
            </a:bodyPr>
            <a:lstStyle/>
            <a:p>
              <a:pPr fontAlgn="auto">
                <a:spcBef>
                  <a:spcPts val="0"/>
                </a:spcBef>
                <a:spcAft>
                  <a:spcPts val="0"/>
                </a:spcAft>
                <a:defRPr/>
              </a:pPr>
              <a:endParaRPr lang="en-CA" kern="0">
                <a:solidFill>
                  <a:sysClr val="windowText" lastClr="000000"/>
                </a:solidFill>
              </a:endParaRPr>
            </a:p>
          </p:txBody>
        </p:sp>
        <p:sp>
          <p:nvSpPr>
            <p:cNvPr id="488" name="Freeform 420"/>
            <p:cNvSpPr>
              <a:spLocks/>
            </p:cNvSpPr>
            <p:nvPr>
              <p:custDataLst>
                <p:tags r:id="rId161"/>
              </p:custDataLst>
            </p:nvPr>
          </p:nvSpPr>
          <p:spPr bwMode="gray">
            <a:xfrm>
              <a:off x="1338288" y="2273566"/>
              <a:ext cx="124809" cy="42329"/>
            </a:xfrm>
            <a:custGeom>
              <a:avLst/>
              <a:gdLst>
                <a:gd name="T0" fmla="*/ 0 w 152"/>
                <a:gd name="T1" fmla="*/ 19 h 56"/>
                <a:gd name="T2" fmla="*/ 12 w 152"/>
                <a:gd name="T3" fmla="*/ 9 h 56"/>
                <a:gd name="T4" fmla="*/ 23 w 152"/>
                <a:gd name="T5" fmla="*/ 0 h 56"/>
                <a:gd name="T6" fmla="*/ 92 w 152"/>
                <a:gd name="T7" fmla="*/ 4 h 56"/>
                <a:gd name="T8" fmla="*/ 110 w 152"/>
                <a:gd name="T9" fmla="*/ 13 h 56"/>
                <a:gd name="T10" fmla="*/ 128 w 152"/>
                <a:gd name="T11" fmla="*/ 21 h 56"/>
                <a:gd name="T12" fmla="*/ 143 w 152"/>
                <a:gd name="T13" fmla="*/ 31 h 56"/>
                <a:gd name="T14" fmla="*/ 152 w 152"/>
                <a:gd name="T15" fmla="*/ 43 h 56"/>
                <a:gd name="T16" fmla="*/ 143 w 152"/>
                <a:gd name="T17" fmla="*/ 54 h 56"/>
                <a:gd name="T18" fmla="*/ 93 w 152"/>
                <a:gd name="T19" fmla="*/ 45 h 56"/>
                <a:gd name="T20" fmla="*/ 51 w 152"/>
                <a:gd name="T21" fmla="*/ 18 h 56"/>
                <a:gd name="T22" fmla="*/ 24 w 152"/>
                <a:gd name="T23" fmla="*/ 28 h 56"/>
                <a:gd name="T24" fmla="*/ 15 w 152"/>
                <a:gd name="T25" fmla="*/ 16 h 56"/>
                <a:gd name="T26" fmla="*/ 0 w 152"/>
                <a:gd name="T27" fmla="*/ 19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52" h="56">
                  <a:moveTo>
                    <a:pt x="0" y="19"/>
                  </a:moveTo>
                  <a:cubicBezTo>
                    <a:pt x="5" y="16"/>
                    <a:pt x="7" y="12"/>
                    <a:pt x="12" y="9"/>
                  </a:cubicBezTo>
                  <a:cubicBezTo>
                    <a:pt x="15" y="3"/>
                    <a:pt x="16" y="1"/>
                    <a:pt x="23" y="0"/>
                  </a:cubicBezTo>
                  <a:cubicBezTo>
                    <a:pt x="57" y="1"/>
                    <a:pt x="66" y="2"/>
                    <a:pt x="92" y="4"/>
                  </a:cubicBezTo>
                  <a:cubicBezTo>
                    <a:pt x="98" y="7"/>
                    <a:pt x="104" y="9"/>
                    <a:pt x="110" y="13"/>
                  </a:cubicBezTo>
                  <a:cubicBezTo>
                    <a:pt x="115" y="20"/>
                    <a:pt x="120" y="18"/>
                    <a:pt x="128" y="21"/>
                  </a:cubicBezTo>
                  <a:cubicBezTo>
                    <a:pt x="129" y="29"/>
                    <a:pt x="135" y="29"/>
                    <a:pt x="143" y="31"/>
                  </a:cubicBezTo>
                  <a:cubicBezTo>
                    <a:pt x="148" y="35"/>
                    <a:pt x="149" y="38"/>
                    <a:pt x="152" y="43"/>
                  </a:cubicBezTo>
                  <a:cubicBezTo>
                    <a:pt x="149" y="48"/>
                    <a:pt x="148" y="51"/>
                    <a:pt x="143" y="54"/>
                  </a:cubicBezTo>
                  <a:cubicBezTo>
                    <a:pt x="113" y="52"/>
                    <a:pt x="112" y="56"/>
                    <a:pt x="93" y="45"/>
                  </a:cubicBezTo>
                  <a:cubicBezTo>
                    <a:pt x="89" y="38"/>
                    <a:pt x="61" y="20"/>
                    <a:pt x="51" y="18"/>
                  </a:cubicBezTo>
                  <a:cubicBezTo>
                    <a:pt x="27" y="20"/>
                    <a:pt x="39" y="25"/>
                    <a:pt x="24" y="28"/>
                  </a:cubicBezTo>
                  <a:cubicBezTo>
                    <a:pt x="19" y="24"/>
                    <a:pt x="17" y="22"/>
                    <a:pt x="15" y="16"/>
                  </a:cubicBezTo>
                  <a:cubicBezTo>
                    <a:pt x="11" y="18"/>
                    <a:pt x="3" y="22"/>
                    <a:pt x="0" y="19"/>
                  </a:cubicBezTo>
                  <a:close/>
                </a:path>
              </a:pathLst>
            </a:custGeom>
            <a:solidFill>
              <a:schemeClr val="bg1">
                <a:lumMod val="85000"/>
              </a:schemeClr>
            </a:solidFill>
            <a:ln w="9525" cap="flat" cmpd="sng">
              <a:solidFill>
                <a:schemeClr val="bg1"/>
              </a:solidFill>
              <a:prstDash val="solid"/>
              <a:round/>
              <a:headEnd type="none" w="med" len="med"/>
              <a:tailEnd type="none" w="med" len="med"/>
            </a:ln>
            <a:effectLst/>
            <a:extLst/>
          </p:spPr>
          <p:txBody>
            <a:bodyPr>
              <a:noAutofit/>
            </a:bodyPr>
            <a:lstStyle/>
            <a:p>
              <a:pPr fontAlgn="auto">
                <a:spcBef>
                  <a:spcPts val="0"/>
                </a:spcBef>
                <a:spcAft>
                  <a:spcPts val="0"/>
                </a:spcAft>
                <a:defRPr/>
              </a:pPr>
              <a:endParaRPr lang="en-CA" kern="0">
                <a:solidFill>
                  <a:sysClr val="windowText" lastClr="000000"/>
                </a:solidFill>
              </a:endParaRPr>
            </a:p>
          </p:txBody>
        </p:sp>
        <p:sp>
          <p:nvSpPr>
            <p:cNvPr id="489" name="Freeform 421"/>
            <p:cNvSpPr>
              <a:spLocks/>
            </p:cNvSpPr>
            <p:nvPr>
              <p:custDataLst>
                <p:tags r:id="rId162"/>
              </p:custDataLst>
            </p:nvPr>
          </p:nvSpPr>
          <p:spPr bwMode="gray">
            <a:xfrm>
              <a:off x="1406291" y="2222002"/>
              <a:ext cx="98406" cy="76960"/>
            </a:xfrm>
            <a:custGeom>
              <a:avLst/>
              <a:gdLst>
                <a:gd name="T0" fmla="*/ 3 w 121"/>
                <a:gd name="T1" fmla="*/ 3 h 100"/>
                <a:gd name="T2" fmla="*/ 27 w 121"/>
                <a:gd name="T3" fmla="*/ 1 h 100"/>
                <a:gd name="T4" fmla="*/ 34 w 121"/>
                <a:gd name="T5" fmla="*/ 12 h 100"/>
                <a:gd name="T6" fmla="*/ 31 w 121"/>
                <a:gd name="T7" fmla="*/ 34 h 100"/>
                <a:gd name="T8" fmla="*/ 40 w 121"/>
                <a:gd name="T9" fmla="*/ 33 h 100"/>
                <a:gd name="T10" fmla="*/ 45 w 121"/>
                <a:gd name="T11" fmla="*/ 51 h 100"/>
                <a:gd name="T12" fmla="*/ 63 w 121"/>
                <a:gd name="T13" fmla="*/ 57 h 100"/>
                <a:gd name="T14" fmla="*/ 81 w 121"/>
                <a:gd name="T15" fmla="*/ 55 h 100"/>
                <a:gd name="T16" fmla="*/ 76 w 121"/>
                <a:gd name="T17" fmla="*/ 54 h 100"/>
                <a:gd name="T18" fmla="*/ 93 w 121"/>
                <a:gd name="T19" fmla="*/ 76 h 100"/>
                <a:gd name="T20" fmla="*/ 115 w 121"/>
                <a:gd name="T21" fmla="*/ 87 h 100"/>
                <a:gd name="T22" fmla="*/ 109 w 121"/>
                <a:gd name="T23" fmla="*/ 99 h 100"/>
                <a:gd name="T24" fmla="*/ 85 w 121"/>
                <a:gd name="T25" fmla="*/ 76 h 100"/>
                <a:gd name="T26" fmla="*/ 73 w 121"/>
                <a:gd name="T27" fmla="*/ 81 h 100"/>
                <a:gd name="T28" fmla="*/ 42 w 121"/>
                <a:gd name="T29" fmla="*/ 61 h 100"/>
                <a:gd name="T30" fmla="*/ 31 w 121"/>
                <a:gd name="T31" fmla="*/ 43 h 100"/>
                <a:gd name="T32" fmla="*/ 21 w 121"/>
                <a:gd name="T33" fmla="*/ 66 h 100"/>
                <a:gd name="T34" fmla="*/ 9 w 121"/>
                <a:gd name="T35" fmla="*/ 54 h 100"/>
                <a:gd name="T36" fmla="*/ 16 w 121"/>
                <a:gd name="T37" fmla="*/ 28 h 100"/>
                <a:gd name="T38" fmla="*/ 0 w 121"/>
                <a:gd name="T39" fmla="*/ 13 h 100"/>
                <a:gd name="T40" fmla="*/ 3 w 121"/>
                <a:gd name="T41" fmla="*/ 3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1" h="100">
                  <a:moveTo>
                    <a:pt x="3" y="3"/>
                  </a:moveTo>
                  <a:cubicBezTo>
                    <a:pt x="12" y="2"/>
                    <a:pt x="18" y="0"/>
                    <a:pt x="27" y="1"/>
                  </a:cubicBezTo>
                  <a:cubicBezTo>
                    <a:pt x="32" y="7"/>
                    <a:pt x="37" y="4"/>
                    <a:pt x="34" y="12"/>
                  </a:cubicBezTo>
                  <a:cubicBezTo>
                    <a:pt x="32" y="23"/>
                    <a:pt x="30" y="20"/>
                    <a:pt x="31" y="34"/>
                  </a:cubicBezTo>
                  <a:cubicBezTo>
                    <a:pt x="34" y="34"/>
                    <a:pt x="37" y="33"/>
                    <a:pt x="40" y="33"/>
                  </a:cubicBezTo>
                  <a:cubicBezTo>
                    <a:pt x="54" y="33"/>
                    <a:pt x="58" y="45"/>
                    <a:pt x="45" y="51"/>
                  </a:cubicBezTo>
                  <a:cubicBezTo>
                    <a:pt x="51" y="54"/>
                    <a:pt x="57" y="55"/>
                    <a:pt x="63" y="57"/>
                  </a:cubicBezTo>
                  <a:cubicBezTo>
                    <a:pt x="69" y="56"/>
                    <a:pt x="75" y="56"/>
                    <a:pt x="81" y="55"/>
                  </a:cubicBezTo>
                  <a:cubicBezTo>
                    <a:pt x="83" y="55"/>
                    <a:pt x="77" y="52"/>
                    <a:pt x="76" y="54"/>
                  </a:cubicBezTo>
                  <a:cubicBezTo>
                    <a:pt x="71" y="63"/>
                    <a:pt x="84" y="75"/>
                    <a:pt x="93" y="76"/>
                  </a:cubicBezTo>
                  <a:cubicBezTo>
                    <a:pt x="97" y="83"/>
                    <a:pt x="107" y="83"/>
                    <a:pt x="115" y="87"/>
                  </a:cubicBezTo>
                  <a:cubicBezTo>
                    <a:pt x="121" y="95"/>
                    <a:pt x="120" y="100"/>
                    <a:pt x="109" y="99"/>
                  </a:cubicBezTo>
                  <a:cubicBezTo>
                    <a:pt x="99" y="94"/>
                    <a:pt x="95" y="82"/>
                    <a:pt x="85" y="76"/>
                  </a:cubicBezTo>
                  <a:cubicBezTo>
                    <a:pt x="76" y="79"/>
                    <a:pt x="82" y="86"/>
                    <a:pt x="73" y="81"/>
                  </a:cubicBezTo>
                  <a:cubicBezTo>
                    <a:pt x="65" y="68"/>
                    <a:pt x="56" y="63"/>
                    <a:pt x="42" y="61"/>
                  </a:cubicBezTo>
                  <a:cubicBezTo>
                    <a:pt x="38" y="55"/>
                    <a:pt x="34" y="50"/>
                    <a:pt x="31" y="43"/>
                  </a:cubicBezTo>
                  <a:cubicBezTo>
                    <a:pt x="21" y="46"/>
                    <a:pt x="23" y="55"/>
                    <a:pt x="21" y="66"/>
                  </a:cubicBezTo>
                  <a:cubicBezTo>
                    <a:pt x="18" y="61"/>
                    <a:pt x="9" y="54"/>
                    <a:pt x="9" y="54"/>
                  </a:cubicBezTo>
                  <a:cubicBezTo>
                    <a:pt x="5" y="44"/>
                    <a:pt x="8" y="34"/>
                    <a:pt x="16" y="28"/>
                  </a:cubicBezTo>
                  <a:cubicBezTo>
                    <a:pt x="15" y="14"/>
                    <a:pt x="13" y="16"/>
                    <a:pt x="0" y="13"/>
                  </a:cubicBezTo>
                  <a:cubicBezTo>
                    <a:pt x="1" y="5"/>
                    <a:pt x="0" y="8"/>
                    <a:pt x="3" y="3"/>
                  </a:cubicBezTo>
                  <a:close/>
                </a:path>
              </a:pathLst>
            </a:custGeom>
            <a:solidFill>
              <a:schemeClr val="bg1">
                <a:lumMod val="85000"/>
              </a:schemeClr>
            </a:solidFill>
            <a:ln w="9525" cap="flat" cmpd="sng">
              <a:solidFill>
                <a:schemeClr val="bg1"/>
              </a:solidFill>
              <a:prstDash val="solid"/>
              <a:round/>
              <a:headEnd type="none" w="med" len="med"/>
              <a:tailEnd type="none" w="med" len="med"/>
            </a:ln>
            <a:effectLst/>
            <a:extLst/>
          </p:spPr>
          <p:txBody>
            <a:bodyPr>
              <a:noAutofit/>
            </a:bodyPr>
            <a:lstStyle/>
            <a:p>
              <a:pPr fontAlgn="auto">
                <a:spcBef>
                  <a:spcPts val="0"/>
                </a:spcBef>
                <a:spcAft>
                  <a:spcPts val="0"/>
                </a:spcAft>
                <a:defRPr/>
              </a:pPr>
              <a:endParaRPr lang="en-CA" kern="0">
                <a:solidFill>
                  <a:sysClr val="windowText" lastClr="000000"/>
                </a:solidFill>
              </a:endParaRPr>
            </a:p>
          </p:txBody>
        </p:sp>
        <p:sp>
          <p:nvSpPr>
            <p:cNvPr id="490" name="Freeform 422"/>
            <p:cNvSpPr>
              <a:spLocks/>
            </p:cNvSpPr>
            <p:nvPr>
              <p:custDataLst>
                <p:tags r:id="rId163"/>
              </p:custDataLst>
            </p:nvPr>
          </p:nvSpPr>
          <p:spPr bwMode="gray">
            <a:xfrm>
              <a:off x="1417491" y="2328977"/>
              <a:ext cx="34403" cy="8466"/>
            </a:xfrm>
            <a:custGeom>
              <a:avLst/>
              <a:gdLst>
                <a:gd name="T0" fmla="*/ 2 w 43"/>
                <a:gd name="T1" fmla="*/ 5 h 11"/>
                <a:gd name="T2" fmla="*/ 22 w 43"/>
                <a:gd name="T3" fmla="*/ 2 h 11"/>
                <a:gd name="T4" fmla="*/ 5 w 43"/>
                <a:gd name="T5" fmla="*/ 6 h 11"/>
                <a:gd name="T6" fmla="*/ 2 w 43"/>
                <a:gd name="T7" fmla="*/ 5 h 11"/>
              </a:gdLst>
              <a:ahLst/>
              <a:cxnLst>
                <a:cxn ang="0">
                  <a:pos x="T0" y="T1"/>
                </a:cxn>
                <a:cxn ang="0">
                  <a:pos x="T2" y="T3"/>
                </a:cxn>
                <a:cxn ang="0">
                  <a:pos x="T4" y="T5"/>
                </a:cxn>
                <a:cxn ang="0">
                  <a:pos x="T6" y="T7"/>
                </a:cxn>
              </a:cxnLst>
              <a:rect l="0" t="0" r="r" b="b"/>
              <a:pathLst>
                <a:path w="43" h="11">
                  <a:moveTo>
                    <a:pt x="2" y="5"/>
                  </a:moveTo>
                  <a:cubicBezTo>
                    <a:pt x="11" y="0"/>
                    <a:pt x="10" y="0"/>
                    <a:pt x="22" y="2"/>
                  </a:cubicBezTo>
                  <a:cubicBezTo>
                    <a:pt x="34" y="11"/>
                    <a:pt x="43" y="9"/>
                    <a:pt x="5" y="6"/>
                  </a:cubicBezTo>
                  <a:cubicBezTo>
                    <a:pt x="0" y="3"/>
                    <a:pt x="0" y="2"/>
                    <a:pt x="2" y="5"/>
                  </a:cubicBezTo>
                  <a:close/>
                </a:path>
              </a:pathLst>
            </a:custGeom>
            <a:solidFill>
              <a:schemeClr val="bg1">
                <a:lumMod val="85000"/>
              </a:schemeClr>
            </a:solidFill>
            <a:ln w="9525" cap="flat" cmpd="sng">
              <a:solidFill>
                <a:schemeClr val="bg1"/>
              </a:solidFill>
              <a:prstDash val="solid"/>
              <a:round/>
              <a:headEnd type="none" w="med" len="med"/>
              <a:tailEnd type="none" w="med" len="med"/>
            </a:ln>
            <a:effectLst/>
            <a:extLst/>
          </p:spPr>
          <p:txBody>
            <a:bodyPr>
              <a:noAutofit/>
            </a:bodyPr>
            <a:lstStyle/>
            <a:p>
              <a:pPr fontAlgn="auto">
                <a:spcBef>
                  <a:spcPts val="0"/>
                </a:spcBef>
                <a:spcAft>
                  <a:spcPts val="0"/>
                </a:spcAft>
                <a:defRPr/>
              </a:pPr>
              <a:endParaRPr lang="en-CA" kern="0">
                <a:solidFill>
                  <a:sysClr val="windowText" lastClr="000000"/>
                </a:solidFill>
              </a:endParaRPr>
            </a:p>
          </p:txBody>
        </p:sp>
        <p:sp>
          <p:nvSpPr>
            <p:cNvPr id="491" name="Freeform 423"/>
            <p:cNvSpPr>
              <a:spLocks/>
            </p:cNvSpPr>
            <p:nvPr>
              <p:custDataLst>
                <p:tags r:id="rId164"/>
              </p:custDataLst>
            </p:nvPr>
          </p:nvSpPr>
          <p:spPr bwMode="gray">
            <a:xfrm>
              <a:off x="1493497" y="2308196"/>
              <a:ext cx="52003" cy="31554"/>
            </a:xfrm>
            <a:custGeom>
              <a:avLst/>
              <a:gdLst>
                <a:gd name="T0" fmla="*/ 2 w 64"/>
                <a:gd name="T1" fmla="*/ 3 h 41"/>
                <a:gd name="T2" fmla="*/ 1 w 64"/>
                <a:gd name="T3" fmla="*/ 18 h 41"/>
                <a:gd name="T4" fmla="*/ 11 w 64"/>
                <a:gd name="T5" fmla="*/ 38 h 41"/>
                <a:gd name="T6" fmla="*/ 56 w 64"/>
                <a:gd name="T7" fmla="*/ 36 h 41"/>
                <a:gd name="T8" fmla="*/ 59 w 64"/>
                <a:gd name="T9" fmla="*/ 32 h 41"/>
                <a:gd name="T10" fmla="*/ 32 w 64"/>
                <a:gd name="T11" fmla="*/ 5 h 41"/>
                <a:gd name="T12" fmla="*/ 8 w 64"/>
                <a:gd name="T13" fmla="*/ 2 h 41"/>
              </a:gdLst>
              <a:ahLst/>
              <a:cxnLst>
                <a:cxn ang="0">
                  <a:pos x="T0" y="T1"/>
                </a:cxn>
                <a:cxn ang="0">
                  <a:pos x="T2" y="T3"/>
                </a:cxn>
                <a:cxn ang="0">
                  <a:pos x="T4" y="T5"/>
                </a:cxn>
                <a:cxn ang="0">
                  <a:pos x="T6" y="T7"/>
                </a:cxn>
                <a:cxn ang="0">
                  <a:pos x="T8" y="T9"/>
                </a:cxn>
                <a:cxn ang="0">
                  <a:pos x="T10" y="T11"/>
                </a:cxn>
                <a:cxn ang="0">
                  <a:pos x="T12" y="T13"/>
                </a:cxn>
              </a:cxnLst>
              <a:rect l="0" t="0" r="r" b="b"/>
              <a:pathLst>
                <a:path w="64" h="41">
                  <a:moveTo>
                    <a:pt x="2" y="3"/>
                  </a:moveTo>
                  <a:cubicBezTo>
                    <a:pt x="2" y="5"/>
                    <a:pt x="0" y="12"/>
                    <a:pt x="1" y="18"/>
                  </a:cubicBezTo>
                  <a:cubicBezTo>
                    <a:pt x="2" y="24"/>
                    <a:pt x="2" y="35"/>
                    <a:pt x="11" y="38"/>
                  </a:cubicBezTo>
                  <a:cubicBezTo>
                    <a:pt x="20" y="41"/>
                    <a:pt x="45" y="36"/>
                    <a:pt x="56" y="36"/>
                  </a:cubicBezTo>
                  <a:cubicBezTo>
                    <a:pt x="64" y="35"/>
                    <a:pt x="63" y="37"/>
                    <a:pt x="59" y="32"/>
                  </a:cubicBezTo>
                  <a:cubicBezTo>
                    <a:pt x="47" y="29"/>
                    <a:pt x="40" y="10"/>
                    <a:pt x="32" y="5"/>
                  </a:cubicBezTo>
                  <a:cubicBezTo>
                    <a:pt x="24" y="0"/>
                    <a:pt x="13" y="3"/>
                    <a:pt x="8" y="2"/>
                  </a:cubicBezTo>
                </a:path>
              </a:pathLst>
            </a:custGeom>
            <a:solidFill>
              <a:schemeClr val="bg1">
                <a:lumMod val="85000"/>
              </a:schemeClr>
            </a:solidFill>
            <a:ln w="9525" cap="flat" cmpd="sng">
              <a:solidFill>
                <a:schemeClr val="bg1"/>
              </a:solidFill>
              <a:prstDash val="solid"/>
              <a:round/>
              <a:headEnd type="none" w="med" len="med"/>
              <a:tailEnd type="none" w="med" len="med"/>
            </a:ln>
            <a:effectLst/>
            <a:extLst/>
          </p:spPr>
          <p:txBody>
            <a:bodyPr>
              <a:noAutofit/>
            </a:bodyPr>
            <a:lstStyle/>
            <a:p>
              <a:pPr fontAlgn="auto">
                <a:spcBef>
                  <a:spcPts val="0"/>
                </a:spcBef>
                <a:spcAft>
                  <a:spcPts val="0"/>
                </a:spcAft>
                <a:defRPr/>
              </a:pPr>
              <a:endParaRPr lang="en-CA" kern="0">
                <a:solidFill>
                  <a:sysClr val="windowText" lastClr="000000"/>
                </a:solidFill>
              </a:endParaRPr>
            </a:p>
          </p:txBody>
        </p:sp>
        <p:sp>
          <p:nvSpPr>
            <p:cNvPr id="492" name="Freeform 424"/>
            <p:cNvSpPr>
              <a:spLocks/>
            </p:cNvSpPr>
            <p:nvPr>
              <p:custDataLst>
                <p:tags r:id="rId165"/>
              </p:custDataLst>
            </p:nvPr>
          </p:nvSpPr>
          <p:spPr bwMode="gray">
            <a:xfrm>
              <a:off x="1443893" y="2748409"/>
              <a:ext cx="140810" cy="572585"/>
            </a:xfrm>
            <a:custGeom>
              <a:avLst/>
              <a:gdLst>
                <a:gd name="T0" fmla="*/ 80 w 172"/>
                <a:gd name="T1" fmla="*/ 87 h 745"/>
                <a:gd name="T2" fmla="*/ 71 w 172"/>
                <a:gd name="T3" fmla="*/ 169 h 745"/>
                <a:gd name="T4" fmla="*/ 65 w 172"/>
                <a:gd name="T5" fmla="*/ 184 h 745"/>
                <a:gd name="T6" fmla="*/ 65 w 172"/>
                <a:gd name="T7" fmla="*/ 217 h 745"/>
                <a:gd name="T8" fmla="*/ 53 w 172"/>
                <a:gd name="T9" fmla="*/ 291 h 745"/>
                <a:gd name="T10" fmla="*/ 34 w 172"/>
                <a:gd name="T11" fmla="*/ 330 h 745"/>
                <a:gd name="T12" fmla="*/ 40 w 172"/>
                <a:gd name="T13" fmla="*/ 370 h 745"/>
                <a:gd name="T14" fmla="*/ 28 w 172"/>
                <a:gd name="T15" fmla="*/ 408 h 745"/>
                <a:gd name="T16" fmla="*/ 8 w 172"/>
                <a:gd name="T17" fmla="*/ 523 h 745"/>
                <a:gd name="T18" fmla="*/ 11 w 172"/>
                <a:gd name="T19" fmla="*/ 616 h 745"/>
                <a:gd name="T20" fmla="*/ 28 w 172"/>
                <a:gd name="T21" fmla="*/ 679 h 745"/>
                <a:gd name="T22" fmla="*/ 52 w 172"/>
                <a:gd name="T23" fmla="*/ 702 h 745"/>
                <a:gd name="T24" fmla="*/ 89 w 172"/>
                <a:gd name="T25" fmla="*/ 721 h 745"/>
                <a:gd name="T26" fmla="*/ 121 w 172"/>
                <a:gd name="T27" fmla="*/ 745 h 745"/>
                <a:gd name="T28" fmla="*/ 151 w 172"/>
                <a:gd name="T29" fmla="*/ 715 h 745"/>
                <a:gd name="T30" fmla="*/ 172 w 172"/>
                <a:gd name="T31" fmla="*/ 711 h 745"/>
                <a:gd name="T32" fmla="*/ 124 w 172"/>
                <a:gd name="T33" fmla="*/ 703 h 745"/>
                <a:gd name="T34" fmla="*/ 98 w 172"/>
                <a:gd name="T35" fmla="*/ 693 h 745"/>
                <a:gd name="T36" fmla="*/ 71 w 172"/>
                <a:gd name="T37" fmla="*/ 651 h 745"/>
                <a:gd name="T38" fmla="*/ 56 w 172"/>
                <a:gd name="T39" fmla="*/ 630 h 745"/>
                <a:gd name="T40" fmla="*/ 43 w 172"/>
                <a:gd name="T41" fmla="*/ 600 h 745"/>
                <a:gd name="T42" fmla="*/ 52 w 172"/>
                <a:gd name="T43" fmla="*/ 570 h 745"/>
                <a:gd name="T44" fmla="*/ 58 w 172"/>
                <a:gd name="T45" fmla="*/ 541 h 745"/>
                <a:gd name="T46" fmla="*/ 70 w 172"/>
                <a:gd name="T47" fmla="*/ 484 h 745"/>
                <a:gd name="T48" fmla="*/ 67 w 172"/>
                <a:gd name="T49" fmla="*/ 456 h 745"/>
                <a:gd name="T50" fmla="*/ 56 w 172"/>
                <a:gd name="T51" fmla="*/ 426 h 745"/>
                <a:gd name="T52" fmla="*/ 62 w 172"/>
                <a:gd name="T53" fmla="*/ 394 h 745"/>
                <a:gd name="T54" fmla="*/ 73 w 172"/>
                <a:gd name="T55" fmla="*/ 342 h 745"/>
                <a:gd name="T56" fmla="*/ 88 w 172"/>
                <a:gd name="T57" fmla="*/ 300 h 745"/>
                <a:gd name="T58" fmla="*/ 89 w 172"/>
                <a:gd name="T59" fmla="*/ 256 h 745"/>
                <a:gd name="T60" fmla="*/ 91 w 172"/>
                <a:gd name="T61" fmla="*/ 186 h 745"/>
                <a:gd name="T62" fmla="*/ 115 w 172"/>
                <a:gd name="T63" fmla="*/ 153 h 745"/>
                <a:gd name="T64" fmla="*/ 116 w 172"/>
                <a:gd name="T65" fmla="*/ 117 h 745"/>
                <a:gd name="T66" fmla="*/ 128 w 172"/>
                <a:gd name="T67" fmla="*/ 96 h 745"/>
                <a:gd name="T68" fmla="*/ 128 w 172"/>
                <a:gd name="T69" fmla="*/ 72 h 745"/>
                <a:gd name="T70" fmla="*/ 103 w 172"/>
                <a:gd name="T71" fmla="*/ 34 h 745"/>
                <a:gd name="T72" fmla="*/ 97 w 172"/>
                <a:gd name="T73" fmla="*/ 0 h 7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72" h="745">
                  <a:moveTo>
                    <a:pt x="85" y="10"/>
                  </a:moveTo>
                  <a:cubicBezTo>
                    <a:pt x="84" y="40"/>
                    <a:pt x="98" y="63"/>
                    <a:pt x="80" y="87"/>
                  </a:cubicBezTo>
                  <a:cubicBezTo>
                    <a:pt x="81" y="103"/>
                    <a:pt x="83" y="134"/>
                    <a:pt x="77" y="150"/>
                  </a:cubicBezTo>
                  <a:cubicBezTo>
                    <a:pt x="76" y="156"/>
                    <a:pt x="74" y="163"/>
                    <a:pt x="71" y="169"/>
                  </a:cubicBezTo>
                  <a:cubicBezTo>
                    <a:pt x="71" y="174"/>
                    <a:pt x="73" y="183"/>
                    <a:pt x="71" y="187"/>
                  </a:cubicBezTo>
                  <a:cubicBezTo>
                    <a:pt x="70" y="189"/>
                    <a:pt x="65" y="182"/>
                    <a:pt x="65" y="184"/>
                  </a:cubicBezTo>
                  <a:cubicBezTo>
                    <a:pt x="63" y="193"/>
                    <a:pt x="65" y="202"/>
                    <a:pt x="64" y="211"/>
                  </a:cubicBezTo>
                  <a:cubicBezTo>
                    <a:pt x="64" y="213"/>
                    <a:pt x="66" y="215"/>
                    <a:pt x="65" y="217"/>
                  </a:cubicBezTo>
                  <a:cubicBezTo>
                    <a:pt x="67" y="229"/>
                    <a:pt x="77" y="253"/>
                    <a:pt x="61" y="261"/>
                  </a:cubicBezTo>
                  <a:cubicBezTo>
                    <a:pt x="56" y="270"/>
                    <a:pt x="57" y="281"/>
                    <a:pt x="53" y="291"/>
                  </a:cubicBezTo>
                  <a:cubicBezTo>
                    <a:pt x="52" y="300"/>
                    <a:pt x="48" y="315"/>
                    <a:pt x="41" y="319"/>
                  </a:cubicBezTo>
                  <a:cubicBezTo>
                    <a:pt x="40" y="325"/>
                    <a:pt x="40" y="327"/>
                    <a:pt x="34" y="330"/>
                  </a:cubicBezTo>
                  <a:cubicBezTo>
                    <a:pt x="31" y="335"/>
                    <a:pt x="40" y="346"/>
                    <a:pt x="37" y="351"/>
                  </a:cubicBezTo>
                  <a:cubicBezTo>
                    <a:pt x="35" y="362"/>
                    <a:pt x="35" y="361"/>
                    <a:pt x="40" y="370"/>
                  </a:cubicBezTo>
                  <a:cubicBezTo>
                    <a:pt x="40" y="375"/>
                    <a:pt x="45" y="375"/>
                    <a:pt x="43" y="381"/>
                  </a:cubicBezTo>
                  <a:cubicBezTo>
                    <a:pt x="41" y="387"/>
                    <a:pt x="33" y="392"/>
                    <a:pt x="28" y="408"/>
                  </a:cubicBezTo>
                  <a:cubicBezTo>
                    <a:pt x="14" y="426"/>
                    <a:pt x="29" y="458"/>
                    <a:pt x="14" y="478"/>
                  </a:cubicBezTo>
                  <a:cubicBezTo>
                    <a:pt x="11" y="493"/>
                    <a:pt x="11" y="508"/>
                    <a:pt x="8" y="523"/>
                  </a:cubicBezTo>
                  <a:cubicBezTo>
                    <a:pt x="7" y="537"/>
                    <a:pt x="8" y="552"/>
                    <a:pt x="2" y="565"/>
                  </a:cubicBezTo>
                  <a:cubicBezTo>
                    <a:pt x="3" y="584"/>
                    <a:pt x="0" y="601"/>
                    <a:pt x="11" y="616"/>
                  </a:cubicBezTo>
                  <a:cubicBezTo>
                    <a:pt x="12" y="625"/>
                    <a:pt x="8" y="646"/>
                    <a:pt x="19" y="651"/>
                  </a:cubicBezTo>
                  <a:cubicBezTo>
                    <a:pt x="26" y="661"/>
                    <a:pt x="17" y="672"/>
                    <a:pt x="28" y="679"/>
                  </a:cubicBezTo>
                  <a:cubicBezTo>
                    <a:pt x="31" y="684"/>
                    <a:pt x="34" y="688"/>
                    <a:pt x="37" y="693"/>
                  </a:cubicBezTo>
                  <a:cubicBezTo>
                    <a:pt x="40" y="698"/>
                    <a:pt x="46" y="698"/>
                    <a:pt x="52" y="702"/>
                  </a:cubicBezTo>
                  <a:cubicBezTo>
                    <a:pt x="58" y="706"/>
                    <a:pt x="70" y="712"/>
                    <a:pt x="76" y="715"/>
                  </a:cubicBezTo>
                  <a:cubicBezTo>
                    <a:pt x="81" y="717"/>
                    <a:pt x="85" y="718"/>
                    <a:pt x="89" y="721"/>
                  </a:cubicBezTo>
                  <a:cubicBezTo>
                    <a:pt x="92" y="727"/>
                    <a:pt x="98" y="732"/>
                    <a:pt x="104" y="735"/>
                  </a:cubicBezTo>
                  <a:cubicBezTo>
                    <a:pt x="107" y="742"/>
                    <a:pt x="114" y="744"/>
                    <a:pt x="121" y="745"/>
                  </a:cubicBezTo>
                  <a:cubicBezTo>
                    <a:pt x="130" y="744"/>
                    <a:pt x="135" y="745"/>
                    <a:pt x="137" y="736"/>
                  </a:cubicBezTo>
                  <a:cubicBezTo>
                    <a:pt x="124" y="719"/>
                    <a:pt x="141" y="716"/>
                    <a:pt x="151" y="715"/>
                  </a:cubicBezTo>
                  <a:cubicBezTo>
                    <a:pt x="156" y="711"/>
                    <a:pt x="163" y="713"/>
                    <a:pt x="166" y="712"/>
                  </a:cubicBezTo>
                  <a:cubicBezTo>
                    <a:pt x="168" y="711"/>
                    <a:pt x="170" y="711"/>
                    <a:pt x="172" y="711"/>
                  </a:cubicBezTo>
                  <a:cubicBezTo>
                    <a:pt x="168" y="710"/>
                    <a:pt x="150" y="706"/>
                    <a:pt x="142" y="705"/>
                  </a:cubicBezTo>
                  <a:cubicBezTo>
                    <a:pt x="134" y="704"/>
                    <a:pt x="130" y="703"/>
                    <a:pt x="124" y="703"/>
                  </a:cubicBezTo>
                  <a:cubicBezTo>
                    <a:pt x="119" y="702"/>
                    <a:pt x="111" y="705"/>
                    <a:pt x="107" y="703"/>
                  </a:cubicBezTo>
                  <a:cubicBezTo>
                    <a:pt x="103" y="701"/>
                    <a:pt x="100" y="697"/>
                    <a:pt x="98" y="693"/>
                  </a:cubicBezTo>
                  <a:cubicBezTo>
                    <a:pt x="92" y="689"/>
                    <a:pt x="96" y="688"/>
                    <a:pt x="92" y="681"/>
                  </a:cubicBezTo>
                  <a:cubicBezTo>
                    <a:pt x="88" y="674"/>
                    <a:pt x="77" y="658"/>
                    <a:pt x="71" y="651"/>
                  </a:cubicBezTo>
                  <a:cubicBezTo>
                    <a:pt x="57" y="648"/>
                    <a:pt x="61" y="650"/>
                    <a:pt x="56" y="639"/>
                  </a:cubicBezTo>
                  <a:cubicBezTo>
                    <a:pt x="53" y="634"/>
                    <a:pt x="55" y="634"/>
                    <a:pt x="56" y="630"/>
                  </a:cubicBezTo>
                  <a:cubicBezTo>
                    <a:pt x="57" y="626"/>
                    <a:pt x="63" y="617"/>
                    <a:pt x="61" y="612"/>
                  </a:cubicBezTo>
                  <a:cubicBezTo>
                    <a:pt x="57" y="605"/>
                    <a:pt x="51" y="601"/>
                    <a:pt x="43" y="600"/>
                  </a:cubicBezTo>
                  <a:cubicBezTo>
                    <a:pt x="40" y="596"/>
                    <a:pt x="40" y="593"/>
                    <a:pt x="41" y="588"/>
                  </a:cubicBezTo>
                  <a:cubicBezTo>
                    <a:pt x="42" y="583"/>
                    <a:pt x="50" y="575"/>
                    <a:pt x="52" y="570"/>
                  </a:cubicBezTo>
                  <a:cubicBezTo>
                    <a:pt x="54" y="562"/>
                    <a:pt x="51" y="560"/>
                    <a:pt x="52" y="555"/>
                  </a:cubicBezTo>
                  <a:cubicBezTo>
                    <a:pt x="53" y="550"/>
                    <a:pt x="55" y="549"/>
                    <a:pt x="58" y="541"/>
                  </a:cubicBezTo>
                  <a:cubicBezTo>
                    <a:pt x="60" y="532"/>
                    <a:pt x="66" y="513"/>
                    <a:pt x="68" y="504"/>
                  </a:cubicBezTo>
                  <a:cubicBezTo>
                    <a:pt x="70" y="495"/>
                    <a:pt x="70" y="490"/>
                    <a:pt x="70" y="484"/>
                  </a:cubicBezTo>
                  <a:cubicBezTo>
                    <a:pt x="71" y="478"/>
                    <a:pt x="70" y="472"/>
                    <a:pt x="71" y="466"/>
                  </a:cubicBezTo>
                  <a:cubicBezTo>
                    <a:pt x="63" y="456"/>
                    <a:pt x="71" y="463"/>
                    <a:pt x="67" y="456"/>
                  </a:cubicBezTo>
                  <a:cubicBezTo>
                    <a:pt x="66" y="452"/>
                    <a:pt x="60" y="447"/>
                    <a:pt x="58" y="442"/>
                  </a:cubicBezTo>
                  <a:cubicBezTo>
                    <a:pt x="56" y="437"/>
                    <a:pt x="56" y="431"/>
                    <a:pt x="56" y="426"/>
                  </a:cubicBezTo>
                  <a:cubicBezTo>
                    <a:pt x="55" y="420"/>
                    <a:pt x="55" y="416"/>
                    <a:pt x="58" y="411"/>
                  </a:cubicBezTo>
                  <a:cubicBezTo>
                    <a:pt x="58" y="406"/>
                    <a:pt x="60" y="399"/>
                    <a:pt x="62" y="394"/>
                  </a:cubicBezTo>
                  <a:cubicBezTo>
                    <a:pt x="64" y="389"/>
                    <a:pt x="66" y="387"/>
                    <a:pt x="68" y="378"/>
                  </a:cubicBezTo>
                  <a:cubicBezTo>
                    <a:pt x="69" y="365"/>
                    <a:pt x="71" y="354"/>
                    <a:pt x="73" y="342"/>
                  </a:cubicBezTo>
                  <a:cubicBezTo>
                    <a:pt x="75" y="332"/>
                    <a:pt x="73" y="325"/>
                    <a:pt x="76" y="318"/>
                  </a:cubicBezTo>
                  <a:cubicBezTo>
                    <a:pt x="78" y="311"/>
                    <a:pt x="85" y="307"/>
                    <a:pt x="88" y="300"/>
                  </a:cubicBezTo>
                  <a:cubicBezTo>
                    <a:pt x="90" y="291"/>
                    <a:pt x="95" y="281"/>
                    <a:pt x="95" y="274"/>
                  </a:cubicBezTo>
                  <a:cubicBezTo>
                    <a:pt x="95" y="267"/>
                    <a:pt x="90" y="265"/>
                    <a:pt x="89" y="256"/>
                  </a:cubicBezTo>
                  <a:cubicBezTo>
                    <a:pt x="88" y="247"/>
                    <a:pt x="86" y="234"/>
                    <a:pt x="86" y="222"/>
                  </a:cubicBezTo>
                  <a:cubicBezTo>
                    <a:pt x="87" y="211"/>
                    <a:pt x="86" y="197"/>
                    <a:pt x="91" y="186"/>
                  </a:cubicBezTo>
                  <a:cubicBezTo>
                    <a:pt x="93" y="177"/>
                    <a:pt x="99" y="170"/>
                    <a:pt x="106" y="166"/>
                  </a:cubicBezTo>
                  <a:cubicBezTo>
                    <a:pt x="109" y="162"/>
                    <a:pt x="112" y="157"/>
                    <a:pt x="115" y="153"/>
                  </a:cubicBezTo>
                  <a:cubicBezTo>
                    <a:pt x="116" y="148"/>
                    <a:pt x="113" y="141"/>
                    <a:pt x="113" y="135"/>
                  </a:cubicBezTo>
                  <a:cubicBezTo>
                    <a:pt x="113" y="129"/>
                    <a:pt x="114" y="123"/>
                    <a:pt x="116" y="117"/>
                  </a:cubicBezTo>
                  <a:cubicBezTo>
                    <a:pt x="118" y="111"/>
                    <a:pt x="122" y="103"/>
                    <a:pt x="124" y="100"/>
                  </a:cubicBezTo>
                  <a:cubicBezTo>
                    <a:pt x="125" y="99"/>
                    <a:pt x="127" y="98"/>
                    <a:pt x="128" y="96"/>
                  </a:cubicBezTo>
                  <a:cubicBezTo>
                    <a:pt x="133" y="79"/>
                    <a:pt x="148" y="64"/>
                    <a:pt x="136" y="73"/>
                  </a:cubicBezTo>
                  <a:cubicBezTo>
                    <a:pt x="130" y="69"/>
                    <a:pt x="131" y="78"/>
                    <a:pt x="128" y="72"/>
                  </a:cubicBezTo>
                  <a:cubicBezTo>
                    <a:pt x="127" y="66"/>
                    <a:pt x="114" y="67"/>
                    <a:pt x="110" y="61"/>
                  </a:cubicBezTo>
                  <a:cubicBezTo>
                    <a:pt x="106" y="55"/>
                    <a:pt x="104" y="42"/>
                    <a:pt x="103" y="34"/>
                  </a:cubicBezTo>
                  <a:cubicBezTo>
                    <a:pt x="102" y="26"/>
                    <a:pt x="107" y="21"/>
                    <a:pt x="106" y="15"/>
                  </a:cubicBezTo>
                  <a:cubicBezTo>
                    <a:pt x="103" y="8"/>
                    <a:pt x="105" y="1"/>
                    <a:pt x="97" y="0"/>
                  </a:cubicBezTo>
                  <a:cubicBezTo>
                    <a:pt x="90" y="3"/>
                    <a:pt x="81" y="8"/>
                    <a:pt x="85" y="10"/>
                  </a:cubicBezTo>
                  <a:close/>
                </a:path>
              </a:pathLst>
            </a:custGeom>
            <a:solidFill>
              <a:schemeClr val="accent1"/>
            </a:solidFill>
            <a:ln w="9525" cap="flat" cmpd="sng">
              <a:solidFill>
                <a:schemeClr val="bg1"/>
              </a:solidFill>
              <a:prstDash val="solid"/>
              <a:round/>
              <a:headEnd type="none" w="med" len="med"/>
              <a:tailEnd type="none" w="med" len="med"/>
            </a:ln>
            <a:effectLst/>
            <a:extLst/>
          </p:spPr>
          <p:txBody>
            <a:bodyPr>
              <a:noAutofit/>
            </a:bodyPr>
            <a:lstStyle/>
            <a:p>
              <a:pPr fontAlgn="auto">
                <a:spcBef>
                  <a:spcPts val="0"/>
                </a:spcBef>
                <a:spcAft>
                  <a:spcPts val="0"/>
                </a:spcAft>
                <a:defRPr/>
              </a:pPr>
              <a:endParaRPr lang="en-CA" kern="0">
                <a:solidFill>
                  <a:sysClr val="windowText" lastClr="000000"/>
                </a:solidFill>
              </a:endParaRPr>
            </a:p>
          </p:txBody>
        </p:sp>
        <p:grpSp>
          <p:nvGrpSpPr>
            <p:cNvPr id="493" name="Group 426"/>
            <p:cNvGrpSpPr>
              <a:grpSpLocks/>
            </p:cNvGrpSpPr>
            <p:nvPr>
              <p:custDataLst>
                <p:tags r:id="rId166"/>
              </p:custDataLst>
            </p:nvPr>
          </p:nvGrpSpPr>
          <p:grpSpPr bwMode="auto">
            <a:xfrm>
              <a:off x="1594305" y="2335901"/>
              <a:ext cx="54404" cy="84656"/>
              <a:chOff x="4714" y="2568"/>
              <a:chExt cx="67" cy="110"/>
            </a:xfrm>
            <a:solidFill>
              <a:schemeClr val="bg1">
                <a:lumMod val="85000"/>
              </a:schemeClr>
            </a:solidFill>
          </p:grpSpPr>
          <p:sp>
            <p:nvSpPr>
              <p:cNvPr id="514" name="Freeform 427"/>
              <p:cNvSpPr>
                <a:spLocks/>
              </p:cNvSpPr>
              <p:nvPr>
                <p:custDataLst>
                  <p:tags r:id="rId182"/>
                </p:custDataLst>
              </p:nvPr>
            </p:nvSpPr>
            <p:spPr bwMode="gray">
              <a:xfrm>
                <a:off x="4751" y="2668"/>
                <a:ext cx="17" cy="10"/>
              </a:xfrm>
              <a:custGeom>
                <a:avLst/>
                <a:gdLst>
                  <a:gd name="T0" fmla="*/ 0 w 17"/>
                  <a:gd name="T1" fmla="*/ 1 h 10"/>
                  <a:gd name="T2" fmla="*/ 9 w 17"/>
                  <a:gd name="T3" fmla="*/ 2 h 10"/>
                  <a:gd name="T4" fmla="*/ 0 w 17"/>
                  <a:gd name="T5" fmla="*/ 1 h 10"/>
                </a:gdLst>
                <a:ahLst/>
                <a:cxnLst>
                  <a:cxn ang="0">
                    <a:pos x="T0" y="T1"/>
                  </a:cxn>
                  <a:cxn ang="0">
                    <a:pos x="T2" y="T3"/>
                  </a:cxn>
                  <a:cxn ang="0">
                    <a:pos x="T4" y="T5"/>
                  </a:cxn>
                </a:cxnLst>
                <a:rect l="0" t="0" r="r" b="b"/>
                <a:pathLst>
                  <a:path w="17" h="10">
                    <a:moveTo>
                      <a:pt x="0" y="1"/>
                    </a:moveTo>
                    <a:cubicBezTo>
                      <a:pt x="3" y="1"/>
                      <a:pt x="7" y="0"/>
                      <a:pt x="9" y="2"/>
                    </a:cubicBezTo>
                    <a:cubicBezTo>
                      <a:pt x="17" y="8"/>
                      <a:pt x="4" y="10"/>
                      <a:pt x="0" y="1"/>
                    </a:cubicBezTo>
                    <a:close/>
                  </a:path>
                </a:pathLst>
              </a:custGeom>
              <a:grp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oAutofit/>
              </a:bodyPr>
              <a:lstStyle/>
              <a:p>
                <a:pPr fontAlgn="auto">
                  <a:spcBef>
                    <a:spcPts val="0"/>
                  </a:spcBef>
                  <a:spcAft>
                    <a:spcPts val="0"/>
                  </a:spcAft>
                  <a:defRPr/>
                </a:pPr>
                <a:endParaRPr lang="en-CA" kern="0">
                  <a:solidFill>
                    <a:sysClr val="windowText" lastClr="000000"/>
                  </a:solidFill>
                </a:endParaRPr>
              </a:p>
            </p:txBody>
          </p:sp>
          <p:sp>
            <p:nvSpPr>
              <p:cNvPr id="515" name="Freeform 428"/>
              <p:cNvSpPr>
                <a:spLocks/>
              </p:cNvSpPr>
              <p:nvPr>
                <p:custDataLst>
                  <p:tags r:id="rId183"/>
                </p:custDataLst>
              </p:nvPr>
            </p:nvSpPr>
            <p:spPr bwMode="gray">
              <a:xfrm>
                <a:off x="4765" y="2640"/>
                <a:ext cx="16" cy="6"/>
              </a:xfrm>
              <a:custGeom>
                <a:avLst/>
                <a:gdLst>
                  <a:gd name="T0" fmla="*/ 4 w 16"/>
                  <a:gd name="T1" fmla="*/ 0 h 6"/>
                  <a:gd name="T2" fmla="*/ 13 w 16"/>
                  <a:gd name="T3" fmla="*/ 2 h 6"/>
                  <a:gd name="T4" fmla="*/ 1 w 16"/>
                  <a:gd name="T5" fmla="*/ 3 h 6"/>
                  <a:gd name="T6" fmla="*/ 4 w 16"/>
                  <a:gd name="T7" fmla="*/ 0 h 6"/>
                </a:gdLst>
                <a:ahLst/>
                <a:cxnLst>
                  <a:cxn ang="0">
                    <a:pos x="T0" y="T1"/>
                  </a:cxn>
                  <a:cxn ang="0">
                    <a:pos x="T2" y="T3"/>
                  </a:cxn>
                  <a:cxn ang="0">
                    <a:pos x="T4" y="T5"/>
                  </a:cxn>
                  <a:cxn ang="0">
                    <a:pos x="T6" y="T7"/>
                  </a:cxn>
                </a:cxnLst>
                <a:rect l="0" t="0" r="r" b="b"/>
                <a:pathLst>
                  <a:path w="16" h="6">
                    <a:moveTo>
                      <a:pt x="4" y="0"/>
                    </a:moveTo>
                    <a:cubicBezTo>
                      <a:pt x="7" y="1"/>
                      <a:pt x="11" y="0"/>
                      <a:pt x="13" y="2"/>
                    </a:cubicBezTo>
                    <a:cubicBezTo>
                      <a:pt x="16" y="5"/>
                      <a:pt x="4" y="6"/>
                      <a:pt x="1" y="3"/>
                    </a:cubicBezTo>
                    <a:cubicBezTo>
                      <a:pt x="0" y="2"/>
                      <a:pt x="3" y="1"/>
                      <a:pt x="4" y="0"/>
                    </a:cubicBezTo>
                    <a:close/>
                  </a:path>
                </a:pathLst>
              </a:custGeom>
              <a:grp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oAutofit/>
              </a:bodyPr>
              <a:lstStyle/>
              <a:p>
                <a:pPr fontAlgn="auto">
                  <a:spcBef>
                    <a:spcPts val="0"/>
                  </a:spcBef>
                  <a:spcAft>
                    <a:spcPts val="0"/>
                  </a:spcAft>
                  <a:defRPr/>
                </a:pPr>
                <a:endParaRPr lang="en-CA" kern="0">
                  <a:solidFill>
                    <a:sysClr val="windowText" lastClr="000000"/>
                  </a:solidFill>
                </a:endParaRPr>
              </a:p>
            </p:txBody>
          </p:sp>
          <p:sp>
            <p:nvSpPr>
              <p:cNvPr id="516" name="Freeform 429"/>
              <p:cNvSpPr>
                <a:spLocks/>
              </p:cNvSpPr>
              <p:nvPr>
                <p:custDataLst>
                  <p:tags r:id="rId184"/>
                </p:custDataLst>
              </p:nvPr>
            </p:nvSpPr>
            <p:spPr bwMode="gray">
              <a:xfrm>
                <a:off x="4742" y="2645"/>
                <a:ext cx="12" cy="7"/>
              </a:xfrm>
              <a:custGeom>
                <a:avLst/>
                <a:gdLst>
                  <a:gd name="T0" fmla="*/ 6 w 12"/>
                  <a:gd name="T1" fmla="*/ 3 h 7"/>
                  <a:gd name="T2" fmla="*/ 2 w 12"/>
                  <a:gd name="T3" fmla="*/ 6 h 7"/>
                  <a:gd name="T4" fmla="*/ 11 w 12"/>
                  <a:gd name="T5" fmla="*/ 4 h 7"/>
                  <a:gd name="T6" fmla="*/ 8 w 12"/>
                  <a:gd name="T7" fmla="*/ 0 h 7"/>
                  <a:gd name="T8" fmla="*/ 6 w 12"/>
                  <a:gd name="T9" fmla="*/ 3 h 7"/>
                </a:gdLst>
                <a:ahLst/>
                <a:cxnLst>
                  <a:cxn ang="0">
                    <a:pos x="T0" y="T1"/>
                  </a:cxn>
                  <a:cxn ang="0">
                    <a:pos x="T2" y="T3"/>
                  </a:cxn>
                  <a:cxn ang="0">
                    <a:pos x="T4" y="T5"/>
                  </a:cxn>
                  <a:cxn ang="0">
                    <a:pos x="T6" y="T7"/>
                  </a:cxn>
                  <a:cxn ang="0">
                    <a:pos x="T8" y="T9"/>
                  </a:cxn>
                </a:cxnLst>
                <a:rect l="0" t="0" r="r" b="b"/>
                <a:pathLst>
                  <a:path w="12" h="7">
                    <a:moveTo>
                      <a:pt x="6" y="3"/>
                    </a:moveTo>
                    <a:cubicBezTo>
                      <a:pt x="5" y="4"/>
                      <a:pt x="0" y="6"/>
                      <a:pt x="2" y="6"/>
                    </a:cubicBezTo>
                    <a:cubicBezTo>
                      <a:pt x="5" y="7"/>
                      <a:pt x="9" y="6"/>
                      <a:pt x="11" y="4"/>
                    </a:cubicBezTo>
                    <a:cubicBezTo>
                      <a:pt x="12" y="3"/>
                      <a:pt x="10" y="0"/>
                      <a:pt x="8" y="0"/>
                    </a:cubicBezTo>
                    <a:cubicBezTo>
                      <a:pt x="7" y="0"/>
                      <a:pt x="7" y="2"/>
                      <a:pt x="6" y="3"/>
                    </a:cubicBezTo>
                    <a:close/>
                  </a:path>
                </a:pathLst>
              </a:custGeom>
              <a:grp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oAutofit/>
              </a:bodyPr>
              <a:lstStyle/>
              <a:p>
                <a:pPr fontAlgn="auto">
                  <a:spcBef>
                    <a:spcPts val="0"/>
                  </a:spcBef>
                  <a:spcAft>
                    <a:spcPts val="0"/>
                  </a:spcAft>
                  <a:defRPr/>
                </a:pPr>
                <a:endParaRPr lang="en-CA" kern="0">
                  <a:solidFill>
                    <a:sysClr val="windowText" lastClr="000000"/>
                  </a:solidFill>
                </a:endParaRPr>
              </a:p>
            </p:txBody>
          </p:sp>
          <p:sp>
            <p:nvSpPr>
              <p:cNvPr id="517" name="Freeform 430"/>
              <p:cNvSpPr>
                <a:spLocks/>
              </p:cNvSpPr>
              <p:nvPr>
                <p:custDataLst>
                  <p:tags r:id="rId185"/>
                </p:custDataLst>
              </p:nvPr>
            </p:nvSpPr>
            <p:spPr bwMode="gray">
              <a:xfrm>
                <a:off x="4733" y="2652"/>
                <a:ext cx="13" cy="14"/>
              </a:xfrm>
              <a:custGeom>
                <a:avLst/>
                <a:gdLst>
                  <a:gd name="T0" fmla="*/ 5 w 13"/>
                  <a:gd name="T1" fmla="*/ 6 h 14"/>
                  <a:gd name="T2" fmla="*/ 9 w 13"/>
                  <a:gd name="T3" fmla="*/ 14 h 14"/>
                  <a:gd name="T4" fmla="*/ 5 w 13"/>
                  <a:gd name="T5" fmla="*/ 6 h 14"/>
                </a:gdLst>
                <a:ahLst/>
                <a:cxnLst>
                  <a:cxn ang="0">
                    <a:pos x="T0" y="T1"/>
                  </a:cxn>
                  <a:cxn ang="0">
                    <a:pos x="T2" y="T3"/>
                  </a:cxn>
                  <a:cxn ang="0">
                    <a:pos x="T4" y="T5"/>
                  </a:cxn>
                </a:cxnLst>
                <a:rect l="0" t="0" r="r" b="b"/>
                <a:pathLst>
                  <a:path w="13" h="14">
                    <a:moveTo>
                      <a:pt x="5" y="6"/>
                    </a:moveTo>
                    <a:cubicBezTo>
                      <a:pt x="13" y="0"/>
                      <a:pt x="11" y="9"/>
                      <a:pt x="9" y="14"/>
                    </a:cubicBezTo>
                    <a:cubicBezTo>
                      <a:pt x="0" y="11"/>
                      <a:pt x="1" y="14"/>
                      <a:pt x="5" y="6"/>
                    </a:cubicBezTo>
                    <a:close/>
                  </a:path>
                </a:pathLst>
              </a:custGeom>
              <a:grp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oAutofit/>
              </a:bodyPr>
              <a:lstStyle/>
              <a:p>
                <a:pPr fontAlgn="auto">
                  <a:spcBef>
                    <a:spcPts val="0"/>
                  </a:spcBef>
                  <a:spcAft>
                    <a:spcPts val="0"/>
                  </a:spcAft>
                  <a:defRPr/>
                </a:pPr>
                <a:endParaRPr lang="en-CA" kern="0">
                  <a:solidFill>
                    <a:sysClr val="windowText" lastClr="000000"/>
                  </a:solidFill>
                </a:endParaRPr>
              </a:p>
            </p:txBody>
          </p:sp>
          <p:sp>
            <p:nvSpPr>
              <p:cNvPr id="518" name="Freeform 431"/>
              <p:cNvSpPr>
                <a:spLocks/>
              </p:cNvSpPr>
              <p:nvPr>
                <p:custDataLst>
                  <p:tags r:id="rId186"/>
                </p:custDataLst>
              </p:nvPr>
            </p:nvSpPr>
            <p:spPr bwMode="gray">
              <a:xfrm>
                <a:off x="4714" y="2568"/>
                <a:ext cx="33" cy="25"/>
              </a:xfrm>
              <a:custGeom>
                <a:avLst/>
                <a:gdLst>
                  <a:gd name="T0" fmla="*/ 3 w 33"/>
                  <a:gd name="T1" fmla="*/ 2 h 25"/>
                  <a:gd name="T2" fmla="*/ 15 w 33"/>
                  <a:gd name="T3" fmla="*/ 3 h 25"/>
                  <a:gd name="T4" fmla="*/ 21 w 33"/>
                  <a:gd name="T5" fmla="*/ 12 h 25"/>
                  <a:gd name="T6" fmla="*/ 33 w 33"/>
                  <a:gd name="T7" fmla="*/ 5 h 25"/>
                  <a:gd name="T8" fmla="*/ 21 w 33"/>
                  <a:gd name="T9" fmla="*/ 21 h 25"/>
                  <a:gd name="T10" fmla="*/ 7 w 33"/>
                  <a:gd name="T11" fmla="*/ 15 h 25"/>
                  <a:gd name="T12" fmla="*/ 3 w 33"/>
                  <a:gd name="T13" fmla="*/ 2 h 25"/>
                </a:gdLst>
                <a:ahLst/>
                <a:cxnLst>
                  <a:cxn ang="0">
                    <a:pos x="T0" y="T1"/>
                  </a:cxn>
                  <a:cxn ang="0">
                    <a:pos x="T2" y="T3"/>
                  </a:cxn>
                  <a:cxn ang="0">
                    <a:pos x="T4" y="T5"/>
                  </a:cxn>
                  <a:cxn ang="0">
                    <a:pos x="T6" y="T7"/>
                  </a:cxn>
                  <a:cxn ang="0">
                    <a:pos x="T8" y="T9"/>
                  </a:cxn>
                  <a:cxn ang="0">
                    <a:pos x="T10" y="T11"/>
                  </a:cxn>
                  <a:cxn ang="0">
                    <a:pos x="T12" y="T13"/>
                  </a:cxn>
                </a:cxnLst>
                <a:rect l="0" t="0" r="r" b="b"/>
                <a:pathLst>
                  <a:path w="33" h="25">
                    <a:moveTo>
                      <a:pt x="3" y="2"/>
                    </a:moveTo>
                    <a:cubicBezTo>
                      <a:pt x="7" y="2"/>
                      <a:pt x="12" y="0"/>
                      <a:pt x="15" y="3"/>
                    </a:cubicBezTo>
                    <a:cubicBezTo>
                      <a:pt x="25" y="12"/>
                      <a:pt x="8" y="17"/>
                      <a:pt x="21" y="12"/>
                    </a:cubicBezTo>
                    <a:cubicBezTo>
                      <a:pt x="22" y="3"/>
                      <a:pt x="25" y="2"/>
                      <a:pt x="33" y="5"/>
                    </a:cubicBezTo>
                    <a:cubicBezTo>
                      <a:pt x="29" y="25"/>
                      <a:pt x="24" y="6"/>
                      <a:pt x="21" y="21"/>
                    </a:cubicBezTo>
                    <a:cubicBezTo>
                      <a:pt x="15" y="20"/>
                      <a:pt x="12" y="17"/>
                      <a:pt x="7" y="15"/>
                    </a:cubicBezTo>
                    <a:cubicBezTo>
                      <a:pt x="2" y="10"/>
                      <a:pt x="0" y="8"/>
                      <a:pt x="3" y="2"/>
                    </a:cubicBezTo>
                    <a:close/>
                  </a:path>
                </a:pathLst>
              </a:custGeom>
              <a:grp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oAutofit/>
              </a:bodyPr>
              <a:lstStyle/>
              <a:p>
                <a:pPr fontAlgn="auto">
                  <a:spcBef>
                    <a:spcPts val="0"/>
                  </a:spcBef>
                  <a:spcAft>
                    <a:spcPts val="0"/>
                  </a:spcAft>
                  <a:defRPr/>
                </a:pPr>
                <a:endParaRPr lang="en-CA" kern="0">
                  <a:solidFill>
                    <a:sysClr val="windowText" lastClr="000000"/>
                  </a:solidFill>
                </a:endParaRPr>
              </a:p>
            </p:txBody>
          </p:sp>
          <p:sp>
            <p:nvSpPr>
              <p:cNvPr id="519" name="Freeform 432"/>
              <p:cNvSpPr>
                <a:spLocks/>
              </p:cNvSpPr>
              <p:nvPr>
                <p:custDataLst>
                  <p:tags r:id="rId187"/>
                </p:custDataLst>
              </p:nvPr>
            </p:nvSpPr>
            <p:spPr bwMode="gray">
              <a:xfrm>
                <a:off x="4745" y="2589"/>
                <a:ext cx="20" cy="48"/>
              </a:xfrm>
              <a:custGeom>
                <a:avLst/>
                <a:gdLst>
                  <a:gd name="T0" fmla="*/ 6 w 20"/>
                  <a:gd name="T1" fmla="*/ 0 h 48"/>
                  <a:gd name="T2" fmla="*/ 5 w 20"/>
                  <a:gd name="T3" fmla="*/ 12 h 48"/>
                  <a:gd name="T4" fmla="*/ 9 w 20"/>
                  <a:gd name="T5" fmla="*/ 48 h 48"/>
                  <a:gd name="T6" fmla="*/ 12 w 20"/>
                  <a:gd name="T7" fmla="*/ 32 h 48"/>
                  <a:gd name="T8" fmla="*/ 6 w 20"/>
                  <a:gd name="T9" fmla="*/ 0 h 48"/>
                </a:gdLst>
                <a:ahLst/>
                <a:cxnLst>
                  <a:cxn ang="0">
                    <a:pos x="T0" y="T1"/>
                  </a:cxn>
                  <a:cxn ang="0">
                    <a:pos x="T2" y="T3"/>
                  </a:cxn>
                  <a:cxn ang="0">
                    <a:pos x="T4" y="T5"/>
                  </a:cxn>
                  <a:cxn ang="0">
                    <a:pos x="T6" y="T7"/>
                  </a:cxn>
                  <a:cxn ang="0">
                    <a:pos x="T8" y="T9"/>
                  </a:cxn>
                </a:cxnLst>
                <a:rect l="0" t="0" r="r" b="b"/>
                <a:pathLst>
                  <a:path w="20" h="48">
                    <a:moveTo>
                      <a:pt x="6" y="0"/>
                    </a:moveTo>
                    <a:cubicBezTo>
                      <a:pt x="0" y="3"/>
                      <a:pt x="2" y="6"/>
                      <a:pt x="5" y="12"/>
                    </a:cubicBezTo>
                    <a:cubicBezTo>
                      <a:pt x="7" y="26"/>
                      <a:pt x="8" y="33"/>
                      <a:pt x="9" y="48"/>
                    </a:cubicBezTo>
                    <a:cubicBezTo>
                      <a:pt x="20" y="46"/>
                      <a:pt x="17" y="39"/>
                      <a:pt x="12" y="32"/>
                    </a:cubicBezTo>
                    <a:cubicBezTo>
                      <a:pt x="14" y="12"/>
                      <a:pt x="18" y="12"/>
                      <a:pt x="6" y="0"/>
                    </a:cubicBezTo>
                    <a:close/>
                  </a:path>
                </a:pathLst>
              </a:custGeom>
              <a:grp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oAutofit/>
              </a:bodyPr>
              <a:lstStyle/>
              <a:p>
                <a:pPr fontAlgn="auto">
                  <a:spcBef>
                    <a:spcPts val="0"/>
                  </a:spcBef>
                  <a:spcAft>
                    <a:spcPts val="0"/>
                  </a:spcAft>
                  <a:defRPr/>
                </a:pPr>
                <a:endParaRPr lang="en-CA" kern="0">
                  <a:solidFill>
                    <a:sysClr val="windowText" lastClr="000000"/>
                  </a:solidFill>
                </a:endParaRPr>
              </a:p>
            </p:txBody>
          </p:sp>
        </p:grpSp>
        <p:sp>
          <p:nvSpPr>
            <p:cNvPr id="494" name="Freeform 433"/>
            <p:cNvSpPr>
              <a:spLocks/>
            </p:cNvSpPr>
            <p:nvPr>
              <p:custDataLst>
                <p:tags r:id="rId167"/>
              </p:custDataLst>
            </p:nvPr>
          </p:nvSpPr>
          <p:spPr bwMode="gray">
            <a:xfrm>
              <a:off x="946260" y="2145041"/>
              <a:ext cx="368026" cy="226263"/>
            </a:xfrm>
            <a:custGeom>
              <a:avLst/>
              <a:gdLst>
                <a:gd name="T0" fmla="*/ 9 w 451"/>
                <a:gd name="T1" fmla="*/ 30 h 295"/>
                <a:gd name="T2" fmla="*/ 44 w 451"/>
                <a:gd name="T3" fmla="*/ 74 h 295"/>
                <a:gd name="T4" fmla="*/ 65 w 451"/>
                <a:gd name="T5" fmla="*/ 116 h 295"/>
                <a:gd name="T6" fmla="*/ 81 w 451"/>
                <a:gd name="T7" fmla="*/ 149 h 295"/>
                <a:gd name="T8" fmla="*/ 105 w 451"/>
                <a:gd name="T9" fmla="*/ 170 h 295"/>
                <a:gd name="T10" fmla="*/ 95 w 451"/>
                <a:gd name="T11" fmla="*/ 129 h 295"/>
                <a:gd name="T12" fmla="*/ 66 w 451"/>
                <a:gd name="T13" fmla="*/ 83 h 295"/>
                <a:gd name="T14" fmla="*/ 44 w 451"/>
                <a:gd name="T15" fmla="*/ 51 h 295"/>
                <a:gd name="T16" fmla="*/ 35 w 451"/>
                <a:gd name="T17" fmla="*/ 20 h 295"/>
                <a:gd name="T18" fmla="*/ 65 w 451"/>
                <a:gd name="T19" fmla="*/ 45 h 295"/>
                <a:gd name="T20" fmla="*/ 120 w 451"/>
                <a:gd name="T21" fmla="*/ 116 h 295"/>
                <a:gd name="T22" fmla="*/ 152 w 451"/>
                <a:gd name="T23" fmla="*/ 156 h 295"/>
                <a:gd name="T24" fmla="*/ 171 w 451"/>
                <a:gd name="T25" fmla="*/ 213 h 295"/>
                <a:gd name="T26" fmla="*/ 201 w 451"/>
                <a:gd name="T27" fmla="*/ 237 h 295"/>
                <a:gd name="T28" fmla="*/ 273 w 451"/>
                <a:gd name="T29" fmla="*/ 276 h 295"/>
                <a:gd name="T30" fmla="*/ 327 w 451"/>
                <a:gd name="T31" fmla="*/ 279 h 295"/>
                <a:gd name="T32" fmla="*/ 371 w 451"/>
                <a:gd name="T33" fmla="*/ 294 h 295"/>
                <a:gd name="T34" fmla="*/ 398 w 451"/>
                <a:gd name="T35" fmla="*/ 279 h 295"/>
                <a:gd name="T36" fmla="*/ 387 w 451"/>
                <a:gd name="T37" fmla="*/ 257 h 295"/>
                <a:gd name="T38" fmla="*/ 413 w 451"/>
                <a:gd name="T39" fmla="*/ 251 h 295"/>
                <a:gd name="T40" fmla="*/ 450 w 451"/>
                <a:gd name="T41" fmla="*/ 195 h 295"/>
                <a:gd name="T42" fmla="*/ 411 w 451"/>
                <a:gd name="T43" fmla="*/ 198 h 295"/>
                <a:gd name="T44" fmla="*/ 396 w 451"/>
                <a:gd name="T45" fmla="*/ 221 h 295"/>
                <a:gd name="T46" fmla="*/ 348 w 451"/>
                <a:gd name="T47" fmla="*/ 242 h 295"/>
                <a:gd name="T48" fmla="*/ 315 w 451"/>
                <a:gd name="T49" fmla="*/ 233 h 295"/>
                <a:gd name="T50" fmla="*/ 285 w 451"/>
                <a:gd name="T51" fmla="*/ 167 h 295"/>
                <a:gd name="T52" fmla="*/ 272 w 451"/>
                <a:gd name="T53" fmla="*/ 117 h 295"/>
                <a:gd name="T54" fmla="*/ 249 w 451"/>
                <a:gd name="T55" fmla="*/ 74 h 295"/>
                <a:gd name="T56" fmla="*/ 212 w 451"/>
                <a:gd name="T57" fmla="*/ 65 h 295"/>
                <a:gd name="T58" fmla="*/ 147 w 451"/>
                <a:gd name="T59" fmla="*/ 18 h 295"/>
                <a:gd name="T60" fmla="*/ 116 w 451"/>
                <a:gd name="T61" fmla="*/ 30 h 295"/>
                <a:gd name="T62" fmla="*/ 63 w 451"/>
                <a:gd name="T63" fmla="*/ 21 h 295"/>
                <a:gd name="T64" fmla="*/ 5 w 451"/>
                <a:gd name="T65" fmla="*/ 9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1" h="295">
                  <a:moveTo>
                    <a:pt x="5" y="9"/>
                  </a:moveTo>
                  <a:cubicBezTo>
                    <a:pt x="0" y="13"/>
                    <a:pt x="5" y="22"/>
                    <a:pt x="9" y="30"/>
                  </a:cubicBezTo>
                  <a:cubicBezTo>
                    <a:pt x="13" y="38"/>
                    <a:pt x="21" y="50"/>
                    <a:pt x="27" y="57"/>
                  </a:cubicBezTo>
                  <a:cubicBezTo>
                    <a:pt x="33" y="64"/>
                    <a:pt x="41" y="68"/>
                    <a:pt x="44" y="74"/>
                  </a:cubicBezTo>
                  <a:cubicBezTo>
                    <a:pt x="47" y="80"/>
                    <a:pt x="41" y="88"/>
                    <a:pt x="44" y="95"/>
                  </a:cubicBezTo>
                  <a:cubicBezTo>
                    <a:pt x="47" y="102"/>
                    <a:pt x="60" y="110"/>
                    <a:pt x="65" y="116"/>
                  </a:cubicBezTo>
                  <a:cubicBezTo>
                    <a:pt x="70" y="122"/>
                    <a:pt x="72" y="129"/>
                    <a:pt x="75" y="134"/>
                  </a:cubicBezTo>
                  <a:cubicBezTo>
                    <a:pt x="78" y="139"/>
                    <a:pt x="77" y="146"/>
                    <a:pt x="81" y="149"/>
                  </a:cubicBezTo>
                  <a:cubicBezTo>
                    <a:pt x="85" y="152"/>
                    <a:pt x="97" y="150"/>
                    <a:pt x="101" y="153"/>
                  </a:cubicBezTo>
                  <a:cubicBezTo>
                    <a:pt x="105" y="156"/>
                    <a:pt x="103" y="169"/>
                    <a:pt x="105" y="170"/>
                  </a:cubicBezTo>
                  <a:cubicBezTo>
                    <a:pt x="107" y="171"/>
                    <a:pt x="115" y="166"/>
                    <a:pt x="113" y="159"/>
                  </a:cubicBezTo>
                  <a:cubicBezTo>
                    <a:pt x="111" y="152"/>
                    <a:pt x="101" y="138"/>
                    <a:pt x="95" y="129"/>
                  </a:cubicBezTo>
                  <a:cubicBezTo>
                    <a:pt x="89" y="120"/>
                    <a:pt x="82" y="110"/>
                    <a:pt x="77" y="102"/>
                  </a:cubicBezTo>
                  <a:cubicBezTo>
                    <a:pt x="72" y="94"/>
                    <a:pt x="70" y="90"/>
                    <a:pt x="66" y="83"/>
                  </a:cubicBezTo>
                  <a:cubicBezTo>
                    <a:pt x="62" y="76"/>
                    <a:pt x="57" y="67"/>
                    <a:pt x="53" y="62"/>
                  </a:cubicBezTo>
                  <a:cubicBezTo>
                    <a:pt x="49" y="57"/>
                    <a:pt x="47" y="56"/>
                    <a:pt x="44" y="51"/>
                  </a:cubicBezTo>
                  <a:cubicBezTo>
                    <a:pt x="41" y="46"/>
                    <a:pt x="36" y="38"/>
                    <a:pt x="35" y="33"/>
                  </a:cubicBezTo>
                  <a:cubicBezTo>
                    <a:pt x="34" y="28"/>
                    <a:pt x="31" y="21"/>
                    <a:pt x="35" y="20"/>
                  </a:cubicBezTo>
                  <a:cubicBezTo>
                    <a:pt x="39" y="19"/>
                    <a:pt x="54" y="25"/>
                    <a:pt x="59" y="29"/>
                  </a:cubicBezTo>
                  <a:cubicBezTo>
                    <a:pt x="64" y="33"/>
                    <a:pt x="61" y="37"/>
                    <a:pt x="65" y="45"/>
                  </a:cubicBezTo>
                  <a:cubicBezTo>
                    <a:pt x="69" y="53"/>
                    <a:pt x="75" y="68"/>
                    <a:pt x="84" y="80"/>
                  </a:cubicBezTo>
                  <a:cubicBezTo>
                    <a:pt x="93" y="92"/>
                    <a:pt x="114" y="108"/>
                    <a:pt x="120" y="116"/>
                  </a:cubicBezTo>
                  <a:cubicBezTo>
                    <a:pt x="126" y="124"/>
                    <a:pt x="114" y="122"/>
                    <a:pt x="119" y="129"/>
                  </a:cubicBezTo>
                  <a:cubicBezTo>
                    <a:pt x="124" y="136"/>
                    <a:pt x="142" y="145"/>
                    <a:pt x="152" y="156"/>
                  </a:cubicBezTo>
                  <a:cubicBezTo>
                    <a:pt x="162" y="167"/>
                    <a:pt x="174" y="189"/>
                    <a:pt x="177" y="198"/>
                  </a:cubicBezTo>
                  <a:cubicBezTo>
                    <a:pt x="180" y="207"/>
                    <a:pt x="170" y="207"/>
                    <a:pt x="171" y="213"/>
                  </a:cubicBezTo>
                  <a:cubicBezTo>
                    <a:pt x="172" y="219"/>
                    <a:pt x="181" y="233"/>
                    <a:pt x="186" y="237"/>
                  </a:cubicBezTo>
                  <a:cubicBezTo>
                    <a:pt x="191" y="241"/>
                    <a:pt x="194" y="235"/>
                    <a:pt x="201" y="237"/>
                  </a:cubicBezTo>
                  <a:cubicBezTo>
                    <a:pt x="208" y="239"/>
                    <a:pt x="216" y="246"/>
                    <a:pt x="228" y="252"/>
                  </a:cubicBezTo>
                  <a:cubicBezTo>
                    <a:pt x="240" y="258"/>
                    <a:pt x="260" y="271"/>
                    <a:pt x="273" y="276"/>
                  </a:cubicBezTo>
                  <a:cubicBezTo>
                    <a:pt x="286" y="281"/>
                    <a:pt x="296" y="281"/>
                    <a:pt x="305" y="281"/>
                  </a:cubicBezTo>
                  <a:cubicBezTo>
                    <a:pt x="314" y="281"/>
                    <a:pt x="320" y="279"/>
                    <a:pt x="327" y="279"/>
                  </a:cubicBezTo>
                  <a:cubicBezTo>
                    <a:pt x="334" y="279"/>
                    <a:pt x="343" y="279"/>
                    <a:pt x="350" y="282"/>
                  </a:cubicBezTo>
                  <a:cubicBezTo>
                    <a:pt x="357" y="285"/>
                    <a:pt x="366" y="295"/>
                    <a:pt x="371" y="294"/>
                  </a:cubicBezTo>
                  <a:cubicBezTo>
                    <a:pt x="376" y="293"/>
                    <a:pt x="376" y="281"/>
                    <a:pt x="380" y="279"/>
                  </a:cubicBezTo>
                  <a:cubicBezTo>
                    <a:pt x="384" y="277"/>
                    <a:pt x="393" y="279"/>
                    <a:pt x="398" y="279"/>
                  </a:cubicBezTo>
                  <a:cubicBezTo>
                    <a:pt x="403" y="279"/>
                    <a:pt x="410" y="279"/>
                    <a:pt x="408" y="276"/>
                  </a:cubicBezTo>
                  <a:cubicBezTo>
                    <a:pt x="406" y="273"/>
                    <a:pt x="389" y="261"/>
                    <a:pt x="387" y="257"/>
                  </a:cubicBezTo>
                  <a:cubicBezTo>
                    <a:pt x="385" y="253"/>
                    <a:pt x="391" y="253"/>
                    <a:pt x="395" y="252"/>
                  </a:cubicBezTo>
                  <a:cubicBezTo>
                    <a:pt x="399" y="251"/>
                    <a:pt x="407" y="252"/>
                    <a:pt x="413" y="251"/>
                  </a:cubicBezTo>
                  <a:cubicBezTo>
                    <a:pt x="419" y="250"/>
                    <a:pt x="425" y="252"/>
                    <a:pt x="431" y="243"/>
                  </a:cubicBezTo>
                  <a:cubicBezTo>
                    <a:pt x="437" y="234"/>
                    <a:pt x="451" y="204"/>
                    <a:pt x="450" y="195"/>
                  </a:cubicBezTo>
                  <a:cubicBezTo>
                    <a:pt x="449" y="186"/>
                    <a:pt x="431" y="191"/>
                    <a:pt x="425" y="191"/>
                  </a:cubicBezTo>
                  <a:cubicBezTo>
                    <a:pt x="419" y="191"/>
                    <a:pt x="415" y="197"/>
                    <a:pt x="411" y="198"/>
                  </a:cubicBezTo>
                  <a:cubicBezTo>
                    <a:pt x="407" y="199"/>
                    <a:pt x="401" y="194"/>
                    <a:pt x="399" y="198"/>
                  </a:cubicBezTo>
                  <a:cubicBezTo>
                    <a:pt x="397" y="202"/>
                    <a:pt x="399" y="215"/>
                    <a:pt x="396" y="221"/>
                  </a:cubicBezTo>
                  <a:cubicBezTo>
                    <a:pt x="393" y="227"/>
                    <a:pt x="391" y="233"/>
                    <a:pt x="383" y="237"/>
                  </a:cubicBezTo>
                  <a:cubicBezTo>
                    <a:pt x="375" y="241"/>
                    <a:pt x="355" y="241"/>
                    <a:pt x="348" y="242"/>
                  </a:cubicBezTo>
                  <a:cubicBezTo>
                    <a:pt x="341" y="243"/>
                    <a:pt x="343" y="244"/>
                    <a:pt x="338" y="243"/>
                  </a:cubicBezTo>
                  <a:cubicBezTo>
                    <a:pt x="333" y="242"/>
                    <a:pt x="321" y="240"/>
                    <a:pt x="315" y="233"/>
                  </a:cubicBezTo>
                  <a:cubicBezTo>
                    <a:pt x="309" y="226"/>
                    <a:pt x="304" y="211"/>
                    <a:pt x="299" y="200"/>
                  </a:cubicBezTo>
                  <a:cubicBezTo>
                    <a:pt x="294" y="189"/>
                    <a:pt x="286" y="181"/>
                    <a:pt x="285" y="167"/>
                  </a:cubicBezTo>
                  <a:cubicBezTo>
                    <a:pt x="284" y="153"/>
                    <a:pt x="292" y="125"/>
                    <a:pt x="290" y="117"/>
                  </a:cubicBezTo>
                  <a:cubicBezTo>
                    <a:pt x="288" y="109"/>
                    <a:pt x="277" y="119"/>
                    <a:pt x="272" y="117"/>
                  </a:cubicBezTo>
                  <a:cubicBezTo>
                    <a:pt x="267" y="115"/>
                    <a:pt x="262" y="112"/>
                    <a:pt x="258" y="105"/>
                  </a:cubicBezTo>
                  <a:cubicBezTo>
                    <a:pt x="254" y="98"/>
                    <a:pt x="256" y="82"/>
                    <a:pt x="249" y="74"/>
                  </a:cubicBezTo>
                  <a:cubicBezTo>
                    <a:pt x="242" y="66"/>
                    <a:pt x="219" y="55"/>
                    <a:pt x="213" y="54"/>
                  </a:cubicBezTo>
                  <a:cubicBezTo>
                    <a:pt x="207" y="53"/>
                    <a:pt x="216" y="65"/>
                    <a:pt x="212" y="65"/>
                  </a:cubicBezTo>
                  <a:cubicBezTo>
                    <a:pt x="208" y="65"/>
                    <a:pt x="200" y="61"/>
                    <a:pt x="189" y="53"/>
                  </a:cubicBezTo>
                  <a:cubicBezTo>
                    <a:pt x="178" y="45"/>
                    <a:pt x="156" y="23"/>
                    <a:pt x="147" y="18"/>
                  </a:cubicBezTo>
                  <a:cubicBezTo>
                    <a:pt x="138" y="13"/>
                    <a:pt x="140" y="18"/>
                    <a:pt x="135" y="20"/>
                  </a:cubicBezTo>
                  <a:cubicBezTo>
                    <a:pt x="130" y="22"/>
                    <a:pt x="123" y="28"/>
                    <a:pt x="116" y="30"/>
                  </a:cubicBezTo>
                  <a:cubicBezTo>
                    <a:pt x="109" y="32"/>
                    <a:pt x="104" y="35"/>
                    <a:pt x="95" y="33"/>
                  </a:cubicBezTo>
                  <a:cubicBezTo>
                    <a:pt x="86" y="31"/>
                    <a:pt x="73" y="26"/>
                    <a:pt x="63" y="21"/>
                  </a:cubicBezTo>
                  <a:cubicBezTo>
                    <a:pt x="53" y="16"/>
                    <a:pt x="45" y="4"/>
                    <a:pt x="35" y="2"/>
                  </a:cubicBezTo>
                  <a:cubicBezTo>
                    <a:pt x="25" y="0"/>
                    <a:pt x="11" y="8"/>
                    <a:pt x="5" y="9"/>
                  </a:cubicBezTo>
                  <a:close/>
                </a:path>
              </a:pathLst>
            </a:custGeom>
            <a:solidFill>
              <a:schemeClr val="bg1">
                <a:lumMod val="85000"/>
              </a:schemeClr>
            </a:solidFill>
            <a:ln w="9525" cap="flat" cmpd="sng">
              <a:solidFill>
                <a:schemeClr val="bg1"/>
              </a:solidFill>
              <a:prstDash val="solid"/>
              <a:round/>
              <a:headEnd type="none" w="med" len="med"/>
              <a:tailEnd type="none" w="med" len="med"/>
            </a:ln>
            <a:effectLst/>
            <a:extLst/>
          </p:spPr>
          <p:txBody>
            <a:bodyPr>
              <a:noAutofit/>
            </a:bodyPr>
            <a:lstStyle/>
            <a:p>
              <a:pPr fontAlgn="auto">
                <a:spcBef>
                  <a:spcPts val="0"/>
                </a:spcBef>
                <a:spcAft>
                  <a:spcPts val="0"/>
                </a:spcAft>
                <a:defRPr/>
              </a:pPr>
              <a:endParaRPr lang="en-CA" kern="0">
                <a:solidFill>
                  <a:sysClr val="windowText" lastClr="000000"/>
                </a:solidFill>
              </a:endParaRPr>
            </a:p>
          </p:txBody>
        </p:sp>
        <p:sp>
          <p:nvSpPr>
            <p:cNvPr id="495" name="Freeform 434"/>
            <p:cNvSpPr>
              <a:spLocks/>
            </p:cNvSpPr>
            <p:nvPr>
              <p:custDataLst>
                <p:tags r:id="rId168"/>
              </p:custDataLst>
            </p:nvPr>
          </p:nvSpPr>
          <p:spPr bwMode="gray">
            <a:xfrm>
              <a:off x="1603904" y="2770729"/>
              <a:ext cx="112008" cy="98509"/>
            </a:xfrm>
            <a:custGeom>
              <a:avLst/>
              <a:gdLst>
                <a:gd name="T0" fmla="*/ 0 w 137"/>
                <a:gd name="T1" fmla="*/ 43 h 128"/>
                <a:gd name="T2" fmla="*/ 6 w 137"/>
                <a:gd name="T3" fmla="*/ 28 h 128"/>
                <a:gd name="T4" fmla="*/ 12 w 137"/>
                <a:gd name="T5" fmla="*/ 10 h 128"/>
                <a:gd name="T6" fmla="*/ 24 w 137"/>
                <a:gd name="T7" fmla="*/ 4 h 128"/>
                <a:gd name="T8" fmla="*/ 35 w 137"/>
                <a:gd name="T9" fmla="*/ 2 h 128"/>
                <a:gd name="T10" fmla="*/ 69 w 137"/>
                <a:gd name="T11" fmla="*/ 5 h 128"/>
                <a:gd name="T12" fmla="*/ 69 w 137"/>
                <a:gd name="T13" fmla="*/ 19 h 128"/>
                <a:gd name="T14" fmla="*/ 70 w 137"/>
                <a:gd name="T15" fmla="*/ 41 h 128"/>
                <a:gd name="T16" fmla="*/ 94 w 137"/>
                <a:gd name="T17" fmla="*/ 47 h 128"/>
                <a:gd name="T18" fmla="*/ 114 w 137"/>
                <a:gd name="T19" fmla="*/ 49 h 128"/>
                <a:gd name="T20" fmla="*/ 115 w 137"/>
                <a:gd name="T21" fmla="*/ 65 h 128"/>
                <a:gd name="T22" fmla="*/ 132 w 137"/>
                <a:gd name="T23" fmla="*/ 76 h 128"/>
                <a:gd name="T24" fmla="*/ 136 w 137"/>
                <a:gd name="T25" fmla="*/ 92 h 128"/>
                <a:gd name="T26" fmla="*/ 126 w 137"/>
                <a:gd name="T27" fmla="*/ 110 h 128"/>
                <a:gd name="T28" fmla="*/ 115 w 137"/>
                <a:gd name="T29" fmla="*/ 127 h 128"/>
                <a:gd name="T30" fmla="*/ 70 w 137"/>
                <a:gd name="T31" fmla="*/ 119 h 128"/>
                <a:gd name="T32" fmla="*/ 76 w 137"/>
                <a:gd name="T33" fmla="*/ 103 h 128"/>
                <a:gd name="T34" fmla="*/ 57 w 137"/>
                <a:gd name="T35" fmla="*/ 86 h 128"/>
                <a:gd name="T36" fmla="*/ 39 w 137"/>
                <a:gd name="T37" fmla="*/ 73 h 128"/>
                <a:gd name="T38" fmla="*/ 15 w 137"/>
                <a:gd name="T39" fmla="*/ 53 h 128"/>
                <a:gd name="T40" fmla="*/ 0 w 137"/>
                <a:gd name="T41" fmla="*/ 43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37" h="128">
                  <a:moveTo>
                    <a:pt x="0" y="43"/>
                  </a:moveTo>
                  <a:cubicBezTo>
                    <a:pt x="1" y="38"/>
                    <a:pt x="6" y="28"/>
                    <a:pt x="6" y="28"/>
                  </a:cubicBezTo>
                  <a:cubicBezTo>
                    <a:pt x="8" y="23"/>
                    <a:pt x="9" y="14"/>
                    <a:pt x="12" y="10"/>
                  </a:cubicBezTo>
                  <a:cubicBezTo>
                    <a:pt x="15" y="6"/>
                    <a:pt x="20" y="5"/>
                    <a:pt x="24" y="4"/>
                  </a:cubicBezTo>
                  <a:cubicBezTo>
                    <a:pt x="29" y="0"/>
                    <a:pt x="28" y="2"/>
                    <a:pt x="35" y="2"/>
                  </a:cubicBezTo>
                  <a:cubicBezTo>
                    <a:pt x="42" y="2"/>
                    <a:pt x="63" y="2"/>
                    <a:pt x="69" y="5"/>
                  </a:cubicBezTo>
                  <a:cubicBezTo>
                    <a:pt x="75" y="8"/>
                    <a:pt x="69" y="13"/>
                    <a:pt x="69" y="19"/>
                  </a:cubicBezTo>
                  <a:cubicBezTo>
                    <a:pt x="69" y="25"/>
                    <a:pt x="66" y="36"/>
                    <a:pt x="70" y="41"/>
                  </a:cubicBezTo>
                  <a:cubicBezTo>
                    <a:pt x="74" y="49"/>
                    <a:pt x="87" y="45"/>
                    <a:pt x="94" y="47"/>
                  </a:cubicBezTo>
                  <a:cubicBezTo>
                    <a:pt x="101" y="48"/>
                    <a:pt x="110" y="46"/>
                    <a:pt x="114" y="49"/>
                  </a:cubicBezTo>
                  <a:cubicBezTo>
                    <a:pt x="118" y="51"/>
                    <a:pt x="112" y="61"/>
                    <a:pt x="115" y="65"/>
                  </a:cubicBezTo>
                  <a:cubicBezTo>
                    <a:pt x="118" y="69"/>
                    <a:pt x="129" y="72"/>
                    <a:pt x="132" y="76"/>
                  </a:cubicBezTo>
                  <a:cubicBezTo>
                    <a:pt x="135" y="80"/>
                    <a:pt x="137" y="86"/>
                    <a:pt x="136" y="92"/>
                  </a:cubicBezTo>
                  <a:cubicBezTo>
                    <a:pt x="135" y="98"/>
                    <a:pt x="129" y="104"/>
                    <a:pt x="126" y="110"/>
                  </a:cubicBezTo>
                  <a:cubicBezTo>
                    <a:pt x="123" y="116"/>
                    <a:pt x="124" y="125"/>
                    <a:pt x="115" y="127"/>
                  </a:cubicBezTo>
                  <a:cubicBezTo>
                    <a:pt x="87" y="126"/>
                    <a:pt x="86" y="128"/>
                    <a:pt x="70" y="119"/>
                  </a:cubicBezTo>
                  <a:cubicBezTo>
                    <a:pt x="63" y="115"/>
                    <a:pt x="78" y="108"/>
                    <a:pt x="76" y="103"/>
                  </a:cubicBezTo>
                  <a:cubicBezTo>
                    <a:pt x="74" y="98"/>
                    <a:pt x="63" y="91"/>
                    <a:pt x="57" y="86"/>
                  </a:cubicBezTo>
                  <a:cubicBezTo>
                    <a:pt x="53" y="77"/>
                    <a:pt x="50" y="75"/>
                    <a:pt x="39" y="73"/>
                  </a:cubicBezTo>
                  <a:cubicBezTo>
                    <a:pt x="33" y="67"/>
                    <a:pt x="21" y="58"/>
                    <a:pt x="15" y="53"/>
                  </a:cubicBezTo>
                  <a:cubicBezTo>
                    <a:pt x="9" y="48"/>
                    <a:pt x="3" y="45"/>
                    <a:pt x="0" y="43"/>
                  </a:cubicBezTo>
                  <a:close/>
                </a:path>
              </a:pathLst>
            </a:custGeom>
            <a:solidFill>
              <a:schemeClr val="bg1">
                <a:lumMod val="85000"/>
              </a:schemeClr>
            </a:solidFill>
            <a:ln w="9525" cap="flat" cmpd="sng">
              <a:solidFill>
                <a:schemeClr val="bg1"/>
              </a:solidFill>
              <a:prstDash val="solid"/>
              <a:round/>
              <a:headEnd type="none" w="med" len="med"/>
              <a:tailEnd type="none" w="med" len="med"/>
            </a:ln>
            <a:effectLst/>
            <a:extLst/>
          </p:spPr>
          <p:txBody>
            <a:bodyPr>
              <a:noAutofit/>
            </a:bodyPr>
            <a:lstStyle/>
            <a:p>
              <a:pPr fontAlgn="auto">
                <a:spcBef>
                  <a:spcPts val="0"/>
                </a:spcBef>
                <a:spcAft>
                  <a:spcPts val="0"/>
                </a:spcAft>
                <a:defRPr/>
              </a:pPr>
              <a:endParaRPr lang="en-CA" kern="0">
                <a:solidFill>
                  <a:sysClr val="windowText" lastClr="000000"/>
                </a:solidFill>
              </a:endParaRPr>
            </a:p>
          </p:txBody>
        </p:sp>
        <p:sp>
          <p:nvSpPr>
            <p:cNvPr id="496" name="Freeform 435"/>
            <p:cNvSpPr>
              <a:spLocks/>
            </p:cNvSpPr>
            <p:nvPr>
              <p:custDataLst>
                <p:tags r:id="rId169"/>
              </p:custDataLst>
            </p:nvPr>
          </p:nvSpPr>
          <p:spPr bwMode="gray">
            <a:xfrm>
              <a:off x="1283084" y="2335901"/>
              <a:ext cx="14402" cy="30016"/>
            </a:xfrm>
            <a:custGeom>
              <a:avLst/>
              <a:gdLst>
                <a:gd name="T0" fmla="*/ 14 w 19"/>
                <a:gd name="T1" fmla="*/ 0 h 38"/>
                <a:gd name="T2" fmla="*/ 19 w 19"/>
                <a:gd name="T3" fmla="*/ 32 h 38"/>
                <a:gd name="T4" fmla="*/ 5 w 19"/>
                <a:gd name="T5" fmla="*/ 38 h 38"/>
                <a:gd name="T6" fmla="*/ 4 w 19"/>
                <a:gd name="T7" fmla="*/ 23 h 38"/>
                <a:gd name="T8" fmla="*/ 10 w 19"/>
                <a:gd name="T9" fmla="*/ 9 h 38"/>
                <a:gd name="T10" fmla="*/ 14 w 19"/>
                <a:gd name="T11" fmla="*/ 0 h 38"/>
              </a:gdLst>
              <a:ahLst/>
              <a:cxnLst>
                <a:cxn ang="0">
                  <a:pos x="T0" y="T1"/>
                </a:cxn>
                <a:cxn ang="0">
                  <a:pos x="T2" y="T3"/>
                </a:cxn>
                <a:cxn ang="0">
                  <a:pos x="T4" y="T5"/>
                </a:cxn>
                <a:cxn ang="0">
                  <a:pos x="T6" y="T7"/>
                </a:cxn>
                <a:cxn ang="0">
                  <a:pos x="T8" y="T9"/>
                </a:cxn>
                <a:cxn ang="0">
                  <a:pos x="T10" y="T11"/>
                </a:cxn>
              </a:cxnLst>
              <a:rect l="0" t="0" r="r" b="b"/>
              <a:pathLst>
                <a:path w="19" h="38">
                  <a:moveTo>
                    <a:pt x="14" y="0"/>
                  </a:moveTo>
                  <a:cubicBezTo>
                    <a:pt x="18" y="22"/>
                    <a:pt x="16" y="11"/>
                    <a:pt x="19" y="32"/>
                  </a:cubicBezTo>
                  <a:cubicBezTo>
                    <a:pt x="13" y="33"/>
                    <a:pt x="10" y="36"/>
                    <a:pt x="5" y="38"/>
                  </a:cubicBezTo>
                  <a:cubicBezTo>
                    <a:pt x="0" y="32"/>
                    <a:pt x="1" y="30"/>
                    <a:pt x="4" y="23"/>
                  </a:cubicBezTo>
                  <a:cubicBezTo>
                    <a:pt x="5" y="17"/>
                    <a:pt x="7" y="14"/>
                    <a:pt x="10" y="9"/>
                  </a:cubicBezTo>
                  <a:cubicBezTo>
                    <a:pt x="11" y="2"/>
                    <a:pt x="10" y="4"/>
                    <a:pt x="14" y="0"/>
                  </a:cubicBezTo>
                  <a:close/>
                </a:path>
              </a:pathLst>
            </a:custGeom>
            <a:solidFill>
              <a:schemeClr val="bg1">
                <a:lumMod val="85000"/>
              </a:schemeClr>
            </a:solidFill>
            <a:ln w="9525" cap="flat" cmpd="sng">
              <a:solidFill>
                <a:schemeClr val="bg1"/>
              </a:solidFill>
              <a:prstDash val="solid"/>
              <a:round/>
              <a:headEnd type="none" w="med" len="med"/>
              <a:tailEnd type="none" w="med" len="med"/>
            </a:ln>
            <a:effectLst/>
            <a:extLst/>
          </p:spPr>
          <p:txBody>
            <a:bodyPr>
              <a:noAutofit/>
            </a:bodyPr>
            <a:lstStyle/>
            <a:p>
              <a:pPr fontAlgn="auto">
                <a:spcBef>
                  <a:spcPts val="0"/>
                </a:spcBef>
                <a:spcAft>
                  <a:spcPts val="0"/>
                </a:spcAft>
                <a:defRPr/>
              </a:pPr>
              <a:endParaRPr lang="en-CA" kern="0">
                <a:solidFill>
                  <a:sysClr val="windowText" lastClr="000000"/>
                </a:solidFill>
              </a:endParaRPr>
            </a:p>
          </p:txBody>
        </p:sp>
        <p:sp>
          <p:nvSpPr>
            <p:cNvPr id="497" name="Freeform 436"/>
            <p:cNvSpPr>
              <a:spLocks/>
            </p:cNvSpPr>
            <p:nvPr>
              <p:custDataLst>
                <p:tags r:id="rId170"/>
              </p:custDataLst>
            </p:nvPr>
          </p:nvSpPr>
          <p:spPr bwMode="gray">
            <a:xfrm>
              <a:off x="1327086" y="2415171"/>
              <a:ext cx="54404" cy="45406"/>
            </a:xfrm>
            <a:custGeom>
              <a:avLst/>
              <a:gdLst>
                <a:gd name="T0" fmla="*/ 5 w 68"/>
                <a:gd name="T1" fmla="*/ 4 h 58"/>
                <a:gd name="T2" fmla="*/ 14 w 68"/>
                <a:gd name="T3" fmla="*/ 15 h 58"/>
                <a:gd name="T4" fmla="*/ 23 w 68"/>
                <a:gd name="T5" fmla="*/ 31 h 58"/>
                <a:gd name="T6" fmla="*/ 33 w 68"/>
                <a:gd name="T7" fmla="*/ 36 h 58"/>
                <a:gd name="T8" fmla="*/ 60 w 68"/>
                <a:gd name="T9" fmla="*/ 51 h 58"/>
                <a:gd name="T10" fmla="*/ 68 w 68"/>
                <a:gd name="T11" fmla="*/ 43 h 58"/>
                <a:gd name="T12" fmla="*/ 51 w 68"/>
                <a:gd name="T13" fmla="*/ 33 h 58"/>
                <a:gd name="T14" fmla="*/ 39 w 68"/>
                <a:gd name="T15" fmla="*/ 24 h 58"/>
                <a:gd name="T16" fmla="*/ 38 w 68"/>
                <a:gd name="T17" fmla="*/ 16 h 58"/>
                <a:gd name="T18" fmla="*/ 5 w 68"/>
                <a:gd name="T19" fmla="*/ 4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8" h="58">
                  <a:moveTo>
                    <a:pt x="5" y="4"/>
                  </a:moveTo>
                  <a:cubicBezTo>
                    <a:pt x="0" y="3"/>
                    <a:pt x="11" y="11"/>
                    <a:pt x="14" y="15"/>
                  </a:cubicBezTo>
                  <a:cubicBezTo>
                    <a:pt x="17" y="19"/>
                    <a:pt x="20" y="28"/>
                    <a:pt x="23" y="31"/>
                  </a:cubicBezTo>
                  <a:cubicBezTo>
                    <a:pt x="28" y="33"/>
                    <a:pt x="29" y="33"/>
                    <a:pt x="33" y="36"/>
                  </a:cubicBezTo>
                  <a:cubicBezTo>
                    <a:pt x="36" y="45"/>
                    <a:pt x="52" y="48"/>
                    <a:pt x="60" y="51"/>
                  </a:cubicBezTo>
                  <a:cubicBezTo>
                    <a:pt x="65" y="58"/>
                    <a:pt x="65" y="49"/>
                    <a:pt x="68" y="43"/>
                  </a:cubicBezTo>
                  <a:cubicBezTo>
                    <a:pt x="61" y="39"/>
                    <a:pt x="59" y="35"/>
                    <a:pt x="51" y="33"/>
                  </a:cubicBezTo>
                  <a:cubicBezTo>
                    <a:pt x="47" y="30"/>
                    <a:pt x="41" y="27"/>
                    <a:pt x="39" y="24"/>
                  </a:cubicBezTo>
                  <a:cubicBezTo>
                    <a:pt x="37" y="21"/>
                    <a:pt x="44" y="19"/>
                    <a:pt x="38" y="16"/>
                  </a:cubicBezTo>
                  <a:cubicBezTo>
                    <a:pt x="30" y="0"/>
                    <a:pt x="16" y="15"/>
                    <a:pt x="5" y="4"/>
                  </a:cubicBezTo>
                  <a:close/>
                </a:path>
              </a:pathLst>
            </a:custGeom>
            <a:solidFill>
              <a:schemeClr val="bg1">
                <a:lumMod val="85000"/>
              </a:schemeClr>
            </a:solidFill>
            <a:ln w="9525" cap="flat" cmpd="sng">
              <a:solidFill>
                <a:schemeClr val="bg1"/>
              </a:solidFill>
              <a:prstDash val="solid"/>
              <a:round/>
              <a:headEnd type="none" w="med" len="med"/>
              <a:tailEnd type="none" w="med" len="med"/>
            </a:ln>
            <a:effectLst/>
            <a:extLst/>
          </p:spPr>
          <p:txBody>
            <a:bodyPr>
              <a:noAutofit/>
            </a:bodyPr>
            <a:lstStyle/>
            <a:p>
              <a:pPr fontAlgn="auto">
                <a:spcBef>
                  <a:spcPts val="0"/>
                </a:spcBef>
                <a:spcAft>
                  <a:spcPts val="0"/>
                </a:spcAft>
                <a:defRPr/>
              </a:pPr>
              <a:endParaRPr lang="en-CA" kern="0">
                <a:solidFill>
                  <a:sysClr val="windowText" lastClr="000000"/>
                </a:solidFill>
              </a:endParaRPr>
            </a:p>
          </p:txBody>
        </p:sp>
        <p:sp>
          <p:nvSpPr>
            <p:cNvPr id="498" name="Freeform 437"/>
            <p:cNvSpPr>
              <a:spLocks/>
            </p:cNvSpPr>
            <p:nvPr>
              <p:custDataLst>
                <p:tags r:id="rId171"/>
              </p:custDataLst>
            </p:nvPr>
          </p:nvSpPr>
          <p:spPr bwMode="gray">
            <a:xfrm>
              <a:off x="1470296" y="2307427"/>
              <a:ext cx="30401" cy="33093"/>
            </a:xfrm>
            <a:custGeom>
              <a:avLst/>
              <a:gdLst>
                <a:gd name="T0" fmla="*/ 15 w 69"/>
                <a:gd name="T1" fmla="*/ 0 h 43"/>
                <a:gd name="T2" fmla="*/ 22 w 69"/>
                <a:gd name="T3" fmla="*/ 12 h 43"/>
                <a:gd name="T4" fmla="*/ 16 w 69"/>
                <a:gd name="T5" fmla="*/ 27 h 43"/>
                <a:gd name="T6" fmla="*/ 0 w 69"/>
                <a:gd name="T7" fmla="*/ 28 h 43"/>
                <a:gd name="T8" fmla="*/ 7 w 69"/>
                <a:gd name="T9" fmla="*/ 37 h 43"/>
                <a:gd name="T10" fmla="*/ 31 w 69"/>
                <a:gd name="T11" fmla="*/ 34 h 43"/>
                <a:gd name="T12" fmla="*/ 46 w 69"/>
                <a:gd name="T13" fmla="*/ 43 h 43"/>
                <a:gd name="T14" fmla="*/ 69 w 69"/>
                <a:gd name="T15" fmla="*/ 37 h 43"/>
                <a:gd name="T16" fmla="*/ 54 w 69"/>
                <a:gd name="T17" fmla="*/ 16 h 43"/>
                <a:gd name="T18" fmla="*/ 60 w 69"/>
                <a:gd name="T19" fmla="*/ 1 h 43"/>
                <a:gd name="T20" fmla="*/ 40 w 69"/>
                <a:gd name="T21" fmla="*/ 4 h 43"/>
                <a:gd name="T22" fmla="*/ 25 w 69"/>
                <a:gd name="T23" fmla="*/ 4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9" h="43">
                  <a:moveTo>
                    <a:pt x="15" y="0"/>
                  </a:moveTo>
                  <a:lnTo>
                    <a:pt x="22" y="12"/>
                  </a:lnTo>
                  <a:lnTo>
                    <a:pt x="16" y="27"/>
                  </a:lnTo>
                  <a:lnTo>
                    <a:pt x="0" y="28"/>
                  </a:lnTo>
                  <a:lnTo>
                    <a:pt x="7" y="37"/>
                  </a:lnTo>
                  <a:lnTo>
                    <a:pt x="31" y="34"/>
                  </a:lnTo>
                  <a:lnTo>
                    <a:pt x="46" y="43"/>
                  </a:lnTo>
                  <a:lnTo>
                    <a:pt x="69" y="37"/>
                  </a:lnTo>
                  <a:lnTo>
                    <a:pt x="54" y="16"/>
                  </a:lnTo>
                  <a:lnTo>
                    <a:pt x="60" y="1"/>
                  </a:lnTo>
                  <a:lnTo>
                    <a:pt x="40" y="4"/>
                  </a:lnTo>
                  <a:lnTo>
                    <a:pt x="25" y="4"/>
                  </a:lnTo>
                </a:path>
              </a:pathLst>
            </a:custGeom>
            <a:solidFill>
              <a:schemeClr val="bg1">
                <a:lumMod val="85000"/>
              </a:schemeClr>
            </a:solidFill>
            <a:ln w="9525" cap="flat" cmpd="sng">
              <a:solidFill>
                <a:schemeClr val="bg1"/>
              </a:solidFill>
              <a:prstDash val="solid"/>
              <a:round/>
              <a:headEnd type="none" w="med" len="med"/>
              <a:tailEnd type="none" w="med" len="med"/>
            </a:ln>
            <a:effectLst/>
            <a:extLst/>
          </p:spPr>
          <p:txBody>
            <a:bodyPr>
              <a:noAutofit/>
            </a:bodyPr>
            <a:lstStyle/>
            <a:p>
              <a:pPr fontAlgn="auto">
                <a:spcBef>
                  <a:spcPts val="0"/>
                </a:spcBef>
                <a:spcAft>
                  <a:spcPts val="0"/>
                </a:spcAft>
                <a:defRPr/>
              </a:pPr>
              <a:endParaRPr lang="en-CA" kern="0">
                <a:solidFill>
                  <a:sysClr val="windowText" lastClr="000000"/>
                </a:solidFill>
              </a:endParaRPr>
            </a:p>
          </p:txBody>
        </p:sp>
        <p:sp>
          <p:nvSpPr>
            <p:cNvPr id="499" name="Freeform 438"/>
            <p:cNvSpPr>
              <a:spLocks/>
            </p:cNvSpPr>
            <p:nvPr>
              <p:custDataLst>
                <p:tags r:id="rId172"/>
              </p:custDataLst>
            </p:nvPr>
          </p:nvSpPr>
          <p:spPr bwMode="gray">
            <a:xfrm>
              <a:off x="1550300" y="2327437"/>
              <a:ext cx="36802" cy="10775"/>
            </a:xfrm>
            <a:custGeom>
              <a:avLst/>
              <a:gdLst>
                <a:gd name="T0" fmla="*/ 0 w 45"/>
                <a:gd name="T1" fmla="*/ 8 h 15"/>
                <a:gd name="T2" fmla="*/ 24 w 45"/>
                <a:gd name="T3" fmla="*/ 8 h 15"/>
                <a:gd name="T4" fmla="*/ 43 w 45"/>
                <a:gd name="T5" fmla="*/ 0 h 15"/>
                <a:gd name="T6" fmla="*/ 45 w 45"/>
                <a:gd name="T7" fmla="*/ 14 h 15"/>
                <a:gd name="T8" fmla="*/ 21 w 45"/>
                <a:gd name="T9" fmla="*/ 15 h 15"/>
                <a:gd name="T10" fmla="*/ 0 w 45"/>
                <a:gd name="T11" fmla="*/ 8 h 15"/>
              </a:gdLst>
              <a:ahLst/>
              <a:cxnLst>
                <a:cxn ang="0">
                  <a:pos x="T0" y="T1"/>
                </a:cxn>
                <a:cxn ang="0">
                  <a:pos x="T2" y="T3"/>
                </a:cxn>
                <a:cxn ang="0">
                  <a:pos x="T4" y="T5"/>
                </a:cxn>
                <a:cxn ang="0">
                  <a:pos x="T6" y="T7"/>
                </a:cxn>
                <a:cxn ang="0">
                  <a:pos x="T8" y="T9"/>
                </a:cxn>
                <a:cxn ang="0">
                  <a:pos x="T10" y="T11"/>
                </a:cxn>
              </a:cxnLst>
              <a:rect l="0" t="0" r="r" b="b"/>
              <a:pathLst>
                <a:path w="45" h="15">
                  <a:moveTo>
                    <a:pt x="0" y="8"/>
                  </a:moveTo>
                  <a:lnTo>
                    <a:pt x="24" y="8"/>
                  </a:lnTo>
                  <a:lnTo>
                    <a:pt x="43" y="0"/>
                  </a:lnTo>
                  <a:lnTo>
                    <a:pt x="45" y="14"/>
                  </a:lnTo>
                  <a:lnTo>
                    <a:pt x="21" y="15"/>
                  </a:lnTo>
                  <a:lnTo>
                    <a:pt x="0" y="8"/>
                  </a:lnTo>
                  <a:close/>
                </a:path>
              </a:pathLst>
            </a:custGeom>
            <a:solidFill>
              <a:schemeClr val="bg1">
                <a:lumMod val="85000"/>
              </a:schemeClr>
            </a:solidFill>
            <a:ln w="9525" cap="flat" cmpd="sng">
              <a:solidFill>
                <a:schemeClr val="bg1"/>
              </a:solidFill>
              <a:prstDash val="solid"/>
              <a:round/>
              <a:headEnd type="none" w="med" len="med"/>
              <a:tailEnd type="none" w="med" len="med"/>
            </a:ln>
            <a:effectLst/>
            <a:extLst/>
          </p:spPr>
          <p:txBody>
            <a:bodyPr>
              <a:noAutofit/>
            </a:bodyPr>
            <a:lstStyle/>
            <a:p>
              <a:pPr fontAlgn="auto">
                <a:spcBef>
                  <a:spcPts val="0"/>
                </a:spcBef>
                <a:spcAft>
                  <a:spcPts val="0"/>
                </a:spcAft>
                <a:defRPr/>
              </a:pPr>
              <a:endParaRPr lang="en-CA" kern="0">
                <a:solidFill>
                  <a:sysClr val="windowText" lastClr="000000"/>
                </a:solidFill>
              </a:endParaRPr>
            </a:p>
          </p:txBody>
        </p:sp>
        <p:sp>
          <p:nvSpPr>
            <p:cNvPr id="500" name="Freeform 490"/>
            <p:cNvSpPr>
              <a:spLocks/>
            </p:cNvSpPr>
            <p:nvPr>
              <p:custDataLst>
                <p:tags r:id="rId173"/>
              </p:custDataLst>
            </p:nvPr>
          </p:nvSpPr>
          <p:spPr bwMode="gray">
            <a:xfrm>
              <a:off x="2523966" y="2275105"/>
              <a:ext cx="131209" cy="185475"/>
            </a:xfrm>
            <a:custGeom>
              <a:avLst/>
              <a:gdLst>
                <a:gd name="T0" fmla="*/ 140 w 160"/>
                <a:gd name="T1" fmla="*/ 182 h 236"/>
                <a:gd name="T2" fmla="*/ 137 w 160"/>
                <a:gd name="T3" fmla="*/ 164 h 236"/>
                <a:gd name="T4" fmla="*/ 131 w 160"/>
                <a:gd name="T5" fmla="*/ 154 h 236"/>
                <a:gd name="T6" fmla="*/ 137 w 160"/>
                <a:gd name="T7" fmla="*/ 136 h 236"/>
                <a:gd name="T8" fmla="*/ 158 w 160"/>
                <a:gd name="T9" fmla="*/ 106 h 236"/>
                <a:gd name="T10" fmla="*/ 158 w 160"/>
                <a:gd name="T11" fmla="*/ 63 h 236"/>
                <a:gd name="T12" fmla="*/ 143 w 160"/>
                <a:gd name="T13" fmla="*/ 49 h 236"/>
                <a:gd name="T14" fmla="*/ 125 w 160"/>
                <a:gd name="T15" fmla="*/ 39 h 236"/>
                <a:gd name="T16" fmla="*/ 107 w 160"/>
                <a:gd name="T17" fmla="*/ 30 h 236"/>
                <a:gd name="T18" fmla="*/ 92 w 160"/>
                <a:gd name="T19" fmla="*/ 26 h 236"/>
                <a:gd name="T20" fmla="*/ 77 w 160"/>
                <a:gd name="T21" fmla="*/ 8 h 236"/>
                <a:gd name="T22" fmla="*/ 65 w 160"/>
                <a:gd name="T23" fmla="*/ 7 h 236"/>
                <a:gd name="T24" fmla="*/ 50 w 160"/>
                <a:gd name="T25" fmla="*/ 4 h 236"/>
                <a:gd name="T26" fmla="*/ 26 w 160"/>
                <a:gd name="T27" fmla="*/ 2 h 236"/>
                <a:gd name="T28" fmla="*/ 31 w 160"/>
                <a:gd name="T29" fmla="*/ 17 h 236"/>
                <a:gd name="T30" fmla="*/ 40 w 160"/>
                <a:gd name="T31" fmla="*/ 51 h 236"/>
                <a:gd name="T32" fmla="*/ 34 w 160"/>
                <a:gd name="T33" fmla="*/ 93 h 236"/>
                <a:gd name="T34" fmla="*/ 21 w 160"/>
                <a:gd name="T35" fmla="*/ 116 h 236"/>
                <a:gd name="T36" fmla="*/ 5 w 160"/>
                <a:gd name="T37" fmla="*/ 131 h 236"/>
                <a:gd name="T38" fmla="*/ 13 w 160"/>
                <a:gd name="T39" fmla="*/ 158 h 236"/>
                <a:gd name="T40" fmla="*/ 28 w 160"/>
                <a:gd name="T41" fmla="*/ 188 h 236"/>
                <a:gd name="T42" fmla="*/ 29 w 160"/>
                <a:gd name="T43" fmla="*/ 197 h 236"/>
                <a:gd name="T44" fmla="*/ 14 w 160"/>
                <a:gd name="T45" fmla="*/ 205 h 236"/>
                <a:gd name="T46" fmla="*/ 26 w 160"/>
                <a:gd name="T47" fmla="*/ 217 h 236"/>
                <a:gd name="T48" fmla="*/ 43 w 160"/>
                <a:gd name="T49" fmla="*/ 232 h 236"/>
                <a:gd name="T50" fmla="*/ 67 w 160"/>
                <a:gd name="T51" fmla="*/ 235 h 236"/>
                <a:gd name="T52" fmla="*/ 83 w 160"/>
                <a:gd name="T53" fmla="*/ 228 h 236"/>
                <a:gd name="T54" fmla="*/ 98 w 160"/>
                <a:gd name="T55" fmla="*/ 214 h 236"/>
                <a:gd name="T56" fmla="*/ 115 w 160"/>
                <a:gd name="T57" fmla="*/ 205 h 236"/>
                <a:gd name="T58" fmla="*/ 121 w 160"/>
                <a:gd name="T59" fmla="*/ 197 h 236"/>
                <a:gd name="T60" fmla="*/ 142 w 160"/>
                <a:gd name="T61" fmla="*/ 185 h 236"/>
                <a:gd name="T62" fmla="*/ 140 w 160"/>
                <a:gd name="T63" fmla="*/ 182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60" h="236">
                  <a:moveTo>
                    <a:pt x="140" y="182"/>
                  </a:moveTo>
                  <a:cubicBezTo>
                    <a:pt x="140" y="178"/>
                    <a:pt x="138" y="169"/>
                    <a:pt x="137" y="164"/>
                  </a:cubicBezTo>
                  <a:cubicBezTo>
                    <a:pt x="136" y="159"/>
                    <a:pt x="131" y="159"/>
                    <a:pt x="131" y="154"/>
                  </a:cubicBezTo>
                  <a:cubicBezTo>
                    <a:pt x="133" y="149"/>
                    <a:pt x="137" y="136"/>
                    <a:pt x="137" y="136"/>
                  </a:cubicBezTo>
                  <a:cubicBezTo>
                    <a:pt x="145" y="123"/>
                    <a:pt x="140" y="110"/>
                    <a:pt x="158" y="106"/>
                  </a:cubicBezTo>
                  <a:cubicBezTo>
                    <a:pt x="160" y="93"/>
                    <a:pt x="160" y="72"/>
                    <a:pt x="158" y="63"/>
                  </a:cubicBezTo>
                  <a:cubicBezTo>
                    <a:pt x="156" y="54"/>
                    <a:pt x="148" y="53"/>
                    <a:pt x="143" y="49"/>
                  </a:cubicBezTo>
                  <a:cubicBezTo>
                    <a:pt x="138" y="42"/>
                    <a:pt x="133" y="40"/>
                    <a:pt x="125" y="39"/>
                  </a:cubicBezTo>
                  <a:cubicBezTo>
                    <a:pt x="118" y="36"/>
                    <a:pt x="114" y="31"/>
                    <a:pt x="107" y="30"/>
                  </a:cubicBezTo>
                  <a:cubicBezTo>
                    <a:pt x="103" y="28"/>
                    <a:pt x="99" y="30"/>
                    <a:pt x="92" y="26"/>
                  </a:cubicBezTo>
                  <a:cubicBezTo>
                    <a:pt x="87" y="22"/>
                    <a:pt x="81" y="11"/>
                    <a:pt x="77" y="8"/>
                  </a:cubicBezTo>
                  <a:cubicBezTo>
                    <a:pt x="73" y="5"/>
                    <a:pt x="69" y="8"/>
                    <a:pt x="65" y="7"/>
                  </a:cubicBezTo>
                  <a:cubicBezTo>
                    <a:pt x="60" y="5"/>
                    <a:pt x="54" y="7"/>
                    <a:pt x="50" y="4"/>
                  </a:cubicBezTo>
                  <a:cubicBezTo>
                    <a:pt x="41" y="4"/>
                    <a:pt x="34" y="0"/>
                    <a:pt x="26" y="2"/>
                  </a:cubicBezTo>
                  <a:cubicBezTo>
                    <a:pt x="22" y="3"/>
                    <a:pt x="25" y="16"/>
                    <a:pt x="31" y="17"/>
                  </a:cubicBezTo>
                  <a:cubicBezTo>
                    <a:pt x="37" y="27"/>
                    <a:pt x="36" y="40"/>
                    <a:pt x="40" y="51"/>
                  </a:cubicBezTo>
                  <a:cubicBezTo>
                    <a:pt x="43" y="69"/>
                    <a:pt x="45" y="79"/>
                    <a:pt x="34" y="93"/>
                  </a:cubicBezTo>
                  <a:cubicBezTo>
                    <a:pt x="31" y="104"/>
                    <a:pt x="26" y="110"/>
                    <a:pt x="21" y="116"/>
                  </a:cubicBezTo>
                  <a:cubicBezTo>
                    <a:pt x="16" y="122"/>
                    <a:pt x="6" y="124"/>
                    <a:pt x="5" y="131"/>
                  </a:cubicBezTo>
                  <a:cubicBezTo>
                    <a:pt x="3" y="142"/>
                    <a:pt x="0" y="156"/>
                    <a:pt x="13" y="158"/>
                  </a:cubicBezTo>
                  <a:cubicBezTo>
                    <a:pt x="14" y="170"/>
                    <a:pt x="21" y="179"/>
                    <a:pt x="28" y="188"/>
                  </a:cubicBezTo>
                  <a:cubicBezTo>
                    <a:pt x="29" y="195"/>
                    <a:pt x="38" y="195"/>
                    <a:pt x="29" y="197"/>
                  </a:cubicBezTo>
                  <a:cubicBezTo>
                    <a:pt x="23" y="200"/>
                    <a:pt x="18" y="199"/>
                    <a:pt x="14" y="205"/>
                  </a:cubicBezTo>
                  <a:cubicBezTo>
                    <a:pt x="16" y="210"/>
                    <a:pt x="21" y="213"/>
                    <a:pt x="26" y="217"/>
                  </a:cubicBezTo>
                  <a:cubicBezTo>
                    <a:pt x="32" y="226"/>
                    <a:pt x="32" y="231"/>
                    <a:pt x="43" y="232"/>
                  </a:cubicBezTo>
                  <a:cubicBezTo>
                    <a:pt x="50" y="235"/>
                    <a:pt x="60" y="236"/>
                    <a:pt x="67" y="235"/>
                  </a:cubicBezTo>
                  <a:cubicBezTo>
                    <a:pt x="74" y="234"/>
                    <a:pt x="78" y="232"/>
                    <a:pt x="83" y="228"/>
                  </a:cubicBezTo>
                  <a:cubicBezTo>
                    <a:pt x="86" y="219"/>
                    <a:pt x="91" y="219"/>
                    <a:pt x="98" y="214"/>
                  </a:cubicBezTo>
                  <a:cubicBezTo>
                    <a:pt x="102" y="207"/>
                    <a:pt x="107" y="206"/>
                    <a:pt x="115" y="205"/>
                  </a:cubicBezTo>
                  <a:cubicBezTo>
                    <a:pt x="125" y="197"/>
                    <a:pt x="113" y="207"/>
                    <a:pt x="121" y="197"/>
                  </a:cubicBezTo>
                  <a:cubicBezTo>
                    <a:pt x="125" y="192"/>
                    <a:pt x="138" y="187"/>
                    <a:pt x="142" y="185"/>
                  </a:cubicBezTo>
                  <a:cubicBezTo>
                    <a:pt x="143" y="184"/>
                    <a:pt x="141" y="183"/>
                    <a:pt x="140" y="182"/>
                  </a:cubicBezTo>
                  <a:close/>
                </a:path>
              </a:pathLst>
            </a:custGeom>
            <a:solidFill>
              <a:schemeClr val="bg1">
                <a:lumMod val="85000"/>
              </a:schemeClr>
            </a:solidFill>
            <a:ln w="9525" cap="flat" cmpd="sng">
              <a:solidFill>
                <a:schemeClr val="bg1"/>
              </a:solidFill>
              <a:prstDash val="solid"/>
              <a:round/>
              <a:headEnd type="none" w="med" len="med"/>
              <a:tailEnd type="none" w="med" len="med"/>
            </a:ln>
            <a:effectLst/>
            <a:extLst/>
          </p:spPr>
          <p:txBody>
            <a:bodyPr>
              <a:noAutofit/>
            </a:bodyPr>
            <a:lstStyle/>
            <a:p>
              <a:pPr fontAlgn="auto">
                <a:spcBef>
                  <a:spcPts val="0"/>
                </a:spcBef>
                <a:spcAft>
                  <a:spcPts val="0"/>
                </a:spcAft>
                <a:defRPr/>
              </a:pPr>
              <a:endParaRPr lang="en-CA" kern="0">
                <a:solidFill>
                  <a:sysClr val="windowText" lastClr="000000"/>
                </a:solidFill>
              </a:endParaRPr>
            </a:p>
          </p:txBody>
        </p:sp>
        <p:sp>
          <p:nvSpPr>
            <p:cNvPr id="501" name="Freeform 491"/>
            <p:cNvSpPr>
              <a:spLocks/>
            </p:cNvSpPr>
            <p:nvPr>
              <p:custDataLst>
                <p:tags r:id="rId174"/>
              </p:custDataLst>
            </p:nvPr>
          </p:nvSpPr>
          <p:spPr bwMode="gray">
            <a:xfrm>
              <a:off x="2765582" y="2376693"/>
              <a:ext cx="176811" cy="128524"/>
            </a:xfrm>
            <a:custGeom>
              <a:avLst/>
              <a:gdLst>
                <a:gd name="T0" fmla="*/ 46 w 216"/>
                <a:gd name="T1" fmla="*/ 5 h 164"/>
                <a:gd name="T2" fmla="*/ 68 w 216"/>
                <a:gd name="T3" fmla="*/ 6 h 164"/>
                <a:gd name="T4" fmla="*/ 87 w 216"/>
                <a:gd name="T5" fmla="*/ 6 h 164"/>
                <a:gd name="T6" fmla="*/ 113 w 216"/>
                <a:gd name="T7" fmla="*/ 6 h 164"/>
                <a:gd name="T8" fmla="*/ 124 w 216"/>
                <a:gd name="T9" fmla="*/ 9 h 164"/>
                <a:gd name="T10" fmla="*/ 129 w 216"/>
                <a:gd name="T11" fmla="*/ 24 h 164"/>
                <a:gd name="T12" fmla="*/ 122 w 216"/>
                <a:gd name="T13" fmla="*/ 27 h 164"/>
                <a:gd name="T14" fmla="*/ 124 w 216"/>
                <a:gd name="T15" fmla="*/ 39 h 164"/>
                <a:gd name="T16" fmla="*/ 153 w 216"/>
                <a:gd name="T17" fmla="*/ 64 h 164"/>
                <a:gd name="T18" fmla="*/ 170 w 216"/>
                <a:gd name="T19" fmla="*/ 82 h 164"/>
                <a:gd name="T20" fmla="*/ 182 w 216"/>
                <a:gd name="T21" fmla="*/ 85 h 164"/>
                <a:gd name="T22" fmla="*/ 200 w 216"/>
                <a:gd name="T23" fmla="*/ 94 h 164"/>
                <a:gd name="T24" fmla="*/ 215 w 216"/>
                <a:gd name="T25" fmla="*/ 103 h 164"/>
                <a:gd name="T26" fmla="*/ 198 w 216"/>
                <a:gd name="T27" fmla="*/ 120 h 164"/>
                <a:gd name="T28" fmla="*/ 186 w 216"/>
                <a:gd name="T29" fmla="*/ 133 h 164"/>
                <a:gd name="T30" fmla="*/ 168 w 216"/>
                <a:gd name="T31" fmla="*/ 143 h 164"/>
                <a:gd name="T32" fmla="*/ 132 w 216"/>
                <a:gd name="T33" fmla="*/ 146 h 164"/>
                <a:gd name="T34" fmla="*/ 107 w 216"/>
                <a:gd name="T35" fmla="*/ 161 h 164"/>
                <a:gd name="T36" fmla="*/ 87 w 216"/>
                <a:gd name="T37" fmla="*/ 162 h 164"/>
                <a:gd name="T38" fmla="*/ 65 w 216"/>
                <a:gd name="T39" fmla="*/ 162 h 164"/>
                <a:gd name="T40" fmla="*/ 48 w 216"/>
                <a:gd name="T41" fmla="*/ 148 h 164"/>
                <a:gd name="T42" fmla="*/ 42 w 216"/>
                <a:gd name="T43" fmla="*/ 144 h 164"/>
                <a:gd name="T44" fmla="*/ 24 w 216"/>
                <a:gd name="T45" fmla="*/ 127 h 164"/>
                <a:gd name="T46" fmla="*/ 18 w 216"/>
                <a:gd name="T47" fmla="*/ 113 h 164"/>
                <a:gd name="T48" fmla="*/ 2 w 216"/>
                <a:gd name="T49" fmla="*/ 99 h 164"/>
                <a:gd name="T50" fmla="*/ 4 w 216"/>
                <a:gd name="T51" fmla="*/ 92 h 164"/>
                <a:gd name="T52" fmla="*/ 14 w 216"/>
                <a:gd name="T53" fmla="*/ 83 h 164"/>
                <a:gd name="T54" fmla="*/ 16 w 216"/>
                <a:gd name="T55" fmla="*/ 60 h 164"/>
                <a:gd name="T56" fmla="*/ 28 w 216"/>
                <a:gd name="T57" fmla="*/ 42 h 164"/>
                <a:gd name="T58" fmla="*/ 41 w 216"/>
                <a:gd name="T59" fmla="*/ 31 h 164"/>
                <a:gd name="T60" fmla="*/ 46 w 216"/>
                <a:gd name="T61" fmla="*/ 5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16" h="164">
                  <a:moveTo>
                    <a:pt x="46" y="5"/>
                  </a:moveTo>
                  <a:cubicBezTo>
                    <a:pt x="50" y="0"/>
                    <a:pt x="61" y="6"/>
                    <a:pt x="68" y="6"/>
                  </a:cubicBezTo>
                  <a:cubicBezTo>
                    <a:pt x="75" y="6"/>
                    <a:pt x="80" y="6"/>
                    <a:pt x="87" y="6"/>
                  </a:cubicBezTo>
                  <a:cubicBezTo>
                    <a:pt x="94" y="6"/>
                    <a:pt x="107" y="6"/>
                    <a:pt x="113" y="6"/>
                  </a:cubicBezTo>
                  <a:cubicBezTo>
                    <a:pt x="117" y="8"/>
                    <a:pt x="121" y="5"/>
                    <a:pt x="124" y="9"/>
                  </a:cubicBezTo>
                  <a:cubicBezTo>
                    <a:pt x="126" y="11"/>
                    <a:pt x="130" y="21"/>
                    <a:pt x="129" y="24"/>
                  </a:cubicBezTo>
                  <a:cubicBezTo>
                    <a:pt x="129" y="27"/>
                    <a:pt x="123" y="25"/>
                    <a:pt x="122" y="27"/>
                  </a:cubicBezTo>
                  <a:cubicBezTo>
                    <a:pt x="121" y="28"/>
                    <a:pt x="119" y="33"/>
                    <a:pt x="124" y="39"/>
                  </a:cubicBezTo>
                  <a:cubicBezTo>
                    <a:pt x="129" y="45"/>
                    <a:pt x="145" y="57"/>
                    <a:pt x="153" y="64"/>
                  </a:cubicBezTo>
                  <a:cubicBezTo>
                    <a:pt x="156" y="69"/>
                    <a:pt x="164" y="78"/>
                    <a:pt x="170" y="82"/>
                  </a:cubicBezTo>
                  <a:cubicBezTo>
                    <a:pt x="174" y="83"/>
                    <a:pt x="182" y="85"/>
                    <a:pt x="182" y="85"/>
                  </a:cubicBezTo>
                  <a:cubicBezTo>
                    <a:pt x="186" y="88"/>
                    <a:pt x="196" y="91"/>
                    <a:pt x="200" y="94"/>
                  </a:cubicBezTo>
                  <a:cubicBezTo>
                    <a:pt x="205" y="97"/>
                    <a:pt x="215" y="99"/>
                    <a:pt x="215" y="103"/>
                  </a:cubicBezTo>
                  <a:cubicBezTo>
                    <a:pt x="216" y="108"/>
                    <a:pt x="203" y="115"/>
                    <a:pt x="198" y="120"/>
                  </a:cubicBezTo>
                  <a:cubicBezTo>
                    <a:pt x="193" y="125"/>
                    <a:pt x="191" y="129"/>
                    <a:pt x="186" y="133"/>
                  </a:cubicBezTo>
                  <a:cubicBezTo>
                    <a:pt x="178" y="138"/>
                    <a:pt x="177" y="141"/>
                    <a:pt x="168" y="143"/>
                  </a:cubicBezTo>
                  <a:cubicBezTo>
                    <a:pt x="159" y="145"/>
                    <a:pt x="142" y="143"/>
                    <a:pt x="132" y="146"/>
                  </a:cubicBezTo>
                  <a:cubicBezTo>
                    <a:pt x="122" y="156"/>
                    <a:pt x="123" y="159"/>
                    <a:pt x="107" y="161"/>
                  </a:cubicBezTo>
                  <a:cubicBezTo>
                    <a:pt x="100" y="164"/>
                    <a:pt x="94" y="162"/>
                    <a:pt x="87" y="162"/>
                  </a:cubicBezTo>
                  <a:cubicBezTo>
                    <a:pt x="80" y="162"/>
                    <a:pt x="71" y="164"/>
                    <a:pt x="65" y="162"/>
                  </a:cubicBezTo>
                  <a:cubicBezTo>
                    <a:pt x="54" y="158"/>
                    <a:pt x="62" y="157"/>
                    <a:pt x="48" y="148"/>
                  </a:cubicBezTo>
                  <a:cubicBezTo>
                    <a:pt x="46" y="147"/>
                    <a:pt x="42" y="144"/>
                    <a:pt x="42" y="144"/>
                  </a:cubicBezTo>
                  <a:cubicBezTo>
                    <a:pt x="38" y="141"/>
                    <a:pt x="29" y="133"/>
                    <a:pt x="24" y="127"/>
                  </a:cubicBezTo>
                  <a:cubicBezTo>
                    <a:pt x="20" y="122"/>
                    <a:pt x="22" y="118"/>
                    <a:pt x="18" y="113"/>
                  </a:cubicBezTo>
                  <a:cubicBezTo>
                    <a:pt x="15" y="109"/>
                    <a:pt x="2" y="99"/>
                    <a:pt x="2" y="99"/>
                  </a:cubicBezTo>
                  <a:cubicBezTo>
                    <a:pt x="0" y="95"/>
                    <a:pt x="2" y="95"/>
                    <a:pt x="4" y="92"/>
                  </a:cubicBezTo>
                  <a:cubicBezTo>
                    <a:pt x="6" y="89"/>
                    <a:pt x="12" y="88"/>
                    <a:pt x="14" y="83"/>
                  </a:cubicBezTo>
                  <a:cubicBezTo>
                    <a:pt x="17" y="76"/>
                    <a:pt x="11" y="67"/>
                    <a:pt x="16" y="60"/>
                  </a:cubicBezTo>
                  <a:cubicBezTo>
                    <a:pt x="18" y="56"/>
                    <a:pt x="25" y="45"/>
                    <a:pt x="28" y="42"/>
                  </a:cubicBezTo>
                  <a:cubicBezTo>
                    <a:pt x="31" y="39"/>
                    <a:pt x="41" y="31"/>
                    <a:pt x="41" y="31"/>
                  </a:cubicBezTo>
                  <a:cubicBezTo>
                    <a:pt x="44" y="24"/>
                    <a:pt x="50" y="13"/>
                    <a:pt x="46" y="5"/>
                  </a:cubicBezTo>
                  <a:close/>
                </a:path>
              </a:pathLst>
            </a:custGeom>
            <a:solidFill>
              <a:schemeClr val="bg1">
                <a:lumMod val="85000"/>
              </a:schemeClr>
            </a:solidFill>
            <a:ln w="9525" cap="flat" cmpd="sng">
              <a:solidFill>
                <a:schemeClr val="bg1"/>
              </a:solidFill>
              <a:prstDash val="solid"/>
              <a:round/>
              <a:headEnd type="none" w="med" len="med"/>
              <a:tailEnd type="none" w="med" len="med"/>
            </a:ln>
            <a:effectLst/>
            <a:extLst/>
          </p:spPr>
          <p:txBody>
            <a:bodyPr>
              <a:noAutofit/>
            </a:bodyPr>
            <a:lstStyle/>
            <a:p>
              <a:pPr fontAlgn="auto">
                <a:spcBef>
                  <a:spcPts val="0"/>
                </a:spcBef>
                <a:spcAft>
                  <a:spcPts val="0"/>
                </a:spcAft>
                <a:defRPr/>
              </a:pPr>
              <a:endParaRPr lang="en-CA" kern="0">
                <a:solidFill>
                  <a:sysClr val="windowText" lastClr="000000"/>
                </a:solidFill>
              </a:endParaRPr>
            </a:p>
          </p:txBody>
        </p:sp>
        <p:sp>
          <p:nvSpPr>
            <p:cNvPr id="502" name="Freeform 492"/>
            <p:cNvSpPr>
              <a:spLocks/>
            </p:cNvSpPr>
            <p:nvPr>
              <p:custDataLst>
                <p:tags r:id="rId175"/>
              </p:custDataLst>
            </p:nvPr>
          </p:nvSpPr>
          <p:spPr bwMode="gray">
            <a:xfrm>
              <a:off x="2540767" y="2417481"/>
              <a:ext cx="154410" cy="93892"/>
            </a:xfrm>
            <a:custGeom>
              <a:avLst/>
              <a:gdLst>
                <a:gd name="T0" fmla="*/ 11 w 188"/>
                <a:gd name="T1" fmla="*/ 49 h 119"/>
                <a:gd name="T2" fmla="*/ 47 w 188"/>
                <a:gd name="T3" fmla="*/ 52 h 119"/>
                <a:gd name="T4" fmla="*/ 65 w 188"/>
                <a:gd name="T5" fmla="*/ 40 h 119"/>
                <a:gd name="T6" fmla="*/ 97 w 188"/>
                <a:gd name="T7" fmla="*/ 17 h 119"/>
                <a:gd name="T8" fmla="*/ 121 w 188"/>
                <a:gd name="T9" fmla="*/ 0 h 119"/>
                <a:gd name="T10" fmla="*/ 130 w 188"/>
                <a:gd name="T11" fmla="*/ 14 h 119"/>
                <a:gd name="T12" fmla="*/ 136 w 188"/>
                <a:gd name="T13" fmla="*/ 29 h 119"/>
                <a:gd name="T14" fmla="*/ 144 w 188"/>
                <a:gd name="T15" fmla="*/ 41 h 119"/>
                <a:gd name="T16" fmla="*/ 156 w 188"/>
                <a:gd name="T17" fmla="*/ 48 h 119"/>
                <a:gd name="T18" fmla="*/ 164 w 188"/>
                <a:gd name="T19" fmla="*/ 59 h 119"/>
                <a:gd name="T20" fmla="*/ 180 w 188"/>
                <a:gd name="T21" fmla="*/ 77 h 119"/>
                <a:gd name="T22" fmla="*/ 188 w 188"/>
                <a:gd name="T23" fmla="*/ 87 h 119"/>
                <a:gd name="T24" fmla="*/ 169 w 188"/>
                <a:gd name="T25" fmla="*/ 88 h 119"/>
                <a:gd name="T26" fmla="*/ 152 w 188"/>
                <a:gd name="T27" fmla="*/ 93 h 119"/>
                <a:gd name="T28" fmla="*/ 136 w 188"/>
                <a:gd name="T29" fmla="*/ 91 h 119"/>
                <a:gd name="T30" fmla="*/ 106 w 188"/>
                <a:gd name="T31" fmla="*/ 102 h 119"/>
                <a:gd name="T32" fmla="*/ 86 w 188"/>
                <a:gd name="T33" fmla="*/ 96 h 119"/>
                <a:gd name="T34" fmla="*/ 68 w 188"/>
                <a:gd name="T35" fmla="*/ 91 h 119"/>
                <a:gd name="T36" fmla="*/ 55 w 188"/>
                <a:gd name="T37" fmla="*/ 110 h 119"/>
                <a:gd name="T38" fmla="*/ 34 w 188"/>
                <a:gd name="T39" fmla="*/ 110 h 119"/>
                <a:gd name="T40" fmla="*/ 19 w 188"/>
                <a:gd name="T41" fmla="*/ 116 h 119"/>
                <a:gd name="T42" fmla="*/ 7 w 188"/>
                <a:gd name="T43" fmla="*/ 91 h 119"/>
                <a:gd name="T44" fmla="*/ 10 w 188"/>
                <a:gd name="T45" fmla="*/ 58 h 119"/>
                <a:gd name="T46" fmla="*/ 11 w 188"/>
                <a:gd name="T47" fmla="*/ 49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88" h="119">
                  <a:moveTo>
                    <a:pt x="11" y="49"/>
                  </a:moveTo>
                  <a:cubicBezTo>
                    <a:pt x="16" y="48"/>
                    <a:pt x="38" y="53"/>
                    <a:pt x="47" y="52"/>
                  </a:cubicBezTo>
                  <a:cubicBezTo>
                    <a:pt x="56" y="51"/>
                    <a:pt x="62" y="43"/>
                    <a:pt x="65" y="40"/>
                  </a:cubicBezTo>
                  <a:cubicBezTo>
                    <a:pt x="73" y="34"/>
                    <a:pt x="88" y="23"/>
                    <a:pt x="97" y="17"/>
                  </a:cubicBezTo>
                  <a:cubicBezTo>
                    <a:pt x="98" y="10"/>
                    <a:pt x="114" y="3"/>
                    <a:pt x="121" y="0"/>
                  </a:cubicBezTo>
                  <a:cubicBezTo>
                    <a:pt x="124" y="5"/>
                    <a:pt x="127" y="9"/>
                    <a:pt x="130" y="14"/>
                  </a:cubicBezTo>
                  <a:cubicBezTo>
                    <a:pt x="133" y="19"/>
                    <a:pt x="132" y="24"/>
                    <a:pt x="136" y="29"/>
                  </a:cubicBezTo>
                  <a:cubicBezTo>
                    <a:pt x="138" y="33"/>
                    <a:pt x="141" y="38"/>
                    <a:pt x="144" y="41"/>
                  </a:cubicBezTo>
                  <a:cubicBezTo>
                    <a:pt x="147" y="45"/>
                    <a:pt x="153" y="45"/>
                    <a:pt x="156" y="48"/>
                  </a:cubicBezTo>
                  <a:cubicBezTo>
                    <a:pt x="159" y="51"/>
                    <a:pt x="160" y="54"/>
                    <a:pt x="164" y="59"/>
                  </a:cubicBezTo>
                  <a:cubicBezTo>
                    <a:pt x="170" y="65"/>
                    <a:pt x="171" y="75"/>
                    <a:pt x="180" y="77"/>
                  </a:cubicBezTo>
                  <a:cubicBezTo>
                    <a:pt x="181" y="83"/>
                    <a:pt x="187" y="81"/>
                    <a:pt x="188" y="87"/>
                  </a:cubicBezTo>
                  <a:cubicBezTo>
                    <a:pt x="187" y="90"/>
                    <a:pt x="175" y="87"/>
                    <a:pt x="169" y="88"/>
                  </a:cubicBezTo>
                  <a:cubicBezTo>
                    <a:pt x="163" y="89"/>
                    <a:pt x="157" y="93"/>
                    <a:pt x="152" y="93"/>
                  </a:cubicBezTo>
                  <a:cubicBezTo>
                    <a:pt x="143" y="95"/>
                    <a:pt x="143" y="89"/>
                    <a:pt x="136" y="91"/>
                  </a:cubicBezTo>
                  <a:cubicBezTo>
                    <a:pt x="128" y="93"/>
                    <a:pt x="114" y="101"/>
                    <a:pt x="106" y="102"/>
                  </a:cubicBezTo>
                  <a:cubicBezTo>
                    <a:pt x="96" y="109"/>
                    <a:pt x="96" y="98"/>
                    <a:pt x="86" y="96"/>
                  </a:cubicBezTo>
                  <a:cubicBezTo>
                    <a:pt x="79" y="91"/>
                    <a:pt x="78" y="90"/>
                    <a:pt x="68" y="91"/>
                  </a:cubicBezTo>
                  <a:cubicBezTo>
                    <a:pt x="63" y="92"/>
                    <a:pt x="63" y="106"/>
                    <a:pt x="55" y="110"/>
                  </a:cubicBezTo>
                  <a:cubicBezTo>
                    <a:pt x="49" y="113"/>
                    <a:pt x="40" y="109"/>
                    <a:pt x="34" y="110"/>
                  </a:cubicBezTo>
                  <a:cubicBezTo>
                    <a:pt x="28" y="111"/>
                    <a:pt x="23" y="119"/>
                    <a:pt x="19" y="116"/>
                  </a:cubicBezTo>
                  <a:cubicBezTo>
                    <a:pt x="0" y="113"/>
                    <a:pt x="16" y="103"/>
                    <a:pt x="7" y="91"/>
                  </a:cubicBezTo>
                  <a:cubicBezTo>
                    <a:pt x="4" y="76"/>
                    <a:pt x="1" y="69"/>
                    <a:pt x="10" y="58"/>
                  </a:cubicBezTo>
                  <a:cubicBezTo>
                    <a:pt x="11" y="50"/>
                    <a:pt x="11" y="53"/>
                    <a:pt x="11" y="49"/>
                  </a:cubicBezTo>
                  <a:close/>
                </a:path>
              </a:pathLst>
            </a:custGeom>
            <a:solidFill>
              <a:schemeClr val="bg1">
                <a:lumMod val="85000"/>
              </a:schemeClr>
            </a:solidFill>
            <a:ln w="9525" cap="flat" cmpd="sng">
              <a:solidFill>
                <a:schemeClr val="bg1"/>
              </a:solidFill>
              <a:prstDash val="solid"/>
              <a:round/>
              <a:headEnd type="none" w="med" len="med"/>
              <a:tailEnd type="none" w="med" len="med"/>
            </a:ln>
            <a:effectLst/>
            <a:extLst/>
          </p:spPr>
          <p:txBody>
            <a:bodyPr>
              <a:noAutofit/>
            </a:bodyPr>
            <a:lstStyle/>
            <a:p>
              <a:pPr fontAlgn="auto">
                <a:spcBef>
                  <a:spcPts val="0"/>
                </a:spcBef>
                <a:spcAft>
                  <a:spcPts val="0"/>
                </a:spcAft>
                <a:defRPr/>
              </a:pPr>
              <a:endParaRPr lang="en-CA" kern="0">
                <a:solidFill>
                  <a:sysClr val="windowText" lastClr="000000"/>
                </a:solidFill>
              </a:endParaRPr>
            </a:p>
          </p:txBody>
        </p:sp>
        <p:sp>
          <p:nvSpPr>
            <p:cNvPr id="503" name="Freeform 494"/>
            <p:cNvSpPr>
              <a:spLocks/>
            </p:cNvSpPr>
            <p:nvPr>
              <p:custDataLst>
                <p:tags r:id="rId176"/>
              </p:custDataLst>
            </p:nvPr>
          </p:nvSpPr>
          <p:spPr bwMode="gray">
            <a:xfrm>
              <a:off x="2633573" y="2285880"/>
              <a:ext cx="191213" cy="159308"/>
            </a:xfrm>
            <a:custGeom>
              <a:avLst/>
              <a:gdLst>
                <a:gd name="T0" fmla="*/ 12 w 234"/>
                <a:gd name="T1" fmla="*/ 101 h 203"/>
                <a:gd name="T2" fmla="*/ 24 w 234"/>
                <a:gd name="T3" fmla="*/ 87 h 203"/>
                <a:gd name="T4" fmla="*/ 26 w 234"/>
                <a:gd name="T5" fmla="*/ 36 h 203"/>
                <a:gd name="T6" fmla="*/ 41 w 234"/>
                <a:gd name="T7" fmla="*/ 37 h 203"/>
                <a:gd name="T8" fmla="*/ 40 w 234"/>
                <a:gd name="T9" fmla="*/ 7 h 203"/>
                <a:gd name="T10" fmla="*/ 152 w 234"/>
                <a:gd name="T11" fmla="*/ 7 h 203"/>
                <a:gd name="T12" fmla="*/ 181 w 234"/>
                <a:gd name="T13" fmla="*/ 8 h 203"/>
                <a:gd name="T14" fmla="*/ 209 w 234"/>
                <a:gd name="T15" fmla="*/ 0 h 203"/>
                <a:gd name="T16" fmla="*/ 216 w 234"/>
                <a:gd name="T17" fmla="*/ 8 h 203"/>
                <a:gd name="T18" fmla="*/ 218 w 234"/>
                <a:gd name="T19" fmla="*/ 13 h 203"/>
                <a:gd name="T20" fmla="*/ 220 w 234"/>
                <a:gd name="T21" fmla="*/ 22 h 203"/>
                <a:gd name="T22" fmla="*/ 221 w 234"/>
                <a:gd name="T23" fmla="*/ 36 h 203"/>
                <a:gd name="T24" fmla="*/ 234 w 234"/>
                <a:gd name="T25" fmla="*/ 60 h 203"/>
                <a:gd name="T26" fmla="*/ 224 w 234"/>
                <a:gd name="T27" fmla="*/ 78 h 203"/>
                <a:gd name="T28" fmla="*/ 213 w 234"/>
                <a:gd name="T29" fmla="*/ 93 h 203"/>
                <a:gd name="T30" fmla="*/ 211 w 234"/>
                <a:gd name="T31" fmla="*/ 106 h 203"/>
                <a:gd name="T32" fmla="*/ 209 w 234"/>
                <a:gd name="T33" fmla="*/ 112 h 203"/>
                <a:gd name="T34" fmla="*/ 207 w 234"/>
                <a:gd name="T35" fmla="*/ 136 h 203"/>
                <a:gd name="T36" fmla="*/ 199 w 234"/>
                <a:gd name="T37" fmla="*/ 146 h 203"/>
                <a:gd name="T38" fmla="*/ 192 w 234"/>
                <a:gd name="T39" fmla="*/ 157 h 203"/>
                <a:gd name="T40" fmla="*/ 189 w 234"/>
                <a:gd name="T41" fmla="*/ 160 h 203"/>
                <a:gd name="T42" fmla="*/ 181 w 234"/>
                <a:gd name="T43" fmla="*/ 174 h 203"/>
                <a:gd name="T44" fmla="*/ 176 w 234"/>
                <a:gd name="T45" fmla="*/ 190 h 203"/>
                <a:gd name="T46" fmla="*/ 173 w 234"/>
                <a:gd name="T47" fmla="*/ 187 h 203"/>
                <a:gd name="T48" fmla="*/ 162 w 234"/>
                <a:gd name="T49" fmla="*/ 163 h 203"/>
                <a:gd name="T50" fmla="*/ 156 w 234"/>
                <a:gd name="T51" fmla="*/ 156 h 203"/>
                <a:gd name="T52" fmla="*/ 152 w 234"/>
                <a:gd name="T53" fmla="*/ 160 h 203"/>
                <a:gd name="T54" fmla="*/ 145 w 234"/>
                <a:gd name="T55" fmla="*/ 177 h 203"/>
                <a:gd name="T56" fmla="*/ 129 w 234"/>
                <a:gd name="T57" fmla="*/ 189 h 203"/>
                <a:gd name="T58" fmla="*/ 116 w 234"/>
                <a:gd name="T59" fmla="*/ 179 h 203"/>
                <a:gd name="T60" fmla="*/ 106 w 234"/>
                <a:gd name="T61" fmla="*/ 187 h 203"/>
                <a:gd name="T62" fmla="*/ 93 w 234"/>
                <a:gd name="T63" fmla="*/ 193 h 203"/>
                <a:gd name="T64" fmla="*/ 86 w 234"/>
                <a:gd name="T65" fmla="*/ 194 h 203"/>
                <a:gd name="T66" fmla="*/ 63 w 234"/>
                <a:gd name="T67" fmla="*/ 191 h 203"/>
                <a:gd name="T68" fmla="*/ 53 w 234"/>
                <a:gd name="T69" fmla="*/ 179 h 203"/>
                <a:gd name="T70" fmla="*/ 39 w 234"/>
                <a:gd name="T71" fmla="*/ 183 h 203"/>
                <a:gd name="T72" fmla="*/ 36 w 234"/>
                <a:gd name="T73" fmla="*/ 194 h 203"/>
                <a:gd name="T74" fmla="*/ 29 w 234"/>
                <a:gd name="T75" fmla="*/ 203 h 203"/>
                <a:gd name="T76" fmla="*/ 21 w 234"/>
                <a:gd name="T77" fmla="*/ 193 h 203"/>
                <a:gd name="T78" fmla="*/ 13 w 234"/>
                <a:gd name="T79" fmla="*/ 177 h 203"/>
                <a:gd name="T80" fmla="*/ 4 w 234"/>
                <a:gd name="T81" fmla="*/ 159 h 203"/>
                <a:gd name="T82" fmla="*/ 0 w 234"/>
                <a:gd name="T83" fmla="*/ 140 h 203"/>
                <a:gd name="T84" fmla="*/ 4 w 234"/>
                <a:gd name="T85" fmla="*/ 125 h 203"/>
                <a:gd name="T86" fmla="*/ 10 w 234"/>
                <a:gd name="T87" fmla="*/ 115 h 203"/>
                <a:gd name="T88" fmla="*/ 9 w 234"/>
                <a:gd name="T89" fmla="*/ 111 h 203"/>
                <a:gd name="T90" fmla="*/ 12 w 234"/>
                <a:gd name="T91" fmla="*/ 101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34" h="203">
                  <a:moveTo>
                    <a:pt x="12" y="101"/>
                  </a:moveTo>
                  <a:lnTo>
                    <a:pt x="24" y="87"/>
                  </a:lnTo>
                  <a:lnTo>
                    <a:pt x="26" y="36"/>
                  </a:lnTo>
                  <a:lnTo>
                    <a:pt x="41" y="37"/>
                  </a:lnTo>
                  <a:lnTo>
                    <a:pt x="40" y="7"/>
                  </a:lnTo>
                  <a:lnTo>
                    <a:pt x="152" y="7"/>
                  </a:lnTo>
                  <a:lnTo>
                    <a:pt x="181" y="8"/>
                  </a:lnTo>
                  <a:lnTo>
                    <a:pt x="209" y="0"/>
                  </a:lnTo>
                  <a:cubicBezTo>
                    <a:pt x="213" y="2"/>
                    <a:pt x="214" y="6"/>
                    <a:pt x="216" y="8"/>
                  </a:cubicBezTo>
                  <a:cubicBezTo>
                    <a:pt x="217" y="10"/>
                    <a:pt x="217" y="12"/>
                    <a:pt x="218" y="13"/>
                  </a:cubicBezTo>
                  <a:cubicBezTo>
                    <a:pt x="218" y="16"/>
                    <a:pt x="219" y="19"/>
                    <a:pt x="220" y="22"/>
                  </a:cubicBezTo>
                  <a:cubicBezTo>
                    <a:pt x="221" y="26"/>
                    <a:pt x="219" y="30"/>
                    <a:pt x="221" y="36"/>
                  </a:cubicBezTo>
                  <a:cubicBezTo>
                    <a:pt x="224" y="43"/>
                    <a:pt x="233" y="53"/>
                    <a:pt x="234" y="60"/>
                  </a:cubicBezTo>
                  <a:cubicBezTo>
                    <a:pt x="234" y="67"/>
                    <a:pt x="227" y="74"/>
                    <a:pt x="224" y="78"/>
                  </a:cubicBezTo>
                  <a:cubicBezTo>
                    <a:pt x="221" y="83"/>
                    <a:pt x="215" y="89"/>
                    <a:pt x="213" y="93"/>
                  </a:cubicBezTo>
                  <a:cubicBezTo>
                    <a:pt x="211" y="97"/>
                    <a:pt x="214" y="101"/>
                    <a:pt x="211" y="106"/>
                  </a:cubicBezTo>
                  <a:cubicBezTo>
                    <a:pt x="210" y="108"/>
                    <a:pt x="210" y="110"/>
                    <a:pt x="209" y="112"/>
                  </a:cubicBezTo>
                  <a:cubicBezTo>
                    <a:pt x="211" y="117"/>
                    <a:pt x="213" y="132"/>
                    <a:pt x="207" y="136"/>
                  </a:cubicBezTo>
                  <a:cubicBezTo>
                    <a:pt x="204" y="143"/>
                    <a:pt x="209" y="145"/>
                    <a:pt x="199" y="146"/>
                  </a:cubicBezTo>
                  <a:cubicBezTo>
                    <a:pt x="197" y="149"/>
                    <a:pt x="194" y="155"/>
                    <a:pt x="192" y="157"/>
                  </a:cubicBezTo>
                  <a:cubicBezTo>
                    <a:pt x="191" y="158"/>
                    <a:pt x="189" y="160"/>
                    <a:pt x="189" y="160"/>
                  </a:cubicBezTo>
                  <a:cubicBezTo>
                    <a:pt x="187" y="163"/>
                    <a:pt x="183" y="171"/>
                    <a:pt x="181" y="174"/>
                  </a:cubicBezTo>
                  <a:cubicBezTo>
                    <a:pt x="179" y="179"/>
                    <a:pt x="177" y="188"/>
                    <a:pt x="176" y="190"/>
                  </a:cubicBezTo>
                  <a:cubicBezTo>
                    <a:pt x="175" y="191"/>
                    <a:pt x="174" y="189"/>
                    <a:pt x="173" y="187"/>
                  </a:cubicBezTo>
                  <a:cubicBezTo>
                    <a:pt x="171" y="183"/>
                    <a:pt x="165" y="168"/>
                    <a:pt x="162" y="163"/>
                  </a:cubicBezTo>
                  <a:cubicBezTo>
                    <a:pt x="160" y="160"/>
                    <a:pt x="158" y="157"/>
                    <a:pt x="156" y="156"/>
                  </a:cubicBezTo>
                  <a:cubicBezTo>
                    <a:pt x="155" y="157"/>
                    <a:pt x="154" y="157"/>
                    <a:pt x="152" y="160"/>
                  </a:cubicBezTo>
                  <a:lnTo>
                    <a:pt x="145" y="177"/>
                  </a:lnTo>
                  <a:lnTo>
                    <a:pt x="129" y="189"/>
                  </a:lnTo>
                  <a:lnTo>
                    <a:pt x="116" y="179"/>
                  </a:lnTo>
                  <a:cubicBezTo>
                    <a:pt x="112" y="179"/>
                    <a:pt x="109" y="185"/>
                    <a:pt x="106" y="187"/>
                  </a:cubicBezTo>
                  <a:cubicBezTo>
                    <a:pt x="102" y="189"/>
                    <a:pt x="96" y="192"/>
                    <a:pt x="93" y="193"/>
                  </a:cubicBezTo>
                  <a:cubicBezTo>
                    <a:pt x="91" y="194"/>
                    <a:pt x="89" y="194"/>
                    <a:pt x="86" y="194"/>
                  </a:cubicBezTo>
                  <a:cubicBezTo>
                    <a:pt x="83" y="186"/>
                    <a:pt x="69" y="191"/>
                    <a:pt x="63" y="191"/>
                  </a:cubicBezTo>
                  <a:cubicBezTo>
                    <a:pt x="61" y="187"/>
                    <a:pt x="57" y="181"/>
                    <a:pt x="53" y="179"/>
                  </a:cubicBezTo>
                  <a:cubicBezTo>
                    <a:pt x="36" y="179"/>
                    <a:pt x="46" y="178"/>
                    <a:pt x="39" y="183"/>
                  </a:cubicBezTo>
                  <a:cubicBezTo>
                    <a:pt x="37" y="187"/>
                    <a:pt x="37" y="190"/>
                    <a:pt x="36" y="194"/>
                  </a:cubicBezTo>
                  <a:cubicBezTo>
                    <a:pt x="35" y="197"/>
                    <a:pt x="32" y="201"/>
                    <a:pt x="29" y="203"/>
                  </a:cubicBezTo>
                  <a:cubicBezTo>
                    <a:pt x="27" y="203"/>
                    <a:pt x="23" y="196"/>
                    <a:pt x="21" y="193"/>
                  </a:cubicBezTo>
                  <a:cubicBezTo>
                    <a:pt x="18" y="189"/>
                    <a:pt x="16" y="183"/>
                    <a:pt x="13" y="177"/>
                  </a:cubicBezTo>
                  <a:cubicBezTo>
                    <a:pt x="10" y="173"/>
                    <a:pt x="6" y="165"/>
                    <a:pt x="4" y="159"/>
                  </a:cubicBezTo>
                  <a:cubicBezTo>
                    <a:pt x="3" y="155"/>
                    <a:pt x="0" y="146"/>
                    <a:pt x="0" y="140"/>
                  </a:cubicBezTo>
                  <a:cubicBezTo>
                    <a:pt x="0" y="134"/>
                    <a:pt x="2" y="129"/>
                    <a:pt x="4" y="125"/>
                  </a:cubicBezTo>
                  <a:cubicBezTo>
                    <a:pt x="0" y="120"/>
                    <a:pt x="5" y="116"/>
                    <a:pt x="10" y="115"/>
                  </a:cubicBezTo>
                  <a:cubicBezTo>
                    <a:pt x="9" y="114"/>
                    <a:pt x="7" y="113"/>
                    <a:pt x="9" y="111"/>
                  </a:cubicBezTo>
                  <a:cubicBezTo>
                    <a:pt x="10" y="106"/>
                    <a:pt x="9" y="113"/>
                    <a:pt x="12" y="101"/>
                  </a:cubicBezTo>
                  <a:close/>
                </a:path>
              </a:pathLst>
            </a:custGeom>
            <a:solidFill>
              <a:schemeClr val="bg1">
                <a:lumMod val="85000"/>
              </a:schemeClr>
            </a:solidFill>
            <a:ln w="9525" cap="flat" cmpd="sng">
              <a:solidFill>
                <a:schemeClr val="bg1"/>
              </a:solidFill>
              <a:prstDash val="solid"/>
              <a:round/>
              <a:headEnd type="none" w="med" len="med"/>
              <a:tailEnd type="none" w="med" len="med"/>
            </a:ln>
            <a:effectLst/>
            <a:extLst/>
          </p:spPr>
          <p:txBody>
            <a:bodyPr>
              <a:noAutofit/>
            </a:bodyPr>
            <a:lstStyle/>
            <a:p>
              <a:pPr fontAlgn="auto">
                <a:spcBef>
                  <a:spcPts val="0"/>
                </a:spcBef>
                <a:spcAft>
                  <a:spcPts val="0"/>
                </a:spcAft>
                <a:defRPr/>
              </a:pPr>
              <a:endParaRPr lang="en-CA" kern="0">
                <a:solidFill>
                  <a:sysClr val="windowText" lastClr="000000"/>
                </a:solidFill>
              </a:endParaRPr>
            </a:p>
          </p:txBody>
        </p:sp>
        <p:sp>
          <p:nvSpPr>
            <p:cNvPr id="504" name="Freeform 493"/>
            <p:cNvSpPr>
              <a:spLocks/>
            </p:cNvSpPr>
            <p:nvPr>
              <p:custDataLst>
                <p:tags r:id="rId177"/>
              </p:custDataLst>
            </p:nvPr>
          </p:nvSpPr>
          <p:spPr bwMode="gray">
            <a:xfrm>
              <a:off x="2656775" y="2404397"/>
              <a:ext cx="144010" cy="99279"/>
            </a:xfrm>
            <a:custGeom>
              <a:avLst/>
              <a:gdLst>
                <a:gd name="T0" fmla="*/ 177 w 177"/>
                <a:gd name="T1" fmla="*/ 113 h 126"/>
                <a:gd name="T2" fmla="*/ 151 w 177"/>
                <a:gd name="T3" fmla="*/ 111 h 126"/>
                <a:gd name="T4" fmla="*/ 142 w 177"/>
                <a:gd name="T5" fmla="*/ 117 h 126"/>
                <a:gd name="T6" fmla="*/ 134 w 177"/>
                <a:gd name="T7" fmla="*/ 123 h 126"/>
                <a:gd name="T8" fmla="*/ 127 w 177"/>
                <a:gd name="T9" fmla="*/ 122 h 126"/>
                <a:gd name="T10" fmla="*/ 113 w 177"/>
                <a:gd name="T11" fmla="*/ 122 h 126"/>
                <a:gd name="T12" fmla="*/ 110 w 177"/>
                <a:gd name="T13" fmla="*/ 126 h 126"/>
                <a:gd name="T14" fmla="*/ 94 w 177"/>
                <a:gd name="T15" fmla="*/ 125 h 126"/>
                <a:gd name="T16" fmla="*/ 87 w 177"/>
                <a:gd name="T17" fmla="*/ 118 h 126"/>
                <a:gd name="T18" fmla="*/ 74 w 177"/>
                <a:gd name="T19" fmla="*/ 113 h 126"/>
                <a:gd name="T20" fmla="*/ 63 w 177"/>
                <a:gd name="T21" fmla="*/ 115 h 126"/>
                <a:gd name="T22" fmla="*/ 50 w 177"/>
                <a:gd name="T23" fmla="*/ 107 h 126"/>
                <a:gd name="T24" fmla="*/ 49 w 177"/>
                <a:gd name="T25" fmla="*/ 105 h 126"/>
                <a:gd name="T26" fmla="*/ 45 w 177"/>
                <a:gd name="T27" fmla="*/ 102 h 126"/>
                <a:gd name="T28" fmla="*/ 32 w 177"/>
                <a:gd name="T29" fmla="*/ 87 h 126"/>
                <a:gd name="T30" fmla="*/ 29 w 177"/>
                <a:gd name="T31" fmla="*/ 81 h 126"/>
                <a:gd name="T32" fmla="*/ 18 w 177"/>
                <a:gd name="T33" fmla="*/ 73 h 126"/>
                <a:gd name="T34" fmla="*/ 12 w 177"/>
                <a:gd name="T35" fmla="*/ 63 h 126"/>
                <a:gd name="T36" fmla="*/ 3 w 177"/>
                <a:gd name="T37" fmla="*/ 59 h 126"/>
                <a:gd name="T38" fmla="*/ 0 w 177"/>
                <a:gd name="T39" fmla="*/ 57 h 126"/>
                <a:gd name="T40" fmla="*/ 4 w 177"/>
                <a:gd name="T41" fmla="*/ 49 h 126"/>
                <a:gd name="T42" fmla="*/ 9 w 177"/>
                <a:gd name="T43" fmla="*/ 35 h 126"/>
                <a:gd name="T44" fmla="*/ 13 w 177"/>
                <a:gd name="T45" fmla="*/ 30 h 126"/>
                <a:gd name="T46" fmla="*/ 25 w 177"/>
                <a:gd name="T47" fmla="*/ 28 h 126"/>
                <a:gd name="T48" fmla="*/ 35 w 177"/>
                <a:gd name="T49" fmla="*/ 37 h 126"/>
                <a:gd name="T50" fmla="*/ 44 w 177"/>
                <a:gd name="T51" fmla="*/ 38 h 126"/>
                <a:gd name="T52" fmla="*/ 59 w 177"/>
                <a:gd name="T53" fmla="*/ 42 h 126"/>
                <a:gd name="T54" fmla="*/ 69 w 177"/>
                <a:gd name="T55" fmla="*/ 41 h 126"/>
                <a:gd name="T56" fmla="*/ 70 w 177"/>
                <a:gd name="T57" fmla="*/ 39 h 126"/>
                <a:gd name="T58" fmla="*/ 81 w 177"/>
                <a:gd name="T59" fmla="*/ 31 h 126"/>
                <a:gd name="T60" fmla="*/ 87 w 177"/>
                <a:gd name="T61" fmla="*/ 27 h 126"/>
                <a:gd name="T62" fmla="*/ 101 w 177"/>
                <a:gd name="T63" fmla="*/ 37 h 126"/>
                <a:gd name="T64" fmla="*/ 107 w 177"/>
                <a:gd name="T65" fmla="*/ 37 h 126"/>
                <a:gd name="T66" fmla="*/ 116 w 177"/>
                <a:gd name="T67" fmla="*/ 26 h 126"/>
                <a:gd name="T68" fmla="*/ 123 w 177"/>
                <a:gd name="T69" fmla="*/ 20 h 126"/>
                <a:gd name="T70" fmla="*/ 124 w 177"/>
                <a:gd name="T71" fmla="*/ 8 h 126"/>
                <a:gd name="T72" fmla="*/ 119 w 177"/>
                <a:gd name="T73" fmla="*/ 4 h 126"/>
                <a:gd name="T74" fmla="*/ 130 w 177"/>
                <a:gd name="T75" fmla="*/ 0 h 126"/>
                <a:gd name="T76" fmla="*/ 134 w 177"/>
                <a:gd name="T77" fmla="*/ 15 h 126"/>
                <a:gd name="T78" fmla="*/ 141 w 177"/>
                <a:gd name="T79" fmla="*/ 25 h 126"/>
                <a:gd name="T80" fmla="*/ 147 w 177"/>
                <a:gd name="T81" fmla="*/ 41 h 126"/>
                <a:gd name="T82" fmla="*/ 144 w 177"/>
                <a:gd name="T83" fmla="*/ 54 h 126"/>
                <a:gd name="T84" fmla="*/ 136 w 177"/>
                <a:gd name="T85" fmla="*/ 56 h 126"/>
                <a:gd name="T86" fmla="*/ 132 w 177"/>
                <a:gd name="T87" fmla="*/ 63 h 126"/>
                <a:gd name="T88" fmla="*/ 140 w 177"/>
                <a:gd name="T89" fmla="*/ 66 h 126"/>
                <a:gd name="T90" fmla="*/ 153 w 177"/>
                <a:gd name="T91" fmla="*/ 80 h 126"/>
                <a:gd name="T92" fmla="*/ 159 w 177"/>
                <a:gd name="T93" fmla="*/ 85 h 126"/>
                <a:gd name="T94" fmla="*/ 164 w 177"/>
                <a:gd name="T95" fmla="*/ 98 h 126"/>
                <a:gd name="T96" fmla="*/ 166 w 177"/>
                <a:gd name="T97" fmla="*/ 101 h 126"/>
                <a:gd name="T98" fmla="*/ 177 w 177"/>
                <a:gd name="T99" fmla="*/ 113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77" h="126">
                  <a:moveTo>
                    <a:pt x="177" y="113"/>
                  </a:moveTo>
                  <a:lnTo>
                    <a:pt x="151" y="111"/>
                  </a:lnTo>
                  <a:cubicBezTo>
                    <a:pt x="148" y="114"/>
                    <a:pt x="145" y="115"/>
                    <a:pt x="142" y="117"/>
                  </a:cubicBezTo>
                  <a:cubicBezTo>
                    <a:pt x="141" y="121"/>
                    <a:pt x="137" y="122"/>
                    <a:pt x="134" y="123"/>
                  </a:cubicBezTo>
                  <a:cubicBezTo>
                    <a:pt x="131" y="121"/>
                    <a:pt x="130" y="122"/>
                    <a:pt x="127" y="122"/>
                  </a:cubicBezTo>
                  <a:cubicBezTo>
                    <a:pt x="124" y="122"/>
                    <a:pt x="116" y="121"/>
                    <a:pt x="113" y="122"/>
                  </a:cubicBezTo>
                  <a:cubicBezTo>
                    <a:pt x="111" y="122"/>
                    <a:pt x="110" y="123"/>
                    <a:pt x="110" y="126"/>
                  </a:cubicBezTo>
                  <a:cubicBezTo>
                    <a:pt x="107" y="126"/>
                    <a:pt x="98" y="126"/>
                    <a:pt x="94" y="125"/>
                  </a:cubicBezTo>
                  <a:cubicBezTo>
                    <a:pt x="94" y="123"/>
                    <a:pt x="89" y="118"/>
                    <a:pt x="87" y="118"/>
                  </a:cubicBezTo>
                  <a:cubicBezTo>
                    <a:pt x="84" y="116"/>
                    <a:pt x="76" y="114"/>
                    <a:pt x="74" y="113"/>
                  </a:cubicBezTo>
                  <a:cubicBezTo>
                    <a:pt x="70" y="112"/>
                    <a:pt x="66" y="115"/>
                    <a:pt x="63" y="115"/>
                  </a:cubicBezTo>
                  <a:cubicBezTo>
                    <a:pt x="59" y="114"/>
                    <a:pt x="52" y="109"/>
                    <a:pt x="50" y="107"/>
                  </a:cubicBezTo>
                  <a:cubicBezTo>
                    <a:pt x="50" y="106"/>
                    <a:pt x="50" y="106"/>
                    <a:pt x="49" y="105"/>
                  </a:cubicBezTo>
                  <a:cubicBezTo>
                    <a:pt x="48" y="105"/>
                    <a:pt x="47" y="104"/>
                    <a:pt x="45" y="102"/>
                  </a:cubicBezTo>
                  <a:cubicBezTo>
                    <a:pt x="42" y="99"/>
                    <a:pt x="35" y="90"/>
                    <a:pt x="32" y="87"/>
                  </a:cubicBezTo>
                  <a:cubicBezTo>
                    <a:pt x="30" y="84"/>
                    <a:pt x="33" y="81"/>
                    <a:pt x="29" y="81"/>
                  </a:cubicBezTo>
                  <a:cubicBezTo>
                    <a:pt x="27" y="79"/>
                    <a:pt x="20" y="75"/>
                    <a:pt x="18" y="73"/>
                  </a:cubicBezTo>
                  <a:cubicBezTo>
                    <a:pt x="15" y="70"/>
                    <a:pt x="14" y="65"/>
                    <a:pt x="12" y="63"/>
                  </a:cubicBezTo>
                  <a:cubicBezTo>
                    <a:pt x="7" y="61"/>
                    <a:pt x="9" y="60"/>
                    <a:pt x="3" y="59"/>
                  </a:cubicBezTo>
                  <a:cubicBezTo>
                    <a:pt x="2" y="58"/>
                    <a:pt x="0" y="59"/>
                    <a:pt x="0" y="57"/>
                  </a:cubicBezTo>
                  <a:cubicBezTo>
                    <a:pt x="0" y="53"/>
                    <a:pt x="1" y="50"/>
                    <a:pt x="4" y="49"/>
                  </a:cubicBezTo>
                  <a:cubicBezTo>
                    <a:pt x="6" y="45"/>
                    <a:pt x="8" y="38"/>
                    <a:pt x="9" y="35"/>
                  </a:cubicBezTo>
                  <a:cubicBezTo>
                    <a:pt x="10" y="32"/>
                    <a:pt x="11" y="32"/>
                    <a:pt x="13" y="30"/>
                  </a:cubicBezTo>
                  <a:cubicBezTo>
                    <a:pt x="16" y="26"/>
                    <a:pt x="18" y="28"/>
                    <a:pt x="25" y="28"/>
                  </a:cubicBezTo>
                  <a:cubicBezTo>
                    <a:pt x="29" y="29"/>
                    <a:pt x="32" y="35"/>
                    <a:pt x="35" y="37"/>
                  </a:cubicBezTo>
                  <a:cubicBezTo>
                    <a:pt x="35" y="42"/>
                    <a:pt x="39" y="39"/>
                    <a:pt x="44" y="38"/>
                  </a:cubicBezTo>
                  <a:cubicBezTo>
                    <a:pt x="48" y="39"/>
                    <a:pt x="55" y="42"/>
                    <a:pt x="59" y="42"/>
                  </a:cubicBezTo>
                  <a:cubicBezTo>
                    <a:pt x="62" y="42"/>
                    <a:pt x="66" y="43"/>
                    <a:pt x="69" y="41"/>
                  </a:cubicBezTo>
                  <a:cubicBezTo>
                    <a:pt x="70" y="40"/>
                    <a:pt x="69" y="39"/>
                    <a:pt x="70" y="39"/>
                  </a:cubicBezTo>
                  <a:cubicBezTo>
                    <a:pt x="72" y="37"/>
                    <a:pt x="78" y="33"/>
                    <a:pt x="81" y="31"/>
                  </a:cubicBezTo>
                  <a:cubicBezTo>
                    <a:pt x="83" y="30"/>
                    <a:pt x="87" y="27"/>
                    <a:pt x="87" y="27"/>
                  </a:cubicBezTo>
                  <a:lnTo>
                    <a:pt x="101" y="37"/>
                  </a:lnTo>
                  <a:lnTo>
                    <a:pt x="107" y="37"/>
                  </a:lnTo>
                  <a:lnTo>
                    <a:pt x="116" y="26"/>
                  </a:lnTo>
                  <a:lnTo>
                    <a:pt x="123" y="20"/>
                  </a:lnTo>
                  <a:lnTo>
                    <a:pt x="124" y="8"/>
                  </a:lnTo>
                  <a:lnTo>
                    <a:pt x="119" y="4"/>
                  </a:lnTo>
                  <a:cubicBezTo>
                    <a:pt x="129" y="4"/>
                    <a:pt x="129" y="6"/>
                    <a:pt x="130" y="0"/>
                  </a:cubicBezTo>
                  <a:cubicBezTo>
                    <a:pt x="136" y="1"/>
                    <a:pt x="132" y="10"/>
                    <a:pt x="134" y="15"/>
                  </a:cubicBezTo>
                  <a:cubicBezTo>
                    <a:pt x="135" y="20"/>
                    <a:pt x="135" y="24"/>
                    <a:pt x="141" y="25"/>
                  </a:cubicBezTo>
                  <a:cubicBezTo>
                    <a:pt x="143" y="29"/>
                    <a:pt x="147" y="36"/>
                    <a:pt x="147" y="41"/>
                  </a:cubicBezTo>
                  <a:cubicBezTo>
                    <a:pt x="147" y="48"/>
                    <a:pt x="151" y="53"/>
                    <a:pt x="144" y="54"/>
                  </a:cubicBezTo>
                  <a:cubicBezTo>
                    <a:pt x="142" y="58"/>
                    <a:pt x="140" y="56"/>
                    <a:pt x="136" y="56"/>
                  </a:cubicBezTo>
                  <a:cubicBezTo>
                    <a:pt x="132" y="57"/>
                    <a:pt x="132" y="59"/>
                    <a:pt x="132" y="63"/>
                  </a:cubicBezTo>
                  <a:cubicBezTo>
                    <a:pt x="133" y="69"/>
                    <a:pt x="131" y="66"/>
                    <a:pt x="140" y="66"/>
                  </a:cubicBezTo>
                  <a:cubicBezTo>
                    <a:pt x="143" y="69"/>
                    <a:pt x="150" y="77"/>
                    <a:pt x="153" y="80"/>
                  </a:cubicBezTo>
                  <a:cubicBezTo>
                    <a:pt x="154" y="82"/>
                    <a:pt x="157" y="82"/>
                    <a:pt x="159" y="85"/>
                  </a:cubicBezTo>
                  <a:cubicBezTo>
                    <a:pt x="161" y="88"/>
                    <a:pt x="163" y="95"/>
                    <a:pt x="164" y="98"/>
                  </a:cubicBezTo>
                  <a:cubicBezTo>
                    <a:pt x="164" y="99"/>
                    <a:pt x="164" y="101"/>
                    <a:pt x="166" y="101"/>
                  </a:cubicBezTo>
                  <a:cubicBezTo>
                    <a:pt x="175" y="102"/>
                    <a:pt x="177" y="113"/>
                    <a:pt x="177" y="113"/>
                  </a:cubicBezTo>
                  <a:close/>
                </a:path>
              </a:pathLst>
            </a:custGeom>
            <a:solidFill>
              <a:schemeClr val="bg1">
                <a:lumMod val="85000"/>
              </a:schemeClr>
            </a:solidFill>
            <a:ln w="9525" cap="flat" cmpd="sng">
              <a:solidFill>
                <a:schemeClr val="bg1"/>
              </a:solidFill>
              <a:prstDash val="solid"/>
              <a:round/>
              <a:headEnd type="none" w="med" len="med"/>
              <a:tailEnd type="none" w="med" len="med"/>
            </a:ln>
            <a:effectLst/>
            <a:extLst/>
          </p:spPr>
          <p:txBody>
            <a:bodyPr>
              <a:noAutofit/>
            </a:bodyPr>
            <a:lstStyle/>
            <a:p>
              <a:pPr fontAlgn="auto">
                <a:spcBef>
                  <a:spcPts val="0"/>
                </a:spcBef>
                <a:spcAft>
                  <a:spcPts val="0"/>
                </a:spcAft>
                <a:defRPr/>
              </a:pPr>
              <a:endParaRPr lang="en-CA" kern="0">
                <a:solidFill>
                  <a:sysClr val="windowText" lastClr="000000"/>
                </a:solidFill>
              </a:endParaRPr>
            </a:p>
          </p:txBody>
        </p:sp>
        <p:sp>
          <p:nvSpPr>
            <p:cNvPr id="505" name="Freeform 15"/>
            <p:cNvSpPr>
              <a:spLocks noEditPoints="1"/>
            </p:cNvSpPr>
            <p:nvPr/>
          </p:nvSpPr>
          <p:spPr bwMode="auto">
            <a:xfrm>
              <a:off x="655843" y="1189963"/>
              <a:ext cx="1072872" cy="834251"/>
            </a:xfrm>
            <a:custGeom>
              <a:avLst/>
              <a:gdLst>
                <a:gd name="T0" fmla="*/ 332 w 1304"/>
                <a:gd name="T1" fmla="*/ 24 h 1052"/>
                <a:gd name="T2" fmla="*/ 186 w 1304"/>
                <a:gd name="T3" fmla="*/ 848 h 1052"/>
                <a:gd name="T4" fmla="*/ 1284 w 1304"/>
                <a:gd name="T5" fmla="*/ 886 h 1052"/>
                <a:gd name="T6" fmla="*/ 1244 w 1304"/>
                <a:gd name="T7" fmla="*/ 788 h 1052"/>
                <a:gd name="T8" fmla="*/ 1182 w 1304"/>
                <a:gd name="T9" fmla="*/ 736 h 1052"/>
                <a:gd name="T10" fmla="*/ 1112 w 1304"/>
                <a:gd name="T11" fmla="*/ 650 h 1052"/>
                <a:gd name="T12" fmla="*/ 1052 w 1304"/>
                <a:gd name="T13" fmla="*/ 618 h 1052"/>
                <a:gd name="T14" fmla="*/ 930 w 1304"/>
                <a:gd name="T15" fmla="*/ 546 h 1052"/>
                <a:gd name="T16" fmla="*/ 906 w 1304"/>
                <a:gd name="T17" fmla="*/ 762 h 1052"/>
                <a:gd name="T18" fmla="*/ 744 w 1304"/>
                <a:gd name="T19" fmla="*/ 694 h 1052"/>
                <a:gd name="T20" fmla="*/ 750 w 1304"/>
                <a:gd name="T21" fmla="*/ 514 h 1052"/>
                <a:gd name="T22" fmla="*/ 790 w 1304"/>
                <a:gd name="T23" fmla="*/ 506 h 1052"/>
                <a:gd name="T24" fmla="*/ 870 w 1304"/>
                <a:gd name="T25" fmla="*/ 482 h 1052"/>
                <a:gd name="T26" fmla="*/ 872 w 1304"/>
                <a:gd name="T27" fmla="*/ 294 h 1052"/>
                <a:gd name="T28" fmla="*/ 916 w 1304"/>
                <a:gd name="T29" fmla="*/ 252 h 1052"/>
                <a:gd name="T30" fmla="*/ 988 w 1304"/>
                <a:gd name="T31" fmla="*/ 414 h 1052"/>
                <a:gd name="T32" fmla="*/ 952 w 1304"/>
                <a:gd name="T33" fmla="*/ 488 h 1052"/>
                <a:gd name="T34" fmla="*/ 1072 w 1304"/>
                <a:gd name="T35" fmla="*/ 554 h 1052"/>
                <a:gd name="T36" fmla="*/ 1114 w 1304"/>
                <a:gd name="T37" fmla="*/ 500 h 1052"/>
                <a:gd name="T38" fmla="*/ 1132 w 1304"/>
                <a:gd name="T39" fmla="*/ 392 h 1052"/>
                <a:gd name="T40" fmla="*/ 1028 w 1304"/>
                <a:gd name="T41" fmla="*/ 256 h 1052"/>
                <a:gd name="T42" fmla="*/ 962 w 1304"/>
                <a:gd name="T43" fmla="*/ 198 h 1052"/>
                <a:gd name="T44" fmla="*/ 920 w 1304"/>
                <a:gd name="T45" fmla="*/ 192 h 1052"/>
                <a:gd name="T46" fmla="*/ 820 w 1304"/>
                <a:gd name="T47" fmla="*/ 142 h 1052"/>
                <a:gd name="T48" fmla="*/ 824 w 1304"/>
                <a:gd name="T49" fmla="*/ 98 h 1052"/>
                <a:gd name="T50" fmla="*/ 794 w 1304"/>
                <a:gd name="T51" fmla="*/ 270 h 1052"/>
                <a:gd name="T52" fmla="*/ 764 w 1304"/>
                <a:gd name="T53" fmla="*/ 304 h 1052"/>
                <a:gd name="T54" fmla="*/ 658 w 1304"/>
                <a:gd name="T55" fmla="*/ 266 h 1052"/>
                <a:gd name="T56" fmla="*/ 626 w 1304"/>
                <a:gd name="T57" fmla="*/ 330 h 1052"/>
                <a:gd name="T58" fmla="*/ 478 w 1304"/>
                <a:gd name="T59" fmla="*/ 382 h 1052"/>
                <a:gd name="T60" fmla="*/ 418 w 1304"/>
                <a:gd name="T61" fmla="*/ 346 h 1052"/>
                <a:gd name="T62" fmla="*/ 580 w 1304"/>
                <a:gd name="T63" fmla="*/ 320 h 1052"/>
                <a:gd name="T64" fmla="*/ 538 w 1304"/>
                <a:gd name="T65" fmla="*/ 106 h 1052"/>
                <a:gd name="T66" fmla="*/ 448 w 1304"/>
                <a:gd name="T67" fmla="*/ 166 h 1052"/>
                <a:gd name="T68" fmla="*/ 380 w 1304"/>
                <a:gd name="T69" fmla="*/ 114 h 1052"/>
                <a:gd name="T70" fmla="*/ 242 w 1304"/>
                <a:gd name="T71" fmla="*/ 86 h 1052"/>
                <a:gd name="T72" fmla="*/ 276 w 1304"/>
                <a:gd name="T73" fmla="*/ 228 h 1052"/>
                <a:gd name="T74" fmla="*/ 334 w 1304"/>
                <a:gd name="T75" fmla="*/ 172 h 1052"/>
                <a:gd name="T76" fmla="*/ 392 w 1304"/>
                <a:gd name="T77" fmla="*/ 252 h 1052"/>
                <a:gd name="T78" fmla="*/ 402 w 1304"/>
                <a:gd name="T79" fmla="*/ 316 h 1052"/>
                <a:gd name="T80" fmla="*/ 228 w 1304"/>
                <a:gd name="T81" fmla="*/ 266 h 1052"/>
                <a:gd name="T82" fmla="*/ 152 w 1304"/>
                <a:gd name="T83" fmla="*/ 306 h 1052"/>
                <a:gd name="T84" fmla="*/ 18 w 1304"/>
                <a:gd name="T85" fmla="*/ 288 h 1052"/>
                <a:gd name="T86" fmla="*/ 112 w 1304"/>
                <a:gd name="T87" fmla="*/ 756 h 1052"/>
                <a:gd name="T88" fmla="*/ 702 w 1304"/>
                <a:gd name="T89" fmla="*/ 912 h 1052"/>
                <a:gd name="T90" fmla="*/ 834 w 1304"/>
                <a:gd name="T91" fmla="*/ 948 h 1052"/>
                <a:gd name="T92" fmla="*/ 858 w 1304"/>
                <a:gd name="T93" fmla="*/ 1038 h 1052"/>
                <a:gd name="T94" fmla="*/ 1076 w 1304"/>
                <a:gd name="T95" fmla="*/ 932 h 1052"/>
                <a:gd name="T96" fmla="*/ 1194 w 1304"/>
                <a:gd name="T97" fmla="*/ 936 h 1052"/>
                <a:gd name="T98" fmla="*/ 1102 w 1304"/>
                <a:gd name="T99" fmla="*/ 910 h 1052"/>
                <a:gd name="T100" fmla="*/ 1134 w 1304"/>
                <a:gd name="T101" fmla="*/ 872 h 1052"/>
                <a:gd name="T102" fmla="*/ 1194 w 1304"/>
                <a:gd name="T103" fmla="*/ 920 h 1052"/>
                <a:gd name="T104" fmla="*/ 772 w 1304"/>
                <a:gd name="T105" fmla="*/ 446 h 1052"/>
                <a:gd name="T106" fmla="*/ 126 w 1304"/>
                <a:gd name="T107" fmla="*/ 772 h 1052"/>
                <a:gd name="T108" fmla="*/ 588 w 1304"/>
                <a:gd name="T109" fmla="*/ 154 h 1052"/>
                <a:gd name="T110" fmla="*/ 654 w 1304"/>
                <a:gd name="T111" fmla="*/ 204 h 1052"/>
                <a:gd name="T112" fmla="*/ 674 w 1304"/>
                <a:gd name="T113" fmla="*/ 90 h 1052"/>
                <a:gd name="T114" fmla="*/ 740 w 1304"/>
                <a:gd name="T115" fmla="*/ 118 h 1052"/>
                <a:gd name="T116" fmla="*/ 948 w 1304"/>
                <a:gd name="T117" fmla="*/ 140 h 1052"/>
                <a:gd name="T118" fmla="*/ 972 w 1304"/>
                <a:gd name="T119" fmla="*/ 352 h 1052"/>
                <a:gd name="T120" fmla="*/ 870 w 1304"/>
                <a:gd name="T121" fmla="*/ 536 h 1052"/>
                <a:gd name="T122" fmla="*/ 898 w 1304"/>
                <a:gd name="T123" fmla="*/ 644 h 1052"/>
                <a:gd name="T124" fmla="*/ 1160 w 1304"/>
                <a:gd name="T125" fmla="*/ 892 h 10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04" h="1052">
                  <a:moveTo>
                    <a:pt x="650" y="32"/>
                  </a:moveTo>
                  <a:lnTo>
                    <a:pt x="650" y="32"/>
                  </a:lnTo>
                  <a:lnTo>
                    <a:pt x="650" y="34"/>
                  </a:lnTo>
                  <a:lnTo>
                    <a:pt x="650" y="34"/>
                  </a:lnTo>
                  <a:lnTo>
                    <a:pt x="650" y="34"/>
                  </a:lnTo>
                  <a:lnTo>
                    <a:pt x="650" y="34"/>
                  </a:lnTo>
                  <a:lnTo>
                    <a:pt x="650" y="34"/>
                  </a:lnTo>
                  <a:lnTo>
                    <a:pt x="698" y="54"/>
                  </a:lnTo>
                  <a:lnTo>
                    <a:pt x="698" y="54"/>
                  </a:lnTo>
                  <a:lnTo>
                    <a:pt x="700" y="54"/>
                  </a:lnTo>
                  <a:lnTo>
                    <a:pt x="700" y="54"/>
                  </a:lnTo>
                  <a:lnTo>
                    <a:pt x="702" y="50"/>
                  </a:lnTo>
                  <a:lnTo>
                    <a:pt x="702" y="22"/>
                  </a:lnTo>
                  <a:lnTo>
                    <a:pt x="702" y="22"/>
                  </a:lnTo>
                  <a:lnTo>
                    <a:pt x="700" y="20"/>
                  </a:lnTo>
                  <a:lnTo>
                    <a:pt x="680" y="2"/>
                  </a:lnTo>
                  <a:lnTo>
                    <a:pt x="680" y="2"/>
                  </a:lnTo>
                  <a:lnTo>
                    <a:pt x="678" y="0"/>
                  </a:lnTo>
                  <a:lnTo>
                    <a:pt x="670" y="0"/>
                  </a:lnTo>
                  <a:lnTo>
                    <a:pt x="670" y="0"/>
                  </a:lnTo>
                  <a:lnTo>
                    <a:pt x="668" y="2"/>
                  </a:lnTo>
                  <a:lnTo>
                    <a:pt x="650" y="30"/>
                  </a:lnTo>
                  <a:lnTo>
                    <a:pt x="650" y="30"/>
                  </a:lnTo>
                  <a:lnTo>
                    <a:pt x="650" y="30"/>
                  </a:lnTo>
                  <a:lnTo>
                    <a:pt x="650" y="30"/>
                  </a:lnTo>
                  <a:lnTo>
                    <a:pt x="648" y="30"/>
                  </a:lnTo>
                  <a:lnTo>
                    <a:pt x="648" y="30"/>
                  </a:lnTo>
                  <a:lnTo>
                    <a:pt x="648" y="32"/>
                  </a:lnTo>
                  <a:lnTo>
                    <a:pt x="648" y="32"/>
                  </a:lnTo>
                  <a:lnTo>
                    <a:pt x="648" y="32"/>
                  </a:lnTo>
                  <a:lnTo>
                    <a:pt x="648" y="32"/>
                  </a:lnTo>
                  <a:lnTo>
                    <a:pt x="650" y="32"/>
                  </a:lnTo>
                  <a:lnTo>
                    <a:pt x="650" y="32"/>
                  </a:lnTo>
                  <a:close/>
                  <a:moveTo>
                    <a:pt x="718" y="54"/>
                  </a:moveTo>
                  <a:lnTo>
                    <a:pt x="802" y="72"/>
                  </a:lnTo>
                  <a:lnTo>
                    <a:pt x="802" y="72"/>
                  </a:lnTo>
                  <a:lnTo>
                    <a:pt x="802" y="72"/>
                  </a:lnTo>
                  <a:lnTo>
                    <a:pt x="832" y="72"/>
                  </a:lnTo>
                  <a:lnTo>
                    <a:pt x="832" y="72"/>
                  </a:lnTo>
                  <a:lnTo>
                    <a:pt x="834" y="72"/>
                  </a:lnTo>
                  <a:lnTo>
                    <a:pt x="852" y="54"/>
                  </a:lnTo>
                  <a:lnTo>
                    <a:pt x="870" y="62"/>
                  </a:lnTo>
                  <a:lnTo>
                    <a:pt x="870" y="62"/>
                  </a:lnTo>
                  <a:lnTo>
                    <a:pt x="874" y="62"/>
                  </a:lnTo>
                  <a:lnTo>
                    <a:pt x="900" y="52"/>
                  </a:lnTo>
                  <a:lnTo>
                    <a:pt x="900" y="52"/>
                  </a:lnTo>
                  <a:lnTo>
                    <a:pt x="902" y="50"/>
                  </a:lnTo>
                  <a:lnTo>
                    <a:pt x="908" y="10"/>
                  </a:lnTo>
                  <a:lnTo>
                    <a:pt x="908" y="10"/>
                  </a:lnTo>
                  <a:lnTo>
                    <a:pt x="908" y="8"/>
                  </a:lnTo>
                  <a:lnTo>
                    <a:pt x="908" y="8"/>
                  </a:lnTo>
                  <a:lnTo>
                    <a:pt x="906" y="6"/>
                  </a:lnTo>
                  <a:lnTo>
                    <a:pt x="718" y="4"/>
                  </a:lnTo>
                  <a:lnTo>
                    <a:pt x="718" y="4"/>
                  </a:lnTo>
                  <a:lnTo>
                    <a:pt x="714" y="6"/>
                  </a:lnTo>
                  <a:lnTo>
                    <a:pt x="714" y="8"/>
                  </a:lnTo>
                  <a:lnTo>
                    <a:pt x="714" y="8"/>
                  </a:lnTo>
                  <a:lnTo>
                    <a:pt x="714" y="10"/>
                  </a:lnTo>
                  <a:lnTo>
                    <a:pt x="716" y="50"/>
                  </a:lnTo>
                  <a:lnTo>
                    <a:pt x="716" y="50"/>
                  </a:lnTo>
                  <a:lnTo>
                    <a:pt x="718" y="54"/>
                  </a:lnTo>
                  <a:lnTo>
                    <a:pt x="718" y="54"/>
                  </a:lnTo>
                  <a:close/>
                  <a:moveTo>
                    <a:pt x="592" y="34"/>
                  </a:moveTo>
                  <a:lnTo>
                    <a:pt x="592" y="34"/>
                  </a:lnTo>
                  <a:lnTo>
                    <a:pt x="594" y="34"/>
                  </a:lnTo>
                  <a:lnTo>
                    <a:pt x="622" y="34"/>
                  </a:lnTo>
                  <a:lnTo>
                    <a:pt x="622" y="34"/>
                  </a:lnTo>
                  <a:lnTo>
                    <a:pt x="624" y="32"/>
                  </a:lnTo>
                  <a:lnTo>
                    <a:pt x="634" y="12"/>
                  </a:lnTo>
                  <a:lnTo>
                    <a:pt x="634" y="12"/>
                  </a:lnTo>
                  <a:lnTo>
                    <a:pt x="636" y="10"/>
                  </a:lnTo>
                  <a:lnTo>
                    <a:pt x="636" y="10"/>
                  </a:lnTo>
                  <a:lnTo>
                    <a:pt x="636" y="8"/>
                  </a:lnTo>
                  <a:lnTo>
                    <a:pt x="636" y="8"/>
                  </a:lnTo>
                  <a:lnTo>
                    <a:pt x="636" y="6"/>
                  </a:lnTo>
                  <a:lnTo>
                    <a:pt x="634" y="6"/>
                  </a:lnTo>
                  <a:lnTo>
                    <a:pt x="634" y="6"/>
                  </a:lnTo>
                  <a:lnTo>
                    <a:pt x="632" y="6"/>
                  </a:lnTo>
                  <a:lnTo>
                    <a:pt x="630" y="6"/>
                  </a:lnTo>
                  <a:lnTo>
                    <a:pt x="630" y="6"/>
                  </a:lnTo>
                  <a:lnTo>
                    <a:pt x="556" y="4"/>
                  </a:lnTo>
                  <a:lnTo>
                    <a:pt x="556" y="4"/>
                  </a:lnTo>
                  <a:lnTo>
                    <a:pt x="552" y="6"/>
                  </a:lnTo>
                  <a:lnTo>
                    <a:pt x="552" y="6"/>
                  </a:lnTo>
                  <a:lnTo>
                    <a:pt x="552" y="8"/>
                  </a:lnTo>
                  <a:lnTo>
                    <a:pt x="554" y="10"/>
                  </a:lnTo>
                  <a:lnTo>
                    <a:pt x="592" y="34"/>
                  </a:lnTo>
                  <a:close/>
                  <a:moveTo>
                    <a:pt x="330" y="22"/>
                  </a:moveTo>
                  <a:lnTo>
                    <a:pt x="330" y="22"/>
                  </a:lnTo>
                  <a:lnTo>
                    <a:pt x="332" y="24"/>
                  </a:lnTo>
                  <a:lnTo>
                    <a:pt x="332" y="24"/>
                  </a:lnTo>
                  <a:lnTo>
                    <a:pt x="332" y="24"/>
                  </a:lnTo>
                  <a:lnTo>
                    <a:pt x="332" y="24"/>
                  </a:lnTo>
                  <a:lnTo>
                    <a:pt x="332" y="24"/>
                  </a:lnTo>
                  <a:lnTo>
                    <a:pt x="332" y="24"/>
                  </a:lnTo>
                  <a:lnTo>
                    <a:pt x="332" y="24"/>
                  </a:lnTo>
                  <a:lnTo>
                    <a:pt x="332" y="24"/>
                  </a:lnTo>
                  <a:lnTo>
                    <a:pt x="332" y="26"/>
                  </a:lnTo>
                  <a:lnTo>
                    <a:pt x="332" y="26"/>
                  </a:lnTo>
                  <a:lnTo>
                    <a:pt x="332" y="26"/>
                  </a:lnTo>
                  <a:lnTo>
                    <a:pt x="332" y="26"/>
                  </a:lnTo>
                  <a:lnTo>
                    <a:pt x="334" y="26"/>
                  </a:lnTo>
                  <a:lnTo>
                    <a:pt x="334" y="26"/>
                  </a:lnTo>
                  <a:lnTo>
                    <a:pt x="334" y="26"/>
                  </a:lnTo>
                  <a:lnTo>
                    <a:pt x="372" y="34"/>
                  </a:lnTo>
                  <a:lnTo>
                    <a:pt x="372" y="34"/>
                  </a:lnTo>
                  <a:lnTo>
                    <a:pt x="374" y="32"/>
                  </a:lnTo>
                  <a:lnTo>
                    <a:pt x="382" y="26"/>
                  </a:lnTo>
                  <a:lnTo>
                    <a:pt x="398" y="38"/>
                  </a:lnTo>
                  <a:lnTo>
                    <a:pt x="382" y="48"/>
                  </a:lnTo>
                  <a:lnTo>
                    <a:pt x="382" y="48"/>
                  </a:lnTo>
                  <a:lnTo>
                    <a:pt x="380" y="50"/>
                  </a:lnTo>
                  <a:lnTo>
                    <a:pt x="380" y="50"/>
                  </a:lnTo>
                  <a:lnTo>
                    <a:pt x="380" y="52"/>
                  </a:lnTo>
                  <a:lnTo>
                    <a:pt x="390" y="62"/>
                  </a:lnTo>
                  <a:lnTo>
                    <a:pt x="390" y="62"/>
                  </a:lnTo>
                  <a:lnTo>
                    <a:pt x="390" y="62"/>
                  </a:lnTo>
                  <a:lnTo>
                    <a:pt x="410" y="72"/>
                  </a:lnTo>
                  <a:lnTo>
                    <a:pt x="410" y="72"/>
                  </a:lnTo>
                  <a:lnTo>
                    <a:pt x="412" y="72"/>
                  </a:lnTo>
                  <a:lnTo>
                    <a:pt x="460" y="34"/>
                  </a:lnTo>
                  <a:lnTo>
                    <a:pt x="506" y="34"/>
                  </a:lnTo>
                  <a:lnTo>
                    <a:pt x="506" y="34"/>
                  </a:lnTo>
                  <a:lnTo>
                    <a:pt x="508" y="32"/>
                  </a:lnTo>
                  <a:lnTo>
                    <a:pt x="510" y="30"/>
                  </a:lnTo>
                  <a:lnTo>
                    <a:pt x="512" y="8"/>
                  </a:lnTo>
                  <a:lnTo>
                    <a:pt x="512" y="8"/>
                  </a:lnTo>
                  <a:lnTo>
                    <a:pt x="512" y="6"/>
                  </a:lnTo>
                  <a:lnTo>
                    <a:pt x="512" y="6"/>
                  </a:lnTo>
                  <a:lnTo>
                    <a:pt x="510" y="4"/>
                  </a:lnTo>
                  <a:lnTo>
                    <a:pt x="340" y="4"/>
                  </a:lnTo>
                  <a:lnTo>
                    <a:pt x="340" y="4"/>
                  </a:lnTo>
                  <a:lnTo>
                    <a:pt x="338" y="6"/>
                  </a:lnTo>
                  <a:lnTo>
                    <a:pt x="332" y="22"/>
                  </a:lnTo>
                  <a:lnTo>
                    <a:pt x="332" y="22"/>
                  </a:lnTo>
                  <a:lnTo>
                    <a:pt x="332" y="22"/>
                  </a:lnTo>
                  <a:lnTo>
                    <a:pt x="332" y="22"/>
                  </a:lnTo>
                  <a:lnTo>
                    <a:pt x="330" y="22"/>
                  </a:lnTo>
                  <a:lnTo>
                    <a:pt x="330" y="22"/>
                  </a:lnTo>
                  <a:lnTo>
                    <a:pt x="330" y="22"/>
                  </a:lnTo>
                  <a:lnTo>
                    <a:pt x="330" y="22"/>
                  </a:lnTo>
                  <a:lnTo>
                    <a:pt x="330" y="22"/>
                  </a:lnTo>
                  <a:lnTo>
                    <a:pt x="330" y="22"/>
                  </a:lnTo>
                  <a:close/>
                  <a:moveTo>
                    <a:pt x="292" y="926"/>
                  </a:moveTo>
                  <a:lnTo>
                    <a:pt x="290" y="922"/>
                  </a:lnTo>
                  <a:lnTo>
                    <a:pt x="288" y="918"/>
                  </a:lnTo>
                  <a:lnTo>
                    <a:pt x="286" y="914"/>
                  </a:lnTo>
                  <a:lnTo>
                    <a:pt x="282" y="910"/>
                  </a:lnTo>
                  <a:lnTo>
                    <a:pt x="280" y="908"/>
                  </a:lnTo>
                  <a:lnTo>
                    <a:pt x="274" y="902"/>
                  </a:lnTo>
                  <a:lnTo>
                    <a:pt x="268" y="896"/>
                  </a:lnTo>
                  <a:lnTo>
                    <a:pt x="264" y="892"/>
                  </a:lnTo>
                  <a:lnTo>
                    <a:pt x="260" y="888"/>
                  </a:lnTo>
                  <a:lnTo>
                    <a:pt x="260" y="888"/>
                  </a:lnTo>
                  <a:lnTo>
                    <a:pt x="258" y="884"/>
                  </a:lnTo>
                  <a:lnTo>
                    <a:pt x="256" y="882"/>
                  </a:lnTo>
                  <a:lnTo>
                    <a:pt x="256" y="878"/>
                  </a:lnTo>
                  <a:lnTo>
                    <a:pt x="256" y="876"/>
                  </a:lnTo>
                  <a:lnTo>
                    <a:pt x="256" y="874"/>
                  </a:lnTo>
                  <a:lnTo>
                    <a:pt x="256" y="872"/>
                  </a:lnTo>
                  <a:lnTo>
                    <a:pt x="256" y="872"/>
                  </a:lnTo>
                  <a:lnTo>
                    <a:pt x="254" y="870"/>
                  </a:lnTo>
                  <a:lnTo>
                    <a:pt x="254" y="868"/>
                  </a:lnTo>
                  <a:lnTo>
                    <a:pt x="248" y="868"/>
                  </a:lnTo>
                  <a:lnTo>
                    <a:pt x="244" y="866"/>
                  </a:lnTo>
                  <a:lnTo>
                    <a:pt x="240" y="864"/>
                  </a:lnTo>
                  <a:lnTo>
                    <a:pt x="236" y="862"/>
                  </a:lnTo>
                  <a:lnTo>
                    <a:pt x="228" y="860"/>
                  </a:lnTo>
                  <a:lnTo>
                    <a:pt x="222" y="854"/>
                  </a:lnTo>
                  <a:lnTo>
                    <a:pt x="216" y="850"/>
                  </a:lnTo>
                  <a:lnTo>
                    <a:pt x="212" y="848"/>
                  </a:lnTo>
                  <a:lnTo>
                    <a:pt x="208" y="848"/>
                  </a:lnTo>
                  <a:lnTo>
                    <a:pt x="204" y="846"/>
                  </a:lnTo>
                  <a:lnTo>
                    <a:pt x="200" y="846"/>
                  </a:lnTo>
                  <a:lnTo>
                    <a:pt x="194" y="844"/>
                  </a:lnTo>
                  <a:lnTo>
                    <a:pt x="188" y="846"/>
                  </a:lnTo>
                  <a:lnTo>
                    <a:pt x="188" y="848"/>
                  </a:lnTo>
                  <a:lnTo>
                    <a:pt x="188" y="848"/>
                  </a:lnTo>
                  <a:lnTo>
                    <a:pt x="188" y="848"/>
                  </a:lnTo>
                  <a:lnTo>
                    <a:pt x="188" y="848"/>
                  </a:lnTo>
                  <a:lnTo>
                    <a:pt x="188" y="848"/>
                  </a:lnTo>
                  <a:lnTo>
                    <a:pt x="186" y="848"/>
                  </a:lnTo>
                  <a:lnTo>
                    <a:pt x="186" y="848"/>
                  </a:lnTo>
                  <a:lnTo>
                    <a:pt x="186" y="848"/>
                  </a:lnTo>
                  <a:lnTo>
                    <a:pt x="186" y="850"/>
                  </a:lnTo>
                  <a:lnTo>
                    <a:pt x="186" y="850"/>
                  </a:lnTo>
                  <a:lnTo>
                    <a:pt x="186" y="850"/>
                  </a:lnTo>
                  <a:lnTo>
                    <a:pt x="186" y="850"/>
                  </a:lnTo>
                  <a:lnTo>
                    <a:pt x="186" y="852"/>
                  </a:lnTo>
                  <a:lnTo>
                    <a:pt x="188" y="856"/>
                  </a:lnTo>
                  <a:lnTo>
                    <a:pt x="190" y="860"/>
                  </a:lnTo>
                  <a:lnTo>
                    <a:pt x="192" y="864"/>
                  </a:lnTo>
                  <a:lnTo>
                    <a:pt x="194" y="866"/>
                  </a:lnTo>
                  <a:lnTo>
                    <a:pt x="194" y="866"/>
                  </a:lnTo>
                  <a:lnTo>
                    <a:pt x="194" y="866"/>
                  </a:lnTo>
                  <a:lnTo>
                    <a:pt x="198" y="870"/>
                  </a:lnTo>
                  <a:lnTo>
                    <a:pt x="204" y="874"/>
                  </a:lnTo>
                  <a:lnTo>
                    <a:pt x="210" y="878"/>
                  </a:lnTo>
                  <a:lnTo>
                    <a:pt x="214" y="882"/>
                  </a:lnTo>
                  <a:lnTo>
                    <a:pt x="214" y="882"/>
                  </a:lnTo>
                  <a:lnTo>
                    <a:pt x="218" y="886"/>
                  </a:lnTo>
                  <a:lnTo>
                    <a:pt x="218" y="888"/>
                  </a:lnTo>
                  <a:lnTo>
                    <a:pt x="220" y="892"/>
                  </a:lnTo>
                  <a:lnTo>
                    <a:pt x="220" y="894"/>
                  </a:lnTo>
                  <a:lnTo>
                    <a:pt x="222" y="896"/>
                  </a:lnTo>
                  <a:lnTo>
                    <a:pt x="222" y="898"/>
                  </a:lnTo>
                  <a:lnTo>
                    <a:pt x="222" y="900"/>
                  </a:lnTo>
                  <a:lnTo>
                    <a:pt x="222" y="900"/>
                  </a:lnTo>
                  <a:lnTo>
                    <a:pt x="222" y="902"/>
                  </a:lnTo>
                  <a:lnTo>
                    <a:pt x="222" y="902"/>
                  </a:lnTo>
                  <a:lnTo>
                    <a:pt x="226" y="902"/>
                  </a:lnTo>
                  <a:lnTo>
                    <a:pt x="228" y="902"/>
                  </a:lnTo>
                  <a:lnTo>
                    <a:pt x="232" y="900"/>
                  </a:lnTo>
                  <a:lnTo>
                    <a:pt x="234" y="900"/>
                  </a:lnTo>
                  <a:lnTo>
                    <a:pt x="234" y="900"/>
                  </a:lnTo>
                  <a:lnTo>
                    <a:pt x="234" y="900"/>
                  </a:lnTo>
                  <a:lnTo>
                    <a:pt x="236" y="902"/>
                  </a:lnTo>
                  <a:lnTo>
                    <a:pt x="240" y="908"/>
                  </a:lnTo>
                  <a:lnTo>
                    <a:pt x="244" y="916"/>
                  </a:lnTo>
                  <a:lnTo>
                    <a:pt x="252" y="922"/>
                  </a:lnTo>
                  <a:lnTo>
                    <a:pt x="252" y="922"/>
                  </a:lnTo>
                  <a:lnTo>
                    <a:pt x="252" y="924"/>
                  </a:lnTo>
                  <a:lnTo>
                    <a:pt x="258" y="928"/>
                  </a:lnTo>
                  <a:lnTo>
                    <a:pt x="258" y="928"/>
                  </a:lnTo>
                  <a:lnTo>
                    <a:pt x="258" y="928"/>
                  </a:lnTo>
                  <a:lnTo>
                    <a:pt x="266" y="932"/>
                  </a:lnTo>
                  <a:lnTo>
                    <a:pt x="266" y="932"/>
                  </a:lnTo>
                  <a:lnTo>
                    <a:pt x="266" y="932"/>
                  </a:lnTo>
                  <a:lnTo>
                    <a:pt x="274" y="934"/>
                  </a:lnTo>
                  <a:lnTo>
                    <a:pt x="274" y="934"/>
                  </a:lnTo>
                  <a:lnTo>
                    <a:pt x="274" y="934"/>
                  </a:lnTo>
                  <a:lnTo>
                    <a:pt x="282" y="936"/>
                  </a:lnTo>
                  <a:lnTo>
                    <a:pt x="284" y="936"/>
                  </a:lnTo>
                  <a:lnTo>
                    <a:pt x="292" y="936"/>
                  </a:lnTo>
                  <a:lnTo>
                    <a:pt x="292" y="936"/>
                  </a:lnTo>
                  <a:lnTo>
                    <a:pt x="294" y="934"/>
                  </a:lnTo>
                  <a:lnTo>
                    <a:pt x="294" y="934"/>
                  </a:lnTo>
                  <a:lnTo>
                    <a:pt x="294" y="932"/>
                  </a:lnTo>
                  <a:lnTo>
                    <a:pt x="292" y="926"/>
                  </a:lnTo>
                  <a:close/>
                  <a:moveTo>
                    <a:pt x="1304" y="932"/>
                  </a:moveTo>
                  <a:lnTo>
                    <a:pt x="1302" y="928"/>
                  </a:lnTo>
                  <a:lnTo>
                    <a:pt x="1302" y="930"/>
                  </a:lnTo>
                  <a:lnTo>
                    <a:pt x="1302" y="926"/>
                  </a:lnTo>
                  <a:lnTo>
                    <a:pt x="1300" y="924"/>
                  </a:lnTo>
                  <a:lnTo>
                    <a:pt x="1300" y="922"/>
                  </a:lnTo>
                  <a:lnTo>
                    <a:pt x="1300" y="922"/>
                  </a:lnTo>
                  <a:lnTo>
                    <a:pt x="1300" y="920"/>
                  </a:lnTo>
                  <a:lnTo>
                    <a:pt x="1300" y="918"/>
                  </a:lnTo>
                  <a:lnTo>
                    <a:pt x="1300" y="918"/>
                  </a:lnTo>
                  <a:lnTo>
                    <a:pt x="1298" y="918"/>
                  </a:lnTo>
                  <a:lnTo>
                    <a:pt x="1298" y="916"/>
                  </a:lnTo>
                  <a:lnTo>
                    <a:pt x="1298" y="916"/>
                  </a:lnTo>
                  <a:lnTo>
                    <a:pt x="1296" y="916"/>
                  </a:lnTo>
                  <a:lnTo>
                    <a:pt x="1296" y="916"/>
                  </a:lnTo>
                  <a:lnTo>
                    <a:pt x="1296" y="914"/>
                  </a:lnTo>
                  <a:lnTo>
                    <a:pt x="1298" y="910"/>
                  </a:lnTo>
                  <a:lnTo>
                    <a:pt x="1298" y="908"/>
                  </a:lnTo>
                  <a:lnTo>
                    <a:pt x="1298" y="908"/>
                  </a:lnTo>
                  <a:lnTo>
                    <a:pt x="1298" y="906"/>
                  </a:lnTo>
                  <a:lnTo>
                    <a:pt x="1298" y="906"/>
                  </a:lnTo>
                  <a:lnTo>
                    <a:pt x="1298" y="904"/>
                  </a:lnTo>
                  <a:lnTo>
                    <a:pt x="1298" y="902"/>
                  </a:lnTo>
                  <a:lnTo>
                    <a:pt x="1298" y="902"/>
                  </a:lnTo>
                  <a:lnTo>
                    <a:pt x="1296" y="902"/>
                  </a:lnTo>
                  <a:lnTo>
                    <a:pt x="1294" y="900"/>
                  </a:lnTo>
                  <a:lnTo>
                    <a:pt x="1294" y="900"/>
                  </a:lnTo>
                  <a:lnTo>
                    <a:pt x="1294" y="898"/>
                  </a:lnTo>
                  <a:lnTo>
                    <a:pt x="1292" y="898"/>
                  </a:lnTo>
                  <a:lnTo>
                    <a:pt x="1292" y="898"/>
                  </a:lnTo>
                  <a:lnTo>
                    <a:pt x="1290" y="898"/>
                  </a:lnTo>
                  <a:lnTo>
                    <a:pt x="1288" y="898"/>
                  </a:lnTo>
                  <a:lnTo>
                    <a:pt x="1288" y="898"/>
                  </a:lnTo>
                  <a:lnTo>
                    <a:pt x="1288" y="896"/>
                  </a:lnTo>
                  <a:lnTo>
                    <a:pt x="1286" y="892"/>
                  </a:lnTo>
                  <a:lnTo>
                    <a:pt x="1286" y="888"/>
                  </a:lnTo>
                  <a:lnTo>
                    <a:pt x="1284" y="886"/>
                  </a:lnTo>
                  <a:lnTo>
                    <a:pt x="1284" y="886"/>
                  </a:lnTo>
                  <a:lnTo>
                    <a:pt x="1284" y="884"/>
                  </a:lnTo>
                  <a:lnTo>
                    <a:pt x="1282" y="882"/>
                  </a:lnTo>
                  <a:lnTo>
                    <a:pt x="1282" y="882"/>
                  </a:lnTo>
                  <a:lnTo>
                    <a:pt x="1282" y="882"/>
                  </a:lnTo>
                  <a:lnTo>
                    <a:pt x="1280" y="880"/>
                  </a:lnTo>
                  <a:lnTo>
                    <a:pt x="1280" y="880"/>
                  </a:lnTo>
                  <a:lnTo>
                    <a:pt x="1280" y="880"/>
                  </a:lnTo>
                  <a:lnTo>
                    <a:pt x="1276" y="878"/>
                  </a:lnTo>
                  <a:lnTo>
                    <a:pt x="1276" y="878"/>
                  </a:lnTo>
                  <a:lnTo>
                    <a:pt x="1274" y="878"/>
                  </a:lnTo>
                  <a:lnTo>
                    <a:pt x="1270" y="878"/>
                  </a:lnTo>
                  <a:lnTo>
                    <a:pt x="1266" y="880"/>
                  </a:lnTo>
                  <a:lnTo>
                    <a:pt x="1262" y="880"/>
                  </a:lnTo>
                  <a:lnTo>
                    <a:pt x="1260" y="880"/>
                  </a:lnTo>
                  <a:lnTo>
                    <a:pt x="1260" y="880"/>
                  </a:lnTo>
                  <a:lnTo>
                    <a:pt x="1258" y="876"/>
                  </a:lnTo>
                  <a:lnTo>
                    <a:pt x="1258" y="876"/>
                  </a:lnTo>
                  <a:lnTo>
                    <a:pt x="1258" y="876"/>
                  </a:lnTo>
                  <a:lnTo>
                    <a:pt x="1258" y="874"/>
                  </a:lnTo>
                  <a:lnTo>
                    <a:pt x="1258" y="874"/>
                  </a:lnTo>
                  <a:lnTo>
                    <a:pt x="1258" y="874"/>
                  </a:lnTo>
                  <a:lnTo>
                    <a:pt x="1256" y="872"/>
                  </a:lnTo>
                  <a:lnTo>
                    <a:pt x="1256" y="872"/>
                  </a:lnTo>
                  <a:lnTo>
                    <a:pt x="1256" y="872"/>
                  </a:lnTo>
                  <a:lnTo>
                    <a:pt x="1252" y="870"/>
                  </a:lnTo>
                  <a:lnTo>
                    <a:pt x="1250" y="870"/>
                  </a:lnTo>
                  <a:lnTo>
                    <a:pt x="1250" y="868"/>
                  </a:lnTo>
                  <a:lnTo>
                    <a:pt x="1250" y="868"/>
                  </a:lnTo>
                  <a:lnTo>
                    <a:pt x="1248" y="866"/>
                  </a:lnTo>
                  <a:lnTo>
                    <a:pt x="1248" y="866"/>
                  </a:lnTo>
                  <a:lnTo>
                    <a:pt x="1248" y="866"/>
                  </a:lnTo>
                  <a:lnTo>
                    <a:pt x="1248" y="864"/>
                  </a:lnTo>
                  <a:lnTo>
                    <a:pt x="1248" y="864"/>
                  </a:lnTo>
                  <a:lnTo>
                    <a:pt x="1248" y="864"/>
                  </a:lnTo>
                  <a:lnTo>
                    <a:pt x="1246" y="864"/>
                  </a:lnTo>
                  <a:lnTo>
                    <a:pt x="1246" y="864"/>
                  </a:lnTo>
                  <a:lnTo>
                    <a:pt x="1250" y="862"/>
                  </a:lnTo>
                  <a:lnTo>
                    <a:pt x="1252" y="862"/>
                  </a:lnTo>
                  <a:lnTo>
                    <a:pt x="1254" y="862"/>
                  </a:lnTo>
                  <a:lnTo>
                    <a:pt x="1254" y="862"/>
                  </a:lnTo>
                  <a:lnTo>
                    <a:pt x="1254" y="862"/>
                  </a:lnTo>
                  <a:lnTo>
                    <a:pt x="1256" y="860"/>
                  </a:lnTo>
                  <a:lnTo>
                    <a:pt x="1258" y="858"/>
                  </a:lnTo>
                  <a:lnTo>
                    <a:pt x="1258" y="854"/>
                  </a:lnTo>
                  <a:lnTo>
                    <a:pt x="1260" y="850"/>
                  </a:lnTo>
                  <a:lnTo>
                    <a:pt x="1260" y="844"/>
                  </a:lnTo>
                  <a:lnTo>
                    <a:pt x="1260" y="842"/>
                  </a:lnTo>
                  <a:lnTo>
                    <a:pt x="1262" y="840"/>
                  </a:lnTo>
                  <a:lnTo>
                    <a:pt x="1262" y="840"/>
                  </a:lnTo>
                  <a:lnTo>
                    <a:pt x="1262" y="838"/>
                  </a:lnTo>
                  <a:lnTo>
                    <a:pt x="1262" y="834"/>
                  </a:lnTo>
                  <a:lnTo>
                    <a:pt x="1260" y="832"/>
                  </a:lnTo>
                  <a:lnTo>
                    <a:pt x="1260" y="828"/>
                  </a:lnTo>
                  <a:lnTo>
                    <a:pt x="1260" y="826"/>
                  </a:lnTo>
                  <a:lnTo>
                    <a:pt x="1260" y="824"/>
                  </a:lnTo>
                  <a:lnTo>
                    <a:pt x="1260" y="824"/>
                  </a:lnTo>
                  <a:lnTo>
                    <a:pt x="1258" y="824"/>
                  </a:lnTo>
                  <a:lnTo>
                    <a:pt x="1258" y="824"/>
                  </a:lnTo>
                  <a:lnTo>
                    <a:pt x="1258" y="824"/>
                  </a:lnTo>
                  <a:lnTo>
                    <a:pt x="1258" y="822"/>
                  </a:lnTo>
                  <a:lnTo>
                    <a:pt x="1256" y="822"/>
                  </a:lnTo>
                  <a:lnTo>
                    <a:pt x="1256" y="822"/>
                  </a:lnTo>
                  <a:lnTo>
                    <a:pt x="1256" y="822"/>
                  </a:lnTo>
                  <a:lnTo>
                    <a:pt x="1254" y="820"/>
                  </a:lnTo>
                  <a:lnTo>
                    <a:pt x="1254" y="820"/>
                  </a:lnTo>
                  <a:lnTo>
                    <a:pt x="1254" y="818"/>
                  </a:lnTo>
                  <a:lnTo>
                    <a:pt x="1254" y="820"/>
                  </a:lnTo>
                  <a:lnTo>
                    <a:pt x="1252" y="818"/>
                  </a:lnTo>
                  <a:lnTo>
                    <a:pt x="1252" y="816"/>
                  </a:lnTo>
                  <a:lnTo>
                    <a:pt x="1250" y="816"/>
                  </a:lnTo>
                  <a:lnTo>
                    <a:pt x="1250" y="814"/>
                  </a:lnTo>
                  <a:lnTo>
                    <a:pt x="1250" y="812"/>
                  </a:lnTo>
                  <a:lnTo>
                    <a:pt x="1250" y="812"/>
                  </a:lnTo>
                  <a:lnTo>
                    <a:pt x="1250" y="812"/>
                  </a:lnTo>
                  <a:lnTo>
                    <a:pt x="1250" y="810"/>
                  </a:lnTo>
                  <a:lnTo>
                    <a:pt x="1252" y="806"/>
                  </a:lnTo>
                  <a:lnTo>
                    <a:pt x="1252" y="802"/>
                  </a:lnTo>
                  <a:lnTo>
                    <a:pt x="1252" y="798"/>
                  </a:lnTo>
                  <a:lnTo>
                    <a:pt x="1252" y="798"/>
                  </a:lnTo>
                  <a:lnTo>
                    <a:pt x="1252" y="796"/>
                  </a:lnTo>
                  <a:lnTo>
                    <a:pt x="1252" y="794"/>
                  </a:lnTo>
                  <a:lnTo>
                    <a:pt x="1252" y="794"/>
                  </a:lnTo>
                  <a:lnTo>
                    <a:pt x="1252" y="792"/>
                  </a:lnTo>
                  <a:lnTo>
                    <a:pt x="1250" y="790"/>
                  </a:lnTo>
                  <a:lnTo>
                    <a:pt x="1250" y="790"/>
                  </a:lnTo>
                  <a:lnTo>
                    <a:pt x="1250" y="790"/>
                  </a:lnTo>
                  <a:lnTo>
                    <a:pt x="1248" y="788"/>
                  </a:lnTo>
                  <a:lnTo>
                    <a:pt x="1248" y="788"/>
                  </a:lnTo>
                  <a:lnTo>
                    <a:pt x="1248" y="788"/>
                  </a:lnTo>
                  <a:lnTo>
                    <a:pt x="1244" y="788"/>
                  </a:lnTo>
                  <a:lnTo>
                    <a:pt x="1244" y="788"/>
                  </a:lnTo>
                  <a:lnTo>
                    <a:pt x="1244" y="788"/>
                  </a:lnTo>
                  <a:lnTo>
                    <a:pt x="1242" y="786"/>
                  </a:lnTo>
                  <a:lnTo>
                    <a:pt x="1236" y="786"/>
                  </a:lnTo>
                  <a:lnTo>
                    <a:pt x="1234" y="786"/>
                  </a:lnTo>
                  <a:lnTo>
                    <a:pt x="1234" y="786"/>
                  </a:lnTo>
                  <a:lnTo>
                    <a:pt x="1232" y="786"/>
                  </a:lnTo>
                  <a:lnTo>
                    <a:pt x="1232" y="786"/>
                  </a:lnTo>
                  <a:lnTo>
                    <a:pt x="1232" y="784"/>
                  </a:lnTo>
                  <a:lnTo>
                    <a:pt x="1230" y="782"/>
                  </a:lnTo>
                  <a:lnTo>
                    <a:pt x="1228" y="780"/>
                  </a:lnTo>
                  <a:lnTo>
                    <a:pt x="1228" y="780"/>
                  </a:lnTo>
                  <a:lnTo>
                    <a:pt x="1228" y="778"/>
                  </a:lnTo>
                  <a:lnTo>
                    <a:pt x="1228" y="778"/>
                  </a:lnTo>
                  <a:lnTo>
                    <a:pt x="1228" y="778"/>
                  </a:lnTo>
                  <a:lnTo>
                    <a:pt x="1226" y="776"/>
                  </a:lnTo>
                  <a:lnTo>
                    <a:pt x="1224" y="776"/>
                  </a:lnTo>
                  <a:lnTo>
                    <a:pt x="1224" y="776"/>
                  </a:lnTo>
                  <a:lnTo>
                    <a:pt x="1224" y="776"/>
                  </a:lnTo>
                  <a:lnTo>
                    <a:pt x="1220" y="776"/>
                  </a:lnTo>
                  <a:lnTo>
                    <a:pt x="1220" y="776"/>
                  </a:lnTo>
                  <a:lnTo>
                    <a:pt x="1220" y="776"/>
                  </a:lnTo>
                  <a:lnTo>
                    <a:pt x="1216" y="778"/>
                  </a:lnTo>
                  <a:lnTo>
                    <a:pt x="1216" y="778"/>
                  </a:lnTo>
                  <a:lnTo>
                    <a:pt x="1216" y="778"/>
                  </a:lnTo>
                  <a:lnTo>
                    <a:pt x="1212" y="780"/>
                  </a:lnTo>
                  <a:lnTo>
                    <a:pt x="1208" y="784"/>
                  </a:lnTo>
                  <a:lnTo>
                    <a:pt x="1204" y="788"/>
                  </a:lnTo>
                  <a:lnTo>
                    <a:pt x="1198" y="790"/>
                  </a:lnTo>
                  <a:lnTo>
                    <a:pt x="1194" y="794"/>
                  </a:lnTo>
                  <a:lnTo>
                    <a:pt x="1190" y="796"/>
                  </a:lnTo>
                  <a:lnTo>
                    <a:pt x="1188" y="798"/>
                  </a:lnTo>
                  <a:lnTo>
                    <a:pt x="1186" y="798"/>
                  </a:lnTo>
                  <a:lnTo>
                    <a:pt x="1184" y="798"/>
                  </a:lnTo>
                  <a:lnTo>
                    <a:pt x="1182" y="798"/>
                  </a:lnTo>
                  <a:lnTo>
                    <a:pt x="1180" y="798"/>
                  </a:lnTo>
                  <a:lnTo>
                    <a:pt x="1180" y="796"/>
                  </a:lnTo>
                  <a:lnTo>
                    <a:pt x="1180" y="796"/>
                  </a:lnTo>
                  <a:lnTo>
                    <a:pt x="1180" y="796"/>
                  </a:lnTo>
                  <a:lnTo>
                    <a:pt x="1180" y="796"/>
                  </a:lnTo>
                  <a:lnTo>
                    <a:pt x="1180" y="794"/>
                  </a:lnTo>
                  <a:lnTo>
                    <a:pt x="1182" y="790"/>
                  </a:lnTo>
                  <a:lnTo>
                    <a:pt x="1186" y="788"/>
                  </a:lnTo>
                  <a:lnTo>
                    <a:pt x="1188" y="784"/>
                  </a:lnTo>
                  <a:lnTo>
                    <a:pt x="1192" y="782"/>
                  </a:lnTo>
                  <a:lnTo>
                    <a:pt x="1196" y="778"/>
                  </a:lnTo>
                  <a:lnTo>
                    <a:pt x="1200" y="776"/>
                  </a:lnTo>
                  <a:lnTo>
                    <a:pt x="1202" y="774"/>
                  </a:lnTo>
                  <a:lnTo>
                    <a:pt x="1204" y="772"/>
                  </a:lnTo>
                  <a:lnTo>
                    <a:pt x="1208" y="772"/>
                  </a:lnTo>
                  <a:lnTo>
                    <a:pt x="1214" y="772"/>
                  </a:lnTo>
                  <a:lnTo>
                    <a:pt x="1216" y="772"/>
                  </a:lnTo>
                  <a:lnTo>
                    <a:pt x="1220" y="772"/>
                  </a:lnTo>
                  <a:lnTo>
                    <a:pt x="1220" y="772"/>
                  </a:lnTo>
                  <a:lnTo>
                    <a:pt x="1220" y="772"/>
                  </a:lnTo>
                  <a:lnTo>
                    <a:pt x="1222" y="772"/>
                  </a:lnTo>
                  <a:lnTo>
                    <a:pt x="1222" y="772"/>
                  </a:lnTo>
                  <a:lnTo>
                    <a:pt x="1224" y="770"/>
                  </a:lnTo>
                  <a:lnTo>
                    <a:pt x="1224" y="770"/>
                  </a:lnTo>
                  <a:lnTo>
                    <a:pt x="1224" y="770"/>
                  </a:lnTo>
                  <a:lnTo>
                    <a:pt x="1224" y="766"/>
                  </a:lnTo>
                  <a:lnTo>
                    <a:pt x="1224" y="766"/>
                  </a:lnTo>
                  <a:lnTo>
                    <a:pt x="1224" y="766"/>
                  </a:lnTo>
                  <a:lnTo>
                    <a:pt x="1224" y="764"/>
                  </a:lnTo>
                  <a:lnTo>
                    <a:pt x="1222" y="764"/>
                  </a:lnTo>
                  <a:lnTo>
                    <a:pt x="1222" y="764"/>
                  </a:lnTo>
                  <a:lnTo>
                    <a:pt x="1222" y="764"/>
                  </a:lnTo>
                  <a:lnTo>
                    <a:pt x="1220" y="762"/>
                  </a:lnTo>
                  <a:lnTo>
                    <a:pt x="1216" y="760"/>
                  </a:lnTo>
                  <a:lnTo>
                    <a:pt x="1214" y="758"/>
                  </a:lnTo>
                  <a:lnTo>
                    <a:pt x="1206" y="756"/>
                  </a:lnTo>
                  <a:lnTo>
                    <a:pt x="1202" y="754"/>
                  </a:lnTo>
                  <a:lnTo>
                    <a:pt x="1198" y="754"/>
                  </a:lnTo>
                  <a:lnTo>
                    <a:pt x="1196" y="754"/>
                  </a:lnTo>
                  <a:lnTo>
                    <a:pt x="1192" y="752"/>
                  </a:lnTo>
                  <a:lnTo>
                    <a:pt x="1188" y="752"/>
                  </a:lnTo>
                  <a:lnTo>
                    <a:pt x="1184" y="752"/>
                  </a:lnTo>
                  <a:lnTo>
                    <a:pt x="1184" y="752"/>
                  </a:lnTo>
                  <a:lnTo>
                    <a:pt x="1182" y="752"/>
                  </a:lnTo>
                  <a:lnTo>
                    <a:pt x="1182" y="752"/>
                  </a:lnTo>
                  <a:lnTo>
                    <a:pt x="1182" y="750"/>
                  </a:lnTo>
                  <a:lnTo>
                    <a:pt x="1182" y="748"/>
                  </a:lnTo>
                  <a:lnTo>
                    <a:pt x="1184" y="746"/>
                  </a:lnTo>
                  <a:lnTo>
                    <a:pt x="1184" y="744"/>
                  </a:lnTo>
                  <a:lnTo>
                    <a:pt x="1184" y="742"/>
                  </a:lnTo>
                  <a:lnTo>
                    <a:pt x="1184" y="742"/>
                  </a:lnTo>
                  <a:lnTo>
                    <a:pt x="1184" y="742"/>
                  </a:lnTo>
                  <a:lnTo>
                    <a:pt x="1184" y="740"/>
                  </a:lnTo>
                  <a:lnTo>
                    <a:pt x="1184" y="740"/>
                  </a:lnTo>
                  <a:lnTo>
                    <a:pt x="1184" y="740"/>
                  </a:lnTo>
                  <a:lnTo>
                    <a:pt x="1182" y="738"/>
                  </a:lnTo>
                  <a:lnTo>
                    <a:pt x="1182" y="738"/>
                  </a:lnTo>
                  <a:lnTo>
                    <a:pt x="1182" y="736"/>
                  </a:lnTo>
                  <a:lnTo>
                    <a:pt x="1180" y="736"/>
                  </a:lnTo>
                  <a:lnTo>
                    <a:pt x="1180" y="736"/>
                  </a:lnTo>
                  <a:lnTo>
                    <a:pt x="1180" y="734"/>
                  </a:lnTo>
                  <a:lnTo>
                    <a:pt x="1178" y="734"/>
                  </a:lnTo>
                  <a:lnTo>
                    <a:pt x="1178" y="734"/>
                  </a:lnTo>
                  <a:lnTo>
                    <a:pt x="1178" y="734"/>
                  </a:lnTo>
                  <a:lnTo>
                    <a:pt x="1174" y="732"/>
                  </a:lnTo>
                  <a:lnTo>
                    <a:pt x="1172" y="732"/>
                  </a:lnTo>
                  <a:lnTo>
                    <a:pt x="1170" y="730"/>
                  </a:lnTo>
                  <a:lnTo>
                    <a:pt x="1168" y="730"/>
                  </a:lnTo>
                  <a:lnTo>
                    <a:pt x="1168" y="728"/>
                  </a:lnTo>
                  <a:lnTo>
                    <a:pt x="1166" y="726"/>
                  </a:lnTo>
                  <a:lnTo>
                    <a:pt x="1164" y="722"/>
                  </a:lnTo>
                  <a:lnTo>
                    <a:pt x="1160" y="718"/>
                  </a:lnTo>
                  <a:lnTo>
                    <a:pt x="1158" y="714"/>
                  </a:lnTo>
                  <a:lnTo>
                    <a:pt x="1156" y="710"/>
                  </a:lnTo>
                  <a:lnTo>
                    <a:pt x="1154" y="706"/>
                  </a:lnTo>
                  <a:lnTo>
                    <a:pt x="1154" y="704"/>
                  </a:lnTo>
                  <a:lnTo>
                    <a:pt x="1154" y="704"/>
                  </a:lnTo>
                  <a:lnTo>
                    <a:pt x="1156" y="704"/>
                  </a:lnTo>
                  <a:lnTo>
                    <a:pt x="1158" y="706"/>
                  </a:lnTo>
                  <a:lnTo>
                    <a:pt x="1158" y="706"/>
                  </a:lnTo>
                  <a:lnTo>
                    <a:pt x="1158" y="706"/>
                  </a:lnTo>
                  <a:lnTo>
                    <a:pt x="1160" y="706"/>
                  </a:lnTo>
                  <a:lnTo>
                    <a:pt x="1160" y="706"/>
                  </a:lnTo>
                  <a:lnTo>
                    <a:pt x="1162" y="706"/>
                  </a:lnTo>
                  <a:lnTo>
                    <a:pt x="1162" y="704"/>
                  </a:lnTo>
                  <a:lnTo>
                    <a:pt x="1162" y="702"/>
                  </a:lnTo>
                  <a:lnTo>
                    <a:pt x="1162" y="702"/>
                  </a:lnTo>
                  <a:lnTo>
                    <a:pt x="1162" y="700"/>
                  </a:lnTo>
                  <a:lnTo>
                    <a:pt x="1162" y="698"/>
                  </a:lnTo>
                  <a:lnTo>
                    <a:pt x="1160" y="696"/>
                  </a:lnTo>
                  <a:lnTo>
                    <a:pt x="1158" y="692"/>
                  </a:lnTo>
                  <a:lnTo>
                    <a:pt x="1156" y="690"/>
                  </a:lnTo>
                  <a:lnTo>
                    <a:pt x="1150" y="682"/>
                  </a:lnTo>
                  <a:lnTo>
                    <a:pt x="1148" y="678"/>
                  </a:lnTo>
                  <a:lnTo>
                    <a:pt x="1146" y="676"/>
                  </a:lnTo>
                  <a:lnTo>
                    <a:pt x="1142" y="670"/>
                  </a:lnTo>
                  <a:lnTo>
                    <a:pt x="1138" y="666"/>
                  </a:lnTo>
                  <a:lnTo>
                    <a:pt x="1136" y="666"/>
                  </a:lnTo>
                  <a:lnTo>
                    <a:pt x="1136" y="664"/>
                  </a:lnTo>
                  <a:lnTo>
                    <a:pt x="1136" y="664"/>
                  </a:lnTo>
                  <a:lnTo>
                    <a:pt x="1136" y="662"/>
                  </a:lnTo>
                  <a:lnTo>
                    <a:pt x="1136" y="662"/>
                  </a:lnTo>
                  <a:lnTo>
                    <a:pt x="1136" y="662"/>
                  </a:lnTo>
                  <a:lnTo>
                    <a:pt x="1138" y="662"/>
                  </a:lnTo>
                  <a:lnTo>
                    <a:pt x="1140" y="660"/>
                  </a:lnTo>
                  <a:lnTo>
                    <a:pt x="1140" y="660"/>
                  </a:lnTo>
                  <a:lnTo>
                    <a:pt x="1140" y="660"/>
                  </a:lnTo>
                  <a:lnTo>
                    <a:pt x="1142" y="660"/>
                  </a:lnTo>
                  <a:lnTo>
                    <a:pt x="1142" y="660"/>
                  </a:lnTo>
                  <a:lnTo>
                    <a:pt x="1142" y="658"/>
                  </a:lnTo>
                  <a:lnTo>
                    <a:pt x="1144" y="658"/>
                  </a:lnTo>
                  <a:lnTo>
                    <a:pt x="1144" y="658"/>
                  </a:lnTo>
                  <a:lnTo>
                    <a:pt x="1144" y="656"/>
                  </a:lnTo>
                  <a:lnTo>
                    <a:pt x="1144" y="654"/>
                  </a:lnTo>
                  <a:lnTo>
                    <a:pt x="1144" y="654"/>
                  </a:lnTo>
                  <a:lnTo>
                    <a:pt x="1144" y="654"/>
                  </a:lnTo>
                  <a:lnTo>
                    <a:pt x="1144" y="652"/>
                  </a:lnTo>
                  <a:lnTo>
                    <a:pt x="1142" y="648"/>
                  </a:lnTo>
                  <a:lnTo>
                    <a:pt x="1140" y="644"/>
                  </a:lnTo>
                  <a:lnTo>
                    <a:pt x="1138" y="642"/>
                  </a:lnTo>
                  <a:lnTo>
                    <a:pt x="1136" y="638"/>
                  </a:lnTo>
                  <a:lnTo>
                    <a:pt x="1134" y="634"/>
                  </a:lnTo>
                  <a:lnTo>
                    <a:pt x="1132" y="632"/>
                  </a:lnTo>
                  <a:lnTo>
                    <a:pt x="1130" y="630"/>
                  </a:lnTo>
                  <a:lnTo>
                    <a:pt x="1128" y="628"/>
                  </a:lnTo>
                  <a:lnTo>
                    <a:pt x="1128" y="628"/>
                  </a:lnTo>
                  <a:lnTo>
                    <a:pt x="1128" y="628"/>
                  </a:lnTo>
                  <a:lnTo>
                    <a:pt x="1126" y="628"/>
                  </a:lnTo>
                  <a:lnTo>
                    <a:pt x="1126" y="628"/>
                  </a:lnTo>
                  <a:lnTo>
                    <a:pt x="1126" y="626"/>
                  </a:lnTo>
                  <a:lnTo>
                    <a:pt x="1122" y="626"/>
                  </a:lnTo>
                  <a:lnTo>
                    <a:pt x="1122" y="626"/>
                  </a:lnTo>
                  <a:lnTo>
                    <a:pt x="1122" y="626"/>
                  </a:lnTo>
                  <a:lnTo>
                    <a:pt x="1118" y="626"/>
                  </a:lnTo>
                  <a:lnTo>
                    <a:pt x="1118" y="626"/>
                  </a:lnTo>
                  <a:lnTo>
                    <a:pt x="1118" y="626"/>
                  </a:lnTo>
                  <a:lnTo>
                    <a:pt x="1116" y="628"/>
                  </a:lnTo>
                  <a:lnTo>
                    <a:pt x="1116" y="628"/>
                  </a:lnTo>
                  <a:lnTo>
                    <a:pt x="1114" y="630"/>
                  </a:lnTo>
                  <a:lnTo>
                    <a:pt x="1114" y="632"/>
                  </a:lnTo>
                  <a:lnTo>
                    <a:pt x="1114" y="632"/>
                  </a:lnTo>
                  <a:lnTo>
                    <a:pt x="1114" y="632"/>
                  </a:lnTo>
                  <a:lnTo>
                    <a:pt x="1114" y="634"/>
                  </a:lnTo>
                  <a:lnTo>
                    <a:pt x="1114" y="638"/>
                  </a:lnTo>
                  <a:lnTo>
                    <a:pt x="1114" y="640"/>
                  </a:lnTo>
                  <a:lnTo>
                    <a:pt x="1114" y="644"/>
                  </a:lnTo>
                  <a:lnTo>
                    <a:pt x="1114" y="646"/>
                  </a:lnTo>
                  <a:lnTo>
                    <a:pt x="1114" y="648"/>
                  </a:lnTo>
                  <a:lnTo>
                    <a:pt x="1114" y="648"/>
                  </a:lnTo>
                  <a:lnTo>
                    <a:pt x="1112" y="650"/>
                  </a:lnTo>
                  <a:lnTo>
                    <a:pt x="1112" y="650"/>
                  </a:lnTo>
                  <a:lnTo>
                    <a:pt x="1108" y="652"/>
                  </a:lnTo>
                  <a:lnTo>
                    <a:pt x="1106" y="652"/>
                  </a:lnTo>
                  <a:lnTo>
                    <a:pt x="1106" y="652"/>
                  </a:lnTo>
                  <a:lnTo>
                    <a:pt x="1104" y="652"/>
                  </a:lnTo>
                  <a:lnTo>
                    <a:pt x="1104" y="652"/>
                  </a:lnTo>
                  <a:lnTo>
                    <a:pt x="1104" y="652"/>
                  </a:lnTo>
                  <a:lnTo>
                    <a:pt x="1102" y="654"/>
                  </a:lnTo>
                  <a:lnTo>
                    <a:pt x="1102" y="654"/>
                  </a:lnTo>
                  <a:lnTo>
                    <a:pt x="1102" y="654"/>
                  </a:lnTo>
                  <a:lnTo>
                    <a:pt x="1102" y="656"/>
                  </a:lnTo>
                  <a:lnTo>
                    <a:pt x="1100" y="656"/>
                  </a:lnTo>
                  <a:lnTo>
                    <a:pt x="1100" y="656"/>
                  </a:lnTo>
                  <a:lnTo>
                    <a:pt x="1100" y="658"/>
                  </a:lnTo>
                  <a:lnTo>
                    <a:pt x="1100" y="658"/>
                  </a:lnTo>
                  <a:lnTo>
                    <a:pt x="1100" y="658"/>
                  </a:lnTo>
                  <a:lnTo>
                    <a:pt x="1098" y="656"/>
                  </a:lnTo>
                  <a:lnTo>
                    <a:pt x="1098" y="656"/>
                  </a:lnTo>
                  <a:lnTo>
                    <a:pt x="1098" y="656"/>
                  </a:lnTo>
                  <a:lnTo>
                    <a:pt x="1096" y="656"/>
                  </a:lnTo>
                  <a:lnTo>
                    <a:pt x="1096" y="656"/>
                  </a:lnTo>
                  <a:lnTo>
                    <a:pt x="1096" y="658"/>
                  </a:lnTo>
                  <a:lnTo>
                    <a:pt x="1094" y="658"/>
                  </a:lnTo>
                  <a:lnTo>
                    <a:pt x="1094" y="658"/>
                  </a:lnTo>
                  <a:lnTo>
                    <a:pt x="1094" y="658"/>
                  </a:lnTo>
                  <a:lnTo>
                    <a:pt x="1090" y="660"/>
                  </a:lnTo>
                  <a:lnTo>
                    <a:pt x="1086" y="664"/>
                  </a:lnTo>
                  <a:lnTo>
                    <a:pt x="1084" y="666"/>
                  </a:lnTo>
                  <a:lnTo>
                    <a:pt x="1082" y="668"/>
                  </a:lnTo>
                  <a:lnTo>
                    <a:pt x="1082" y="668"/>
                  </a:lnTo>
                  <a:lnTo>
                    <a:pt x="1082" y="668"/>
                  </a:lnTo>
                  <a:lnTo>
                    <a:pt x="1080" y="668"/>
                  </a:lnTo>
                  <a:lnTo>
                    <a:pt x="1078" y="672"/>
                  </a:lnTo>
                  <a:lnTo>
                    <a:pt x="1078" y="672"/>
                  </a:lnTo>
                  <a:lnTo>
                    <a:pt x="1078" y="674"/>
                  </a:lnTo>
                  <a:lnTo>
                    <a:pt x="1076" y="674"/>
                  </a:lnTo>
                  <a:lnTo>
                    <a:pt x="1074" y="674"/>
                  </a:lnTo>
                  <a:lnTo>
                    <a:pt x="1072" y="676"/>
                  </a:lnTo>
                  <a:lnTo>
                    <a:pt x="1068" y="676"/>
                  </a:lnTo>
                  <a:lnTo>
                    <a:pt x="1064" y="678"/>
                  </a:lnTo>
                  <a:lnTo>
                    <a:pt x="1060" y="678"/>
                  </a:lnTo>
                  <a:lnTo>
                    <a:pt x="1060" y="678"/>
                  </a:lnTo>
                  <a:lnTo>
                    <a:pt x="1060" y="678"/>
                  </a:lnTo>
                  <a:lnTo>
                    <a:pt x="1062" y="676"/>
                  </a:lnTo>
                  <a:lnTo>
                    <a:pt x="1062" y="676"/>
                  </a:lnTo>
                  <a:lnTo>
                    <a:pt x="1062" y="676"/>
                  </a:lnTo>
                  <a:lnTo>
                    <a:pt x="1062" y="674"/>
                  </a:lnTo>
                  <a:lnTo>
                    <a:pt x="1064" y="670"/>
                  </a:lnTo>
                  <a:lnTo>
                    <a:pt x="1064" y="668"/>
                  </a:lnTo>
                  <a:lnTo>
                    <a:pt x="1064" y="664"/>
                  </a:lnTo>
                  <a:lnTo>
                    <a:pt x="1064" y="660"/>
                  </a:lnTo>
                  <a:lnTo>
                    <a:pt x="1064" y="658"/>
                  </a:lnTo>
                  <a:lnTo>
                    <a:pt x="1064" y="654"/>
                  </a:lnTo>
                  <a:lnTo>
                    <a:pt x="1064" y="654"/>
                  </a:lnTo>
                  <a:lnTo>
                    <a:pt x="1064" y="654"/>
                  </a:lnTo>
                  <a:lnTo>
                    <a:pt x="1064" y="652"/>
                  </a:lnTo>
                  <a:lnTo>
                    <a:pt x="1064" y="652"/>
                  </a:lnTo>
                  <a:lnTo>
                    <a:pt x="1062" y="652"/>
                  </a:lnTo>
                  <a:lnTo>
                    <a:pt x="1062" y="650"/>
                  </a:lnTo>
                  <a:lnTo>
                    <a:pt x="1062" y="650"/>
                  </a:lnTo>
                  <a:lnTo>
                    <a:pt x="1060" y="650"/>
                  </a:lnTo>
                  <a:lnTo>
                    <a:pt x="1058" y="650"/>
                  </a:lnTo>
                  <a:lnTo>
                    <a:pt x="1058" y="650"/>
                  </a:lnTo>
                  <a:lnTo>
                    <a:pt x="1058" y="650"/>
                  </a:lnTo>
                  <a:lnTo>
                    <a:pt x="1056" y="652"/>
                  </a:lnTo>
                  <a:lnTo>
                    <a:pt x="1056" y="652"/>
                  </a:lnTo>
                  <a:lnTo>
                    <a:pt x="1056" y="652"/>
                  </a:lnTo>
                  <a:lnTo>
                    <a:pt x="1054" y="652"/>
                  </a:lnTo>
                  <a:lnTo>
                    <a:pt x="1052" y="656"/>
                  </a:lnTo>
                  <a:lnTo>
                    <a:pt x="1050" y="656"/>
                  </a:lnTo>
                  <a:lnTo>
                    <a:pt x="1050" y="656"/>
                  </a:lnTo>
                  <a:lnTo>
                    <a:pt x="1048" y="656"/>
                  </a:lnTo>
                  <a:lnTo>
                    <a:pt x="1046" y="658"/>
                  </a:lnTo>
                  <a:lnTo>
                    <a:pt x="1044" y="658"/>
                  </a:lnTo>
                  <a:lnTo>
                    <a:pt x="1042" y="658"/>
                  </a:lnTo>
                  <a:lnTo>
                    <a:pt x="1042" y="658"/>
                  </a:lnTo>
                  <a:lnTo>
                    <a:pt x="1042" y="656"/>
                  </a:lnTo>
                  <a:lnTo>
                    <a:pt x="1042" y="654"/>
                  </a:lnTo>
                  <a:lnTo>
                    <a:pt x="1044" y="652"/>
                  </a:lnTo>
                  <a:lnTo>
                    <a:pt x="1046" y="648"/>
                  </a:lnTo>
                  <a:lnTo>
                    <a:pt x="1050" y="642"/>
                  </a:lnTo>
                  <a:lnTo>
                    <a:pt x="1050" y="638"/>
                  </a:lnTo>
                  <a:lnTo>
                    <a:pt x="1052" y="636"/>
                  </a:lnTo>
                  <a:lnTo>
                    <a:pt x="1054" y="630"/>
                  </a:lnTo>
                  <a:lnTo>
                    <a:pt x="1054" y="624"/>
                  </a:lnTo>
                  <a:lnTo>
                    <a:pt x="1054" y="624"/>
                  </a:lnTo>
                  <a:lnTo>
                    <a:pt x="1054" y="624"/>
                  </a:lnTo>
                  <a:lnTo>
                    <a:pt x="1054" y="620"/>
                  </a:lnTo>
                  <a:lnTo>
                    <a:pt x="1054" y="620"/>
                  </a:lnTo>
                  <a:lnTo>
                    <a:pt x="1054" y="620"/>
                  </a:lnTo>
                  <a:lnTo>
                    <a:pt x="1052" y="618"/>
                  </a:lnTo>
                  <a:lnTo>
                    <a:pt x="1052" y="618"/>
                  </a:lnTo>
                  <a:lnTo>
                    <a:pt x="1052" y="618"/>
                  </a:lnTo>
                  <a:lnTo>
                    <a:pt x="1052" y="616"/>
                  </a:lnTo>
                  <a:lnTo>
                    <a:pt x="1052" y="616"/>
                  </a:lnTo>
                  <a:lnTo>
                    <a:pt x="1050" y="614"/>
                  </a:lnTo>
                  <a:lnTo>
                    <a:pt x="1050" y="614"/>
                  </a:lnTo>
                  <a:lnTo>
                    <a:pt x="1050" y="614"/>
                  </a:lnTo>
                  <a:lnTo>
                    <a:pt x="1048" y="612"/>
                  </a:lnTo>
                  <a:lnTo>
                    <a:pt x="1046" y="612"/>
                  </a:lnTo>
                  <a:lnTo>
                    <a:pt x="1046" y="612"/>
                  </a:lnTo>
                  <a:lnTo>
                    <a:pt x="1046" y="612"/>
                  </a:lnTo>
                  <a:lnTo>
                    <a:pt x="1042" y="612"/>
                  </a:lnTo>
                  <a:lnTo>
                    <a:pt x="1040" y="612"/>
                  </a:lnTo>
                  <a:lnTo>
                    <a:pt x="1040" y="610"/>
                  </a:lnTo>
                  <a:lnTo>
                    <a:pt x="1044" y="610"/>
                  </a:lnTo>
                  <a:lnTo>
                    <a:pt x="1046" y="608"/>
                  </a:lnTo>
                  <a:lnTo>
                    <a:pt x="1046" y="608"/>
                  </a:lnTo>
                  <a:lnTo>
                    <a:pt x="1046" y="608"/>
                  </a:lnTo>
                  <a:lnTo>
                    <a:pt x="1048" y="608"/>
                  </a:lnTo>
                  <a:lnTo>
                    <a:pt x="1048" y="608"/>
                  </a:lnTo>
                  <a:lnTo>
                    <a:pt x="1048" y="606"/>
                  </a:lnTo>
                  <a:lnTo>
                    <a:pt x="1050" y="604"/>
                  </a:lnTo>
                  <a:lnTo>
                    <a:pt x="1050" y="604"/>
                  </a:lnTo>
                  <a:lnTo>
                    <a:pt x="1050" y="604"/>
                  </a:lnTo>
                  <a:lnTo>
                    <a:pt x="1052" y="600"/>
                  </a:lnTo>
                  <a:lnTo>
                    <a:pt x="1052" y="600"/>
                  </a:lnTo>
                  <a:lnTo>
                    <a:pt x="1052" y="600"/>
                  </a:lnTo>
                  <a:lnTo>
                    <a:pt x="1052" y="596"/>
                  </a:lnTo>
                  <a:lnTo>
                    <a:pt x="1052" y="596"/>
                  </a:lnTo>
                  <a:lnTo>
                    <a:pt x="1050" y="596"/>
                  </a:lnTo>
                  <a:lnTo>
                    <a:pt x="1050" y="594"/>
                  </a:lnTo>
                  <a:lnTo>
                    <a:pt x="1050" y="594"/>
                  </a:lnTo>
                  <a:lnTo>
                    <a:pt x="1048" y="592"/>
                  </a:lnTo>
                  <a:lnTo>
                    <a:pt x="1048" y="592"/>
                  </a:lnTo>
                  <a:lnTo>
                    <a:pt x="1046" y="592"/>
                  </a:lnTo>
                  <a:lnTo>
                    <a:pt x="1042" y="592"/>
                  </a:lnTo>
                  <a:lnTo>
                    <a:pt x="1036" y="590"/>
                  </a:lnTo>
                  <a:lnTo>
                    <a:pt x="1032" y="590"/>
                  </a:lnTo>
                  <a:lnTo>
                    <a:pt x="1030" y="590"/>
                  </a:lnTo>
                  <a:lnTo>
                    <a:pt x="1026" y="588"/>
                  </a:lnTo>
                  <a:lnTo>
                    <a:pt x="1022" y="588"/>
                  </a:lnTo>
                  <a:lnTo>
                    <a:pt x="1020" y="586"/>
                  </a:lnTo>
                  <a:lnTo>
                    <a:pt x="1018" y="584"/>
                  </a:lnTo>
                  <a:lnTo>
                    <a:pt x="1016" y="582"/>
                  </a:lnTo>
                  <a:lnTo>
                    <a:pt x="1014" y="580"/>
                  </a:lnTo>
                  <a:lnTo>
                    <a:pt x="1012" y="576"/>
                  </a:lnTo>
                  <a:lnTo>
                    <a:pt x="1008" y="572"/>
                  </a:lnTo>
                  <a:lnTo>
                    <a:pt x="1006" y="568"/>
                  </a:lnTo>
                  <a:lnTo>
                    <a:pt x="1004" y="564"/>
                  </a:lnTo>
                  <a:lnTo>
                    <a:pt x="1002" y="562"/>
                  </a:lnTo>
                  <a:lnTo>
                    <a:pt x="1000" y="558"/>
                  </a:lnTo>
                  <a:lnTo>
                    <a:pt x="998" y="556"/>
                  </a:lnTo>
                  <a:lnTo>
                    <a:pt x="996" y="554"/>
                  </a:lnTo>
                  <a:lnTo>
                    <a:pt x="994" y="552"/>
                  </a:lnTo>
                  <a:lnTo>
                    <a:pt x="994" y="552"/>
                  </a:lnTo>
                  <a:lnTo>
                    <a:pt x="994" y="552"/>
                  </a:lnTo>
                  <a:lnTo>
                    <a:pt x="990" y="550"/>
                  </a:lnTo>
                  <a:lnTo>
                    <a:pt x="990" y="550"/>
                  </a:lnTo>
                  <a:lnTo>
                    <a:pt x="990" y="550"/>
                  </a:lnTo>
                  <a:lnTo>
                    <a:pt x="988" y="550"/>
                  </a:lnTo>
                  <a:lnTo>
                    <a:pt x="988" y="550"/>
                  </a:lnTo>
                  <a:lnTo>
                    <a:pt x="988" y="550"/>
                  </a:lnTo>
                  <a:lnTo>
                    <a:pt x="986" y="550"/>
                  </a:lnTo>
                  <a:lnTo>
                    <a:pt x="986" y="550"/>
                  </a:lnTo>
                  <a:lnTo>
                    <a:pt x="986" y="550"/>
                  </a:lnTo>
                  <a:lnTo>
                    <a:pt x="984" y="550"/>
                  </a:lnTo>
                  <a:lnTo>
                    <a:pt x="984" y="550"/>
                  </a:lnTo>
                  <a:lnTo>
                    <a:pt x="984" y="550"/>
                  </a:lnTo>
                  <a:lnTo>
                    <a:pt x="980" y="550"/>
                  </a:lnTo>
                  <a:lnTo>
                    <a:pt x="978" y="552"/>
                  </a:lnTo>
                  <a:lnTo>
                    <a:pt x="976" y="552"/>
                  </a:lnTo>
                  <a:lnTo>
                    <a:pt x="974" y="552"/>
                  </a:lnTo>
                  <a:lnTo>
                    <a:pt x="972" y="552"/>
                  </a:lnTo>
                  <a:lnTo>
                    <a:pt x="966" y="552"/>
                  </a:lnTo>
                  <a:lnTo>
                    <a:pt x="962" y="552"/>
                  </a:lnTo>
                  <a:lnTo>
                    <a:pt x="958" y="552"/>
                  </a:lnTo>
                  <a:lnTo>
                    <a:pt x="956" y="552"/>
                  </a:lnTo>
                  <a:lnTo>
                    <a:pt x="952" y="550"/>
                  </a:lnTo>
                  <a:lnTo>
                    <a:pt x="950" y="548"/>
                  </a:lnTo>
                  <a:lnTo>
                    <a:pt x="946" y="546"/>
                  </a:lnTo>
                  <a:lnTo>
                    <a:pt x="944" y="546"/>
                  </a:lnTo>
                  <a:lnTo>
                    <a:pt x="940" y="544"/>
                  </a:lnTo>
                  <a:lnTo>
                    <a:pt x="940" y="544"/>
                  </a:lnTo>
                  <a:lnTo>
                    <a:pt x="940" y="544"/>
                  </a:lnTo>
                  <a:lnTo>
                    <a:pt x="938" y="544"/>
                  </a:lnTo>
                  <a:lnTo>
                    <a:pt x="938" y="544"/>
                  </a:lnTo>
                  <a:lnTo>
                    <a:pt x="936" y="544"/>
                  </a:lnTo>
                  <a:lnTo>
                    <a:pt x="934" y="544"/>
                  </a:lnTo>
                  <a:lnTo>
                    <a:pt x="934" y="544"/>
                  </a:lnTo>
                  <a:lnTo>
                    <a:pt x="932" y="544"/>
                  </a:lnTo>
                  <a:lnTo>
                    <a:pt x="930" y="546"/>
                  </a:lnTo>
                  <a:lnTo>
                    <a:pt x="930" y="546"/>
                  </a:lnTo>
                  <a:lnTo>
                    <a:pt x="930" y="546"/>
                  </a:lnTo>
                  <a:lnTo>
                    <a:pt x="928" y="550"/>
                  </a:lnTo>
                  <a:lnTo>
                    <a:pt x="928" y="552"/>
                  </a:lnTo>
                  <a:lnTo>
                    <a:pt x="926" y="556"/>
                  </a:lnTo>
                  <a:lnTo>
                    <a:pt x="924" y="564"/>
                  </a:lnTo>
                  <a:lnTo>
                    <a:pt x="924" y="568"/>
                  </a:lnTo>
                  <a:lnTo>
                    <a:pt x="922" y="572"/>
                  </a:lnTo>
                  <a:lnTo>
                    <a:pt x="924" y="576"/>
                  </a:lnTo>
                  <a:lnTo>
                    <a:pt x="924" y="576"/>
                  </a:lnTo>
                  <a:lnTo>
                    <a:pt x="924" y="576"/>
                  </a:lnTo>
                  <a:lnTo>
                    <a:pt x="924" y="578"/>
                  </a:lnTo>
                  <a:lnTo>
                    <a:pt x="924" y="578"/>
                  </a:lnTo>
                  <a:lnTo>
                    <a:pt x="924" y="578"/>
                  </a:lnTo>
                  <a:lnTo>
                    <a:pt x="926" y="584"/>
                  </a:lnTo>
                  <a:lnTo>
                    <a:pt x="928" y="590"/>
                  </a:lnTo>
                  <a:lnTo>
                    <a:pt x="930" y="592"/>
                  </a:lnTo>
                  <a:lnTo>
                    <a:pt x="930" y="594"/>
                  </a:lnTo>
                  <a:lnTo>
                    <a:pt x="932" y="600"/>
                  </a:lnTo>
                  <a:lnTo>
                    <a:pt x="934" y="606"/>
                  </a:lnTo>
                  <a:lnTo>
                    <a:pt x="934" y="612"/>
                  </a:lnTo>
                  <a:lnTo>
                    <a:pt x="934" y="618"/>
                  </a:lnTo>
                  <a:lnTo>
                    <a:pt x="934" y="624"/>
                  </a:lnTo>
                  <a:lnTo>
                    <a:pt x="932" y="630"/>
                  </a:lnTo>
                  <a:lnTo>
                    <a:pt x="930" y="636"/>
                  </a:lnTo>
                  <a:lnTo>
                    <a:pt x="928" y="642"/>
                  </a:lnTo>
                  <a:lnTo>
                    <a:pt x="928" y="644"/>
                  </a:lnTo>
                  <a:lnTo>
                    <a:pt x="926" y="646"/>
                  </a:lnTo>
                  <a:lnTo>
                    <a:pt x="924" y="650"/>
                  </a:lnTo>
                  <a:lnTo>
                    <a:pt x="922" y="652"/>
                  </a:lnTo>
                  <a:lnTo>
                    <a:pt x="922" y="652"/>
                  </a:lnTo>
                  <a:lnTo>
                    <a:pt x="922" y="654"/>
                  </a:lnTo>
                  <a:lnTo>
                    <a:pt x="922" y="656"/>
                  </a:lnTo>
                  <a:lnTo>
                    <a:pt x="922" y="656"/>
                  </a:lnTo>
                  <a:lnTo>
                    <a:pt x="920" y="656"/>
                  </a:lnTo>
                  <a:lnTo>
                    <a:pt x="920" y="660"/>
                  </a:lnTo>
                  <a:lnTo>
                    <a:pt x="920" y="660"/>
                  </a:lnTo>
                  <a:lnTo>
                    <a:pt x="922" y="660"/>
                  </a:lnTo>
                  <a:lnTo>
                    <a:pt x="922" y="664"/>
                  </a:lnTo>
                  <a:lnTo>
                    <a:pt x="922" y="664"/>
                  </a:lnTo>
                  <a:lnTo>
                    <a:pt x="922" y="664"/>
                  </a:lnTo>
                  <a:lnTo>
                    <a:pt x="924" y="666"/>
                  </a:lnTo>
                  <a:lnTo>
                    <a:pt x="924" y="666"/>
                  </a:lnTo>
                  <a:lnTo>
                    <a:pt x="924" y="666"/>
                  </a:lnTo>
                  <a:lnTo>
                    <a:pt x="924" y="668"/>
                  </a:lnTo>
                  <a:lnTo>
                    <a:pt x="924" y="668"/>
                  </a:lnTo>
                  <a:lnTo>
                    <a:pt x="926" y="668"/>
                  </a:lnTo>
                  <a:lnTo>
                    <a:pt x="928" y="670"/>
                  </a:lnTo>
                  <a:lnTo>
                    <a:pt x="934" y="674"/>
                  </a:lnTo>
                  <a:lnTo>
                    <a:pt x="938" y="676"/>
                  </a:lnTo>
                  <a:lnTo>
                    <a:pt x="944" y="680"/>
                  </a:lnTo>
                  <a:lnTo>
                    <a:pt x="948" y="682"/>
                  </a:lnTo>
                  <a:lnTo>
                    <a:pt x="950" y="686"/>
                  </a:lnTo>
                  <a:lnTo>
                    <a:pt x="950" y="688"/>
                  </a:lnTo>
                  <a:lnTo>
                    <a:pt x="952" y="690"/>
                  </a:lnTo>
                  <a:lnTo>
                    <a:pt x="952" y="692"/>
                  </a:lnTo>
                  <a:lnTo>
                    <a:pt x="952" y="694"/>
                  </a:lnTo>
                  <a:lnTo>
                    <a:pt x="952" y="702"/>
                  </a:lnTo>
                  <a:lnTo>
                    <a:pt x="952" y="708"/>
                  </a:lnTo>
                  <a:lnTo>
                    <a:pt x="950" y="716"/>
                  </a:lnTo>
                  <a:lnTo>
                    <a:pt x="948" y="724"/>
                  </a:lnTo>
                  <a:lnTo>
                    <a:pt x="946" y="730"/>
                  </a:lnTo>
                  <a:lnTo>
                    <a:pt x="944" y="736"/>
                  </a:lnTo>
                  <a:lnTo>
                    <a:pt x="944" y="738"/>
                  </a:lnTo>
                  <a:lnTo>
                    <a:pt x="942" y="740"/>
                  </a:lnTo>
                  <a:lnTo>
                    <a:pt x="942" y="744"/>
                  </a:lnTo>
                  <a:lnTo>
                    <a:pt x="940" y="746"/>
                  </a:lnTo>
                  <a:lnTo>
                    <a:pt x="936" y="748"/>
                  </a:lnTo>
                  <a:lnTo>
                    <a:pt x="934" y="748"/>
                  </a:lnTo>
                  <a:lnTo>
                    <a:pt x="932" y="750"/>
                  </a:lnTo>
                  <a:lnTo>
                    <a:pt x="930" y="750"/>
                  </a:lnTo>
                  <a:lnTo>
                    <a:pt x="926" y="750"/>
                  </a:lnTo>
                  <a:lnTo>
                    <a:pt x="924" y="750"/>
                  </a:lnTo>
                  <a:lnTo>
                    <a:pt x="922" y="752"/>
                  </a:lnTo>
                  <a:lnTo>
                    <a:pt x="920" y="750"/>
                  </a:lnTo>
                  <a:lnTo>
                    <a:pt x="920" y="750"/>
                  </a:lnTo>
                  <a:lnTo>
                    <a:pt x="916" y="750"/>
                  </a:lnTo>
                  <a:lnTo>
                    <a:pt x="914" y="750"/>
                  </a:lnTo>
                  <a:lnTo>
                    <a:pt x="914" y="750"/>
                  </a:lnTo>
                  <a:lnTo>
                    <a:pt x="914" y="750"/>
                  </a:lnTo>
                  <a:lnTo>
                    <a:pt x="912" y="750"/>
                  </a:lnTo>
                  <a:lnTo>
                    <a:pt x="912" y="750"/>
                  </a:lnTo>
                  <a:lnTo>
                    <a:pt x="912" y="750"/>
                  </a:lnTo>
                  <a:lnTo>
                    <a:pt x="910" y="750"/>
                  </a:lnTo>
                  <a:lnTo>
                    <a:pt x="910" y="750"/>
                  </a:lnTo>
                  <a:lnTo>
                    <a:pt x="908" y="752"/>
                  </a:lnTo>
                  <a:lnTo>
                    <a:pt x="908" y="752"/>
                  </a:lnTo>
                  <a:lnTo>
                    <a:pt x="908" y="752"/>
                  </a:lnTo>
                  <a:lnTo>
                    <a:pt x="908" y="754"/>
                  </a:lnTo>
                  <a:lnTo>
                    <a:pt x="906" y="756"/>
                  </a:lnTo>
                  <a:lnTo>
                    <a:pt x="906" y="756"/>
                  </a:lnTo>
                  <a:lnTo>
                    <a:pt x="906" y="756"/>
                  </a:lnTo>
                  <a:lnTo>
                    <a:pt x="906" y="758"/>
                  </a:lnTo>
                  <a:lnTo>
                    <a:pt x="906" y="762"/>
                  </a:lnTo>
                  <a:lnTo>
                    <a:pt x="908" y="766"/>
                  </a:lnTo>
                  <a:lnTo>
                    <a:pt x="908" y="774"/>
                  </a:lnTo>
                  <a:lnTo>
                    <a:pt x="910" y="778"/>
                  </a:lnTo>
                  <a:lnTo>
                    <a:pt x="910" y="782"/>
                  </a:lnTo>
                  <a:lnTo>
                    <a:pt x="912" y="786"/>
                  </a:lnTo>
                  <a:lnTo>
                    <a:pt x="912" y="790"/>
                  </a:lnTo>
                  <a:lnTo>
                    <a:pt x="916" y="798"/>
                  </a:lnTo>
                  <a:lnTo>
                    <a:pt x="918" y="806"/>
                  </a:lnTo>
                  <a:lnTo>
                    <a:pt x="920" y="810"/>
                  </a:lnTo>
                  <a:lnTo>
                    <a:pt x="920" y="812"/>
                  </a:lnTo>
                  <a:lnTo>
                    <a:pt x="920" y="816"/>
                  </a:lnTo>
                  <a:lnTo>
                    <a:pt x="920" y="818"/>
                  </a:lnTo>
                  <a:lnTo>
                    <a:pt x="920" y="824"/>
                  </a:lnTo>
                  <a:lnTo>
                    <a:pt x="918" y="828"/>
                  </a:lnTo>
                  <a:lnTo>
                    <a:pt x="916" y="832"/>
                  </a:lnTo>
                  <a:lnTo>
                    <a:pt x="914" y="836"/>
                  </a:lnTo>
                  <a:lnTo>
                    <a:pt x="914" y="840"/>
                  </a:lnTo>
                  <a:lnTo>
                    <a:pt x="912" y="842"/>
                  </a:lnTo>
                  <a:lnTo>
                    <a:pt x="912" y="844"/>
                  </a:lnTo>
                  <a:lnTo>
                    <a:pt x="912" y="844"/>
                  </a:lnTo>
                  <a:lnTo>
                    <a:pt x="910" y="844"/>
                  </a:lnTo>
                  <a:lnTo>
                    <a:pt x="908" y="846"/>
                  </a:lnTo>
                  <a:lnTo>
                    <a:pt x="904" y="846"/>
                  </a:lnTo>
                  <a:lnTo>
                    <a:pt x="900" y="846"/>
                  </a:lnTo>
                  <a:lnTo>
                    <a:pt x="900" y="844"/>
                  </a:lnTo>
                  <a:lnTo>
                    <a:pt x="898" y="844"/>
                  </a:lnTo>
                  <a:lnTo>
                    <a:pt x="894" y="842"/>
                  </a:lnTo>
                  <a:lnTo>
                    <a:pt x="892" y="838"/>
                  </a:lnTo>
                  <a:lnTo>
                    <a:pt x="888" y="834"/>
                  </a:lnTo>
                  <a:lnTo>
                    <a:pt x="886" y="830"/>
                  </a:lnTo>
                  <a:lnTo>
                    <a:pt x="884" y="828"/>
                  </a:lnTo>
                  <a:lnTo>
                    <a:pt x="880" y="826"/>
                  </a:lnTo>
                  <a:lnTo>
                    <a:pt x="876" y="820"/>
                  </a:lnTo>
                  <a:lnTo>
                    <a:pt x="874" y="818"/>
                  </a:lnTo>
                  <a:lnTo>
                    <a:pt x="872" y="816"/>
                  </a:lnTo>
                  <a:lnTo>
                    <a:pt x="870" y="812"/>
                  </a:lnTo>
                  <a:lnTo>
                    <a:pt x="870" y="810"/>
                  </a:lnTo>
                  <a:lnTo>
                    <a:pt x="868" y="804"/>
                  </a:lnTo>
                  <a:lnTo>
                    <a:pt x="868" y="798"/>
                  </a:lnTo>
                  <a:lnTo>
                    <a:pt x="868" y="792"/>
                  </a:lnTo>
                  <a:lnTo>
                    <a:pt x="866" y="786"/>
                  </a:lnTo>
                  <a:lnTo>
                    <a:pt x="866" y="778"/>
                  </a:lnTo>
                  <a:lnTo>
                    <a:pt x="866" y="772"/>
                  </a:lnTo>
                  <a:lnTo>
                    <a:pt x="866" y="766"/>
                  </a:lnTo>
                  <a:lnTo>
                    <a:pt x="866" y="762"/>
                  </a:lnTo>
                  <a:lnTo>
                    <a:pt x="864" y="758"/>
                  </a:lnTo>
                  <a:lnTo>
                    <a:pt x="864" y="756"/>
                  </a:lnTo>
                  <a:lnTo>
                    <a:pt x="864" y="754"/>
                  </a:lnTo>
                  <a:lnTo>
                    <a:pt x="864" y="752"/>
                  </a:lnTo>
                  <a:lnTo>
                    <a:pt x="864" y="752"/>
                  </a:lnTo>
                  <a:lnTo>
                    <a:pt x="864" y="752"/>
                  </a:lnTo>
                  <a:lnTo>
                    <a:pt x="864" y="750"/>
                  </a:lnTo>
                  <a:lnTo>
                    <a:pt x="864" y="750"/>
                  </a:lnTo>
                  <a:lnTo>
                    <a:pt x="864" y="750"/>
                  </a:lnTo>
                  <a:lnTo>
                    <a:pt x="862" y="748"/>
                  </a:lnTo>
                  <a:lnTo>
                    <a:pt x="862" y="748"/>
                  </a:lnTo>
                  <a:lnTo>
                    <a:pt x="862" y="748"/>
                  </a:lnTo>
                  <a:lnTo>
                    <a:pt x="860" y="746"/>
                  </a:lnTo>
                  <a:lnTo>
                    <a:pt x="858" y="746"/>
                  </a:lnTo>
                  <a:lnTo>
                    <a:pt x="858" y="746"/>
                  </a:lnTo>
                  <a:lnTo>
                    <a:pt x="858" y="744"/>
                  </a:lnTo>
                  <a:lnTo>
                    <a:pt x="854" y="744"/>
                  </a:lnTo>
                  <a:lnTo>
                    <a:pt x="854" y="744"/>
                  </a:lnTo>
                  <a:lnTo>
                    <a:pt x="854" y="744"/>
                  </a:lnTo>
                  <a:lnTo>
                    <a:pt x="848" y="742"/>
                  </a:lnTo>
                  <a:lnTo>
                    <a:pt x="844" y="742"/>
                  </a:lnTo>
                  <a:lnTo>
                    <a:pt x="838" y="742"/>
                  </a:lnTo>
                  <a:lnTo>
                    <a:pt x="832" y="740"/>
                  </a:lnTo>
                  <a:lnTo>
                    <a:pt x="824" y="740"/>
                  </a:lnTo>
                  <a:lnTo>
                    <a:pt x="820" y="738"/>
                  </a:lnTo>
                  <a:lnTo>
                    <a:pt x="814" y="738"/>
                  </a:lnTo>
                  <a:lnTo>
                    <a:pt x="810" y="734"/>
                  </a:lnTo>
                  <a:lnTo>
                    <a:pt x="804" y="730"/>
                  </a:lnTo>
                  <a:lnTo>
                    <a:pt x="798" y="726"/>
                  </a:lnTo>
                  <a:lnTo>
                    <a:pt x="794" y="722"/>
                  </a:lnTo>
                  <a:lnTo>
                    <a:pt x="788" y="718"/>
                  </a:lnTo>
                  <a:lnTo>
                    <a:pt x="784" y="714"/>
                  </a:lnTo>
                  <a:lnTo>
                    <a:pt x="780" y="710"/>
                  </a:lnTo>
                  <a:lnTo>
                    <a:pt x="776" y="708"/>
                  </a:lnTo>
                  <a:lnTo>
                    <a:pt x="772" y="706"/>
                  </a:lnTo>
                  <a:lnTo>
                    <a:pt x="768" y="704"/>
                  </a:lnTo>
                  <a:lnTo>
                    <a:pt x="764" y="704"/>
                  </a:lnTo>
                  <a:lnTo>
                    <a:pt x="762" y="702"/>
                  </a:lnTo>
                  <a:lnTo>
                    <a:pt x="756" y="702"/>
                  </a:lnTo>
                  <a:lnTo>
                    <a:pt x="754" y="702"/>
                  </a:lnTo>
                  <a:lnTo>
                    <a:pt x="752" y="700"/>
                  </a:lnTo>
                  <a:lnTo>
                    <a:pt x="750" y="700"/>
                  </a:lnTo>
                  <a:lnTo>
                    <a:pt x="748" y="698"/>
                  </a:lnTo>
                  <a:lnTo>
                    <a:pt x="746" y="696"/>
                  </a:lnTo>
                  <a:lnTo>
                    <a:pt x="744" y="694"/>
                  </a:lnTo>
                  <a:lnTo>
                    <a:pt x="744" y="694"/>
                  </a:lnTo>
                  <a:lnTo>
                    <a:pt x="744" y="694"/>
                  </a:lnTo>
                  <a:lnTo>
                    <a:pt x="742" y="694"/>
                  </a:lnTo>
                  <a:lnTo>
                    <a:pt x="742" y="694"/>
                  </a:lnTo>
                  <a:lnTo>
                    <a:pt x="742" y="692"/>
                  </a:lnTo>
                  <a:lnTo>
                    <a:pt x="740" y="692"/>
                  </a:lnTo>
                  <a:lnTo>
                    <a:pt x="740" y="692"/>
                  </a:lnTo>
                  <a:lnTo>
                    <a:pt x="738" y="692"/>
                  </a:lnTo>
                  <a:lnTo>
                    <a:pt x="736" y="692"/>
                  </a:lnTo>
                  <a:lnTo>
                    <a:pt x="736" y="692"/>
                  </a:lnTo>
                  <a:lnTo>
                    <a:pt x="736" y="692"/>
                  </a:lnTo>
                  <a:lnTo>
                    <a:pt x="734" y="694"/>
                  </a:lnTo>
                  <a:lnTo>
                    <a:pt x="734" y="694"/>
                  </a:lnTo>
                  <a:lnTo>
                    <a:pt x="734" y="694"/>
                  </a:lnTo>
                  <a:lnTo>
                    <a:pt x="732" y="694"/>
                  </a:lnTo>
                  <a:lnTo>
                    <a:pt x="730" y="696"/>
                  </a:lnTo>
                  <a:lnTo>
                    <a:pt x="726" y="698"/>
                  </a:lnTo>
                  <a:lnTo>
                    <a:pt x="726" y="698"/>
                  </a:lnTo>
                  <a:lnTo>
                    <a:pt x="724" y="698"/>
                  </a:lnTo>
                  <a:lnTo>
                    <a:pt x="724" y="698"/>
                  </a:lnTo>
                  <a:lnTo>
                    <a:pt x="724" y="698"/>
                  </a:lnTo>
                  <a:lnTo>
                    <a:pt x="722" y="696"/>
                  </a:lnTo>
                  <a:lnTo>
                    <a:pt x="722" y="692"/>
                  </a:lnTo>
                  <a:lnTo>
                    <a:pt x="720" y="690"/>
                  </a:lnTo>
                  <a:lnTo>
                    <a:pt x="718" y="682"/>
                  </a:lnTo>
                  <a:lnTo>
                    <a:pt x="716" y="680"/>
                  </a:lnTo>
                  <a:lnTo>
                    <a:pt x="714" y="676"/>
                  </a:lnTo>
                  <a:lnTo>
                    <a:pt x="714" y="674"/>
                  </a:lnTo>
                  <a:lnTo>
                    <a:pt x="714" y="670"/>
                  </a:lnTo>
                  <a:lnTo>
                    <a:pt x="712" y="664"/>
                  </a:lnTo>
                  <a:lnTo>
                    <a:pt x="712" y="660"/>
                  </a:lnTo>
                  <a:lnTo>
                    <a:pt x="710" y="658"/>
                  </a:lnTo>
                  <a:lnTo>
                    <a:pt x="710" y="658"/>
                  </a:lnTo>
                  <a:lnTo>
                    <a:pt x="710" y="658"/>
                  </a:lnTo>
                  <a:lnTo>
                    <a:pt x="710" y="654"/>
                  </a:lnTo>
                  <a:lnTo>
                    <a:pt x="710" y="654"/>
                  </a:lnTo>
                  <a:lnTo>
                    <a:pt x="710" y="654"/>
                  </a:lnTo>
                  <a:lnTo>
                    <a:pt x="708" y="652"/>
                  </a:lnTo>
                  <a:lnTo>
                    <a:pt x="708" y="652"/>
                  </a:lnTo>
                  <a:lnTo>
                    <a:pt x="706" y="652"/>
                  </a:lnTo>
                  <a:lnTo>
                    <a:pt x="704" y="650"/>
                  </a:lnTo>
                  <a:lnTo>
                    <a:pt x="704" y="650"/>
                  </a:lnTo>
                  <a:lnTo>
                    <a:pt x="704" y="650"/>
                  </a:lnTo>
                  <a:lnTo>
                    <a:pt x="700" y="650"/>
                  </a:lnTo>
                  <a:lnTo>
                    <a:pt x="700" y="650"/>
                  </a:lnTo>
                  <a:lnTo>
                    <a:pt x="700" y="650"/>
                  </a:lnTo>
                  <a:lnTo>
                    <a:pt x="698" y="650"/>
                  </a:lnTo>
                  <a:lnTo>
                    <a:pt x="694" y="652"/>
                  </a:lnTo>
                  <a:lnTo>
                    <a:pt x="692" y="652"/>
                  </a:lnTo>
                  <a:lnTo>
                    <a:pt x="690" y="652"/>
                  </a:lnTo>
                  <a:lnTo>
                    <a:pt x="688" y="650"/>
                  </a:lnTo>
                  <a:lnTo>
                    <a:pt x="688" y="650"/>
                  </a:lnTo>
                  <a:lnTo>
                    <a:pt x="688" y="650"/>
                  </a:lnTo>
                  <a:lnTo>
                    <a:pt x="686" y="646"/>
                  </a:lnTo>
                  <a:lnTo>
                    <a:pt x="686" y="642"/>
                  </a:lnTo>
                  <a:lnTo>
                    <a:pt x="686" y="638"/>
                  </a:lnTo>
                  <a:lnTo>
                    <a:pt x="686" y="632"/>
                  </a:lnTo>
                  <a:lnTo>
                    <a:pt x="686" y="626"/>
                  </a:lnTo>
                  <a:lnTo>
                    <a:pt x="686" y="620"/>
                  </a:lnTo>
                  <a:lnTo>
                    <a:pt x="686" y="614"/>
                  </a:lnTo>
                  <a:lnTo>
                    <a:pt x="688" y="608"/>
                  </a:lnTo>
                  <a:lnTo>
                    <a:pt x="688" y="602"/>
                  </a:lnTo>
                  <a:lnTo>
                    <a:pt x="690" y="596"/>
                  </a:lnTo>
                  <a:lnTo>
                    <a:pt x="694" y="590"/>
                  </a:lnTo>
                  <a:lnTo>
                    <a:pt x="696" y="584"/>
                  </a:lnTo>
                  <a:lnTo>
                    <a:pt x="702" y="572"/>
                  </a:lnTo>
                  <a:lnTo>
                    <a:pt x="704" y="566"/>
                  </a:lnTo>
                  <a:lnTo>
                    <a:pt x="708" y="562"/>
                  </a:lnTo>
                  <a:lnTo>
                    <a:pt x="710" y="558"/>
                  </a:lnTo>
                  <a:lnTo>
                    <a:pt x="714" y="554"/>
                  </a:lnTo>
                  <a:lnTo>
                    <a:pt x="722" y="546"/>
                  </a:lnTo>
                  <a:lnTo>
                    <a:pt x="728" y="538"/>
                  </a:lnTo>
                  <a:lnTo>
                    <a:pt x="732" y="536"/>
                  </a:lnTo>
                  <a:lnTo>
                    <a:pt x="734" y="534"/>
                  </a:lnTo>
                  <a:lnTo>
                    <a:pt x="738" y="532"/>
                  </a:lnTo>
                  <a:lnTo>
                    <a:pt x="740" y="530"/>
                  </a:lnTo>
                  <a:lnTo>
                    <a:pt x="742" y="530"/>
                  </a:lnTo>
                  <a:lnTo>
                    <a:pt x="744" y="530"/>
                  </a:lnTo>
                  <a:lnTo>
                    <a:pt x="744" y="528"/>
                  </a:lnTo>
                  <a:lnTo>
                    <a:pt x="746" y="528"/>
                  </a:lnTo>
                  <a:lnTo>
                    <a:pt x="746" y="528"/>
                  </a:lnTo>
                  <a:lnTo>
                    <a:pt x="748" y="526"/>
                  </a:lnTo>
                  <a:lnTo>
                    <a:pt x="748" y="526"/>
                  </a:lnTo>
                  <a:lnTo>
                    <a:pt x="748" y="526"/>
                  </a:lnTo>
                  <a:lnTo>
                    <a:pt x="748" y="526"/>
                  </a:lnTo>
                  <a:lnTo>
                    <a:pt x="750" y="524"/>
                  </a:lnTo>
                  <a:lnTo>
                    <a:pt x="750" y="524"/>
                  </a:lnTo>
                  <a:lnTo>
                    <a:pt x="750" y="522"/>
                  </a:lnTo>
                  <a:lnTo>
                    <a:pt x="750" y="520"/>
                  </a:lnTo>
                  <a:lnTo>
                    <a:pt x="750" y="520"/>
                  </a:lnTo>
                  <a:lnTo>
                    <a:pt x="750" y="518"/>
                  </a:lnTo>
                  <a:lnTo>
                    <a:pt x="750" y="516"/>
                  </a:lnTo>
                  <a:lnTo>
                    <a:pt x="750" y="514"/>
                  </a:lnTo>
                  <a:lnTo>
                    <a:pt x="750" y="514"/>
                  </a:lnTo>
                  <a:lnTo>
                    <a:pt x="748" y="514"/>
                  </a:lnTo>
                  <a:lnTo>
                    <a:pt x="748" y="512"/>
                  </a:lnTo>
                  <a:lnTo>
                    <a:pt x="748" y="512"/>
                  </a:lnTo>
                  <a:lnTo>
                    <a:pt x="748" y="512"/>
                  </a:lnTo>
                  <a:lnTo>
                    <a:pt x="748" y="512"/>
                  </a:lnTo>
                  <a:lnTo>
                    <a:pt x="748" y="512"/>
                  </a:lnTo>
                  <a:lnTo>
                    <a:pt x="748" y="510"/>
                  </a:lnTo>
                  <a:lnTo>
                    <a:pt x="748" y="510"/>
                  </a:lnTo>
                  <a:lnTo>
                    <a:pt x="748" y="510"/>
                  </a:lnTo>
                  <a:lnTo>
                    <a:pt x="750" y="510"/>
                  </a:lnTo>
                  <a:lnTo>
                    <a:pt x="750" y="508"/>
                  </a:lnTo>
                  <a:lnTo>
                    <a:pt x="750" y="508"/>
                  </a:lnTo>
                  <a:lnTo>
                    <a:pt x="752" y="506"/>
                  </a:lnTo>
                  <a:lnTo>
                    <a:pt x="752" y="504"/>
                  </a:lnTo>
                  <a:lnTo>
                    <a:pt x="754" y="500"/>
                  </a:lnTo>
                  <a:lnTo>
                    <a:pt x="754" y="496"/>
                  </a:lnTo>
                  <a:lnTo>
                    <a:pt x="756" y="494"/>
                  </a:lnTo>
                  <a:lnTo>
                    <a:pt x="756" y="492"/>
                  </a:lnTo>
                  <a:lnTo>
                    <a:pt x="756" y="492"/>
                  </a:lnTo>
                  <a:lnTo>
                    <a:pt x="758" y="492"/>
                  </a:lnTo>
                  <a:lnTo>
                    <a:pt x="760" y="494"/>
                  </a:lnTo>
                  <a:lnTo>
                    <a:pt x="760" y="496"/>
                  </a:lnTo>
                  <a:lnTo>
                    <a:pt x="760" y="496"/>
                  </a:lnTo>
                  <a:lnTo>
                    <a:pt x="762" y="496"/>
                  </a:lnTo>
                  <a:lnTo>
                    <a:pt x="764" y="496"/>
                  </a:lnTo>
                  <a:lnTo>
                    <a:pt x="764" y="496"/>
                  </a:lnTo>
                  <a:lnTo>
                    <a:pt x="764" y="496"/>
                  </a:lnTo>
                  <a:lnTo>
                    <a:pt x="766" y="496"/>
                  </a:lnTo>
                  <a:lnTo>
                    <a:pt x="766" y="496"/>
                  </a:lnTo>
                  <a:lnTo>
                    <a:pt x="768" y="496"/>
                  </a:lnTo>
                  <a:lnTo>
                    <a:pt x="768" y="496"/>
                  </a:lnTo>
                  <a:lnTo>
                    <a:pt x="768" y="496"/>
                  </a:lnTo>
                  <a:lnTo>
                    <a:pt x="770" y="496"/>
                  </a:lnTo>
                  <a:lnTo>
                    <a:pt x="770" y="496"/>
                  </a:lnTo>
                  <a:lnTo>
                    <a:pt x="774" y="492"/>
                  </a:lnTo>
                  <a:lnTo>
                    <a:pt x="778" y="490"/>
                  </a:lnTo>
                  <a:lnTo>
                    <a:pt x="782" y="484"/>
                  </a:lnTo>
                  <a:lnTo>
                    <a:pt x="786" y="480"/>
                  </a:lnTo>
                  <a:lnTo>
                    <a:pt x="790" y="476"/>
                  </a:lnTo>
                  <a:lnTo>
                    <a:pt x="794" y="470"/>
                  </a:lnTo>
                  <a:lnTo>
                    <a:pt x="794" y="468"/>
                  </a:lnTo>
                  <a:lnTo>
                    <a:pt x="796" y="466"/>
                  </a:lnTo>
                  <a:lnTo>
                    <a:pt x="796" y="466"/>
                  </a:lnTo>
                  <a:lnTo>
                    <a:pt x="796" y="466"/>
                  </a:lnTo>
                  <a:lnTo>
                    <a:pt x="796" y="464"/>
                  </a:lnTo>
                  <a:lnTo>
                    <a:pt x="796" y="464"/>
                  </a:lnTo>
                  <a:lnTo>
                    <a:pt x="796" y="464"/>
                  </a:lnTo>
                  <a:lnTo>
                    <a:pt x="798" y="462"/>
                  </a:lnTo>
                  <a:lnTo>
                    <a:pt x="798" y="462"/>
                  </a:lnTo>
                  <a:lnTo>
                    <a:pt x="798" y="460"/>
                  </a:lnTo>
                  <a:lnTo>
                    <a:pt x="796" y="460"/>
                  </a:lnTo>
                  <a:lnTo>
                    <a:pt x="796" y="460"/>
                  </a:lnTo>
                  <a:lnTo>
                    <a:pt x="796" y="458"/>
                  </a:lnTo>
                  <a:lnTo>
                    <a:pt x="796" y="458"/>
                  </a:lnTo>
                  <a:lnTo>
                    <a:pt x="796" y="458"/>
                  </a:lnTo>
                  <a:lnTo>
                    <a:pt x="796" y="456"/>
                  </a:lnTo>
                  <a:lnTo>
                    <a:pt x="794" y="454"/>
                  </a:lnTo>
                  <a:lnTo>
                    <a:pt x="794" y="454"/>
                  </a:lnTo>
                  <a:lnTo>
                    <a:pt x="792" y="454"/>
                  </a:lnTo>
                  <a:lnTo>
                    <a:pt x="794" y="454"/>
                  </a:lnTo>
                  <a:lnTo>
                    <a:pt x="794" y="454"/>
                  </a:lnTo>
                  <a:lnTo>
                    <a:pt x="794" y="454"/>
                  </a:lnTo>
                  <a:lnTo>
                    <a:pt x="796" y="452"/>
                  </a:lnTo>
                  <a:lnTo>
                    <a:pt x="796" y="452"/>
                  </a:lnTo>
                  <a:lnTo>
                    <a:pt x="796" y="450"/>
                  </a:lnTo>
                  <a:lnTo>
                    <a:pt x="798" y="448"/>
                  </a:lnTo>
                  <a:lnTo>
                    <a:pt x="798" y="446"/>
                  </a:lnTo>
                  <a:lnTo>
                    <a:pt x="800" y="442"/>
                  </a:lnTo>
                  <a:lnTo>
                    <a:pt x="802" y="440"/>
                  </a:lnTo>
                  <a:lnTo>
                    <a:pt x="802" y="442"/>
                  </a:lnTo>
                  <a:lnTo>
                    <a:pt x="802" y="442"/>
                  </a:lnTo>
                  <a:lnTo>
                    <a:pt x="802" y="444"/>
                  </a:lnTo>
                  <a:lnTo>
                    <a:pt x="802" y="444"/>
                  </a:lnTo>
                  <a:lnTo>
                    <a:pt x="802" y="446"/>
                  </a:lnTo>
                  <a:lnTo>
                    <a:pt x="802" y="452"/>
                  </a:lnTo>
                  <a:lnTo>
                    <a:pt x="804" y="460"/>
                  </a:lnTo>
                  <a:lnTo>
                    <a:pt x="804" y="468"/>
                  </a:lnTo>
                  <a:lnTo>
                    <a:pt x="804" y="474"/>
                  </a:lnTo>
                  <a:lnTo>
                    <a:pt x="804" y="482"/>
                  </a:lnTo>
                  <a:lnTo>
                    <a:pt x="804" y="484"/>
                  </a:lnTo>
                  <a:lnTo>
                    <a:pt x="802" y="488"/>
                  </a:lnTo>
                  <a:lnTo>
                    <a:pt x="800" y="490"/>
                  </a:lnTo>
                  <a:lnTo>
                    <a:pt x="798" y="494"/>
                  </a:lnTo>
                  <a:lnTo>
                    <a:pt x="796" y="496"/>
                  </a:lnTo>
                  <a:lnTo>
                    <a:pt x="794" y="498"/>
                  </a:lnTo>
                  <a:lnTo>
                    <a:pt x="794" y="498"/>
                  </a:lnTo>
                  <a:lnTo>
                    <a:pt x="794" y="498"/>
                  </a:lnTo>
                  <a:lnTo>
                    <a:pt x="792" y="502"/>
                  </a:lnTo>
                  <a:lnTo>
                    <a:pt x="792" y="502"/>
                  </a:lnTo>
                  <a:lnTo>
                    <a:pt x="790" y="504"/>
                  </a:lnTo>
                  <a:lnTo>
                    <a:pt x="790" y="506"/>
                  </a:lnTo>
                  <a:lnTo>
                    <a:pt x="790" y="506"/>
                  </a:lnTo>
                  <a:lnTo>
                    <a:pt x="790" y="506"/>
                  </a:lnTo>
                  <a:lnTo>
                    <a:pt x="788" y="508"/>
                  </a:lnTo>
                  <a:lnTo>
                    <a:pt x="788" y="508"/>
                  </a:lnTo>
                  <a:lnTo>
                    <a:pt x="790" y="510"/>
                  </a:lnTo>
                  <a:lnTo>
                    <a:pt x="790" y="510"/>
                  </a:lnTo>
                  <a:lnTo>
                    <a:pt x="790" y="510"/>
                  </a:lnTo>
                  <a:lnTo>
                    <a:pt x="790" y="512"/>
                  </a:lnTo>
                  <a:lnTo>
                    <a:pt x="792" y="512"/>
                  </a:lnTo>
                  <a:lnTo>
                    <a:pt x="792" y="512"/>
                  </a:lnTo>
                  <a:lnTo>
                    <a:pt x="792" y="512"/>
                  </a:lnTo>
                  <a:lnTo>
                    <a:pt x="794" y="514"/>
                  </a:lnTo>
                  <a:lnTo>
                    <a:pt x="794" y="514"/>
                  </a:lnTo>
                  <a:lnTo>
                    <a:pt x="796" y="514"/>
                  </a:lnTo>
                  <a:lnTo>
                    <a:pt x="800" y="514"/>
                  </a:lnTo>
                  <a:lnTo>
                    <a:pt x="802" y="512"/>
                  </a:lnTo>
                  <a:lnTo>
                    <a:pt x="806" y="512"/>
                  </a:lnTo>
                  <a:lnTo>
                    <a:pt x="808" y="512"/>
                  </a:lnTo>
                  <a:lnTo>
                    <a:pt x="810" y="512"/>
                  </a:lnTo>
                  <a:lnTo>
                    <a:pt x="810" y="512"/>
                  </a:lnTo>
                  <a:lnTo>
                    <a:pt x="812" y="512"/>
                  </a:lnTo>
                  <a:lnTo>
                    <a:pt x="812" y="514"/>
                  </a:lnTo>
                  <a:lnTo>
                    <a:pt x="812" y="516"/>
                  </a:lnTo>
                  <a:lnTo>
                    <a:pt x="814" y="518"/>
                  </a:lnTo>
                  <a:lnTo>
                    <a:pt x="814" y="520"/>
                  </a:lnTo>
                  <a:lnTo>
                    <a:pt x="814" y="524"/>
                  </a:lnTo>
                  <a:lnTo>
                    <a:pt x="814" y="524"/>
                  </a:lnTo>
                  <a:lnTo>
                    <a:pt x="816" y="526"/>
                  </a:lnTo>
                  <a:lnTo>
                    <a:pt x="818" y="526"/>
                  </a:lnTo>
                  <a:lnTo>
                    <a:pt x="820" y="526"/>
                  </a:lnTo>
                  <a:lnTo>
                    <a:pt x="824" y="526"/>
                  </a:lnTo>
                  <a:lnTo>
                    <a:pt x="828" y="524"/>
                  </a:lnTo>
                  <a:lnTo>
                    <a:pt x="834" y="522"/>
                  </a:lnTo>
                  <a:lnTo>
                    <a:pt x="836" y="522"/>
                  </a:lnTo>
                  <a:lnTo>
                    <a:pt x="840" y="520"/>
                  </a:lnTo>
                  <a:lnTo>
                    <a:pt x="840" y="520"/>
                  </a:lnTo>
                  <a:lnTo>
                    <a:pt x="840" y="520"/>
                  </a:lnTo>
                  <a:lnTo>
                    <a:pt x="844" y="514"/>
                  </a:lnTo>
                  <a:lnTo>
                    <a:pt x="850" y="506"/>
                  </a:lnTo>
                  <a:lnTo>
                    <a:pt x="850" y="506"/>
                  </a:lnTo>
                  <a:lnTo>
                    <a:pt x="850" y="504"/>
                  </a:lnTo>
                  <a:lnTo>
                    <a:pt x="850" y="502"/>
                  </a:lnTo>
                  <a:lnTo>
                    <a:pt x="850" y="500"/>
                  </a:lnTo>
                  <a:lnTo>
                    <a:pt x="850" y="500"/>
                  </a:lnTo>
                  <a:lnTo>
                    <a:pt x="850" y="500"/>
                  </a:lnTo>
                  <a:lnTo>
                    <a:pt x="852" y="502"/>
                  </a:lnTo>
                  <a:lnTo>
                    <a:pt x="854" y="504"/>
                  </a:lnTo>
                  <a:lnTo>
                    <a:pt x="856" y="504"/>
                  </a:lnTo>
                  <a:lnTo>
                    <a:pt x="860" y="508"/>
                  </a:lnTo>
                  <a:lnTo>
                    <a:pt x="862" y="510"/>
                  </a:lnTo>
                  <a:lnTo>
                    <a:pt x="866" y="512"/>
                  </a:lnTo>
                  <a:lnTo>
                    <a:pt x="868" y="514"/>
                  </a:lnTo>
                  <a:lnTo>
                    <a:pt x="868" y="514"/>
                  </a:lnTo>
                  <a:lnTo>
                    <a:pt x="870" y="514"/>
                  </a:lnTo>
                  <a:lnTo>
                    <a:pt x="872" y="514"/>
                  </a:lnTo>
                  <a:lnTo>
                    <a:pt x="872" y="514"/>
                  </a:lnTo>
                  <a:lnTo>
                    <a:pt x="874" y="514"/>
                  </a:lnTo>
                  <a:lnTo>
                    <a:pt x="878" y="514"/>
                  </a:lnTo>
                  <a:lnTo>
                    <a:pt x="882" y="514"/>
                  </a:lnTo>
                  <a:lnTo>
                    <a:pt x="886" y="514"/>
                  </a:lnTo>
                  <a:lnTo>
                    <a:pt x="886" y="514"/>
                  </a:lnTo>
                  <a:lnTo>
                    <a:pt x="886" y="514"/>
                  </a:lnTo>
                  <a:lnTo>
                    <a:pt x="890" y="514"/>
                  </a:lnTo>
                  <a:lnTo>
                    <a:pt x="890" y="514"/>
                  </a:lnTo>
                  <a:lnTo>
                    <a:pt x="890" y="514"/>
                  </a:lnTo>
                  <a:lnTo>
                    <a:pt x="892" y="512"/>
                  </a:lnTo>
                  <a:lnTo>
                    <a:pt x="892" y="512"/>
                  </a:lnTo>
                  <a:lnTo>
                    <a:pt x="894" y="512"/>
                  </a:lnTo>
                  <a:lnTo>
                    <a:pt x="894" y="510"/>
                  </a:lnTo>
                  <a:lnTo>
                    <a:pt x="894" y="510"/>
                  </a:lnTo>
                  <a:lnTo>
                    <a:pt x="896" y="510"/>
                  </a:lnTo>
                  <a:lnTo>
                    <a:pt x="896" y="508"/>
                  </a:lnTo>
                  <a:lnTo>
                    <a:pt x="896" y="508"/>
                  </a:lnTo>
                  <a:lnTo>
                    <a:pt x="896" y="506"/>
                  </a:lnTo>
                  <a:lnTo>
                    <a:pt x="894" y="506"/>
                  </a:lnTo>
                  <a:lnTo>
                    <a:pt x="894" y="506"/>
                  </a:lnTo>
                  <a:lnTo>
                    <a:pt x="894" y="504"/>
                  </a:lnTo>
                  <a:lnTo>
                    <a:pt x="894" y="504"/>
                  </a:lnTo>
                  <a:lnTo>
                    <a:pt x="894" y="504"/>
                  </a:lnTo>
                  <a:lnTo>
                    <a:pt x="892" y="502"/>
                  </a:lnTo>
                  <a:lnTo>
                    <a:pt x="892" y="502"/>
                  </a:lnTo>
                  <a:lnTo>
                    <a:pt x="890" y="500"/>
                  </a:lnTo>
                  <a:lnTo>
                    <a:pt x="886" y="498"/>
                  </a:lnTo>
                  <a:lnTo>
                    <a:pt x="882" y="494"/>
                  </a:lnTo>
                  <a:lnTo>
                    <a:pt x="878" y="492"/>
                  </a:lnTo>
                  <a:lnTo>
                    <a:pt x="876" y="490"/>
                  </a:lnTo>
                  <a:lnTo>
                    <a:pt x="874" y="490"/>
                  </a:lnTo>
                  <a:lnTo>
                    <a:pt x="872" y="490"/>
                  </a:lnTo>
                  <a:lnTo>
                    <a:pt x="872" y="488"/>
                  </a:lnTo>
                  <a:lnTo>
                    <a:pt x="870" y="486"/>
                  </a:lnTo>
                  <a:lnTo>
                    <a:pt x="870" y="486"/>
                  </a:lnTo>
                  <a:lnTo>
                    <a:pt x="870" y="484"/>
                  </a:lnTo>
                  <a:lnTo>
                    <a:pt x="870" y="482"/>
                  </a:lnTo>
                  <a:lnTo>
                    <a:pt x="868" y="478"/>
                  </a:lnTo>
                  <a:lnTo>
                    <a:pt x="868" y="476"/>
                  </a:lnTo>
                  <a:lnTo>
                    <a:pt x="868" y="472"/>
                  </a:lnTo>
                  <a:lnTo>
                    <a:pt x="868" y="472"/>
                  </a:lnTo>
                  <a:lnTo>
                    <a:pt x="866" y="472"/>
                  </a:lnTo>
                  <a:lnTo>
                    <a:pt x="864" y="470"/>
                  </a:lnTo>
                  <a:lnTo>
                    <a:pt x="864" y="470"/>
                  </a:lnTo>
                  <a:lnTo>
                    <a:pt x="864" y="470"/>
                  </a:lnTo>
                  <a:lnTo>
                    <a:pt x="862" y="468"/>
                  </a:lnTo>
                  <a:lnTo>
                    <a:pt x="860" y="468"/>
                  </a:lnTo>
                  <a:lnTo>
                    <a:pt x="858" y="466"/>
                  </a:lnTo>
                  <a:lnTo>
                    <a:pt x="856" y="464"/>
                  </a:lnTo>
                  <a:lnTo>
                    <a:pt x="854" y="460"/>
                  </a:lnTo>
                  <a:lnTo>
                    <a:pt x="852" y="456"/>
                  </a:lnTo>
                  <a:lnTo>
                    <a:pt x="852" y="456"/>
                  </a:lnTo>
                  <a:lnTo>
                    <a:pt x="852" y="456"/>
                  </a:lnTo>
                  <a:lnTo>
                    <a:pt x="848" y="454"/>
                  </a:lnTo>
                  <a:lnTo>
                    <a:pt x="848" y="454"/>
                  </a:lnTo>
                  <a:lnTo>
                    <a:pt x="848" y="454"/>
                  </a:lnTo>
                  <a:lnTo>
                    <a:pt x="844" y="450"/>
                  </a:lnTo>
                  <a:lnTo>
                    <a:pt x="840" y="448"/>
                  </a:lnTo>
                  <a:lnTo>
                    <a:pt x="840" y="448"/>
                  </a:lnTo>
                  <a:lnTo>
                    <a:pt x="840" y="448"/>
                  </a:lnTo>
                  <a:lnTo>
                    <a:pt x="842" y="448"/>
                  </a:lnTo>
                  <a:lnTo>
                    <a:pt x="844" y="446"/>
                  </a:lnTo>
                  <a:lnTo>
                    <a:pt x="844" y="446"/>
                  </a:lnTo>
                  <a:lnTo>
                    <a:pt x="846" y="446"/>
                  </a:lnTo>
                  <a:lnTo>
                    <a:pt x="848" y="446"/>
                  </a:lnTo>
                  <a:lnTo>
                    <a:pt x="848" y="446"/>
                  </a:lnTo>
                  <a:lnTo>
                    <a:pt x="848" y="444"/>
                  </a:lnTo>
                  <a:lnTo>
                    <a:pt x="850" y="442"/>
                  </a:lnTo>
                  <a:lnTo>
                    <a:pt x="850" y="442"/>
                  </a:lnTo>
                  <a:lnTo>
                    <a:pt x="850" y="442"/>
                  </a:lnTo>
                  <a:lnTo>
                    <a:pt x="852" y="440"/>
                  </a:lnTo>
                  <a:lnTo>
                    <a:pt x="852" y="440"/>
                  </a:lnTo>
                  <a:lnTo>
                    <a:pt x="852" y="438"/>
                  </a:lnTo>
                  <a:lnTo>
                    <a:pt x="854" y="430"/>
                  </a:lnTo>
                  <a:lnTo>
                    <a:pt x="854" y="422"/>
                  </a:lnTo>
                  <a:lnTo>
                    <a:pt x="854" y="414"/>
                  </a:lnTo>
                  <a:lnTo>
                    <a:pt x="854" y="414"/>
                  </a:lnTo>
                  <a:lnTo>
                    <a:pt x="854" y="414"/>
                  </a:lnTo>
                  <a:lnTo>
                    <a:pt x="852" y="410"/>
                  </a:lnTo>
                  <a:lnTo>
                    <a:pt x="852" y="410"/>
                  </a:lnTo>
                  <a:lnTo>
                    <a:pt x="852" y="410"/>
                  </a:lnTo>
                  <a:lnTo>
                    <a:pt x="854" y="408"/>
                  </a:lnTo>
                  <a:lnTo>
                    <a:pt x="854" y="408"/>
                  </a:lnTo>
                  <a:lnTo>
                    <a:pt x="856" y="408"/>
                  </a:lnTo>
                  <a:lnTo>
                    <a:pt x="858" y="406"/>
                  </a:lnTo>
                  <a:lnTo>
                    <a:pt x="862" y="404"/>
                  </a:lnTo>
                  <a:lnTo>
                    <a:pt x="866" y="400"/>
                  </a:lnTo>
                  <a:lnTo>
                    <a:pt x="870" y="396"/>
                  </a:lnTo>
                  <a:lnTo>
                    <a:pt x="874" y="392"/>
                  </a:lnTo>
                  <a:lnTo>
                    <a:pt x="878" y="388"/>
                  </a:lnTo>
                  <a:lnTo>
                    <a:pt x="882" y="384"/>
                  </a:lnTo>
                  <a:lnTo>
                    <a:pt x="882" y="384"/>
                  </a:lnTo>
                  <a:lnTo>
                    <a:pt x="882" y="384"/>
                  </a:lnTo>
                  <a:lnTo>
                    <a:pt x="882" y="382"/>
                  </a:lnTo>
                  <a:lnTo>
                    <a:pt x="884" y="380"/>
                  </a:lnTo>
                  <a:lnTo>
                    <a:pt x="884" y="380"/>
                  </a:lnTo>
                  <a:lnTo>
                    <a:pt x="884" y="380"/>
                  </a:lnTo>
                  <a:lnTo>
                    <a:pt x="884" y="380"/>
                  </a:lnTo>
                  <a:lnTo>
                    <a:pt x="884" y="380"/>
                  </a:lnTo>
                  <a:lnTo>
                    <a:pt x="884" y="378"/>
                  </a:lnTo>
                  <a:lnTo>
                    <a:pt x="884" y="378"/>
                  </a:lnTo>
                  <a:lnTo>
                    <a:pt x="884" y="378"/>
                  </a:lnTo>
                  <a:lnTo>
                    <a:pt x="884" y="376"/>
                  </a:lnTo>
                  <a:lnTo>
                    <a:pt x="882" y="374"/>
                  </a:lnTo>
                  <a:lnTo>
                    <a:pt x="882" y="374"/>
                  </a:lnTo>
                  <a:lnTo>
                    <a:pt x="882" y="372"/>
                  </a:lnTo>
                  <a:lnTo>
                    <a:pt x="880" y="370"/>
                  </a:lnTo>
                  <a:lnTo>
                    <a:pt x="878" y="366"/>
                  </a:lnTo>
                  <a:lnTo>
                    <a:pt x="874" y="364"/>
                  </a:lnTo>
                  <a:lnTo>
                    <a:pt x="872" y="360"/>
                  </a:lnTo>
                  <a:lnTo>
                    <a:pt x="872" y="358"/>
                  </a:lnTo>
                  <a:lnTo>
                    <a:pt x="872" y="356"/>
                  </a:lnTo>
                  <a:lnTo>
                    <a:pt x="872" y="354"/>
                  </a:lnTo>
                  <a:lnTo>
                    <a:pt x="872" y="350"/>
                  </a:lnTo>
                  <a:lnTo>
                    <a:pt x="874" y="348"/>
                  </a:lnTo>
                  <a:lnTo>
                    <a:pt x="876" y="344"/>
                  </a:lnTo>
                  <a:lnTo>
                    <a:pt x="878" y="338"/>
                  </a:lnTo>
                  <a:lnTo>
                    <a:pt x="880" y="334"/>
                  </a:lnTo>
                  <a:lnTo>
                    <a:pt x="880" y="332"/>
                  </a:lnTo>
                  <a:lnTo>
                    <a:pt x="880" y="328"/>
                  </a:lnTo>
                  <a:lnTo>
                    <a:pt x="880" y="324"/>
                  </a:lnTo>
                  <a:lnTo>
                    <a:pt x="880" y="316"/>
                  </a:lnTo>
                  <a:lnTo>
                    <a:pt x="880" y="310"/>
                  </a:lnTo>
                  <a:lnTo>
                    <a:pt x="880" y="306"/>
                  </a:lnTo>
                  <a:lnTo>
                    <a:pt x="878" y="302"/>
                  </a:lnTo>
                  <a:lnTo>
                    <a:pt x="876" y="298"/>
                  </a:lnTo>
                  <a:lnTo>
                    <a:pt x="876" y="298"/>
                  </a:lnTo>
                  <a:lnTo>
                    <a:pt x="876" y="298"/>
                  </a:lnTo>
                  <a:lnTo>
                    <a:pt x="872" y="294"/>
                  </a:lnTo>
                  <a:lnTo>
                    <a:pt x="872" y="294"/>
                  </a:lnTo>
                  <a:lnTo>
                    <a:pt x="872" y="294"/>
                  </a:lnTo>
                  <a:lnTo>
                    <a:pt x="870" y="292"/>
                  </a:lnTo>
                  <a:lnTo>
                    <a:pt x="868" y="290"/>
                  </a:lnTo>
                  <a:lnTo>
                    <a:pt x="864" y="288"/>
                  </a:lnTo>
                  <a:lnTo>
                    <a:pt x="862" y="286"/>
                  </a:lnTo>
                  <a:lnTo>
                    <a:pt x="858" y="284"/>
                  </a:lnTo>
                  <a:lnTo>
                    <a:pt x="854" y="282"/>
                  </a:lnTo>
                  <a:lnTo>
                    <a:pt x="848" y="280"/>
                  </a:lnTo>
                  <a:lnTo>
                    <a:pt x="842" y="278"/>
                  </a:lnTo>
                  <a:lnTo>
                    <a:pt x="848" y="278"/>
                  </a:lnTo>
                  <a:lnTo>
                    <a:pt x="856" y="278"/>
                  </a:lnTo>
                  <a:lnTo>
                    <a:pt x="856" y="278"/>
                  </a:lnTo>
                  <a:lnTo>
                    <a:pt x="860" y="276"/>
                  </a:lnTo>
                  <a:lnTo>
                    <a:pt x="860" y="276"/>
                  </a:lnTo>
                  <a:lnTo>
                    <a:pt x="858" y="272"/>
                  </a:lnTo>
                  <a:lnTo>
                    <a:pt x="854" y="270"/>
                  </a:lnTo>
                  <a:lnTo>
                    <a:pt x="852" y="270"/>
                  </a:lnTo>
                  <a:lnTo>
                    <a:pt x="852" y="268"/>
                  </a:lnTo>
                  <a:lnTo>
                    <a:pt x="850" y="266"/>
                  </a:lnTo>
                  <a:lnTo>
                    <a:pt x="850" y="266"/>
                  </a:lnTo>
                  <a:lnTo>
                    <a:pt x="852" y="266"/>
                  </a:lnTo>
                  <a:lnTo>
                    <a:pt x="852" y="264"/>
                  </a:lnTo>
                  <a:lnTo>
                    <a:pt x="854" y="264"/>
                  </a:lnTo>
                  <a:lnTo>
                    <a:pt x="858" y="264"/>
                  </a:lnTo>
                  <a:lnTo>
                    <a:pt x="864" y="266"/>
                  </a:lnTo>
                  <a:lnTo>
                    <a:pt x="874" y="268"/>
                  </a:lnTo>
                  <a:lnTo>
                    <a:pt x="876" y="268"/>
                  </a:lnTo>
                  <a:lnTo>
                    <a:pt x="876" y="268"/>
                  </a:lnTo>
                  <a:lnTo>
                    <a:pt x="876" y="268"/>
                  </a:lnTo>
                  <a:lnTo>
                    <a:pt x="880" y="270"/>
                  </a:lnTo>
                  <a:lnTo>
                    <a:pt x="880" y="270"/>
                  </a:lnTo>
                  <a:lnTo>
                    <a:pt x="880" y="270"/>
                  </a:lnTo>
                  <a:lnTo>
                    <a:pt x="884" y="270"/>
                  </a:lnTo>
                  <a:lnTo>
                    <a:pt x="886" y="270"/>
                  </a:lnTo>
                  <a:lnTo>
                    <a:pt x="894" y="270"/>
                  </a:lnTo>
                  <a:lnTo>
                    <a:pt x="896" y="270"/>
                  </a:lnTo>
                  <a:lnTo>
                    <a:pt x="898" y="270"/>
                  </a:lnTo>
                  <a:lnTo>
                    <a:pt x="898" y="270"/>
                  </a:lnTo>
                  <a:lnTo>
                    <a:pt x="900" y="274"/>
                  </a:lnTo>
                  <a:lnTo>
                    <a:pt x="902" y="278"/>
                  </a:lnTo>
                  <a:lnTo>
                    <a:pt x="902" y="278"/>
                  </a:lnTo>
                  <a:lnTo>
                    <a:pt x="902" y="280"/>
                  </a:lnTo>
                  <a:lnTo>
                    <a:pt x="902" y="282"/>
                  </a:lnTo>
                  <a:lnTo>
                    <a:pt x="902" y="282"/>
                  </a:lnTo>
                  <a:lnTo>
                    <a:pt x="904" y="282"/>
                  </a:lnTo>
                  <a:lnTo>
                    <a:pt x="906" y="284"/>
                  </a:lnTo>
                  <a:lnTo>
                    <a:pt x="906" y="284"/>
                  </a:lnTo>
                  <a:lnTo>
                    <a:pt x="906" y="284"/>
                  </a:lnTo>
                  <a:lnTo>
                    <a:pt x="908" y="286"/>
                  </a:lnTo>
                  <a:lnTo>
                    <a:pt x="908" y="286"/>
                  </a:lnTo>
                  <a:lnTo>
                    <a:pt x="908" y="286"/>
                  </a:lnTo>
                  <a:lnTo>
                    <a:pt x="912" y="286"/>
                  </a:lnTo>
                  <a:lnTo>
                    <a:pt x="912" y="286"/>
                  </a:lnTo>
                  <a:lnTo>
                    <a:pt x="914" y="286"/>
                  </a:lnTo>
                  <a:lnTo>
                    <a:pt x="914" y="286"/>
                  </a:lnTo>
                  <a:lnTo>
                    <a:pt x="916" y="286"/>
                  </a:lnTo>
                  <a:lnTo>
                    <a:pt x="918" y="286"/>
                  </a:lnTo>
                  <a:lnTo>
                    <a:pt x="918" y="286"/>
                  </a:lnTo>
                  <a:lnTo>
                    <a:pt x="920" y="286"/>
                  </a:lnTo>
                  <a:lnTo>
                    <a:pt x="922" y="284"/>
                  </a:lnTo>
                  <a:lnTo>
                    <a:pt x="922" y="284"/>
                  </a:lnTo>
                  <a:lnTo>
                    <a:pt x="922" y="284"/>
                  </a:lnTo>
                  <a:lnTo>
                    <a:pt x="922" y="282"/>
                  </a:lnTo>
                  <a:lnTo>
                    <a:pt x="922" y="282"/>
                  </a:lnTo>
                  <a:lnTo>
                    <a:pt x="924" y="282"/>
                  </a:lnTo>
                  <a:lnTo>
                    <a:pt x="924" y="280"/>
                  </a:lnTo>
                  <a:lnTo>
                    <a:pt x="924" y="280"/>
                  </a:lnTo>
                  <a:lnTo>
                    <a:pt x="924" y="278"/>
                  </a:lnTo>
                  <a:lnTo>
                    <a:pt x="924" y="278"/>
                  </a:lnTo>
                  <a:lnTo>
                    <a:pt x="924" y="278"/>
                  </a:lnTo>
                  <a:lnTo>
                    <a:pt x="922" y="276"/>
                  </a:lnTo>
                  <a:lnTo>
                    <a:pt x="922" y="276"/>
                  </a:lnTo>
                  <a:lnTo>
                    <a:pt x="922" y="276"/>
                  </a:lnTo>
                  <a:lnTo>
                    <a:pt x="922" y="274"/>
                  </a:lnTo>
                  <a:lnTo>
                    <a:pt x="920" y="274"/>
                  </a:lnTo>
                  <a:lnTo>
                    <a:pt x="920" y="274"/>
                  </a:lnTo>
                  <a:lnTo>
                    <a:pt x="918" y="272"/>
                  </a:lnTo>
                  <a:lnTo>
                    <a:pt x="916" y="272"/>
                  </a:lnTo>
                  <a:lnTo>
                    <a:pt x="912" y="270"/>
                  </a:lnTo>
                  <a:lnTo>
                    <a:pt x="908" y="270"/>
                  </a:lnTo>
                  <a:lnTo>
                    <a:pt x="908" y="270"/>
                  </a:lnTo>
                  <a:lnTo>
                    <a:pt x="906" y="266"/>
                  </a:lnTo>
                  <a:lnTo>
                    <a:pt x="906" y="262"/>
                  </a:lnTo>
                  <a:lnTo>
                    <a:pt x="906" y="258"/>
                  </a:lnTo>
                  <a:lnTo>
                    <a:pt x="906" y="256"/>
                  </a:lnTo>
                  <a:lnTo>
                    <a:pt x="906" y="254"/>
                  </a:lnTo>
                  <a:lnTo>
                    <a:pt x="908" y="252"/>
                  </a:lnTo>
                  <a:lnTo>
                    <a:pt x="910" y="250"/>
                  </a:lnTo>
                  <a:lnTo>
                    <a:pt x="912" y="250"/>
                  </a:lnTo>
                  <a:lnTo>
                    <a:pt x="914" y="250"/>
                  </a:lnTo>
                  <a:lnTo>
                    <a:pt x="916" y="252"/>
                  </a:lnTo>
                  <a:lnTo>
                    <a:pt x="916" y="252"/>
                  </a:lnTo>
                  <a:lnTo>
                    <a:pt x="918" y="254"/>
                  </a:lnTo>
                  <a:lnTo>
                    <a:pt x="918" y="256"/>
                  </a:lnTo>
                  <a:lnTo>
                    <a:pt x="920" y="260"/>
                  </a:lnTo>
                  <a:lnTo>
                    <a:pt x="922" y="262"/>
                  </a:lnTo>
                  <a:lnTo>
                    <a:pt x="924" y="264"/>
                  </a:lnTo>
                  <a:lnTo>
                    <a:pt x="924" y="264"/>
                  </a:lnTo>
                  <a:lnTo>
                    <a:pt x="924" y="264"/>
                  </a:lnTo>
                  <a:lnTo>
                    <a:pt x="926" y="266"/>
                  </a:lnTo>
                  <a:lnTo>
                    <a:pt x="926" y="266"/>
                  </a:lnTo>
                  <a:lnTo>
                    <a:pt x="926" y="266"/>
                  </a:lnTo>
                  <a:lnTo>
                    <a:pt x="928" y="268"/>
                  </a:lnTo>
                  <a:lnTo>
                    <a:pt x="930" y="272"/>
                  </a:lnTo>
                  <a:lnTo>
                    <a:pt x="932" y="274"/>
                  </a:lnTo>
                  <a:lnTo>
                    <a:pt x="934" y="276"/>
                  </a:lnTo>
                  <a:lnTo>
                    <a:pt x="934" y="276"/>
                  </a:lnTo>
                  <a:lnTo>
                    <a:pt x="934" y="276"/>
                  </a:lnTo>
                  <a:lnTo>
                    <a:pt x="936" y="278"/>
                  </a:lnTo>
                  <a:lnTo>
                    <a:pt x="936" y="278"/>
                  </a:lnTo>
                  <a:lnTo>
                    <a:pt x="936" y="278"/>
                  </a:lnTo>
                  <a:lnTo>
                    <a:pt x="938" y="278"/>
                  </a:lnTo>
                  <a:lnTo>
                    <a:pt x="938" y="278"/>
                  </a:lnTo>
                  <a:lnTo>
                    <a:pt x="938" y="278"/>
                  </a:lnTo>
                  <a:lnTo>
                    <a:pt x="942" y="278"/>
                  </a:lnTo>
                  <a:lnTo>
                    <a:pt x="944" y="278"/>
                  </a:lnTo>
                  <a:lnTo>
                    <a:pt x="946" y="278"/>
                  </a:lnTo>
                  <a:lnTo>
                    <a:pt x="948" y="278"/>
                  </a:lnTo>
                  <a:lnTo>
                    <a:pt x="948" y="278"/>
                  </a:lnTo>
                  <a:lnTo>
                    <a:pt x="950" y="286"/>
                  </a:lnTo>
                  <a:lnTo>
                    <a:pt x="954" y="296"/>
                  </a:lnTo>
                  <a:lnTo>
                    <a:pt x="956" y="302"/>
                  </a:lnTo>
                  <a:lnTo>
                    <a:pt x="958" y="306"/>
                  </a:lnTo>
                  <a:lnTo>
                    <a:pt x="960" y="312"/>
                  </a:lnTo>
                  <a:lnTo>
                    <a:pt x="964" y="316"/>
                  </a:lnTo>
                  <a:lnTo>
                    <a:pt x="964" y="318"/>
                  </a:lnTo>
                  <a:lnTo>
                    <a:pt x="964" y="318"/>
                  </a:lnTo>
                  <a:lnTo>
                    <a:pt x="964" y="318"/>
                  </a:lnTo>
                  <a:lnTo>
                    <a:pt x="966" y="320"/>
                  </a:lnTo>
                  <a:lnTo>
                    <a:pt x="966" y="320"/>
                  </a:lnTo>
                  <a:lnTo>
                    <a:pt x="966" y="320"/>
                  </a:lnTo>
                  <a:lnTo>
                    <a:pt x="966" y="322"/>
                  </a:lnTo>
                  <a:lnTo>
                    <a:pt x="966" y="322"/>
                  </a:lnTo>
                  <a:lnTo>
                    <a:pt x="966" y="322"/>
                  </a:lnTo>
                  <a:lnTo>
                    <a:pt x="968" y="324"/>
                  </a:lnTo>
                  <a:lnTo>
                    <a:pt x="968" y="324"/>
                  </a:lnTo>
                  <a:lnTo>
                    <a:pt x="968" y="324"/>
                  </a:lnTo>
                  <a:lnTo>
                    <a:pt x="972" y="324"/>
                  </a:lnTo>
                  <a:lnTo>
                    <a:pt x="972" y="324"/>
                  </a:lnTo>
                  <a:lnTo>
                    <a:pt x="972" y="324"/>
                  </a:lnTo>
                  <a:lnTo>
                    <a:pt x="974" y="326"/>
                  </a:lnTo>
                  <a:lnTo>
                    <a:pt x="978" y="326"/>
                  </a:lnTo>
                  <a:lnTo>
                    <a:pt x="980" y="326"/>
                  </a:lnTo>
                  <a:lnTo>
                    <a:pt x="982" y="326"/>
                  </a:lnTo>
                  <a:lnTo>
                    <a:pt x="986" y="328"/>
                  </a:lnTo>
                  <a:lnTo>
                    <a:pt x="988" y="328"/>
                  </a:lnTo>
                  <a:lnTo>
                    <a:pt x="990" y="328"/>
                  </a:lnTo>
                  <a:lnTo>
                    <a:pt x="990" y="328"/>
                  </a:lnTo>
                  <a:lnTo>
                    <a:pt x="992" y="332"/>
                  </a:lnTo>
                  <a:lnTo>
                    <a:pt x="994" y="338"/>
                  </a:lnTo>
                  <a:lnTo>
                    <a:pt x="996" y="344"/>
                  </a:lnTo>
                  <a:lnTo>
                    <a:pt x="998" y="348"/>
                  </a:lnTo>
                  <a:lnTo>
                    <a:pt x="1000" y="352"/>
                  </a:lnTo>
                  <a:lnTo>
                    <a:pt x="1000" y="352"/>
                  </a:lnTo>
                  <a:lnTo>
                    <a:pt x="1000" y="352"/>
                  </a:lnTo>
                  <a:lnTo>
                    <a:pt x="1000" y="354"/>
                  </a:lnTo>
                  <a:lnTo>
                    <a:pt x="1000" y="354"/>
                  </a:lnTo>
                  <a:lnTo>
                    <a:pt x="1000" y="354"/>
                  </a:lnTo>
                  <a:lnTo>
                    <a:pt x="1002" y="356"/>
                  </a:lnTo>
                  <a:lnTo>
                    <a:pt x="1004" y="358"/>
                  </a:lnTo>
                  <a:lnTo>
                    <a:pt x="1006" y="360"/>
                  </a:lnTo>
                  <a:lnTo>
                    <a:pt x="1008" y="362"/>
                  </a:lnTo>
                  <a:lnTo>
                    <a:pt x="1010" y="362"/>
                  </a:lnTo>
                  <a:lnTo>
                    <a:pt x="1010" y="364"/>
                  </a:lnTo>
                  <a:lnTo>
                    <a:pt x="1010" y="374"/>
                  </a:lnTo>
                  <a:lnTo>
                    <a:pt x="1010" y="380"/>
                  </a:lnTo>
                  <a:lnTo>
                    <a:pt x="1008" y="384"/>
                  </a:lnTo>
                  <a:lnTo>
                    <a:pt x="1006" y="388"/>
                  </a:lnTo>
                  <a:lnTo>
                    <a:pt x="1004" y="392"/>
                  </a:lnTo>
                  <a:lnTo>
                    <a:pt x="1002" y="396"/>
                  </a:lnTo>
                  <a:lnTo>
                    <a:pt x="998" y="400"/>
                  </a:lnTo>
                  <a:lnTo>
                    <a:pt x="998" y="400"/>
                  </a:lnTo>
                  <a:lnTo>
                    <a:pt x="998" y="400"/>
                  </a:lnTo>
                  <a:lnTo>
                    <a:pt x="996" y="402"/>
                  </a:lnTo>
                  <a:lnTo>
                    <a:pt x="994" y="404"/>
                  </a:lnTo>
                  <a:lnTo>
                    <a:pt x="992" y="406"/>
                  </a:lnTo>
                  <a:lnTo>
                    <a:pt x="992" y="406"/>
                  </a:lnTo>
                  <a:lnTo>
                    <a:pt x="992" y="408"/>
                  </a:lnTo>
                  <a:lnTo>
                    <a:pt x="990" y="408"/>
                  </a:lnTo>
                  <a:lnTo>
                    <a:pt x="990" y="410"/>
                  </a:lnTo>
                  <a:lnTo>
                    <a:pt x="988" y="412"/>
                  </a:lnTo>
                  <a:lnTo>
                    <a:pt x="988" y="414"/>
                  </a:lnTo>
                  <a:lnTo>
                    <a:pt x="988" y="414"/>
                  </a:lnTo>
                  <a:lnTo>
                    <a:pt x="986" y="414"/>
                  </a:lnTo>
                  <a:lnTo>
                    <a:pt x="986" y="418"/>
                  </a:lnTo>
                  <a:lnTo>
                    <a:pt x="986" y="420"/>
                  </a:lnTo>
                  <a:lnTo>
                    <a:pt x="986" y="422"/>
                  </a:lnTo>
                  <a:lnTo>
                    <a:pt x="984" y="424"/>
                  </a:lnTo>
                  <a:lnTo>
                    <a:pt x="984" y="426"/>
                  </a:lnTo>
                  <a:lnTo>
                    <a:pt x="984" y="428"/>
                  </a:lnTo>
                  <a:lnTo>
                    <a:pt x="984" y="428"/>
                  </a:lnTo>
                  <a:lnTo>
                    <a:pt x="984" y="428"/>
                  </a:lnTo>
                  <a:lnTo>
                    <a:pt x="984" y="430"/>
                  </a:lnTo>
                  <a:lnTo>
                    <a:pt x="984" y="430"/>
                  </a:lnTo>
                  <a:lnTo>
                    <a:pt x="984" y="432"/>
                  </a:lnTo>
                  <a:lnTo>
                    <a:pt x="984" y="436"/>
                  </a:lnTo>
                  <a:lnTo>
                    <a:pt x="984" y="436"/>
                  </a:lnTo>
                  <a:lnTo>
                    <a:pt x="984" y="438"/>
                  </a:lnTo>
                  <a:lnTo>
                    <a:pt x="984" y="442"/>
                  </a:lnTo>
                  <a:lnTo>
                    <a:pt x="984" y="444"/>
                  </a:lnTo>
                  <a:lnTo>
                    <a:pt x="984" y="446"/>
                  </a:lnTo>
                  <a:lnTo>
                    <a:pt x="984" y="448"/>
                  </a:lnTo>
                  <a:lnTo>
                    <a:pt x="984" y="450"/>
                  </a:lnTo>
                  <a:lnTo>
                    <a:pt x="984" y="450"/>
                  </a:lnTo>
                  <a:lnTo>
                    <a:pt x="984" y="450"/>
                  </a:lnTo>
                  <a:lnTo>
                    <a:pt x="982" y="450"/>
                  </a:lnTo>
                  <a:lnTo>
                    <a:pt x="980" y="452"/>
                  </a:lnTo>
                  <a:lnTo>
                    <a:pt x="978" y="452"/>
                  </a:lnTo>
                  <a:lnTo>
                    <a:pt x="974" y="452"/>
                  </a:lnTo>
                  <a:lnTo>
                    <a:pt x="972" y="454"/>
                  </a:lnTo>
                  <a:lnTo>
                    <a:pt x="964" y="452"/>
                  </a:lnTo>
                  <a:lnTo>
                    <a:pt x="956" y="452"/>
                  </a:lnTo>
                  <a:lnTo>
                    <a:pt x="954" y="452"/>
                  </a:lnTo>
                  <a:lnTo>
                    <a:pt x="950" y="452"/>
                  </a:lnTo>
                  <a:lnTo>
                    <a:pt x="946" y="450"/>
                  </a:lnTo>
                  <a:lnTo>
                    <a:pt x="944" y="448"/>
                  </a:lnTo>
                  <a:lnTo>
                    <a:pt x="944" y="448"/>
                  </a:lnTo>
                  <a:lnTo>
                    <a:pt x="940" y="448"/>
                  </a:lnTo>
                  <a:lnTo>
                    <a:pt x="938" y="450"/>
                  </a:lnTo>
                  <a:lnTo>
                    <a:pt x="934" y="452"/>
                  </a:lnTo>
                  <a:lnTo>
                    <a:pt x="932" y="454"/>
                  </a:lnTo>
                  <a:lnTo>
                    <a:pt x="928" y="454"/>
                  </a:lnTo>
                  <a:lnTo>
                    <a:pt x="926" y="456"/>
                  </a:lnTo>
                  <a:lnTo>
                    <a:pt x="924" y="456"/>
                  </a:lnTo>
                  <a:lnTo>
                    <a:pt x="920" y="456"/>
                  </a:lnTo>
                  <a:lnTo>
                    <a:pt x="920" y="456"/>
                  </a:lnTo>
                  <a:lnTo>
                    <a:pt x="920" y="456"/>
                  </a:lnTo>
                  <a:lnTo>
                    <a:pt x="918" y="458"/>
                  </a:lnTo>
                  <a:lnTo>
                    <a:pt x="918" y="458"/>
                  </a:lnTo>
                  <a:lnTo>
                    <a:pt x="918" y="458"/>
                  </a:lnTo>
                  <a:lnTo>
                    <a:pt x="918" y="460"/>
                  </a:lnTo>
                  <a:lnTo>
                    <a:pt x="918" y="460"/>
                  </a:lnTo>
                  <a:lnTo>
                    <a:pt x="916" y="460"/>
                  </a:lnTo>
                  <a:lnTo>
                    <a:pt x="916" y="462"/>
                  </a:lnTo>
                  <a:lnTo>
                    <a:pt x="916" y="462"/>
                  </a:lnTo>
                  <a:lnTo>
                    <a:pt x="916" y="462"/>
                  </a:lnTo>
                  <a:lnTo>
                    <a:pt x="916" y="464"/>
                  </a:lnTo>
                  <a:lnTo>
                    <a:pt x="916" y="464"/>
                  </a:lnTo>
                  <a:lnTo>
                    <a:pt x="916" y="464"/>
                  </a:lnTo>
                  <a:lnTo>
                    <a:pt x="916" y="468"/>
                  </a:lnTo>
                  <a:lnTo>
                    <a:pt x="916" y="470"/>
                  </a:lnTo>
                  <a:lnTo>
                    <a:pt x="916" y="470"/>
                  </a:lnTo>
                  <a:lnTo>
                    <a:pt x="916" y="472"/>
                  </a:lnTo>
                  <a:lnTo>
                    <a:pt x="916" y="472"/>
                  </a:lnTo>
                  <a:lnTo>
                    <a:pt x="916" y="472"/>
                  </a:lnTo>
                  <a:lnTo>
                    <a:pt x="918" y="474"/>
                  </a:lnTo>
                  <a:lnTo>
                    <a:pt x="918" y="474"/>
                  </a:lnTo>
                  <a:lnTo>
                    <a:pt x="918" y="476"/>
                  </a:lnTo>
                  <a:lnTo>
                    <a:pt x="918" y="476"/>
                  </a:lnTo>
                  <a:lnTo>
                    <a:pt x="918" y="476"/>
                  </a:lnTo>
                  <a:lnTo>
                    <a:pt x="920" y="476"/>
                  </a:lnTo>
                  <a:lnTo>
                    <a:pt x="922" y="476"/>
                  </a:lnTo>
                  <a:lnTo>
                    <a:pt x="924" y="476"/>
                  </a:lnTo>
                  <a:lnTo>
                    <a:pt x="926" y="476"/>
                  </a:lnTo>
                  <a:lnTo>
                    <a:pt x="928" y="476"/>
                  </a:lnTo>
                  <a:lnTo>
                    <a:pt x="928" y="478"/>
                  </a:lnTo>
                  <a:lnTo>
                    <a:pt x="928" y="480"/>
                  </a:lnTo>
                  <a:lnTo>
                    <a:pt x="928" y="480"/>
                  </a:lnTo>
                  <a:lnTo>
                    <a:pt x="928" y="482"/>
                  </a:lnTo>
                  <a:lnTo>
                    <a:pt x="930" y="482"/>
                  </a:lnTo>
                  <a:lnTo>
                    <a:pt x="930" y="482"/>
                  </a:lnTo>
                  <a:lnTo>
                    <a:pt x="930" y="484"/>
                  </a:lnTo>
                  <a:lnTo>
                    <a:pt x="932" y="484"/>
                  </a:lnTo>
                  <a:lnTo>
                    <a:pt x="932" y="484"/>
                  </a:lnTo>
                  <a:lnTo>
                    <a:pt x="932" y="486"/>
                  </a:lnTo>
                  <a:lnTo>
                    <a:pt x="934" y="486"/>
                  </a:lnTo>
                  <a:lnTo>
                    <a:pt x="934" y="486"/>
                  </a:lnTo>
                  <a:lnTo>
                    <a:pt x="934" y="486"/>
                  </a:lnTo>
                  <a:lnTo>
                    <a:pt x="936" y="486"/>
                  </a:lnTo>
                  <a:lnTo>
                    <a:pt x="938" y="488"/>
                  </a:lnTo>
                  <a:lnTo>
                    <a:pt x="942" y="488"/>
                  </a:lnTo>
                  <a:lnTo>
                    <a:pt x="942" y="488"/>
                  </a:lnTo>
                  <a:lnTo>
                    <a:pt x="944" y="488"/>
                  </a:lnTo>
                  <a:lnTo>
                    <a:pt x="948" y="488"/>
                  </a:lnTo>
                  <a:lnTo>
                    <a:pt x="952" y="488"/>
                  </a:lnTo>
                  <a:lnTo>
                    <a:pt x="956" y="486"/>
                  </a:lnTo>
                  <a:lnTo>
                    <a:pt x="956" y="486"/>
                  </a:lnTo>
                  <a:lnTo>
                    <a:pt x="956" y="486"/>
                  </a:lnTo>
                  <a:lnTo>
                    <a:pt x="960" y="486"/>
                  </a:lnTo>
                  <a:lnTo>
                    <a:pt x="964" y="484"/>
                  </a:lnTo>
                  <a:lnTo>
                    <a:pt x="964" y="484"/>
                  </a:lnTo>
                  <a:lnTo>
                    <a:pt x="964" y="484"/>
                  </a:lnTo>
                  <a:lnTo>
                    <a:pt x="966" y="484"/>
                  </a:lnTo>
                  <a:lnTo>
                    <a:pt x="966" y="484"/>
                  </a:lnTo>
                  <a:lnTo>
                    <a:pt x="966" y="482"/>
                  </a:lnTo>
                  <a:lnTo>
                    <a:pt x="966" y="482"/>
                  </a:lnTo>
                  <a:lnTo>
                    <a:pt x="966" y="482"/>
                  </a:lnTo>
                  <a:lnTo>
                    <a:pt x="968" y="480"/>
                  </a:lnTo>
                  <a:lnTo>
                    <a:pt x="968" y="480"/>
                  </a:lnTo>
                  <a:lnTo>
                    <a:pt x="968" y="478"/>
                  </a:lnTo>
                  <a:lnTo>
                    <a:pt x="968" y="478"/>
                  </a:lnTo>
                  <a:lnTo>
                    <a:pt x="970" y="476"/>
                  </a:lnTo>
                  <a:lnTo>
                    <a:pt x="972" y="476"/>
                  </a:lnTo>
                  <a:lnTo>
                    <a:pt x="972" y="476"/>
                  </a:lnTo>
                  <a:lnTo>
                    <a:pt x="976" y="476"/>
                  </a:lnTo>
                  <a:lnTo>
                    <a:pt x="980" y="476"/>
                  </a:lnTo>
                  <a:lnTo>
                    <a:pt x="982" y="476"/>
                  </a:lnTo>
                  <a:lnTo>
                    <a:pt x="986" y="476"/>
                  </a:lnTo>
                  <a:lnTo>
                    <a:pt x="988" y="476"/>
                  </a:lnTo>
                  <a:lnTo>
                    <a:pt x="990" y="478"/>
                  </a:lnTo>
                  <a:lnTo>
                    <a:pt x="992" y="480"/>
                  </a:lnTo>
                  <a:lnTo>
                    <a:pt x="992" y="482"/>
                  </a:lnTo>
                  <a:lnTo>
                    <a:pt x="994" y="484"/>
                  </a:lnTo>
                  <a:lnTo>
                    <a:pt x="994" y="488"/>
                  </a:lnTo>
                  <a:lnTo>
                    <a:pt x="994" y="488"/>
                  </a:lnTo>
                  <a:lnTo>
                    <a:pt x="994" y="488"/>
                  </a:lnTo>
                  <a:lnTo>
                    <a:pt x="996" y="490"/>
                  </a:lnTo>
                  <a:lnTo>
                    <a:pt x="996" y="490"/>
                  </a:lnTo>
                  <a:lnTo>
                    <a:pt x="996" y="490"/>
                  </a:lnTo>
                  <a:lnTo>
                    <a:pt x="996" y="492"/>
                  </a:lnTo>
                  <a:lnTo>
                    <a:pt x="996" y="492"/>
                  </a:lnTo>
                  <a:lnTo>
                    <a:pt x="998" y="494"/>
                  </a:lnTo>
                  <a:lnTo>
                    <a:pt x="1002" y="496"/>
                  </a:lnTo>
                  <a:lnTo>
                    <a:pt x="1004" y="498"/>
                  </a:lnTo>
                  <a:lnTo>
                    <a:pt x="1006" y="500"/>
                  </a:lnTo>
                  <a:lnTo>
                    <a:pt x="1008" y="502"/>
                  </a:lnTo>
                  <a:lnTo>
                    <a:pt x="1010" y="506"/>
                  </a:lnTo>
                  <a:lnTo>
                    <a:pt x="1012" y="508"/>
                  </a:lnTo>
                  <a:lnTo>
                    <a:pt x="1014" y="510"/>
                  </a:lnTo>
                  <a:lnTo>
                    <a:pt x="1018" y="516"/>
                  </a:lnTo>
                  <a:lnTo>
                    <a:pt x="1024" y="518"/>
                  </a:lnTo>
                  <a:lnTo>
                    <a:pt x="1024" y="520"/>
                  </a:lnTo>
                  <a:lnTo>
                    <a:pt x="1024" y="522"/>
                  </a:lnTo>
                  <a:lnTo>
                    <a:pt x="1024" y="522"/>
                  </a:lnTo>
                  <a:lnTo>
                    <a:pt x="1024" y="524"/>
                  </a:lnTo>
                  <a:lnTo>
                    <a:pt x="1024" y="524"/>
                  </a:lnTo>
                  <a:lnTo>
                    <a:pt x="1024" y="524"/>
                  </a:lnTo>
                  <a:lnTo>
                    <a:pt x="1024" y="524"/>
                  </a:lnTo>
                  <a:lnTo>
                    <a:pt x="1024" y="524"/>
                  </a:lnTo>
                  <a:lnTo>
                    <a:pt x="1024" y="526"/>
                  </a:lnTo>
                  <a:lnTo>
                    <a:pt x="1024" y="528"/>
                  </a:lnTo>
                  <a:lnTo>
                    <a:pt x="1024" y="528"/>
                  </a:lnTo>
                  <a:lnTo>
                    <a:pt x="1026" y="528"/>
                  </a:lnTo>
                  <a:lnTo>
                    <a:pt x="1028" y="528"/>
                  </a:lnTo>
                  <a:lnTo>
                    <a:pt x="1028" y="528"/>
                  </a:lnTo>
                  <a:lnTo>
                    <a:pt x="1028" y="530"/>
                  </a:lnTo>
                  <a:lnTo>
                    <a:pt x="1028" y="530"/>
                  </a:lnTo>
                  <a:lnTo>
                    <a:pt x="1030" y="530"/>
                  </a:lnTo>
                  <a:lnTo>
                    <a:pt x="1034" y="532"/>
                  </a:lnTo>
                  <a:lnTo>
                    <a:pt x="1038" y="534"/>
                  </a:lnTo>
                  <a:lnTo>
                    <a:pt x="1044" y="534"/>
                  </a:lnTo>
                  <a:lnTo>
                    <a:pt x="1046" y="536"/>
                  </a:lnTo>
                  <a:lnTo>
                    <a:pt x="1050" y="540"/>
                  </a:lnTo>
                  <a:lnTo>
                    <a:pt x="1050" y="540"/>
                  </a:lnTo>
                  <a:lnTo>
                    <a:pt x="1050" y="540"/>
                  </a:lnTo>
                  <a:lnTo>
                    <a:pt x="1052" y="542"/>
                  </a:lnTo>
                  <a:lnTo>
                    <a:pt x="1052" y="542"/>
                  </a:lnTo>
                  <a:lnTo>
                    <a:pt x="1052" y="542"/>
                  </a:lnTo>
                  <a:lnTo>
                    <a:pt x="1056" y="544"/>
                  </a:lnTo>
                  <a:lnTo>
                    <a:pt x="1056" y="544"/>
                  </a:lnTo>
                  <a:lnTo>
                    <a:pt x="1056" y="544"/>
                  </a:lnTo>
                  <a:lnTo>
                    <a:pt x="1058" y="544"/>
                  </a:lnTo>
                  <a:lnTo>
                    <a:pt x="1058" y="544"/>
                  </a:lnTo>
                  <a:lnTo>
                    <a:pt x="1060" y="546"/>
                  </a:lnTo>
                  <a:lnTo>
                    <a:pt x="1060" y="548"/>
                  </a:lnTo>
                  <a:lnTo>
                    <a:pt x="1062" y="548"/>
                  </a:lnTo>
                  <a:lnTo>
                    <a:pt x="1062" y="548"/>
                  </a:lnTo>
                  <a:lnTo>
                    <a:pt x="1062" y="550"/>
                  </a:lnTo>
                  <a:lnTo>
                    <a:pt x="1064" y="550"/>
                  </a:lnTo>
                  <a:lnTo>
                    <a:pt x="1064" y="550"/>
                  </a:lnTo>
                  <a:lnTo>
                    <a:pt x="1064" y="550"/>
                  </a:lnTo>
                  <a:lnTo>
                    <a:pt x="1066" y="552"/>
                  </a:lnTo>
                  <a:lnTo>
                    <a:pt x="1066" y="552"/>
                  </a:lnTo>
                  <a:lnTo>
                    <a:pt x="1066" y="552"/>
                  </a:lnTo>
                  <a:lnTo>
                    <a:pt x="1068" y="552"/>
                  </a:lnTo>
                  <a:lnTo>
                    <a:pt x="1070" y="552"/>
                  </a:lnTo>
                  <a:lnTo>
                    <a:pt x="1072" y="554"/>
                  </a:lnTo>
                  <a:lnTo>
                    <a:pt x="1074" y="554"/>
                  </a:lnTo>
                  <a:lnTo>
                    <a:pt x="1074" y="554"/>
                  </a:lnTo>
                  <a:lnTo>
                    <a:pt x="1074" y="554"/>
                  </a:lnTo>
                  <a:lnTo>
                    <a:pt x="1074" y="554"/>
                  </a:lnTo>
                  <a:lnTo>
                    <a:pt x="1076" y="554"/>
                  </a:lnTo>
                  <a:lnTo>
                    <a:pt x="1076" y="554"/>
                  </a:lnTo>
                  <a:lnTo>
                    <a:pt x="1076" y="554"/>
                  </a:lnTo>
                  <a:lnTo>
                    <a:pt x="1078" y="556"/>
                  </a:lnTo>
                  <a:lnTo>
                    <a:pt x="1082" y="556"/>
                  </a:lnTo>
                  <a:lnTo>
                    <a:pt x="1086" y="556"/>
                  </a:lnTo>
                  <a:lnTo>
                    <a:pt x="1088" y="556"/>
                  </a:lnTo>
                  <a:lnTo>
                    <a:pt x="1090" y="558"/>
                  </a:lnTo>
                  <a:lnTo>
                    <a:pt x="1092" y="558"/>
                  </a:lnTo>
                  <a:lnTo>
                    <a:pt x="1094" y="558"/>
                  </a:lnTo>
                  <a:lnTo>
                    <a:pt x="1094" y="558"/>
                  </a:lnTo>
                  <a:lnTo>
                    <a:pt x="1094" y="558"/>
                  </a:lnTo>
                  <a:lnTo>
                    <a:pt x="1096" y="558"/>
                  </a:lnTo>
                  <a:lnTo>
                    <a:pt x="1096" y="558"/>
                  </a:lnTo>
                  <a:lnTo>
                    <a:pt x="1096" y="558"/>
                  </a:lnTo>
                  <a:lnTo>
                    <a:pt x="1098" y="556"/>
                  </a:lnTo>
                  <a:lnTo>
                    <a:pt x="1098" y="556"/>
                  </a:lnTo>
                  <a:lnTo>
                    <a:pt x="1098" y="554"/>
                  </a:lnTo>
                  <a:lnTo>
                    <a:pt x="1098" y="554"/>
                  </a:lnTo>
                  <a:lnTo>
                    <a:pt x="1098" y="554"/>
                  </a:lnTo>
                  <a:lnTo>
                    <a:pt x="1098" y="552"/>
                  </a:lnTo>
                  <a:lnTo>
                    <a:pt x="1096" y="550"/>
                  </a:lnTo>
                  <a:lnTo>
                    <a:pt x="1094" y="550"/>
                  </a:lnTo>
                  <a:lnTo>
                    <a:pt x="1092" y="548"/>
                  </a:lnTo>
                  <a:lnTo>
                    <a:pt x="1088" y="544"/>
                  </a:lnTo>
                  <a:lnTo>
                    <a:pt x="1084" y="540"/>
                  </a:lnTo>
                  <a:lnTo>
                    <a:pt x="1080" y="536"/>
                  </a:lnTo>
                  <a:lnTo>
                    <a:pt x="1076" y="534"/>
                  </a:lnTo>
                  <a:lnTo>
                    <a:pt x="1074" y="532"/>
                  </a:lnTo>
                  <a:lnTo>
                    <a:pt x="1074" y="530"/>
                  </a:lnTo>
                  <a:lnTo>
                    <a:pt x="1072" y="528"/>
                  </a:lnTo>
                  <a:lnTo>
                    <a:pt x="1072" y="526"/>
                  </a:lnTo>
                  <a:lnTo>
                    <a:pt x="1070" y="524"/>
                  </a:lnTo>
                  <a:lnTo>
                    <a:pt x="1070" y="524"/>
                  </a:lnTo>
                  <a:lnTo>
                    <a:pt x="1070" y="524"/>
                  </a:lnTo>
                  <a:lnTo>
                    <a:pt x="1068" y="522"/>
                  </a:lnTo>
                  <a:lnTo>
                    <a:pt x="1066" y="522"/>
                  </a:lnTo>
                  <a:lnTo>
                    <a:pt x="1066" y="518"/>
                  </a:lnTo>
                  <a:lnTo>
                    <a:pt x="1064" y="516"/>
                  </a:lnTo>
                  <a:lnTo>
                    <a:pt x="1062" y="514"/>
                  </a:lnTo>
                  <a:lnTo>
                    <a:pt x="1062" y="512"/>
                  </a:lnTo>
                  <a:lnTo>
                    <a:pt x="1062" y="512"/>
                  </a:lnTo>
                  <a:lnTo>
                    <a:pt x="1062" y="512"/>
                  </a:lnTo>
                  <a:lnTo>
                    <a:pt x="1064" y="512"/>
                  </a:lnTo>
                  <a:lnTo>
                    <a:pt x="1068" y="512"/>
                  </a:lnTo>
                  <a:lnTo>
                    <a:pt x="1074" y="514"/>
                  </a:lnTo>
                  <a:lnTo>
                    <a:pt x="1080" y="514"/>
                  </a:lnTo>
                  <a:lnTo>
                    <a:pt x="1080" y="516"/>
                  </a:lnTo>
                  <a:lnTo>
                    <a:pt x="1082" y="518"/>
                  </a:lnTo>
                  <a:lnTo>
                    <a:pt x="1086" y="522"/>
                  </a:lnTo>
                  <a:lnTo>
                    <a:pt x="1088" y="524"/>
                  </a:lnTo>
                  <a:lnTo>
                    <a:pt x="1090" y="526"/>
                  </a:lnTo>
                  <a:lnTo>
                    <a:pt x="1090" y="526"/>
                  </a:lnTo>
                  <a:lnTo>
                    <a:pt x="1092" y="528"/>
                  </a:lnTo>
                  <a:lnTo>
                    <a:pt x="1092" y="528"/>
                  </a:lnTo>
                  <a:lnTo>
                    <a:pt x="1092" y="528"/>
                  </a:lnTo>
                  <a:lnTo>
                    <a:pt x="1094" y="530"/>
                  </a:lnTo>
                  <a:lnTo>
                    <a:pt x="1094" y="530"/>
                  </a:lnTo>
                  <a:lnTo>
                    <a:pt x="1096" y="530"/>
                  </a:lnTo>
                  <a:lnTo>
                    <a:pt x="1098" y="532"/>
                  </a:lnTo>
                  <a:lnTo>
                    <a:pt x="1098" y="532"/>
                  </a:lnTo>
                  <a:lnTo>
                    <a:pt x="1098" y="532"/>
                  </a:lnTo>
                  <a:lnTo>
                    <a:pt x="1100" y="532"/>
                  </a:lnTo>
                  <a:lnTo>
                    <a:pt x="1100" y="532"/>
                  </a:lnTo>
                  <a:lnTo>
                    <a:pt x="1102" y="532"/>
                  </a:lnTo>
                  <a:lnTo>
                    <a:pt x="1104" y="532"/>
                  </a:lnTo>
                  <a:lnTo>
                    <a:pt x="1104" y="532"/>
                  </a:lnTo>
                  <a:lnTo>
                    <a:pt x="1104" y="532"/>
                  </a:lnTo>
                  <a:lnTo>
                    <a:pt x="1106" y="530"/>
                  </a:lnTo>
                  <a:lnTo>
                    <a:pt x="1106" y="530"/>
                  </a:lnTo>
                  <a:lnTo>
                    <a:pt x="1106" y="530"/>
                  </a:lnTo>
                  <a:lnTo>
                    <a:pt x="1108" y="528"/>
                  </a:lnTo>
                  <a:lnTo>
                    <a:pt x="1108" y="528"/>
                  </a:lnTo>
                  <a:lnTo>
                    <a:pt x="1108" y="528"/>
                  </a:lnTo>
                  <a:lnTo>
                    <a:pt x="1110" y="524"/>
                  </a:lnTo>
                  <a:lnTo>
                    <a:pt x="1110" y="524"/>
                  </a:lnTo>
                  <a:lnTo>
                    <a:pt x="1110" y="524"/>
                  </a:lnTo>
                  <a:lnTo>
                    <a:pt x="1112" y="520"/>
                  </a:lnTo>
                  <a:lnTo>
                    <a:pt x="1112" y="518"/>
                  </a:lnTo>
                  <a:lnTo>
                    <a:pt x="1114" y="514"/>
                  </a:lnTo>
                  <a:lnTo>
                    <a:pt x="1114" y="512"/>
                  </a:lnTo>
                  <a:lnTo>
                    <a:pt x="1116" y="508"/>
                  </a:lnTo>
                  <a:lnTo>
                    <a:pt x="1116" y="508"/>
                  </a:lnTo>
                  <a:lnTo>
                    <a:pt x="1116" y="506"/>
                  </a:lnTo>
                  <a:lnTo>
                    <a:pt x="1114" y="504"/>
                  </a:lnTo>
                  <a:lnTo>
                    <a:pt x="1114" y="504"/>
                  </a:lnTo>
                  <a:lnTo>
                    <a:pt x="1114" y="502"/>
                  </a:lnTo>
                  <a:lnTo>
                    <a:pt x="1114" y="500"/>
                  </a:lnTo>
                  <a:lnTo>
                    <a:pt x="1114" y="500"/>
                  </a:lnTo>
                  <a:lnTo>
                    <a:pt x="1114" y="498"/>
                  </a:lnTo>
                  <a:lnTo>
                    <a:pt x="1112" y="496"/>
                  </a:lnTo>
                  <a:lnTo>
                    <a:pt x="1110" y="494"/>
                  </a:lnTo>
                  <a:lnTo>
                    <a:pt x="1108" y="490"/>
                  </a:lnTo>
                  <a:lnTo>
                    <a:pt x="1104" y="486"/>
                  </a:lnTo>
                  <a:lnTo>
                    <a:pt x="1102" y="486"/>
                  </a:lnTo>
                  <a:lnTo>
                    <a:pt x="1100" y="484"/>
                  </a:lnTo>
                  <a:lnTo>
                    <a:pt x="1098" y="484"/>
                  </a:lnTo>
                  <a:lnTo>
                    <a:pt x="1096" y="476"/>
                  </a:lnTo>
                  <a:lnTo>
                    <a:pt x="1094" y="472"/>
                  </a:lnTo>
                  <a:lnTo>
                    <a:pt x="1090" y="470"/>
                  </a:lnTo>
                  <a:lnTo>
                    <a:pt x="1090" y="464"/>
                  </a:lnTo>
                  <a:lnTo>
                    <a:pt x="1090" y="460"/>
                  </a:lnTo>
                  <a:lnTo>
                    <a:pt x="1088" y="458"/>
                  </a:lnTo>
                  <a:lnTo>
                    <a:pt x="1088" y="458"/>
                  </a:lnTo>
                  <a:lnTo>
                    <a:pt x="1088" y="456"/>
                  </a:lnTo>
                  <a:lnTo>
                    <a:pt x="1086" y="454"/>
                  </a:lnTo>
                  <a:lnTo>
                    <a:pt x="1086" y="454"/>
                  </a:lnTo>
                  <a:lnTo>
                    <a:pt x="1086" y="454"/>
                  </a:lnTo>
                  <a:lnTo>
                    <a:pt x="1084" y="452"/>
                  </a:lnTo>
                  <a:lnTo>
                    <a:pt x="1084" y="452"/>
                  </a:lnTo>
                  <a:lnTo>
                    <a:pt x="1084" y="452"/>
                  </a:lnTo>
                  <a:lnTo>
                    <a:pt x="1082" y="450"/>
                  </a:lnTo>
                  <a:lnTo>
                    <a:pt x="1078" y="448"/>
                  </a:lnTo>
                  <a:lnTo>
                    <a:pt x="1076" y="446"/>
                  </a:lnTo>
                  <a:lnTo>
                    <a:pt x="1074" y="442"/>
                  </a:lnTo>
                  <a:lnTo>
                    <a:pt x="1072" y="440"/>
                  </a:lnTo>
                  <a:lnTo>
                    <a:pt x="1070" y="438"/>
                  </a:lnTo>
                  <a:lnTo>
                    <a:pt x="1070" y="434"/>
                  </a:lnTo>
                  <a:lnTo>
                    <a:pt x="1070" y="432"/>
                  </a:lnTo>
                  <a:lnTo>
                    <a:pt x="1070" y="428"/>
                  </a:lnTo>
                  <a:lnTo>
                    <a:pt x="1072" y="428"/>
                  </a:lnTo>
                  <a:lnTo>
                    <a:pt x="1072" y="426"/>
                  </a:lnTo>
                  <a:lnTo>
                    <a:pt x="1072" y="426"/>
                  </a:lnTo>
                  <a:lnTo>
                    <a:pt x="1074" y="424"/>
                  </a:lnTo>
                  <a:lnTo>
                    <a:pt x="1074" y="422"/>
                  </a:lnTo>
                  <a:lnTo>
                    <a:pt x="1074" y="418"/>
                  </a:lnTo>
                  <a:lnTo>
                    <a:pt x="1074" y="414"/>
                  </a:lnTo>
                  <a:lnTo>
                    <a:pt x="1076" y="412"/>
                  </a:lnTo>
                  <a:lnTo>
                    <a:pt x="1076" y="412"/>
                  </a:lnTo>
                  <a:lnTo>
                    <a:pt x="1076" y="410"/>
                  </a:lnTo>
                  <a:lnTo>
                    <a:pt x="1078" y="410"/>
                  </a:lnTo>
                  <a:lnTo>
                    <a:pt x="1082" y="412"/>
                  </a:lnTo>
                  <a:lnTo>
                    <a:pt x="1084" y="412"/>
                  </a:lnTo>
                  <a:lnTo>
                    <a:pt x="1086" y="412"/>
                  </a:lnTo>
                  <a:lnTo>
                    <a:pt x="1088" y="414"/>
                  </a:lnTo>
                  <a:lnTo>
                    <a:pt x="1090" y="416"/>
                  </a:lnTo>
                  <a:lnTo>
                    <a:pt x="1094" y="418"/>
                  </a:lnTo>
                  <a:lnTo>
                    <a:pt x="1096" y="420"/>
                  </a:lnTo>
                  <a:lnTo>
                    <a:pt x="1098" y="422"/>
                  </a:lnTo>
                  <a:lnTo>
                    <a:pt x="1100" y="422"/>
                  </a:lnTo>
                  <a:lnTo>
                    <a:pt x="1104" y="424"/>
                  </a:lnTo>
                  <a:lnTo>
                    <a:pt x="1106" y="426"/>
                  </a:lnTo>
                  <a:lnTo>
                    <a:pt x="1106" y="428"/>
                  </a:lnTo>
                  <a:lnTo>
                    <a:pt x="1108" y="432"/>
                  </a:lnTo>
                  <a:lnTo>
                    <a:pt x="1108" y="432"/>
                  </a:lnTo>
                  <a:lnTo>
                    <a:pt x="1110" y="432"/>
                  </a:lnTo>
                  <a:lnTo>
                    <a:pt x="1112" y="436"/>
                  </a:lnTo>
                  <a:lnTo>
                    <a:pt x="1112" y="436"/>
                  </a:lnTo>
                  <a:lnTo>
                    <a:pt x="1112" y="436"/>
                  </a:lnTo>
                  <a:lnTo>
                    <a:pt x="1114" y="438"/>
                  </a:lnTo>
                  <a:lnTo>
                    <a:pt x="1118" y="440"/>
                  </a:lnTo>
                  <a:lnTo>
                    <a:pt x="1122" y="442"/>
                  </a:lnTo>
                  <a:lnTo>
                    <a:pt x="1124" y="444"/>
                  </a:lnTo>
                  <a:lnTo>
                    <a:pt x="1126" y="446"/>
                  </a:lnTo>
                  <a:lnTo>
                    <a:pt x="1128" y="448"/>
                  </a:lnTo>
                  <a:lnTo>
                    <a:pt x="1128" y="452"/>
                  </a:lnTo>
                  <a:lnTo>
                    <a:pt x="1128" y="452"/>
                  </a:lnTo>
                  <a:lnTo>
                    <a:pt x="1132" y="452"/>
                  </a:lnTo>
                  <a:lnTo>
                    <a:pt x="1132" y="452"/>
                  </a:lnTo>
                  <a:lnTo>
                    <a:pt x="1134" y="452"/>
                  </a:lnTo>
                  <a:lnTo>
                    <a:pt x="1136" y="448"/>
                  </a:lnTo>
                  <a:lnTo>
                    <a:pt x="1138" y="444"/>
                  </a:lnTo>
                  <a:lnTo>
                    <a:pt x="1142" y="438"/>
                  </a:lnTo>
                  <a:lnTo>
                    <a:pt x="1142" y="438"/>
                  </a:lnTo>
                  <a:lnTo>
                    <a:pt x="1144" y="436"/>
                  </a:lnTo>
                  <a:lnTo>
                    <a:pt x="1144" y="430"/>
                  </a:lnTo>
                  <a:lnTo>
                    <a:pt x="1144" y="422"/>
                  </a:lnTo>
                  <a:lnTo>
                    <a:pt x="1142" y="414"/>
                  </a:lnTo>
                  <a:lnTo>
                    <a:pt x="1142" y="408"/>
                  </a:lnTo>
                  <a:lnTo>
                    <a:pt x="1142" y="408"/>
                  </a:lnTo>
                  <a:lnTo>
                    <a:pt x="1142" y="406"/>
                  </a:lnTo>
                  <a:lnTo>
                    <a:pt x="1140" y="400"/>
                  </a:lnTo>
                  <a:lnTo>
                    <a:pt x="1140" y="400"/>
                  </a:lnTo>
                  <a:lnTo>
                    <a:pt x="1138" y="400"/>
                  </a:lnTo>
                  <a:lnTo>
                    <a:pt x="1138" y="396"/>
                  </a:lnTo>
                  <a:lnTo>
                    <a:pt x="1136" y="394"/>
                  </a:lnTo>
                  <a:lnTo>
                    <a:pt x="1136" y="394"/>
                  </a:lnTo>
                  <a:lnTo>
                    <a:pt x="1134" y="394"/>
                  </a:lnTo>
                  <a:lnTo>
                    <a:pt x="1132" y="392"/>
                  </a:lnTo>
                  <a:lnTo>
                    <a:pt x="1132" y="392"/>
                  </a:lnTo>
                  <a:lnTo>
                    <a:pt x="1132" y="390"/>
                  </a:lnTo>
                  <a:lnTo>
                    <a:pt x="1130" y="388"/>
                  </a:lnTo>
                  <a:lnTo>
                    <a:pt x="1130" y="388"/>
                  </a:lnTo>
                  <a:lnTo>
                    <a:pt x="1128" y="388"/>
                  </a:lnTo>
                  <a:lnTo>
                    <a:pt x="1126" y="388"/>
                  </a:lnTo>
                  <a:lnTo>
                    <a:pt x="1126" y="388"/>
                  </a:lnTo>
                  <a:lnTo>
                    <a:pt x="1126" y="388"/>
                  </a:lnTo>
                  <a:lnTo>
                    <a:pt x="1122" y="386"/>
                  </a:lnTo>
                  <a:lnTo>
                    <a:pt x="1122" y="386"/>
                  </a:lnTo>
                  <a:lnTo>
                    <a:pt x="1120" y="382"/>
                  </a:lnTo>
                  <a:lnTo>
                    <a:pt x="1118" y="380"/>
                  </a:lnTo>
                  <a:lnTo>
                    <a:pt x="1118" y="378"/>
                  </a:lnTo>
                  <a:lnTo>
                    <a:pt x="1118" y="378"/>
                  </a:lnTo>
                  <a:lnTo>
                    <a:pt x="1118" y="378"/>
                  </a:lnTo>
                  <a:lnTo>
                    <a:pt x="1116" y="378"/>
                  </a:lnTo>
                  <a:lnTo>
                    <a:pt x="1116" y="376"/>
                  </a:lnTo>
                  <a:lnTo>
                    <a:pt x="1114" y="376"/>
                  </a:lnTo>
                  <a:lnTo>
                    <a:pt x="1110" y="374"/>
                  </a:lnTo>
                  <a:lnTo>
                    <a:pt x="1108" y="374"/>
                  </a:lnTo>
                  <a:lnTo>
                    <a:pt x="1108" y="374"/>
                  </a:lnTo>
                  <a:lnTo>
                    <a:pt x="1106" y="372"/>
                  </a:lnTo>
                  <a:lnTo>
                    <a:pt x="1100" y="364"/>
                  </a:lnTo>
                  <a:lnTo>
                    <a:pt x="1094" y="356"/>
                  </a:lnTo>
                  <a:lnTo>
                    <a:pt x="1086" y="348"/>
                  </a:lnTo>
                  <a:lnTo>
                    <a:pt x="1082" y="344"/>
                  </a:lnTo>
                  <a:lnTo>
                    <a:pt x="1078" y="340"/>
                  </a:lnTo>
                  <a:lnTo>
                    <a:pt x="1072" y="336"/>
                  </a:lnTo>
                  <a:lnTo>
                    <a:pt x="1068" y="334"/>
                  </a:lnTo>
                  <a:lnTo>
                    <a:pt x="1062" y="328"/>
                  </a:lnTo>
                  <a:lnTo>
                    <a:pt x="1058" y="326"/>
                  </a:lnTo>
                  <a:lnTo>
                    <a:pt x="1054" y="322"/>
                  </a:lnTo>
                  <a:lnTo>
                    <a:pt x="1052" y="318"/>
                  </a:lnTo>
                  <a:lnTo>
                    <a:pt x="1050" y="316"/>
                  </a:lnTo>
                  <a:lnTo>
                    <a:pt x="1050" y="314"/>
                  </a:lnTo>
                  <a:lnTo>
                    <a:pt x="1050" y="314"/>
                  </a:lnTo>
                  <a:lnTo>
                    <a:pt x="1050" y="314"/>
                  </a:lnTo>
                  <a:lnTo>
                    <a:pt x="1050" y="312"/>
                  </a:lnTo>
                  <a:lnTo>
                    <a:pt x="1050" y="312"/>
                  </a:lnTo>
                  <a:lnTo>
                    <a:pt x="1050" y="312"/>
                  </a:lnTo>
                  <a:lnTo>
                    <a:pt x="1050" y="310"/>
                  </a:lnTo>
                  <a:lnTo>
                    <a:pt x="1050" y="310"/>
                  </a:lnTo>
                  <a:lnTo>
                    <a:pt x="1050" y="308"/>
                  </a:lnTo>
                  <a:lnTo>
                    <a:pt x="1050" y="306"/>
                  </a:lnTo>
                  <a:lnTo>
                    <a:pt x="1050" y="306"/>
                  </a:lnTo>
                  <a:lnTo>
                    <a:pt x="1050" y="306"/>
                  </a:lnTo>
                  <a:lnTo>
                    <a:pt x="1048" y="304"/>
                  </a:lnTo>
                  <a:lnTo>
                    <a:pt x="1048" y="304"/>
                  </a:lnTo>
                  <a:lnTo>
                    <a:pt x="1048" y="304"/>
                  </a:lnTo>
                  <a:lnTo>
                    <a:pt x="1048" y="302"/>
                  </a:lnTo>
                  <a:lnTo>
                    <a:pt x="1048" y="302"/>
                  </a:lnTo>
                  <a:lnTo>
                    <a:pt x="1046" y="302"/>
                  </a:lnTo>
                  <a:lnTo>
                    <a:pt x="1044" y="300"/>
                  </a:lnTo>
                  <a:lnTo>
                    <a:pt x="1044" y="300"/>
                  </a:lnTo>
                  <a:lnTo>
                    <a:pt x="1044" y="300"/>
                  </a:lnTo>
                  <a:lnTo>
                    <a:pt x="1042" y="300"/>
                  </a:lnTo>
                  <a:lnTo>
                    <a:pt x="1040" y="298"/>
                  </a:lnTo>
                  <a:lnTo>
                    <a:pt x="1040" y="294"/>
                  </a:lnTo>
                  <a:lnTo>
                    <a:pt x="1038" y="292"/>
                  </a:lnTo>
                  <a:lnTo>
                    <a:pt x="1038" y="288"/>
                  </a:lnTo>
                  <a:lnTo>
                    <a:pt x="1038" y="286"/>
                  </a:lnTo>
                  <a:lnTo>
                    <a:pt x="1040" y="284"/>
                  </a:lnTo>
                  <a:lnTo>
                    <a:pt x="1040" y="280"/>
                  </a:lnTo>
                  <a:lnTo>
                    <a:pt x="1042" y="278"/>
                  </a:lnTo>
                  <a:lnTo>
                    <a:pt x="1046" y="272"/>
                  </a:lnTo>
                  <a:lnTo>
                    <a:pt x="1050" y="268"/>
                  </a:lnTo>
                  <a:lnTo>
                    <a:pt x="1054" y="262"/>
                  </a:lnTo>
                  <a:lnTo>
                    <a:pt x="1058" y="256"/>
                  </a:lnTo>
                  <a:lnTo>
                    <a:pt x="1058" y="256"/>
                  </a:lnTo>
                  <a:lnTo>
                    <a:pt x="1058" y="252"/>
                  </a:lnTo>
                  <a:lnTo>
                    <a:pt x="1056" y="250"/>
                  </a:lnTo>
                  <a:lnTo>
                    <a:pt x="1056" y="250"/>
                  </a:lnTo>
                  <a:lnTo>
                    <a:pt x="1054" y="250"/>
                  </a:lnTo>
                  <a:lnTo>
                    <a:pt x="1052" y="248"/>
                  </a:lnTo>
                  <a:lnTo>
                    <a:pt x="1052" y="248"/>
                  </a:lnTo>
                  <a:lnTo>
                    <a:pt x="1052" y="248"/>
                  </a:lnTo>
                  <a:lnTo>
                    <a:pt x="1050" y="246"/>
                  </a:lnTo>
                  <a:lnTo>
                    <a:pt x="1050" y="246"/>
                  </a:lnTo>
                  <a:lnTo>
                    <a:pt x="1048" y="246"/>
                  </a:lnTo>
                  <a:lnTo>
                    <a:pt x="1046" y="246"/>
                  </a:lnTo>
                  <a:lnTo>
                    <a:pt x="1046" y="246"/>
                  </a:lnTo>
                  <a:lnTo>
                    <a:pt x="1046" y="246"/>
                  </a:lnTo>
                  <a:lnTo>
                    <a:pt x="1044" y="248"/>
                  </a:lnTo>
                  <a:lnTo>
                    <a:pt x="1040" y="248"/>
                  </a:lnTo>
                  <a:lnTo>
                    <a:pt x="1034" y="250"/>
                  </a:lnTo>
                  <a:lnTo>
                    <a:pt x="1034" y="250"/>
                  </a:lnTo>
                  <a:lnTo>
                    <a:pt x="1034" y="250"/>
                  </a:lnTo>
                  <a:lnTo>
                    <a:pt x="1030" y="252"/>
                  </a:lnTo>
                  <a:lnTo>
                    <a:pt x="1030" y="252"/>
                  </a:lnTo>
                  <a:lnTo>
                    <a:pt x="1030" y="252"/>
                  </a:lnTo>
                  <a:lnTo>
                    <a:pt x="1028" y="254"/>
                  </a:lnTo>
                  <a:lnTo>
                    <a:pt x="1028" y="254"/>
                  </a:lnTo>
                  <a:lnTo>
                    <a:pt x="1028" y="256"/>
                  </a:lnTo>
                  <a:lnTo>
                    <a:pt x="1028" y="258"/>
                  </a:lnTo>
                  <a:lnTo>
                    <a:pt x="1026" y="260"/>
                  </a:lnTo>
                  <a:lnTo>
                    <a:pt x="1024" y="264"/>
                  </a:lnTo>
                  <a:lnTo>
                    <a:pt x="1022" y="266"/>
                  </a:lnTo>
                  <a:lnTo>
                    <a:pt x="1020" y="268"/>
                  </a:lnTo>
                  <a:lnTo>
                    <a:pt x="1020" y="268"/>
                  </a:lnTo>
                  <a:lnTo>
                    <a:pt x="1020" y="270"/>
                  </a:lnTo>
                  <a:lnTo>
                    <a:pt x="1020" y="270"/>
                  </a:lnTo>
                  <a:lnTo>
                    <a:pt x="1020" y="270"/>
                  </a:lnTo>
                  <a:lnTo>
                    <a:pt x="1018" y="268"/>
                  </a:lnTo>
                  <a:lnTo>
                    <a:pt x="1018" y="264"/>
                  </a:lnTo>
                  <a:lnTo>
                    <a:pt x="1016" y="260"/>
                  </a:lnTo>
                  <a:lnTo>
                    <a:pt x="1016" y="258"/>
                  </a:lnTo>
                  <a:lnTo>
                    <a:pt x="1016" y="258"/>
                  </a:lnTo>
                  <a:lnTo>
                    <a:pt x="1016" y="256"/>
                  </a:lnTo>
                  <a:lnTo>
                    <a:pt x="1014" y="254"/>
                  </a:lnTo>
                  <a:lnTo>
                    <a:pt x="1014" y="254"/>
                  </a:lnTo>
                  <a:lnTo>
                    <a:pt x="1014" y="252"/>
                  </a:lnTo>
                  <a:lnTo>
                    <a:pt x="1014" y="248"/>
                  </a:lnTo>
                  <a:lnTo>
                    <a:pt x="1014" y="246"/>
                  </a:lnTo>
                  <a:lnTo>
                    <a:pt x="1014" y="244"/>
                  </a:lnTo>
                  <a:lnTo>
                    <a:pt x="1014" y="242"/>
                  </a:lnTo>
                  <a:lnTo>
                    <a:pt x="1014" y="240"/>
                  </a:lnTo>
                  <a:lnTo>
                    <a:pt x="1016" y="238"/>
                  </a:lnTo>
                  <a:lnTo>
                    <a:pt x="1018" y="238"/>
                  </a:lnTo>
                  <a:lnTo>
                    <a:pt x="1018" y="238"/>
                  </a:lnTo>
                  <a:lnTo>
                    <a:pt x="1020" y="236"/>
                  </a:lnTo>
                  <a:lnTo>
                    <a:pt x="1022" y="234"/>
                  </a:lnTo>
                  <a:lnTo>
                    <a:pt x="1022" y="234"/>
                  </a:lnTo>
                  <a:lnTo>
                    <a:pt x="1022" y="232"/>
                  </a:lnTo>
                  <a:lnTo>
                    <a:pt x="1024" y="230"/>
                  </a:lnTo>
                  <a:lnTo>
                    <a:pt x="1024" y="230"/>
                  </a:lnTo>
                  <a:lnTo>
                    <a:pt x="1024" y="230"/>
                  </a:lnTo>
                  <a:lnTo>
                    <a:pt x="1026" y="226"/>
                  </a:lnTo>
                  <a:lnTo>
                    <a:pt x="1026" y="222"/>
                  </a:lnTo>
                  <a:lnTo>
                    <a:pt x="1026" y="222"/>
                  </a:lnTo>
                  <a:lnTo>
                    <a:pt x="1026" y="218"/>
                  </a:lnTo>
                  <a:lnTo>
                    <a:pt x="1024" y="216"/>
                  </a:lnTo>
                  <a:lnTo>
                    <a:pt x="1022" y="216"/>
                  </a:lnTo>
                  <a:lnTo>
                    <a:pt x="1022" y="214"/>
                  </a:lnTo>
                  <a:lnTo>
                    <a:pt x="1020" y="212"/>
                  </a:lnTo>
                  <a:lnTo>
                    <a:pt x="1020" y="212"/>
                  </a:lnTo>
                  <a:lnTo>
                    <a:pt x="1020" y="212"/>
                  </a:lnTo>
                  <a:lnTo>
                    <a:pt x="1020" y="210"/>
                  </a:lnTo>
                  <a:lnTo>
                    <a:pt x="1020" y="210"/>
                  </a:lnTo>
                  <a:lnTo>
                    <a:pt x="1018" y="210"/>
                  </a:lnTo>
                  <a:lnTo>
                    <a:pt x="1016" y="210"/>
                  </a:lnTo>
                  <a:lnTo>
                    <a:pt x="1016" y="210"/>
                  </a:lnTo>
                  <a:lnTo>
                    <a:pt x="1016" y="210"/>
                  </a:lnTo>
                  <a:lnTo>
                    <a:pt x="1014" y="210"/>
                  </a:lnTo>
                  <a:lnTo>
                    <a:pt x="1014" y="210"/>
                  </a:lnTo>
                  <a:lnTo>
                    <a:pt x="1014" y="210"/>
                  </a:lnTo>
                  <a:lnTo>
                    <a:pt x="1010" y="210"/>
                  </a:lnTo>
                  <a:lnTo>
                    <a:pt x="1010" y="210"/>
                  </a:lnTo>
                  <a:lnTo>
                    <a:pt x="1010" y="212"/>
                  </a:lnTo>
                  <a:lnTo>
                    <a:pt x="1006" y="214"/>
                  </a:lnTo>
                  <a:lnTo>
                    <a:pt x="1004" y="216"/>
                  </a:lnTo>
                  <a:lnTo>
                    <a:pt x="1000" y="222"/>
                  </a:lnTo>
                  <a:lnTo>
                    <a:pt x="996" y="226"/>
                  </a:lnTo>
                  <a:lnTo>
                    <a:pt x="994" y="228"/>
                  </a:lnTo>
                  <a:lnTo>
                    <a:pt x="992" y="230"/>
                  </a:lnTo>
                  <a:lnTo>
                    <a:pt x="992" y="230"/>
                  </a:lnTo>
                  <a:lnTo>
                    <a:pt x="990" y="232"/>
                  </a:lnTo>
                  <a:lnTo>
                    <a:pt x="990" y="234"/>
                  </a:lnTo>
                  <a:lnTo>
                    <a:pt x="990" y="234"/>
                  </a:lnTo>
                  <a:lnTo>
                    <a:pt x="990" y="234"/>
                  </a:lnTo>
                  <a:lnTo>
                    <a:pt x="988" y="234"/>
                  </a:lnTo>
                  <a:lnTo>
                    <a:pt x="986" y="234"/>
                  </a:lnTo>
                  <a:lnTo>
                    <a:pt x="984" y="232"/>
                  </a:lnTo>
                  <a:lnTo>
                    <a:pt x="982" y="232"/>
                  </a:lnTo>
                  <a:lnTo>
                    <a:pt x="980" y="230"/>
                  </a:lnTo>
                  <a:lnTo>
                    <a:pt x="980" y="228"/>
                  </a:lnTo>
                  <a:lnTo>
                    <a:pt x="978" y="226"/>
                  </a:lnTo>
                  <a:lnTo>
                    <a:pt x="978" y="226"/>
                  </a:lnTo>
                  <a:lnTo>
                    <a:pt x="976" y="224"/>
                  </a:lnTo>
                  <a:lnTo>
                    <a:pt x="972" y="220"/>
                  </a:lnTo>
                  <a:lnTo>
                    <a:pt x="970" y="218"/>
                  </a:lnTo>
                  <a:lnTo>
                    <a:pt x="970" y="216"/>
                  </a:lnTo>
                  <a:lnTo>
                    <a:pt x="970" y="214"/>
                  </a:lnTo>
                  <a:lnTo>
                    <a:pt x="968" y="210"/>
                  </a:lnTo>
                  <a:lnTo>
                    <a:pt x="968" y="210"/>
                  </a:lnTo>
                  <a:lnTo>
                    <a:pt x="968" y="210"/>
                  </a:lnTo>
                  <a:lnTo>
                    <a:pt x="968" y="208"/>
                  </a:lnTo>
                  <a:lnTo>
                    <a:pt x="968" y="208"/>
                  </a:lnTo>
                  <a:lnTo>
                    <a:pt x="968" y="208"/>
                  </a:lnTo>
                  <a:lnTo>
                    <a:pt x="966" y="206"/>
                  </a:lnTo>
                  <a:lnTo>
                    <a:pt x="966" y="206"/>
                  </a:lnTo>
                  <a:lnTo>
                    <a:pt x="966" y="206"/>
                  </a:lnTo>
                  <a:lnTo>
                    <a:pt x="964" y="204"/>
                  </a:lnTo>
                  <a:lnTo>
                    <a:pt x="962" y="202"/>
                  </a:lnTo>
                  <a:lnTo>
                    <a:pt x="962" y="202"/>
                  </a:lnTo>
                  <a:lnTo>
                    <a:pt x="962" y="198"/>
                  </a:lnTo>
                  <a:lnTo>
                    <a:pt x="964" y="196"/>
                  </a:lnTo>
                  <a:lnTo>
                    <a:pt x="964" y="194"/>
                  </a:lnTo>
                  <a:lnTo>
                    <a:pt x="964" y="192"/>
                  </a:lnTo>
                  <a:lnTo>
                    <a:pt x="966" y="192"/>
                  </a:lnTo>
                  <a:lnTo>
                    <a:pt x="968" y="190"/>
                  </a:lnTo>
                  <a:lnTo>
                    <a:pt x="968" y="190"/>
                  </a:lnTo>
                  <a:lnTo>
                    <a:pt x="968" y="188"/>
                  </a:lnTo>
                  <a:lnTo>
                    <a:pt x="970" y="186"/>
                  </a:lnTo>
                  <a:lnTo>
                    <a:pt x="970" y="186"/>
                  </a:lnTo>
                  <a:lnTo>
                    <a:pt x="970" y="184"/>
                  </a:lnTo>
                  <a:lnTo>
                    <a:pt x="972" y="182"/>
                  </a:lnTo>
                  <a:lnTo>
                    <a:pt x="972" y="182"/>
                  </a:lnTo>
                  <a:lnTo>
                    <a:pt x="972" y="180"/>
                  </a:lnTo>
                  <a:lnTo>
                    <a:pt x="972" y="178"/>
                  </a:lnTo>
                  <a:lnTo>
                    <a:pt x="972" y="178"/>
                  </a:lnTo>
                  <a:lnTo>
                    <a:pt x="972" y="176"/>
                  </a:lnTo>
                  <a:lnTo>
                    <a:pt x="970" y="174"/>
                  </a:lnTo>
                  <a:lnTo>
                    <a:pt x="970" y="174"/>
                  </a:lnTo>
                  <a:lnTo>
                    <a:pt x="970" y="174"/>
                  </a:lnTo>
                  <a:lnTo>
                    <a:pt x="968" y="170"/>
                  </a:lnTo>
                  <a:lnTo>
                    <a:pt x="968" y="170"/>
                  </a:lnTo>
                  <a:lnTo>
                    <a:pt x="968" y="170"/>
                  </a:lnTo>
                  <a:lnTo>
                    <a:pt x="966" y="168"/>
                  </a:lnTo>
                  <a:lnTo>
                    <a:pt x="966" y="168"/>
                  </a:lnTo>
                  <a:lnTo>
                    <a:pt x="966" y="168"/>
                  </a:lnTo>
                  <a:lnTo>
                    <a:pt x="962" y="164"/>
                  </a:lnTo>
                  <a:lnTo>
                    <a:pt x="960" y="162"/>
                  </a:lnTo>
                  <a:lnTo>
                    <a:pt x="958" y="160"/>
                  </a:lnTo>
                  <a:lnTo>
                    <a:pt x="954" y="156"/>
                  </a:lnTo>
                  <a:lnTo>
                    <a:pt x="950" y="152"/>
                  </a:lnTo>
                  <a:lnTo>
                    <a:pt x="950" y="152"/>
                  </a:lnTo>
                  <a:lnTo>
                    <a:pt x="948" y="152"/>
                  </a:lnTo>
                  <a:lnTo>
                    <a:pt x="946" y="150"/>
                  </a:lnTo>
                  <a:lnTo>
                    <a:pt x="946" y="150"/>
                  </a:lnTo>
                  <a:lnTo>
                    <a:pt x="946" y="150"/>
                  </a:lnTo>
                  <a:lnTo>
                    <a:pt x="944" y="150"/>
                  </a:lnTo>
                  <a:lnTo>
                    <a:pt x="942" y="148"/>
                  </a:lnTo>
                  <a:lnTo>
                    <a:pt x="942" y="148"/>
                  </a:lnTo>
                  <a:lnTo>
                    <a:pt x="942" y="148"/>
                  </a:lnTo>
                  <a:lnTo>
                    <a:pt x="940" y="148"/>
                  </a:lnTo>
                  <a:lnTo>
                    <a:pt x="940" y="148"/>
                  </a:lnTo>
                  <a:lnTo>
                    <a:pt x="938" y="148"/>
                  </a:lnTo>
                  <a:lnTo>
                    <a:pt x="936" y="148"/>
                  </a:lnTo>
                  <a:lnTo>
                    <a:pt x="936" y="148"/>
                  </a:lnTo>
                  <a:lnTo>
                    <a:pt x="936" y="148"/>
                  </a:lnTo>
                  <a:lnTo>
                    <a:pt x="934" y="148"/>
                  </a:lnTo>
                  <a:lnTo>
                    <a:pt x="934" y="148"/>
                  </a:lnTo>
                  <a:lnTo>
                    <a:pt x="934" y="148"/>
                  </a:lnTo>
                  <a:lnTo>
                    <a:pt x="930" y="150"/>
                  </a:lnTo>
                  <a:lnTo>
                    <a:pt x="930" y="150"/>
                  </a:lnTo>
                  <a:lnTo>
                    <a:pt x="930" y="150"/>
                  </a:lnTo>
                  <a:lnTo>
                    <a:pt x="926" y="152"/>
                  </a:lnTo>
                  <a:lnTo>
                    <a:pt x="926" y="152"/>
                  </a:lnTo>
                  <a:lnTo>
                    <a:pt x="924" y="154"/>
                  </a:lnTo>
                  <a:lnTo>
                    <a:pt x="924" y="156"/>
                  </a:lnTo>
                  <a:lnTo>
                    <a:pt x="922" y="160"/>
                  </a:lnTo>
                  <a:lnTo>
                    <a:pt x="922" y="160"/>
                  </a:lnTo>
                  <a:lnTo>
                    <a:pt x="922" y="160"/>
                  </a:lnTo>
                  <a:lnTo>
                    <a:pt x="922" y="162"/>
                  </a:lnTo>
                  <a:lnTo>
                    <a:pt x="922" y="162"/>
                  </a:lnTo>
                  <a:lnTo>
                    <a:pt x="922" y="162"/>
                  </a:lnTo>
                  <a:lnTo>
                    <a:pt x="922" y="164"/>
                  </a:lnTo>
                  <a:lnTo>
                    <a:pt x="922" y="164"/>
                  </a:lnTo>
                  <a:lnTo>
                    <a:pt x="922" y="166"/>
                  </a:lnTo>
                  <a:lnTo>
                    <a:pt x="922" y="168"/>
                  </a:lnTo>
                  <a:lnTo>
                    <a:pt x="922" y="168"/>
                  </a:lnTo>
                  <a:lnTo>
                    <a:pt x="922" y="168"/>
                  </a:lnTo>
                  <a:lnTo>
                    <a:pt x="924" y="170"/>
                  </a:lnTo>
                  <a:lnTo>
                    <a:pt x="924" y="170"/>
                  </a:lnTo>
                  <a:lnTo>
                    <a:pt x="924" y="172"/>
                  </a:lnTo>
                  <a:lnTo>
                    <a:pt x="926" y="172"/>
                  </a:lnTo>
                  <a:lnTo>
                    <a:pt x="926" y="172"/>
                  </a:lnTo>
                  <a:lnTo>
                    <a:pt x="928" y="172"/>
                  </a:lnTo>
                  <a:lnTo>
                    <a:pt x="930" y="174"/>
                  </a:lnTo>
                  <a:lnTo>
                    <a:pt x="932" y="174"/>
                  </a:lnTo>
                  <a:lnTo>
                    <a:pt x="932" y="174"/>
                  </a:lnTo>
                  <a:lnTo>
                    <a:pt x="932" y="174"/>
                  </a:lnTo>
                  <a:lnTo>
                    <a:pt x="932" y="176"/>
                  </a:lnTo>
                  <a:lnTo>
                    <a:pt x="932" y="176"/>
                  </a:lnTo>
                  <a:lnTo>
                    <a:pt x="932" y="178"/>
                  </a:lnTo>
                  <a:lnTo>
                    <a:pt x="930" y="180"/>
                  </a:lnTo>
                  <a:lnTo>
                    <a:pt x="928" y="182"/>
                  </a:lnTo>
                  <a:lnTo>
                    <a:pt x="926" y="184"/>
                  </a:lnTo>
                  <a:lnTo>
                    <a:pt x="926" y="184"/>
                  </a:lnTo>
                  <a:lnTo>
                    <a:pt x="924" y="186"/>
                  </a:lnTo>
                  <a:lnTo>
                    <a:pt x="924" y="190"/>
                  </a:lnTo>
                  <a:lnTo>
                    <a:pt x="924" y="192"/>
                  </a:lnTo>
                  <a:lnTo>
                    <a:pt x="924" y="192"/>
                  </a:lnTo>
                  <a:lnTo>
                    <a:pt x="924" y="192"/>
                  </a:lnTo>
                  <a:lnTo>
                    <a:pt x="924" y="192"/>
                  </a:lnTo>
                  <a:lnTo>
                    <a:pt x="922" y="192"/>
                  </a:lnTo>
                  <a:lnTo>
                    <a:pt x="920" y="192"/>
                  </a:lnTo>
                  <a:lnTo>
                    <a:pt x="918" y="188"/>
                  </a:lnTo>
                  <a:lnTo>
                    <a:pt x="918" y="188"/>
                  </a:lnTo>
                  <a:lnTo>
                    <a:pt x="918" y="188"/>
                  </a:lnTo>
                  <a:lnTo>
                    <a:pt x="914" y="184"/>
                  </a:lnTo>
                  <a:lnTo>
                    <a:pt x="914" y="184"/>
                  </a:lnTo>
                  <a:lnTo>
                    <a:pt x="914" y="184"/>
                  </a:lnTo>
                  <a:lnTo>
                    <a:pt x="910" y="180"/>
                  </a:lnTo>
                  <a:lnTo>
                    <a:pt x="906" y="178"/>
                  </a:lnTo>
                  <a:lnTo>
                    <a:pt x="906" y="176"/>
                  </a:lnTo>
                  <a:lnTo>
                    <a:pt x="904" y="176"/>
                  </a:lnTo>
                  <a:lnTo>
                    <a:pt x="904" y="176"/>
                  </a:lnTo>
                  <a:lnTo>
                    <a:pt x="904" y="174"/>
                  </a:lnTo>
                  <a:lnTo>
                    <a:pt x="904" y="174"/>
                  </a:lnTo>
                  <a:lnTo>
                    <a:pt x="904" y="174"/>
                  </a:lnTo>
                  <a:lnTo>
                    <a:pt x="900" y="174"/>
                  </a:lnTo>
                  <a:lnTo>
                    <a:pt x="898" y="174"/>
                  </a:lnTo>
                  <a:lnTo>
                    <a:pt x="898" y="174"/>
                  </a:lnTo>
                  <a:lnTo>
                    <a:pt x="898" y="174"/>
                  </a:lnTo>
                  <a:lnTo>
                    <a:pt x="896" y="176"/>
                  </a:lnTo>
                  <a:lnTo>
                    <a:pt x="896" y="176"/>
                  </a:lnTo>
                  <a:lnTo>
                    <a:pt x="896" y="176"/>
                  </a:lnTo>
                  <a:lnTo>
                    <a:pt x="892" y="178"/>
                  </a:lnTo>
                  <a:lnTo>
                    <a:pt x="890" y="180"/>
                  </a:lnTo>
                  <a:lnTo>
                    <a:pt x="888" y="182"/>
                  </a:lnTo>
                  <a:lnTo>
                    <a:pt x="888" y="184"/>
                  </a:lnTo>
                  <a:lnTo>
                    <a:pt x="886" y="184"/>
                  </a:lnTo>
                  <a:lnTo>
                    <a:pt x="886" y="184"/>
                  </a:lnTo>
                  <a:lnTo>
                    <a:pt x="886" y="184"/>
                  </a:lnTo>
                  <a:lnTo>
                    <a:pt x="884" y="190"/>
                  </a:lnTo>
                  <a:lnTo>
                    <a:pt x="884" y="192"/>
                  </a:lnTo>
                  <a:lnTo>
                    <a:pt x="882" y="190"/>
                  </a:lnTo>
                  <a:lnTo>
                    <a:pt x="880" y="186"/>
                  </a:lnTo>
                  <a:lnTo>
                    <a:pt x="880" y="184"/>
                  </a:lnTo>
                  <a:lnTo>
                    <a:pt x="882" y="184"/>
                  </a:lnTo>
                  <a:lnTo>
                    <a:pt x="882" y="182"/>
                  </a:lnTo>
                  <a:lnTo>
                    <a:pt x="884" y="180"/>
                  </a:lnTo>
                  <a:lnTo>
                    <a:pt x="890" y="174"/>
                  </a:lnTo>
                  <a:lnTo>
                    <a:pt x="892" y="172"/>
                  </a:lnTo>
                  <a:lnTo>
                    <a:pt x="892" y="172"/>
                  </a:lnTo>
                  <a:lnTo>
                    <a:pt x="892" y="172"/>
                  </a:lnTo>
                  <a:lnTo>
                    <a:pt x="894" y="168"/>
                  </a:lnTo>
                  <a:lnTo>
                    <a:pt x="894" y="168"/>
                  </a:lnTo>
                  <a:lnTo>
                    <a:pt x="894" y="166"/>
                  </a:lnTo>
                  <a:lnTo>
                    <a:pt x="894" y="158"/>
                  </a:lnTo>
                  <a:lnTo>
                    <a:pt x="894" y="148"/>
                  </a:lnTo>
                  <a:lnTo>
                    <a:pt x="892" y="140"/>
                  </a:lnTo>
                  <a:lnTo>
                    <a:pt x="890" y="130"/>
                  </a:lnTo>
                  <a:lnTo>
                    <a:pt x="888" y="120"/>
                  </a:lnTo>
                  <a:lnTo>
                    <a:pt x="888" y="120"/>
                  </a:lnTo>
                  <a:lnTo>
                    <a:pt x="888" y="120"/>
                  </a:lnTo>
                  <a:lnTo>
                    <a:pt x="882" y="112"/>
                  </a:lnTo>
                  <a:lnTo>
                    <a:pt x="882" y="112"/>
                  </a:lnTo>
                  <a:lnTo>
                    <a:pt x="882" y="112"/>
                  </a:lnTo>
                  <a:lnTo>
                    <a:pt x="880" y="108"/>
                  </a:lnTo>
                  <a:lnTo>
                    <a:pt x="878" y="106"/>
                  </a:lnTo>
                  <a:lnTo>
                    <a:pt x="878" y="106"/>
                  </a:lnTo>
                  <a:lnTo>
                    <a:pt x="876" y="106"/>
                  </a:lnTo>
                  <a:lnTo>
                    <a:pt x="874" y="102"/>
                  </a:lnTo>
                  <a:lnTo>
                    <a:pt x="870" y="100"/>
                  </a:lnTo>
                  <a:lnTo>
                    <a:pt x="870" y="100"/>
                  </a:lnTo>
                  <a:lnTo>
                    <a:pt x="868" y="100"/>
                  </a:lnTo>
                  <a:lnTo>
                    <a:pt x="864" y="100"/>
                  </a:lnTo>
                  <a:lnTo>
                    <a:pt x="860" y="102"/>
                  </a:lnTo>
                  <a:lnTo>
                    <a:pt x="858" y="102"/>
                  </a:lnTo>
                  <a:lnTo>
                    <a:pt x="854" y="104"/>
                  </a:lnTo>
                  <a:lnTo>
                    <a:pt x="852" y="104"/>
                  </a:lnTo>
                  <a:lnTo>
                    <a:pt x="850" y="106"/>
                  </a:lnTo>
                  <a:lnTo>
                    <a:pt x="850" y="106"/>
                  </a:lnTo>
                  <a:lnTo>
                    <a:pt x="850" y="106"/>
                  </a:lnTo>
                  <a:lnTo>
                    <a:pt x="848" y="108"/>
                  </a:lnTo>
                  <a:lnTo>
                    <a:pt x="844" y="110"/>
                  </a:lnTo>
                  <a:lnTo>
                    <a:pt x="842" y="112"/>
                  </a:lnTo>
                  <a:lnTo>
                    <a:pt x="840" y="114"/>
                  </a:lnTo>
                  <a:lnTo>
                    <a:pt x="838" y="116"/>
                  </a:lnTo>
                  <a:lnTo>
                    <a:pt x="836" y="116"/>
                  </a:lnTo>
                  <a:lnTo>
                    <a:pt x="836" y="116"/>
                  </a:lnTo>
                  <a:lnTo>
                    <a:pt x="834" y="116"/>
                  </a:lnTo>
                  <a:lnTo>
                    <a:pt x="832" y="120"/>
                  </a:lnTo>
                  <a:lnTo>
                    <a:pt x="832" y="120"/>
                  </a:lnTo>
                  <a:lnTo>
                    <a:pt x="832" y="120"/>
                  </a:lnTo>
                  <a:lnTo>
                    <a:pt x="830" y="122"/>
                  </a:lnTo>
                  <a:lnTo>
                    <a:pt x="830" y="122"/>
                  </a:lnTo>
                  <a:lnTo>
                    <a:pt x="830" y="124"/>
                  </a:lnTo>
                  <a:lnTo>
                    <a:pt x="828" y="126"/>
                  </a:lnTo>
                  <a:lnTo>
                    <a:pt x="828" y="130"/>
                  </a:lnTo>
                  <a:lnTo>
                    <a:pt x="826" y="134"/>
                  </a:lnTo>
                  <a:lnTo>
                    <a:pt x="826" y="136"/>
                  </a:lnTo>
                  <a:lnTo>
                    <a:pt x="824" y="140"/>
                  </a:lnTo>
                  <a:lnTo>
                    <a:pt x="824" y="140"/>
                  </a:lnTo>
                  <a:lnTo>
                    <a:pt x="822" y="142"/>
                  </a:lnTo>
                  <a:lnTo>
                    <a:pt x="822" y="142"/>
                  </a:lnTo>
                  <a:lnTo>
                    <a:pt x="820" y="142"/>
                  </a:lnTo>
                  <a:lnTo>
                    <a:pt x="820" y="146"/>
                  </a:lnTo>
                  <a:lnTo>
                    <a:pt x="820" y="146"/>
                  </a:lnTo>
                  <a:lnTo>
                    <a:pt x="820" y="146"/>
                  </a:lnTo>
                  <a:lnTo>
                    <a:pt x="820" y="150"/>
                  </a:lnTo>
                  <a:lnTo>
                    <a:pt x="820" y="150"/>
                  </a:lnTo>
                  <a:lnTo>
                    <a:pt x="820" y="150"/>
                  </a:lnTo>
                  <a:lnTo>
                    <a:pt x="820" y="154"/>
                  </a:lnTo>
                  <a:lnTo>
                    <a:pt x="820" y="158"/>
                  </a:lnTo>
                  <a:lnTo>
                    <a:pt x="820" y="162"/>
                  </a:lnTo>
                  <a:lnTo>
                    <a:pt x="822" y="166"/>
                  </a:lnTo>
                  <a:lnTo>
                    <a:pt x="824" y="168"/>
                  </a:lnTo>
                  <a:lnTo>
                    <a:pt x="824" y="170"/>
                  </a:lnTo>
                  <a:lnTo>
                    <a:pt x="824" y="174"/>
                  </a:lnTo>
                  <a:lnTo>
                    <a:pt x="824" y="178"/>
                  </a:lnTo>
                  <a:lnTo>
                    <a:pt x="824" y="182"/>
                  </a:lnTo>
                  <a:lnTo>
                    <a:pt x="824" y="184"/>
                  </a:lnTo>
                  <a:lnTo>
                    <a:pt x="824" y="184"/>
                  </a:lnTo>
                  <a:lnTo>
                    <a:pt x="824" y="186"/>
                  </a:lnTo>
                  <a:lnTo>
                    <a:pt x="822" y="186"/>
                  </a:lnTo>
                  <a:lnTo>
                    <a:pt x="822" y="186"/>
                  </a:lnTo>
                  <a:lnTo>
                    <a:pt x="822" y="186"/>
                  </a:lnTo>
                  <a:lnTo>
                    <a:pt x="820" y="188"/>
                  </a:lnTo>
                  <a:lnTo>
                    <a:pt x="820" y="188"/>
                  </a:lnTo>
                  <a:lnTo>
                    <a:pt x="820" y="188"/>
                  </a:lnTo>
                  <a:lnTo>
                    <a:pt x="820" y="192"/>
                  </a:lnTo>
                  <a:lnTo>
                    <a:pt x="820" y="192"/>
                  </a:lnTo>
                  <a:lnTo>
                    <a:pt x="820" y="192"/>
                  </a:lnTo>
                  <a:lnTo>
                    <a:pt x="822" y="192"/>
                  </a:lnTo>
                  <a:lnTo>
                    <a:pt x="824" y="194"/>
                  </a:lnTo>
                  <a:lnTo>
                    <a:pt x="824" y="194"/>
                  </a:lnTo>
                  <a:lnTo>
                    <a:pt x="826" y="196"/>
                  </a:lnTo>
                  <a:lnTo>
                    <a:pt x="828" y="198"/>
                  </a:lnTo>
                  <a:lnTo>
                    <a:pt x="830" y="200"/>
                  </a:lnTo>
                  <a:lnTo>
                    <a:pt x="830" y="200"/>
                  </a:lnTo>
                  <a:lnTo>
                    <a:pt x="830" y="200"/>
                  </a:lnTo>
                  <a:lnTo>
                    <a:pt x="830" y="202"/>
                  </a:lnTo>
                  <a:lnTo>
                    <a:pt x="830" y="202"/>
                  </a:lnTo>
                  <a:lnTo>
                    <a:pt x="828" y="204"/>
                  </a:lnTo>
                  <a:lnTo>
                    <a:pt x="828" y="204"/>
                  </a:lnTo>
                  <a:lnTo>
                    <a:pt x="828" y="206"/>
                  </a:lnTo>
                  <a:lnTo>
                    <a:pt x="826" y="210"/>
                  </a:lnTo>
                  <a:lnTo>
                    <a:pt x="826" y="212"/>
                  </a:lnTo>
                  <a:lnTo>
                    <a:pt x="824" y="216"/>
                  </a:lnTo>
                  <a:lnTo>
                    <a:pt x="822" y="220"/>
                  </a:lnTo>
                  <a:lnTo>
                    <a:pt x="822" y="220"/>
                  </a:lnTo>
                  <a:lnTo>
                    <a:pt x="820" y="222"/>
                  </a:lnTo>
                  <a:lnTo>
                    <a:pt x="818" y="224"/>
                  </a:lnTo>
                  <a:lnTo>
                    <a:pt x="816" y="224"/>
                  </a:lnTo>
                  <a:lnTo>
                    <a:pt x="818" y="222"/>
                  </a:lnTo>
                  <a:lnTo>
                    <a:pt x="820" y="220"/>
                  </a:lnTo>
                  <a:lnTo>
                    <a:pt x="822" y="216"/>
                  </a:lnTo>
                  <a:lnTo>
                    <a:pt x="824" y="216"/>
                  </a:lnTo>
                  <a:lnTo>
                    <a:pt x="824" y="216"/>
                  </a:lnTo>
                  <a:lnTo>
                    <a:pt x="824" y="216"/>
                  </a:lnTo>
                  <a:lnTo>
                    <a:pt x="824" y="214"/>
                  </a:lnTo>
                  <a:lnTo>
                    <a:pt x="824" y="214"/>
                  </a:lnTo>
                  <a:lnTo>
                    <a:pt x="824" y="212"/>
                  </a:lnTo>
                  <a:lnTo>
                    <a:pt x="824" y="212"/>
                  </a:lnTo>
                  <a:lnTo>
                    <a:pt x="824" y="212"/>
                  </a:lnTo>
                  <a:lnTo>
                    <a:pt x="824" y="210"/>
                  </a:lnTo>
                  <a:lnTo>
                    <a:pt x="824" y="210"/>
                  </a:lnTo>
                  <a:lnTo>
                    <a:pt x="822" y="208"/>
                  </a:lnTo>
                  <a:lnTo>
                    <a:pt x="822" y="208"/>
                  </a:lnTo>
                  <a:lnTo>
                    <a:pt x="822" y="208"/>
                  </a:lnTo>
                  <a:lnTo>
                    <a:pt x="822" y="206"/>
                  </a:lnTo>
                  <a:lnTo>
                    <a:pt x="820" y="202"/>
                  </a:lnTo>
                  <a:lnTo>
                    <a:pt x="816" y="200"/>
                  </a:lnTo>
                  <a:lnTo>
                    <a:pt x="812" y="194"/>
                  </a:lnTo>
                  <a:lnTo>
                    <a:pt x="810" y="190"/>
                  </a:lnTo>
                  <a:lnTo>
                    <a:pt x="808" y="188"/>
                  </a:lnTo>
                  <a:lnTo>
                    <a:pt x="806" y="182"/>
                  </a:lnTo>
                  <a:lnTo>
                    <a:pt x="806" y="176"/>
                  </a:lnTo>
                  <a:lnTo>
                    <a:pt x="806" y="168"/>
                  </a:lnTo>
                  <a:lnTo>
                    <a:pt x="806" y="162"/>
                  </a:lnTo>
                  <a:lnTo>
                    <a:pt x="806" y="156"/>
                  </a:lnTo>
                  <a:lnTo>
                    <a:pt x="808" y="152"/>
                  </a:lnTo>
                  <a:lnTo>
                    <a:pt x="810" y="142"/>
                  </a:lnTo>
                  <a:lnTo>
                    <a:pt x="812" y="132"/>
                  </a:lnTo>
                  <a:lnTo>
                    <a:pt x="814" y="126"/>
                  </a:lnTo>
                  <a:lnTo>
                    <a:pt x="814" y="122"/>
                  </a:lnTo>
                  <a:lnTo>
                    <a:pt x="816" y="120"/>
                  </a:lnTo>
                  <a:lnTo>
                    <a:pt x="818" y="116"/>
                  </a:lnTo>
                  <a:lnTo>
                    <a:pt x="822" y="110"/>
                  </a:lnTo>
                  <a:lnTo>
                    <a:pt x="826" y="106"/>
                  </a:lnTo>
                  <a:lnTo>
                    <a:pt x="828" y="104"/>
                  </a:lnTo>
                  <a:lnTo>
                    <a:pt x="830" y="102"/>
                  </a:lnTo>
                  <a:lnTo>
                    <a:pt x="826" y="100"/>
                  </a:lnTo>
                  <a:lnTo>
                    <a:pt x="826" y="100"/>
                  </a:lnTo>
                  <a:lnTo>
                    <a:pt x="826" y="100"/>
                  </a:lnTo>
                  <a:lnTo>
                    <a:pt x="826" y="100"/>
                  </a:lnTo>
                  <a:lnTo>
                    <a:pt x="824" y="98"/>
                  </a:lnTo>
                  <a:lnTo>
                    <a:pt x="824" y="98"/>
                  </a:lnTo>
                  <a:lnTo>
                    <a:pt x="820" y="98"/>
                  </a:lnTo>
                  <a:lnTo>
                    <a:pt x="822" y="96"/>
                  </a:lnTo>
                  <a:lnTo>
                    <a:pt x="820" y="94"/>
                  </a:lnTo>
                  <a:lnTo>
                    <a:pt x="820" y="94"/>
                  </a:lnTo>
                  <a:lnTo>
                    <a:pt x="816" y="92"/>
                  </a:lnTo>
                  <a:lnTo>
                    <a:pt x="814" y="90"/>
                  </a:lnTo>
                  <a:lnTo>
                    <a:pt x="812" y="90"/>
                  </a:lnTo>
                  <a:lnTo>
                    <a:pt x="812" y="90"/>
                  </a:lnTo>
                  <a:lnTo>
                    <a:pt x="810" y="90"/>
                  </a:lnTo>
                  <a:lnTo>
                    <a:pt x="808" y="88"/>
                  </a:lnTo>
                  <a:lnTo>
                    <a:pt x="808" y="88"/>
                  </a:lnTo>
                  <a:lnTo>
                    <a:pt x="808" y="88"/>
                  </a:lnTo>
                  <a:lnTo>
                    <a:pt x="806" y="88"/>
                  </a:lnTo>
                  <a:lnTo>
                    <a:pt x="806" y="88"/>
                  </a:lnTo>
                  <a:lnTo>
                    <a:pt x="806" y="88"/>
                  </a:lnTo>
                  <a:lnTo>
                    <a:pt x="804" y="88"/>
                  </a:lnTo>
                  <a:lnTo>
                    <a:pt x="800" y="90"/>
                  </a:lnTo>
                  <a:lnTo>
                    <a:pt x="796" y="92"/>
                  </a:lnTo>
                  <a:lnTo>
                    <a:pt x="792" y="96"/>
                  </a:lnTo>
                  <a:lnTo>
                    <a:pt x="786" y="100"/>
                  </a:lnTo>
                  <a:lnTo>
                    <a:pt x="784" y="102"/>
                  </a:lnTo>
                  <a:lnTo>
                    <a:pt x="782" y="104"/>
                  </a:lnTo>
                  <a:lnTo>
                    <a:pt x="776" y="110"/>
                  </a:lnTo>
                  <a:lnTo>
                    <a:pt x="770" y="114"/>
                  </a:lnTo>
                  <a:lnTo>
                    <a:pt x="768" y="118"/>
                  </a:lnTo>
                  <a:lnTo>
                    <a:pt x="766" y="120"/>
                  </a:lnTo>
                  <a:lnTo>
                    <a:pt x="766" y="120"/>
                  </a:lnTo>
                  <a:lnTo>
                    <a:pt x="766" y="120"/>
                  </a:lnTo>
                  <a:lnTo>
                    <a:pt x="766" y="124"/>
                  </a:lnTo>
                  <a:lnTo>
                    <a:pt x="764" y="126"/>
                  </a:lnTo>
                  <a:lnTo>
                    <a:pt x="762" y="130"/>
                  </a:lnTo>
                  <a:lnTo>
                    <a:pt x="760" y="132"/>
                  </a:lnTo>
                  <a:lnTo>
                    <a:pt x="758" y="138"/>
                  </a:lnTo>
                  <a:lnTo>
                    <a:pt x="758" y="138"/>
                  </a:lnTo>
                  <a:lnTo>
                    <a:pt x="756" y="138"/>
                  </a:lnTo>
                  <a:lnTo>
                    <a:pt x="756" y="144"/>
                  </a:lnTo>
                  <a:lnTo>
                    <a:pt x="756" y="146"/>
                  </a:lnTo>
                  <a:lnTo>
                    <a:pt x="756" y="150"/>
                  </a:lnTo>
                  <a:lnTo>
                    <a:pt x="756" y="152"/>
                  </a:lnTo>
                  <a:lnTo>
                    <a:pt x="754" y="154"/>
                  </a:lnTo>
                  <a:lnTo>
                    <a:pt x="754" y="156"/>
                  </a:lnTo>
                  <a:lnTo>
                    <a:pt x="752" y="158"/>
                  </a:lnTo>
                  <a:lnTo>
                    <a:pt x="752" y="160"/>
                  </a:lnTo>
                  <a:lnTo>
                    <a:pt x="752" y="160"/>
                  </a:lnTo>
                  <a:lnTo>
                    <a:pt x="750" y="162"/>
                  </a:lnTo>
                  <a:lnTo>
                    <a:pt x="750" y="168"/>
                  </a:lnTo>
                  <a:lnTo>
                    <a:pt x="750" y="176"/>
                  </a:lnTo>
                  <a:lnTo>
                    <a:pt x="748" y="188"/>
                  </a:lnTo>
                  <a:lnTo>
                    <a:pt x="748" y="196"/>
                  </a:lnTo>
                  <a:lnTo>
                    <a:pt x="748" y="202"/>
                  </a:lnTo>
                  <a:lnTo>
                    <a:pt x="750" y="208"/>
                  </a:lnTo>
                  <a:lnTo>
                    <a:pt x="750" y="216"/>
                  </a:lnTo>
                  <a:lnTo>
                    <a:pt x="752" y="218"/>
                  </a:lnTo>
                  <a:lnTo>
                    <a:pt x="752" y="222"/>
                  </a:lnTo>
                  <a:lnTo>
                    <a:pt x="752" y="224"/>
                  </a:lnTo>
                  <a:lnTo>
                    <a:pt x="752" y="224"/>
                  </a:lnTo>
                  <a:lnTo>
                    <a:pt x="752" y="224"/>
                  </a:lnTo>
                  <a:lnTo>
                    <a:pt x="754" y="226"/>
                  </a:lnTo>
                  <a:lnTo>
                    <a:pt x="754" y="228"/>
                  </a:lnTo>
                  <a:lnTo>
                    <a:pt x="756" y="228"/>
                  </a:lnTo>
                  <a:lnTo>
                    <a:pt x="756" y="230"/>
                  </a:lnTo>
                  <a:lnTo>
                    <a:pt x="756" y="232"/>
                  </a:lnTo>
                  <a:lnTo>
                    <a:pt x="758" y="234"/>
                  </a:lnTo>
                  <a:lnTo>
                    <a:pt x="758" y="236"/>
                  </a:lnTo>
                  <a:lnTo>
                    <a:pt x="760" y="238"/>
                  </a:lnTo>
                  <a:lnTo>
                    <a:pt x="760" y="240"/>
                  </a:lnTo>
                  <a:lnTo>
                    <a:pt x="762" y="242"/>
                  </a:lnTo>
                  <a:lnTo>
                    <a:pt x="762" y="244"/>
                  </a:lnTo>
                  <a:lnTo>
                    <a:pt x="762" y="246"/>
                  </a:lnTo>
                  <a:lnTo>
                    <a:pt x="762" y="248"/>
                  </a:lnTo>
                  <a:lnTo>
                    <a:pt x="764" y="250"/>
                  </a:lnTo>
                  <a:lnTo>
                    <a:pt x="764" y="252"/>
                  </a:lnTo>
                  <a:lnTo>
                    <a:pt x="764" y="254"/>
                  </a:lnTo>
                  <a:lnTo>
                    <a:pt x="764" y="258"/>
                  </a:lnTo>
                  <a:lnTo>
                    <a:pt x="764" y="262"/>
                  </a:lnTo>
                  <a:lnTo>
                    <a:pt x="764" y="262"/>
                  </a:lnTo>
                  <a:lnTo>
                    <a:pt x="766" y="264"/>
                  </a:lnTo>
                  <a:lnTo>
                    <a:pt x="768" y="264"/>
                  </a:lnTo>
                  <a:lnTo>
                    <a:pt x="768" y="264"/>
                  </a:lnTo>
                  <a:lnTo>
                    <a:pt x="770" y="264"/>
                  </a:lnTo>
                  <a:lnTo>
                    <a:pt x="776" y="264"/>
                  </a:lnTo>
                  <a:lnTo>
                    <a:pt x="780" y="262"/>
                  </a:lnTo>
                  <a:lnTo>
                    <a:pt x="786" y="262"/>
                  </a:lnTo>
                  <a:lnTo>
                    <a:pt x="792" y="262"/>
                  </a:lnTo>
                  <a:lnTo>
                    <a:pt x="796" y="262"/>
                  </a:lnTo>
                  <a:lnTo>
                    <a:pt x="796" y="262"/>
                  </a:lnTo>
                  <a:lnTo>
                    <a:pt x="798" y="264"/>
                  </a:lnTo>
                  <a:lnTo>
                    <a:pt x="796" y="264"/>
                  </a:lnTo>
                  <a:lnTo>
                    <a:pt x="794" y="268"/>
                  </a:lnTo>
                  <a:lnTo>
                    <a:pt x="794" y="268"/>
                  </a:lnTo>
                  <a:lnTo>
                    <a:pt x="794" y="268"/>
                  </a:lnTo>
                  <a:lnTo>
                    <a:pt x="794" y="270"/>
                  </a:lnTo>
                  <a:lnTo>
                    <a:pt x="794" y="270"/>
                  </a:lnTo>
                  <a:lnTo>
                    <a:pt x="794" y="272"/>
                  </a:lnTo>
                  <a:lnTo>
                    <a:pt x="794" y="272"/>
                  </a:lnTo>
                  <a:lnTo>
                    <a:pt x="794" y="272"/>
                  </a:lnTo>
                  <a:lnTo>
                    <a:pt x="794" y="274"/>
                  </a:lnTo>
                  <a:lnTo>
                    <a:pt x="796" y="276"/>
                  </a:lnTo>
                  <a:lnTo>
                    <a:pt x="796" y="276"/>
                  </a:lnTo>
                  <a:lnTo>
                    <a:pt x="796" y="276"/>
                  </a:lnTo>
                  <a:lnTo>
                    <a:pt x="798" y="276"/>
                  </a:lnTo>
                  <a:lnTo>
                    <a:pt x="798" y="276"/>
                  </a:lnTo>
                  <a:lnTo>
                    <a:pt x="798" y="278"/>
                  </a:lnTo>
                  <a:lnTo>
                    <a:pt x="800" y="278"/>
                  </a:lnTo>
                  <a:lnTo>
                    <a:pt x="800" y="278"/>
                  </a:lnTo>
                  <a:lnTo>
                    <a:pt x="802" y="278"/>
                  </a:lnTo>
                  <a:lnTo>
                    <a:pt x="808" y="278"/>
                  </a:lnTo>
                  <a:lnTo>
                    <a:pt x="814" y="276"/>
                  </a:lnTo>
                  <a:lnTo>
                    <a:pt x="820" y="276"/>
                  </a:lnTo>
                  <a:lnTo>
                    <a:pt x="822" y="276"/>
                  </a:lnTo>
                  <a:lnTo>
                    <a:pt x="822" y="276"/>
                  </a:lnTo>
                  <a:lnTo>
                    <a:pt x="822" y="276"/>
                  </a:lnTo>
                  <a:lnTo>
                    <a:pt x="820" y="278"/>
                  </a:lnTo>
                  <a:lnTo>
                    <a:pt x="820" y="278"/>
                  </a:lnTo>
                  <a:lnTo>
                    <a:pt x="820" y="280"/>
                  </a:lnTo>
                  <a:lnTo>
                    <a:pt x="818" y="282"/>
                  </a:lnTo>
                  <a:lnTo>
                    <a:pt x="818" y="282"/>
                  </a:lnTo>
                  <a:lnTo>
                    <a:pt x="818" y="284"/>
                  </a:lnTo>
                  <a:lnTo>
                    <a:pt x="818" y="288"/>
                  </a:lnTo>
                  <a:lnTo>
                    <a:pt x="820" y="292"/>
                  </a:lnTo>
                  <a:lnTo>
                    <a:pt x="820" y="298"/>
                  </a:lnTo>
                  <a:lnTo>
                    <a:pt x="822" y="302"/>
                  </a:lnTo>
                  <a:lnTo>
                    <a:pt x="822" y="306"/>
                  </a:lnTo>
                  <a:lnTo>
                    <a:pt x="822" y="310"/>
                  </a:lnTo>
                  <a:lnTo>
                    <a:pt x="820" y="314"/>
                  </a:lnTo>
                  <a:lnTo>
                    <a:pt x="818" y="318"/>
                  </a:lnTo>
                  <a:lnTo>
                    <a:pt x="816" y="326"/>
                  </a:lnTo>
                  <a:lnTo>
                    <a:pt x="812" y="334"/>
                  </a:lnTo>
                  <a:lnTo>
                    <a:pt x="810" y="338"/>
                  </a:lnTo>
                  <a:lnTo>
                    <a:pt x="810" y="342"/>
                  </a:lnTo>
                  <a:lnTo>
                    <a:pt x="808" y="350"/>
                  </a:lnTo>
                  <a:lnTo>
                    <a:pt x="806" y="358"/>
                  </a:lnTo>
                  <a:lnTo>
                    <a:pt x="802" y="364"/>
                  </a:lnTo>
                  <a:lnTo>
                    <a:pt x="802" y="368"/>
                  </a:lnTo>
                  <a:lnTo>
                    <a:pt x="800" y="370"/>
                  </a:lnTo>
                  <a:lnTo>
                    <a:pt x="798" y="374"/>
                  </a:lnTo>
                  <a:lnTo>
                    <a:pt x="796" y="376"/>
                  </a:lnTo>
                  <a:lnTo>
                    <a:pt x="794" y="380"/>
                  </a:lnTo>
                  <a:lnTo>
                    <a:pt x="792" y="382"/>
                  </a:lnTo>
                  <a:lnTo>
                    <a:pt x="790" y="384"/>
                  </a:lnTo>
                  <a:lnTo>
                    <a:pt x="788" y="386"/>
                  </a:lnTo>
                  <a:lnTo>
                    <a:pt x="788" y="386"/>
                  </a:lnTo>
                  <a:lnTo>
                    <a:pt x="788" y="386"/>
                  </a:lnTo>
                  <a:lnTo>
                    <a:pt x="788" y="384"/>
                  </a:lnTo>
                  <a:lnTo>
                    <a:pt x="786" y="382"/>
                  </a:lnTo>
                  <a:lnTo>
                    <a:pt x="784" y="378"/>
                  </a:lnTo>
                  <a:lnTo>
                    <a:pt x="784" y="374"/>
                  </a:lnTo>
                  <a:lnTo>
                    <a:pt x="782" y="366"/>
                  </a:lnTo>
                  <a:lnTo>
                    <a:pt x="780" y="360"/>
                  </a:lnTo>
                  <a:lnTo>
                    <a:pt x="780" y="356"/>
                  </a:lnTo>
                  <a:lnTo>
                    <a:pt x="780" y="354"/>
                  </a:lnTo>
                  <a:lnTo>
                    <a:pt x="780" y="354"/>
                  </a:lnTo>
                  <a:lnTo>
                    <a:pt x="782" y="350"/>
                  </a:lnTo>
                  <a:lnTo>
                    <a:pt x="782" y="348"/>
                  </a:lnTo>
                  <a:lnTo>
                    <a:pt x="784" y="344"/>
                  </a:lnTo>
                  <a:lnTo>
                    <a:pt x="784" y="340"/>
                  </a:lnTo>
                  <a:lnTo>
                    <a:pt x="786" y="338"/>
                  </a:lnTo>
                  <a:lnTo>
                    <a:pt x="786" y="334"/>
                  </a:lnTo>
                  <a:lnTo>
                    <a:pt x="786" y="334"/>
                  </a:lnTo>
                  <a:lnTo>
                    <a:pt x="786" y="332"/>
                  </a:lnTo>
                  <a:lnTo>
                    <a:pt x="786" y="330"/>
                  </a:lnTo>
                  <a:lnTo>
                    <a:pt x="786" y="330"/>
                  </a:lnTo>
                  <a:lnTo>
                    <a:pt x="786" y="328"/>
                  </a:lnTo>
                  <a:lnTo>
                    <a:pt x="786" y="326"/>
                  </a:lnTo>
                  <a:lnTo>
                    <a:pt x="784" y="322"/>
                  </a:lnTo>
                  <a:lnTo>
                    <a:pt x="782" y="316"/>
                  </a:lnTo>
                  <a:lnTo>
                    <a:pt x="780" y="312"/>
                  </a:lnTo>
                  <a:lnTo>
                    <a:pt x="776" y="308"/>
                  </a:lnTo>
                  <a:lnTo>
                    <a:pt x="774" y="306"/>
                  </a:lnTo>
                  <a:lnTo>
                    <a:pt x="774" y="306"/>
                  </a:lnTo>
                  <a:lnTo>
                    <a:pt x="774" y="306"/>
                  </a:lnTo>
                  <a:lnTo>
                    <a:pt x="772" y="304"/>
                  </a:lnTo>
                  <a:lnTo>
                    <a:pt x="772" y="304"/>
                  </a:lnTo>
                  <a:lnTo>
                    <a:pt x="770" y="302"/>
                  </a:lnTo>
                  <a:lnTo>
                    <a:pt x="770" y="302"/>
                  </a:lnTo>
                  <a:lnTo>
                    <a:pt x="770" y="302"/>
                  </a:lnTo>
                  <a:lnTo>
                    <a:pt x="770" y="302"/>
                  </a:lnTo>
                  <a:lnTo>
                    <a:pt x="768" y="302"/>
                  </a:lnTo>
                  <a:lnTo>
                    <a:pt x="768" y="302"/>
                  </a:lnTo>
                  <a:lnTo>
                    <a:pt x="766" y="302"/>
                  </a:lnTo>
                  <a:lnTo>
                    <a:pt x="766" y="302"/>
                  </a:lnTo>
                  <a:lnTo>
                    <a:pt x="766" y="302"/>
                  </a:lnTo>
                  <a:lnTo>
                    <a:pt x="764" y="302"/>
                  </a:lnTo>
                  <a:lnTo>
                    <a:pt x="764" y="304"/>
                  </a:lnTo>
                  <a:lnTo>
                    <a:pt x="762" y="304"/>
                  </a:lnTo>
                  <a:lnTo>
                    <a:pt x="762" y="304"/>
                  </a:lnTo>
                  <a:lnTo>
                    <a:pt x="762" y="306"/>
                  </a:lnTo>
                  <a:lnTo>
                    <a:pt x="762" y="306"/>
                  </a:lnTo>
                  <a:lnTo>
                    <a:pt x="760" y="310"/>
                  </a:lnTo>
                  <a:lnTo>
                    <a:pt x="758" y="316"/>
                  </a:lnTo>
                  <a:lnTo>
                    <a:pt x="756" y="320"/>
                  </a:lnTo>
                  <a:lnTo>
                    <a:pt x="754" y="324"/>
                  </a:lnTo>
                  <a:lnTo>
                    <a:pt x="752" y="328"/>
                  </a:lnTo>
                  <a:lnTo>
                    <a:pt x="750" y="330"/>
                  </a:lnTo>
                  <a:lnTo>
                    <a:pt x="750" y="330"/>
                  </a:lnTo>
                  <a:lnTo>
                    <a:pt x="748" y="336"/>
                  </a:lnTo>
                  <a:lnTo>
                    <a:pt x="746" y="340"/>
                  </a:lnTo>
                  <a:lnTo>
                    <a:pt x="746" y="336"/>
                  </a:lnTo>
                  <a:lnTo>
                    <a:pt x="746" y="330"/>
                  </a:lnTo>
                  <a:lnTo>
                    <a:pt x="744" y="326"/>
                  </a:lnTo>
                  <a:lnTo>
                    <a:pt x="744" y="320"/>
                  </a:lnTo>
                  <a:lnTo>
                    <a:pt x="742" y="316"/>
                  </a:lnTo>
                  <a:lnTo>
                    <a:pt x="740" y="312"/>
                  </a:lnTo>
                  <a:lnTo>
                    <a:pt x="740" y="312"/>
                  </a:lnTo>
                  <a:lnTo>
                    <a:pt x="740" y="312"/>
                  </a:lnTo>
                  <a:lnTo>
                    <a:pt x="738" y="308"/>
                  </a:lnTo>
                  <a:lnTo>
                    <a:pt x="738" y="308"/>
                  </a:lnTo>
                  <a:lnTo>
                    <a:pt x="738" y="308"/>
                  </a:lnTo>
                  <a:lnTo>
                    <a:pt x="736" y="304"/>
                  </a:lnTo>
                  <a:lnTo>
                    <a:pt x="736" y="304"/>
                  </a:lnTo>
                  <a:lnTo>
                    <a:pt x="736" y="304"/>
                  </a:lnTo>
                  <a:lnTo>
                    <a:pt x="730" y="300"/>
                  </a:lnTo>
                  <a:lnTo>
                    <a:pt x="724" y="296"/>
                  </a:lnTo>
                  <a:lnTo>
                    <a:pt x="720" y="294"/>
                  </a:lnTo>
                  <a:lnTo>
                    <a:pt x="720" y="292"/>
                  </a:lnTo>
                  <a:lnTo>
                    <a:pt x="718" y="292"/>
                  </a:lnTo>
                  <a:lnTo>
                    <a:pt x="714" y="290"/>
                  </a:lnTo>
                  <a:lnTo>
                    <a:pt x="712" y="288"/>
                  </a:lnTo>
                  <a:lnTo>
                    <a:pt x="710" y="286"/>
                  </a:lnTo>
                  <a:lnTo>
                    <a:pt x="710" y="286"/>
                  </a:lnTo>
                  <a:lnTo>
                    <a:pt x="710" y="284"/>
                  </a:lnTo>
                  <a:lnTo>
                    <a:pt x="710" y="284"/>
                  </a:lnTo>
                  <a:lnTo>
                    <a:pt x="710" y="280"/>
                  </a:lnTo>
                  <a:lnTo>
                    <a:pt x="710" y="276"/>
                  </a:lnTo>
                  <a:lnTo>
                    <a:pt x="712" y="272"/>
                  </a:lnTo>
                  <a:lnTo>
                    <a:pt x="714" y="266"/>
                  </a:lnTo>
                  <a:lnTo>
                    <a:pt x="716" y="262"/>
                  </a:lnTo>
                  <a:lnTo>
                    <a:pt x="718" y="256"/>
                  </a:lnTo>
                  <a:lnTo>
                    <a:pt x="720" y="252"/>
                  </a:lnTo>
                  <a:lnTo>
                    <a:pt x="720" y="246"/>
                  </a:lnTo>
                  <a:lnTo>
                    <a:pt x="720" y="238"/>
                  </a:lnTo>
                  <a:lnTo>
                    <a:pt x="720" y="234"/>
                  </a:lnTo>
                  <a:lnTo>
                    <a:pt x="720" y="230"/>
                  </a:lnTo>
                  <a:lnTo>
                    <a:pt x="720" y="226"/>
                  </a:lnTo>
                  <a:lnTo>
                    <a:pt x="718" y="222"/>
                  </a:lnTo>
                  <a:lnTo>
                    <a:pt x="716" y="220"/>
                  </a:lnTo>
                  <a:lnTo>
                    <a:pt x="716" y="220"/>
                  </a:lnTo>
                  <a:lnTo>
                    <a:pt x="716" y="218"/>
                  </a:lnTo>
                  <a:lnTo>
                    <a:pt x="714" y="216"/>
                  </a:lnTo>
                  <a:lnTo>
                    <a:pt x="710" y="212"/>
                  </a:lnTo>
                  <a:lnTo>
                    <a:pt x="706" y="208"/>
                  </a:lnTo>
                  <a:lnTo>
                    <a:pt x="700" y="204"/>
                  </a:lnTo>
                  <a:lnTo>
                    <a:pt x="696" y="200"/>
                  </a:lnTo>
                  <a:lnTo>
                    <a:pt x="690" y="196"/>
                  </a:lnTo>
                  <a:lnTo>
                    <a:pt x="684" y="194"/>
                  </a:lnTo>
                  <a:lnTo>
                    <a:pt x="680" y="192"/>
                  </a:lnTo>
                  <a:lnTo>
                    <a:pt x="680" y="192"/>
                  </a:lnTo>
                  <a:lnTo>
                    <a:pt x="680" y="192"/>
                  </a:lnTo>
                  <a:lnTo>
                    <a:pt x="676" y="190"/>
                  </a:lnTo>
                  <a:lnTo>
                    <a:pt x="676" y="190"/>
                  </a:lnTo>
                  <a:lnTo>
                    <a:pt x="676" y="190"/>
                  </a:lnTo>
                  <a:lnTo>
                    <a:pt x="672" y="190"/>
                  </a:lnTo>
                  <a:lnTo>
                    <a:pt x="672" y="190"/>
                  </a:lnTo>
                  <a:lnTo>
                    <a:pt x="672" y="190"/>
                  </a:lnTo>
                  <a:lnTo>
                    <a:pt x="670" y="192"/>
                  </a:lnTo>
                  <a:lnTo>
                    <a:pt x="670" y="192"/>
                  </a:lnTo>
                  <a:lnTo>
                    <a:pt x="668" y="192"/>
                  </a:lnTo>
                  <a:lnTo>
                    <a:pt x="666" y="192"/>
                  </a:lnTo>
                  <a:lnTo>
                    <a:pt x="666" y="192"/>
                  </a:lnTo>
                  <a:lnTo>
                    <a:pt x="666" y="194"/>
                  </a:lnTo>
                  <a:lnTo>
                    <a:pt x="664" y="196"/>
                  </a:lnTo>
                  <a:lnTo>
                    <a:pt x="664" y="196"/>
                  </a:lnTo>
                  <a:lnTo>
                    <a:pt x="664" y="196"/>
                  </a:lnTo>
                  <a:lnTo>
                    <a:pt x="662" y="198"/>
                  </a:lnTo>
                  <a:lnTo>
                    <a:pt x="660" y="202"/>
                  </a:lnTo>
                  <a:lnTo>
                    <a:pt x="658" y="208"/>
                  </a:lnTo>
                  <a:lnTo>
                    <a:pt x="658" y="212"/>
                  </a:lnTo>
                  <a:lnTo>
                    <a:pt x="656" y="216"/>
                  </a:lnTo>
                  <a:lnTo>
                    <a:pt x="656" y="224"/>
                  </a:lnTo>
                  <a:lnTo>
                    <a:pt x="654" y="232"/>
                  </a:lnTo>
                  <a:lnTo>
                    <a:pt x="654" y="236"/>
                  </a:lnTo>
                  <a:lnTo>
                    <a:pt x="654" y="240"/>
                  </a:lnTo>
                  <a:lnTo>
                    <a:pt x="654" y="248"/>
                  </a:lnTo>
                  <a:lnTo>
                    <a:pt x="656" y="256"/>
                  </a:lnTo>
                  <a:lnTo>
                    <a:pt x="656" y="264"/>
                  </a:lnTo>
                  <a:lnTo>
                    <a:pt x="658" y="266"/>
                  </a:lnTo>
                  <a:lnTo>
                    <a:pt x="658" y="270"/>
                  </a:lnTo>
                  <a:lnTo>
                    <a:pt x="658" y="270"/>
                  </a:lnTo>
                  <a:lnTo>
                    <a:pt x="658" y="270"/>
                  </a:lnTo>
                  <a:lnTo>
                    <a:pt x="660" y="272"/>
                  </a:lnTo>
                  <a:lnTo>
                    <a:pt x="660" y="272"/>
                  </a:lnTo>
                  <a:lnTo>
                    <a:pt x="660" y="274"/>
                  </a:lnTo>
                  <a:lnTo>
                    <a:pt x="662" y="276"/>
                  </a:lnTo>
                  <a:lnTo>
                    <a:pt x="662" y="276"/>
                  </a:lnTo>
                  <a:lnTo>
                    <a:pt x="662" y="276"/>
                  </a:lnTo>
                  <a:lnTo>
                    <a:pt x="666" y="278"/>
                  </a:lnTo>
                  <a:lnTo>
                    <a:pt x="672" y="282"/>
                  </a:lnTo>
                  <a:lnTo>
                    <a:pt x="676" y="286"/>
                  </a:lnTo>
                  <a:lnTo>
                    <a:pt x="680" y="288"/>
                  </a:lnTo>
                  <a:lnTo>
                    <a:pt x="684" y="290"/>
                  </a:lnTo>
                  <a:lnTo>
                    <a:pt x="690" y="294"/>
                  </a:lnTo>
                  <a:lnTo>
                    <a:pt x="694" y="296"/>
                  </a:lnTo>
                  <a:lnTo>
                    <a:pt x="696" y="298"/>
                  </a:lnTo>
                  <a:lnTo>
                    <a:pt x="698" y="300"/>
                  </a:lnTo>
                  <a:lnTo>
                    <a:pt x="700" y="302"/>
                  </a:lnTo>
                  <a:lnTo>
                    <a:pt x="700" y="306"/>
                  </a:lnTo>
                  <a:lnTo>
                    <a:pt x="700" y="306"/>
                  </a:lnTo>
                  <a:lnTo>
                    <a:pt x="700" y="308"/>
                  </a:lnTo>
                  <a:lnTo>
                    <a:pt x="700" y="312"/>
                  </a:lnTo>
                  <a:lnTo>
                    <a:pt x="700" y="316"/>
                  </a:lnTo>
                  <a:lnTo>
                    <a:pt x="700" y="322"/>
                  </a:lnTo>
                  <a:lnTo>
                    <a:pt x="698" y="326"/>
                  </a:lnTo>
                  <a:lnTo>
                    <a:pt x="696" y="328"/>
                  </a:lnTo>
                  <a:lnTo>
                    <a:pt x="696" y="332"/>
                  </a:lnTo>
                  <a:lnTo>
                    <a:pt x="692" y="334"/>
                  </a:lnTo>
                  <a:lnTo>
                    <a:pt x="690" y="338"/>
                  </a:lnTo>
                  <a:lnTo>
                    <a:pt x="686" y="340"/>
                  </a:lnTo>
                  <a:lnTo>
                    <a:pt x="684" y="344"/>
                  </a:lnTo>
                  <a:lnTo>
                    <a:pt x="680" y="346"/>
                  </a:lnTo>
                  <a:lnTo>
                    <a:pt x="676" y="348"/>
                  </a:lnTo>
                  <a:lnTo>
                    <a:pt x="674" y="352"/>
                  </a:lnTo>
                  <a:lnTo>
                    <a:pt x="672" y="354"/>
                  </a:lnTo>
                  <a:lnTo>
                    <a:pt x="672" y="356"/>
                  </a:lnTo>
                  <a:lnTo>
                    <a:pt x="672" y="356"/>
                  </a:lnTo>
                  <a:lnTo>
                    <a:pt x="672" y="356"/>
                  </a:lnTo>
                  <a:lnTo>
                    <a:pt x="670" y="358"/>
                  </a:lnTo>
                  <a:lnTo>
                    <a:pt x="670" y="358"/>
                  </a:lnTo>
                  <a:lnTo>
                    <a:pt x="670" y="358"/>
                  </a:lnTo>
                  <a:lnTo>
                    <a:pt x="670" y="360"/>
                  </a:lnTo>
                  <a:lnTo>
                    <a:pt x="670" y="362"/>
                  </a:lnTo>
                  <a:lnTo>
                    <a:pt x="670" y="364"/>
                  </a:lnTo>
                  <a:lnTo>
                    <a:pt x="670" y="364"/>
                  </a:lnTo>
                  <a:lnTo>
                    <a:pt x="670" y="368"/>
                  </a:lnTo>
                  <a:lnTo>
                    <a:pt x="670" y="370"/>
                  </a:lnTo>
                  <a:lnTo>
                    <a:pt x="670" y="376"/>
                  </a:lnTo>
                  <a:lnTo>
                    <a:pt x="670" y="378"/>
                  </a:lnTo>
                  <a:lnTo>
                    <a:pt x="670" y="380"/>
                  </a:lnTo>
                  <a:lnTo>
                    <a:pt x="670" y="380"/>
                  </a:lnTo>
                  <a:lnTo>
                    <a:pt x="670" y="380"/>
                  </a:lnTo>
                  <a:lnTo>
                    <a:pt x="670" y="380"/>
                  </a:lnTo>
                  <a:lnTo>
                    <a:pt x="668" y="380"/>
                  </a:lnTo>
                  <a:lnTo>
                    <a:pt x="666" y="380"/>
                  </a:lnTo>
                  <a:lnTo>
                    <a:pt x="664" y="380"/>
                  </a:lnTo>
                  <a:lnTo>
                    <a:pt x="664" y="378"/>
                  </a:lnTo>
                  <a:lnTo>
                    <a:pt x="662" y="378"/>
                  </a:lnTo>
                  <a:lnTo>
                    <a:pt x="662" y="376"/>
                  </a:lnTo>
                  <a:lnTo>
                    <a:pt x="662" y="376"/>
                  </a:lnTo>
                  <a:lnTo>
                    <a:pt x="662" y="374"/>
                  </a:lnTo>
                  <a:lnTo>
                    <a:pt x="662" y="370"/>
                  </a:lnTo>
                  <a:lnTo>
                    <a:pt x="662" y="368"/>
                  </a:lnTo>
                  <a:lnTo>
                    <a:pt x="662" y="364"/>
                  </a:lnTo>
                  <a:lnTo>
                    <a:pt x="662" y="360"/>
                  </a:lnTo>
                  <a:lnTo>
                    <a:pt x="662" y="356"/>
                  </a:lnTo>
                  <a:lnTo>
                    <a:pt x="662" y="356"/>
                  </a:lnTo>
                  <a:lnTo>
                    <a:pt x="662" y="356"/>
                  </a:lnTo>
                  <a:lnTo>
                    <a:pt x="662" y="354"/>
                  </a:lnTo>
                  <a:lnTo>
                    <a:pt x="662" y="354"/>
                  </a:lnTo>
                  <a:lnTo>
                    <a:pt x="662" y="352"/>
                  </a:lnTo>
                  <a:lnTo>
                    <a:pt x="660" y="350"/>
                  </a:lnTo>
                  <a:lnTo>
                    <a:pt x="658" y="346"/>
                  </a:lnTo>
                  <a:lnTo>
                    <a:pt x="656" y="344"/>
                  </a:lnTo>
                  <a:lnTo>
                    <a:pt x="652" y="340"/>
                  </a:lnTo>
                  <a:lnTo>
                    <a:pt x="650" y="338"/>
                  </a:lnTo>
                  <a:lnTo>
                    <a:pt x="648" y="334"/>
                  </a:lnTo>
                  <a:lnTo>
                    <a:pt x="644" y="332"/>
                  </a:lnTo>
                  <a:lnTo>
                    <a:pt x="642" y="332"/>
                  </a:lnTo>
                  <a:lnTo>
                    <a:pt x="642" y="332"/>
                  </a:lnTo>
                  <a:lnTo>
                    <a:pt x="640" y="330"/>
                  </a:lnTo>
                  <a:lnTo>
                    <a:pt x="636" y="330"/>
                  </a:lnTo>
                  <a:lnTo>
                    <a:pt x="636" y="330"/>
                  </a:lnTo>
                  <a:lnTo>
                    <a:pt x="636" y="328"/>
                  </a:lnTo>
                  <a:lnTo>
                    <a:pt x="632" y="328"/>
                  </a:lnTo>
                  <a:lnTo>
                    <a:pt x="630" y="328"/>
                  </a:lnTo>
                  <a:lnTo>
                    <a:pt x="630" y="328"/>
                  </a:lnTo>
                  <a:lnTo>
                    <a:pt x="630" y="328"/>
                  </a:lnTo>
                  <a:lnTo>
                    <a:pt x="628" y="330"/>
                  </a:lnTo>
                  <a:lnTo>
                    <a:pt x="628" y="330"/>
                  </a:lnTo>
                  <a:lnTo>
                    <a:pt x="626" y="330"/>
                  </a:lnTo>
                  <a:lnTo>
                    <a:pt x="624" y="330"/>
                  </a:lnTo>
                  <a:lnTo>
                    <a:pt x="624" y="330"/>
                  </a:lnTo>
                  <a:lnTo>
                    <a:pt x="624" y="330"/>
                  </a:lnTo>
                  <a:lnTo>
                    <a:pt x="622" y="332"/>
                  </a:lnTo>
                  <a:lnTo>
                    <a:pt x="622" y="332"/>
                  </a:lnTo>
                  <a:lnTo>
                    <a:pt x="622" y="332"/>
                  </a:lnTo>
                  <a:lnTo>
                    <a:pt x="620" y="334"/>
                  </a:lnTo>
                  <a:lnTo>
                    <a:pt x="620" y="334"/>
                  </a:lnTo>
                  <a:lnTo>
                    <a:pt x="620" y="336"/>
                  </a:lnTo>
                  <a:lnTo>
                    <a:pt x="620" y="338"/>
                  </a:lnTo>
                  <a:lnTo>
                    <a:pt x="620" y="338"/>
                  </a:lnTo>
                  <a:lnTo>
                    <a:pt x="620" y="338"/>
                  </a:lnTo>
                  <a:lnTo>
                    <a:pt x="622" y="342"/>
                  </a:lnTo>
                  <a:lnTo>
                    <a:pt x="622" y="346"/>
                  </a:lnTo>
                  <a:lnTo>
                    <a:pt x="624" y="350"/>
                  </a:lnTo>
                  <a:lnTo>
                    <a:pt x="626" y="354"/>
                  </a:lnTo>
                  <a:lnTo>
                    <a:pt x="626" y="358"/>
                  </a:lnTo>
                  <a:lnTo>
                    <a:pt x="626" y="360"/>
                  </a:lnTo>
                  <a:lnTo>
                    <a:pt x="624" y="360"/>
                  </a:lnTo>
                  <a:lnTo>
                    <a:pt x="624" y="360"/>
                  </a:lnTo>
                  <a:lnTo>
                    <a:pt x="624" y="362"/>
                  </a:lnTo>
                  <a:lnTo>
                    <a:pt x="624" y="362"/>
                  </a:lnTo>
                  <a:lnTo>
                    <a:pt x="622" y="362"/>
                  </a:lnTo>
                  <a:lnTo>
                    <a:pt x="618" y="362"/>
                  </a:lnTo>
                  <a:lnTo>
                    <a:pt x="612" y="364"/>
                  </a:lnTo>
                  <a:lnTo>
                    <a:pt x="606" y="364"/>
                  </a:lnTo>
                  <a:lnTo>
                    <a:pt x="600" y="362"/>
                  </a:lnTo>
                  <a:lnTo>
                    <a:pt x="594" y="362"/>
                  </a:lnTo>
                  <a:lnTo>
                    <a:pt x="588" y="362"/>
                  </a:lnTo>
                  <a:lnTo>
                    <a:pt x="584" y="362"/>
                  </a:lnTo>
                  <a:lnTo>
                    <a:pt x="576" y="362"/>
                  </a:lnTo>
                  <a:lnTo>
                    <a:pt x="568" y="362"/>
                  </a:lnTo>
                  <a:lnTo>
                    <a:pt x="562" y="360"/>
                  </a:lnTo>
                  <a:lnTo>
                    <a:pt x="556" y="358"/>
                  </a:lnTo>
                  <a:lnTo>
                    <a:pt x="554" y="356"/>
                  </a:lnTo>
                  <a:lnTo>
                    <a:pt x="552" y="354"/>
                  </a:lnTo>
                  <a:lnTo>
                    <a:pt x="548" y="350"/>
                  </a:lnTo>
                  <a:lnTo>
                    <a:pt x="544" y="344"/>
                  </a:lnTo>
                  <a:lnTo>
                    <a:pt x="542" y="342"/>
                  </a:lnTo>
                  <a:lnTo>
                    <a:pt x="540" y="340"/>
                  </a:lnTo>
                  <a:lnTo>
                    <a:pt x="536" y="338"/>
                  </a:lnTo>
                  <a:lnTo>
                    <a:pt x="536" y="338"/>
                  </a:lnTo>
                  <a:lnTo>
                    <a:pt x="536" y="338"/>
                  </a:lnTo>
                  <a:lnTo>
                    <a:pt x="532" y="336"/>
                  </a:lnTo>
                  <a:lnTo>
                    <a:pt x="532" y="336"/>
                  </a:lnTo>
                  <a:lnTo>
                    <a:pt x="532" y="336"/>
                  </a:lnTo>
                  <a:lnTo>
                    <a:pt x="528" y="336"/>
                  </a:lnTo>
                  <a:lnTo>
                    <a:pt x="528" y="336"/>
                  </a:lnTo>
                  <a:lnTo>
                    <a:pt x="528" y="336"/>
                  </a:lnTo>
                  <a:lnTo>
                    <a:pt x="524" y="336"/>
                  </a:lnTo>
                  <a:lnTo>
                    <a:pt x="522" y="336"/>
                  </a:lnTo>
                  <a:lnTo>
                    <a:pt x="518" y="336"/>
                  </a:lnTo>
                  <a:lnTo>
                    <a:pt x="514" y="336"/>
                  </a:lnTo>
                  <a:lnTo>
                    <a:pt x="510" y="338"/>
                  </a:lnTo>
                  <a:lnTo>
                    <a:pt x="506" y="338"/>
                  </a:lnTo>
                  <a:lnTo>
                    <a:pt x="500" y="340"/>
                  </a:lnTo>
                  <a:lnTo>
                    <a:pt x="500" y="340"/>
                  </a:lnTo>
                  <a:lnTo>
                    <a:pt x="500" y="340"/>
                  </a:lnTo>
                  <a:lnTo>
                    <a:pt x="496" y="342"/>
                  </a:lnTo>
                  <a:lnTo>
                    <a:pt x="496" y="342"/>
                  </a:lnTo>
                  <a:lnTo>
                    <a:pt x="496" y="342"/>
                  </a:lnTo>
                  <a:lnTo>
                    <a:pt x="492" y="344"/>
                  </a:lnTo>
                  <a:lnTo>
                    <a:pt x="492" y="344"/>
                  </a:lnTo>
                  <a:lnTo>
                    <a:pt x="492" y="346"/>
                  </a:lnTo>
                  <a:lnTo>
                    <a:pt x="490" y="348"/>
                  </a:lnTo>
                  <a:lnTo>
                    <a:pt x="490" y="348"/>
                  </a:lnTo>
                  <a:lnTo>
                    <a:pt x="488" y="350"/>
                  </a:lnTo>
                  <a:lnTo>
                    <a:pt x="488" y="352"/>
                  </a:lnTo>
                  <a:lnTo>
                    <a:pt x="488" y="352"/>
                  </a:lnTo>
                  <a:lnTo>
                    <a:pt x="488" y="352"/>
                  </a:lnTo>
                  <a:lnTo>
                    <a:pt x="488" y="354"/>
                  </a:lnTo>
                  <a:lnTo>
                    <a:pt x="488" y="354"/>
                  </a:lnTo>
                  <a:lnTo>
                    <a:pt x="488" y="354"/>
                  </a:lnTo>
                  <a:lnTo>
                    <a:pt x="488" y="360"/>
                  </a:lnTo>
                  <a:lnTo>
                    <a:pt x="490" y="368"/>
                  </a:lnTo>
                  <a:lnTo>
                    <a:pt x="492" y="374"/>
                  </a:lnTo>
                  <a:lnTo>
                    <a:pt x="494" y="380"/>
                  </a:lnTo>
                  <a:lnTo>
                    <a:pt x="496" y="388"/>
                  </a:lnTo>
                  <a:lnTo>
                    <a:pt x="498" y="392"/>
                  </a:lnTo>
                  <a:lnTo>
                    <a:pt x="498" y="398"/>
                  </a:lnTo>
                  <a:lnTo>
                    <a:pt x="498" y="406"/>
                  </a:lnTo>
                  <a:lnTo>
                    <a:pt x="498" y="410"/>
                  </a:lnTo>
                  <a:lnTo>
                    <a:pt x="498" y="412"/>
                  </a:lnTo>
                  <a:lnTo>
                    <a:pt x="498" y="414"/>
                  </a:lnTo>
                  <a:lnTo>
                    <a:pt x="498" y="414"/>
                  </a:lnTo>
                  <a:lnTo>
                    <a:pt x="496" y="412"/>
                  </a:lnTo>
                  <a:lnTo>
                    <a:pt x="496" y="410"/>
                  </a:lnTo>
                  <a:lnTo>
                    <a:pt x="492" y="404"/>
                  </a:lnTo>
                  <a:lnTo>
                    <a:pt x="488" y="398"/>
                  </a:lnTo>
                  <a:lnTo>
                    <a:pt x="484" y="392"/>
                  </a:lnTo>
                  <a:lnTo>
                    <a:pt x="480" y="384"/>
                  </a:lnTo>
                  <a:lnTo>
                    <a:pt x="478" y="382"/>
                  </a:lnTo>
                  <a:lnTo>
                    <a:pt x="476" y="380"/>
                  </a:lnTo>
                  <a:lnTo>
                    <a:pt x="474" y="378"/>
                  </a:lnTo>
                  <a:lnTo>
                    <a:pt x="474" y="376"/>
                  </a:lnTo>
                  <a:lnTo>
                    <a:pt x="472" y="372"/>
                  </a:lnTo>
                  <a:lnTo>
                    <a:pt x="470" y="370"/>
                  </a:lnTo>
                  <a:lnTo>
                    <a:pt x="468" y="368"/>
                  </a:lnTo>
                  <a:lnTo>
                    <a:pt x="468" y="368"/>
                  </a:lnTo>
                  <a:lnTo>
                    <a:pt x="468" y="368"/>
                  </a:lnTo>
                  <a:lnTo>
                    <a:pt x="466" y="366"/>
                  </a:lnTo>
                  <a:lnTo>
                    <a:pt x="464" y="366"/>
                  </a:lnTo>
                  <a:lnTo>
                    <a:pt x="464" y="366"/>
                  </a:lnTo>
                  <a:lnTo>
                    <a:pt x="464" y="364"/>
                  </a:lnTo>
                  <a:lnTo>
                    <a:pt x="462" y="364"/>
                  </a:lnTo>
                  <a:lnTo>
                    <a:pt x="462" y="364"/>
                  </a:lnTo>
                  <a:lnTo>
                    <a:pt x="456" y="362"/>
                  </a:lnTo>
                  <a:lnTo>
                    <a:pt x="452" y="362"/>
                  </a:lnTo>
                  <a:lnTo>
                    <a:pt x="446" y="360"/>
                  </a:lnTo>
                  <a:lnTo>
                    <a:pt x="440" y="360"/>
                  </a:lnTo>
                  <a:lnTo>
                    <a:pt x="436" y="360"/>
                  </a:lnTo>
                  <a:lnTo>
                    <a:pt x="432" y="362"/>
                  </a:lnTo>
                  <a:lnTo>
                    <a:pt x="424" y="364"/>
                  </a:lnTo>
                  <a:lnTo>
                    <a:pt x="420" y="364"/>
                  </a:lnTo>
                  <a:lnTo>
                    <a:pt x="418" y="366"/>
                  </a:lnTo>
                  <a:lnTo>
                    <a:pt x="414" y="366"/>
                  </a:lnTo>
                  <a:lnTo>
                    <a:pt x="414" y="366"/>
                  </a:lnTo>
                  <a:lnTo>
                    <a:pt x="410" y="366"/>
                  </a:lnTo>
                  <a:lnTo>
                    <a:pt x="406" y="366"/>
                  </a:lnTo>
                  <a:lnTo>
                    <a:pt x="400" y="366"/>
                  </a:lnTo>
                  <a:lnTo>
                    <a:pt x="394" y="364"/>
                  </a:lnTo>
                  <a:lnTo>
                    <a:pt x="390" y="362"/>
                  </a:lnTo>
                  <a:lnTo>
                    <a:pt x="384" y="362"/>
                  </a:lnTo>
                  <a:lnTo>
                    <a:pt x="380" y="360"/>
                  </a:lnTo>
                  <a:lnTo>
                    <a:pt x="378" y="360"/>
                  </a:lnTo>
                  <a:lnTo>
                    <a:pt x="376" y="358"/>
                  </a:lnTo>
                  <a:lnTo>
                    <a:pt x="376" y="358"/>
                  </a:lnTo>
                  <a:lnTo>
                    <a:pt x="376" y="358"/>
                  </a:lnTo>
                  <a:lnTo>
                    <a:pt x="376" y="358"/>
                  </a:lnTo>
                  <a:lnTo>
                    <a:pt x="376" y="356"/>
                  </a:lnTo>
                  <a:lnTo>
                    <a:pt x="378" y="354"/>
                  </a:lnTo>
                  <a:lnTo>
                    <a:pt x="378" y="354"/>
                  </a:lnTo>
                  <a:lnTo>
                    <a:pt x="380" y="352"/>
                  </a:lnTo>
                  <a:lnTo>
                    <a:pt x="382" y="348"/>
                  </a:lnTo>
                  <a:lnTo>
                    <a:pt x="386" y="346"/>
                  </a:lnTo>
                  <a:lnTo>
                    <a:pt x="388" y="344"/>
                  </a:lnTo>
                  <a:lnTo>
                    <a:pt x="390" y="342"/>
                  </a:lnTo>
                  <a:lnTo>
                    <a:pt x="394" y="340"/>
                  </a:lnTo>
                  <a:lnTo>
                    <a:pt x="396" y="338"/>
                  </a:lnTo>
                  <a:lnTo>
                    <a:pt x="400" y="338"/>
                  </a:lnTo>
                  <a:lnTo>
                    <a:pt x="402" y="336"/>
                  </a:lnTo>
                  <a:lnTo>
                    <a:pt x="402" y="338"/>
                  </a:lnTo>
                  <a:lnTo>
                    <a:pt x="402" y="338"/>
                  </a:lnTo>
                  <a:lnTo>
                    <a:pt x="400" y="338"/>
                  </a:lnTo>
                  <a:lnTo>
                    <a:pt x="398" y="340"/>
                  </a:lnTo>
                  <a:lnTo>
                    <a:pt x="394" y="342"/>
                  </a:lnTo>
                  <a:lnTo>
                    <a:pt x="394" y="342"/>
                  </a:lnTo>
                  <a:lnTo>
                    <a:pt x="394" y="344"/>
                  </a:lnTo>
                  <a:lnTo>
                    <a:pt x="394" y="346"/>
                  </a:lnTo>
                  <a:lnTo>
                    <a:pt x="394" y="346"/>
                  </a:lnTo>
                  <a:lnTo>
                    <a:pt x="394" y="348"/>
                  </a:lnTo>
                  <a:lnTo>
                    <a:pt x="396" y="348"/>
                  </a:lnTo>
                  <a:lnTo>
                    <a:pt x="396" y="348"/>
                  </a:lnTo>
                  <a:lnTo>
                    <a:pt x="398" y="348"/>
                  </a:lnTo>
                  <a:lnTo>
                    <a:pt x="398" y="348"/>
                  </a:lnTo>
                  <a:lnTo>
                    <a:pt x="398" y="348"/>
                  </a:lnTo>
                  <a:lnTo>
                    <a:pt x="398" y="348"/>
                  </a:lnTo>
                  <a:lnTo>
                    <a:pt x="400" y="348"/>
                  </a:lnTo>
                  <a:lnTo>
                    <a:pt x="402" y="348"/>
                  </a:lnTo>
                  <a:lnTo>
                    <a:pt x="404" y="350"/>
                  </a:lnTo>
                  <a:lnTo>
                    <a:pt x="406" y="352"/>
                  </a:lnTo>
                  <a:lnTo>
                    <a:pt x="408" y="354"/>
                  </a:lnTo>
                  <a:lnTo>
                    <a:pt x="410" y="354"/>
                  </a:lnTo>
                  <a:lnTo>
                    <a:pt x="410" y="356"/>
                  </a:lnTo>
                  <a:lnTo>
                    <a:pt x="410" y="356"/>
                  </a:lnTo>
                  <a:lnTo>
                    <a:pt x="410" y="356"/>
                  </a:lnTo>
                  <a:lnTo>
                    <a:pt x="410" y="356"/>
                  </a:lnTo>
                  <a:lnTo>
                    <a:pt x="414" y="356"/>
                  </a:lnTo>
                  <a:lnTo>
                    <a:pt x="414" y="356"/>
                  </a:lnTo>
                  <a:lnTo>
                    <a:pt x="414" y="356"/>
                  </a:lnTo>
                  <a:lnTo>
                    <a:pt x="416" y="356"/>
                  </a:lnTo>
                  <a:lnTo>
                    <a:pt x="416" y="356"/>
                  </a:lnTo>
                  <a:lnTo>
                    <a:pt x="416" y="356"/>
                  </a:lnTo>
                  <a:lnTo>
                    <a:pt x="416" y="356"/>
                  </a:lnTo>
                  <a:lnTo>
                    <a:pt x="418" y="354"/>
                  </a:lnTo>
                  <a:lnTo>
                    <a:pt x="418" y="352"/>
                  </a:lnTo>
                  <a:lnTo>
                    <a:pt x="420" y="352"/>
                  </a:lnTo>
                  <a:lnTo>
                    <a:pt x="420" y="352"/>
                  </a:lnTo>
                  <a:lnTo>
                    <a:pt x="420" y="352"/>
                  </a:lnTo>
                  <a:lnTo>
                    <a:pt x="420" y="348"/>
                  </a:lnTo>
                  <a:lnTo>
                    <a:pt x="420" y="348"/>
                  </a:lnTo>
                  <a:lnTo>
                    <a:pt x="420" y="348"/>
                  </a:lnTo>
                  <a:lnTo>
                    <a:pt x="418" y="346"/>
                  </a:lnTo>
                  <a:lnTo>
                    <a:pt x="418" y="346"/>
                  </a:lnTo>
                  <a:lnTo>
                    <a:pt x="420" y="344"/>
                  </a:lnTo>
                  <a:lnTo>
                    <a:pt x="420" y="346"/>
                  </a:lnTo>
                  <a:lnTo>
                    <a:pt x="424" y="348"/>
                  </a:lnTo>
                  <a:lnTo>
                    <a:pt x="424" y="348"/>
                  </a:lnTo>
                  <a:lnTo>
                    <a:pt x="424" y="348"/>
                  </a:lnTo>
                  <a:lnTo>
                    <a:pt x="428" y="348"/>
                  </a:lnTo>
                  <a:lnTo>
                    <a:pt x="430" y="348"/>
                  </a:lnTo>
                  <a:lnTo>
                    <a:pt x="434" y="348"/>
                  </a:lnTo>
                  <a:lnTo>
                    <a:pt x="436" y="348"/>
                  </a:lnTo>
                  <a:lnTo>
                    <a:pt x="436" y="348"/>
                  </a:lnTo>
                  <a:lnTo>
                    <a:pt x="438" y="348"/>
                  </a:lnTo>
                  <a:lnTo>
                    <a:pt x="438" y="346"/>
                  </a:lnTo>
                  <a:lnTo>
                    <a:pt x="440" y="346"/>
                  </a:lnTo>
                  <a:lnTo>
                    <a:pt x="442" y="344"/>
                  </a:lnTo>
                  <a:lnTo>
                    <a:pt x="442" y="344"/>
                  </a:lnTo>
                  <a:lnTo>
                    <a:pt x="442" y="344"/>
                  </a:lnTo>
                  <a:lnTo>
                    <a:pt x="444" y="344"/>
                  </a:lnTo>
                  <a:lnTo>
                    <a:pt x="444" y="342"/>
                  </a:lnTo>
                  <a:lnTo>
                    <a:pt x="444" y="342"/>
                  </a:lnTo>
                  <a:lnTo>
                    <a:pt x="446" y="342"/>
                  </a:lnTo>
                  <a:lnTo>
                    <a:pt x="444" y="342"/>
                  </a:lnTo>
                  <a:lnTo>
                    <a:pt x="446" y="342"/>
                  </a:lnTo>
                  <a:lnTo>
                    <a:pt x="448" y="340"/>
                  </a:lnTo>
                  <a:lnTo>
                    <a:pt x="450" y="340"/>
                  </a:lnTo>
                  <a:lnTo>
                    <a:pt x="452" y="340"/>
                  </a:lnTo>
                  <a:lnTo>
                    <a:pt x="454" y="340"/>
                  </a:lnTo>
                  <a:lnTo>
                    <a:pt x="456" y="340"/>
                  </a:lnTo>
                  <a:lnTo>
                    <a:pt x="456" y="340"/>
                  </a:lnTo>
                  <a:lnTo>
                    <a:pt x="456" y="338"/>
                  </a:lnTo>
                  <a:lnTo>
                    <a:pt x="458" y="338"/>
                  </a:lnTo>
                  <a:lnTo>
                    <a:pt x="460" y="338"/>
                  </a:lnTo>
                  <a:lnTo>
                    <a:pt x="460" y="338"/>
                  </a:lnTo>
                  <a:lnTo>
                    <a:pt x="468" y="336"/>
                  </a:lnTo>
                  <a:lnTo>
                    <a:pt x="470" y="334"/>
                  </a:lnTo>
                  <a:lnTo>
                    <a:pt x="474" y="334"/>
                  </a:lnTo>
                  <a:lnTo>
                    <a:pt x="474" y="334"/>
                  </a:lnTo>
                  <a:lnTo>
                    <a:pt x="476" y="332"/>
                  </a:lnTo>
                  <a:lnTo>
                    <a:pt x="478" y="328"/>
                  </a:lnTo>
                  <a:lnTo>
                    <a:pt x="482" y="326"/>
                  </a:lnTo>
                  <a:lnTo>
                    <a:pt x="484" y="324"/>
                  </a:lnTo>
                  <a:lnTo>
                    <a:pt x="484" y="324"/>
                  </a:lnTo>
                  <a:lnTo>
                    <a:pt x="486" y="322"/>
                  </a:lnTo>
                  <a:lnTo>
                    <a:pt x="488" y="322"/>
                  </a:lnTo>
                  <a:lnTo>
                    <a:pt x="490" y="322"/>
                  </a:lnTo>
                  <a:lnTo>
                    <a:pt x="496" y="322"/>
                  </a:lnTo>
                  <a:lnTo>
                    <a:pt x="498" y="320"/>
                  </a:lnTo>
                  <a:lnTo>
                    <a:pt x="500" y="320"/>
                  </a:lnTo>
                  <a:lnTo>
                    <a:pt x="500" y="320"/>
                  </a:lnTo>
                  <a:lnTo>
                    <a:pt x="504" y="320"/>
                  </a:lnTo>
                  <a:lnTo>
                    <a:pt x="504" y="318"/>
                  </a:lnTo>
                  <a:lnTo>
                    <a:pt x="506" y="316"/>
                  </a:lnTo>
                  <a:lnTo>
                    <a:pt x="506" y="316"/>
                  </a:lnTo>
                  <a:lnTo>
                    <a:pt x="506" y="314"/>
                  </a:lnTo>
                  <a:lnTo>
                    <a:pt x="506" y="312"/>
                  </a:lnTo>
                  <a:lnTo>
                    <a:pt x="506" y="312"/>
                  </a:lnTo>
                  <a:lnTo>
                    <a:pt x="506" y="310"/>
                  </a:lnTo>
                  <a:lnTo>
                    <a:pt x="506" y="308"/>
                  </a:lnTo>
                  <a:lnTo>
                    <a:pt x="506" y="306"/>
                  </a:lnTo>
                  <a:lnTo>
                    <a:pt x="506" y="304"/>
                  </a:lnTo>
                  <a:lnTo>
                    <a:pt x="506" y="304"/>
                  </a:lnTo>
                  <a:lnTo>
                    <a:pt x="508" y="304"/>
                  </a:lnTo>
                  <a:lnTo>
                    <a:pt x="508" y="304"/>
                  </a:lnTo>
                  <a:lnTo>
                    <a:pt x="510" y="304"/>
                  </a:lnTo>
                  <a:lnTo>
                    <a:pt x="512" y="304"/>
                  </a:lnTo>
                  <a:lnTo>
                    <a:pt x="514" y="306"/>
                  </a:lnTo>
                  <a:lnTo>
                    <a:pt x="516" y="306"/>
                  </a:lnTo>
                  <a:lnTo>
                    <a:pt x="520" y="310"/>
                  </a:lnTo>
                  <a:lnTo>
                    <a:pt x="524" y="314"/>
                  </a:lnTo>
                  <a:lnTo>
                    <a:pt x="524" y="314"/>
                  </a:lnTo>
                  <a:lnTo>
                    <a:pt x="524" y="314"/>
                  </a:lnTo>
                  <a:lnTo>
                    <a:pt x="526" y="316"/>
                  </a:lnTo>
                  <a:lnTo>
                    <a:pt x="526" y="316"/>
                  </a:lnTo>
                  <a:lnTo>
                    <a:pt x="526" y="316"/>
                  </a:lnTo>
                  <a:lnTo>
                    <a:pt x="530" y="316"/>
                  </a:lnTo>
                  <a:lnTo>
                    <a:pt x="532" y="318"/>
                  </a:lnTo>
                  <a:lnTo>
                    <a:pt x="532" y="318"/>
                  </a:lnTo>
                  <a:lnTo>
                    <a:pt x="532" y="318"/>
                  </a:lnTo>
                  <a:lnTo>
                    <a:pt x="536" y="320"/>
                  </a:lnTo>
                  <a:lnTo>
                    <a:pt x="536" y="320"/>
                  </a:lnTo>
                  <a:lnTo>
                    <a:pt x="536" y="320"/>
                  </a:lnTo>
                  <a:lnTo>
                    <a:pt x="540" y="320"/>
                  </a:lnTo>
                  <a:lnTo>
                    <a:pt x="544" y="322"/>
                  </a:lnTo>
                  <a:lnTo>
                    <a:pt x="544" y="322"/>
                  </a:lnTo>
                  <a:lnTo>
                    <a:pt x="554" y="322"/>
                  </a:lnTo>
                  <a:lnTo>
                    <a:pt x="562" y="322"/>
                  </a:lnTo>
                  <a:lnTo>
                    <a:pt x="570" y="322"/>
                  </a:lnTo>
                  <a:lnTo>
                    <a:pt x="574" y="322"/>
                  </a:lnTo>
                  <a:lnTo>
                    <a:pt x="578" y="320"/>
                  </a:lnTo>
                  <a:lnTo>
                    <a:pt x="578" y="320"/>
                  </a:lnTo>
                  <a:lnTo>
                    <a:pt x="580" y="320"/>
                  </a:lnTo>
                  <a:lnTo>
                    <a:pt x="580" y="320"/>
                  </a:lnTo>
                  <a:lnTo>
                    <a:pt x="580" y="320"/>
                  </a:lnTo>
                  <a:lnTo>
                    <a:pt x="582" y="318"/>
                  </a:lnTo>
                  <a:lnTo>
                    <a:pt x="582" y="318"/>
                  </a:lnTo>
                  <a:lnTo>
                    <a:pt x="582" y="318"/>
                  </a:lnTo>
                  <a:lnTo>
                    <a:pt x="582" y="316"/>
                  </a:lnTo>
                  <a:lnTo>
                    <a:pt x="582" y="314"/>
                  </a:lnTo>
                  <a:lnTo>
                    <a:pt x="582" y="312"/>
                  </a:lnTo>
                  <a:lnTo>
                    <a:pt x="584" y="312"/>
                  </a:lnTo>
                  <a:lnTo>
                    <a:pt x="584" y="312"/>
                  </a:lnTo>
                  <a:lnTo>
                    <a:pt x="586" y="312"/>
                  </a:lnTo>
                  <a:lnTo>
                    <a:pt x="588" y="310"/>
                  </a:lnTo>
                  <a:lnTo>
                    <a:pt x="588" y="310"/>
                  </a:lnTo>
                  <a:lnTo>
                    <a:pt x="588" y="310"/>
                  </a:lnTo>
                  <a:lnTo>
                    <a:pt x="590" y="308"/>
                  </a:lnTo>
                  <a:lnTo>
                    <a:pt x="590" y="308"/>
                  </a:lnTo>
                  <a:lnTo>
                    <a:pt x="590" y="308"/>
                  </a:lnTo>
                  <a:lnTo>
                    <a:pt x="592" y="306"/>
                  </a:lnTo>
                  <a:lnTo>
                    <a:pt x="592" y="306"/>
                  </a:lnTo>
                  <a:lnTo>
                    <a:pt x="592" y="306"/>
                  </a:lnTo>
                  <a:lnTo>
                    <a:pt x="592" y="304"/>
                  </a:lnTo>
                  <a:lnTo>
                    <a:pt x="592" y="304"/>
                  </a:lnTo>
                  <a:lnTo>
                    <a:pt x="592" y="304"/>
                  </a:lnTo>
                  <a:lnTo>
                    <a:pt x="594" y="300"/>
                  </a:lnTo>
                  <a:lnTo>
                    <a:pt x="594" y="298"/>
                  </a:lnTo>
                  <a:lnTo>
                    <a:pt x="596" y="296"/>
                  </a:lnTo>
                  <a:lnTo>
                    <a:pt x="596" y="296"/>
                  </a:lnTo>
                  <a:lnTo>
                    <a:pt x="596" y="296"/>
                  </a:lnTo>
                  <a:lnTo>
                    <a:pt x="596" y="288"/>
                  </a:lnTo>
                  <a:lnTo>
                    <a:pt x="598" y="284"/>
                  </a:lnTo>
                  <a:lnTo>
                    <a:pt x="600" y="278"/>
                  </a:lnTo>
                  <a:lnTo>
                    <a:pt x="602" y="274"/>
                  </a:lnTo>
                  <a:lnTo>
                    <a:pt x="602" y="274"/>
                  </a:lnTo>
                  <a:lnTo>
                    <a:pt x="602" y="274"/>
                  </a:lnTo>
                  <a:lnTo>
                    <a:pt x="602" y="272"/>
                  </a:lnTo>
                  <a:lnTo>
                    <a:pt x="602" y="272"/>
                  </a:lnTo>
                  <a:lnTo>
                    <a:pt x="602" y="272"/>
                  </a:lnTo>
                  <a:lnTo>
                    <a:pt x="600" y="270"/>
                  </a:lnTo>
                  <a:lnTo>
                    <a:pt x="600" y="270"/>
                  </a:lnTo>
                  <a:lnTo>
                    <a:pt x="600" y="268"/>
                  </a:lnTo>
                  <a:lnTo>
                    <a:pt x="600" y="268"/>
                  </a:lnTo>
                  <a:lnTo>
                    <a:pt x="600" y="268"/>
                  </a:lnTo>
                  <a:lnTo>
                    <a:pt x="598" y="266"/>
                  </a:lnTo>
                  <a:lnTo>
                    <a:pt x="598" y="264"/>
                  </a:lnTo>
                  <a:lnTo>
                    <a:pt x="598" y="264"/>
                  </a:lnTo>
                  <a:lnTo>
                    <a:pt x="598" y="264"/>
                  </a:lnTo>
                  <a:lnTo>
                    <a:pt x="594" y="264"/>
                  </a:lnTo>
                  <a:lnTo>
                    <a:pt x="594" y="264"/>
                  </a:lnTo>
                  <a:lnTo>
                    <a:pt x="594" y="262"/>
                  </a:lnTo>
                  <a:lnTo>
                    <a:pt x="592" y="262"/>
                  </a:lnTo>
                  <a:lnTo>
                    <a:pt x="588" y="260"/>
                  </a:lnTo>
                  <a:lnTo>
                    <a:pt x="584" y="258"/>
                  </a:lnTo>
                  <a:lnTo>
                    <a:pt x="580" y="256"/>
                  </a:lnTo>
                  <a:lnTo>
                    <a:pt x="576" y="252"/>
                  </a:lnTo>
                  <a:lnTo>
                    <a:pt x="570" y="246"/>
                  </a:lnTo>
                  <a:lnTo>
                    <a:pt x="566" y="244"/>
                  </a:lnTo>
                  <a:lnTo>
                    <a:pt x="562" y="240"/>
                  </a:lnTo>
                  <a:lnTo>
                    <a:pt x="562" y="240"/>
                  </a:lnTo>
                  <a:lnTo>
                    <a:pt x="562" y="240"/>
                  </a:lnTo>
                  <a:lnTo>
                    <a:pt x="558" y="238"/>
                  </a:lnTo>
                  <a:lnTo>
                    <a:pt x="558" y="238"/>
                  </a:lnTo>
                  <a:lnTo>
                    <a:pt x="558" y="238"/>
                  </a:lnTo>
                  <a:lnTo>
                    <a:pt x="554" y="236"/>
                  </a:lnTo>
                  <a:lnTo>
                    <a:pt x="550" y="236"/>
                  </a:lnTo>
                  <a:lnTo>
                    <a:pt x="548" y="234"/>
                  </a:lnTo>
                  <a:lnTo>
                    <a:pt x="544" y="230"/>
                  </a:lnTo>
                  <a:lnTo>
                    <a:pt x="540" y="226"/>
                  </a:lnTo>
                  <a:lnTo>
                    <a:pt x="538" y="220"/>
                  </a:lnTo>
                  <a:lnTo>
                    <a:pt x="538" y="216"/>
                  </a:lnTo>
                  <a:lnTo>
                    <a:pt x="538" y="208"/>
                  </a:lnTo>
                  <a:lnTo>
                    <a:pt x="538" y="202"/>
                  </a:lnTo>
                  <a:lnTo>
                    <a:pt x="538" y="194"/>
                  </a:lnTo>
                  <a:lnTo>
                    <a:pt x="538" y="186"/>
                  </a:lnTo>
                  <a:lnTo>
                    <a:pt x="538" y="178"/>
                  </a:lnTo>
                  <a:lnTo>
                    <a:pt x="538" y="178"/>
                  </a:lnTo>
                  <a:lnTo>
                    <a:pt x="536" y="178"/>
                  </a:lnTo>
                  <a:lnTo>
                    <a:pt x="534" y="172"/>
                  </a:lnTo>
                  <a:lnTo>
                    <a:pt x="534" y="172"/>
                  </a:lnTo>
                  <a:lnTo>
                    <a:pt x="534" y="172"/>
                  </a:lnTo>
                  <a:lnTo>
                    <a:pt x="532" y="168"/>
                  </a:lnTo>
                  <a:lnTo>
                    <a:pt x="532" y="166"/>
                  </a:lnTo>
                  <a:lnTo>
                    <a:pt x="532" y="162"/>
                  </a:lnTo>
                  <a:lnTo>
                    <a:pt x="532" y="154"/>
                  </a:lnTo>
                  <a:lnTo>
                    <a:pt x="532" y="148"/>
                  </a:lnTo>
                  <a:lnTo>
                    <a:pt x="534" y="140"/>
                  </a:lnTo>
                  <a:lnTo>
                    <a:pt x="536" y="132"/>
                  </a:lnTo>
                  <a:lnTo>
                    <a:pt x="536" y="126"/>
                  </a:lnTo>
                  <a:lnTo>
                    <a:pt x="540" y="118"/>
                  </a:lnTo>
                  <a:lnTo>
                    <a:pt x="542" y="114"/>
                  </a:lnTo>
                  <a:lnTo>
                    <a:pt x="542" y="114"/>
                  </a:lnTo>
                  <a:lnTo>
                    <a:pt x="542" y="110"/>
                  </a:lnTo>
                  <a:lnTo>
                    <a:pt x="540" y="108"/>
                  </a:lnTo>
                  <a:lnTo>
                    <a:pt x="538" y="106"/>
                  </a:lnTo>
                  <a:lnTo>
                    <a:pt x="538" y="106"/>
                  </a:lnTo>
                  <a:lnTo>
                    <a:pt x="538" y="106"/>
                  </a:lnTo>
                  <a:lnTo>
                    <a:pt x="534" y="104"/>
                  </a:lnTo>
                  <a:lnTo>
                    <a:pt x="534" y="104"/>
                  </a:lnTo>
                  <a:lnTo>
                    <a:pt x="534" y="104"/>
                  </a:lnTo>
                  <a:lnTo>
                    <a:pt x="530" y="104"/>
                  </a:lnTo>
                  <a:lnTo>
                    <a:pt x="530" y="104"/>
                  </a:lnTo>
                  <a:lnTo>
                    <a:pt x="528" y="104"/>
                  </a:lnTo>
                  <a:lnTo>
                    <a:pt x="524" y="102"/>
                  </a:lnTo>
                  <a:lnTo>
                    <a:pt x="524" y="102"/>
                  </a:lnTo>
                  <a:lnTo>
                    <a:pt x="524" y="102"/>
                  </a:lnTo>
                  <a:lnTo>
                    <a:pt x="520" y="104"/>
                  </a:lnTo>
                  <a:lnTo>
                    <a:pt x="516" y="104"/>
                  </a:lnTo>
                  <a:lnTo>
                    <a:pt x="506" y="106"/>
                  </a:lnTo>
                  <a:lnTo>
                    <a:pt x="506" y="106"/>
                  </a:lnTo>
                  <a:lnTo>
                    <a:pt x="506" y="106"/>
                  </a:lnTo>
                  <a:lnTo>
                    <a:pt x="504" y="108"/>
                  </a:lnTo>
                  <a:lnTo>
                    <a:pt x="504" y="108"/>
                  </a:lnTo>
                  <a:lnTo>
                    <a:pt x="502" y="108"/>
                  </a:lnTo>
                  <a:lnTo>
                    <a:pt x="502" y="112"/>
                  </a:lnTo>
                  <a:lnTo>
                    <a:pt x="502" y="112"/>
                  </a:lnTo>
                  <a:lnTo>
                    <a:pt x="500" y="112"/>
                  </a:lnTo>
                  <a:lnTo>
                    <a:pt x="500" y="114"/>
                  </a:lnTo>
                  <a:lnTo>
                    <a:pt x="500" y="114"/>
                  </a:lnTo>
                  <a:lnTo>
                    <a:pt x="500" y="114"/>
                  </a:lnTo>
                  <a:lnTo>
                    <a:pt x="500" y="118"/>
                  </a:lnTo>
                  <a:lnTo>
                    <a:pt x="500" y="118"/>
                  </a:lnTo>
                  <a:lnTo>
                    <a:pt x="500" y="118"/>
                  </a:lnTo>
                  <a:lnTo>
                    <a:pt x="500" y="118"/>
                  </a:lnTo>
                  <a:lnTo>
                    <a:pt x="496" y="114"/>
                  </a:lnTo>
                  <a:lnTo>
                    <a:pt x="496" y="114"/>
                  </a:lnTo>
                  <a:lnTo>
                    <a:pt x="496" y="114"/>
                  </a:lnTo>
                  <a:lnTo>
                    <a:pt x="494" y="112"/>
                  </a:lnTo>
                  <a:lnTo>
                    <a:pt x="494" y="112"/>
                  </a:lnTo>
                  <a:lnTo>
                    <a:pt x="494" y="112"/>
                  </a:lnTo>
                  <a:lnTo>
                    <a:pt x="492" y="110"/>
                  </a:lnTo>
                  <a:lnTo>
                    <a:pt x="492" y="110"/>
                  </a:lnTo>
                  <a:lnTo>
                    <a:pt x="488" y="110"/>
                  </a:lnTo>
                  <a:lnTo>
                    <a:pt x="488" y="110"/>
                  </a:lnTo>
                  <a:lnTo>
                    <a:pt x="486" y="110"/>
                  </a:lnTo>
                  <a:lnTo>
                    <a:pt x="486" y="114"/>
                  </a:lnTo>
                  <a:lnTo>
                    <a:pt x="486" y="114"/>
                  </a:lnTo>
                  <a:lnTo>
                    <a:pt x="486" y="114"/>
                  </a:lnTo>
                  <a:lnTo>
                    <a:pt x="484" y="118"/>
                  </a:lnTo>
                  <a:lnTo>
                    <a:pt x="482" y="124"/>
                  </a:lnTo>
                  <a:lnTo>
                    <a:pt x="482" y="128"/>
                  </a:lnTo>
                  <a:lnTo>
                    <a:pt x="482" y="140"/>
                  </a:lnTo>
                  <a:lnTo>
                    <a:pt x="484" y="150"/>
                  </a:lnTo>
                  <a:lnTo>
                    <a:pt x="486" y="162"/>
                  </a:lnTo>
                  <a:lnTo>
                    <a:pt x="486" y="168"/>
                  </a:lnTo>
                  <a:lnTo>
                    <a:pt x="488" y="174"/>
                  </a:lnTo>
                  <a:lnTo>
                    <a:pt x="490" y="178"/>
                  </a:lnTo>
                  <a:lnTo>
                    <a:pt x="492" y="182"/>
                  </a:lnTo>
                  <a:lnTo>
                    <a:pt x="494" y="186"/>
                  </a:lnTo>
                  <a:lnTo>
                    <a:pt x="496" y="190"/>
                  </a:lnTo>
                  <a:lnTo>
                    <a:pt x="496" y="190"/>
                  </a:lnTo>
                  <a:lnTo>
                    <a:pt x="496" y="190"/>
                  </a:lnTo>
                  <a:lnTo>
                    <a:pt x="496" y="192"/>
                  </a:lnTo>
                  <a:lnTo>
                    <a:pt x="494" y="192"/>
                  </a:lnTo>
                  <a:lnTo>
                    <a:pt x="494" y="194"/>
                  </a:lnTo>
                  <a:lnTo>
                    <a:pt x="492" y="194"/>
                  </a:lnTo>
                  <a:lnTo>
                    <a:pt x="492" y="194"/>
                  </a:lnTo>
                  <a:lnTo>
                    <a:pt x="492" y="194"/>
                  </a:lnTo>
                  <a:lnTo>
                    <a:pt x="490" y="196"/>
                  </a:lnTo>
                  <a:lnTo>
                    <a:pt x="490" y="196"/>
                  </a:lnTo>
                  <a:lnTo>
                    <a:pt x="490" y="196"/>
                  </a:lnTo>
                  <a:lnTo>
                    <a:pt x="490" y="194"/>
                  </a:lnTo>
                  <a:lnTo>
                    <a:pt x="490" y="194"/>
                  </a:lnTo>
                  <a:lnTo>
                    <a:pt x="490" y="194"/>
                  </a:lnTo>
                  <a:lnTo>
                    <a:pt x="488" y="192"/>
                  </a:lnTo>
                  <a:lnTo>
                    <a:pt x="488" y="186"/>
                  </a:lnTo>
                  <a:lnTo>
                    <a:pt x="486" y="178"/>
                  </a:lnTo>
                  <a:lnTo>
                    <a:pt x="484" y="172"/>
                  </a:lnTo>
                  <a:lnTo>
                    <a:pt x="482" y="164"/>
                  </a:lnTo>
                  <a:lnTo>
                    <a:pt x="478" y="156"/>
                  </a:lnTo>
                  <a:lnTo>
                    <a:pt x="474" y="150"/>
                  </a:lnTo>
                  <a:lnTo>
                    <a:pt x="470" y="144"/>
                  </a:lnTo>
                  <a:lnTo>
                    <a:pt x="464" y="138"/>
                  </a:lnTo>
                  <a:lnTo>
                    <a:pt x="464" y="138"/>
                  </a:lnTo>
                  <a:lnTo>
                    <a:pt x="462" y="138"/>
                  </a:lnTo>
                  <a:lnTo>
                    <a:pt x="462" y="138"/>
                  </a:lnTo>
                  <a:lnTo>
                    <a:pt x="460" y="140"/>
                  </a:lnTo>
                  <a:lnTo>
                    <a:pt x="458" y="142"/>
                  </a:lnTo>
                  <a:lnTo>
                    <a:pt x="458" y="142"/>
                  </a:lnTo>
                  <a:lnTo>
                    <a:pt x="458" y="142"/>
                  </a:lnTo>
                  <a:lnTo>
                    <a:pt x="456" y="146"/>
                  </a:lnTo>
                  <a:lnTo>
                    <a:pt x="456" y="156"/>
                  </a:lnTo>
                  <a:lnTo>
                    <a:pt x="454" y="160"/>
                  </a:lnTo>
                  <a:lnTo>
                    <a:pt x="454" y="162"/>
                  </a:lnTo>
                  <a:lnTo>
                    <a:pt x="452" y="164"/>
                  </a:lnTo>
                  <a:lnTo>
                    <a:pt x="452" y="164"/>
                  </a:lnTo>
                  <a:lnTo>
                    <a:pt x="450" y="164"/>
                  </a:lnTo>
                  <a:lnTo>
                    <a:pt x="448" y="166"/>
                  </a:lnTo>
                  <a:lnTo>
                    <a:pt x="448" y="166"/>
                  </a:lnTo>
                  <a:lnTo>
                    <a:pt x="446" y="166"/>
                  </a:lnTo>
                  <a:lnTo>
                    <a:pt x="440" y="168"/>
                  </a:lnTo>
                  <a:lnTo>
                    <a:pt x="436" y="168"/>
                  </a:lnTo>
                  <a:lnTo>
                    <a:pt x="432" y="166"/>
                  </a:lnTo>
                  <a:lnTo>
                    <a:pt x="432" y="166"/>
                  </a:lnTo>
                  <a:lnTo>
                    <a:pt x="432" y="162"/>
                  </a:lnTo>
                  <a:lnTo>
                    <a:pt x="434" y="160"/>
                  </a:lnTo>
                  <a:lnTo>
                    <a:pt x="434" y="156"/>
                  </a:lnTo>
                  <a:lnTo>
                    <a:pt x="434" y="156"/>
                  </a:lnTo>
                  <a:lnTo>
                    <a:pt x="434" y="154"/>
                  </a:lnTo>
                  <a:lnTo>
                    <a:pt x="434" y="152"/>
                  </a:lnTo>
                  <a:lnTo>
                    <a:pt x="432" y="148"/>
                  </a:lnTo>
                  <a:lnTo>
                    <a:pt x="432" y="148"/>
                  </a:lnTo>
                  <a:lnTo>
                    <a:pt x="432" y="148"/>
                  </a:lnTo>
                  <a:lnTo>
                    <a:pt x="430" y="144"/>
                  </a:lnTo>
                  <a:lnTo>
                    <a:pt x="430" y="144"/>
                  </a:lnTo>
                  <a:lnTo>
                    <a:pt x="428" y="144"/>
                  </a:lnTo>
                  <a:lnTo>
                    <a:pt x="426" y="142"/>
                  </a:lnTo>
                  <a:lnTo>
                    <a:pt x="426" y="142"/>
                  </a:lnTo>
                  <a:lnTo>
                    <a:pt x="424" y="142"/>
                  </a:lnTo>
                  <a:lnTo>
                    <a:pt x="422" y="140"/>
                  </a:lnTo>
                  <a:lnTo>
                    <a:pt x="420" y="138"/>
                  </a:lnTo>
                  <a:lnTo>
                    <a:pt x="420" y="138"/>
                  </a:lnTo>
                  <a:lnTo>
                    <a:pt x="418" y="138"/>
                  </a:lnTo>
                  <a:lnTo>
                    <a:pt x="414" y="138"/>
                  </a:lnTo>
                  <a:lnTo>
                    <a:pt x="412" y="138"/>
                  </a:lnTo>
                  <a:lnTo>
                    <a:pt x="412" y="138"/>
                  </a:lnTo>
                  <a:lnTo>
                    <a:pt x="410" y="138"/>
                  </a:lnTo>
                  <a:lnTo>
                    <a:pt x="408" y="140"/>
                  </a:lnTo>
                  <a:lnTo>
                    <a:pt x="408" y="140"/>
                  </a:lnTo>
                  <a:lnTo>
                    <a:pt x="406" y="140"/>
                  </a:lnTo>
                  <a:lnTo>
                    <a:pt x="404" y="140"/>
                  </a:lnTo>
                  <a:lnTo>
                    <a:pt x="404" y="140"/>
                  </a:lnTo>
                  <a:lnTo>
                    <a:pt x="404" y="142"/>
                  </a:lnTo>
                  <a:lnTo>
                    <a:pt x="404" y="142"/>
                  </a:lnTo>
                  <a:lnTo>
                    <a:pt x="400" y="146"/>
                  </a:lnTo>
                  <a:lnTo>
                    <a:pt x="400" y="150"/>
                  </a:lnTo>
                  <a:lnTo>
                    <a:pt x="398" y="152"/>
                  </a:lnTo>
                  <a:lnTo>
                    <a:pt x="398" y="152"/>
                  </a:lnTo>
                  <a:lnTo>
                    <a:pt x="398" y="152"/>
                  </a:lnTo>
                  <a:lnTo>
                    <a:pt x="398" y="154"/>
                  </a:lnTo>
                  <a:lnTo>
                    <a:pt x="398" y="154"/>
                  </a:lnTo>
                  <a:lnTo>
                    <a:pt x="398" y="154"/>
                  </a:lnTo>
                  <a:lnTo>
                    <a:pt x="398" y="156"/>
                  </a:lnTo>
                  <a:lnTo>
                    <a:pt x="398" y="156"/>
                  </a:lnTo>
                  <a:lnTo>
                    <a:pt x="398" y="156"/>
                  </a:lnTo>
                  <a:lnTo>
                    <a:pt x="396" y="154"/>
                  </a:lnTo>
                  <a:lnTo>
                    <a:pt x="396" y="154"/>
                  </a:lnTo>
                  <a:lnTo>
                    <a:pt x="394" y="154"/>
                  </a:lnTo>
                  <a:lnTo>
                    <a:pt x="394" y="152"/>
                  </a:lnTo>
                  <a:lnTo>
                    <a:pt x="394" y="150"/>
                  </a:lnTo>
                  <a:lnTo>
                    <a:pt x="394" y="146"/>
                  </a:lnTo>
                  <a:lnTo>
                    <a:pt x="394" y="142"/>
                  </a:lnTo>
                  <a:lnTo>
                    <a:pt x="394" y="136"/>
                  </a:lnTo>
                  <a:lnTo>
                    <a:pt x="394" y="132"/>
                  </a:lnTo>
                  <a:lnTo>
                    <a:pt x="394" y="126"/>
                  </a:lnTo>
                  <a:lnTo>
                    <a:pt x="394" y="126"/>
                  </a:lnTo>
                  <a:lnTo>
                    <a:pt x="394" y="124"/>
                  </a:lnTo>
                  <a:lnTo>
                    <a:pt x="394" y="124"/>
                  </a:lnTo>
                  <a:lnTo>
                    <a:pt x="390" y="124"/>
                  </a:lnTo>
                  <a:lnTo>
                    <a:pt x="390" y="124"/>
                  </a:lnTo>
                  <a:lnTo>
                    <a:pt x="388" y="124"/>
                  </a:lnTo>
                  <a:lnTo>
                    <a:pt x="386" y="126"/>
                  </a:lnTo>
                  <a:lnTo>
                    <a:pt x="384" y="126"/>
                  </a:lnTo>
                  <a:lnTo>
                    <a:pt x="382" y="128"/>
                  </a:lnTo>
                  <a:lnTo>
                    <a:pt x="382" y="128"/>
                  </a:lnTo>
                  <a:lnTo>
                    <a:pt x="380" y="128"/>
                  </a:lnTo>
                  <a:lnTo>
                    <a:pt x="380" y="128"/>
                  </a:lnTo>
                  <a:lnTo>
                    <a:pt x="380" y="128"/>
                  </a:lnTo>
                  <a:lnTo>
                    <a:pt x="380" y="130"/>
                  </a:lnTo>
                  <a:lnTo>
                    <a:pt x="376" y="130"/>
                  </a:lnTo>
                  <a:lnTo>
                    <a:pt x="370" y="132"/>
                  </a:lnTo>
                  <a:lnTo>
                    <a:pt x="362" y="134"/>
                  </a:lnTo>
                  <a:lnTo>
                    <a:pt x="358" y="136"/>
                  </a:lnTo>
                  <a:lnTo>
                    <a:pt x="358" y="136"/>
                  </a:lnTo>
                  <a:lnTo>
                    <a:pt x="360" y="134"/>
                  </a:lnTo>
                  <a:lnTo>
                    <a:pt x="362" y="132"/>
                  </a:lnTo>
                  <a:lnTo>
                    <a:pt x="364" y="128"/>
                  </a:lnTo>
                  <a:lnTo>
                    <a:pt x="366" y="128"/>
                  </a:lnTo>
                  <a:lnTo>
                    <a:pt x="366" y="126"/>
                  </a:lnTo>
                  <a:lnTo>
                    <a:pt x="368" y="126"/>
                  </a:lnTo>
                  <a:lnTo>
                    <a:pt x="368" y="126"/>
                  </a:lnTo>
                  <a:lnTo>
                    <a:pt x="370" y="126"/>
                  </a:lnTo>
                  <a:lnTo>
                    <a:pt x="372" y="126"/>
                  </a:lnTo>
                  <a:lnTo>
                    <a:pt x="376" y="124"/>
                  </a:lnTo>
                  <a:lnTo>
                    <a:pt x="380" y="124"/>
                  </a:lnTo>
                  <a:lnTo>
                    <a:pt x="380" y="124"/>
                  </a:lnTo>
                  <a:lnTo>
                    <a:pt x="382" y="124"/>
                  </a:lnTo>
                  <a:lnTo>
                    <a:pt x="382" y="120"/>
                  </a:lnTo>
                  <a:lnTo>
                    <a:pt x="382" y="118"/>
                  </a:lnTo>
                  <a:lnTo>
                    <a:pt x="380" y="114"/>
                  </a:lnTo>
                  <a:lnTo>
                    <a:pt x="380" y="108"/>
                  </a:lnTo>
                  <a:lnTo>
                    <a:pt x="380" y="108"/>
                  </a:lnTo>
                  <a:lnTo>
                    <a:pt x="378" y="106"/>
                  </a:lnTo>
                  <a:lnTo>
                    <a:pt x="376" y="102"/>
                  </a:lnTo>
                  <a:lnTo>
                    <a:pt x="374" y="98"/>
                  </a:lnTo>
                  <a:lnTo>
                    <a:pt x="372" y="96"/>
                  </a:lnTo>
                  <a:lnTo>
                    <a:pt x="372" y="94"/>
                  </a:lnTo>
                  <a:lnTo>
                    <a:pt x="372" y="92"/>
                  </a:lnTo>
                  <a:lnTo>
                    <a:pt x="372" y="92"/>
                  </a:lnTo>
                  <a:lnTo>
                    <a:pt x="372" y="92"/>
                  </a:lnTo>
                  <a:lnTo>
                    <a:pt x="370" y="88"/>
                  </a:lnTo>
                  <a:lnTo>
                    <a:pt x="370" y="88"/>
                  </a:lnTo>
                  <a:lnTo>
                    <a:pt x="370" y="88"/>
                  </a:lnTo>
                  <a:lnTo>
                    <a:pt x="366" y="86"/>
                  </a:lnTo>
                  <a:lnTo>
                    <a:pt x="366" y="86"/>
                  </a:lnTo>
                  <a:lnTo>
                    <a:pt x="366" y="86"/>
                  </a:lnTo>
                  <a:lnTo>
                    <a:pt x="364" y="84"/>
                  </a:lnTo>
                  <a:lnTo>
                    <a:pt x="362" y="84"/>
                  </a:lnTo>
                  <a:lnTo>
                    <a:pt x="360" y="80"/>
                  </a:lnTo>
                  <a:lnTo>
                    <a:pt x="358" y="78"/>
                  </a:lnTo>
                  <a:lnTo>
                    <a:pt x="354" y="76"/>
                  </a:lnTo>
                  <a:lnTo>
                    <a:pt x="352" y="72"/>
                  </a:lnTo>
                  <a:lnTo>
                    <a:pt x="352" y="72"/>
                  </a:lnTo>
                  <a:lnTo>
                    <a:pt x="350" y="72"/>
                  </a:lnTo>
                  <a:lnTo>
                    <a:pt x="346" y="72"/>
                  </a:lnTo>
                  <a:lnTo>
                    <a:pt x="342" y="72"/>
                  </a:lnTo>
                  <a:lnTo>
                    <a:pt x="338" y="72"/>
                  </a:lnTo>
                  <a:lnTo>
                    <a:pt x="334" y="72"/>
                  </a:lnTo>
                  <a:lnTo>
                    <a:pt x="334" y="72"/>
                  </a:lnTo>
                  <a:lnTo>
                    <a:pt x="334" y="72"/>
                  </a:lnTo>
                  <a:lnTo>
                    <a:pt x="330" y="74"/>
                  </a:lnTo>
                  <a:lnTo>
                    <a:pt x="330" y="74"/>
                  </a:lnTo>
                  <a:lnTo>
                    <a:pt x="330" y="74"/>
                  </a:lnTo>
                  <a:lnTo>
                    <a:pt x="328" y="76"/>
                  </a:lnTo>
                  <a:lnTo>
                    <a:pt x="328" y="76"/>
                  </a:lnTo>
                  <a:lnTo>
                    <a:pt x="326" y="76"/>
                  </a:lnTo>
                  <a:lnTo>
                    <a:pt x="324" y="78"/>
                  </a:lnTo>
                  <a:lnTo>
                    <a:pt x="324" y="78"/>
                  </a:lnTo>
                  <a:lnTo>
                    <a:pt x="324" y="78"/>
                  </a:lnTo>
                  <a:lnTo>
                    <a:pt x="322" y="82"/>
                  </a:lnTo>
                  <a:lnTo>
                    <a:pt x="322" y="84"/>
                  </a:lnTo>
                  <a:lnTo>
                    <a:pt x="320" y="84"/>
                  </a:lnTo>
                  <a:lnTo>
                    <a:pt x="316" y="80"/>
                  </a:lnTo>
                  <a:lnTo>
                    <a:pt x="314" y="78"/>
                  </a:lnTo>
                  <a:lnTo>
                    <a:pt x="310" y="74"/>
                  </a:lnTo>
                  <a:lnTo>
                    <a:pt x="308" y="72"/>
                  </a:lnTo>
                  <a:lnTo>
                    <a:pt x="304" y="68"/>
                  </a:lnTo>
                  <a:lnTo>
                    <a:pt x="304" y="68"/>
                  </a:lnTo>
                  <a:lnTo>
                    <a:pt x="304" y="68"/>
                  </a:lnTo>
                  <a:lnTo>
                    <a:pt x="300" y="66"/>
                  </a:lnTo>
                  <a:lnTo>
                    <a:pt x="300" y="66"/>
                  </a:lnTo>
                  <a:lnTo>
                    <a:pt x="300" y="66"/>
                  </a:lnTo>
                  <a:lnTo>
                    <a:pt x="296" y="64"/>
                  </a:lnTo>
                  <a:lnTo>
                    <a:pt x="296" y="64"/>
                  </a:lnTo>
                  <a:lnTo>
                    <a:pt x="296" y="60"/>
                  </a:lnTo>
                  <a:lnTo>
                    <a:pt x="294" y="58"/>
                  </a:lnTo>
                  <a:lnTo>
                    <a:pt x="294" y="58"/>
                  </a:lnTo>
                  <a:lnTo>
                    <a:pt x="294" y="58"/>
                  </a:lnTo>
                  <a:lnTo>
                    <a:pt x="294" y="56"/>
                  </a:lnTo>
                  <a:lnTo>
                    <a:pt x="294" y="56"/>
                  </a:lnTo>
                  <a:lnTo>
                    <a:pt x="294" y="56"/>
                  </a:lnTo>
                  <a:lnTo>
                    <a:pt x="292" y="56"/>
                  </a:lnTo>
                  <a:lnTo>
                    <a:pt x="292" y="56"/>
                  </a:lnTo>
                  <a:lnTo>
                    <a:pt x="292" y="56"/>
                  </a:lnTo>
                  <a:lnTo>
                    <a:pt x="290" y="56"/>
                  </a:lnTo>
                  <a:lnTo>
                    <a:pt x="288" y="56"/>
                  </a:lnTo>
                  <a:lnTo>
                    <a:pt x="288" y="56"/>
                  </a:lnTo>
                  <a:lnTo>
                    <a:pt x="288" y="56"/>
                  </a:lnTo>
                  <a:lnTo>
                    <a:pt x="286" y="58"/>
                  </a:lnTo>
                  <a:lnTo>
                    <a:pt x="284" y="60"/>
                  </a:lnTo>
                  <a:lnTo>
                    <a:pt x="282" y="62"/>
                  </a:lnTo>
                  <a:lnTo>
                    <a:pt x="280" y="62"/>
                  </a:lnTo>
                  <a:lnTo>
                    <a:pt x="274" y="60"/>
                  </a:lnTo>
                  <a:lnTo>
                    <a:pt x="270" y="60"/>
                  </a:lnTo>
                  <a:lnTo>
                    <a:pt x="266" y="58"/>
                  </a:lnTo>
                  <a:lnTo>
                    <a:pt x="266" y="58"/>
                  </a:lnTo>
                  <a:lnTo>
                    <a:pt x="264" y="58"/>
                  </a:lnTo>
                  <a:lnTo>
                    <a:pt x="258" y="62"/>
                  </a:lnTo>
                  <a:lnTo>
                    <a:pt x="254" y="64"/>
                  </a:lnTo>
                  <a:lnTo>
                    <a:pt x="248" y="66"/>
                  </a:lnTo>
                  <a:lnTo>
                    <a:pt x="246" y="68"/>
                  </a:lnTo>
                  <a:lnTo>
                    <a:pt x="242" y="68"/>
                  </a:lnTo>
                  <a:lnTo>
                    <a:pt x="242" y="68"/>
                  </a:lnTo>
                  <a:lnTo>
                    <a:pt x="240" y="70"/>
                  </a:lnTo>
                  <a:lnTo>
                    <a:pt x="240" y="70"/>
                  </a:lnTo>
                  <a:lnTo>
                    <a:pt x="240" y="72"/>
                  </a:lnTo>
                  <a:lnTo>
                    <a:pt x="242" y="74"/>
                  </a:lnTo>
                  <a:lnTo>
                    <a:pt x="242" y="78"/>
                  </a:lnTo>
                  <a:lnTo>
                    <a:pt x="242" y="82"/>
                  </a:lnTo>
                  <a:lnTo>
                    <a:pt x="242" y="86"/>
                  </a:lnTo>
                  <a:lnTo>
                    <a:pt x="242" y="86"/>
                  </a:lnTo>
                  <a:lnTo>
                    <a:pt x="242" y="86"/>
                  </a:lnTo>
                  <a:lnTo>
                    <a:pt x="244" y="88"/>
                  </a:lnTo>
                  <a:lnTo>
                    <a:pt x="244" y="88"/>
                  </a:lnTo>
                  <a:lnTo>
                    <a:pt x="244" y="90"/>
                  </a:lnTo>
                  <a:lnTo>
                    <a:pt x="246" y="90"/>
                  </a:lnTo>
                  <a:lnTo>
                    <a:pt x="246" y="90"/>
                  </a:lnTo>
                  <a:lnTo>
                    <a:pt x="246" y="92"/>
                  </a:lnTo>
                  <a:lnTo>
                    <a:pt x="248" y="92"/>
                  </a:lnTo>
                  <a:lnTo>
                    <a:pt x="248" y="92"/>
                  </a:lnTo>
                  <a:lnTo>
                    <a:pt x="248" y="92"/>
                  </a:lnTo>
                  <a:lnTo>
                    <a:pt x="248" y="92"/>
                  </a:lnTo>
                  <a:lnTo>
                    <a:pt x="250" y="92"/>
                  </a:lnTo>
                  <a:lnTo>
                    <a:pt x="250" y="94"/>
                  </a:lnTo>
                  <a:lnTo>
                    <a:pt x="250" y="96"/>
                  </a:lnTo>
                  <a:lnTo>
                    <a:pt x="250" y="100"/>
                  </a:lnTo>
                  <a:lnTo>
                    <a:pt x="250" y="106"/>
                  </a:lnTo>
                  <a:lnTo>
                    <a:pt x="250" y="112"/>
                  </a:lnTo>
                  <a:lnTo>
                    <a:pt x="248" y="120"/>
                  </a:lnTo>
                  <a:lnTo>
                    <a:pt x="246" y="126"/>
                  </a:lnTo>
                  <a:lnTo>
                    <a:pt x="244" y="128"/>
                  </a:lnTo>
                  <a:lnTo>
                    <a:pt x="242" y="130"/>
                  </a:lnTo>
                  <a:lnTo>
                    <a:pt x="242" y="132"/>
                  </a:lnTo>
                  <a:lnTo>
                    <a:pt x="242" y="132"/>
                  </a:lnTo>
                  <a:lnTo>
                    <a:pt x="240" y="132"/>
                  </a:lnTo>
                  <a:lnTo>
                    <a:pt x="240" y="132"/>
                  </a:lnTo>
                  <a:lnTo>
                    <a:pt x="240" y="136"/>
                  </a:lnTo>
                  <a:lnTo>
                    <a:pt x="240" y="140"/>
                  </a:lnTo>
                  <a:lnTo>
                    <a:pt x="240" y="142"/>
                  </a:lnTo>
                  <a:lnTo>
                    <a:pt x="240" y="144"/>
                  </a:lnTo>
                  <a:lnTo>
                    <a:pt x="240" y="146"/>
                  </a:lnTo>
                  <a:lnTo>
                    <a:pt x="240" y="148"/>
                  </a:lnTo>
                  <a:lnTo>
                    <a:pt x="238" y="150"/>
                  </a:lnTo>
                  <a:lnTo>
                    <a:pt x="236" y="152"/>
                  </a:lnTo>
                  <a:lnTo>
                    <a:pt x="234" y="156"/>
                  </a:lnTo>
                  <a:lnTo>
                    <a:pt x="234" y="156"/>
                  </a:lnTo>
                  <a:lnTo>
                    <a:pt x="234" y="158"/>
                  </a:lnTo>
                  <a:lnTo>
                    <a:pt x="234" y="160"/>
                  </a:lnTo>
                  <a:lnTo>
                    <a:pt x="232" y="162"/>
                  </a:lnTo>
                  <a:lnTo>
                    <a:pt x="232" y="164"/>
                  </a:lnTo>
                  <a:lnTo>
                    <a:pt x="230" y="168"/>
                  </a:lnTo>
                  <a:lnTo>
                    <a:pt x="228" y="170"/>
                  </a:lnTo>
                  <a:lnTo>
                    <a:pt x="226" y="172"/>
                  </a:lnTo>
                  <a:lnTo>
                    <a:pt x="224" y="174"/>
                  </a:lnTo>
                  <a:lnTo>
                    <a:pt x="222" y="176"/>
                  </a:lnTo>
                  <a:lnTo>
                    <a:pt x="222" y="176"/>
                  </a:lnTo>
                  <a:lnTo>
                    <a:pt x="222" y="176"/>
                  </a:lnTo>
                  <a:lnTo>
                    <a:pt x="220" y="178"/>
                  </a:lnTo>
                  <a:lnTo>
                    <a:pt x="220" y="178"/>
                  </a:lnTo>
                  <a:lnTo>
                    <a:pt x="220" y="180"/>
                  </a:lnTo>
                  <a:lnTo>
                    <a:pt x="220" y="182"/>
                  </a:lnTo>
                  <a:lnTo>
                    <a:pt x="218" y="184"/>
                  </a:lnTo>
                  <a:lnTo>
                    <a:pt x="218" y="184"/>
                  </a:lnTo>
                  <a:lnTo>
                    <a:pt x="218" y="184"/>
                  </a:lnTo>
                  <a:lnTo>
                    <a:pt x="218" y="188"/>
                  </a:lnTo>
                  <a:lnTo>
                    <a:pt x="218" y="188"/>
                  </a:lnTo>
                  <a:lnTo>
                    <a:pt x="220" y="190"/>
                  </a:lnTo>
                  <a:lnTo>
                    <a:pt x="222" y="190"/>
                  </a:lnTo>
                  <a:lnTo>
                    <a:pt x="226" y="192"/>
                  </a:lnTo>
                  <a:lnTo>
                    <a:pt x="232" y="192"/>
                  </a:lnTo>
                  <a:lnTo>
                    <a:pt x="236" y="192"/>
                  </a:lnTo>
                  <a:lnTo>
                    <a:pt x="242" y="192"/>
                  </a:lnTo>
                  <a:lnTo>
                    <a:pt x="242" y="192"/>
                  </a:lnTo>
                  <a:lnTo>
                    <a:pt x="242" y="194"/>
                  </a:lnTo>
                  <a:lnTo>
                    <a:pt x="242" y="194"/>
                  </a:lnTo>
                  <a:lnTo>
                    <a:pt x="244" y="196"/>
                  </a:lnTo>
                  <a:lnTo>
                    <a:pt x="246" y="200"/>
                  </a:lnTo>
                  <a:lnTo>
                    <a:pt x="246" y="200"/>
                  </a:lnTo>
                  <a:lnTo>
                    <a:pt x="246" y="200"/>
                  </a:lnTo>
                  <a:lnTo>
                    <a:pt x="248" y="202"/>
                  </a:lnTo>
                  <a:lnTo>
                    <a:pt x="248" y="202"/>
                  </a:lnTo>
                  <a:lnTo>
                    <a:pt x="248" y="202"/>
                  </a:lnTo>
                  <a:lnTo>
                    <a:pt x="252" y="204"/>
                  </a:lnTo>
                  <a:lnTo>
                    <a:pt x="252" y="204"/>
                  </a:lnTo>
                  <a:lnTo>
                    <a:pt x="252" y="204"/>
                  </a:lnTo>
                  <a:lnTo>
                    <a:pt x="254" y="204"/>
                  </a:lnTo>
                  <a:lnTo>
                    <a:pt x="254" y="204"/>
                  </a:lnTo>
                  <a:lnTo>
                    <a:pt x="254" y="204"/>
                  </a:lnTo>
                  <a:lnTo>
                    <a:pt x="254" y="204"/>
                  </a:lnTo>
                  <a:lnTo>
                    <a:pt x="256" y="206"/>
                  </a:lnTo>
                  <a:lnTo>
                    <a:pt x="256" y="210"/>
                  </a:lnTo>
                  <a:lnTo>
                    <a:pt x="258" y="216"/>
                  </a:lnTo>
                  <a:lnTo>
                    <a:pt x="260" y="220"/>
                  </a:lnTo>
                  <a:lnTo>
                    <a:pt x="262" y="224"/>
                  </a:lnTo>
                  <a:lnTo>
                    <a:pt x="262" y="224"/>
                  </a:lnTo>
                  <a:lnTo>
                    <a:pt x="262" y="224"/>
                  </a:lnTo>
                  <a:lnTo>
                    <a:pt x="264" y="226"/>
                  </a:lnTo>
                  <a:lnTo>
                    <a:pt x="264" y="226"/>
                  </a:lnTo>
                  <a:lnTo>
                    <a:pt x="264" y="228"/>
                  </a:lnTo>
                  <a:lnTo>
                    <a:pt x="266" y="230"/>
                  </a:lnTo>
                  <a:lnTo>
                    <a:pt x="266" y="230"/>
                  </a:lnTo>
                  <a:lnTo>
                    <a:pt x="270" y="230"/>
                  </a:lnTo>
                  <a:lnTo>
                    <a:pt x="272" y="230"/>
                  </a:lnTo>
                  <a:lnTo>
                    <a:pt x="276" y="228"/>
                  </a:lnTo>
                  <a:lnTo>
                    <a:pt x="278" y="228"/>
                  </a:lnTo>
                  <a:lnTo>
                    <a:pt x="280" y="226"/>
                  </a:lnTo>
                  <a:lnTo>
                    <a:pt x="280" y="226"/>
                  </a:lnTo>
                  <a:lnTo>
                    <a:pt x="280" y="226"/>
                  </a:lnTo>
                  <a:lnTo>
                    <a:pt x="282" y="224"/>
                  </a:lnTo>
                  <a:lnTo>
                    <a:pt x="284" y="220"/>
                  </a:lnTo>
                  <a:lnTo>
                    <a:pt x="286" y="218"/>
                  </a:lnTo>
                  <a:lnTo>
                    <a:pt x="290" y="216"/>
                  </a:lnTo>
                  <a:lnTo>
                    <a:pt x="290" y="216"/>
                  </a:lnTo>
                  <a:lnTo>
                    <a:pt x="294" y="214"/>
                  </a:lnTo>
                  <a:lnTo>
                    <a:pt x="296" y="214"/>
                  </a:lnTo>
                  <a:lnTo>
                    <a:pt x="298" y="214"/>
                  </a:lnTo>
                  <a:lnTo>
                    <a:pt x="298" y="214"/>
                  </a:lnTo>
                  <a:lnTo>
                    <a:pt x="300" y="212"/>
                  </a:lnTo>
                  <a:lnTo>
                    <a:pt x="302" y="210"/>
                  </a:lnTo>
                  <a:lnTo>
                    <a:pt x="302" y="210"/>
                  </a:lnTo>
                  <a:lnTo>
                    <a:pt x="304" y="210"/>
                  </a:lnTo>
                  <a:lnTo>
                    <a:pt x="304" y="208"/>
                  </a:lnTo>
                  <a:lnTo>
                    <a:pt x="304" y="208"/>
                  </a:lnTo>
                  <a:lnTo>
                    <a:pt x="304" y="206"/>
                  </a:lnTo>
                  <a:lnTo>
                    <a:pt x="306" y="204"/>
                  </a:lnTo>
                  <a:lnTo>
                    <a:pt x="306" y="204"/>
                  </a:lnTo>
                  <a:lnTo>
                    <a:pt x="306" y="204"/>
                  </a:lnTo>
                  <a:lnTo>
                    <a:pt x="306" y="202"/>
                  </a:lnTo>
                  <a:lnTo>
                    <a:pt x="306" y="202"/>
                  </a:lnTo>
                  <a:lnTo>
                    <a:pt x="306" y="200"/>
                  </a:lnTo>
                  <a:lnTo>
                    <a:pt x="308" y="196"/>
                  </a:lnTo>
                  <a:lnTo>
                    <a:pt x="308" y="192"/>
                  </a:lnTo>
                  <a:lnTo>
                    <a:pt x="308" y="188"/>
                  </a:lnTo>
                  <a:lnTo>
                    <a:pt x="308" y="188"/>
                  </a:lnTo>
                  <a:lnTo>
                    <a:pt x="308" y="186"/>
                  </a:lnTo>
                  <a:lnTo>
                    <a:pt x="310" y="186"/>
                  </a:lnTo>
                  <a:lnTo>
                    <a:pt x="312" y="184"/>
                  </a:lnTo>
                  <a:lnTo>
                    <a:pt x="316" y="184"/>
                  </a:lnTo>
                  <a:lnTo>
                    <a:pt x="320" y="184"/>
                  </a:lnTo>
                  <a:lnTo>
                    <a:pt x="320" y="184"/>
                  </a:lnTo>
                  <a:lnTo>
                    <a:pt x="320" y="184"/>
                  </a:lnTo>
                  <a:lnTo>
                    <a:pt x="322" y="182"/>
                  </a:lnTo>
                  <a:lnTo>
                    <a:pt x="322" y="178"/>
                  </a:lnTo>
                  <a:lnTo>
                    <a:pt x="322" y="176"/>
                  </a:lnTo>
                  <a:lnTo>
                    <a:pt x="324" y="170"/>
                  </a:lnTo>
                  <a:lnTo>
                    <a:pt x="324" y="166"/>
                  </a:lnTo>
                  <a:lnTo>
                    <a:pt x="324" y="164"/>
                  </a:lnTo>
                  <a:lnTo>
                    <a:pt x="324" y="162"/>
                  </a:lnTo>
                  <a:lnTo>
                    <a:pt x="326" y="160"/>
                  </a:lnTo>
                  <a:lnTo>
                    <a:pt x="326" y="160"/>
                  </a:lnTo>
                  <a:lnTo>
                    <a:pt x="328" y="158"/>
                  </a:lnTo>
                  <a:lnTo>
                    <a:pt x="330" y="156"/>
                  </a:lnTo>
                  <a:lnTo>
                    <a:pt x="332" y="156"/>
                  </a:lnTo>
                  <a:lnTo>
                    <a:pt x="338" y="152"/>
                  </a:lnTo>
                  <a:lnTo>
                    <a:pt x="340" y="150"/>
                  </a:lnTo>
                  <a:lnTo>
                    <a:pt x="342" y="150"/>
                  </a:lnTo>
                  <a:lnTo>
                    <a:pt x="342" y="150"/>
                  </a:lnTo>
                  <a:lnTo>
                    <a:pt x="344" y="148"/>
                  </a:lnTo>
                  <a:lnTo>
                    <a:pt x="344" y="146"/>
                  </a:lnTo>
                  <a:lnTo>
                    <a:pt x="346" y="144"/>
                  </a:lnTo>
                  <a:lnTo>
                    <a:pt x="348" y="140"/>
                  </a:lnTo>
                  <a:lnTo>
                    <a:pt x="348" y="140"/>
                  </a:lnTo>
                  <a:lnTo>
                    <a:pt x="350" y="140"/>
                  </a:lnTo>
                  <a:lnTo>
                    <a:pt x="350" y="140"/>
                  </a:lnTo>
                  <a:lnTo>
                    <a:pt x="350" y="140"/>
                  </a:lnTo>
                  <a:lnTo>
                    <a:pt x="350" y="140"/>
                  </a:lnTo>
                  <a:lnTo>
                    <a:pt x="346" y="142"/>
                  </a:lnTo>
                  <a:lnTo>
                    <a:pt x="346" y="142"/>
                  </a:lnTo>
                  <a:lnTo>
                    <a:pt x="346" y="142"/>
                  </a:lnTo>
                  <a:lnTo>
                    <a:pt x="346" y="146"/>
                  </a:lnTo>
                  <a:lnTo>
                    <a:pt x="344" y="150"/>
                  </a:lnTo>
                  <a:lnTo>
                    <a:pt x="342" y="152"/>
                  </a:lnTo>
                  <a:lnTo>
                    <a:pt x="342" y="154"/>
                  </a:lnTo>
                  <a:lnTo>
                    <a:pt x="340" y="156"/>
                  </a:lnTo>
                  <a:lnTo>
                    <a:pt x="338" y="158"/>
                  </a:lnTo>
                  <a:lnTo>
                    <a:pt x="338" y="158"/>
                  </a:lnTo>
                  <a:lnTo>
                    <a:pt x="336" y="158"/>
                  </a:lnTo>
                  <a:lnTo>
                    <a:pt x="336" y="158"/>
                  </a:lnTo>
                  <a:lnTo>
                    <a:pt x="336" y="158"/>
                  </a:lnTo>
                  <a:lnTo>
                    <a:pt x="334" y="160"/>
                  </a:lnTo>
                  <a:lnTo>
                    <a:pt x="334" y="160"/>
                  </a:lnTo>
                  <a:lnTo>
                    <a:pt x="334" y="160"/>
                  </a:lnTo>
                  <a:lnTo>
                    <a:pt x="332" y="162"/>
                  </a:lnTo>
                  <a:lnTo>
                    <a:pt x="332" y="162"/>
                  </a:lnTo>
                  <a:lnTo>
                    <a:pt x="332" y="164"/>
                  </a:lnTo>
                  <a:lnTo>
                    <a:pt x="332" y="164"/>
                  </a:lnTo>
                  <a:lnTo>
                    <a:pt x="332" y="164"/>
                  </a:lnTo>
                  <a:lnTo>
                    <a:pt x="330" y="166"/>
                  </a:lnTo>
                  <a:lnTo>
                    <a:pt x="330" y="168"/>
                  </a:lnTo>
                  <a:lnTo>
                    <a:pt x="330" y="168"/>
                  </a:lnTo>
                  <a:lnTo>
                    <a:pt x="332" y="168"/>
                  </a:lnTo>
                  <a:lnTo>
                    <a:pt x="332" y="170"/>
                  </a:lnTo>
                  <a:lnTo>
                    <a:pt x="332" y="170"/>
                  </a:lnTo>
                  <a:lnTo>
                    <a:pt x="332" y="170"/>
                  </a:lnTo>
                  <a:lnTo>
                    <a:pt x="334" y="172"/>
                  </a:lnTo>
                  <a:lnTo>
                    <a:pt x="334" y="172"/>
                  </a:lnTo>
                  <a:lnTo>
                    <a:pt x="334" y="172"/>
                  </a:lnTo>
                  <a:lnTo>
                    <a:pt x="336" y="174"/>
                  </a:lnTo>
                  <a:lnTo>
                    <a:pt x="336" y="174"/>
                  </a:lnTo>
                  <a:lnTo>
                    <a:pt x="332" y="178"/>
                  </a:lnTo>
                  <a:lnTo>
                    <a:pt x="330" y="180"/>
                  </a:lnTo>
                  <a:lnTo>
                    <a:pt x="328" y="184"/>
                  </a:lnTo>
                  <a:lnTo>
                    <a:pt x="328" y="184"/>
                  </a:lnTo>
                  <a:lnTo>
                    <a:pt x="326" y="184"/>
                  </a:lnTo>
                  <a:lnTo>
                    <a:pt x="326" y="188"/>
                  </a:lnTo>
                  <a:lnTo>
                    <a:pt x="326" y="190"/>
                  </a:lnTo>
                  <a:lnTo>
                    <a:pt x="324" y="192"/>
                  </a:lnTo>
                  <a:lnTo>
                    <a:pt x="322" y="196"/>
                  </a:lnTo>
                  <a:lnTo>
                    <a:pt x="322" y="198"/>
                  </a:lnTo>
                  <a:lnTo>
                    <a:pt x="320" y="200"/>
                  </a:lnTo>
                  <a:lnTo>
                    <a:pt x="320" y="200"/>
                  </a:lnTo>
                  <a:lnTo>
                    <a:pt x="320" y="202"/>
                  </a:lnTo>
                  <a:lnTo>
                    <a:pt x="320" y="204"/>
                  </a:lnTo>
                  <a:lnTo>
                    <a:pt x="322" y="206"/>
                  </a:lnTo>
                  <a:lnTo>
                    <a:pt x="324" y="208"/>
                  </a:lnTo>
                  <a:lnTo>
                    <a:pt x="326" y="208"/>
                  </a:lnTo>
                  <a:lnTo>
                    <a:pt x="328" y="208"/>
                  </a:lnTo>
                  <a:lnTo>
                    <a:pt x="328" y="208"/>
                  </a:lnTo>
                  <a:lnTo>
                    <a:pt x="328" y="210"/>
                  </a:lnTo>
                  <a:lnTo>
                    <a:pt x="330" y="210"/>
                  </a:lnTo>
                  <a:lnTo>
                    <a:pt x="330" y="210"/>
                  </a:lnTo>
                  <a:lnTo>
                    <a:pt x="332" y="210"/>
                  </a:lnTo>
                  <a:lnTo>
                    <a:pt x="334" y="210"/>
                  </a:lnTo>
                  <a:lnTo>
                    <a:pt x="336" y="208"/>
                  </a:lnTo>
                  <a:lnTo>
                    <a:pt x="338" y="208"/>
                  </a:lnTo>
                  <a:lnTo>
                    <a:pt x="340" y="208"/>
                  </a:lnTo>
                  <a:lnTo>
                    <a:pt x="344" y="208"/>
                  </a:lnTo>
                  <a:lnTo>
                    <a:pt x="348" y="208"/>
                  </a:lnTo>
                  <a:lnTo>
                    <a:pt x="352" y="208"/>
                  </a:lnTo>
                  <a:lnTo>
                    <a:pt x="360" y="208"/>
                  </a:lnTo>
                  <a:lnTo>
                    <a:pt x="366" y="208"/>
                  </a:lnTo>
                  <a:lnTo>
                    <a:pt x="370" y="208"/>
                  </a:lnTo>
                  <a:lnTo>
                    <a:pt x="372" y="210"/>
                  </a:lnTo>
                  <a:lnTo>
                    <a:pt x="376" y="210"/>
                  </a:lnTo>
                  <a:lnTo>
                    <a:pt x="374" y="210"/>
                  </a:lnTo>
                  <a:lnTo>
                    <a:pt x="372" y="210"/>
                  </a:lnTo>
                  <a:lnTo>
                    <a:pt x="368" y="214"/>
                  </a:lnTo>
                  <a:lnTo>
                    <a:pt x="364" y="216"/>
                  </a:lnTo>
                  <a:lnTo>
                    <a:pt x="358" y="218"/>
                  </a:lnTo>
                  <a:lnTo>
                    <a:pt x="354" y="220"/>
                  </a:lnTo>
                  <a:lnTo>
                    <a:pt x="352" y="222"/>
                  </a:lnTo>
                  <a:lnTo>
                    <a:pt x="348" y="222"/>
                  </a:lnTo>
                  <a:lnTo>
                    <a:pt x="344" y="222"/>
                  </a:lnTo>
                  <a:lnTo>
                    <a:pt x="340" y="222"/>
                  </a:lnTo>
                  <a:lnTo>
                    <a:pt x="340" y="222"/>
                  </a:lnTo>
                  <a:lnTo>
                    <a:pt x="338" y="224"/>
                  </a:lnTo>
                  <a:lnTo>
                    <a:pt x="336" y="224"/>
                  </a:lnTo>
                  <a:lnTo>
                    <a:pt x="336" y="224"/>
                  </a:lnTo>
                  <a:lnTo>
                    <a:pt x="336" y="224"/>
                  </a:lnTo>
                  <a:lnTo>
                    <a:pt x="334" y="226"/>
                  </a:lnTo>
                  <a:lnTo>
                    <a:pt x="334" y="226"/>
                  </a:lnTo>
                  <a:lnTo>
                    <a:pt x="334" y="226"/>
                  </a:lnTo>
                  <a:lnTo>
                    <a:pt x="330" y="230"/>
                  </a:lnTo>
                  <a:lnTo>
                    <a:pt x="330" y="230"/>
                  </a:lnTo>
                  <a:lnTo>
                    <a:pt x="330" y="230"/>
                  </a:lnTo>
                  <a:lnTo>
                    <a:pt x="328" y="232"/>
                  </a:lnTo>
                  <a:lnTo>
                    <a:pt x="328" y="232"/>
                  </a:lnTo>
                  <a:lnTo>
                    <a:pt x="328" y="234"/>
                  </a:lnTo>
                  <a:lnTo>
                    <a:pt x="328" y="236"/>
                  </a:lnTo>
                  <a:lnTo>
                    <a:pt x="328" y="236"/>
                  </a:lnTo>
                  <a:lnTo>
                    <a:pt x="328" y="236"/>
                  </a:lnTo>
                  <a:lnTo>
                    <a:pt x="328" y="240"/>
                  </a:lnTo>
                  <a:lnTo>
                    <a:pt x="328" y="240"/>
                  </a:lnTo>
                  <a:lnTo>
                    <a:pt x="328" y="240"/>
                  </a:lnTo>
                  <a:lnTo>
                    <a:pt x="328" y="242"/>
                  </a:lnTo>
                  <a:lnTo>
                    <a:pt x="328" y="242"/>
                  </a:lnTo>
                  <a:lnTo>
                    <a:pt x="328" y="242"/>
                  </a:lnTo>
                  <a:lnTo>
                    <a:pt x="330" y="244"/>
                  </a:lnTo>
                  <a:lnTo>
                    <a:pt x="330" y="244"/>
                  </a:lnTo>
                  <a:lnTo>
                    <a:pt x="330" y="244"/>
                  </a:lnTo>
                  <a:lnTo>
                    <a:pt x="330" y="244"/>
                  </a:lnTo>
                  <a:lnTo>
                    <a:pt x="330" y="244"/>
                  </a:lnTo>
                  <a:lnTo>
                    <a:pt x="332" y="246"/>
                  </a:lnTo>
                  <a:lnTo>
                    <a:pt x="332" y="246"/>
                  </a:lnTo>
                  <a:lnTo>
                    <a:pt x="336" y="246"/>
                  </a:lnTo>
                  <a:lnTo>
                    <a:pt x="340" y="248"/>
                  </a:lnTo>
                  <a:lnTo>
                    <a:pt x="348" y="248"/>
                  </a:lnTo>
                  <a:lnTo>
                    <a:pt x="354" y="248"/>
                  </a:lnTo>
                  <a:lnTo>
                    <a:pt x="360" y="248"/>
                  </a:lnTo>
                  <a:lnTo>
                    <a:pt x="360" y="248"/>
                  </a:lnTo>
                  <a:lnTo>
                    <a:pt x="364" y="248"/>
                  </a:lnTo>
                  <a:lnTo>
                    <a:pt x="374" y="250"/>
                  </a:lnTo>
                  <a:lnTo>
                    <a:pt x="380" y="252"/>
                  </a:lnTo>
                  <a:lnTo>
                    <a:pt x="380" y="252"/>
                  </a:lnTo>
                  <a:lnTo>
                    <a:pt x="380" y="252"/>
                  </a:lnTo>
                  <a:lnTo>
                    <a:pt x="384" y="252"/>
                  </a:lnTo>
                  <a:lnTo>
                    <a:pt x="388" y="252"/>
                  </a:lnTo>
                  <a:lnTo>
                    <a:pt x="392" y="252"/>
                  </a:lnTo>
                  <a:lnTo>
                    <a:pt x="398" y="250"/>
                  </a:lnTo>
                  <a:lnTo>
                    <a:pt x="402" y="250"/>
                  </a:lnTo>
                  <a:lnTo>
                    <a:pt x="408" y="250"/>
                  </a:lnTo>
                  <a:lnTo>
                    <a:pt x="412" y="250"/>
                  </a:lnTo>
                  <a:lnTo>
                    <a:pt x="416" y="250"/>
                  </a:lnTo>
                  <a:lnTo>
                    <a:pt x="418" y="250"/>
                  </a:lnTo>
                  <a:lnTo>
                    <a:pt x="422" y="250"/>
                  </a:lnTo>
                  <a:lnTo>
                    <a:pt x="426" y="250"/>
                  </a:lnTo>
                  <a:lnTo>
                    <a:pt x="428" y="252"/>
                  </a:lnTo>
                  <a:lnTo>
                    <a:pt x="428" y="252"/>
                  </a:lnTo>
                  <a:lnTo>
                    <a:pt x="428" y="254"/>
                  </a:lnTo>
                  <a:lnTo>
                    <a:pt x="430" y="256"/>
                  </a:lnTo>
                  <a:lnTo>
                    <a:pt x="430" y="256"/>
                  </a:lnTo>
                  <a:lnTo>
                    <a:pt x="430" y="256"/>
                  </a:lnTo>
                  <a:lnTo>
                    <a:pt x="434" y="258"/>
                  </a:lnTo>
                  <a:lnTo>
                    <a:pt x="434" y="258"/>
                  </a:lnTo>
                  <a:lnTo>
                    <a:pt x="434" y="260"/>
                  </a:lnTo>
                  <a:lnTo>
                    <a:pt x="434" y="260"/>
                  </a:lnTo>
                  <a:lnTo>
                    <a:pt x="432" y="262"/>
                  </a:lnTo>
                  <a:lnTo>
                    <a:pt x="432" y="262"/>
                  </a:lnTo>
                  <a:lnTo>
                    <a:pt x="430" y="264"/>
                  </a:lnTo>
                  <a:lnTo>
                    <a:pt x="428" y="264"/>
                  </a:lnTo>
                  <a:lnTo>
                    <a:pt x="428" y="264"/>
                  </a:lnTo>
                  <a:lnTo>
                    <a:pt x="424" y="264"/>
                  </a:lnTo>
                  <a:lnTo>
                    <a:pt x="418" y="264"/>
                  </a:lnTo>
                  <a:lnTo>
                    <a:pt x="414" y="262"/>
                  </a:lnTo>
                  <a:lnTo>
                    <a:pt x="408" y="260"/>
                  </a:lnTo>
                  <a:lnTo>
                    <a:pt x="404" y="260"/>
                  </a:lnTo>
                  <a:lnTo>
                    <a:pt x="400" y="258"/>
                  </a:lnTo>
                  <a:lnTo>
                    <a:pt x="396" y="258"/>
                  </a:lnTo>
                  <a:lnTo>
                    <a:pt x="390" y="258"/>
                  </a:lnTo>
                  <a:lnTo>
                    <a:pt x="386" y="256"/>
                  </a:lnTo>
                  <a:lnTo>
                    <a:pt x="382" y="258"/>
                  </a:lnTo>
                  <a:lnTo>
                    <a:pt x="378" y="258"/>
                  </a:lnTo>
                  <a:lnTo>
                    <a:pt x="374" y="258"/>
                  </a:lnTo>
                  <a:lnTo>
                    <a:pt x="374" y="258"/>
                  </a:lnTo>
                  <a:lnTo>
                    <a:pt x="372" y="258"/>
                  </a:lnTo>
                  <a:lnTo>
                    <a:pt x="368" y="260"/>
                  </a:lnTo>
                  <a:lnTo>
                    <a:pt x="364" y="264"/>
                  </a:lnTo>
                  <a:lnTo>
                    <a:pt x="360" y="266"/>
                  </a:lnTo>
                  <a:lnTo>
                    <a:pt x="358" y="266"/>
                  </a:lnTo>
                  <a:lnTo>
                    <a:pt x="356" y="266"/>
                  </a:lnTo>
                  <a:lnTo>
                    <a:pt x="356" y="266"/>
                  </a:lnTo>
                  <a:lnTo>
                    <a:pt x="354" y="268"/>
                  </a:lnTo>
                  <a:lnTo>
                    <a:pt x="352" y="268"/>
                  </a:lnTo>
                  <a:lnTo>
                    <a:pt x="350" y="270"/>
                  </a:lnTo>
                  <a:lnTo>
                    <a:pt x="350" y="270"/>
                  </a:lnTo>
                  <a:lnTo>
                    <a:pt x="350" y="270"/>
                  </a:lnTo>
                  <a:lnTo>
                    <a:pt x="348" y="274"/>
                  </a:lnTo>
                  <a:lnTo>
                    <a:pt x="348" y="274"/>
                  </a:lnTo>
                  <a:lnTo>
                    <a:pt x="348" y="274"/>
                  </a:lnTo>
                  <a:lnTo>
                    <a:pt x="348" y="276"/>
                  </a:lnTo>
                  <a:lnTo>
                    <a:pt x="348" y="276"/>
                  </a:lnTo>
                  <a:lnTo>
                    <a:pt x="348" y="278"/>
                  </a:lnTo>
                  <a:lnTo>
                    <a:pt x="348" y="280"/>
                  </a:lnTo>
                  <a:lnTo>
                    <a:pt x="348" y="280"/>
                  </a:lnTo>
                  <a:lnTo>
                    <a:pt x="348" y="280"/>
                  </a:lnTo>
                  <a:lnTo>
                    <a:pt x="350" y="282"/>
                  </a:lnTo>
                  <a:lnTo>
                    <a:pt x="352" y="286"/>
                  </a:lnTo>
                  <a:lnTo>
                    <a:pt x="354" y="288"/>
                  </a:lnTo>
                  <a:lnTo>
                    <a:pt x="356" y="292"/>
                  </a:lnTo>
                  <a:lnTo>
                    <a:pt x="356" y="292"/>
                  </a:lnTo>
                  <a:lnTo>
                    <a:pt x="358" y="292"/>
                  </a:lnTo>
                  <a:lnTo>
                    <a:pt x="360" y="292"/>
                  </a:lnTo>
                  <a:lnTo>
                    <a:pt x="362" y="292"/>
                  </a:lnTo>
                  <a:lnTo>
                    <a:pt x="362" y="292"/>
                  </a:lnTo>
                  <a:lnTo>
                    <a:pt x="362" y="294"/>
                  </a:lnTo>
                  <a:lnTo>
                    <a:pt x="362" y="294"/>
                  </a:lnTo>
                  <a:lnTo>
                    <a:pt x="362" y="296"/>
                  </a:lnTo>
                  <a:lnTo>
                    <a:pt x="362" y="298"/>
                  </a:lnTo>
                  <a:lnTo>
                    <a:pt x="362" y="298"/>
                  </a:lnTo>
                  <a:lnTo>
                    <a:pt x="364" y="298"/>
                  </a:lnTo>
                  <a:lnTo>
                    <a:pt x="364" y="300"/>
                  </a:lnTo>
                  <a:lnTo>
                    <a:pt x="364" y="300"/>
                  </a:lnTo>
                  <a:lnTo>
                    <a:pt x="366" y="300"/>
                  </a:lnTo>
                  <a:lnTo>
                    <a:pt x="370" y="302"/>
                  </a:lnTo>
                  <a:lnTo>
                    <a:pt x="370" y="302"/>
                  </a:lnTo>
                  <a:lnTo>
                    <a:pt x="370" y="302"/>
                  </a:lnTo>
                  <a:lnTo>
                    <a:pt x="374" y="304"/>
                  </a:lnTo>
                  <a:lnTo>
                    <a:pt x="378" y="304"/>
                  </a:lnTo>
                  <a:lnTo>
                    <a:pt x="384" y="304"/>
                  </a:lnTo>
                  <a:lnTo>
                    <a:pt x="390" y="304"/>
                  </a:lnTo>
                  <a:lnTo>
                    <a:pt x="394" y="306"/>
                  </a:lnTo>
                  <a:lnTo>
                    <a:pt x="400" y="306"/>
                  </a:lnTo>
                  <a:lnTo>
                    <a:pt x="402" y="306"/>
                  </a:lnTo>
                  <a:lnTo>
                    <a:pt x="402" y="308"/>
                  </a:lnTo>
                  <a:lnTo>
                    <a:pt x="404" y="310"/>
                  </a:lnTo>
                  <a:lnTo>
                    <a:pt x="404" y="312"/>
                  </a:lnTo>
                  <a:lnTo>
                    <a:pt x="404" y="312"/>
                  </a:lnTo>
                  <a:lnTo>
                    <a:pt x="404" y="314"/>
                  </a:lnTo>
                  <a:lnTo>
                    <a:pt x="404" y="314"/>
                  </a:lnTo>
                  <a:lnTo>
                    <a:pt x="402" y="316"/>
                  </a:lnTo>
                  <a:lnTo>
                    <a:pt x="400" y="320"/>
                  </a:lnTo>
                  <a:lnTo>
                    <a:pt x="400" y="320"/>
                  </a:lnTo>
                  <a:lnTo>
                    <a:pt x="400" y="320"/>
                  </a:lnTo>
                  <a:lnTo>
                    <a:pt x="400" y="322"/>
                  </a:lnTo>
                  <a:lnTo>
                    <a:pt x="398" y="320"/>
                  </a:lnTo>
                  <a:lnTo>
                    <a:pt x="392" y="320"/>
                  </a:lnTo>
                  <a:lnTo>
                    <a:pt x="386" y="318"/>
                  </a:lnTo>
                  <a:lnTo>
                    <a:pt x="380" y="316"/>
                  </a:lnTo>
                  <a:lnTo>
                    <a:pt x="374" y="316"/>
                  </a:lnTo>
                  <a:lnTo>
                    <a:pt x="368" y="314"/>
                  </a:lnTo>
                  <a:lnTo>
                    <a:pt x="358" y="312"/>
                  </a:lnTo>
                  <a:lnTo>
                    <a:pt x="350" y="310"/>
                  </a:lnTo>
                  <a:lnTo>
                    <a:pt x="342" y="308"/>
                  </a:lnTo>
                  <a:lnTo>
                    <a:pt x="338" y="306"/>
                  </a:lnTo>
                  <a:lnTo>
                    <a:pt x="332" y="304"/>
                  </a:lnTo>
                  <a:lnTo>
                    <a:pt x="328" y="304"/>
                  </a:lnTo>
                  <a:lnTo>
                    <a:pt x="322" y="300"/>
                  </a:lnTo>
                  <a:lnTo>
                    <a:pt x="310" y="296"/>
                  </a:lnTo>
                  <a:lnTo>
                    <a:pt x="304" y="294"/>
                  </a:lnTo>
                  <a:lnTo>
                    <a:pt x="298" y="290"/>
                  </a:lnTo>
                  <a:lnTo>
                    <a:pt x="292" y="288"/>
                  </a:lnTo>
                  <a:lnTo>
                    <a:pt x="288" y="286"/>
                  </a:lnTo>
                  <a:lnTo>
                    <a:pt x="286" y="284"/>
                  </a:lnTo>
                  <a:lnTo>
                    <a:pt x="284" y="282"/>
                  </a:lnTo>
                  <a:lnTo>
                    <a:pt x="282" y="282"/>
                  </a:lnTo>
                  <a:lnTo>
                    <a:pt x="280" y="280"/>
                  </a:lnTo>
                  <a:lnTo>
                    <a:pt x="278" y="278"/>
                  </a:lnTo>
                  <a:lnTo>
                    <a:pt x="278" y="278"/>
                  </a:lnTo>
                  <a:lnTo>
                    <a:pt x="278" y="278"/>
                  </a:lnTo>
                  <a:lnTo>
                    <a:pt x="278" y="278"/>
                  </a:lnTo>
                  <a:lnTo>
                    <a:pt x="278" y="278"/>
                  </a:lnTo>
                  <a:lnTo>
                    <a:pt x="276" y="278"/>
                  </a:lnTo>
                  <a:lnTo>
                    <a:pt x="276" y="276"/>
                  </a:lnTo>
                  <a:lnTo>
                    <a:pt x="276" y="276"/>
                  </a:lnTo>
                  <a:lnTo>
                    <a:pt x="274" y="276"/>
                  </a:lnTo>
                  <a:lnTo>
                    <a:pt x="272" y="278"/>
                  </a:lnTo>
                  <a:lnTo>
                    <a:pt x="272" y="278"/>
                  </a:lnTo>
                  <a:lnTo>
                    <a:pt x="272" y="278"/>
                  </a:lnTo>
                  <a:lnTo>
                    <a:pt x="270" y="280"/>
                  </a:lnTo>
                  <a:lnTo>
                    <a:pt x="270" y="280"/>
                  </a:lnTo>
                  <a:lnTo>
                    <a:pt x="270" y="280"/>
                  </a:lnTo>
                  <a:lnTo>
                    <a:pt x="268" y="282"/>
                  </a:lnTo>
                  <a:lnTo>
                    <a:pt x="268" y="286"/>
                  </a:lnTo>
                  <a:lnTo>
                    <a:pt x="266" y="288"/>
                  </a:lnTo>
                  <a:lnTo>
                    <a:pt x="264" y="292"/>
                  </a:lnTo>
                  <a:lnTo>
                    <a:pt x="264" y="294"/>
                  </a:lnTo>
                  <a:lnTo>
                    <a:pt x="262" y="296"/>
                  </a:lnTo>
                  <a:lnTo>
                    <a:pt x="262" y="296"/>
                  </a:lnTo>
                  <a:lnTo>
                    <a:pt x="260" y="296"/>
                  </a:lnTo>
                  <a:lnTo>
                    <a:pt x="258" y="298"/>
                  </a:lnTo>
                  <a:lnTo>
                    <a:pt x="256" y="298"/>
                  </a:lnTo>
                  <a:lnTo>
                    <a:pt x="254" y="298"/>
                  </a:lnTo>
                  <a:lnTo>
                    <a:pt x="252" y="298"/>
                  </a:lnTo>
                  <a:lnTo>
                    <a:pt x="250" y="296"/>
                  </a:lnTo>
                  <a:lnTo>
                    <a:pt x="248" y="296"/>
                  </a:lnTo>
                  <a:lnTo>
                    <a:pt x="248" y="294"/>
                  </a:lnTo>
                  <a:lnTo>
                    <a:pt x="248" y="294"/>
                  </a:lnTo>
                  <a:lnTo>
                    <a:pt x="248" y="290"/>
                  </a:lnTo>
                  <a:lnTo>
                    <a:pt x="250" y="286"/>
                  </a:lnTo>
                  <a:lnTo>
                    <a:pt x="252" y="280"/>
                  </a:lnTo>
                  <a:lnTo>
                    <a:pt x="252" y="276"/>
                  </a:lnTo>
                  <a:lnTo>
                    <a:pt x="254" y="270"/>
                  </a:lnTo>
                  <a:lnTo>
                    <a:pt x="254" y="266"/>
                  </a:lnTo>
                  <a:lnTo>
                    <a:pt x="256" y="264"/>
                  </a:lnTo>
                  <a:lnTo>
                    <a:pt x="256" y="264"/>
                  </a:lnTo>
                  <a:lnTo>
                    <a:pt x="256" y="262"/>
                  </a:lnTo>
                  <a:lnTo>
                    <a:pt x="256" y="260"/>
                  </a:lnTo>
                  <a:lnTo>
                    <a:pt x="256" y="260"/>
                  </a:lnTo>
                  <a:lnTo>
                    <a:pt x="254" y="260"/>
                  </a:lnTo>
                  <a:lnTo>
                    <a:pt x="254" y="258"/>
                  </a:lnTo>
                  <a:lnTo>
                    <a:pt x="254" y="258"/>
                  </a:lnTo>
                  <a:lnTo>
                    <a:pt x="254" y="258"/>
                  </a:lnTo>
                  <a:lnTo>
                    <a:pt x="252" y="256"/>
                  </a:lnTo>
                  <a:lnTo>
                    <a:pt x="252" y="256"/>
                  </a:lnTo>
                  <a:lnTo>
                    <a:pt x="250" y="256"/>
                  </a:lnTo>
                  <a:lnTo>
                    <a:pt x="250" y="256"/>
                  </a:lnTo>
                  <a:lnTo>
                    <a:pt x="250" y="256"/>
                  </a:lnTo>
                  <a:lnTo>
                    <a:pt x="248" y="256"/>
                  </a:lnTo>
                  <a:lnTo>
                    <a:pt x="246" y="256"/>
                  </a:lnTo>
                  <a:lnTo>
                    <a:pt x="246" y="256"/>
                  </a:lnTo>
                  <a:lnTo>
                    <a:pt x="246" y="256"/>
                  </a:lnTo>
                  <a:lnTo>
                    <a:pt x="242" y="258"/>
                  </a:lnTo>
                  <a:lnTo>
                    <a:pt x="240" y="258"/>
                  </a:lnTo>
                  <a:lnTo>
                    <a:pt x="238" y="258"/>
                  </a:lnTo>
                  <a:lnTo>
                    <a:pt x="234" y="260"/>
                  </a:lnTo>
                  <a:lnTo>
                    <a:pt x="234" y="260"/>
                  </a:lnTo>
                  <a:lnTo>
                    <a:pt x="234" y="260"/>
                  </a:lnTo>
                  <a:lnTo>
                    <a:pt x="230" y="264"/>
                  </a:lnTo>
                  <a:lnTo>
                    <a:pt x="230" y="264"/>
                  </a:lnTo>
                  <a:lnTo>
                    <a:pt x="228" y="264"/>
                  </a:lnTo>
                  <a:lnTo>
                    <a:pt x="228" y="266"/>
                  </a:lnTo>
                  <a:lnTo>
                    <a:pt x="228" y="266"/>
                  </a:lnTo>
                  <a:lnTo>
                    <a:pt x="226" y="266"/>
                  </a:lnTo>
                  <a:lnTo>
                    <a:pt x="226" y="268"/>
                  </a:lnTo>
                  <a:lnTo>
                    <a:pt x="226" y="268"/>
                  </a:lnTo>
                  <a:lnTo>
                    <a:pt x="226" y="270"/>
                  </a:lnTo>
                  <a:lnTo>
                    <a:pt x="224" y="272"/>
                  </a:lnTo>
                  <a:lnTo>
                    <a:pt x="224" y="272"/>
                  </a:lnTo>
                  <a:lnTo>
                    <a:pt x="224" y="272"/>
                  </a:lnTo>
                  <a:lnTo>
                    <a:pt x="224" y="276"/>
                  </a:lnTo>
                  <a:lnTo>
                    <a:pt x="224" y="280"/>
                  </a:lnTo>
                  <a:lnTo>
                    <a:pt x="224" y="284"/>
                  </a:lnTo>
                  <a:lnTo>
                    <a:pt x="224" y="288"/>
                  </a:lnTo>
                  <a:lnTo>
                    <a:pt x="224" y="292"/>
                  </a:lnTo>
                  <a:lnTo>
                    <a:pt x="224" y="292"/>
                  </a:lnTo>
                  <a:lnTo>
                    <a:pt x="224" y="292"/>
                  </a:lnTo>
                  <a:lnTo>
                    <a:pt x="224" y="292"/>
                  </a:lnTo>
                  <a:lnTo>
                    <a:pt x="220" y="290"/>
                  </a:lnTo>
                  <a:lnTo>
                    <a:pt x="218" y="286"/>
                  </a:lnTo>
                  <a:lnTo>
                    <a:pt x="214" y="284"/>
                  </a:lnTo>
                  <a:lnTo>
                    <a:pt x="212" y="280"/>
                  </a:lnTo>
                  <a:lnTo>
                    <a:pt x="210" y="276"/>
                  </a:lnTo>
                  <a:lnTo>
                    <a:pt x="208" y="274"/>
                  </a:lnTo>
                  <a:lnTo>
                    <a:pt x="206" y="270"/>
                  </a:lnTo>
                  <a:lnTo>
                    <a:pt x="204" y="268"/>
                  </a:lnTo>
                  <a:lnTo>
                    <a:pt x="202" y="262"/>
                  </a:lnTo>
                  <a:lnTo>
                    <a:pt x="200" y="258"/>
                  </a:lnTo>
                  <a:lnTo>
                    <a:pt x="200" y="254"/>
                  </a:lnTo>
                  <a:lnTo>
                    <a:pt x="198" y="252"/>
                  </a:lnTo>
                  <a:lnTo>
                    <a:pt x="196" y="250"/>
                  </a:lnTo>
                  <a:lnTo>
                    <a:pt x="196" y="250"/>
                  </a:lnTo>
                  <a:lnTo>
                    <a:pt x="196" y="248"/>
                  </a:lnTo>
                  <a:lnTo>
                    <a:pt x="196" y="248"/>
                  </a:lnTo>
                  <a:lnTo>
                    <a:pt x="196" y="248"/>
                  </a:lnTo>
                  <a:lnTo>
                    <a:pt x="196" y="248"/>
                  </a:lnTo>
                  <a:lnTo>
                    <a:pt x="196" y="248"/>
                  </a:lnTo>
                  <a:lnTo>
                    <a:pt x="196" y="248"/>
                  </a:lnTo>
                  <a:lnTo>
                    <a:pt x="194" y="246"/>
                  </a:lnTo>
                  <a:lnTo>
                    <a:pt x="192" y="246"/>
                  </a:lnTo>
                  <a:lnTo>
                    <a:pt x="192" y="246"/>
                  </a:lnTo>
                  <a:lnTo>
                    <a:pt x="190" y="248"/>
                  </a:lnTo>
                  <a:lnTo>
                    <a:pt x="190" y="248"/>
                  </a:lnTo>
                  <a:lnTo>
                    <a:pt x="190" y="248"/>
                  </a:lnTo>
                  <a:lnTo>
                    <a:pt x="190" y="250"/>
                  </a:lnTo>
                  <a:lnTo>
                    <a:pt x="190" y="252"/>
                  </a:lnTo>
                  <a:lnTo>
                    <a:pt x="190" y="254"/>
                  </a:lnTo>
                  <a:lnTo>
                    <a:pt x="192" y="258"/>
                  </a:lnTo>
                  <a:lnTo>
                    <a:pt x="192" y="262"/>
                  </a:lnTo>
                  <a:lnTo>
                    <a:pt x="192" y="266"/>
                  </a:lnTo>
                  <a:lnTo>
                    <a:pt x="192" y="268"/>
                  </a:lnTo>
                  <a:lnTo>
                    <a:pt x="192" y="270"/>
                  </a:lnTo>
                  <a:lnTo>
                    <a:pt x="192" y="270"/>
                  </a:lnTo>
                  <a:lnTo>
                    <a:pt x="192" y="272"/>
                  </a:lnTo>
                  <a:lnTo>
                    <a:pt x="190" y="274"/>
                  </a:lnTo>
                  <a:lnTo>
                    <a:pt x="186" y="278"/>
                  </a:lnTo>
                  <a:lnTo>
                    <a:pt x="186" y="278"/>
                  </a:lnTo>
                  <a:lnTo>
                    <a:pt x="186" y="278"/>
                  </a:lnTo>
                  <a:lnTo>
                    <a:pt x="184" y="276"/>
                  </a:lnTo>
                  <a:lnTo>
                    <a:pt x="182" y="274"/>
                  </a:lnTo>
                  <a:lnTo>
                    <a:pt x="182" y="274"/>
                  </a:lnTo>
                  <a:lnTo>
                    <a:pt x="182" y="274"/>
                  </a:lnTo>
                  <a:lnTo>
                    <a:pt x="180" y="272"/>
                  </a:lnTo>
                  <a:lnTo>
                    <a:pt x="180" y="272"/>
                  </a:lnTo>
                  <a:lnTo>
                    <a:pt x="180" y="272"/>
                  </a:lnTo>
                  <a:lnTo>
                    <a:pt x="178" y="272"/>
                  </a:lnTo>
                  <a:lnTo>
                    <a:pt x="178" y="272"/>
                  </a:lnTo>
                  <a:lnTo>
                    <a:pt x="178" y="272"/>
                  </a:lnTo>
                  <a:lnTo>
                    <a:pt x="176" y="272"/>
                  </a:lnTo>
                  <a:lnTo>
                    <a:pt x="172" y="272"/>
                  </a:lnTo>
                  <a:lnTo>
                    <a:pt x="166" y="274"/>
                  </a:lnTo>
                  <a:lnTo>
                    <a:pt x="162" y="274"/>
                  </a:lnTo>
                  <a:lnTo>
                    <a:pt x="160" y="276"/>
                  </a:lnTo>
                  <a:lnTo>
                    <a:pt x="158" y="278"/>
                  </a:lnTo>
                  <a:lnTo>
                    <a:pt x="158" y="278"/>
                  </a:lnTo>
                  <a:lnTo>
                    <a:pt x="156" y="278"/>
                  </a:lnTo>
                  <a:lnTo>
                    <a:pt x="154" y="278"/>
                  </a:lnTo>
                  <a:lnTo>
                    <a:pt x="154" y="278"/>
                  </a:lnTo>
                  <a:lnTo>
                    <a:pt x="154" y="280"/>
                  </a:lnTo>
                  <a:lnTo>
                    <a:pt x="154" y="280"/>
                  </a:lnTo>
                  <a:lnTo>
                    <a:pt x="154" y="280"/>
                  </a:lnTo>
                  <a:lnTo>
                    <a:pt x="152" y="282"/>
                  </a:lnTo>
                  <a:lnTo>
                    <a:pt x="152" y="284"/>
                  </a:lnTo>
                  <a:lnTo>
                    <a:pt x="152" y="284"/>
                  </a:lnTo>
                  <a:lnTo>
                    <a:pt x="152" y="284"/>
                  </a:lnTo>
                  <a:lnTo>
                    <a:pt x="150" y="288"/>
                  </a:lnTo>
                  <a:lnTo>
                    <a:pt x="150" y="288"/>
                  </a:lnTo>
                  <a:lnTo>
                    <a:pt x="150" y="288"/>
                  </a:lnTo>
                  <a:lnTo>
                    <a:pt x="150" y="294"/>
                  </a:lnTo>
                  <a:lnTo>
                    <a:pt x="150" y="298"/>
                  </a:lnTo>
                  <a:lnTo>
                    <a:pt x="152" y="300"/>
                  </a:lnTo>
                  <a:lnTo>
                    <a:pt x="152" y="302"/>
                  </a:lnTo>
                  <a:lnTo>
                    <a:pt x="152" y="306"/>
                  </a:lnTo>
                  <a:lnTo>
                    <a:pt x="152" y="306"/>
                  </a:lnTo>
                  <a:lnTo>
                    <a:pt x="152" y="306"/>
                  </a:lnTo>
                  <a:lnTo>
                    <a:pt x="150" y="306"/>
                  </a:lnTo>
                  <a:lnTo>
                    <a:pt x="146" y="304"/>
                  </a:lnTo>
                  <a:lnTo>
                    <a:pt x="144" y="302"/>
                  </a:lnTo>
                  <a:lnTo>
                    <a:pt x="140" y="302"/>
                  </a:lnTo>
                  <a:lnTo>
                    <a:pt x="136" y="300"/>
                  </a:lnTo>
                  <a:lnTo>
                    <a:pt x="132" y="298"/>
                  </a:lnTo>
                  <a:lnTo>
                    <a:pt x="132" y="298"/>
                  </a:lnTo>
                  <a:lnTo>
                    <a:pt x="132" y="298"/>
                  </a:lnTo>
                  <a:lnTo>
                    <a:pt x="130" y="298"/>
                  </a:lnTo>
                  <a:lnTo>
                    <a:pt x="130" y="298"/>
                  </a:lnTo>
                  <a:lnTo>
                    <a:pt x="128" y="300"/>
                  </a:lnTo>
                  <a:lnTo>
                    <a:pt x="126" y="302"/>
                  </a:lnTo>
                  <a:lnTo>
                    <a:pt x="126" y="302"/>
                  </a:lnTo>
                  <a:lnTo>
                    <a:pt x="126" y="302"/>
                  </a:lnTo>
                  <a:lnTo>
                    <a:pt x="126" y="306"/>
                  </a:lnTo>
                  <a:lnTo>
                    <a:pt x="126" y="306"/>
                  </a:lnTo>
                  <a:lnTo>
                    <a:pt x="126" y="306"/>
                  </a:lnTo>
                  <a:lnTo>
                    <a:pt x="126" y="308"/>
                  </a:lnTo>
                  <a:lnTo>
                    <a:pt x="126" y="312"/>
                  </a:lnTo>
                  <a:lnTo>
                    <a:pt x="126" y="316"/>
                  </a:lnTo>
                  <a:lnTo>
                    <a:pt x="128" y="318"/>
                  </a:lnTo>
                  <a:lnTo>
                    <a:pt x="128" y="320"/>
                  </a:lnTo>
                  <a:lnTo>
                    <a:pt x="128" y="322"/>
                  </a:lnTo>
                  <a:lnTo>
                    <a:pt x="128" y="322"/>
                  </a:lnTo>
                  <a:lnTo>
                    <a:pt x="126" y="322"/>
                  </a:lnTo>
                  <a:lnTo>
                    <a:pt x="124" y="322"/>
                  </a:lnTo>
                  <a:lnTo>
                    <a:pt x="124" y="322"/>
                  </a:lnTo>
                  <a:lnTo>
                    <a:pt x="120" y="322"/>
                  </a:lnTo>
                  <a:lnTo>
                    <a:pt x="118" y="320"/>
                  </a:lnTo>
                  <a:lnTo>
                    <a:pt x="118" y="320"/>
                  </a:lnTo>
                  <a:lnTo>
                    <a:pt x="118" y="320"/>
                  </a:lnTo>
                  <a:lnTo>
                    <a:pt x="116" y="318"/>
                  </a:lnTo>
                  <a:lnTo>
                    <a:pt x="118" y="316"/>
                  </a:lnTo>
                  <a:lnTo>
                    <a:pt x="118" y="314"/>
                  </a:lnTo>
                  <a:lnTo>
                    <a:pt x="118" y="310"/>
                  </a:lnTo>
                  <a:lnTo>
                    <a:pt x="118" y="308"/>
                  </a:lnTo>
                  <a:lnTo>
                    <a:pt x="118" y="308"/>
                  </a:lnTo>
                  <a:lnTo>
                    <a:pt x="118" y="304"/>
                  </a:lnTo>
                  <a:lnTo>
                    <a:pt x="118" y="304"/>
                  </a:lnTo>
                  <a:lnTo>
                    <a:pt x="116" y="304"/>
                  </a:lnTo>
                  <a:lnTo>
                    <a:pt x="116" y="302"/>
                  </a:lnTo>
                  <a:lnTo>
                    <a:pt x="116" y="302"/>
                  </a:lnTo>
                  <a:lnTo>
                    <a:pt x="114" y="302"/>
                  </a:lnTo>
                  <a:lnTo>
                    <a:pt x="112" y="300"/>
                  </a:lnTo>
                  <a:lnTo>
                    <a:pt x="112" y="300"/>
                  </a:lnTo>
                  <a:lnTo>
                    <a:pt x="112" y="300"/>
                  </a:lnTo>
                  <a:lnTo>
                    <a:pt x="110" y="298"/>
                  </a:lnTo>
                  <a:lnTo>
                    <a:pt x="106" y="298"/>
                  </a:lnTo>
                  <a:lnTo>
                    <a:pt x="102" y="298"/>
                  </a:lnTo>
                  <a:lnTo>
                    <a:pt x="98" y="296"/>
                  </a:lnTo>
                  <a:lnTo>
                    <a:pt x="94" y="296"/>
                  </a:lnTo>
                  <a:lnTo>
                    <a:pt x="90" y="298"/>
                  </a:lnTo>
                  <a:lnTo>
                    <a:pt x="90" y="298"/>
                  </a:lnTo>
                  <a:lnTo>
                    <a:pt x="90" y="298"/>
                  </a:lnTo>
                  <a:lnTo>
                    <a:pt x="88" y="298"/>
                  </a:lnTo>
                  <a:lnTo>
                    <a:pt x="88" y="298"/>
                  </a:lnTo>
                  <a:lnTo>
                    <a:pt x="86" y="298"/>
                  </a:lnTo>
                  <a:lnTo>
                    <a:pt x="86" y="300"/>
                  </a:lnTo>
                  <a:lnTo>
                    <a:pt x="86" y="300"/>
                  </a:lnTo>
                  <a:lnTo>
                    <a:pt x="84" y="302"/>
                  </a:lnTo>
                  <a:lnTo>
                    <a:pt x="84" y="304"/>
                  </a:lnTo>
                  <a:lnTo>
                    <a:pt x="84" y="304"/>
                  </a:lnTo>
                  <a:lnTo>
                    <a:pt x="84" y="304"/>
                  </a:lnTo>
                  <a:lnTo>
                    <a:pt x="84" y="306"/>
                  </a:lnTo>
                  <a:lnTo>
                    <a:pt x="84" y="310"/>
                  </a:lnTo>
                  <a:lnTo>
                    <a:pt x="84" y="312"/>
                  </a:lnTo>
                  <a:lnTo>
                    <a:pt x="84" y="314"/>
                  </a:lnTo>
                  <a:lnTo>
                    <a:pt x="84" y="316"/>
                  </a:lnTo>
                  <a:lnTo>
                    <a:pt x="84" y="316"/>
                  </a:lnTo>
                  <a:lnTo>
                    <a:pt x="82" y="318"/>
                  </a:lnTo>
                  <a:lnTo>
                    <a:pt x="80" y="318"/>
                  </a:lnTo>
                  <a:lnTo>
                    <a:pt x="78" y="318"/>
                  </a:lnTo>
                  <a:lnTo>
                    <a:pt x="76" y="318"/>
                  </a:lnTo>
                  <a:lnTo>
                    <a:pt x="74" y="320"/>
                  </a:lnTo>
                  <a:lnTo>
                    <a:pt x="70" y="318"/>
                  </a:lnTo>
                  <a:lnTo>
                    <a:pt x="66" y="318"/>
                  </a:lnTo>
                  <a:lnTo>
                    <a:pt x="64" y="316"/>
                  </a:lnTo>
                  <a:lnTo>
                    <a:pt x="60" y="316"/>
                  </a:lnTo>
                  <a:lnTo>
                    <a:pt x="54" y="312"/>
                  </a:lnTo>
                  <a:lnTo>
                    <a:pt x="50" y="308"/>
                  </a:lnTo>
                  <a:lnTo>
                    <a:pt x="44" y="306"/>
                  </a:lnTo>
                  <a:lnTo>
                    <a:pt x="38" y="302"/>
                  </a:lnTo>
                  <a:lnTo>
                    <a:pt x="32" y="298"/>
                  </a:lnTo>
                  <a:lnTo>
                    <a:pt x="28" y="294"/>
                  </a:lnTo>
                  <a:lnTo>
                    <a:pt x="24" y="292"/>
                  </a:lnTo>
                  <a:lnTo>
                    <a:pt x="22" y="290"/>
                  </a:lnTo>
                  <a:lnTo>
                    <a:pt x="20" y="290"/>
                  </a:lnTo>
                  <a:lnTo>
                    <a:pt x="20" y="288"/>
                  </a:lnTo>
                  <a:lnTo>
                    <a:pt x="18" y="288"/>
                  </a:lnTo>
                  <a:lnTo>
                    <a:pt x="18" y="288"/>
                  </a:lnTo>
                  <a:lnTo>
                    <a:pt x="18" y="288"/>
                  </a:lnTo>
                  <a:lnTo>
                    <a:pt x="18" y="288"/>
                  </a:lnTo>
                  <a:lnTo>
                    <a:pt x="18" y="288"/>
                  </a:lnTo>
                  <a:lnTo>
                    <a:pt x="16" y="288"/>
                  </a:lnTo>
                  <a:lnTo>
                    <a:pt x="16" y="288"/>
                  </a:lnTo>
                  <a:lnTo>
                    <a:pt x="16" y="288"/>
                  </a:lnTo>
                  <a:lnTo>
                    <a:pt x="14" y="286"/>
                  </a:lnTo>
                  <a:lnTo>
                    <a:pt x="14" y="282"/>
                  </a:lnTo>
                  <a:lnTo>
                    <a:pt x="12" y="280"/>
                  </a:lnTo>
                  <a:lnTo>
                    <a:pt x="12" y="280"/>
                  </a:lnTo>
                  <a:lnTo>
                    <a:pt x="12" y="280"/>
                  </a:lnTo>
                  <a:lnTo>
                    <a:pt x="10" y="278"/>
                  </a:lnTo>
                  <a:lnTo>
                    <a:pt x="10" y="278"/>
                  </a:lnTo>
                  <a:lnTo>
                    <a:pt x="10" y="278"/>
                  </a:lnTo>
                  <a:lnTo>
                    <a:pt x="8" y="278"/>
                  </a:lnTo>
                  <a:lnTo>
                    <a:pt x="8" y="278"/>
                  </a:lnTo>
                  <a:lnTo>
                    <a:pt x="8" y="278"/>
                  </a:lnTo>
                  <a:lnTo>
                    <a:pt x="6" y="278"/>
                  </a:lnTo>
                  <a:lnTo>
                    <a:pt x="6" y="280"/>
                  </a:lnTo>
                  <a:lnTo>
                    <a:pt x="6" y="280"/>
                  </a:lnTo>
                  <a:lnTo>
                    <a:pt x="4" y="280"/>
                  </a:lnTo>
                  <a:lnTo>
                    <a:pt x="4" y="282"/>
                  </a:lnTo>
                  <a:lnTo>
                    <a:pt x="4" y="284"/>
                  </a:lnTo>
                  <a:lnTo>
                    <a:pt x="4" y="288"/>
                  </a:lnTo>
                  <a:lnTo>
                    <a:pt x="4" y="292"/>
                  </a:lnTo>
                  <a:lnTo>
                    <a:pt x="4" y="298"/>
                  </a:lnTo>
                  <a:lnTo>
                    <a:pt x="4" y="304"/>
                  </a:lnTo>
                  <a:lnTo>
                    <a:pt x="2" y="310"/>
                  </a:lnTo>
                  <a:lnTo>
                    <a:pt x="2" y="318"/>
                  </a:lnTo>
                  <a:lnTo>
                    <a:pt x="2" y="326"/>
                  </a:lnTo>
                  <a:lnTo>
                    <a:pt x="2" y="336"/>
                  </a:lnTo>
                  <a:lnTo>
                    <a:pt x="2" y="346"/>
                  </a:lnTo>
                  <a:lnTo>
                    <a:pt x="2" y="356"/>
                  </a:lnTo>
                  <a:lnTo>
                    <a:pt x="2" y="376"/>
                  </a:lnTo>
                  <a:lnTo>
                    <a:pt x="2" y="398"/>
                  </a:lnTo>
                  <a:lnTo>
                    <a:pt x="2" y="442"/>
                  </a:lnTo>
                  <a:lnTo>
                    <a:pt x="2" y="452"/>
                  </a:lnTo>
                  <a:lnTo>
                    <a:pt x="2" y="464"/>
                  </a:lnTo>
                  <a:lnTo>
                    <a:pt x="2" y="476"/>
                  </a:lnTo>
                  <a:lnTo>
                    <a:pt x="2" y="488"/>
                  </a:lnTo>
                  <a:lnTo>
                    <a:pt x="2" y="514"/>
                  </a:lnTo>
                  <a:lnTo>
                    <a:pt x="0" y="538"/>
                  </a:lnTo>
                  <a:lnTo>
                    <a:pt x="0" y="552"/>
                  </a:lnTo>
                  <a:lnTo>
                    <a:pt x="0" y="564"/>
                  </a:lnTo>
                  <a:lnTo>
                    <a:pt x="0" y="574"/>
                  </a:lnTo>
                  <a:lnTo>
                    <a:pt x="0" y="586"/>
                  </a:lnTo>
                  <a:lnTo>
                    <a:pt x="0" y="596"/>
                  </a:lnTo>
                  <a:lnTo>
                    <a:pt x="0" y="604"/>
                  </a:lnTo>
                  <a:lnTo>
                    <a:pt x="0" y="612"/>
                  </a:lnTo>
                  <a:lnTo>
                    <a:pt x="0" y="618"/>
                  </a:lnTo>
                  <a:lnTo>
                    <a:pt x="0" y="624"/>
                  </a:lnTo>
                  <a:lnTo>
                    <a:pt x="2" y="628"/>
                  </a:lnTo>
                  <a:lnTo>
                    <a:pt x="2" y="632"/>
                  </a:lnTo>
                  <a:lnTo>
                    <a:pt x="2" y="634"/>
                  </a:lnTo>
                  <a:lnTo>
                    <a:pt x="2" y="634"/>
                  </a:lnTo>
                  <a:lnTo>
                    <a:pt x="2" y="636"/>
                  </a:lnTo>
                  <a:lnTo>
                    <a:pt x="4" y="636"/>
                  </a:lnTo>
                  <a:lnTo>
                    <a:pt x="4" y="636"/>
                  </a:lnTo>
                  <a:lnTo>
                    <a:pt x="4" y="638"/>
                  </a:lnTo>
                  <a:lnTo>
                    <a:pt x="4" y="638"/>
                  </a:lnTo>
                  <a:lnTo>
                    <a:pt x="4" y="638"/>
                  </a:lnTo>
                  <a:lnTo>
                    <a:pt x="6" y="640"/>
                  </a:lnTo>
                  <a:lnTo>
                    <a:pt x="6" y="640"/>
                  </a:lnTo>
                  <a:lnTo>
                    <a:pt x="6" y="640"/>
                  </a:lnTo>
                  <a:lnTo>
                    <a:pt x="8" y="640"/>
                  </a:lnTo>
                  <a:lnTo>
                    <a:pt x="8" y="640"/>
                  </a:lnTo>
                  <a:lnTo>
                    <a:pt x="8" y="640"/>
                  </a:lnTo>
                  <a:lnTo>
                    <a:pt x="10" y="640"/>
                  </a:lnTo>
                  <a:lnTo>
                    <a:pt x="12" y="638"/>
                  </a:lnTo>
                  <a:lnTo>
                    <a:pt x="14" y="636"/>
                  </a:lnTo>
                  <a:lnTo>
                    <a:pt x="14" y="636"/>
                  </a:lnTo>
                  <a:lnTo>
                    <a:pt x="14" y="636"/>
                  </a:lnTo>
                  <a:lnTo>
                    <a:pt x="18" y="638"/>
                  </a:lnTo>
                  <a:lnTo>
                    <a:pt x="24" y="642"/>
                  </a:lnTo>
                  <a:lnTo>
                    <a:pt x="28" y="644"/>
                  </a:lnTo>
                  <a:lnTo>
                    <a:pt x="32" y="646"/>
                  </a:lnTo>
                  <a:lnTo>
                    <a:pt x="34" y="648"/>
                  </a:lnTo>
                  <a:lnTo>
                    <a:pt x="40" y="654"/>
                  </a:lnTo>
                  <a:lnTo>
                    <a:pt x="48" y="660"/>
                  </a:lnTo>
                  <a:lnTo>
                    <a:pt x="54" y="666"/>
                  </a:lnTo>
                  <a:lnTo>
                    <a:pt x="60" y="674"/>
                  </a:lnTo>
                  <a:lnTo>
                    <a:pt x="64" y="678"/>
                  </a:lnTo>
                  <a:lnTo>
                    <a:pt x="66" y="682"/>
                  </a:lnTo>
                  <a:lnTo>
                    <a:pt x="72" y="694"/>
                  </a:lnTo>
                  <a:lnTo>
                    <a:pt x="78" y="704"/>
                  </a:lnTo>
                  <a:lnTo>
                    <a:pt x="82" y="708"/>
                  </a:lnTo>
                  <a:lnTo>
                    <a:pt x="84" y="714"/>
                  </a:lnTo>
                  <a:lnTo>
                    <a:pt x="90" y="722"/>
                  </a:lnTo>
                  <a:lnTo>
                    <a:pt x="96" y="730"/>
                  </a:lnTo>
                  <a:lnTo>
                    <a:pt x="102" y="736"/>
                  </a:lnTo>
                  <a:lnTo>
                    <a:pt x="106" y="744"/>
                  </a:lnTo>
                  <a:lnTo>
                    <a:pt x="108" y="746"/>
                  </a:lnTo>
                  <a:lnTo>
                    <a:pt x="110" y="750"/>
                  </a:lnTo>
                  <a:lnTo>
                    <a:pt x="112" y="756"/>
                  </a:lnTo>
                  <a:lnTo>
                    <a:pt x="114" y="760"/>
                  </a:lnTo>
                  <a:lnTo>
                    <a:pt x="116" y="762"/>
                  </a:lnTo>
                  <a:lnTo>
                    <a:pt x="116" y="762"/>
                  </a:lnTo>
                  <a:lnTo>
                    <a:pt x="118" y="764"/>
                  </a:lnTo>
                  <a:lnTo>
                    <a:pt x="118" y="764"/>
                  </a:lnTo>
                  <a:lnTo>
                    <a:pt x="118" y="766"/>
                  </a:lnTo>
                  <a:lnTo>
                    <a:pt x="120" y="766"/>
                  </a:lnTo>
                  <a:lnTo>
                    <a:pt x="120" y="766"/>
                  </a:lnTo>
                  <a:lnTo>
                    <a:pt x="122" y="768"/>
                  </a:lnTo>
                  <a:lnTo>
                    <a:pt x="124" y="768"/>
                  </a:lnTo>
                  <a:lnTo>
                    <a:pt x="124" y="768"/>
                  </a:lnTo>
                  <a:lnTo>
                    <a:pt x="124" y="768"/>
                  </a:lnTo>
                  <a:lnTo>
                    <a:pt x="128" y="768"/>
                  </a:lnTo>
                  <a:lnTo>
                    <a:pt x="128" y="768"/>
                  </a:lnTo>
                  <a:lnTo>
                    <a:pt x="128" y="768"/>
                  </a:lnTo>
                  <a:lnTo>
                    <a:pt x="132" y="766"/>
                  </a:lnTo>
                  <a:lnTo>
                    <a:pt x="134" y="766"/>
                  </a:lnTo>
                  <a:lnTo>
                    <a:pt x="138" y="764"/>
                  </a:lnTo>
                  <a:lnTo>
                    <a:pt x="140" y="764"/>
                  </a:lnTo>
                  <a:lnTo>
                    <a:pt x="142" y="764"/>
                  </a:lnTo>
                  <a:lnTo>
                    <a:pt x="144" y="764"/>
                  </a:lnTo>
                  <a:lnTo>
                    <a:pt x="144" y="766"/>
                  </a:lnTo>
                  <a:lnTo>
                    <a:pt x="146" y="768"/>
                  </a:lnTo>
                  <a:lnTo>
                    <a:pt x="148" y="770"/>
                  </a:lnTo>
                  <a:lnTo>
                    <a:pt x="150" y="774"/>
                  </a:lnTo>
                  <a:lnTo>
                    <a:pt x="154" y="780"/>
                  </a:lnTo>
                  <a:lnTo>
                    <a:pt x="156" y="784"/>
                  </a:lnTo>
                  <a:lnTo>
                    <a:pt x="158" y="788"/>
                  </a:lnTo>
                  <a:lnTo>
                    <a:pt x="162" y="794"/>
                  </a:lnTo>
                  <a:lnTo>
                    <a:pt x="166" y="798"/>
                  </a:lnTo>
                  <a:lnTo>
                    <a:pt x="170" y="804"/>
                  </a:lnTo>
                  <a:lnTo>
                    <a:pt x="174" y="808"/>
                  </a:lnTo>
                  <a:lnTo>
                    <a:pt x="174" y="812"/>
                  </a:lnTo>
                  <a:lnTo>
                    <a:pt x="176" y="814"/>
                  </a:lnTo>
                  <a:lnTo>
                    <a:pt x="180" y="822"/>
                  </a:lnTo>
                  <a:lnTo>
                    <a:pt x="182" y="826"/>
                  </a:lnTo>
                  <a:lnTo>
                    <a:pt x="184" y="830"/>
                  </a:lnTo>
                  <a:lnTo>
                    <a:pt x="188" y="834"/>
                  </a:lnTo>
                  <a:lnTo>
                    <a:pt x="190" y="836"/>
                  </a:lnTo>
                  <a:lnTo>
                    <a:pt x="190" y="836"/>
                  </a:lnTo>
                  <a:lnTo>
                    <a:pt x="190" y="838"/>
                  </a:lnTo>
                  <a:lnTo>
                    <a:pt x="194" y="840"/>
                  </a:lnTo>
                  <a:lnTo>
                    <a:pt x="194" y="840"/>
                  </a:lnTo>
                  <a:lnTo>
                    <a:pt x="194" y="840"/>
                  </a:lnTo>
                  <a:lnTo>
                    <a:pt x="196" y="840"/>
                  </a:lnTo>
                  <a:lnTo>
                    <a:pt x="204" y="844"/>
                  </a:lnTo>
                  <a:lnTo>
                    <a:pt x="210" y="846"/>
                  </a:lnTo>
                  <a:lnTo>
                    <a:pt x="212" y="846"/>
                  </a:lnTo>
                  <a:lnTo>
                    <a:pt x="216" y="848"/>
                  </a:lnTo>
                  <a:lnTo>
                    <a:pt x="226" y="854"/>
                  </a:lnTo>
                  <a:lnTo>
                    <a:pt x="238" y="860"/>
                  </a:lnTo>
                  <a:lnTo>
                    <a:pt x="242" y="860"/>
                  </a:lnTo>
                  <a:lnTo>
                    <a:pt x="246" y="862"/>
                  </a:lnTo>
                  <a:lnTo>
                    <a:pt x="254" y="864"/>
                  </a:lnTo>
                  <a:lnTo>
                    <a:pt x="258" y="866"/>
                  </a:lnTo>
                  <a:lnTo>
                    <a:pt x="260" y="866"/>
                  </a:lnTo>
                  <a:lnTo>
                    <a:pt x="262" y="868"/>
                  </a:lnTo>
                  <a:lnTo>
                    <a:pt x="264" y="868"/>
                  </a:lnTo>
                  <a:lnTo>
                    <a:pt x="266" y="870"/>
                  </a:lnTo>
                  <a:lnTo>
                    <a:pt x="266" y="872"/>
                  </a:lnTo>
                  <a:lnTo>
                    <a:pt x="266" y="874"/>
                  </a:lnTo>
                  <a:lnTo>
                    <a:pt x="266" y="876"/>
                  </a:lnTo>
                  <a:lnTo>
                    <a:pt x="266" y="878"/>
                  </a:lnTo>
                  <a:lnTo>
                    <a:pt x="268" y="882"/>
                  </a:lnTo>
                  <a:lnTo>
                    <a:pt x="268" y="884"/>
                  </a:lnTo>
                  <a:lnTo>
                    <a:pt x="268" y="884"/>
                  </a:lnTo>
                  <a:lnTo>
                    <a:pt x="268" y="884"/>
                  </a:lnTo>
                  <a:lnTo>
                    <a:pt x="270" y="888"/>
                  </a:lnTo>
                  <a:lnTo>
                    <a:pt x="272" y="892"/>
                  </a:lnTo>
                  <a:lnTo>
                    <a:pt x="274" y="894"/>
                  </a:lnTo>
                  <a:lnTo>
                    <a:pt x="280" y="902"/>
                  </a:lnTo>
                  <a:lnTo>
                    <a:pt x="284" y="906"/>
                  </a:lnTo>
                  <a:lnTo>
                    <a:pt x="286" y="910"/>
                  </a:lnTo>
                  <a:lnTo>
                    <a:pt x="290" y="912"/>
                  </a:lnTo>
                  <a:lnTo>
                    <a:pt x="290" y="914"/>
                  </a:lnTo>
                  <a:lnTo>
                    <a:pt x="294" y="912"/>
                  </a:lnTo>
                  <a:lnTo>
                    <a:pt x="366" y="912"/>
                  </a:lnTo>
                  <a:lnTo>
                    <a:pt x="382" y="912"/>
                  </a:lnTo>
                  <a:lnTo>
                    <a:pt x="428" y="912"/>
                  </a:lnTo>
                  <a:lnTo>
                    <a:pt x="444" y="912"/>
                  </a:lnTo>
                  <a:lnTo>
                    <a:pt x="480" y="912"/>
                  </a:lnTo>
                  <a:lnTo>
                    <a:pt x="514" y="912"/>
                  </a:lnTo>
                  <a:lnTo>
                    <a:pt x="550" y="912"/>
                  </a:lnTo>
                  <a:lnTo>
                    <a:pt x="584" y="912"/>
                  </a:lnTo>
                  <a:lnTo>
                    <a:pt x="600" y="912"/>
                  </a:lnTo>
                  <a:lnTo>
                    <a:pt x="616" y="912"/>
                  </a:lnTo>
                  <a:lnTo>
                    <a:pt x="632" y="912"/>
                  </a:lnTo>
                  <a:lnTo>
                    <a:pt x="648" y="912"/>
                  </a:lnTo>
                  <a:lnTo>
                    <a:pt x="662" y="912"/>
                  </a:lnTo>
                  <a:lnTo>
                    <a:pt x="676" y="912"/>
                  </a:lnTo>
                  <a:lnTo>
                    <a:pt x="690" y="912"/>
                  </a:lnTo>
                  <a:lnTo>
                    <a:pt x="702" y="912"/>
                  </a:lnTo>
                  <a:lnTo>
                    <a:pt x="714" y="912"/>
                  </a:lnTo>
                  <a:lnTo>
                    <a:pt x="724" y="912"/>
                  </a:lnTo>
                  <a:lnTo>
                    <a:pt x="734" y="912"/>
                  </a:lnTo>
                  <a:lnTo>
                    <a:pt x="742" y="910"/>
                  </a:lnTo>
                  <a:lnTo>
                    <a:pt x="750" y="910"/>
                  </a:lnTo>
                  <a:lnTo>
                    <a:pt x="756" y="910"/>
                  </a:lnTo>
                  <a:lnTo>
                    <a:pt x="762" y="910"/>
                  </a:lnTo>
                  <a:lnTo>
                    <a:pt x="766" y="910"/>
                  </a:lnTo>
                  <a:lnTo>
                    <a:pt x="770" y="910"/>
                  </a:lnTo>
                  <a:lnTo>
                    <a:pt x="774" y="910"/>
                  </a:lnTo>
                  <a:lnTo>
                    <a:pt x="778" y="910"/>
                  </a:lnTo>
                  <a:lnTo>
                    <a:pt x="780" y="910"/>
                  </a:lnTo>
                  <a:lnTo>
                    <a:pt x="782" y="908"/>
                  </a:lnTo>
                  <a:lnTo>
                    <a:pt x="784" y="908"/>
                  </a:lnTo>
                  <a:lnTo>
                    <a:pt x="786" y="908"/>
                  </a:lnTo>
                  <a:lnTo>
                    <a:pt x="786" y="908"/>
                  </a:lnTo>
                  <a:lnTo>
                    <a:pt x="786" y="908"/>
                  </a:lnTo>
                  <a:lnTo>
                    <a:pt x="786" y="908"/>
                  </a:lnTo>
                  <a:lnTo>
                    <a:pt x="788" y="908"/>
                  </a:lnTo>
                  <a:lnTo>
                    <a:pt x="788" y="908"/>
                  </a:lnTo>
                  <a:lnTo>
                    <a:pt x="788" y="906"/>
                  </a:lnTo>
                  <a:lnTo>
                    <a:pt x="788" y="906"/>
                  </a:lnTo>
                  <a:lnTo>
                    <a:pt x="788" y="906"/>
                  </a:lnTo>
                  <a:lnTo>
                    <a:pt x="788" y="902"/>
                  </a:lnTo>
                  <a:lnTo>
                    <a:pt x="786" y="902"/>
                  </a:lnTo>
                  <a:lnTo>
                    <a:pt x="786" y="902"/>
                  </a:lnTo>
                  <a:lnTo>
                    <a:pt x="786" y="902"/>
                  </a:lnTo>
                  <a:lnTo>
                    <a:pt x="784" y="900"/>
                  </a:lnTo>
                  <a:lnTo>
                    <a:pt x="782" y="900"/>
                  </a:lnTo>
                  <a:lnTo>
                    <a:pt x="776" y="898"/>
                  </a:lnTo>
                  <a:lnTo>
                    <a:pt x="776" y="898"/>
                  </a:lnTo>
                  <a:lnTo>
                    <a:pt x="776" y="898"/>
                  </a:lnTo>
                  <a:lnTo>
                    <a:pt x="776" y="898"/>
                  </a:lnTo>
                  <a:lnTo>
                    <a:pt x="776" y="896"/>
                  </a:lnTo>
                  <a:lnTo>
                    <a:pt x="776" y="894"/>
                  </a:lnTo>
                  <a:lnTo>
                    <a:pt x="776" y="894"/>
                  </a:lnTo>
                  <a:lnTo>
                    <a:pt x="776" y="894"/>
                  </a:lnTo>
                  <a:lnTo>
                    <a:pt x="776" y="892"/>
                  </a:lnTo>
                  <a:lnTo>
                    <a:pt x="776" y="892"/>
                  </a:lnTo>
                  <a:lnTo>
                    <a:pt x="778" y="892"/>
                  </a:lnTo>
                  <a:lnTo>
                    <a:pt x="780" y="894"/>
                  </a:lnTo>
                  <a:lnTo>
                    <a:pt x="784" y="896"/>
                  </a:lnTo>
                  <a:lnTo>
                    <a:pt x="786" y="896"/>
                  </a:lnTo>
                  <a:lnTo>
                    <a:pt x="788" y="896"/>
                  </a:lnTo>
                  <a:lnTo>
                    <a:pt x="792" y="896"/>
                  </a:lnTo>
                  <a:lnTo>
                    <a:pt x="798" y="898"/>
                  </a:lnTo>
                  <a:lnTo>
                    <a:pt x="802" y="898"/>
                  </a:lnTo>
                  <a:lnTo>
                    <a:pt x="804" y="898"/>
                  </a:lnTo>
                  <a:lnTo>
                    <a:pt x="808" y="898"/>
                  </a:lnTo>
                  <a:lnTo>
                    <a:pt x="808" y="900"/>
                  </a:lnTo>
                  <a:lnTo>
                    <a:pt x="808" y="900"/>
                  </a:lnTo>
                  <a:lnTo>
                    <a:pt x="808" y="900"/>
                  </a:lnTo>
                  <a:lnTo>
                    <a:pt x="808" y="902"/>
                  </a:lnTo>
                  <a:lnTo>
                    <a:pt x="808" y="904"/>
                  </a:lnTo>
                  <a:lnTo>
                    <a:pt x="808" y="906"/>
                  </a:lnTo>
                  <a:lnTo>
                    <a:pt x="808" y="908"/>
                  </a:lnTo>
                  <a:lnTo>
                    <a:pt x="808" y="908"/>
                  </a:lnTo>
                  <a:lnTo>
                    <a:pt x="808" y="908"/>
                  </a:lnTo>
                  <a:lnTo>
                    <a:pt x="810" y="910"/>
                  </a:lnTo>
                  <a:lnTo>
                    <a:pt x="810" y="910"/>
                  </a:lnTo>
                  <a:lnTo>
                    <a:pt x="810" y="912"/>
                  </a:lnTo>
                  <a:lnTo>
                    <a:pt x="810" y="912"/>
                  </a:lnTo>
                  <a:lnTo>
                    <a:pt x="810" y="912"/>
                  </a:lnTo>
                  <a:lnTo>
                    <a:pt x="812" y="914"/>
                  </a:lnTo>
                  <a:lnTo>
                    <a:pt x="814" y="914"/>
                  </a:lnTo>
                  <a:lnTo>
                    <a:pt x="814" y="914"/>
                  </a:lnTo>
                  <a:lnTo>
                    <a:pt x="814" y="914"/>
                  </a:lnTo>
                  <a:lnTo>
                    <a:pt x="818" y="916"/>
                  </a:lnTo>
                  <a:lnTo>
                    <a:pt x="820" y="916"/>
                  </a:lnTo>
                  <a:lnTo>
                    <a:pt x="824" y="916"/>
                  </a:lnTo>
                  <a:lnTo>
                    <a:pt x="828" y="916"/>
                  </a:lnTo>
                  <a:lnTo>
                    <a:pt x="830" y="918"/>
                  </a:lnTo>
                  <a:lnTo>
                    <a:pt x="832" y="918"/>
                  </a:lnTo>
                  <a:lnTo>
                    <a:pt x="834" y="918"/>
                  </a:lnTo>
                  <a:lnTo>
                    <a:pt x="834" y="920"/>
                  </a:lnTo>
                  <a:lnTo>
                    <a:pt x="834" y="922"/>
                  </a:lnTo>
                  <a:lnTo>
                    <a:pt x="832" y="926"/>
                  </a:lnTo>
                  <a:lnTo>
                    <a:pt x="830" y="930"/>
                  </a:lnTo>
                  <a:lnTo>
                    <a:pt x="830" y="934"/>
                  </a:lnTo>
                  <a:lnTo>
                    <a:pt x="830" y="938"/>
                  </a:lnTo>
                  <a:lnTo>
                    <a:pt x="830" y="938"/>
                  </a:lnTo>
                  <a:lnTo>
                    <a:pt x="830" y="938"/>
                  </a:lnTo>
                  <a:lnTo>
                    <a:pt x="830" y="942"/>
                  </a:lnTo>
                  <a:lnTo>
                    <a:pt x="830" y="942"/>
                  </a:lnTo>
                  <a:lnTo>
                    <a:pt x="830" y="942"/>
                  </a:lnTo>
                  <a:lnTo>
                    <a:pt x="830" y="944"/>
                  </a:lnTo>
                  <a:lnTo>
                    <a:pt x="830" y="944"/>
                  </a:lnTo>
                  <a:lnTo>
                    <a:pt x="830" y="944"/>
                  </a:lnTo>
                  <a:lnTo>
                    <a:pt x="832" y="946"/>
                  </a:lnTo>
                  <a:lnTo>
                    <a:pt x="832" y="946"/>
                  </a:lnTo>
                  <a:lnTo>
                    <a:pt x="832" y="946"/>
                  </a:lnTo>
                  <a:lnTo>
                    <a:pt x="834" y="948"/>
                  </a:lnTo>
                  <a:lnTo>
                    <a:pt x="834" y="948"/>
                  </a:lnTo>
                  <a:lnTo>
                    <a:pt x="840" y="952"/>
                  </a:lnTo>
                  <a:lnTo>
                    <a:pt x="844" y="954"/>
                  </a:lnTo>
                  <a:lnTo>
                    <a:pt x="850" y="956"/>
                  </a:lnTo>
                  <a:lnTo>
                    <a:pt x="856" y="958"/>
                  </a:lnTo>
                  <a:lnTo>
                    <a:pt x="860" y="960"/>
                  </a:lnTo>
                  <a:lnTo>
                    <a:pt x="864" y="962"/>
                  </a:lnTo>
                  <a:lnTo>
                    <a:pt x="868" y="964"/>
                  </a:lnTo>
                  <a:lnTo>
                    <a:pt x="868" y="964"/>
                  </a:lnTo>
                  <a:lnTo>
                    <a:pt x="870" y="964"/>
                  </a:lnTo>
                  <a:lnTo>
                    <a:pt x="872" y="964"/>
                  </a:lnTo>
                  <a:lnTo>
                    <a:pt x="872" y="964"/>
                  </a:lnTo>
                  <a:lnTo>
                    <a:pt x="872" y="964"/>
                  </a:lnTo>
                  <a:lnTo>
                    <a:pt x="876" y="964"/>
                  </a:lnTo>
                  <a:lnTo>
                    <a:pt x="876" y="964"/>
                  </a:lnTo>
                  <a:lnTo>
                    <a:pt x="876" y="962"/>
                  </a:lnTo>
                  <a:lnTo>
                    <a:pt x="878" y="962"/>
                  </a:lnTo>
                  <a:lnTo>
                    <a:pt x="878" y="962"/>
                  </a:lnTo>
                  <a:lnTo>
                    <a:pt x="878" y="962"/>
                  </a:lnTo>
                  <a:lnTo>
                    <a:pt x="880" y="960"/>
                  </a:lnTo>
                  <a:lnTo>
                    <a:pt x="882" y="960"/>
                  </a:lnTo>
                  <a:lnTo>
                    <a:pt x="882" y="958"/>
                  </a:lnTo>
                  <a:lnTo>
                    <a:pt x="882" y="958"/>
                  </a:lnTo>
                  <a:lnTo>
                    <a:pt x="884" y="958"/>
                  </a:lnTo>
                  <a:lnTo>
                    <a:pt x="884" y="960"/>
                  </a:lnTo>
                  <a:lnTo>
                    <a:pt x="886" y="960"/>
                  </a:lnTo>
                  <a:lnTo>
                    <a:pt x="888" y="962"/>
                  </a:lnTo>
                  <a:lnTo>
                    <a:pt x="892" y="966"/>
                  </a:lnTo>
                  <a:lnTo>
                    <a:pt x="896" y="970"/>
                  </a:lnTo>
                  <a:lnTo>
                    <a:pt x="898" y="972"/>
                  </a:lnTo>
                  <a:lnTo>
                    <a:pt x="898" y="974"/>
                  </a:lnTo>
                  <a:lnTo>
                    <a:pt x="900" y="978"/>
                  </a:lnTo>
                  <a:lnTo>
                    <a:pt x="902" y="982"/>
                  </a:lnTo>
                  <a:lnTo>
                    <a:pt x="904" y="984"/>
                  </a:lnTo>
                  <a:lnTo>
                    <a:pt x="904" y="984"/>
                  </a:lnTo>
                  <a:lnTo>
                    <a:pt x="902" y="984"/>
                  </a:lnTo>
                  <a:lnTo>
                    <a:pt x="900" y="984"/>
                  </a:lnTo>
                  <a:lnTo>
                    <a:pt x="896" y="982"/>
                  </a:lnTo>
                  <a:lnTo>
                    <a:pt x="892" y="982"/>
                  </a:lnTo>
                  <a:lnTo>
                    <a:pt x="888" y="980"/>
                  </a:lnTo>
                  <a:lnTo>
                    <a:pt x="884" y="980"/>
                  </a:lnTo>
                  <a:lnTo>
                    <a:pt x="884" y="980"/>
                  </a:lnTo>
                  <a:lnTo>
                    <a:pt x="884" y="980"/>
                  </a:lnTo>
                  <a:lnTo>
                    <a:pt x="880" y="980"/>
                  </a:lnTo>
                  <a:lnTo>
                    <a:pt x="880" y="980"/>
                  </a:lnTo>
                  <a:lnTo>
                    <a:pt x="880" y="980"/>
                  </a:lnTo>
                  <a:lnTo>
                    <a:pt x="876" y="982"/>
                  </a:lnTo>
                  <a:lnTo>
                    <a:pt x="876" y="982"/>
                  </a:lnTo>
                  <a:lnTo>
                    <a:pt x="876" y="982"/>
                  </a:lnTo>
                  <a:lnTo>
                    <a:pt x="872" y="984"/>
                  </a:lnTo>
                  <a:lnTo>
                    <a:pt x="872" y="984"/>
                  </a:lnTo>
                  <a:lnTo>
                    <a:pt x="872" y="986"/>
                  </a:lnTo>
                  <a:lnTo>
                    <a:pt x="870" y="988"/>
                  </a:lnTo>
                  <a:lnTo>
                    <a:pt x="868" y="994"/>
                  </a:lnTo>
                  <a:lnTo>
                    <a:pt x="866" y="998"/>
                  </a:lnTo>
                  <a:lnTo>
                    <a:pt x="864" y="1008"/>
                  </a:lnTo>
                  <a:lnTo>
                    <a:pt x="862" y="1012"/>
                  </a:lnTo>
                  <a:lnTo>
                    <a:pt x="860" y="1016"/>
                  </a:lnTo>
                  <a:lnTo>
                    <a:pt x="856" y="1022"/>
                  </a:lnTo>
                  <a:lnTo>
                    <a:pt x="852" y="1030"/>
                  </a:lnTo>
                  <a:lnTo>
                    <a:pt x="850" y="1034"/>
                  </a:lnTo>
                  <a:lnTo>
                    <a:pt x="848" y="1036"/>
                  </a:lnTo>
                  <a:lnTo>
                    <a:pt x="846" y="1040"/>
                  </a:lnTo>
                  <a:lnTo>
                    <a:pt x="846" y="1042"/>
                  </a:lnTo>
                  <a:lnTo>
                    <a:pt x="846" y="1044"/>
                  </a:lnTo>
                  <a:lnTo>
                    <a:pt x="846" y="1044"/>
                  </a:lnTo>
                  <a:lnTo>
                    <a:pt x="846" y="1044"/>
                  </a:lnTo>
                  <a:lnTo>
                    <a:pt x="846" y="1046"/>
                  </a:lnTo>
                  <a:lnTo>
                    <a:pt x="846" y="1046"/>
                  </a:lnTo>
                  <a:lnTo>
                    <a:pt x="846" y="1046"/>
                  </a:lnTo>
                  <a:lnTo>
                    <a:pt x="846" y="1050"/>
                  </a:lnTo>
                  <a:lnTo>
                    <a:pt x="846" y="1050"/>
                  </a:lnTo>
                  <a:lnTo>
                    <a:pt x="846" y="1050"/>
                  </a:lnTo>
                  <a:lnTo>
                    <a:pt x="848" y="1050"/>
                  </a:lnTo>
                  <a:lnTo>
                    <a:pt x="848" y="1050"/>
                  </a:lnTo>
                  <a:lnTo>
                    <a:pt x="848" y="1052"/>
                  </a:lnTo>
                  <a:lnTo>
                    <a:pt x="848" y="1052"/>
                  </a:lnTo>
                  <a:lnTo>
                    <a:pt x="848" y="1052"/>
                  </a:lnTo>
                  <a:lnTo>
                    <a:pt x="850" y="1052"/>
                  </a:lnTo>
                  <a:lnTo>
                    <a:pt x="852" y="1052"/>
                  </a:lnTo>
                  <a:lnTo>
                    <a:pt x="852" y="1052"/>
                  </a:lnTo>
                  <a:lnTo>
                    <a:pt x="852" y="1052"/>
                  </a:lnTo>
                  <a:lnTo>
                    <a:pt x="854" y="1052"/>
                  </a:lnTo>
                  <a:lnTo>
                    <a:pt x="854" y="1052"/>
                  </a:lnTo>
                  <a:lnTo>
                    <a:pt x="854" y="1050"/>
                  </a:lnTo>
                  <a:lnTo>
                    <a:pt x="854" y="1050"/>
                  </a:lnTo>
                  <a:lnTo>
                    <a:pt x="854" y="1050"/>
                  </a:lnTo>
                  <a:lnTo>
                    <a:pt x="856" y="1048"/>
                  </a:lnTo>
                  <a:lnTo>
                    <a:pt x="856" y="1046"/>
                  </a:lnTo>
                  <a:lnTo>
                    <a:pt x="856" y="1044"/>
                  </a:lnTo>
                  <a:lnTo>
                    <a:pt x="858" y="1042"/>
                  </a:lnTo>
                  <a:lnTo>
                    <a:pt x="858" y="1038"/>
                  </a:lnTo>
                  <a:lnTo>
                    <a:pt x="860" y="1036"/>
                  </a:lnTo>
                  <a:lnTo>
                    <a:pt x="862" y="1034"/>
                  </a:lnTo>
                  <a:lnTo>
                    <a:pt x="864" y="1032"/>
                  </a:lnTo>
                  <a:lnTo>
                    <a:pt x="866" y="1032"/>
                  </a:lnTo>
                  <a:lnTo>
                    <a:pt x="868" y="1032"/>
                  </a:lnTo>
                  <a:lnTo>
                    <a:pt x="874" y="1030"/>
                  </a:lnTo>
                  <a:lnTo>
                    <a:pt x="880" y="1030"/>
                  </a:lnTo>
                  <a:lnTo>
                    <a:pt x="886" y="1030"/>
                  </a:lnTo>
                  <a:lnTo>
                    <a:pt x="892" y="1030"/>
                  </a:lnTo>
                  <a:lnTo>
                    <a:pt x="900" y="1028"/>
                  </a:lnTo>
                  <a:lnTo>
                    <a:pt x="904" y="1028"/>
                  </a:lnTo>
                  <a:lnTo>
                    <a:pt x="906" y="1028"/>
                  </a:lnTo>
                  <a:lnTo>
                    <a:pt x="908" y="1026"/>
                  </a:lnTo>
                  <a:lnTo>
                    <a:pt x="908" y="1026"/>
                  </a:lnTo>
                  <a:lnTo>
                    <a:pt x="910" y="1026"/>
                  </a:lnTo>
                  <a:lnTo>
                    <a:pt x="912" y="1024"/>
                  </a:lnTo>
                  <a:lnTo>
                    <a:pt x="912" y="1024"/>
                  </a:lnTo>
                  <a:lnTo>
                    <a:pt x="912" y="1024"/>
                  </a:lnTo>
                  <a:lnTo>
                    <a:pt x="914" y="1020"/>
                  </a:lnTo>
                  <a:lnTo>
                    <a:pt x="914" y="1020"/>
                  </a:lnTo>
                  <a:lnTo>
                    <a:pt x="914" y="1020"/>
                  </a:lnTo>
                  <a:lnTo>
                    <a:pt x="914" y="1018"/>
                  </a:lnTo>
                  <a:lnTo>
                    <a:pt x="914" y="1016"/>
                  </a:lnTo>
                  <a:lnTo>
                    <a:pt x="914" y="1014"/>
                  </a:lnTo>
                  <a:lnTo>
                    <a:pt x="914" y="1010"/>
                  </a:lnTo>
                  <a:lnTo>
                    <a:pt x="914" y="1008"/>
                  </a:lnTo>
                  <a:lnTo>
                    <a:pt x="916" y="1006"/>
                  </a:lnTo>
                  <a:lnTo>
                    <a:pt x="916" y="1006"/>
                  </a:lnTo>
                  <a:lnTo>
                    <a:pt x="918" y="1004"/>
                  </a:lnTo>
                  <a:lnTo>
                    <a:pt x="920" y="1004"/>
                  </a:lnTo>
                  <a:lnTo>
                    <a:pt x="922" y="1004"/>
                  </a:lnTo>
                  <a:lnTo>
                    <a:pt x="926" y="1004"/>
                  </a:lnTo>
                  <a:lnTo>
                    <a:pt x="932" y="1004"/>
                  </a:lnTo>
                  <a:lnTo>
                    <a:pt x="936" y="1004"/>
                  </a:lnTo>
                  <a:lnTo>
                    <a:pt x="940" y="1002"/>
                  </a:lnTo>
                  <a:lnTo>
                    <a:pt x="940" y="1002"/>
                  </a:lnTo>
                  <a:lnTo>
                    <a:pt x="940" y="1002"/>
                  </a:lnTo>
                  <a:lnTo>
                    <a:pt x="944" y="1002"/>
                  </a:lnTo>
                  <a:lnTo>
                    <a:pt x="944" y="1002"/>
                  </a:lnTo>
                  <a:lnTo>
                    <a:pt x="944" y="1002"/>
                  </a:lnTo>
                  <a:lnTo>
                    <a:pt x="948" y="1000"/>
                  </a:lnTo>
                  <a:lnTo>
                    <a:pt x="954" y="994"/>
                  </a:lnTo>
                  <a:lnTo>
                    <a:pt x="956" y="992"/>
                  </a:lnTo>
                  <a:lnTo>
                    <a:pt x="960" y="990"/>
                  </a:lnTo>
                  <a:lnTo>
                    <a:pt x="964" y="988"/>
                  </a:lnTo>
                  <a:lnTo>
                    <a:pt x="968" y="986"/>
                  </a:lnTo>
                  <a:lnTo>
                    <a:pt x="970" y="986"/>
                  </a:lnTo>
                  <a:lnTo>
                    <a:pt x="974" y="986"/>
                  </a:lnTo>
                  <a:lnTo>
                    <a:pt x="980" y="984"/>
                  </a:lnTo>
                  <a:lnTo>
                    <a:pt x="988" y="984"/>
                  </a:lnTo>
                  <a:lnTo>
                    <a:pt x="998" y="984"/>
                  </a:lnTo>
                  <a:lnTo>
                    <a:pt x="1006" y="984"/>
                  </a:lnTo>
                  <a:lnTo>
                    <a:pt x="1014" y="982"/>
                  </a:lnTo>
                  <a:lnTo>
                    <a:pt x="1018" y="982"/>
                  </a:lnTo>
                  <a:lnTo>
                    <a:pt x="1020" y="982"/>
                  </a:lnTo>
                  <a:lnTo>
                    <a:pt x="1024" y="982"/>
                  </a:lnTo>
                  <a:lnTo>
                    <a:pt x="1026" y="982"/>
                  </a:lnTo>
                  <a:lnTo>
                    <a:pt x="1030" y="980"/>
                  </a:lnTo>
                  <a:lnTo>
                    <a:pt x="1030" y="980"/>
                  </a:lnTo>
                  <a:lnTo>
                    <a:pt x="1030" y="980"/>
                  </a:lnTo>
                  <a:lnTo>
                    <a:pt x="1034" y="978"/>
                  </a:lnTo>
                  <a:lnTo>
                    <a:pt x="1034" y="978"/>
                  </a:lnTo>
                  <a:lnTo>
                    <a:pt x="1034" y="978"/>
                  </a:lnTo>
                  <a:lnTo>
                    <a:pt x="1036" y="976"/>
                  </a:lnTo>
                  <a:lnTo>
                    <a:pt x="1036" y="976"/>
                  </a:lnTo>
                  <a:lnTo>
                    <a:pt x="1036" y="976"/>
                  </a:lnTo>
                  <a:lnTo>
                    <a:pt x="1038" y="974"/>
                  </a:lnTo>
                  <a:lnTo>
                    <a:pt x="1038" y="974"/>
                  </a:lnTo>
                  <a:lnTo>
                    <a:pt x="1038" y="972"/>
                  </a:lnTo>
                  <a:lnTo>
                    <a:pt x="1038" y="970"/>
                  </a:lnTo>
                  <a:lnTo>
                    <a:pt x="1040" y="968"/>
                  </a:lnTo>
                  <a:lnTo>
                    <a:pt x="1040" y="968"/>
                  </a:lnTo>
                  <a:lnTo>
                    <a:pt x="1040" y="966"/>
                  </a:lnTo>
                  <a:lnTo>
                    <a:pt x="1046" y="960"/>
                  </a:lnTo>
                  <a:lnTo>
                    <a:pt x="1050" y="958"/>
                  </a:lnTo>
                  <a:lnTo>
                    <a:pt x="1052" y="954"/>
                  </a:lnTo>
                  <a:lnTo>
                    <a:pt x="1052" y="954"/>
                  </a:lnTo>
                  <a:lnTo>
                    <a:pt x="1052" y="952"/>
                  </a:lnTo>
                  <a:lnTo>
                    <a:pt x="1054" y="950"/>
                  </a:lnTo>
                  <a:lnTo>
                    <a:pt x="1054" y="948"/>
                  </a:lnTo>
                  <a:lnTo>
                    <a:pt x="1056" y="944"/>
                  </a:lnTo>
                  <a:lnTo>
                    <a:pt x="1058" y="940"/>
                  </a:lnTo>
                  <a:lnTo>
                    <a:pt x="1058" y="938"/>
                  </a:lnTo>
                  <a:lnTo>
                    <a:pt x="1058" y="936"/>
                  </a:lnTo>
                  <a:lnTo>
                    <a:pt x="1060" y="936"/>
                  </a:lnTo>
                  <a:lnTo>
                    <a:pt x="1062" y="934"/>
                  </a:lnTo>
                  <a:lnTo>
                    <a:pt x="1064" y="934"/>
                  </a:lnTo>
                  <a:lnTo>
                    <a:pt x="1068" y="934"/>
                  </a:lnTo>
                  <a:lnTo>
                    <a:pt x="1070" y="934"/>
                  </a:lnTo>
                  <a:lnTo>
                    <a:pt x="1074" y="932"/>
                  </a:lnTo>
                  <a:lnTo>
                    <a:pt x="1076" y="932"/>
                  </a:lnTo>
                  <a:lnTo>
                    <a:pt x="1076" y="932"/>
                  </a:lnTo>
                  <a:lnTo>
                    <a:pt x="1076" y="932"/>
                  </a:lnTo>
                  <a:lnTo>
                    <a:pt x="1076" y="934"/>
                  </a:lnTo>
                  <a:lnTo>
                    <a:pt x="1076" y="934"/>
                  </a:lnTo>
                  <a:lnTo>
                    <a:pt x="1078" y="936"/>
                  </a:lnTo>
                  <a:lnTo>
                    <a:pt x="1078" y="938"/>
                  </a:lnTo>
                  <a:lnTo>
                    <a:pt x="1078" y="942"/>
                  </a:lnTo>
                  <a:lnTo>
                    <a:pt x="1078" y="948"/>
                  </a:lnTo>
                  <a:lnTo>
                    <a:pt x="1078" y="950"/>
                  </a:lnTo>
                  <a:lnTo>
                    <a:pt x="1078" y="952"/>
                  </a:lnTo>
                  <a:lnTo>
                    <a:pt x="1076" y="958"/>
                  </a:lnTo>
                  <a:lnTo>
                    <a:pt x="1076" y="962"/>
                  </a:lnTo>
                  <a:lnTo>
                    <a:pt x="1078" y="966"/>
                  </a:lnTo>
                  <a:lnTo>
                    <a:pt x="1078" y="966"/>
                  </a:lnTo>
                  <a:lnTo>
                    <a:pt x="1078" y="968"/>
                  </a:lnTo>
                  <a:lnTo>
                    <a:pt x="1078" y="968"/>
                  </a:lnTo>
                  <a:lnTo>
                    <a:pt x="1078" y="968"/>
                  </a:lnTo>
                  <a:lnTo>
                    <a:pt x="1078" y="970"/>
                  </a:lnTo>
                  <a:lnTo>
                    <a:pt x="1080" y="970"/>
                  </a:lnTo>
                  <a:lnTo>
                    <a:pt x="1080" y="970"/>
                  </a:lnTo>
                  <a:lnTo>
                    <a:pt x="1080" y="972"/>
                  </a:lnTo>
                  <a:lnTo>
                    <a:pt x="1082" y="972"/>
                  </a:lnTo>
                  <a:lnTo>
                    <a:pt x="1084" y="974"/>
                  </a:lnTo>
                  <a:lnTo>
                    <a:pt x="1088" y="978"/>
                  </a:lnTo>
                  <a:lnTo>
                    <a:pt x="1092" y="980"/>
                  </a:lnTo>
                  <a:lnTo>
                    <a:pt x="1094" y="980"/>
                  </a:lnTo>
                  <a:lnTo>
                    <a:pt x="1094" y="980"/>
                  </a:lnTo>
                  <a:lnTo>
                    <a:pt x="1094" y="982"/>
                  </a:lnTo>
                  <a:lnTo>
                    <a:pt x="1096" y="982"/>
                  </a:lnTo>
                  <a:lnTo>
                    <a:pt x="1096" y="982"/>
                  </a:lnTo>
                  <a:lnTo>
                    <a:pt x="1098" y="982"/>
                  </a:lnTo>
                  <a:lnTo>
                    <a:pt x="1098" y="980"/>
                  </a:lnTo>
                  <a:lnTo>
                    <a:pt x="1098" y="980"/>
                  </a:lnTo>
                  <a:lnTo>
                    <a:pt x="1100" y="980"/>
                  </a:lnTo>
                  <a:lnTo>
                    <a:pt x="1100" y="978"/>
                  </a:lnTo>
                  <a:lnTo>
                    <a:pt x="1100" y="978"/>
                  </a:lnTo>
                  <a:lnTo>
                    <a:pt x="1100" y="978"/>
                  </a:lnTo>
                  <a:lnTo>
                    <a:pt x="1102" y="976"/>
                  </a:lnTo>
                  <a:lnTo>
                    <a:pt x="1102" y="976"/>
                  </a:lnTo>
                  <a:lnTo>
                    <a:pt x="1102" y="976"/>
                  </a:lnTo>
                  <a:lnTo>
                    <a:pt x="1102" y="974"/>
                  </a:lnTo>
                  <a:lnTo>
                    <a:pt x="1102" y="974"/>
                  </a:lnTo>
                  <a:lnTo>
                    <a:pt x="1102" y="974"/>
                  </a:lnTo>
                  <a:lnTo>
                    <a:pt x="1102" y="974"/>
                  </a:lnTo>
                  <a:lnTo>
                    <a:pt x="1104" y="976"/>
                  </a:lnTo>
                  <a:lnTo>
                    <a:pt x="1104" y="976"/>
                  </a:lnTo>
                  <a:lnTo>
                    <a:pt x="1104" y="976"/>
                  </a:lnTo>
                  <a:lnTo>
                    <a:pt x="1106" y="976"/>
                  </a:lnTo>
                  <a:lnTo>
                    <a:pt x="1106" y="976"/>
                  </a:lnTo>
                  <a:lnTo>
                    <a:pt x="1106" y="976"/>
                  </a:lnTo>
                  <a:lnTo>
                    <a:pt x="1108" y="976"/>
                  </a:lnTo>
                  <a:lnTo>
                    <a:pt x="1110" y="974"/>
                  </a:lnTo>
                  <a:lnTo>
                    <a:pt x="1114" y="974"/>
                  </a:lnTo>
                  <a:lnTo>
                    <a:pt x="1118" y="972"/>
                  </a:lnTo>
                  <a:lnTo>
                    <a:pt x="1120" y="970"/>
                  </a:lnTo>
                  <a:lnTo>
                    <a:pt x="1120" y="970"/>
                  </a:lnTo>
                  <a:lnTo>
                    <a:pt x="1120" y="970"/>
                  </a:lnTo>
                  <a:lnTo>
                    <a:pt x="1120" y="974"/>
                  </a:lnTo>
                  <a:lnTo>
                    <a:pt x="1120" y="974"/>
                  </a:lnTo>
                  <a:lnTo>
                    <a:pt x="1122" y="976"/>
                  </a:lnTo>
                  <a:lnTo>
                    <a:pt x="1124" y="976"/>
                  </a:lnTo>
                  <a:lnTo>
                    <a:pt x="1106" y="982"/>
                  </a:lnTo>
                  <a:lnTo>
                    <a:pt x="1106" y="982"/>
                  </a:lnTo>
                  <a:lnTo>
                    <a:pt x="1104" y="984"/>
                  </a:lnTo>
                  <a:lnTo>
                    <a:pt x="1094" y="1002"/>
                  </a:lnTo>
                  <a:lnTo>
                    <a:pt x="1094" y="1002"/>
                  </a:lnTo>
                  <a:lnTo>
                    <a:pt x="1096" y="1004"/>
                  </a:lnTo>
                  <a:lnTo>
                    <a:pt x="1108" y="1022"/>
                  </a:lnTo>
                  <a:lnTo>
                    <a:pt x="1108" y="1022"/>
                  </a:lnTo>
                  <a:lnTo>
                    <a:pt x="1110" y="1024"/>
                  </a:lnTo>
                  <a:lnTo>
                    <a:pt x="1110" y="1024"/>
                  </a:lnTo>
                  <a:lnTo>
                    <a:pt x="1112" y="1022"/>
                  </a:lnTo>
                  <a:lnTo>
                    <a:pt x="1134" y="996"/>
                  </a:lnTo>
                  <a:lnTo>
                    <a:pt x="1142" y="1000"/>
                  </a:lnTo>
                  <a:lnTo>
                    <a:pt x="1142" y="1000"/>
                  </a:lnTo>
                  <a:lnTo>
                    <a:pt x="1146" y="998"/>
                  </a:lnTo>
                  <a:lnTo>
                    <a:pt x="1154" y="992"/>
                  </a:lnTo>
                  <a:lnTo>
                    <a:pt x="1186" y="980"/>
                  </a:lnTo>
                  <a:lnTo>
                    <a:pt x="1186" y="980"/>
                  </a:lnTo>
                  <a:lnTo>
                    <a:pt x="1188" y="980"/>
                  </a:lnTo>
                  <a:lnTo>
                    <a:pt x="1188" y="978"/>
                  </a:lnTo>
                  <a:lnTo>
                    <a:pt x="1188" y="972"/>
                  </a:lnTo>
                  <a:lnTo>
                    <a:pt x="1206" y="964"/>
                  </a:lnTo>
                  <a:lnTo>
                    <a:pt x="1206" y="964"/>
                  </a:lnTo>
                  <a:lnTo>
                    <a:pt x="1208" y="960"/>
                  </a:lnTo>
                  <a:lnTo>
                    <a:pt x="1208" y="960"/>
                  </a:lnTo>
                  <a:lnTo>
                    <a:pt x="1206" y="958"/>
                  </a:lnTo>
                  <a:lnTo>
                    <a:pt x="1196" y="954"/>
                  </a:lnTo>
                  <a:lnTo>
                    <a:pt x="1196" y="946"/>
                  </a:lnTo>
                  <a:lnTo>
                    <a:pt x="1196" y="946"/>
                  </a:lnTo>
                  <a:lnTo>
                    <a:pt x="1196" y="946"/>
                  </a:lnTo>
                  <a:lnTo>
                    <a:pt x="1194" y="936"/>
                  </a:lnTo>
                  <a:lnTo>
                    <a:pt x="1194" y="936"/>
                  </a:lnTo>
                  <a:lnTo>
                    <a:pt x="1190" y="934"/>
                  </a:lnTo>
                  <a:lnTo>
                    <a:pt x="1190" y="934"/>
                  </a:lnTo>
                  <a:lnTo>
                    <a:pt x="1188" y="936"/>
                  </a:lnTo>
                  <a:lnTo>
                    <a:pt x="1182" y="946"/>
                  </a:lnTo>
                  <a:lnTo>
                    <a:pt x="1174" y="956"/>
                  </a:lnTo>
                  <a:lnTo>
                    <a:pt x="1174" y="956"/>
                  </a:lnTo>
                  <a:lnTo>
                    <a:pt x="1172" y="958"/>
                  </a:lnTo>
                  <a:lnTo>
                    <a:pt x="1174" y="966"/>
                  </a:lnTo>
                  <a:lnTo>
                    <a:pt x="1174" y="966"/>
                  </a:lnTo>
                  <a:lnTo>
                    <a:pt x="1174" y="964"/>
                  </a:lnTo>
                  <a:lnTo>
                    <a:pt x="1174" y="964"/>
                  </a:lnTo>
                  <a:lnTo>
                    <a:pt x="1172" y="962"/>
                  </a:lnTo>
                  <a:lnTo>
                    <a:pt x="1172" y="962"/>
                  </a:lnTo>
                  <a:lnTo>
                    <a:pt x="1168" y="962"/>
                  </a:lnTo>
                  <a:lnTo>
                    <a:pt x="1164" y="964"/>
                  </a:lnTo>
                  <a:lnTo>
                    <a:pt x="1166" y="960"/>
                  </a:lnTo>
                  <a:lnTo>
                    <a:pt x="1172" y="954"/>
                  </a:lnTo>
                  <a:lnTo>
                    <a:pt x="1172" y="954"/>
                  </a:lnTo>
                  <a:lnTo>
                    <a:pt x="1172" y="950"/>
                  </a:lnTo>
                  <a:lnTo>
                    <a:pt x="1172" y="950"/>
                  </a:lnTo>
                  <a:lnTo>
                    <a:pt x="1168" y="948"/>
                  </a:lnTo>
                  <a:lnTo>
                    <a:pt x="1162" y="948"/>
                  </a:lnTo>
                  <a:lnTo>
                    <a:pt x="1150" y="946"/>
                  </a:lnTo>
                  <a:lnTo>
                    <a:pt x="1140" y="942"/>
                  </a:lnTo>
                  <a:lnTo>
                    <a:pt x="1138" y="938"/>
                  </a:lnTo>
                  <a:lnTo>
                    <a:pt x="1138" y="938"/>
                  </a:lnTo>
                  <a:lnTo>
                    <a:pt x="1136" y="936"/>
                  </a:lnTo>
                  <a:lnTo>
                    <a:pt x="1136" y="936"/>
                  </a:lnTo>
                  <a:lnTo>
                    <a:pt x="1134" y="936"/>
                  </a:lnTo>
                  <a:lnTo>
                    <a:pt x="1128" y="944"/>
                  </a:lnTo>
                  <a:lnTo>
                    <a:pt x="1128" y="944"/>
                  </a:lnTo>
                  <a:lnTo>
                    <a:pt x="1128" y="946"/>
                  </a:lnTo>
                  <a:lnTo>
                    <a:pt x="1130" y="948"/>
                  </a:lnTo>
                  <a:lnTo>
                    <a:pt x="1136" y="954"/>
                  </a:lnTo>
                  <a:lnTo>
                    <a:pt x="1136" y="954"/>
                  </a:lnTo>
                  <a:lnTo>
                    <a:pt x="1136" y="956"/>
                  </a:lnTo>
                  <a:lnTo>
                    <a:pt x="1134" y="956"/>
                  </a:lnTo>
                  <a:lnTo>
                    <a:pt x="1134" y="956"/>
                  </a:lnTo>
                  <a:lnTo>
                    <a:pt x="1134" y="956"/>
                  </a:lnTo>
                  <a:lnTo>
                    <a:pt x="1132" y="954"/>
                  </a:lnTo>
                  <a:lnTo>
                    <a:pt x="1130" y="952"/>
                  </a:lnTo>
                  <a:lnTo>
                    <a:pt x="1128" y="950"/>
                  </a:lnTo>
                  <a:lnTo>
                    <a:pt x="1126" y="948"/>
                  </a:lnTo>
                  <a:lnTo>
                    <a:pt x="1124" y="946"/>
                  </a:lnTo>
                  <a:lnTo>
                    <a:pt x="1124" y="946"/>
                  </a:lnTo>
                  <a:lnTo>
                    <a:pt x="1124" y="946"/>
                  </a:lnTo>
                  <a:lnTo>
                    <a:pt x="1124" y="944"/>
                  </a:lnTo>
                  <a:lnTo>
                    <a:pt x="1126" y="944"/>
                  </a:lnTo>
                  <a:lnTo>
                    <a:pt x="1126" y="942"/>
                  </a:lnTo>
                  <a:lnTo>
                    <a:pt x="1128" y="942"/>
                  </a:lnTo>
                  <a:lnTo>
                    <a:pt x="1128" y="940"/>
                  </a:lnTo>
                  <a:lnTo>
                    <a:pt x="1128" y="940"/>
                  </a:lnTo>
                  <a:lnTo>
                    <a:pt x="1128" y="940"/>
                  </a:lnTo>
                  <a:lnTo>
                    <a:pt x="1128" y="940"/>
                  </a:lnTo>
                  <a:lnTo>
                    <a:pt x="1128" y="940"/>
                  </a:lnTo>
                  <a:lnTo>
                    <a:pt x="1130" y="938"/>
                  </a:lnTo>
                  <a:lnTo>
                    <a:pt x="1130" y="936"/>
                  </a:lnTo>
                  <a:lnTo>
                    <a:pt x="1130" y="936"/>
                  </a:lnTo>
                  <a:lnTo>
                    <a:pt x="1128" y="934"/>
                  </a:lnTo>
                  <a:lnTo>
                    <a:pt x="1128" y="934"/>
                  </a:lnTo>
                  <a:lnTo>
                    <a:pt x="1128" y="934"/>
                  </a:lnTo>
                  <a:lnTo>
                    <a:pt x="1126" y="934"/>
                  </a:lnTo>
                  <a:lnTo>
                    <a:pt x="1124" y="934"/>
                  </a:lnTo>
                  <a:lnTo>
                    <a:pt x="1122" y="934"/>
                  </a:lnTo>
                  <a:lnTo>
                    <a:pt x="1120" y="934"/>
                  </a:lnTo>
                  <a:lnTo>
                    <a:pt x="1120" y="934"/>
                  </a:lnTo>
                  <a:lnTo>
                    <a:pt x="1120" y="934"/>
                  </a:lnTo>
                  <a:lnTo>
                    <a:pt x="1122" y="930"/>
                  </a:lnTo>
                  <a:lnTo>
                    <a:pt x="1122" y="928"/>
                  </a:lnTo>
                  <a:lnTo>
                    <a:pt x="1124" y="926"/>
                  </a:lnTo>
                  <a:lnTo>
                    <a:pt x="1126" y="924"/>
                  </a:lnTo>
                  <a:lnTo>
                    <a:pt x="1126" y="922"/>
                  </a:lnTo>
                  <a:lnTo>
                    <a:pt x="1126" y="922"/>
                  </a:lnTo>
                  <a:lnTo>
                    <a:pt x="1128" y="920"/>
                  </a:lnTo>
                  <a:lnTo>
                    <a:pt x="1128" y="920"/>
                  </a:lnTo>
                  <a:lnTo>
                    <a:pt x="1128" y="920"/>
                  </a:lnTo>
                  <a:lnTo>
                    <a:pt x="1126" y="918"/>
                  </a:lnTo>
                  <a:lnTo>
                    <a:pt x="1126" y="916"/>
                  </a:lnTo>
                  <a:lnTo>
                    <a:pt x="1126" y="916"/>
                  </a:lnTo>
                  <a:lnTo>
                    <a:pt x="1124" y="916"/>
                  </a:lnTo>
                  <a:lnTo>
                    <a:pt x="1124" y="916"/>
                  </a:lnTo>
                  <a:lnTo>
                    <a:pt x="1124" y="916"/>
                  </a:lnTo>
                  <a:lnTo>
                    <a:pt x="1122" y="916"/>
                  </a:lnTo>
                  <a:lnTo>
                    <a:pt x="1120" y="916"/>
                  </a:lnTo>
                  <a:lnTo>
                    <a:pt x="1118" y="916"/>
                  </a:lnTo>
                  <a:lnTo>
                    <a:pt x="1114" y="916"/>
                  </a:lnTo>
                  <a:lnTo>
                    <a:pt x="1114" y="916"/>
                  </a:lnTo>
                  <a:lnTo>
                    <a:pt x="1112" y="916"/>
                  </a:lnTo>
                  <a:lnTo>
                    <a:pt x="1112" y="916"/>
                  </a:lnTo>
                  <a:lnTo>
                    <a:pt x="1110" y="914"/>
                  </a:lnTo>
                  <a:lnTo>
                    <a:pt x="1104" y="912"/>
                  </a:lnTo>
                  <a:lnTo>
                    <a:pt x="1102" y="910"/>
                  </a:lnTo>
                  <a:lnTo>
                    <a:pt x="1102" y="910"/>
                  </a:lnTo>
                  <a:lnTo>
                    <a:pt x="1100" y="908"/>
                  </a:lnTo>
                  <a:lnTo>
                    <a:pt x="1100" y="908"/>
                  </a:lnTo>
                  <a:lnTo>
                    <a:pt x="1102" y="906"/>
                  </a:lnTo>
                  <a:lnTo>
                    <a:pt x="1106" y="904"/>
                  </a:lnTo>
                  <a:lnTo>
                    <a:pt x="1108" y="902"/>
                  </a:lnTo>
                  <a:lnTo>
                    <a:pt x="1112" y="900"/>
                  </a:lnTo>
                  <a:lnTo>
                    <a:pt x="1114" y="898"/>
                  </a:lnTo>
                  <a:lnTo>
                    <a:pt x="1114" y="898"/>
                  </a:lnTo>
                  <a:lnTo>
                    <a:pt x="1114" y="898"/>
                  </a:lnTo>
                  <a:lnTo>
                    <a:pt x="1116" y="896"/>
                  </a:lnTo>
                  <a:lnTo>
                    <a:pt x="1116" y="896"/>
                  </a:lnTo>
                  <a:lnTo>
                    <a:pt x="1116" y="894"/>
                  </a:lnTo>
                  <a:lnTo>
                    <a:pt x="1118" y="894"/>
                  </a:lnTo>
                  <a:lnTo>
                    <a:pt x="1118" y="894"/>
                  </a:lnTo>
                  <a:lnTo>
                    <a:pt x="1118" y="894"/>
                  </a:lnTo>
                  <a:lnTo>
                    <a:pt x="1118" y="892"/>
                  </a:lnTo>
                  <a:lnTo>
                    <a:pt x="1118" y="892"/>
                  </a:lnTo>
                  <a:lnTo>
                    <a:pt x="1118" y="890"/>
                  </a:lnTo>
                  <a:lnTo>
                    <a:pt x="1116" y="890"/>
                  </a:lnTo>
                  <a:lnTo>
                    <a:pt x="1116" y="890"/>
                  </a:lnTo>
                  <a:lnTo>
                    <a:pt x="1116" y="888"/>
                  </a:lnTo>
                  <a:lnTo>
                    <a:pt x="1114" y="886"/>
                  </a:lnTo>
                  <a:lnTo>
                    <a:pt x="1114" y="886"/>
                  </a:lnTo>
                  <a:lnTo>
                    <a:pt x="1114" y="886"/>
                  </a:lnTo>
                  <a:lnTo>
                    <a:pt x="1110" y="884"/>
                  </a:lnTo>
                  <a:lnTo>
                    <a:pt x="1108" y="882"/>
                  </a:lnTo>
                  <a:lnTo>
                    <a:pt x="1104" y="882"/>
                  </a:lnTo>
                  <a:lnTo>
                    <a:pt x="1100" y="880"/>
                  </a:lnTo>
                  <a:lnTo>
                    <a:pt x="1100" y="880"/>
                  </a:lnTo>
                  <a:lnTo>
                    <a:pt x="1098" y="880"/>
                  </a:lnTo>
                  <a:lnTo>
                    <a:pt x="1094" y="880"/>
                  </a:lnTo>
                  <a:lnTo>
                    <a:pt x="1094" y="880"/>
                  </a:lnTo>
                  <a:lnTo>
                    <a:pt x="1094" y="880"/>
                  </a:lnTo>
                  <a:lnTo>
                    <a:pt x="1090" y="880"/>
                  </a:lnTo>
                  <a:lnTo>
                    <a:pt x="1090" y="880"/>
                  </a:lnTo>
                  <a:lnTo>
                    <a:pt x="1090" y="880"/>
                  </a:lnTo>
                  <a:lnTo>
                    <a:pt x="1086" y="882"/>
                  </a:lnTo>
                  <a:lnTo>
                    <a:pt x="1082" y="884"/>
                  </a:lnTo>
                  <a:lnTo>
                    <a:pt x="1076" y="886"/>
                  </a:lnTo>
                  <a:lnTo>
                    <a:pt x="1070" y="890"/>
                  </a:lnTo>
                  <a:lnTo>
                    <a:pt x="1066" y="894"/>
                  </a:lnTo>
                  <a:lnTo>
                    <a:pt x="1060" y="898"/>
                  </a:lnTo>
                  <a:lnTo>
                    <a:pt x="1056" y="902"/>
                  </a:lnTo>
                  <a:lnTo>
                    <a:pt x="1052" y="906"/>
                  </a:lnTo>
                  <a:lnTo>
                    <a:pt x="1046" y="912"/>
                  </a:lnTo>
                  <a:lnTo>
                    <a:pt x="1042" y="918"/>
                  </a:lnTo>
                  <a:lnTo>
                    <a:pt x="1040" y="924"/>
                  </a:lnTo>
                  <a:lnTo>
                    <a:pt x="1036" y="930"/>
                  </a:lnTo>
                  <a:lnTo>
                    <a:pt x="1032" y="936"/>
                  </a:lnTo>
                  <a:lnTo>
                    <a:pt x="1028" y="942"/>
                  </a:lnTo>
                  <a:lnTo>
                    <a:pt x="1026" y="948"/>
                  </a:lnTo>
                  <a:lnTo>
                    <a:pt x="1024" y="950"/>
                  </a:lnTo>
                  <a:lnTo>
                    <a:pt x="1022" y="954"/>
                  </a:lnTo>
                  <a:lnTo>
                    <a:pt x="1020" y="956"/>
                  </a:lnTo>
                  <a:lnTo>
                    <a:pt x="1018" y="956"/>
                  </a:lnTo>
                  <a:lnTo>
                    <a:pt x="1016" y="958"/>
                  </a:lnTo>
                  <a:lnTo>
                    <a:pt x="1016" y="958"/>
                  </a:lnTo>
                  <a:lnTo>
                    <a:pt x="1014" y="958"/>
                  </a:lnTo>
                  <a:lnTo>
                    <a:pt x="1012" y="960"/>
                  </a:lnTo>
                  <a:lnTo>
                    <a:pt x="1010" y="960"/>
                  </a:lnTo>
                  <a:lnTo>
                    <a:pt x="1008" y="962"/>
                  </a:lnTo>
                  <a:lnTo>
                    <a:pt x="1006" y="962"/>
                  </a:lnTo>
                  <a:lnTo>
                    <a:pt x="1000" y="966"/>
                  </a:lnTo>
                  <a:lnTo>
                    <a:pt x="994" y="968"/>
                  </a:lnTo>
                  <a:lnTo>
                    <a:pt x="994" y="968"/>
                  </a:lnTo>
                  <a:lnTo>
                    <a:pt x="996" y="966"/>
                  </a:lnTo>
                  <a:lnTo>
                    <a:pt x="1002" y="962"/>
                  </a:lnTo>
                  <a:lnTo>
                    <a:pt x="1010" y="958"/>
                  </a:lnTo>
                  <a:lnTo>
                    <a:pt x="1016" y="952"/>
                  </a:lnTo>
                  <a:lnTo>
                    <a:pt x="1020" y="950"/>
                  </a:lnTo>
                  <a:lnTo>
                    <a:pt x="1022" y="948"/>
                  </a:lnTo>
                  <a:lnTo>
                    <a:pt x="1026" y="942"/>
                  </a:lnTo>
                  <a:lnTo>
                    <a:pt x="1030" y="938"/>
                  </a:lnTo>
                  <a:lnTo>
                    <a:pt x="1032" y="932"/>
                  </a:lnTo>
                  <a:lnTo>
                    <a:pt x="1034" y="926"/>
                  </a:lnTo>
                  <a:lnTo>
                    <a:pt x="1038" y="920"/>
                  </a:lnTo>
                  <a:lnTo>
                    <a:pt x="1040" y="916"/>
                  </a:lnTo>
                  <a:lnTo>
                    <a:pt x="1042" y="910"/>
                  </a:lnTo>
                  <a:lnTo>
                    <a:pt x="1046" y="906"/>
                  </a:lnTo>
                  <a:lnTo>
                    <a:pt x="1056" y="898"/>
                  </a:lnTo>
                  <a:lnTo>
                    <a:pt x="1060" y="894"/>
                  </a:lnTo>
                  <a:lnTo>
                    <a:pt x="1066" y="890"/>
                  </a:lnTo>
                  <a:lnTo>
                    <a:pt x="1072" y="886"/>
                  </a:lnTo>
                  <a:lnTo>
                    <a:pt x="1078" y="882"/>
                  </a:lnTo>
                  <a:lnTo>
                    <a:pt x="1086" y="878"/>
                  </a:lnTo>
                  <a:lnTo>
                    <a:pt x="1094" y="876"/>
                  </a:lnTo>
                  <a:lnTo>
                    <a:pt x="1100" y="876"/>
                  </a:lnTo>
                  <a:lnTo>
                    <a:pt x="1106" y="874"/>
                  </a:lnTo>
                  <a:lnTo>
                    <a:pt x="1112" y="874"/>
                  </a:lnTo>
                  <a:lnTo>
                    <a:pt x="1118" y="872"/>
                  </a:lnTo>
                  <a:lnTo>
                    <a:pt x="1134" y="872"/>
                  </a:lnTo>
                  <a:lnTo>
                    <a:pt x="1148" y="870"/>
                  </a:lnTo>
                  <a:lnTo>
                    <a:pt x="1164" y="870"/>
                  </a:lnTo>
                  <a:lnTo>
                    <a:pt x="1170" y="870"/>
                  </a:lnTo>
                  <a:lnTo>
                    <a:pt x="1178" y="870"/>
                  </a:lnTo>
                  <a:lnTo>
                    <a:pt x="1184" y="870"/>
                  </a:lnTo>
                  <a:lnTo>
                    <a:pt x="1188" y="868"/>
                  </a:lnTo>
                  <a:lnTo>
                    <a:pt x="1194" y="868"/>
                  </a:lnTo>
                  <a:lnTo>
                    <a:pt x="1198" y="868"/>
                  </a:lnTo>
                  <a:lnTo>
                    <a:pt x="1202" y="866"/>
                  </a:lnTo>
                  <a:lnTo>
                    <a:pt x="1204" y="866"/>
                  </a:lnTo>
                  <a:lnTo>
                    <a:pt x="1206" y="866"/>
                  </a:lnTo>
                  <a:lnTo>
                    <a:pt x="1208" y="866"/>
                  </a:lnTo>
                  <a:lnTo>
                    <a:pt x="1208" y="866"/>
                  </a:lnTo>
                  <a:lnTo>
                    <a:pt x="1208" y="864"/>
                  </a:lnTo>
                  <a:lnTo>
                    <a:pt x="1208" y="864"/>
                  </a:lnTo>
                  <a:lnTo>
                    <a:pt x="1208" y="864"/>
                  </a:lnTo>
                  <a:lnTo>
                    <a:pt x="1210" y="864"/>
                  </a:lnTo>
                  <a:lnTo>
                    <a:pt x="1210" y="862"/>
                  </a:lnTo>
                  <a:lnTo>
                    <a:pt x="1210" y="862"/>
                  </a:lnTo>
                  <a:lnTo>
                    <a:pt x="1210" y="862"/>
                  </a:lnTo>
                  <a:lnTo>
                    <a:pt x="1210" y="860"/>
                  </a:lnTo>
                  <a:lnTo>
                    <a:pt x="1210" y="860"/>
                  </a:lnTo>
                  <a:lnTo>
                    <a:pt x="1210" y="858"/>
                  </a:lnTo>
                  <a:lnTo>
                    <a:pt x="1208" y="858"/>
                  </a:lnTo>
                  <a:lnTo>
                    <a:pt x="1208" y="856"/>
                  </a:lnTo>
                  <a:lnTo>
                    <a:pt x="1208" y="856"/>
                  </a:lnTo>
                  <a:lnTo>
                    <a:pt x="1208" y="856"/>
                  </a:lnTo>
                  <a:lnTo>
                    <a:pt x="1208" y="856"/>
                  </a:lnTo>
                  <a:lnTo>
                    <a:pt x="1210" y="852"/>
                  </a:lnTo>
                  <a:lnTo>
                    <a:pt x="1214" y="850"/>
                  </a:lnTo>
                  <a:lnTo>
                    <a:pt x="1220" y="842"/>
                  </a:lnTo>
                  <a:lnTo>
                    <a:pt x="1222" y="840"/>
                  </a:lnTo>
                  <a:lnTo>
                    <a:pt x="1224" y="838"/>
                  </a:lnTo>
                  <a:lnTo>
                    <a:pt x="1224" y="838"/>
                  </a:lnTo>
                  <a:lnTo>
                    <a:pt x="1224" y="840"/>
                  </a:lnTo>
                  <a:lnTo>
                    <a:pt x="1228" y="842"/>
                  </a:lnTo>
                  <a:lnTo>
                    <a:pt x="1230" y="844"/>
                  </a:lnTo>
                  <a:lnTo>
                    <a:pt x="1230" y="844"/>
                  </a:lnTo>
                  <a:lnTo>
                    <a:pt x="1230" y="844"/>
                  </a:lnTo>
                  <a:lnTo>
                    <a:pt x="1232" y="844"/>
                  </a:lnTo>
                  <a:lnTo>
                    <a:pt x="1232" y="844"/>
                  </a:lnTo>
                  <a:lnTo>
                    <a:pt x="1232" y="844"/>
                  </a:lnTo>
                  <a:lnTo>
                    <a:pt x="1234" y="844"/>
                  </a:lnTo>
                  <a:lnTo>
                    <a:pt x="1234" y="846"/>
                  </a:lnTo>
                  <a:lnTo>
                    <a:pt x="1234" y="848"/>
                  </a:lnTo>
                  <a:lnTo>
                    <a:pt x="1232" y="850"/>
                  </a:lnTo>
                  <a:lnTo>
                    <a:pt x="1228" y="852"/>
                  </a:lnTo>
                  <a:lnTo>
                    <a:pt x="1228" y="852"/>
                  </a:lnTo>
                  <a:lnTo>
                    <a:pt x="1228" y="852"/>
                  </a:lnTo>
                  <a:lnTo>
                    <a:pt x="1226" y="854"/>
                  </a:lnTo>
                  <a:lnTo>
                    <a:pt x="1224" y="856"/>
                  </a:lnTo>
                  <a:lnTo>
                    <a:pt x="1222" y="858"/>
                  </a:lnTo>
                  <a:lnTo>
                    <a:pt x="1222" y="858"/>
                  </a:lnTo>
                  <a:lnTo>
                    <a:pt x="1222" y="858"/>
                  </a:lnTo>
                  <a:lnTo>
                    <a:pt x="1220" y="860"/>
                  </a:lnTo>
                  <a:lnTo>
                    <a:pt x="1220" y="860"/>
                  </a:lnTo>
                  <a:lnTo>
                    <a:pt x="1220" y="862"/>
                  </a:lnTo>
                  <a:lnTo>
                    <a:pt x="1220" y="864"/>
                  </a:lnTo>
                  <a:lnTo>
                    <a:pt x="1220" y="866"/>
                  </a:lnTo>
                  <a:lnTo>
                    <a:pt x="1218" y="874"/>
                  </a:lnTo>
                  <a:lnTo>
                    <a:pt x="1218" y="880"/>
                  </a:lnTo>
                  <a:lnTo>
                    <a:pt x="1216" y="888"/>
                  </a:lnTo>
                  <a:lnTo>
                    <a:pt x="1214" y="894"/>
                  </a:lnTo>
                  <a:lnTo>
                    <a:pt x="1212" y="896"/>
                  </a:lnTo>
                  <a:lnTo>
                    <a:pt x="1212" y="898"/>
                  </a:lnTo>
                  <a:lnTo>
                    <a:pt x="1210" y="900"/>
                  </a:lnTo>
                  <a:lnTo>
                    <a:pt x="1208" y="902"/>
                  </a:lnTo>
                  <a:lnTo>
                    <a:pt x="1206" y="902"/>
                  </a:lnTo>
                  <a:lnTo>
                    <a:pt x="1202" y="904"/>
                  </a:lnTo>
                  <a:lnTo>
                    <a:pt x="1202" y="904"/>
                  </a:lnTo>
                  <a:lnTo>
                    <a:pt x="1202" y="904"/>
                  </a:lnTo>
                  <a:lnTo>
                    <a:pt x="1200" y="904"/>
                  </a:lnTo>
                  <a:lnTo>
                    <a:pt x="1200" y="904"/>
                  </a:lnTo>
                  <a:lnTo>
                    <a:pt x="1200" y="906"/>
                  </a:lnTo>
                  <a:lnTo>
                    <a:pt x="1200" y="906"/>
                  </a:lnTo>
                  <a:lnTo>
                    <a:pt x="1200" y="906"/>
                  </a:lnTo>
                  <a:lnTo>
                    <a:pt x="1198" y="906"/>
                  </a:lnTo>
                  <a:lnTo>
                    <a:pt x="1198" y="908"/>
                  </a:lnTo>
                  <a:lnTo>
                    <a:pt x="1198" y="908"/>
                  </a:lnTo>
                  <a:lnTo>
                    <a:pt x="1198" y="910"/>
                  </a:lnTo>
                  <a:lnTo>
                    <a:pt x="1198" y="912"/>
                  </a:lnTo>
                  <a:lnTo>
                    <a:pt x="1198" y="912"/>
                  </a:lnTo>
                  <a:lnTo>
                    <a:pt x="1198" y="912"/>
                  </a:lnTo>
                  <a:lnTo>
                    <a:pt x="1198" y="914"/>
                  </a:lnTo>
                  <a:lnTo>
                    <a:pt x="1200" y="914"/>
                  </a:lnTo>
                  <a:lnTo>
                    <a:pt x="1200" y="914"/>
                  </a:lnTo>
                  <a:lnTo>
                    <a:pt x="1198" y="914"/>
                  </a:lnTo>
                  <a:lnTo>
                    <a:pt x="1198" y="916"/>
                  </a:lnTo>
                  <a:lnTo>
                    <a:pt x="1198" y="916"/>
                  </a:lnTo>
                  <a:lnTo>
                    <a:pt x="1196" y="918"/>
                  </a:lnTo>
                  <a:lnTo>
                    <a:pt x="1196" y="918"/>
                  </a:lnTo>
                  <a:lnTo>
                    <a:pt x="1194" y="920"/>
                  </a:lnTo>
                  <a:lnTo>
                    <a:pt x="1194" y="922"/>
                  </a:lnTo>
                  <a:lnTo>
                    <a:pt x="1196" y="924"/>
                  </a:lnTo>
                  <a:lnTo>
                    <a:pt x="1196" y="924"/>
                  </a:lnTo>
                  <a:lnTo>
                    <a:pt x="1196" y="924"/>
                  </a:lnTo>
                  <a:lnTo>
                    <a:pt x="1198" y="926"/>
                  </a:lnTo>
                  <a:lnTo>
                    <a:pt x="1198" y="926"/>
                  </a:lnTo>
                  <a:lnTo>
                    <a:pt x="1198" y="926"/>
                  </a:lnTo>
                  <a:lnTo>
                    <a:pt x="1200" y="928"/>
                  </a:lnTo>
                  <a:lnTo>
                    <a:pt x="1200" y="928"/>
                  </a:lnTo>
                  <a:lnTo>
                    <a:pt x="1202" y="928"/>
                  </a:lnTo>
                  <a:lnTo>
                    <a:pt x="1204" y="928"/>
                  </a:lnTo>
                  <a:lnTo>
                    <a:pt x="1204" y="928"/>
                  </a:lnTo>
                  <a:lnTo>
                    <a:pt x="1204" y="928"/>
                  </a:lnTo>
                  <a:lnTo>
                    <a:pt x="1210" y="928"/>
                  </a:lnTo>
                  <a:lnTo>
                    <a:pt x="1210" y="928"/>
                  </a:lnTo>
                  <a:lnTo>
                    <a:pt x="1210" y="928"/>
                  </a:lnTo>
                  <a:lnTo>
                    <a:pt x="1214" y="928"/>
                  </a:lnTo>
                  <a:lnTo>
                    <a:pt x="1220" y="928"/>
                  </a:lnTo>
                  <a:lnTo>
                    <a:pt x="1224" y="928"/>
                  </a:lnTo>
                  <a:lnTo>
                    <a:pt x="1224" y="928"/>
                  </a:lnTo>
                  <a:lnTo>
                    <a:pt x="1226" y="928"/>
                  </a:lnTo>
                  <a:lnTo>
                    <a:pt x="1228" y="930"/>
                  </a:lnTo>
                  <a:lnTo>
                    <a:pt x="1230" y="930"/>
                  </a:lnTo>
                  <a:lnTo>
                    <a:pt x="1230" y="932"/>
                  </a:lnTo>
                  <a:lnTo>
                    <a:pt x="1232" y="936"/>
                  </a:lnTo>
                  <a:lnTo>
                    <a:pt x="1232" y="936"/>
                  </a:lnTo>
                  <a:lnTo>
                    <a:pt x="1232" y="936"/>
                  </a:lnTo>
                  <a:lnTo>
                    <a:pt x="1234" y="940"/>
                  </a:lnTo>
                  <a:lnTo>
                    <a:pt x="1234" y="940"/>
                  </a:lnTo>
                  <a:lnTo>
                    <a:pt x="1236" y="942"/>
                  </a:lnTo>
                  <a:lnTo>
                    <a:pt x="1238" y="946"/>
                  </a:lnTo>
                  <a:lnTo>
                    <a:pt x="1240" y="948"/>
                  </a:lnTo>
                  <a:lnTo>
                    <a:pt x="1244" y="950"/>
                  </a:lnTo>
                  <a:lnTo>
                    <a:pt x="1244" y="950"/>
                  </a:lnTo>
                  <a:lnTo>
                    <a:pt x="1246" y="950"/>
                  </a:lnTo>
                  <a:lnTo>
                    <a:pt x="1250" y="948"/>
                  </a:lnTo>
                  <a:lnTo>
                    <a:pt x="1252" y="946"/>
                  </a:lnTo>
                  <a:lnTo>
                    <a:pt x="1254" y="944"/>
                  </a:lnTo>
                  <a:lnTo>
                    <a:pt x="1256" y="944"/>
                  </a:lnTo>
                  <a:lnTo>
                    <a:pt x="1258" y="942"/>
                  </a:lnTo>
                  <a:lnTo>
                    <a:pt x="1260" y="942"/>
                  </a:lnTo>
                  <a:lnTo>
                    <a:pt x="1262" y="940"/>
                  </a:lnTo>
                  <a:lnTo>
                    <a:pt x="1266" y="940"/>
                  </a:lnTo>
                  <a:lnTo>
                    <a:pt x="1266" y="940"/>
                  </a:lnTo>
                  <a:lnTo>
                    <a:pt x="1266" y="940"/>
                  </a:lnTo>
                  <a:lnTo>
                    <a:pt x="1268" y="938"/>
                  </a:lnTo>
                  <a:lnTo>
                    <a:pt x="1268" y="938"/>
                  </a:lnTo>
                  <a:lnTo>
                    <a:pt x="1270" y="938"/>
                  </a:lnTo>
                  <a:lnTo>
                    <a:pt x="1270" y="940"/>
                  </a:lnTo>
                  <a:lnTo>
                    <a:pt x="1270" y="942"/>
                  </a:lnTo>
                  <a:lnTo>
                    <a:pt x="1272" y="948"/>
                  </a:lnTo>
                  <a:lnTo>
                    <a:pt x="1272" y="948"/>
                  </a:lnTo>
                  <a:lnTo>
                    <a:pt x="1272" y="950"/>
                  </a:lnTo>
                  <a:lnTo>
                    <a:pt x="1274" y="950"/>
                  </a:lnTo>
                  <a:lnTo>
                    <a:pt x="1282" y="950"/>
                  </a:lnTo>
                  <a:lnTo>
                    <a:pt x="1288" y="950"/>
                  </a:lnTo>
                  <a:lnTo>
                    <a:pt x="1288" y="950"/>
                  </a:lnTo>
                  <a:lnTo>
                    <a:pt x="1288" y="950"/>
                  </a:lnTo>
                  <a:lnTo>
                    <a:pt x="1292" y="950"/>
                  </a:lnTo>
                  <a:lnTo>
                    <a:pt x="1292" y="950"/>
                  </a:lnTo>
                  <a:lnTo>
                    <a:pt x="1294" y="948"/>
                  </a:lnTo>
                  <a:lnTo>
                    <a:pt x="1296" y="948"/>
                  </a:lnTo>
                  <a:lnTo>
                    <a:pt x="1296" y="948"/>
                  </a:lnTo>
                  <a:lnTo>
                    <a:pt x="1296" y="946"/>
                  </a:lnTo>
                  <a:lnTo>
                    <a:pt x="1298" y="946"/>
                  </a:lnTo>
                  <a:lnTo>
                    <a:pt x="1298" y="946"/>
                  </a:lnTo>
                  <a:lnTo>
                    <a:pt x="1298" y="944"/>
                  </a:lnTo>
                  <a:lnTo>
                    <a:pt x="1298" y="942"/>
                  </a:lnTo>
                  <a:lnTo>
                    <a:pt x="1298" y="940"/>
                  </a:lnTo>
                  <a:lnTo>
                    <a:pt x="1300" y="938"/>
                  </a:lnTo>
                  <a:lnTo>
                    <a:pt x="1300" y="938"/>
                  </a:lnTo>
                  <a:lnTo>
                    <a:pt x="1300" y="936"/>
                  </a:lnTo>
                  <a:lnTo>
                    <a:pt x="1302" y="936"/>
                  </a:lnTo>
                  <a:lnTo>
                    <a:pt x="1302" y="936"/>
                  </a:lnTo>
                  <a:lnTo>
                    <a:pt x="1304" y="934"/>
                  </a:lnTo>
                  <a:lnTo>
                    <a:pt x="1304" y="932"/>
                  </a:lnTo>
                  <a:lnTo>
                    <a:pt x="1304" y="932"/>
                  </a:lnTo>
                  <a:close/>
                  <a:moveTo>
                    <a:pt x="748" y="432"/>
                  </a:moveTo>
                  <a:lnTo>
                    <a:pt x="752" y="432"/>
                  </a:lnTo>
                  <a:lnTo>
                    <a:pt x="758" y="432"/>
                  </a:lnTo>
                  <a:lnTo>
                    <a:pt x="762" y="434"/>
                  </a:lnTo>
                  <a:lnTo>
                    <a:pt x="768" y="434"/>
                  </a:lnTo>
                  <a:lnTo>
                    <a:pt x="768" y="434"/>
                  </a:lnTo>
                  <a:lnTo>
                    <a:pt x="770" y="436"/>
                  </a:lnTo>
                  <a:lnTo>
                    <a:pt x="772" y="436"/>
                  </a:lnTo>
                  <a:lnTo>
                    <a:pt x="774" y="438"/>
                  </a:lnTo>
                  <a:lnTo>
                    <a:pt x="776" y="442"/>
                  </a:lnTo>
                  <a:lnTo>
                    <a:pt x="778" y="444"/>
                  </a:lnTo>
                  <a:lnTo>
                    <a:pt x="780" y="448"/>
                  </a:lnTo>
                  <a:lnTo>
                    <a:pt x="780" y="448"/>
                  </a:lnTo>
                  <a:lnTo>
                    <a:pt x="776" y="446"/>
                  </a:lnTo>
                  <a:lnTo>
                    <a:pt x="772" y="446"/>
                  </a:lnTo>
                  <a:lnTo>
                    <a:pt x="768" y="444"/>
                  </a:lnTo>
                  <a:lnTo>
                    <a:pt x="766" y="442"/>
                  </a:lnTo>
                  <a:lnTo>
                    <a:pt x="760" y="440"/>
                  </a:lnTo>
                  <a:lnTo>
                    <a:pt x="756" y="438"/>
                  </a:lnTo>
                  <a:lnTo>
                    <a:pt x="750" y="434"/>
                  </a:lnTo>
                  <a:lnTo>
                    <a:pt x="746" y="432"/>
                  </a:lnTo>
                  <a:lnTo>
                    <a:pt x="746" y="432"/>
                  </a:lnTo>
                  <a:lnTo>
                    <a:pt x="748" y="432"/>
                  </a:lnTo>
                  <a:close/>
                  <a:moveTo>
                    <a:pt x="710" y="500"/>
                  </a:moveTo>
                  <a:lnTo>
                    <a:pt x="714" y="500"/>
                  </a:lnTo>
                  <a:lnTo>
                    <a:pt x="716" y="500"/>
                  </a:lnTo>
                  <a:lnTo>
                    <a:pt x="720" y="500"/>
                  </a:lnTo>
                  <a:lnTo>
                    <a:pt x="716" y="500"/>
                  </a:lnTo>
                  <a:lnTo>
                    <a:pt x="710" y="500"/>
                  </a:lnTo>
                  <a:lnTo>
                    <a:pt x="708" y="500"/>
                  </a:lnTo>
                  <a:lnTo>
                    <a:pt x="710" y="500"/>
                  </a:lnTo>
                  <a:close/>
                  <a:moveTo>
                    <a:pt x="504" y="126"/>
                  </a:moveTo>
                  <a:lnTo>
                    <a:pt x="504" y="126"/>
                  </a:lnTo>
                  <a:lnTo>
                    <a:pt x="506" y="126"/>
                  </a:lnTo>
                  <a:lnTo>
                    <a:pt x="508" y="126"/>
                  </a:lnTo>
                  <a:lnTo>
                    <a:pt x="510" y="128"/>
                  </a:lnTo>
                  <a:lnTo>
                    <a:pt x="510" y="128"/>
                  </a:lnTo>
                  <a:lnTo>
                    <a:pt x="512" y="130"/>
                  </a:lnTo>
                  <a:lnTo>
                    <a:pt x="514" y="134"/>
                  </a:lnTo>
                  <a:lnTo>
                    <a:pt x="516" y="136"/>
                  </a:lnTo>
                  <a:lnTo>
                    <a:pt x="516" y="138"/>
                  </a:lnTo>
                  <a:lnTo>
                    <a:pt x="514" y="136"/>
                  </a:lnTo>
                  <a:lnTo>
                    <a:pt x="512" y="134"/>
                  </a:lnTo>
                  <a:lnTo>
                    <a:pt x="510" y="134"/>
                  </a:lnTo>
                  <a:lnTo>
                    <a:pt x="508" y="132"/>
                  </a:lnTo>
                  <a:lnTo>
                    <a:pt x="506" y="130"/>
                  </a:lnTo>
                  <a:lnTo>
                    <a:pt x="506" y="130"/>
                  </a:lnTo>
                  <a:lnTo>
                    <a:pt x="504" y="126"/>
                  </a:lnTo>
                  <a:lnTo>
                    <a:pt x="504" y="124"/>
                  </a:lnTo>
                  <a:lnTo>
                    <a:pt x="504" y="126"/>
                  </a:lnTo>
                  <a:close/>
                  <a:moveTo>
                    <a:pt x="1152" y="962"/>
                  </a:moveTo>
                  <a:lnTo>
                    <a:pt x="1154" y="964"/>
                  </a:lnTo>
                  <a:lnTo>
                    <a:pt x="1150" y="962"/>
                  </a:lnTo>
                  <a:lnTo>
                    <a:pt x="1146" y="960"/>
                  </a:lnTo>
                  <a:lnTo>
                    <a:pt x="1152" y="962"/>
                  </a:lnTo>
                  <a:close/>
                  <a:moveTo>
                    <a:pt x="1238" y="832"/>
                  </a:moveTo>
                  <a:lnTo>
                    <a:pt x="1238" y="834"/>
                  </a:lnTo>
                  <a:lnTo>
                    <a:pt x="1236" y="834"/>
                  </a:lnTo>
                  <a:lnTo>
                    <a:pt x="1236" y="834"/>
                  </a:lnTo>
                  <a:lnTo>
                    <a:pt x="1234" y="836"/>
                  </a:lnTo>
                  <a:lnTo>
                    <a:pt x="1232" y="836"/>
                  </a:lnTo>
                  <a:lnTo>
                    <a:pt x="1232" y="836"/>
                  </a:lnTo>
                  <a:lnTo>
                    <a:pt x="1232" y="836"/>
                  </a:lnTo>
                  <a:lnTo>
                    <a:pt x="1230" y="836"/>
                  </a:lnTo>
                  <a:lnTo>
                    <a:pt x="1226" y="836"/>
                  </a:lnTo>
                  <a:lnTo>
                    <a:pt x="1226" y="836"/>
                  </a:lnTo>
                  <a:lnTo>
                    <a:pt x="1226" y="836"/>
                  </a:lnTo>
                  <a:lnTo>
                    <a:pt x="1228" y="834"/>
                  </a:lnTo>
                  <a:lnTo>
                    <a:pt x="1230" y="830"/>
                  </a:lnTo>
                  <a:lnTo>
                    <a:pt x="1232" y="830"/>
                  </a:lnTo>
                  <a:lnTo>
                    <a:pt x="1232" y="830"/>
                  </a:lnTo>
                  <a:lnTo>
                    <a:pt x="1234" y="830"/>
                  </a:lnTo>
                  <a:lnTo>
                    <a:pt x="1236" y="830"/>
                  </a:lnTo>
                  <a:lnTo>
                    <a:pt x="1238" y="830"/>
                  </a:lnTo>
                  <a:lnTo>
                    <a:pt x="1238" y="830"/>
                  </a:lnTo>
                  <a:lnTo>
                    <a:pt x="1238" y="830"/>
                  </a:lnTo>
                  <a:lnTo>
                    <a:pt x="1240" y="830"/>
                  </a:lnTo>
                  <a:lnTo>
                    <a:pt x="1238" y="832"/>
                  </a:lnTo>
                  <a:close/>
                  <a:moveTo>
                    <a:pt x="156" y="818"/>
                  </a:moveTo>
                  <a:lnTo>
                    <a:pt x="152" y="816"/>
                  </a:lnTo>
                  <a:lnTo>
                    <a:pt x="150" y="814"/>
                  </a:lnTo>
                  <a:lnTo>
                    <a:pt x="148" y="814"/>
                  </a:lnTo>
                  <a:lnTo>
                    <a:pt x="148" y="814"/>
                  </a:lnTo>
                  <a:lnTo>
                    <a:pt x="148" y="812"/>
                  </a:lnTo>
                  <a:lnTo>
                    <a:pt x="148" y="810"/>
                  </a:lnTo>
                  <a:lnTo>
                    <a:pt x="148" y="806"/>
                  </a:lnTo>
                  <a:lnTo>
                    <a:pt x="148" y="804"/>
                  </a:lnTo>
                  <a:lnTo>
                    <a:pt x="148" y="800"/>
                  </a:lnTo>
                  <a:lnTo>
                    <a:pt x="148" y="800"/>
                  </a:lnTo>
                  <a:lnTo>
                    <a:pt x="148" y="800"/>
                  </a:lnTo>
                  <a:lnTo>
                    <a:pt x="146" y="796"/>
                  </a:lnTo>
                  <a:lnTo>
                    <a:pt x="146" y="794"/>
                  </a:lnTo>
                  <a:lnTo>
                    <a:pt x="144" y="792"/>
                  </a:lnTo>
                  <a:lnTo>
                    <a:pt x="144" y="788"/>
                  </a:lnTo>
                  <a:lnTo>
                    <a:pt x="146" y="782"/>
                  </a:lnTo>
                  <a:lnTo>
                    <a:pt x="148" y="776"/>
                  </a:lnTo>
                  <a:lnTo>
                    <a:pt x="148" y="776"/>
                  </a:lnTo>
                  <a:lnTo>
                    <a:pt x="146" y="772"/>
                  </a:lnTo>
                  <a:lnTo>
                    <a:pt x="146" y="772"/>
                  </a:lnTo>
                  <a:lnTo>
                    <a:pt x="146" y="772"/>
                  </a:lnTo>
                  <a:lnTo>
                    <a:pt x="144" y="770"/>
                  </a:lnTo>
                  <a:lnTo>
                    <a:pt x="142" y="770"/>
                  </a:lnTo>
                  <a:lnTo>
                    <a:pt x="142" y="770"/>
                  </a:lnTo>
                  <a:lnTo>
                    <a:pt x="140" y="770"/>
                  </a:lnTo>
                  <a:lnTo>
                    <a:pt x="138" y="770"/>
                  </a:lnTo>
                  <a:lnTo>
                    <a:pt x="134" y="770"/>
                  </a:lnTo>
                  <a:lnTo>
                    <a:pt x="126" y="772"/>
                  </a:lnTo>
                  <a:lnTo>
                    <a:pt x="124" y="774"/>
                  </a:lnTo>
                  <a:lnTo>
                    <a:pt x="120" y="774"/>
                  </a:lnTo>
                  <a:lnTo>
                    <a:pt x="120" y="774"/>
                  </a:lnTo>
                  <a:lnTo>
                    <a:pt x="118" y="774"/>
                  </a:lnTo>
                  <a:lnTo>
                    <a:pt x="116" y="776"/>
                  </a:lnTo>
                  <a:lnTo>
                    <a:pt x="116" y="776"/>
                  </a:lnTo>
                  <a:lnTo>
                    <a:pt x="116" y="778"/>
                  </a:lnTo>
                  <a:lnTo>
                    <a:pt x="114" y="780"/>
                  </a:lnTo>
                  <a:lnTo>
                    <a:pt x="114" y="780"/>
                  </a:lnTo>
                  <a:lnTo>
                    <a:pt x="114" y="782"/>
                  </a:lnTo>
                  <a:lnTo>
                    <a:pt x="114" y="784"/>
                  </a:lnTo>
                  <a:lnTo>
                    <a:pt x="114" y="784"/>
                  </a:lnTo>
                  <a:lnTo>
                    <a:pt x="114" y="784"/>
                  </a:lnTo>
                  <a:lnTo>
                    <a:pt x="114" y="788"/>
                  </a:lnTo>
                  <a:lnTo>
                    <a:pt x="116" y="790"/>
                  </a:lnTo>
                  <a:lnTo>
                    <a:pt x="116" y="794"/>
                  </a:lnTo>
                  <a:lnTo>
                    <a:pt x="118" y="796"/>
                  </a:lnTo>
                  <a:lnTo>
                    <a:pt x="118" y="800"/>
                  </a:lnTo>
                  <a:lnTo>
                    <a:pt x="118" y="800"/>
                  </a:lnTo>
                  <a:lnTo>
                    <a:pt x="118" y="802"/>
                  </a:lnTo>
                  <a:lnTo>
                    <a:pt x="120" y="804"/>
                  </a:lnTo>
                  <a:lnTo>
                    <a:pt x="120" y="804"/>
                  </a:lnTo>
                  <a:lnTo>
                    <a:pt x="122" y="808"/>
                  </a:lnTo>
                  <a:lnTo>
                    <a:pt x="124" y="812"/>
                  </a:lnTo>
                  <a:lnTo>
                    <a:pt x="124" y="816"/>
                  </a:lnTo>
                  <a:lnTo>
                    <a:pt x="124" y="816"/>
                  </a:lnTo>
                  <a:lnTo>
                    <a:pt x="126" y="818"/>
                  </a:lnTo>
                  <a:lnTo>
                    <a:pt x="128" y="818"/>
                  </a:lnTo>
                  <a:lnTo>
                    <a:pt x="130" y="818"/>
                  </a:lnTo>
                  <a:lnTo>
                    <a:pt x="130" y="820"/>
                  </a:lnTo>
                  <a:lnTo>
                    <a:pt x="132" y="820"/>
                  </a:lnTo>
                  <a:lnTo>
                    <a:pt x="132" y="822"/>
                  </a:lnTo>
                  <a:lnTo>
                    <a:pt x="132" y="824"/>
                  </a:lnTo>
                  <a:lnTo>
                    <a:pt x="132" y="826"/>
                  </a:lnTo>
                  <a:lnTo>
                    <a:pt x="132" y="826"/>
                  </a:lnTo>
                  <a:lnTo>
                    <a:pt x="132" y="826"/>
                  </a:lnTo>
                  <a:lnTo>
                    <a:pt x="134" y="830"/>
                  </a:lnTo>
                  <a:lnTo>
                    <a:pt x="134" y="830"/>
                  </a:lnTo>
                  <a:lnTo>
                    <a:pt x="134" y="830"/>
                  </a:lnTo>
                  <a:lnTo>
                    <a:pt x="136" y="832"/>
                  </a:lnTo>
                  <a:lnTo>
                    <a:pt x="136" y="832"/>
                  </a:lnTo>
                  <a:lnTo>
                    <a:pt x="136" y="832"/>
                  </a:lnTo>
                  <a:lnTo>
                    <a:pt x="138" y="834"/>
                  </a:lnTo>
                  <a:lnTo>
                    <a:pt x="138" y="834"/>
                  </a:lnTo>
                  <a:lnTo>
                    <a:pt x="138" y="834"/>
                  </a:lnTo>
                  <a:lnTo>
                    <a:pt x="140" y="834"/>
                  </a:lnTo>
                  <a:lnTo>
                    <a:pt x="140" y="834"/>
                  </a:lnTo>
                  <a:lnTo>
                    <a:pt x="140" y="834"/>
                  </a:lnTo>
                  <a:lnTo>
                    <a:pt x="146" y="836"/>
                  </a:lnTo>
                  <a:lnTo>
                    <a:pt x="148" y="836"/>
                  </a:lnTo>
                  <a:lnTo>
                    <a:pt x="148" y="836"/>
                  </a:lnTo>
                  <a:lnTo>
                    <a:pt x="148" y="836"/>
                  </a:lnTo>
                  <a:lnTo>
                    <a:pt x="150" y="836"/>
                  </a:lnTo>
                  <a:lnTo>
                    <a:pt x="150" y="836"/>
                  </a:lnTo>
                  <a:lnTo>
                    <a:pt x="152" y="836"/>
                  </a:lnTo>
                  <a:lnTo>
                    <a:pt x="154" y="834"/>
                  </a:lnTo>
                  <a:lnTo>
                    <a:pt x="154" y="834"/>
                  </a:lnTo>
                  <a:lnTo>
                    <a:pt x="154" y="834"/>
                  </a:lnTo>
                  <a:lnTo>
                    <a:pt x="156" y="832"/>
                  </a:lnTo>
                  <a:lnTo>
                    <a:pt x="156" y="832"/>
                  </a:lnTo>
                  <a:lnTo>
                    <a:pt x="156" y="832"/>
                  </a:lnTo>
                  <a:lnTo>
                    <a:pt x="156" y="828"/>
                  </a:lnTo>
                  <a:lnTo>
                    <a:pt x="156" y="826"/>
                  </a:lnTo>
                  <a:lnTo>
                    <a:pt x="156" y="820"/>
                  </a:lnTo>
                  <a:lnTo>
                    <a:pt x="156" y="820"/>
                  </a:lnTo>
                  <a:lnTo>
                    <a:pt x="156" y="818"/>
                  </a:lnTo>
                  <a:lnTo>
                    <a:pt x="156" y="818"/>
                  </a:lnTo>
                  <a:close/>
                  <a:moveTo>
                    <a:pt x="632" y="94"/>
                  </a:moveTo>
                  <a:lnTo>
                    <a:pt x="628" y="94"/>
                  </a:lnTo>
                  <a:lnTo>
                    <a:pt x="624" y="94"/>
                  </a:lnTo>
                  <a:lnTo>
                    <a:pt x="620" y="96"/>
                  </a:lnTo>
                  <a:lnTo>
                    <a:pt x="616" y="96"/>
                  </a:lnTo>
                  <a:lnTo>
                    <a:pt x="610" y="98"/>
                  </a:lnTo>
                  <a:lnTo>
                    <a:pt x="608" y="98"/>
                  </a:lnTo>
                  <a:lnTo>
                    <a:pt x="604" y="98"/>
                  </a:lnTo>
                  <a:lnTo>
                    <a:pt x="600" y="100"/>
                  </a:lnTo>
                  <a:lnTo>
                    <a:pt x="598" y="100"/>
                  </a:lnTo>
                  <a:lnTo>
                    <a:pt x="596" y="100"/>
                  </a:lnTo>
                  <a:lnTo>
                    <a:pt x="594" y="100"/>
                  </a:lnTo>
                  <a:lnTo>
                    <a:pt x="594" y="100"/>
                  </a:lnTo>
                  <a:lnTo>
                    <a:pt x="594" y="100"/>
                  </a:lnTo>
                  <a:lnTo>
                    <a:pt x="592" y="102"/>
                  </a:lnTo>
                  <a:lnTo>
                    <a:pt x="592" y="102"/>
                  </a:lnTo>
                  <a:lnTo>
                    <a:pt x="592" y="104"/>
                  </a:lnTo>
                  <a:lnTo>
                    <a:pt x="596" y="122"/>
                  </a:lnTo>
                  <a:lnTo>
                    <a:pt x="598" y="142"/>
                  </a:lnTo>
                  <a:lnTo>
                    <a:pt x="598" y="144"/>
                  </a:lnTo>
                  <a:lnTo>
                    <a:pt x="598" y="146"/>
                  </a:lnTo>
                  <a:lnTo>
                    <a:pt x="596" y="146"/>
                  </a:lnTo>
                  <a:lnTo>
                    <a:pt x="596" y="148"/>
                  </a:lnTo>
                  <a:lnTo>
                    <a:pt x="590" y="152"/>
                  </a:lnTo>
                  <a:lnTo>
                    <a:pt x="588" y="154"/>
                  </a:lnTo>
                  <a:lnTo>
                    <a:pt x="588" y="154"/>
                  </a:lnTo>
                  <a:lnTo>
                    <a:pt x="586" y="152"/>
                  </a:lnTo>
                  <a:lnTo>
                    <a:pt x="586" y="150"/>
                  </a:lnTo>
                  <a:lnTo>
                    <a:pt x="586" y="150"/>
                  </a:lnTo>
                  <a:lnTo>
                    <a:pt x="584" y="146"/>
                  </a:lnTo>
                  <a:lnTo>
                    <a:pt x="584" y="144"/>
                  </a:lnTo>
                  <a:lnTo>
                    <a:pt x="582" y="142"/>
                  </a:lnTo>
                  <a:lnTo>
                    <a:pt x="582" y="142"/>
                  </a:lnTo>
                  <a:lnTo>
                    <a:pt x="582" y="140"/>
                  </a:lnTo>
                  <a:lnTo>
                    <a:pt x="582" y="138"/>
                  </a:lnTo>
                  <a:lnTo>
                    <a:pt x="582" y="138"/>
                  </a:lnTo>
                  <a:lnTo>
                    <a:pt x="582" y="138"/>
                  </a:lnTo>
                  <a:lnTo>
                    <a:pt x="580" y="136"/>
                  </a:lnTo>
                  <a:lnTo>
                    <a:pt x="580" y="136"/>
                  </a:lnTo>
                  <a:lnTo>
                    <a:pt x="578" y="136"/>
                  </a:lnTo>
                  <a:lnTo>
                    <a:pt x="574" y="134"/>
                  </a:lnTo>
                  <a:lnTo>
                    <a:pt x="572" y="132"/>
                  </a:lnTo>
                  <a:lnTo>
                    <a:pt x="570" y="132"/>
                  </a:lnTo>
                  <a:lnTo>
                    <a:pt x="570" y="130"/>
                  </a:lnTo>
                  <a:lnTo>
                    <a:pt x="570" y="130"/>
                  </a:lnTo>
                  <a:lnTo>
                    <a:pt x="570" y="130"/>
                  </a:lnTo>
                  <a:lnTo>
                    <a:pt x="566" y="132"/>
                  </a:lnTo>
                  <a:lnTo>
                    <a:pt x="566" y="132"/>
                  </a:lnTo>
                  <a:lnTo>
                    <a:pt x="566" y="134"/>
                  </a:lnTo>
                  <a:lnTo>
                    <a:pt x="566" y="142"/>
                  </a:lnTo>
                  <a:lnTo>
                    <a:pt x="566" y="150"/>
                  </a:lnTo>
                  <a:lnTo>
                    <a:pt x="568" y="158"/>
                  </a:lnTo>
                  <a:lnTo>
                    <a:pt x="570" y="164"/>
                  </a:lnTo>
                  <a:lnTo>
                    <a:pt x="570" y="164"/>
                  </a:lnTo>
                  <a:lnTo>
                    <a:pt x="572" y="166"/>
                  </a:lnTo>
                  <a:lnTo>
                    <a:pt x="574" y="172"/>
                  </a:lnTo>
                  <a:lnTo>
                    <a:pt x="574" y="172"/>
                  </a:lnTo>
                  <a:lnTo>
                    <a:pt x="576" y="172"/>
                  </a:lnTo>
                  <a:lnTo>
                    <a:pt x="578" y="174"/>
                  </a:lnTo>
                  <a:lnTo>
                    <a:pt x="580" y="178"/>
                  </a:lnTo>
                  <a:lnTo>
                    <a:pt x="584" y="180"/>
                  </a:lnTo>
                  <a:lnTo>
                    <a:pt x="584" y="180"/>
                  </a:lnTo>
                  <a:lnTo>
                    <a:pt x="584" y="180"/>
                  </a:lnTo>
                  <a:lnTo>
                    <a:pt x="588" y="182"/>
                  </a:lnTo>
                  <a:lnTo>
                    <a:pt x="592" y="184"/>
                  </a:lnTo>
                  <a:lnTo>
                    <a:pt x="596" y="184"/>
                  </a:lnTo>
                  <a:lnTo>
                    <a:pt x="598" y="186"/>
                  </a:lnTo>
                  <a:lnTo>
                    <a:pt x="600" y="188"/>
                  </a:lnTo>
                  <a:lnTo>
                    <a:pt x="602" y="190"/>
                  </a:lnTo>
                  <a:lnTo>
                    <a:pt x="602" y="190"/>
                  </a:lnTo>
                  <a:lnTo>
                    <a:pt x="602" y="192"/>
                  </a:lnTo>
                  <a:lnTo>
                    <a:pt x="604" y="194"/>
                  </a:lnTo>
                  <a:lnTo>
                    <a:pt x="604" y="198"/>
                  </a:lnTo>
                  <a:lnTo>
                    <a:pt x="606" y="200"/>
                  </a:lnTo>
                  <a:lnTo>
                    <a:pt x="608" y="206"/>
                  </a:lnTo>
                  <a:lnTo>
                    <a:pt x="608" y="206"/>
                  </a:lnTo>
                  <a:lnTo>
                    <a:pt x="608" y="206"/>
                  </a:lnTo>
                  <a:lnTo>
                    <a:pt x="608" y="208"/>
                  </a:lnTo>
                  <a:lnTo>
                    <a:pt x="608" y="210"/>
                  </a:lnTo>
                  <a:lnTo>
                    <a:pt x="608" y="210"/>
                  </a:lnTo>
                  <a:lnTo>
                    <a:pt x="610" y="210"/>
                  </a:lnTo>
                  <a:lnTo>
                    <a:pt x="610" y="212"/>
                  </a:lnTo>
                  <a:lnTo>
                    <a:pt x="612" y="214"/>
                  </a:lnTo>
                  <a:lnTo>
                    <a:pt x="616" y="218"/>
                  </a:lnTo>
                  <a:lnTo>
                    <a:pt x="620" y="220"/>
                  </a:lnTo>
                  <a:lnTo>
                    <a:pt x="620" y="220"/>
                  </a:lnTo>
                  <a:lnTo>
                    <a:pt x="622" y="222"/>
                  </a:lnTo>
                  <a:lnTo>
                    <a:pt x="628" y="220"/>
                  </a:lnTo>
                  <a:lnTo>
                    <a:pt x="628" y="220"/>
                  </a:lnTo>
                  <a:lnTo>
                    <a:pt x="628" y="220"/>
                  </a:lnTo>
                  <a:lnTo>
                    <a:pt x="630" y="220"/>
                  </a:lnTo>
                  <a:lnTo>
                    <a:pt x="630" y="220"/>
                  </a:lnTo>
                  <a:lnTo>
                    <a:pt x="632" y="220"/>
                  </a:lnTo>
                  <a:lnTo>
                    <a:pt x="634" y="218"/>
                  </a:lnTo>
                  <a:lnTo>
                    <a:pt x="634" y="218"/>
                  </a:lnTo>
                  <a:lnTo>
                    <a:pt x="634" y="218"/>
                  </a:lnTo>
                  <a:lnTo>
                    <a:pt x="634" y="216"/>
                  </a:lnTo>
                  <a:lnTo>
                    <a:pt x="634" y="216"/>
                  </a:lnTo>
                  <a:lnTo>
                    <a:pt x="636" y="214"/>
                  </a:lnTo>
                  <a:lnTo>
                    <a:pt x="636" y="212"/>
                  </a:lnTo>
                  <a:lnTo>
                    <a:pt x="636" y="212"/>
                  </a:lnTo>
                  <a:lnTo>
                    <a:pt x="636" y="212"/>
                  </a:lnTo>
                  <a:lnTo>
                    <a:pt x="634" y="210"/>
                  </a:lnTo>
                  <a:lnTo>
                    <a:pt x="638" y="210"/>
                  </a:lnTo>
                  <a:lnTo>
                    <a:pt x="642" y="210"/>
                  </a:lnTo>
                  <a:lnTo>
                    <a:pt x="646" y="210"/>
                  </a:lnTo>
                  <a:lnTo>
                    <a:pt x="646" y="210"/>
                  </a:lnTo>
                  <a:lnTo>
                    <a:pt x="646" y="210"/>
                  </a:lnTo>
                  <a:lnTo>
                    <a:pt x="648" y="208"/>
                  </a:lnTo>
                  <a:lnTo>
                    <a:pt x="648" y="208"/>
                  </a:lnTo>
                  <a:lnTo>
                    <a:pt x="648" y="208"/>
                  </a:lnTo>
                  <a:lnTo>
                    <a:pt x="650" y="208"/>
                  </a:lnTo>
                  <a:lnTo>
                    <a:pt x="650" y="208"/>
                  </a:lnTo>
                  <a:lnTo>
                    <a:pt x="652" y="206"/>
                  </a:lnTo>
                  <a:lnTo>
                    <a:pt x="652" y="206"/>
                  </a:lnTo>
                  <a:lnTo>
                    <a:pt x="652" y="206"/>
                  </a:lnTo>
                  <a:lnTo>
                    <a:pt x="654" y="204"/>
                  </a:lnTo>
                  <a:lnTo>
                    <a:pt x="654" y="202"/>
                  </a:lnTo>
                  <a:lnTo>
                    <a:pt x="656" y="198"/>
                  </a:lnTo>
                  <a:lnTo>
                    <a:pt x="656" y="198"/>
                  </a:lnTo>
                  <a:lnTo>
                    <a:pt x="658" y="196"/>
                  </a:lnTo>
                  <a:lnTo>
                    <a:pt x="656" y="190"/>
                  </a:lnTo>
                  <a:lnTo>
                    <a:pt x="656" y="184"/>
                  </a:lnTo>
                  <a:lnTo>
                    <a:pt x="656" y="178"/>
                  </a:lnTo>
                  <a:lnTo>
                    <a:pt x="656" y="172"/>
                  </a:lnTo>
                  <a:lnTo>
                    <a:pt x="656" y="166"/>
                  </a:lnTo>
                  <a:lnTo>
                    <a:pt x="656" y="162"/>
                  </a:lnTo>
                  <a:lnTo>
                    <a:pt x="656" y="158"/>
                  </a:lnTo>
                  <a:lnTo>
                    <a:pt x="654" y="154"/>
                  </a:lnTo>
                  <a:lnTo>
                    <a:pt x="654" y="154"/>
                  </a:lnTo>
                  <a:lnTo>
                    <a:pt x="654" y="154"/>
                  </a:lnTo>
                  <a:lnTo>
                    <a:pt x="652" y="150"/>
                  </a:lnTo>
                  <a:lnTo>
                    <a:pt x="652" y="150"/>
                  </a:lnTo>
                  <a:lnTo>
                    <a:pt x="652" y="150"/>
                  </a:lnTo>
                  <a:lnTo>
                    <a:pt x="650" y="148"/>
                  </a:lnTo>
                  <a:lnTo>
                    <a:pt x="650" y="148"/>
                  </a:lnTo>
                  <a:lnTo>
                    <a:pt x="650" y="146"/>
                  </a:lnTo>
                  <a:lnTo>
                    <a:pt x="648" y="144"/>
                  </a:lnTo>
                  <a:lnTo>
                    <a:pt x="648" y="144"/>
                  </a:lnTo>
                  <a:lnTo>
                    <a:pt x="648" y="144"/>
                  </a:lnTo>
                  <a:lnTo>
                    <a:pt x="644" y="142"/>
                  </a:lnTo>
                  <a:lnTo>
                    <a:pt x="644" y="142"/>
                  </a:lnTo>
                  <a:lnTo>
                    <a:pt x="644" y="142"/>
                  </a:lnTo>
                  <a:lnTo>
                    <a:pt x="640" y="140"/>
                  </a:lnTo>
                  <a:lnTo>
                    <a:pt x="634" y="138"/>
                  </a:lnTo>
                  <a:lnTo>
                    <a:pt x="628" y="138"/>
                  </a:lnTo>
                  <a:lnTo>
                    <a:pt x="624" y="136"/>
                  </a:lnTo>
                  <a:lnTo>
                    <a:pt x="626" y="136"/>
                  </a:lnTo>
                  <a:lnTo>
                    <a:pt x="626" y="134"/>
                  </a:lnTo>
                  <a:lnTo>
                    <a:pt x="626" y="134"/>
                  </a:lnTo>
                  <a:lnTo>
                    <a:pt x="628" y="132"/>
                  </a:lnTo>
                  <a:lnTo>
                    <a:pt x="628" y="132"/>
                  </a:lnTo>
                  <a:lnTo>
                    <a:pt x="630" y="130"/>
                  </a:lnTo>
                  <a:lnTo>
                    <a:pt x="634" y="128"/>
                  </a:lnTo>
                  <a:lnTo>
                    <a:pt x="634" y="128"/>
                  </a:lnTo>
                  <a:lnTo>
                    <a:pt x="634" y="128"/>
                  </a:lnTo>
                  <a:lnTo>
                    <a:pt x="636" y="126"/>
                  </a:lnTo>
                  <a:lnTo>
                    <a:pt x="638" y="124"/>
                  </a:lnTo>
                  <a:lnTo>
                    <a:pt x="640" y="122"/>
                  </a:lnTo>
                  <a:lnTo>
                    <a:pt x="640" y="122"/>
                  </a:lnTo>
                  <a:lnTo>
                    <a:pt x="640" y="122"/>
                  </a:lnTo>
                  <a:lnTo>
                    <a:pt x="642" y="120"/>
                  </a:lnTo>
                  <a:lnTo>
                    <a:pt x="642" y="120"/>
                  </a:lnTo>
                  <a:lnTo>
                    <a:pt x="642" y="118"/>
                  </a:lnTo>
                  <a:lnTo>
                    <a:pt x="642" y="116"/>
                  </a:lnTo>
                  <a:lnTo>
                    <a:pt x="642" y="114"/>
                  </a:lnTo>
                  <a:lnTo>
                    <a:pt x="642" y="112"/>
                  </a:lnTo>
                  <a:lnTo>
                    <a:pt x="642" y="112"/>
                  </a:lnTo>
                  <a:lnTo>
                    <a:pt x="644" y="110"/>
                  </a:lnTo>
                  <a:lnTo>
                    <a:pt x="644" y="108"/>
                  </a:lnTo>
                  <a:lnTo>
                    <a:pt x="646" y="106"/>
                  </a:lnTo>
                  <a:lnTo>
                    <a:pt x="646" y="106"/>
                  </a:lnTo>
                  <a:lnTo>
                    <a:pt x="646" y="104"/>
                  </a:lnTo>
                  <a:lnTo>
                    <a:pt x="646" y="100"/>
                  </a:lnTo>
                  <a:lnTo>
                    <a:pt x="646" y="98"/>
                  </a:lnTo>
                  <a:lnTo>
                    <a:pt x="646" y="96"/>
                  </a:lnTo>
                  <a:lnTo>
                    <a:pt x="644" y="94"/>
                  </a:lnTo>
                  <a:lnTo>
                    <a:pt x="644" y="94"/>
                  </a:lnTo>
                  <a:lnTo>
                    <a:pt x="644" y="94"/>
                  </a:lnTo>
                  <a:lnTo>
                    <a:pt x="644" y="94"/>
                  </a:lnTo>
                  <a:lnTo>
                    <a:pt x="644" y="94"/>
                  </a:lnTo>
                  <a:lnTo>
                    <a:pt x="644" y="92"/>
                  </a:lnTo>
                  <a:lnTo>
                    <a:pt x="642" y="92"/>
                  </a:lnTo>
                  <a:lnTo>
                    <a:pt x="642" y="92"/>
                  </a:lnTo>
                  <a:lnTo>
                    <a:pt x="642" y="92"/>
                  </a:lnTo>
                  <a:lnTo>
                    <a:pt x="640" y="92"/>
                  </a:lnTo>
                  <a:lnTo>
                    <a:pt x="640" y="92"/>
                  </a:lnTo>
                  <a:lnTo>
                    <a:pt x="640" y="92"/>
                  </a:lnTo>
                  <a:lnTo>
                    <a:pt x="638" y="92"/>
                  </a:lnTo>
                  <a:lnTo>
                    <a:pt x="636" y="92"/>
                  </a:lnTo>
                  <a:lnTo>
                    <a:pt x="634" y="92"/>
                  </a:lnTo>
                  <a:lnTo>
                    <a:pt x="632" y="94"/>
                  </a:lnTo>
                  <a:close/>
                  <a:moveTo>
                    <a:pt x="698" y="80"/>
                  </a:moveTo>
                  <a:lnTo>
                    <a:pt x="690" y="80"/>
                  </a:lnTo>
                  <a:lnTo>
                    <a:pt x="686" y="80"/>
                  </a:lnTo>
                  <a:lnTo>
                    <a:pt x="686" y="80"/>
                  </a:lnTo>
                  <a:lnTo>
                    <a:pt x="686" y="80"/>
                  </a:lnTo>
                  <a:lnTo>
                    <a:pt x="682" y="80"/>
                  </a:lnTo>
                  <a:lnTo>
                    <a:pt x="682" y="80"/>
                  </a:lnTo>
                  <a:lnTo>
                    <a:pt x="682" y="80"/>
                  </a:lnTo>
                  <a:lnTo>
                    <a:pt x="678" y="82"/>
                  </a:lnTo>
                  <a:lnTo>
                    <a:pt x="678" y="82"/>
                  </a:lnTo>
                  <a:lnTo>
                    <a:pt x="678" y="84"/>
                  </a:lnTo>
                  <a:lnTo>
                    <a:pt x="676" y="84"/>
                  </a:lnTo>
                  <a:lnTo>
                    <a:pt x="676" y="84"/>
                  </a:lnTo>
                  <a:lnTo>
                    <a:pt x="676" y="84"/>
                  </a:lnTo>
                  <a:lnTo>
                    <a:pt x="674" y="86"/>
                  </a:lnTo>
                  <a:lnTo>
                    <a:pt x="674" y="86"/>
                  </a:lnTo>
                  <a:lnTo>
                    <a:pt x="674" y="90"/>
                  </a:lnTo>
                  <a:lnTo>
                    <a:pt x="676" y="94"/>
                  </a:lnTo>
                  <a:lnTo>
                    <a:pt x="678" y="96"/>
                  </a:lnTo>
                  <a:lnTo>
                    <a:pt x="680" y="98"/>
                  </a:lnTo>
                  <a:lnTo>
                    <a:pt x="682" y="100"/>
                  </a:lnTo>
                  <a:lnTo>
                    <a:pt x="680" y="100"/>
                  </a:lnTo>
                  <a:lnTo>
                    <a:pt x="680" y="102"/>
                  </a:lnTo>
                  <a:lnTo>
                    <a:pt x="678" y="102"/>
                  </a:lnTo>
                  <a:lnTo>
                    <a:pt x="678" y="104"/>
                  </a:lnTo>
                  <a:lnTo>
                    <a:pt x="676" y="104"/>
                  </a:lnTo>
                  <a:lnTo>
                    <a:pt x="676" y="104"/>
                  </a:lnTo>
                  <a:lnTo>
                    <a:pt x="674" y="102"/>
                  </a:lnTo>
                  <a:lnTo>
                    <a:pt x="672" y="100"/>
                  </a:lnTo>
                  <a:lnTo>
                    <a:pt x="672" y="100"/>
                  </a:lnTo>
                  <a:lnTo>
                    <a:pt x="668" y="100"/>
                  </a:lnTo>
                  <a:lnTo>
                    <a:pt x="668" y="100"/>
                  </a:lnTo>
                  <a:lnTo>
                    <a:pt x="666" y="102"/>
                  </a:lnTo>
                  <a:lnTo>
                    <a:pt x="666" y="104"/>
                  </a:lnTo>
                  <a:lnTo>
                    <a:pt x="668" y="106"/>
                  </a:lnTo>
                  <a:lnTo>
                    <a:pt x="668" y="108"/>
                  </a:lnTo>
                  <a:lnTo>
                    <a:pt x="668" y="112"/>
                  </a:lnTo>
                  <a:lnTo>
                    <a:pt x="668" y="116"/>
                  </a:lnTo>
                  <a:lnTo>
                    <a:pt x="668" y="122"/>
                  </a:lnTo>
                  <a:lnTo>
                    <a:pt x="668" y="130"/>
                  </a:lnTo>
                  <a:lnTo>
                    <a:pt x="668" y="138"/>
                  </a:lnTo>
                  <a:lnTo>
                    <a:pt x="670" y="144"/>
                  </a:lnTo>
                  <a:lnTo>
                    <a:pt x="670" y="152"/>
                  </a:lnTo>
                  <a:lnTo>
                    <a:pt x="670" y="160"/>
                  </a:lnTo>
                  <a:lnTo>
                    <a:pt x="672" y="166"/>
                  </a:lnTo>
                  <a:lnTo>
                    <a:pt x="672" y="172"/>
                  </a:lnTo>
                  <a:lnTo>
                    <a:pt x="674" y="178"/>
                  </a:lnTo>
                  <a:lnTo>
                    <a:pt x="676" y="182"/>
                  </a:lnTo>
                  <a:lnTo>
                    <a:pt x="676" y="184"/>
                  </a:lnTo>
                  <a:lnTo>
                    <a:pt x="676" y="184"/>
                  </a:lnTo>
                  <a:lnTo>
                    <a:pt x="676" y="184"/>
                  </a:lnTo>
                  <a:lnTo>
                    <a:pt x="678" y="186"/>
                  </a:lnTo>
                  <a:lnTo>
                    <a:pt x="678" y="186"/>
                  </a:lnTo>
                  <a:lnTo>
                    <a:pt x="678" y="186"/>
                  </a:lnTo>
                  <a:lnTo>
                    <a:pt x="678" y="186"/>
                  </a:lnTo>
                  <a:lnTo>
                    <a:pt x="678" y="186"/>
                  </a:lnTo>
                  <a:lnTo>
                    <a:pt x="680" y="188"/>
                  </a:lnTo>
                  <a:lnTo>
                    <a:pt x="680" y="188"/>
                  </a:lnTo>
                  <a:lnTo>
                    <a:pt x="680" y="188"/>
                  </a:lnTo>
                  <a:lnTo>
                    <a:pt x="682" y="188"/>
                  </a:lnTo>
                  <a:lnTo>
                    <a:pt x="684" y="188"/>
                  </a:lnTo>
                  <a:lnTo>
                    <a:pt x="686" y="188"/>
                  </a:lnTo>
                  <a:lnTo>
                    <a:pt x="690" y="186"/>
                  </a:lnTo>
                  <a:lnTo>
                    <a:pt x="690" y="186"/>
                  </a:lnTo>
                  <a:lnTo>
                    <a:pt x="690" y="186"/>
                  </a:lnTo>
                  <a:lnTo>
                    <a:pt x="692" y="184"/>
                  </a:lnTo>
                  <a:lnTo>
                    <a:pt x="692" y="184"/>
                  </a:lnTo>
                  <a:lnTo>
                    <a:pt x="694" y="184"/>
                  </a:lnTo>
                  <a:lnTo>
                    <a:pt x="694" y="182"/>
                  </a:lnTo>
                  <a:lnTo>
                    <a:pt x="694" y="182"/>
                  </a:lnTo>
                  <a:lnTo>
                    <a:pt x="694" y="182"/>
                  </a:lnTo>
                  <a:lnTo>
                    <a:pt x="696" y="180"/>
                  </a:lnTo>
                  <a:lnTo>
                    <a:pt x="696" y="176"/>
                  </a:lnTo>
                  <a:lnTo>
                    <a:pt x="698" y="174"/>
                  </a:lnTo>
                  <a:lnTo>
                    <a:pt x="700" y="170"/>
                  </a:lnTo>
                  <a:lnTo>
                    <a:pt x="700" y="170"/>
                  </a:lnTo>
                  <a:lnTo>
                    <a:pt x="700" y="170"/>
                  </a:lnTo>
                  <a:lnTo>
                    <a:pt x="700" y="166"/>
                  </a:lnTo>
                  <a:lnTo>
                    <a:pt x="700" y="164"/>
                  </a:lnTo>
                  <a:lnTo>
                    <a:pt x="700" y="164"/>
                  </a:lnTo>
                  <a:lnTo>
                    <a:pt x="700" y="164"/>
                  </a:lnTo>
                  <a:lnTo>
                    <a:pt x="698" y="160"/>
                  </a:lnTo>
                  <a:lnTo>
                    <a:pt x="698" y="160"/>
                  </a:lnTo>
                  <a:lnTo>
                    <a:pt x="698" y="158"/>
                  </a:lnTo>
                  <a:lnTo>
                    <a:pt x="698" y="156"/>
                  </a:lnTo>
                  <a:lnTo>
                    <a:pt x="696" y="154"/>
                  </a:lnTo>
                  <a:lnTo>
                    <a:pt x="696" y="154"/>
                  </a:lnTo>
                  <a:lnTo>
                    <a:pt x="696" y="154"/>
                  </a:lnTo>
                  <a:lnTo>
                    <a:pt x="696" y="152"/>
                  </a:lnTo>
                  <a:lnTo>
                    <a:pt x="696" y="152"/>
                  </a:lnTo>
                  <a:lnTo>
                    <a:pt x="700" y="150"/>
                  </a:lnTo>
                  <a:lnTo>
                    <a:pt x="704" y="150"/>
                  </a:lnTo>
                  <a:lnTo>
                    <a:pt x="708" y="148"/>
                  </a:lnTo>
                  <a:lnTo>
                    <a:pt x="716" y="148"/>
                  </a:lnTo>
                  <a:lnTo>
                    <a:pt x="726" y="148"/>
                  </a:lnTo>
                  <a:lnTo>
                    <a:pt x="726" y="148"/>
                  </a:lnTo>
                  <a:lnTo>
                    <a:pt x="728" y="146"/>
                  </a:lnTo>
                  <a:lnTo>
                    <a:pt x="728" y="144"/>
                  </a:lnTo>
                  <a:lnTo>
                    <a:pt x="730" y="140"/>
                  </a:lnTo>
                  <a:lnTo>
                    <a:pt x="730" y="136"/>
                  </a:lnTo>
                  <a:lnTo>
                    <a:pt x="730" y="132"/>
                  </a:lnTo>
                  <a:lnTo>
                    <a:pt x="730" y="128"/>
                  </a:lnTo>
                  <a:lnTo>
                    <a:pt x="732" y="126"/>
                  </a:lnTo>
                  <a:lnTo>
                    <a:pt x="734" y="124"/>
                  </a:lnTo>
                  <a:lnTo>
                    <a:pt x="736" y="122"/>
                  </a:lnTo>
                  <a:lnTo>
                    <a:pt x="736" y="122"/>
                  </a:lnTo>
                  <a:lnTo>
                    <a:pt x="740" y="120"/>
                  </a:lnTo>
                  <a:lnTo>
                    <a:pt x="740" y="120"/>
                  </a:lnTo>
                  <a:lnTo>
                    <a:pt x="740" y="118"/>
                  </a:lnTo>
                  <a:lnTo>
                    <a:pt x="742" y="114"/>
                  </a:lnTo>
                  <a:lnTo>
                    <a:pt x="744" y="108"/>
                  </a:lnTo>
                  <a:lnTo>
                    <a:pt x="742" y="110"/>
                  </a:lnTo>
                  <a:lnTo>
                    <a:pt x="746" y="106"/>
                  </a:lnTo>
                  <a:lnTo>
                    <a:pt x="746" y="106"/>
                  </a:lnTo>
                  <a:lnTo>
                    <a:pt x="746" y="104"/>
                  </a:lnTo>
                  <a:lnTo>
                    <a:pt x="748" y="102"/>
                  </a:lnTo>
                  <a:lnTo>
                    <a:pt x="748" y="102"/>
                  </a:lnTo>
                  <a:lnTo>
                    <a:pt x="750" y="102"/>
                  </a:lnTo>
                  <a:lnTo>
                    <a:pt x="750" y="98"/>
                  </a:lnTo>
                  <a:lnTo>
                    <a:pt x="750" y="98"/>
                  </a:lnTo>
                  <a:lnTo>
                    <a:pt x="750" y="98"/>
                  </a:lnTo>
                  <a:lnTo>
                    <a:pt x="752" y="96"/>
                  </a:lnTo>
                  <a:lnTo>
                    <a:pt x="752" y="96"/>
                  </a:lnTo>
                  <a:lnTo>
                    <a:pt x="752" y="94"/>
                  </a:lnTo>
                  <a:lnTo>
                    <a:pt x="750" y="94"/>
                  </a:lnTo>
                  <a:lnTo>
                    <a:pt x="750" y="94"/>
                  </a:lnTo>
                  <a:lnTo>
                    <a:pt x="750" y="92"/>
                  </a:lnTo>
                  <a:lnTo>
                    <a:pt x="750" y="92"/>
                  </a:lnTo>
                  <a:lnTo>
                    <a:pt x="750" y="92"/>
                  </a:lnTo>
                  <a:lnTo>
                    <a:pt x="748" y="90"/>
                  </a:lnTo>
                  <a:lnTo>
                    <a:pt x="746" y="90"/>
                  </a:lnTo>
                  <a:lnTo>
                    <a:pt x="746" y="90"/>
                  </a:lnTo>
                  <a:lnTo>
                    <a:pt x="746" y="90"/>
                  </a:lnTo>
                  <a:lnTo>
                    <a:pt x="744" y="90"/>
                  </a:lnTo>
                  <a:lnTo>
                    <a:pt x="740" y="88"/>
                  </a:lnTo>
                  <a:lnTo>
                    <a:pt x="740" y="88"/>
                  </a:lnTo>
                  <a:lnTo>
                    <a:pt x="738" y="88"/>
                  </a:lnTo>
                  <a:lnTo>
                    <a:pt x="734" y="88"/>
                  </a:lnTo>
                  <a:lnTo>
                    <a:pt x="728" y="88"/>
                  </a:lnTo>
                  <a:lnTo>
                    <a:pt x="722" y="88"/>
                  </a:lnTo>
                  <a:lnTo>
                    <a:pt x="716" y="90"/>
                  </a:lnTo>
                  <a:lnTo>
                    <a:pt x="716" y="90"/>
                  </a:lnTo>
                  <a:lnTo>
                    <a:pt x="716" y="90"/>
                  </a:lnTo>
                  <a:lnTo>
                    <a:pt x="714" y="90"/>
                  </a:lnTo>
                  <a:lnTo>
                    <a:pt x="714" y="90"/>
                  </a:lnTo>
                  <a:lnTo>
                    <a:pt x="714" y="90"/>
                  </a:lnTo>
                  <a:lnTo>
                    <a:pt x="714" y="90"/>
                  </a:lnTo>
                  <a:lnTo>
                    <a:pt x="714" y="90"/>
                  </a:lnTo>
                  <a:lnTo>
                    <a:pt x="712" y="90"/>
                  </a:lnTo>
                  <a:lnTo>
                    <a:pt x="712" y="88"/>
                  </a:lnTo>
                  <a:lnTo>
                    <a:pt x="710" y="82"/>
                  </a:lnTo>
                  <a:lnTo>
                    <a:pt x="710" y="82"/>
                  </a:lnTo>
                  <a:lnTo>
                    <a:pt x="710" y="82"/>
                  </a:lnTo>
                  <a:lnTo>
                    <a:pt x="710" y="80"/>
                  </a:lnTo>
                  <a:lnTo>
                    <a:pt x="710" y="80"/>
                  </a:lnTo>
                  <a:lnTo>
                    <a:pt x="708" y="80"/>
                  </a:lnTo>
                  <a:lnTo>
                    <a:pt x="708" y="78"/>
                  </a:lnTo>
                  <a:lnTo>
                    <a:pt x="708" y="78"/>
                  </a:lnTo>
                  <a:lnTo>
                    <a:pt x="704" y="78"/>
                  </a:lnTo>
                  <a:lnTo>
                    <a:pt x="700" y="78"/>
                  </a:lnTo>
                  <a:lnTo>
                    <a:pt x="698" y="80"/>
                  </a:lnTo>
                  <a:close/>
                  <a:moveTo>
                    <a:pt x="904" y="98"/>
                  </a:moveTo>
                  <a:lnTo>
                    <a:pt x="902" y="98"/>
                  </a:lnTo>
                  <a:lnTo>
                    <a:pt x="900" y="98"/>
                  </a:lnTo>
                  <a:lnTo>
                    <a:pt x="896" y="98"/>
                  </a:lnTo>
                  <a:lnTo>
                    <a:pt x="892" y="96"/>
                  </a:lnTo>
                  <a:lnTo>
                    <a:pt x="892" y="96"/>
                  </a:lnTo>
                  <a:lnTo>
                    <a:pt x="890" y="98"/>
                  </a:lnTo>
                  <a:lnTo>
                    <a:pt x="890" y="98"/>
                  </a:lnTo>
                  <a:lnTo>
                    <a:pt x="888" y="100"/>
                  </a:lnTo>
                  <a:lnTo>
                    <a:pt x="888" y="102"/>
                  </a:lnTo>
                  <a:lnTo>
                    <a:pt x="888" y="104"/>
                  </a:lnTo>
                  <a:lnTo>
                    <a:pt x="890" y="108"/>
                  </a:lnTo>
                  <a:lnTo>
                    <a:pt x="890" y="110"/>
                  </a:lnTo>
                  <a:lnTo>
                    <a:pt x="890" y="118"/>
                  </a:lnTo>
                  <a:lnTo>
                    <a:pt x="890" y="126"/>
                  </a:lnTo>
                  <a:lnTo>
                    <a:pt x="892" y="132"/>
                  </a:lnTo>
                  <a:lnTo>
                    <a:pt x="894" y="140"/>
                  </a:lnTo>
                  <a:lnTo>
                    <a:pt x="894" y="142"/>
                  </a:lnTo>
                  <a:lnTo>
                    <a:pt x="896" y="146"/>
                  </a:lnTo>
                  <a:lnTo>
                    <a:pt x="896" y="146"/>
                  </a:lnTo>
                  <a:lnTo>
                    <a:pt x="896" y="146"/>
                  </a:lnTo>
                  <a:lnTo>
                    <a:pt x="898" y="148"/>
                  </a:lnTo>
                  <a:lnTo>
                    <a:pt x="898" y="148"/>
                  </a:lnTo>
                  <a:lnTo>
                    <a:pt x="898" y="148"/>
                  </a:lnTo>
                  <a:lnTo>
                    <a:pt x="900" y="150"/>
                  </a:lnTo>
                  <a:lnTo>
                    <a:pt x="900" y="150"/>
                  </a:lnTo>
                  <a:lnTo>
                    <a:pt x="902" y="150"/>
                  </a:lnTo>
                  <a:lnTo>
                    <a:pt x="908" y="148"/>
                  </a:lnTo>
                  <a:lnTo>
                    <a:pt x="912" y="146"/>
                  </a:lnTo>
                  <a:lnTo>
                    <a:pt x="916" y="146"/>
                  </a:lnTo>
                  <a:lnTo>
                    <a:pt x="922" y="146"/>
                  </a:lnTo>
                  <a:lnTo>
                    <a:pt x="932" y="146"/>
                  </a:lnTo>
                  <a:lnTo>
                    <a:pt x="942" y="144"/>
                  </a:lnTo>
                  <a:lnTo>
                    <a:pt x="942" y="144"/>
                  </a:lnTo>
                  <a:lnTo>
                    <a:pt x="944" y="144"/>
                  </a:lnTo>
                  <a:lnTo>
                    <a:pt x="946" y="144"/>
                  </a:lnTo>
                  <a:lnTo>
                    <a:pt x="948" y="142"/>
                  </a:lnTo>
                  <a:lnTo>
                    <a:pt x="948" y="142"/>
                  </a:lnTo>
                  <a:lnTo>
                    <a:pt x="948" y="142"/>
                  </a:lnTo>
                  <a:lnTo>
                    <a:pt x="948" y="140"/>
                  </a:lnTo>
                  <a:lnTo>
                    <a:pt x="948" y="140"/>
                  </a:lnTo>
                  <a:lnTo>
                    <a:pt x="950" y="140"/>
                  </a:lnTo>
                  <a:lnTo>
                    <a:pt x="950" y="138"/>
                  </a:lnTo>
                  <a:lnTo>
                    <a:pt x="950" y="138"/>
                  </a:lnTo>
                  <a:lnTo>
                    <a:pt x="950" y="138"/>
                  </a:lnTo>
                  <a:lnTo>
                    <a:pt x="950" y="134"/>
                  </a:lnTo>
                  <a:lnTo>
                    <a:pt x="950" y="134"/>
                  </a:lnTo>
                  <a:lnTo>
                    <a:pt x="950" y="134"/>
                  </a:lnTo>
                  <a:lnTo>
                    <a:pt x="948" y="130"/>
                  </a:lnTo>
                  <a:lnTo>
                    <a:pt x="948" y="130"/>
                  </a:lnTo>
                  <a:lnTo>
                    <a:pt x="948" y="130"/>
                  </a:lnTo>
                  <a:lnTo>
                    <a:pt x="946" y="128"/>
                  </a:lnTo>
                  <a:lnTo>
                    <a:pt x="946" y="128"/>
                  </a:lnTo>
                  <a:lnTo>
                    <a:pt x="946" y="128"/>
                  </a:lnTo>
                  <a:lnTo>
                    <a:pt x="944" y="124"/>
                  </a:lnTo>
                  <a:lnTo>
                    <a:pt x="942" y="122"/>
                  </a:lnTo>
                  <a:lnTo>
                    <a:pt x="938" y="122"/>
                  </a:lnTo>
                  <a:lnTo>
                    <a:pt x="938" y="118"/>
                  </a:lnTo>
                  <a:lnTo>
                    <a:pt x="936" y="116"/>
                  </a:lnTo>
                  <a:lnTo>
                    <a:pt x="932" y="114"/>
                  </a:lnTo>
                  <a:lnTo>
                    <a:pt x="930" y="112"/>
                  </a:lnTo>
                  <a:lnTo>
                    <a:pt x="930" y="112"/>
                  </a:lnTo>
                  <a:lnTo>
                    <a:pt x="930" y="110"/>
                  </a:lnTo>
                  <a:lnTo>
                    <a:pt x="924" y="108"/>
                  </a:lnTo>
                  <a:lnTo>
                    <a:pt x="924" y="108"/>
                  </a:lnTo>
                  <a:lnTo>
                    <a:pt x="924" y="108"/>
                  </a:lnTo>
                  <a:lnTo>
                    <a:pt x="918" y="106"/>
                  </a:lnTo>
                  <a:lnTo>
                    <a:pt x="918" y="106"/>
                  </a:lnTo>
                  <a:lnTo>
                    <a:pt x="916" y="104"/>
                  </a:lnTo>
                  <a:lnTo>
                    <a:pt x="916" y="102"/>
                  </a:lnTo>
                  <a:lnTo>
                    <a:pt x="916" y="102"/>
                  </a:lnTo>
                  <a:lnTo>
                    <a:pt x="914" y="102"/>
                  </a:lnTo>
                  <a:lnTo>
                    <a:pt x="914" y="100"/>
                  </a:lnTo>
                  <a:lnTo>
                    <a:pt x="914" y="100"/>
                  </a:lnTo>
                  <a:lnTo>
                    <a:pt x="912" y="100"/>
                  </a:lnTo>
                  <a:lnTo>
                    <a:pt x="912" y="98"/>
                  </a:lnTo>
                  <a:lnTo>
                    <a:pt x="912" y="98"/>
                  </a:lnTo>
                  <a:lnTo>
                    <a:pt x="910" y="98"/>
                  </a:lnTo>
                  <a:lnTo>
                    <a:pt x="908" y="98"/>
                  </a:lnTo>
                  <a:lnTo>
                    <a:pt x="906" y="98"/>
                  </a:lnTo>
                  <a:lnTo>
                    <a:pt x="904" y="98"/>
                  </a:lnTo>
                  <a:close/>
                  <a:moveTo>
                    <a:pt x="938" y="358"/>
                  </a:moveTo>
                  <a:lnTo>
                    <a:pt x="936" y="362"/>
                  </a:lnTo>
                  <a:lnTo>
                    <a:pt x="934" y="366"/>
                  </a:lnTo>
                  <a:lnTo>
                    <a:pt x="934" y="366"/>
                  </a:lnTo>
                  <a:lnTo>
                    <a:pt x="934" y="366"/>
                  </a:lnTo>
                  <a:lnTo>
                    <a:pt x="932" y="370"/>
                  </a:lnTo>
                  <a:lnTo>
                    <a:pt x="932" y="370"/>
                  </a:lnTo>
                  <a:lnTo>
                    <a:pt x="932" y="370"/>
                  </a:lnTo>
                  <a:lnTo>
                    <a:pt x="932" y="374"/>
                  </a:lnTo>
                  <a:lnTo>
                    <a:pt x="932" y="374"/>
                  </a:lnTo>
                  <a:lnTo>
                    <a:pt x="932" y="376"/>
                  </a:lnTo>
                  <a:lnTo>
                    <a:pt x="932" y="378"/>
                  </a:lnTo>
                  <a:lnTo>
                    <a:pt x="932" y="378"/>
                  </a:lnTo>
                  <a:lnTo>
                    <a:pt x="932" y="378"/>
                  </a:lnTo>
                  <a:lnTo>
                    <a:pt x="932" y="380"/>
                  </a:lnTo>
                  <a:lnTo>
                    <a:pt x="932" y="380"/>
                  </a:lnTo>
                  <a:lnTo>
                    <a:pt x="932" y="380"/>
                  </a:lnTo>
                  <a:lnTo>
                    <a:pt x="934" y="382"/>
                  </a:lnTo>
                  <a:lnTo>
                    <a:pt x="934" y="382"/>
                  </a:lnTo>
                  <a:lnTo>
                    <a:pt x="934" y="382"/>
                  </a:lnTo>
                  <a:lnTo>
                    <a:pt x="934" y="386"/>
                  </a:lnTo>
                  <a:lnTo>
                    <a:pt x="934" y="386"/>
                  </a:lnTo>
                  <a:lnTo>
                    <a:pt x="936" y="386"/>
                  </a:lnTo>
                  <a:lnTo>
                    <a:pt x="938" y="388"/>
                  </a:lnTo>
                  <a:lnTo>
                    <a:pt x="938" y="388"/>
                  </a:lnTo>
                  <a:lnTo>
                    <a:pt x="938" y="388"/>
                  </a:lnTo>
                  <a:lnTo>
                    <a:pt x="940" y="388"/>
                  </a:lnTo>
                  <a:lnTo>
                    <a:pt x="940" y="388"/>
                  </a:lnTo>
                  <a:lnTo>
                    <a:pt x="942" y="388"/>
                  </a:lnTo>
                  <a:lnTo>
                    <a:pt x="944" y="390"/>
                  </a:lnTo>
                  <a:lnTo>
                    <a:pt x="944" y="390"/>
                  </a:lnTo>
                  <a:lnTo>
                    <a:pt x="944" y="390"/>
                  </a:lnTo>
                  <a:lnTo>
                    <a:pt x="948" y="390"/>
                  </a:lnTo>
                  <a:lnTo>
                    <a:pt x="954" y="388"/>
                  </a:lnTo>
                  <a:lnTo>
                    <a:pt x="956" y="388"/>
                  </a:lnTo>
                  <a:lnTo>
                    <a:pt x="960" y="388"/>
                  </a:lnTo>
                  <a:lnTo>
                    <a:pt x="960" y="388"/>
                  </a:lnTo>
                  <a:lnTo>
                    <a:pt x="962" y="388"/>
                  </a:lnTo>
                  <a:lnTo>
                    <a:pt x="962" y="386"/>
                  </a:lnTo>
                  <a:lnTo>
                    <a:pt x="962" y="386"/>
                  </a:lnTo>
                  <a:lnTo>
                    <a:pt x="962" y="386"/>
                  </a:lnTo>
                  <a:lnTo>
                    <a:pt x="964" y="384"/>
                  </a:lnTo>
                  <a:lnTo>
                    <a:pt x="964" y="382"/>
                  </a:lnTo>
                  <a:lnTo>
                    <a:pt x="966" y="380"/>
                  </a:lnTo>
                  <a:lnTo>
                    <a:pt x="966" y="378"/>
                  </a:lnTo>
                  <a:lnTo>
                    <a:pt x="968" y="374"/>
                  </a:lnTo>
                  <a:lnTo>
                    <a:pt x="970" y="368"/>
                  </a:lnTo>
                  <a:lnTo>
                    <a:pt x="972" y="360"/>
                  </a:lnTo>
                  <a:lnTo>
                    <a:pt x="972" y="358"/>
                  </a:lnTo>
                  <a:lnTo>
                    <a:pt x="972" y="354"/>
                  </a:lnTo>
                  <a:lnTo>
                    <a:pt x="972" y="352"/>
                  </a:lnTo>
                  <a:lnTo>
                    <a:pt x="972" y="352"/>
                  </a:lnTo>
                  <a:lnTo>
                    <a:pt x="972" y="350"/>
                  </a:lnTo>
                  <a:lnTo>
                    <a:pt x="972" y="350"/>
                  </a:lnTo>
                  <a:lnTo>
                    <a:pt x="970" y="348"/>
                  </a:lnTo>
                  <a:lnTo>
                    <a:pt x="970" y="348"/>
                  </a:lnTo>
                  <a:lnTo>
                    <a:pt x="970" y="348"/>
                  </a:lnTo>
                  <a:lnTo>
                    <a:pt x="970" y="346"/>
                  </a:lnTo>
                  <a:lnTo>
                    <a:pt x="968" y="346"/>
                  </a:lnTo>
                  <a:lnTo>
                    <a:pt x="968" y="346"/>
                  </a:lnTo>
                  <a:lnTo>
                    <a:pt x="966" y="346"/>
                  </a:lnTo>
                  <a:lnTo>
                    <a:pt x="960" y="344"/>
                  </a:lnTo>
                  <a:lnTo>
                    <a:pt x="954" y="344"/>
                  </a:lnTo>
                  <a:lnTo>
                    <a:pt x="950" y="344"/>
                  </a:lnTo>
                  <a:lnTo>
                    <a:pt x="944" y="344"/>
                  </a:lnTo>
                  <a:lnTo>
                    <a:pt x="944" y="344"/>
                  </a:lnTo>
                  <a:lnTo>
                    <a:pt x="942" y="344"/>
                  </a:lnTo>
                  <a:lnTo>
                    <a:pt x="942" y="344"/>
                  </a:lnTo>
                  <a:lnTo>
                    <a:pt x="940" y="346"/>
                  </a:lnTo>
                  <a:lnTo>
                    <a:pt x="940" y="348"/>
                  </a:lnTo>
                  <a:lnTo>
                    <a:pt x="940" y="348"/>
                  </a:lnTo>
                  <a:lnTo>
                    <a:pt x="940" y="348"/>
                  </a:lnTo>
                  <a:lnTo>
                    <a:pt x="940" y="348"/>
                  </a:lnTo>
                  <a:lnTo>
                    <a:pt x="940" y="350"/>
                  </a:lnTo>
                  <a:lnTo>
                    <a:pt x="942" y="350"/>
                  </a:lnTo>
                  <a:lnTo>
                    <a:pt x="942" y="352"/>
                  </a:lnTo>
                  <a:lnTo>
                    <a:pt x="942" y="352"/>
                  </a:lnTo>
                  <a:lnTo>
                    <a:pt x="940" y="354"/>
                  </a:lnTo>
                  <a:lnTo>
                    <a:pt x="938" y="358"/>
                  </a:lnTo>
                  <a:close/>
                  <a:moveTo>
                    <a:pt x="870" y="536"/>
                  </a:moveTo>
                  <a:lnTo>
                    <a:pt x="870" y="534"/>
                  </a:lnTo>
                  <a:lnTo>
                    <a:pt x="870" y="534"/>
                  </a:lnTo>
                  <a:lnTo>
                    <a:pt x="870" y="534"/>
                  </a:lnTo>
                  <a:lnTo>
                    <a:pt x="868" y="534"/>
                  </a:lnTo>
                  <a:lnTo>
                    <a:pt x="868" y="534"/>
                  </a:lnTo>
                  <a:lnTo>
                    <a:pt x="868" y="532"/>
                  </a:lnTo>
                  <a:lnTo>
                    <a:pt x="866" y="532"/>
                  </a:lnTo>
                  <a:lnTo>
                    <a:pt x="866" y="532"/>
                  </a:lnTo>
                  <a:lnTo>
                    <a:pt x="866" y="532"/>
                  </a:lnTo>
                  <a:lnTo>
                    <a:pt x="864" y="532"/>
                  </a:lnTo>
                  <a:lnTo>
                    <a:pt x="860" y="532"/>
                  </a:lnTo>
                  <a:lnTo>
                    <a:pt x="856" y="532"/>
                  </a:lnTo>
                  <a:lnTo>
                    <a:pt x="850" y="532"/>
                  </a:lnTo>
                  <a:lnTo>
                    <a:pt x="848" y="532"/>
                  </a:lnTo>
                  <a:lnTo>
                    <a:pt x="844" y="532"/>
                  </a:lnTo>
                  <a:lnTo>
                    <a:pt x="842" y="534"/>
                  </a:lnTo>
                  <a:lnTo>
                    <a:pt x="842" y="534"/>
                  </a:lnTo>
                  <a:lnTo>
                    <a:pt x="840" y="534"/>
                  </a:lnTo>
                  <a:lnTo>
                    <a:pt x="836" y="540"/>
                  </a:lnTo>
                  <a:lnTo>
                    <a:pt x="836" y="544"/>
                  </a:lnTo>
                  <a:lnTo>
                    <a:pt x="836" y="546"/>
                  </a:lnTo>
                  <a:lnTo>
                    <a:pt x="836" y="546"/>
                  </a:lnTo>
                  <a:lnTo>
                    <a:pt x="836" y="546"/>
                  </a:lnTo>
                  <a:lnTo>
                    <a:pt x="836" y="550"/>
                  </a:lnTo>
                  <a:lnTo>
                    <a:pt x="836" y="550"/>
                  </a:lnTo>
                  <a:lnTo>
                    <a:pt x="836" y="550"/>
                  </a:lnTo>
                  <a:lnTo>
                    <a:pt x="836" y="552"/>
                  </a:lnTo>
                  <a:lnTo>
                    <a:pt x="836" y="552"/>
                  </a:lnTo>
                  <a:lnTo>
                    <a:pt x="838" y="554"/>
                  </a:lnTo>
                  <a:lnTo>
                    <a:pt x="840" y="554"/>
                  </a:lnTo>
                  <a:lnTo>
                    <a:pt x="840" y="554"/>
                  </a:lnTo>
                  <a:lnTo>
                    <a:pt x="840" y="554"/>
                  </a:lnTo>
                  <a:lnTo>
                    <a:pt x="844" y="556"/>
                  </a:lnTo>
                  <a:lnTo>
                    <a:pt x="844" y="556"/>
                  </a:lnTo>
                  <a:lnTo>
                    <a:pt x="844" y="556"/>
                  </a:lnTo>
                  <a:lnTo>
                    <a:pt x="846" y="556"/>
                  </a:lnTo>
                  <a:lnTo>
                    <a:pt x="850" y="556"/>
                  </a:lnTo>
                  <a:lnTo>
                    <a:pt x="854" y="556"/>
                  </a:lnTo>
                  <a:lnTo>
                    <a:pt x="858" y="556"/>
                  </a:lnTo>
                  <a:lnTo>
                    <a:pt x="860" y="554"/>
                  </a:lnTo>
                  <a:lnTo>
                    <a:pt x="860" y="554"/>
                  </a:lnTo>
                  <a:lnTo>
                    <a:pt x="862" y="554"/>
                  </a:lnTo>
                  <a:lnTo>
                    <a:pt x="864" y="554"/>
                  </a:lnTo>
                  <a:lnTo>
                    <a:pt x="864" y="554"/>
                  </a:lnTo>
                  <a:lnTo>
                    <a:pt x="864" y="554"/>
                  </a:lnTo>
                  <a:lnTo>
                    <a:pt x="866" y="552"/>
                  </a:lnTo>
                  <a:lnTo>
                    <a:pt x="866" y="552"/>
                  </a:lnTo>
                  <a:lnTo>
                    <a:pt x="868" y="550"/>
                  </a:lnTo>
                  <a:lnTo>
                    <a:pt x="870" y="548"/>
                  </a:lnTo>
                  <a:lnTo>
                    <a:pt x="870" y="548"/>
                  </a:lnTo>
                  <a:lnTo>
                    <a:pt x="870" y="548"/>
                  </a:lnTo>
                  <a:lnTo>
                    <a:pt x="872" y="544"/>
                  </a:lnTo>
                  <a:lnTo>
                    <a:pt x="872" y="544"/>
                  </a:lnTo>
                  <a:lnTo>
                    <a:pt x="872" y="542"/>
                  </a:lnTo>
                  <a:lnTo>
                    <a:pt x="872" y="542"/>
                  </a:lnTo>
                  <a:lnTo>
                    <a:pt x="872" y="542"/>
                  </a:lnTo>
                  <a:lnTo>
                    <a:pt x="872" y="540"/>
                  </a:lnTo>
                  <a:lnTo>
                    <a:pt x="872" y="538"/>
                  </a:lnTo>
                  <a:lnTo>
                    <a:pt x="872" y="538"/>
                  </a:lnTo>
                  <a:lnTo>
                    <a:pt x="872" y="538"/>
                  </a:lnTo>
                  <a:lnTo>
                    <a:pt x="872" y="536"/>
                  </a:lnTo>
                  <a:lnTo>
                    <a:pt x="872" y="536"/>
                  </a:lnTo>
                  <a:lnTo>
                    <a:pt x="870" y="536"/>
                  </a:lnTo>
                  <a:lnTo>
                    <a:pt x="870" y="536"/>
                  </a:lnTo>
                  <a:close/>
                  <a:moveTo>
                    <a:pt x="890" y="574"/>
                  </a:moveTo>
                  <a:lnTo>
                    <a:pt x="890" y="574"/>
                  </a:lnTo>
                  <a:lnTo>
                    <a:pt x="892" y="574"/>
                  </a:lnTo>
                  <a:lnTo>
                    <a:pt x="892" y="574"/>
                  </a:lnTo>
                  <a:lnTo>
                    <a:pt x="892" y="574"/>
                  </a:lnTo>
                  <a:lnTo>
                    <a:pt x="894" y="574"/>
                  </a:lnTo>
                  <a:lnTo>
                    <a:pt x="896" y="576"/>
                  </a:lnTo>
                  <a:lnTo>
                    <a:pt x="898" y="576"/>
                  </a:lnTo>
                  <a:lnTo>
                    <a:pt x="898" y="576"/>
                  </a:lnTo>
                  <a:lnTo>
                    <a:pt x="900" y="576"/>
                  </a:lnTo>
                  <a:lnTo>
                    <a:pt x="902" y="576"/>
                  </a:lnTo>
                  <a:lnTo>
                    <a:pt x="902" y="576"/>
                  </a:lnTo>
                  <a:lnTo>
                    <a:pt x="902" y="576"/>
                  </a:lnTo>
                  <a:lnTo>
                    <a:pt x="904" y="574"/>
                  </a:lnTo>
                  <a:lnTo>
                    <a:pt x="904" y="574"/>
                  </a:lnTo>
                  <a:lnTo>
                    <a:pt x="906" y="574"/>
                  </a:lnTo>
                  <a:lnTo>
                    <a:pt x="908" y="570"/>
                  </a:lnTo>
                  <a:lnTo>
                    <a:pt x="908" y="570"/>
                  </a:lnTo>
                  <a:lnTo>
                    <a:pt x="910" y="570"/>
                  </a:lnTo>
                  <a:lnTo>
                    <a:pt x="910" y="566"/>
                  </a:lnTo>
                  <a:lnTo>
                    <a:pt x="910" y="566"/>
                  </a:lnTo>
                  <a:lnTo>
                    <a:pt x="910" y="564"/>
                  </a:lnTo>
                  <a:lnTo>
                    <a:pt x="912" y="560"/>
                  </a:lnTo>
                  <a:lnTo>
                    <a:pt x="912" y="560"/>
                  </a:lnTo>
                  <a:lnTo>
                    <a:pt x="912" y="560"/>
                  </a:lnTo>
                  <a:lnTo>
                    <a:pt x="910" y="556"/>
                  </a:lnTo>
                  <a:lnTo>
                    <a:pt x="910" y="556"/>
                  </a:lnTo>
                  <a:lnTo>
                    <a:pt x="910" y="554"/>
                  </a:lnTo>
                  <a:lnTo>
                    <a:pt x="908" y="550"/>
                  </a:lnTo>
                  <a:lnTo>
                    <a:pt x="908" y="550"/>
                  </a:lnTo>
                  <a:lnTo>
                    <a:pt x="908" y="550"/>
                  </a:lnTo>
                  <a:lnTo>
                    <a:pt x="904" y="546"/>
                  </a:lnTo>
                  <a:lnTo>
                    <a:pt x="904" y="546"/>
                  </a:lnTo>
                  <a:lnTo>
                    <a:pt x="904" y="546"/>
                  </a:lnTo>
                  <a:lnTo>
                    <a:pt x="902" y="544"/>
                  </a:lnTo>
                  <a:lnTo>
                    <a:pt x="902" y="544"/>
                  </a:lnTo>
                  <a:lnTo>
                    <a:pt x="902" y="544"/>
                  </a:lnTo>
                  <a:lnTo>
                    <a:pt x="898" y="544"/>
                  </a:lnTo>
                  <a:lnTo>
                    <a:pt x="898" y="544"/>
                  </a:lnTo>
                  <a:lnTo>
                    <a:pt x="896" y="544"/>
                  </a:lnTo>
                  <a:lnTo>
                    <a:pt x="896" y="544"/>
                  </a:lnTo>
                  <a:lnTo>
                    <a:pt x="896" y="546"/>
                  </a:lnTo>
                  <a:lnTo>
                    <a:pt x="894" y="548"/>
                  </a:lnTo>
                  <a:lnTo>
                    <a:pt x="894" y="550"/>
                  </a:lnTo>
                  <a:lnTo>
                    <a:pt x="894" y="552"/>
                  </a:lnTo>
                  <a:lnTo>
                    <a:pt x="892" y="554"/>
                  </a:lnTo>
                  <a:lnTo>
                    <a:pt x="892" y="554"/>
                  </a:lnTo>
                  <a:lnTo>
                    <a:pt x="892" y="556"/>
                  </a:lnTo>
                  <a:lnTo>
                    <a:pt x="892" y="560"/>
                  </a:lnTo>
                  <a:lnTo>
                    <a:pt x="892" y="562"/>
                  </a:lnTo>
                  <a:lnTo>
                    <a:pt x="892" y="562"/>
                  </a:lnTo>
                  <a:lnTo>
                    <a:pt x="890" y="564"/>
                  </a:lnTo>
                  <a:lnTo>
                    <a:pt x="890" y="566"/>
                  </a:lnTo>
                  <a:lnTo>
                    <a:pt x="890" y="566"/>
                  </a:lnTo>
                  <a:lnTo>
                    <a:pt x="890" y="566"/>
                  </a:lnTo>
                  <a:lnTo>
                    <a:pt x="890" y="568"/>
                  </a:lnTo>
                  <a:lnTo>
                    <a:pt x="890" y="568"/>
                  </a:lnTo>
                  <a:lnTo>
                    <a:pt x="888" y="570"/>
                  </a:lnTo>
                  <a:lnTo>
                    <a:pt x="890" y="570"/>
                  </a:lnTo>
                  <a:lnTo>
                    <a:pt x="890" y="570"/>
                  </a:lnTo>
                  <a:lnTo>
                    <a:pt x="890" y="572"/>
                  </a:lnTo>
                  <a:lnTo>
                    <a:pt x="890" y="574"/>
                  </a:lnTo>
                  <a:close/>
                  <a:moveTo>
                    <a:pt x="884" y="626"/>
                  </a:moveTo>
                  <a:lnTo>
                    <a:pt x="884" y="626"/>
                  </a:lnTo>
                  <a:lnTo>
                    <a:pt x="884" y="626"/>
                  </a:lnTo>
                  <a:lnTo>
                    <a:pt x="882" y="628"/>
                  </a:lnTo>
                  <a:lnTo>
                    <a:pt x="882" y="628"/>
                  </a:lnTo>
                  <a:lnTo>
                    <a:pt x="882" y="628"/>
                  </a:lnTo>
                  <a:lnTo>
                    <a:pt x="880" y="632"/>
                  </a:lnTo>
                  <a:lnTo>
                    <a:pt x="880" y="632"/>
                  </a:lnTo>
                  <a:lnTo>
                    <a:pt x="880" y="632"/>
                  </a:lnTo>
                  <a:lnTo>
                    <a:pt x="880" y="634"/>
                  </a:lnTo>
                  <a:lnTo>
                    <a:pt x="880" y="634"/>
                  </a:lnTo>
                  <a:lnTo>
                    <a:pt x="880" y="636"/>
                  </a:lnTo>
                  <a:lnTo>
                    <a:pt x="880" y="638"/>
                  </a:lnTo>
                  <a:lnTo>
                    <a:pt x="880" y="642"/>
                  </a:lnTo>
                  <a:lnTo>
                    <a:pt x="882" y="646"/>
                  </a:lnTo>
                  <a:lnTo>
                    <a:pt x="882" y="650"/>
                  </a:lnTo>
                  <a:lnTo>
                    <a:pt x="882" y="650"/>
                  </a:lnTo>
                  <a:lnTo>
                    <a:pt x="884" y="652"/>
                  </a:lnTo>
                  <a:lnTo>
                    <a:pt x="884" y="652"/>
                  </a:lnTo>
                  <a:lnTo>
                    <a:pt x="886" y="652"/>
                  </a:lnTo>
                  <a:lnTo>
                    <a:pt x="890" y="652"/>
                  </a:lnTo>
                  <a:lnTo>
                    <a:pt x="890" y="652"/>
                  </a:lnTo>
                  <a:lnTo>
                    <a:pt x="892" y="652"/>
                  </a:lnTo>
                  <a:lnTo>
                    <a:pt x="894" y="648"/>
                  </a:lnTo>
                  <a:lnTo>
                    <a:pt x="894" y="648"/>
                  </a:lnTo>
                  <a:lnTo>
                    <a:pt x="896" y="648"/>
                  </a:lnTo>
                  <a:lnTo>
                    <a:pt x="896" y="646"/>
                  </a:lnTo>
                  <a:lnTo>
                    <a:pt x="896" y="646"/>
                  </a:lnTo>
                  <a:lnTo>
                    <a:pt x="898" y="644"/>
                  </a:lnTo>
                  <a:lnTo>
                    <a:pt x="898" y="640"/>
                  </a:lnTo>
                  <a:lnTo>
                    <a:pt x="898" y="640"/>
                  </a:lnTo>
                  <a:lnTo>
                    <a:pt x="898" y="640"/>
                  </a:lnTo>
                  <a:lnTo>
                    <a:pt x="898" y="636"/>
                  </a:lnTo>
                  <a:lnTo>
                    <a:pt x="898" y="636"/>
                  </a:lnTo>
                  <a:lnTo>
                    <a:pt x="898" y="636"/>
                  </a:lnTo>
                  <a:lnTo>
                    <a:pt x="896" y="632"/>
                  </a:lnTo>
                  <a:lnTo>
                    <a:pt x="896" y="632"/>
                  </a:lnTo>
                  <a:lnTo>
                    <a:pt x="896" y="632"/>
                  </a:lnTo>
                  <a:lnTo>
                    <a:pt x="894" y="628"/>
                  </a:lnTo>
                  <a:lnTo>
                    <a:pt x="894" y="628"/>
                  </a:lnTo>
                  <a:lnTo>
                    <a:pt x="894" y="628"/>
                  </a:lnTo>
                  <a:lnTo>
                    <a:pt x="892" y="624"/>
                  </a:lnTo>
                  <a:lnTo>
                    <a:pt x="892" y="624"/>
                  </a:lnTo>
                  <a:lnTo>
                    <a:pt x="890" y="622"/>
                  </a:lnTo>
                  <a:lnTo>
                    <a:pt x="890" y="622"/>
                  </a:lnTo>
                  <a:lnTo>
                    <a:pt x="888" y="622"/>
                  </a:lnTo>
                  <a:lnTo>
                    <a:pt x="884" y="626"/>
                  </a:lnTo>
                  <a:close/>
                  <a:moveTo>
                    <a:pt x="892" y="732"/>
                  </a:moveTo>
                  <a:lnTo>
                    <a:pt x="892" y="734"/>
                  </a:lnTo>
                  <a:lnTo>
                    <a:pt x="892" y="736"/>
                  </a:lnTo>
                  <a:lnTo>
                    <a:pt x="892" y="738"/>
                  </a:lnTo>
                  <a:lnTo>
                    <a:pt x="892" y="738"/>
                  </a:lnTo>
                  <a:lnTo>
                    <a:pt x="894" y="740"/>
                  </a:lnTo>
                  <a:lnTo>
                    <a:pt x="898" y="742"/>
                  </a:lnTo>
                  <a:lnTo>
                    <a:pt x="902" y="744"/>
                  </a:lnTo>
                  <a:lnTo>
                    <a:pt x="904" y="744"/>
                  </a:lnTo>
                  <a:lnTo>
                    <a:pt x="904" y="744"/>
                  </a:lnTo>
                  <a:lnTo>
                    <a:pt x="906" y="744"/>
                  </a:lnTo>
                  <a:lnTo>
                    <a:pt x="908" y="746"/>
                  </a:lnTo>
                  <a:lnTo>
                    <a:pt x="908" y="746"/>
                  </a:lnTo>
                  <a:lnTo>
                    <a:pt x="908" y="744"/>
                  </a:lnTo>
                  <a:lnTo>
                    <a:pt x="910" y="744"/>
                  </a:lnTo>
                  <a:lnTo>
                    <a:pt x="910" y="744"/>
                  </a:lnTo>
                  <a:lnTo>
                    <a:pt x="912" y="742"/>
                  </a:lnTo>
                  <a:lnTo>
                    <a:pt x="912" y="740"/>
                  </a:lnTo>
                  <a:lnTo>
                    <a:pt x="912" y="740"/>
                  </a:lnTo>
                  <a:lnTo>
                    <a:pt x="912" y="740"/>
                  </a:lnTo>
                  <a:lnTo>
                    <a:pt x="914" y="736"/>
                  </a:lnTo>
                  <a:lnTo>
                    <a:pt x="914" y="734"/>
                  </a:lnTo>
                  <a:lnTo>
                    <a:pt x="914" y="732"/>
                  </a:lnTo>
                  <a:lnTo>
                    <a:pt x="916" y="732"/>
                  </a:lnTo>
                  <a:lnTo>
                    <a:pt x="918" y="730"/>
                  </a:lnTo>
                  <a:lnTo>
                    <a:pt x="920" y="728"/>
                  </a:lnTo>
                  <a:lnTo>
                    <a:pt x="924" y="726"/>
                  </a:lnTo>
                  <a:lnTo>
                    <a:pt x="928" y="722"/>
                  </a:lnTo>
                  <a:lnTo>
                    <a:pt x="930" y="720"/>
                  </a:lnTo>
                  <a:lnTo>
                    <a:pt x="932" y="718"/>
                  </a:lnTo>
                  <a:lnTo>
                    <a:pt x="932" y="716"/>
                  </a:lnTo>
                  <a:lnTo>
                    <a:pt x="932" y="716"/>
                  </a:lnTo>
                  <a:lnTo>
                    <a:pt x="934" y="714"/>
                  </a:lnTo>
                  <a:lnTo>
                    <a:pt x="934" y="714"/>
                  </a:lnTo>
                  <a:lnTo>
                    <a:pt x="934" y="714"/>
                  </a:lnTo>
                  <a:lnTo>
                    <a:pt x="934" y="712"/>
                  </a:lnTo>
                  <a:lnTo>
                    <a:pt x="934" y="710"/>
                  </a:lnTo>
                  <a:lnTo>
                    <a:pt x="934" y="710"/>
                  </a:lnTo>
                  <a:lnTo>
                    <a:pt x="934" y="710"/>
                  </a:lnTo>
                  <a:lnTo>
                    <a:pt x="934" y="708"/>
                  </a:lnTo>
                  <a:lnTo>
                    <a:pt x="934" y="708"/>
                  </a:lnTo>
                  <a:lnTo>
                    <a:pt x="932" y="708"/>
                  </a:lnTo>
                  <a:lnTo>
                    <a:pt x="932" y="706"/>
                  </a:lnTo>
                  <a:lnTo>
                    <a:pt x="932" y="706"/>
                  </a:lnTo>
                  <a:lnTo>
                    <a:pt x="930" y="706"/>
                  </a:lnTo>
                  <a:lnTo>
                    <a:pt x="928" y="704"/>
                  </a:lnTo>
                  <a:lnTo>
                    <a:pt x="928" y="704"/>
                  </a:lnTo>
                  <a:lnTo>
                    <a:pt x="928" y="704"/>
                  </a:lnTo>
                  <a:lnTo>
                    <a:pt x="920" y="704"/>
                  </a:lnTo>
                  <a:lnTo>
                    <a:pt x="912" y="704"/>
                  </a:lnTo>
                  <a:lnTo>
                    <a:pt x="904" y="704"/>
                  </a:lnTo>
                  <a:lnTo>
                    <a:pt x="898" y="704"/>
                  </a:lnTo>
                  <a:lnTo>
                    <a:pt x="898" y="704"/>
                  </a:lnTo>
                  <a:lnTo>
                    <a:pt x="896" y="704"/>
                  </a:lnTo>
                  <a:lnTo>
                    <a:pt x="894" y="706"/>
                  </a:lnTo>
                  <a:lnTo>
                    <a:pt x="894" y="710"/>
                  </a:lnTo>
                  <a:lnTo>
                    <a:pt x="894" y="714"/>
                  </a:lnTo>
                  <a:lnTo>
                    <a:pt x="894" y="718"/>
                  </a:lnTo>
                  <a:lnTo>
                    <a:pt x="892" y="720"/>
                  </a:lnTo>
                  <a:lnTo>
                    <a:pt x="892" y="722"/>
                  </a:lnTo>
                  <a:lnTo>
                    <a:pt x="892" y="724"/>
                  </a:lnTo>
                  <a:lnTo>
                    <a:pt x="892" y="726"/>
                  </a:lnTo>
                  <a:lnTo>
                    <a:pt x="892" y="728"/>
                  </a:lnTo>
                  <a:lnTo>
                    <a:pt x="892" y="730"/>
                  </a:lnTo>
                  <a:lnTo>
                    <a:pt x="892" y="732"/>
                  </a:lnTo>
                  <a:close/>
                  <a:moveTo>
                    <a:pt x="1166" y="894"/>
                  </a:moveTo>
                  <a:lnTo>
                    <a:pt x="1166" y="894"/>
                  </a:lnTo>
                  <a:lnTo>
                    <a:pt x="1166" y="894"/>
                  </a:lnTo>
                  <a:lnTo>
                    <a:pt x="1164" y="894"/>
                  </a:lnTo>
                  <a:lnTo>
                    <a:pt x="1164" y="894"/>
                  </a:lnTo>
                  <a:lnTo>
                    <a:pt x="1162" y="894"/>
                  </a:lnTo>
                  <a:lnTo>
                    <a:pt x="1162" y="892"/>
                  </a:lnTo>
                  <a:lnTo>
                    <a:pt x="1162" y="892"/>
                  </a:lnTo>
                  <a:lnTo>
                    <a:pt x="1160" y="892"/>
                  </a:lnTo>
                  <a:lnTo>
                    <a:pt x="1158" y="890"/>
                  </a:lnTo>
                  <a:lnTo>
                    <a:pt x="1156" y="888"/>
                  </a:lnTo>
                  <a:lnTo>
                    <a:pt x="1154" y="886"/>
                  </a:lnTo>
                  <a:lnTo>
                    <a:pt x="1152" y="884"/>
                  </a:lnTo>
                  <a:lnTo>
                    <a:pt x="1150" y="882"/>
                  </a:lnTo>
                  <a:lnTo>
                    <a:pt x="1148" y="880"/>
                  </a:lnTo>
                  <a:lnTo>
                    <a:pt x="1144" y="876"/>
                  </a:lnTo>
                  <a:lnTo>
                    <a:pt x="1144" y="876"/>
                  </a:lnTo>
                  <a:lnTo>
                    <a:pt x="1144" y="876"/>
                  </a:lnTo>
                  <a:lnTo>
                    <a:pt x="1142" y="876"/>
                  </a:lnTo>
                  <a:lnTo>
                    <a:pt x="1142" y="876"/>
                  </a:lnTo>
                  <a:lnTo>
                    <a:pt x="1140" y="876"/>
                  </a:lnTo>
                  <a:lnTo>
                    <a:pt x="1138" y="874"/>
                  </a:lnTo>
                  <a:lnTo>
                    <a:pt x="1138" y="874"/>
                  </a:lnTo>
                  <a:lnTo>
                    <a:pt x="1138" y="874"/>
                  </a:lnTo>
                  <a:lnTo>
                    <a:pt x="1134" y="876"/>
                  </a:lnTo>
                  <a:lnTo>
                    <a:pt x="1132" y="876"/>
                  </a:lnTo>
                  <a:lnTo>
                    <a:pt x="1130" y="878"/>
                  </a:lnTo>
                  <a:lnTo>
                    <a:pt x="1128" y="878"/>
                  </a:lnTo>
                  <a:lnTo>
                    <a:pt x="1124" y="880"/>
                  </a:lnTo>
                  <a:lnTo>
                    <a:pt x="1124" y="880"/>
                  </a:lnTo>
                  <a:lnTo>
                    <a:pt x="1124" y="882"/>
                  </a:lnTo>
                  <a:lnTo>
                    <a:pt x="1124" y="882"/>
                  </a:lnTo>
                  <a:lnTo>
                    <a:pt x="1124" y="884"/>
                  </a:lnTo>
                  <a:lnTo>
                    <a:pt x="1128" y="888"/>
                  </a:lnTo>
                  <a:lnTo>
                    <a:pt x="1130" y="890"/>
                  </a:lnTo>
                  <a:lnTo>
                    <a:pt x="1136" y="894"/>
                  </a:lnTo>
                  <a:lnTo>
                    <a:pt x="1138" y="894"/>
                  </a:lnTo>
                  <a:lnTo>
                    <a:pt x="1138" y="896"/>
                  </a:lnTo>
                  <a:lnTo>
                    <a:pt x="1138" y="896"/>
                  </a:lnTo>
                  <a:lnTo>
                    <a:pt x="1138" y="896"/>
                  </a:lnTo>
                  <a:lnTo>
                    <a:pt x="1140" y="898"/>
                  </a:lnTo>
                  <a:lnTo>
                    <a:pt x="1140" y="898"/>
                  </a:lnTo>
                  <a:lnTo>
                    <a:pt x="1140" y="898"/>
                  </a:lnTo>
                  <a:lnTo>
                    <a:pt x="1142" y="900"/>
                  </a:lnTo>
                  <a:lnTo>
                    <a:pt x="1142" y="900"/>
                  </a:lnTo>
                  <a:lnTo>
                    <a:pt x="1142" y="900"/>
                  </a:lnTo>
                  <a:lnTo>
                    <a:pt x="1146" y="900"/>
                  </a:lnTo>
                  <a:lnTo>
                    <a:pt x="1148" y="900"/>
                  </a:lnTo>
                  <a:lnTo>
                    <a:pt x="1150" y="902"/>
                  </a:lnTo>
                  <a:lnTo>
                    <a:pt x="1150" y="902"/>
                  </a:lnTo>
                  <a:lnTo>
                    <a:pt x="1150" y="902"/>
                  </a:lnTo>
                  <a:lnTo>
                    <a:pt x="1158" y="902"/>
                  </a:lnTo>
                  <a:lnTo>
                    <a:pt x="1164" y="900"/>
                  </a:lnTo>
                  <a:lnTo>
                    <a:pt x="1164" y="900"/>
                  </a:lnTo>
                  <a:lnTo>
                    <a:pt x="1166" y="900"/>
                  </a:lnTo>
                  <a:lnTo>
                    <a:pt x="1166" y="898"/>
                  </a:lnTo>
                  <a:lnTo>
                    <a:pt x="1166" y="898"/>
                  </a:lnTo>
                  <a:lnTo>
                    <a:pt x="1168" y="898"/>
                  </a:lnTo>
                  <a:lnTo>
                    <a:pt x="1168" y="896"/>
                  </a:lnTo>
                  <a:lnTo>
                    <a:pt x="1166" y="896"/>
                  </a:lnTo>
                  <a:lnTo>
                    <a:pt x="1166" y="896"/>
                  </a:lnTo>
                  <a:lnTo>
                    <a:pt x="1166" y="894"/>
                  </a:lnTo>
                  <a:lnTo>
                    <a:pt x="1166" y="894"/>
                  </a:lnTo>
                  <a:close/>
                </a:path>
              </a:pathLst>
            </a:custGeom>
            <a:solidFill>
              <a:schemeClr val="accent1"/>
            </a:solidFill>
            <a:ln w="9525" cap="flat" cmpd="sng">
              <a:solidFill>
                <a:schemeClr val="bg1"/>
              </a:solidFill>
              <a:prstDash val="solid"/>
              <a:round/>
              <a:headEnd type="none" w="med" len="med"/>
              <a:tailEnd type="none" w="med" len="med"/>
            </a:ln>
            <a:effectLst/>
            <a:extLst/>
          </p:spPr>
          <p:txBody>
            <a:bodyPr>
              <a:noAutofit/>
            </a:bodyPr>
            <a:lstStyle/>
            <a:p>
              <a:pPr fontAlgn="auto">
                <a:spcBef>
                  <a:spcPts val="0"/>
                </a:spcBef>
                <a:spcAft>
                  <a:spcPts val="0"/>
                </a:spcAft>
                <a:defRPr/>
              </a:pPr>
              <a:endParaRPr lang="en-US" kern="0">
                <a:solidFill>
                  <a:sysClr val="windowText" lastClr="000000"/>
                </a:solidFill>
              </a:endParaRPr>
            </a:p>
          </p:txBody>
        </p:sp>
        <p:sp>
          <p:nvSpPr>
            <p:cNvPr id="506" name="Freeform 27"/>
            <p:cNvSpPr>
              <a:spLocks noEditPoints="1"/>
            </p:cNvSpPr>
            <p:nvPr/>
          </p:nvSpPr>
          <p:spPr bwMode="auto">
            <a:xfrm>
              <a:off x="199842" y="1365819"/>
              <a:ext cx="1357937" cy="958155"/>
            </a:xfrm>
            <a:custGeom>
              <a:avLst/>
              <a:gdLst>
                <a:gd name="T0" fmla="*/ 300 w 1672"/>
                <a:gd name="T1" fmla="*/ 1176 h 1238"/>
                <a:gd name="T2" fmla="*/ 310 w 1672"/>
                <a:gd name="T3" fmla="*/ 1196 h 1238"/>
                <a:gd name="T4" fmla="*/ 356 w 1672"/>
                <a:gd name="T5" fmla="*/ 1236 h 1238"/>
                <a:gd name="T6" fmla="*/ 1656 w 1672"/>
                <a:gd name="T7" fmla="*/ 728 h 1238"/>
                <a:gd name="T8" fmla="*/ 1628 w 1672"/>
                <a:gd name="T9" fmla="*/ 750 h 1238"/>
                <a:gd name="T10" fmla="*/ 1532 w 1672"/>
                <a:gd name="T11" fmla="*/ 788 h 1238"/>
                <a:gd name="T12" fmla="*/ 1432 w 1672"/>
                <a:gd name="T13" fmla="*/ 848 h 1238"/>
                <a:gd name="T14" fmla="*/ 1432 w 1672"/>
                <a:gd name="T15" fmla="*/ 796 h 1238"/>
                <a:gd name="T16" fmla="*/ 1410 w 1672"/>
                <a:gd name="T17" fmla="*/ 758 h 1238"/>
                <a:gd name="T18" fmla="*/ 1366 w 1672"/>
                <a:gd name="T19" fmla="*/ 840 h 1238"/>
                <a:gd name="T20" fmla="*/ 1400 w 1672"/>
                <a:gd name="T21" fmla="*/ 746 h 1238"/>
                <a:gd name="T22" fmla="*/ 1324 w 1672"/>
                <a:gd name="T23" fmla="*/ 722 h 1238"/>
                <a:gd name="T24" fmla="*/ 1238 w 1672"/>
                <a:gd name="T25" fmla="*/ 702 h 1238"/>
                <a:gd name="T26" fmla="*/ 860 w 1672"/>
                <a:gd name="T27" fmla="*/ 704 h 1238"/>
                <a:gd name="T28" fmla="*/ 814 w 1672"/>
                <a:gd name="T29" fmla="*/ 738 h 1238"/>
                <a:gd name="T30" fmla="*/ 886 w 1672"/>
                <a:gd name="T31" fmla="*/ 992 h 1238"/>
                <a:gd name="T32" fmla="*/ 954 w 1672"/>
                <a:gd name="T33" fmla="*/ 1004 h 1238"/>
                <a:gd name="T34" fmla="*/ 1052 w 1672"/>
                <a:gd name="T35" fmla="*/ 1034 h 1238"/>
                <a:gd name="T36" fmla="*/ 1130 w 1672"/>
                <a:gd name="T37" fmla="*/ 1068 h 1238"/>
                <a:gd name="T38" fmla="*/ 1184 w 1672"/>
                <a:gd name="T39" fmla="*/ 1116 h 1238"/>
                <a:gd name="T40" fmla="*/ 1246 w 1672"/>
                <a:gd name="T41" fmla="*/ 1072 h 1238"/>
                <a:gd name="T42" fmla="*/ 1350 w 1672"/>
                <a:gd name="T43" fmla="*/ 1056 h 1238"/>
                <a:gd name="T44" fmla="*/ 1412 w 1672"/>
                <a:gd name="T45" fmla="*/ 1056 h 1238"/>
                <a:gd name="T46" fmla="*/ 1466 w 1672"/>
                <a:gd name="T47" fmla="*/ 1138 h 1238"/>
                <a:gd name="T48" fmla="*/ 1452 w 1672"/>
                <a:gd name="T49" fmla="*/ 1036 h 1238"/>
                <a:gd name="T50" fmla="*/ 1546 w 1672"/>
                <a:gd name="T51" fmla="*/ 912 h 1238"/>
                <a:gd name="T52" fmla="*/ 1632 w 1672"/>
                <a:gd name="T53" fmla="*/ 848 h 1238"/>
                <a:gd name="T54" fmla="*/ 1640 w 1672"/>
                <a:gd name="T55" fmla="*/ 796 h 1238"/>
                <a:gd name="T56" fmla="*/ 678 w 1672"/>
                <a:gd name="T57" fmla="*/ 506 h 1238"/>
                <a:gd name="T58" fmla="*/ 622 w 1672"/>
                <a:gd name="T59" fmla="*/ 436 h 1238"/>
                <a:gd name="T60" fmla="*/ 582 w 1672"/>
                <a:gd name="T61" fmla="*/ 430 h 1238"/>
                <a:gd name="T62" fmla="*/ 572 w 1672"/>
                <a:gd name="T63" fmla="*/ 324 h 1238"/>
                <a:gd name="T64" fmla="*/ 576 w 1672"/>
                <a:gd name="T65" fmla="*/ 66 h 1238"/>
                <a:gd name="T66" fmla="*/ 458 w 1672"/>
                <a:gd name="T67" fmla="*/ 38 h 1238"/>
                <a:gd name="T68" fmla="*/ 388 w 1672"/>
                <a:gd name="T69" fmla="*/ 22 h 1238"/>
                <a:gd name="T70" fmla="*/ 356 w 1672"/>
                <a:gd name="T71" fmla="*/ 2 h 1238"/>
                <a:gd name="T72" fmla="*/ 300 w 1672"/>
                <a:gd name="T73" fmla="*/ 26 h 1238"/>
                <a:gd name="T74" fmla="*/ 256 w 1672"/>
                <a:gd name="T75" fmla="*/ 54 h 1238"/>
                <a:gd name="T76" fmla="*/ 194 w 1672"/>
                <a:gd name="T77" fmla="*/ 118 h 1238"/>
                <a:gd name="T78" fmla="*/ 228 w 1672"/>
                <a:gd name="T79" fmla="*/ 180 h 1238"/>
                <a:gd name="T80" fmla="*/ 238 w 1672"/>
                <a:gd name="T81" fmla="*/ 222 h 1238"/>
                <a:gd name="T82" fmla="*/ 166 w 1672"/>
                <a:gd name="T83" fmla="*/ 236 h 1238"/>
                <a:gd name="T84" fmla="*/ 204 w 1672"/>
                <a:gd name="T85" fmla="*/ 276 h 1238"/>
                <a:gd name="T86" fmla="*/ 274 w 1672"/>
                <a:gd name="T87" fmla="*/ 306 h 1238"/>
                <a:gd name="T88" fmla="*/ 206 w 1672"/>
                <a:gd name="T89" fmla="*/ 378 h 1238"/>
                <a:gd name="T90" fmla="*/ 210 w 1672"/>
                <a:gd name="T91" fmla="*/ 406 h 1238"/>
                <a:gd name="T92" fmla="*/ 252 w 1672"/>
                <a:gd name="T93" fmla="*/ 448 h 1238"/>
                <a:gd name="T94" fmla="*/ 304 w 1672"/>
                <a:gd name="T95" fmla="*/ 464 h 1238"/>
                <a:gd name="T96" fmla="*/ 274 w 1672"/>
                <a:gd name="T97" fmla="*/ 516 h 1238"/>
                <a:gd name="T98" fmla="*/ 160 w 1672"/>
                <a:gd name="T99" fmla="*/ 580 h 1238"/>
                <a:gd name="T100" fmla="*/ 28 w 1672"/>
                <a:gd name="T101" fmla="*/ 616 h 1238"/>
                <a:gd name="T102" fmla="*/ 116 w 1672"/>
                <a:gd name="T103" fmla="*/ 614 h 1238"/>
                <a:gd name="T104" fmla="*/ 196 w 1672"/>
                <a:gd name="T105" fmla="*/ 594 h 1238"/>
                <a:gd name="T106" fmla="*/ 386 w 1672"/>
                <a:gd name="T107" fmla="*/ 442 h 1238"/>
                <a:gd name="T108" fmla="*/ 382 w 1672"/>
                <a:gd name="T109" fmla="*/ 474 h 1238"/>
                <a:gd name="T110" fmla="*/ 488 w 1672"/>
                <a:gd name="T111" fmla="*/ 414 h 1238"/>
                <a:gd name="T112" fmla="*/ 538 w 1672"/>
                <a:gd name="T113" fmla="*/ 418 h 1238"/>
                <a:gd name="T114" fmla="*/ 598 w 1672"/>
                <a:gd name="T115" fmla="*/ 466 h 1238"/>
                <a:gd name="T116" fmla="*/ 624 w 1672"/>
                <a:gd name="T117" fmla="*/ 510 h 1238"/>
                <a:gd name="T118" fmla="*/ 634 w 1672"/>
                <a:gd name="T119" fmla="*/ 482 h 1238"/>
                <a:gd name="T120" fmla="*/ 642 w 1672"/>
                <a:gd name="T121" fmla="*/ 510 h 1238"/>
                <a:gd name="T122" fmla="*/ 648 w 1672"/>
                <a:gd name="T123" fmla="*/ 548 h 1238"/>
                <a:gd name="T124" fmla="*/ 688 w 1672"/>
                <a:gd name="T125" fmla="*/ 520 h 1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672" h="1238">
                  <a:moveTo>
                    <a:pt x="370" y="1220"/>
                  </a:moveTo>
                  <a:lnTo>
                    <a:pt x="366" y="1216"/>
                  </a:lnTo>
                  <a:lnTo>
                    <a:pt x="364" y="1212"/>
                  </a:lnTo>
                  <a:lnTo>
                    <a:pt x="362" y="1210"/>
                  </a:lnTo>
                  <a:lnTo>
                    <a:pt x="360" y="1208"/>
                  </a:lnTo>
                  <a:lnTo>
                    <a:pt x="358" y="1204"/>
                  </a:lnTo>
                  <a:lnTo>
                    <a:pt x="356" y="1200"/>
                  </a:lnTo>
                  <a:lnTo>
                    <a:pt x="354" y="1194"/>
                  </a:lnTo>
                  <a:lnTo>
                    <a:pt x="354" y="1194"/>
                  </a:lnTo>
                  <a:lnTo>
                    <a:pt x="352" y="1192"/>
                  </a:lnTo>
                  <a:lnTo>
                    <a:pt x="348" y="1190"/>
                  </a:lnTo>
                  <a:lnTo>
                    <a:pt x="342" y="1188"/>
                  </a:lnTo>
                  <a:lnTo>
                    <a:pt x="338" y="1186"/>
                  </a:lnTo>
                  <a:lnTo>
                    <a:pt x="332" y="1186"/>
                  </a:lnTo>
                  <a:lnTo>
                    <a:pt x="328" y="1186"/>
                  </a:lnTo>
                  <a:lnTo>
                    <a:pt x="322" y="1186"/>
                  </a:lnTo>
                  <a:lnTo>
                    <a:pt x="316" y="1184"/>
                  </a:lnTo>
                  <a:lnTo>
                    <a:pt x="310" y="1184"/>
                  </a:lnTo>
                  <a:lnTo>
                    <a:pt x="310" y="1184"/>
                  </a:lnTo>
                  <a:lnTo>
                    <a:pt x="310" y="1184"/>
                  </a:lnTo>
                  <a:lnTo>
                    <a:pt x="310" y="1184"/>
                  </a:lnTo>
                  <a:lnTo>
                    <a:pt x="310" y="1184"/>
                  </a:lnTo>
                  <a:lnTo>
                    <a:pt x="310" y="1182"/>
                  </a:lnTo>
                  <a:lnTo>
                    <a:pt x="308" y="1182"/>
                  </a:lnTo>
                  <a:lnTo>
                    <a:pt x="308" y="1182"/>
                  </a:lnTo>
                  <a:lnTo>
                    <a:pt x="308" y="1180"/>
                  </a:lnTo>
                  <a:lnTo>
                    <a:pt x="308" y="1180"/>
                  </a:lnTo>
                  <a:lnTo>
                    <a:pt x="308" y="1180"/>
                  </a:lnTo>
                  <a:lnTo>
                    <a:pt x="308" y="1180"/>
                  </a:lnTo>
                  <a:lnTo>
                    <a:pt x="306" y="1178"/>
                  </a:lnTo>
                  <a:lnTo>
                    <a:pt x="306" y="1178"/>
                  </a:lnTo>
                  <a:lnTo>
                    <a:pt x="306" y="1178"/>
                  </a:lnTo>
                  <a:lnTo>
                    <a:pt x="304" y="1178"/>
                  </a:lnTo>
                  <a:lnTo>
                    <a:pt x="304" y="1178"/>
                  </a:lnTo>
                  <a:lnTo>
                    <a:pt x="304" y="1176"/>
                  </a:lnTo>
                  <a:lnTo>
                    <a:pt x="300" y="1176"/>
                  </a:lnTo>
                  <a:lnTo>
                    <a:pt x="300" y="1176"/>
                  </a:lnTo>
                  <a:lnTo>
                    <a:pt x="298" y="1176"/>
                  </a:lnTo>
                  <a:lnTo>
                    <a:pt x="294" y="1176"/>
                  </a:lnTo>
                  <a:lnTo>
                    <a:pt x="294" y="1176"/>
                  </a:lnTo>
                  <a:lnTo>
                    <a:pt x="292" y="1176"/>
                  </a:lnTo>
                  <a:lnTo>
                    <a:pt x="290" y="1178"/>
                  </a:lnTo>
                  <a:lnTo>
                    <a:pt x="286" y="1180"/>
                  </a:lnTo>
                  <a:lnTo>
                    <a:pt x="284" y="1182"/>
                  </a:lnTo>
                  <a:lnTo>
                    <a:pt x="282" y="1182"/>
                  </a:lnTo>
                  <a:lnTo>
                    <a:pt x="282" y="1182"/>
                  </a:lnTo>
                  <a:lnTo>
                    <a:pt x="282" y="1182"/>
                  </a:lnTo>
                  <a:lnTo>
                    <a:pt x="282" y="1182"/>
                  </a:lnTo>
                  <a:lnTo>
                    <a:pt x="278" y="1182"/>
                  </a:lnTo>
                  <a:lnTo>
                    <a:pt x="278" y="1182"/>
                  </a:lnTo>
                  <a:lnTo>
                    <a:pt x="278" y="1182"/>
                  </a:lnTo>
                  <a:lnTo>
                    <a:pt x="278" y="1184"/>
                  </a:lnTo>
                  <a:lnTo>
                    <a:pt x="278" y="1184"/>
                  </a:lnTo>
                  <a:lnTo>
                    <a:pt x="278" y="1184"/>
                  </a:lnTo>
                  <a:lnTo>
                    <a:pt x="278" y="1186"/>
                  </a:lnTo>
                  <a:lnTo>
                    <a:pt x="276" y="1188"/>
                  </a:lnTo>
                  <a:lnTo>
                    <a:pt x="276" y="1188"/>
                  </a:lnTo>
                  <a:lnTo>
                    <a:pt x="278" y="1192"/>
                  </a:lnTo>
                  <a:lnTo>
                    <a:pt x="278" y="1192"/>
                  </a:lnTo>
                  <a:lnTo>
                    <a:pt x="280" y="1192"/>
                  </a:lnTo>
                  <a:lnTo>
                    <a:pt x="286" y="1192"/>
                  </a:lnTo>
                  <a:lnTo>
                    <a:pt x="292" y="1192"/>
                  </a:lnTo>
                  <a:lnTo>
                    <a:pt x="298" y="1192"/>
                  </a:lnTo>
                  <a:lnTo>
                    <a:pt x="304" y="1190"/>
                  </a:lnTo>
                  <a:lnTo>
                    <a:pt x="304" y="1190"/>
                  </a:lnTo>
                  <a:lnTo>
                    <a:pt x="304" y="1190"/>
                  </a:lnTo>
                  <a:lnTo>
                    <a:pt x="306" y="1190"/>
                  </a:lnTo>
                  <a:lnTo>
                    <a:pt x="306" y="1190"/>
                  </a:lnTo>
                  <a:lnTo>
                    <a:pt x="308" y="1190"/>
                  </a:lnTo>
                  <a:lnTo>
                    <a:pt x="308" y="1188"/>
                  </a:lnTo>
                  <a:lnTo>
                    <a:pt x="308" y="1192"/>
                  </a:lnTo>
                  <a:lnTo>
                    <a:pt x="310" y="1194"/>
                  </a:lnTo>
                  <a:lnTo>
                    <a:pt x="310" y="1196"/>
                  </a:lnTo>
                  <a:lnTo>
                    <a:pt x="310" y="1196"/>
                  </a:lnTo>
                  <a:lnTo>
                    <a:pt x="310" y="1196"/>
                  </a:lnTo>
                  <a:lnTo>
                    <a:pt x="312" y="1198"/>
                  </a:lnTo>
                  <a:lnTo>
                    <a:pt x="312" y="1198"/>
                  </a:lnTo>
                  <a:lnTo>
                    <a:pt x="312" y="1198"/>
                  </a:lnTo>
                  <a:lnTo>
                    <a:pt x="314" y="1200"/>
                  </a:lnTo>
                  <a:lnTo>
                    <a:pt x="314" y="1200"/>
                  </a:lnTo>
                  <a:lnTo>
                    <a:pt x="314" y="1200"/>
                  </a:lnTo>
                  <a:lnTo>
                    <a:pt x="316" y="1202"/>
                  </a:lnTo>
                  <a:lnTo>
                    <a:pt x="318" y="1202"/>
                  </a:lnTo>
                  <a:lnTo>
                    <a:pt x="322" y="1204"/>
                  </a:lnTo>
                  <a:lnTo>
                    <a:pt x="322" y="1204"/>
                  </a:lnTo>
                  <a:lnTo>
                    <a:pt x="322" y="1204"/>
                  </a:lnTo>
                  <a:lnTo>
                    <a:pt x="324" y="1204"/>
                  </a:lnTo>
                  <a:lnTo>
                    <a:pt x="326" y="1206"/>
                  </a:lnTo>
                  <a:lnTo>
                    <a:pt x="330" y="1206"/>
                  </a:lnTo>
                  <a:lnTo>
                    <a:pt x="332" y="1208"/>
                  </a:lnTo>
                  <a:lnTo>
                    <a:pt x="334" y="1208"/>
                  </a:lnTo>
                  <a:lnTo>
                    <a:pt x="336" y="1210"/>
                  </a:lnTo>
                  <a:lnTo>
                    <a:pt x="336" y="1210"/>
                  </a:lnTo>
                  <a:lnTo>
                    <a:pt x="336" y="1212"/>
                  </a:lnTo>
                  <a:lnTo>
                    <a:pt x="338" y="1212"/>
                  </a:lnTo>
                  <a:lnTo>
                    <a:pt x="340" y="1214"/>
                  </a:lnTo>
                  <a:lnTo>
                    <a:pt x="342" y="1214"/>
                  </a:lnTo>
                  <a:lnTo>
                    <a:pt x="342" y="1216"/>
                  </a:lnTo>
                  <a:lnTo>
                    <a:pt x="344" y="1218"/>
                  </a:lnTo>
                  <a:lnTo>
                    <a:pt x="344" y="1222"/>
                  </a:lnTo>
                  <a:lnTo>
                    <a:pt x="344" y="1226"/>
                  </a:lnTo>
                  <a:lnTo>
                    <a:pt x="346" y="1230"/>
                  </a:lnTo>
                  <a:lnTo>
                    <a:pt x="346" y="1232"/>
                  </a:lnTo>
                  <a:lnTo>
                    <a:pt x="346" y="1232"/>
                  </a:lnTo>
                  <a:lnTo>
                    <a:pt x="348" y="1234"/>
                  </a:lnTo>
                  <a:lnTo>
                    <a:pt x="350" y="1236"/>
                  </a:lnTo>
                  <a:lnTo>
                    <a:pt x="350" y="1236"/>
                  </a:lnTo>
                  <a:lnTo>
                    <a:pt x="352" y="1238"/>
                  </a:lnTo>
                  <a:lnTo>
                    <a:pt x="352" y="1238"/>
                  </a:lnTo>
                  <a:lnTo>
                    <a:pt x="354" y="1238"/>
                  </a:lnTo>
                  <a:lnTo>
                    <a:pt x="356" y="1236"/>
                  </a:lnTo>
                  <a:lnTo>
                    <a:pt x="358" y="1234"/>
                  </a:lnTo>
                  <a:lnTo>
                    <a:pt x="362" y="1232"/>
                  </a:lnTo>
                  <a:lnTo>
                    <a:pt x="362" y="1232"/>
                  </a:lnTo>
                  <a:lnTo>
                    <a:pt x="364" y="1230"/>
                  </a:lnTo>
                  <a:lnTo>
                    <a:pt x="366" y="1230"/>
                  </a:lnTo>
                  <a:lnTo>
                    <a:pt x="368" y="1230"/>
                  </a:lnTo>
                  <a:lnTo>
                    <a:pt x="372" y="1228"/>
                  </a:lnTo>
                  <a:lnTo>
                    <a:pt x="372" y="1228"/>
                  </a:lnTo>
                  <a:lnTo>
                    <a:pt x="374" y="1226"/>
                  </a:lnTo>
                  <a:lnTo>
                    <a:pt x="374" y="1226"/>
                  </a:lnTo>
                  <a:lnTo>
                    <a:pt x="374" y="1224"/>
                  </a:lnTo>
                  <a:lnTo>
                    <a:pt x="370" y="1220"/>
                  </a:lnTo>
                  <a:close/>
                  <a:moveTo>
                    <a:pt x="1672" y="778"/>
                  </a:moveTo>
                  <a:lnTo>
                    <a:pt x="1672" y="778"/>
                  </a:lnTo>
                  <a:lnTo>
                    <a:pt x="1672" y="776"/>
                  </a:lnTo>
                  <a:lnTo>
                    <a:pt x="1670" y="774"/>
                  </a:lnTo>
                  <a:lnTo>
                    <a:pt x="1670" y="774"/>
                  </a:lnTo>
                  <a:lnTo>
                    <a:pt x="1670" y="774"/>
                  </a:lnTo>
                  <a:lnTo>
                    <a:pt x="1668" y="774"/>
                  </a:lnTo>
                  <a:lnTo>
                    <a:pt x="1666" y="772"/>
                  </a:lnTo>
                  <a:lnTo>
                    <a:pt x="1662" y="770"/>
                  </a:lnTo>
                  <a:lnTo>
                    <a:pt x="1662" y="768"/>
                  </a:lnTo>
                  <a:lnTo>
                    <a:pt x="1660" y="766"/>
                  </a:lnTo>
                  <a:lnTo>
                    <a:pt x="1660" y="764"/>
                  </a:lnTo>
                  <a:lnTo>
                    <a:pt x="1660" y="762"/>
                  </a:lnTo>
                  <a:lnTo>
                    <a:pt x="1660" y="754"/>
                  </a:lnTo>
                  <a:lnTo>
                    <a:pt x="1660" y="748"/>
                  </a:lnTo>
                  <a:lnTo>
                    <a:pt x="1660" y="744"/>
                  </a:lnTo>
                  <a:lnTo>
                    <a:pt x="1660" y="742"/>
                  </a:lnTo>
                  <a:lnTo>
                    <a:pt x="1660" y="738"/>
                  </a:lnTo>
                  <a:lnTo>
                    <a:pt x="1658" y="732"/>
                  </a:lnTo>
                  <a:lnTo>
                    <a:pt x="1658" y="730"/>
                  </a:lnTo>
                  <a:lnTo>
                    <a:pt x="1658" y="730"/>
                  </a:lnTo>
                  <a:lnTo>
                    <a:pt x="1658" y="730"/>
                  </a:lnTo>
                  <a:lnTo>
                    <a:pt x="1658" y="728"/>
                  </a:lnTo>
                  <a:lnTo>
                    <a:pt x="1656" y="728"/>
                  </a:lnTo>
                  <a:lnTo>
                    <a:pt x="1656" y="728"/>
                  </a:lnTo>
                  <a:lnTo>
                    <a:pt x="1656" y="726"/>
                  </a:lnTo>
                  <a:lnTo>
                    <a:pt x="1656" y="726"/>
                  </a:lnTo>
                  <a:lnTo>
                    <a:pt x="1656" y="726"/>
                  </a:lnTo>
                  <a:lnTo>
                    <a:pt x="1654" y="726"/>
                  </a:lnTo>
                  <a:lnTo>
                    <a:pt x="1652" y="726"/>
                  </a:lnTo>
                  <a:lnTo>
                    <a:pt x="1652" y="726"/>
                  </a:lnTo>
                  <a:lnTo>
                    <a:pt x="1652" y="726"/>
                  </a:lnTo>
                  <a:lnTo>
                    <a:pt x="1650" y="726"/>
                  </a:lnTo>
                  <a:lnTo>
                    <a:pt x="1650" y="726"/>
                  </a:lnTo>
                  <a:lnTo>
                    <a:pt x="1650" y="726"/>
                  </a:lnTo>
                  <a:lnTo>
                    <a:pt x="1648" y="728"/>
                  </a:lnTo>
                  <a:lnTo>
                    <a:pt x="1646" y="728"/>
                  </a:lnTo>
                  <a:lnTo>
                    <a:pt x="1644" y="730"/>
                  </a:lnTo>
                  <a:lnTo>
                    <a:pt x="1642" y="732"/>
                  </a:lnTo>
                  <a:lnTo>
                    <a:pt x="1642" y="732"/>
                  </a:lnTo>
                  <a:lnTo>
                    <a:pt x="1642" y="732"/>
                  </a:lnTo>
                  <a:lnTo>
                    <a:pt x="1640" y="730"/>
                  </a:lnTo>
                  <a:lnTo>
                    <a:pt x="1638" y="730"/>
                  </a:lnTo>
                  <a:lnTo>
                    <a:pt x="1636" y="728"/>
                  </a:lnTo>
                  <a:lnTo>
                    <a:pt x="1634" y="728"/>
                  </a:lnTo>
                  <a:lnTo>
                    <a:pt x="1634" y="728"/>
                  </a:lnTo>
                  <a:lnTo>
                    <a:pt x="1634" y="728"/>
                  </a:lnTo>
                  <a:lnTo>
                    <a:pt x="1632" y="728"/>
                  </a:lnTo>
                  <a:lnTo>
                    <a:pt x="1632" y="728"/>
                  </a:lnTo>
                  <a:lnTo>
                    <a:pt x="1630" y="728"/>
                  </a:lnTo>
                  <a:lnTo>
                    <a:pt x="1630" y="730"/>
                  </a:lnTo>
                  <a:lnTo>
                    <a:pt x="1630" y="730"/>
                  </a:lnTo>
                  <a:lnTo>
                    <a:pt x="1628" y="730"/>
                  </a:lnTo>
                  <a:lnTo>
                    <a:pt x="1628" y="732"/>
                  </a:lnTo>
                  <a:lnTo>
                    <a:pt x="1628" y="732"/>
                  </a:lnTo>
                  <a:lnTo>
                    <a:pt x="1628" y="732"/>
                  </a:lnTo>
                  <a:lnTo>
                    <a:pt x="1628" y="734"/>
                  </a:lnTo>
                  <a:lnTo>
                    <a:pt x="1628" y="738"/>
                  </a:lnTo>
                  <a:lnTo>
                    <a:pt x="1628" y="740"/>
                  </a:lnTo>
                  <a:lnTo>
                    <a:pt x="1628" y="746"/>
                  </a:lnTo>
                  <a:lnTo>
                    <a:pt x="1628" y="748"/>
                  </a:lnTo>
                  <a:lnTo>
                    <a:pt x="1628" y="750"/>
                  </a:lnTo>
                  <a:lnTo>
                    <a:pt x="1626" y="752"/>
                  </a:lnTo>
                  <a:lnTo>
                    <a:pt x="1626" y="752"/>
                  </a:lnTo>
                  <a:lnTo>
                    <a:pt x="1622" y="756"/>
                  </a:lnTo>
                  <a:lnTo>
                    <a:pt x="1618" y="758"/>
                  </a:lnTo>
                  <a:lnTo>
                    <a:pt x="1616" y="760"/>
                  </a:lnTo>
                  <a:lnTo>
                    <a:pt x="1614" y="762"/>
                  </a:lnTo>
                  <a:lnTo>
                    <a:pt x="1614" y="762"/>
                  </a:lnTo>
                  <a:lnTo>
                    <a:pt x="1614" y="762"/>
                  </a:lnTo>
                  <a:lnTo>
                    <a:pt x="1612" y="766"/>
                  </a:lnTo>
                  <a:lnTo>
                    <a:pt x="1608" y="772"/>
                  </a:lnTo>
                  <a:lnTo>
                    <a:pt x="1606" y="776"/>
                  </a:lnTo>
                  <a:lnTo>
                    <a:pt x="1606" y="776"/>
                  </a:lnTo>
                  <a:lnTo>
                    <a:pt x="1604" y="778"/>
                  </a:lnTo>
                  <a:lnTo>
                    <a:pt x="1602" y="778"/>
                  </a:lnTo>
                  <a:lnTo>
                    <a:pt x="1600" y="780"/>
                  </a:lnTo>
                  <a:lnTo>
                    <a:pt x="1596" y="780"/>
                  </a:lnTo>
                  <a:lnTo>
                    <a:pt x="1592" y="780"/>
                  </a:lnTo>
                  <a:lnTo>
                    <a:pt x="1584" y="780"/>
                  </a:lnTo>
                  <a:lnTo>
                    <a:pt x="1580" y="780"/>
                  </a:lnTo>
                  <a:lnTo>
                    <a:pt x="1578" y="780"/>
                  </a:lnTo>
                  <a:lnTo>
                    <a:pt x="1570" y="778"/>
                  </a:lnTo>
                  <a:lnTo>
                    <a:pt x="1564" y="778"/>
                  </a:lnTo>
                  <a:lnTo>
                    <a:pt x="1558" y="778"/>
                  </a:lnTo>
                  <a:lnTo>
                    <a:pt x="1554" y="778"/>
                  </a:lnTo>
                  <a:lnTo>
                    <a:pt x="1550" y="778"/>
                  </a:lnTo>
                  <a:lnTo>
                    <a:pt x="1548" y="778"/>
                  </a:lnTo>
                  <a:lnTo>
                    <a:pt x="1546" y="778"/>
                  </a:lnTo>
                  <a:lnTo>
                    <a:pt x="1542" y="780"/>
                  </a:lnTo>
                  <a:lnTo>
                    <a:pt x="1542" y="780"/>
                  </a:lnTo>
                  <a:lnTo>
                    <a:pt x="1542" y="780"/>
                  </a:lnTo>
                  <a:lnTo>
                    <a:pt x="1538" y="782"/>
                  </a:lnTo>
                  <a:lnTo>
                    <a:pt x="1538" y="784"/>
                  </a:lnTo>
                  <a:lnTo>
                    <a:pt x="1536" y="786"/>
                  </a:lnTo>
                  <a:lnTo>
                    <a:pt x="1534" y="786"/>
                  </a:lnTo>
                  <a:lnTo>
                    <a:pt x="1534" y="788"/>
                  </a:lnTo>
                  <a:lnTo>
                    <a:pt x="1534" y="788"/>
                  </a:lnTo>
                  <a:lnTo>
                    <a:pt x="1532" y="788"/>
                  </a:lnTo>
                  <a:lnTo>
                    <a:pt x="1532" y="792"/>
                  </a:lnTo>
                  <a:lnTo>
                    <a:pt x="1530" y="794"/>
                  </a:lnTo>
                  <a:lnTo>
                    <a:pt x="1528" y="798"/>
                  </a:lnTo>
                  <a:lnTo>
                    <a:pt x="1526" y="802"/>
                  </a:lnTo>
                  <a:lnTo>
                    <a:pt x="1526" y="804"/>
                  </a:lnTo>
                  <a:lnTo>
                    <a:pt x="1524" y="808"/>
                  </a:lnTo>
                  <a:lnTo>
                    <a:pt x="1522" y="808"/>
                  </a:lnTo>
                  <a:lnTo>
                    <a:pt x="1518" y="810"/>
                  </a:lnTo>
                  <a:lnTo>
                    <a:pt x="1516" y="812"/>
                  </a:lnTo>
                  <a:lnTo>
                    <a:pt x="1508" y="812"/>
                  </a:lnTo>
                  <a:lnTo>
                    <a:pt x="1506" y="812"/>
                  </a:lnTo>
                  <a:lnTo>
                    <a:pt x="1502" y="814"/>
                  </a:lnTo>
                  <a:lnTo>
                    <a:pt x="1498" y="814"/>
                  </a:lnTo>
                  <a:lnTo>
                    <a:pt x="1496" y="814"/>
                  </a:lnTo>
                  <a:lnTo>
                    <a:pt x="1496" y="814"/>
                  </a:lnTo>
                  <a:lnTo>
                    <a:pt x="1496" y="814"/>
                  </a:lnTo>
                  <a:lnTo>
                    <a:pt x="1494" y="816"/>
                  </a:lnTo>
                  <a:lnTo>
                    <a:pt x="1492" y="816"/>
                  </a:lnTo>
                  <a:lnTo>
                    <a:pt x="1492" y="816"/>
                  </a:lnTo>
                  <a:lnTo>
                    <a:pt x="1490" y="816"/>
                  </a:lnTo>
                  <a:lnTo>
                    <a:pt x="1488" y="818"/>
                  </a:lnTo>
                  <a:lnTo>
                    <a:pt x="1488" y="820"/>
                  </a:lnTo>
                  <a:lnTo>
                    <a:pt x="1486" y="820"/>
                  </a:lnTo>
                  <a:lnTo>
                    <a:pt x="1484" y="822"/>
                  </a:lnTo>
                  <a:lnTo>
                    <a:pt x="1482" y="824"/>
                  </a:lnTo>
                  <a:lnTo>
                    <a:pt x="1480" y="826"/>
                  </a:lnTo>
                  <a:lnTo>
                    <a:pt x="1476" y="828"/>
                  </a:lnTo>
                  <a:lnTo>
                    <a:pt x="1468" y="836"/>
                  </a:lnTo>
                  <a:lnTo>
                    <a:pt x="1464" y="838"/>
                  </a:lnTo>
                  <a:lnTo>
                    <a:pt x="1460" y="842"/>
                  </a:lnTo>
                  <a:lnTo>
                    <a:pt x="1456" y="844"/>
                  </a:lnTo>
                  <a:lnTo>
                    <a:pt x="1452" y="846"/>
                  </a:lnTo>
                  <a:lnTo>
                    <a:pt x="1450" y="846"/>
                  </a:lnTo>
                  <a:lnTo>
                    <a:pt x="1444" y="848"/>
                  </a:lnTo>
                  <a:lnTo>
                    <a:pt x="1440" y="848"/>
                  </a:lnTo>
                  <a:lnTo>
                    <a:pt x="1436" y="848"/>
                  </a:lnTo>
                  <a:lnTo>
                    <a:pt x="1432" y="848"/>
                  </a:lnTo>
                  <a:lnTo>
                    <a:pt x="1428" y="848"/>
                  </a:lnTo>
                  <a:lnTo>
                    <a:pt x="1426" y="848"/>
                  </a:lnTo>
                  <a:lnTo>
                    <a:pt x="1426" y="846"/>
                  </a:lnTo>
                  <a:lnTo>
                    <a:pt x="1426" y="846"/>
                  </a:lnTo>
                  <a:lnTo>
                    <a:pt x="1426" y="846"/>
                  </a:lnTo>
                  <a:lnTo>
                    <a:pt x="1426" y="844"/>
                  </a:lnTo>
                  <a:lnTo>
                    <a:pt x="1426" y="844"/>
                  </a:lnTo>
                  <a:lnTo>
                    <a:pt x="1428" y="840"/>
                  </a:lnTo>
                  <a:lnTo>
                    <a:pt x="1430" y="836"/>
                  </a:lnTo>
                  <a:lnTo>
                    <a:pt x="1434" y="830"/>
                  </a:lnTo>
                  <a:lnTo>
                    <a:pt x="1436" y="826"/>
                  </a:lnTo>
                  <a:lnTo>
                    <a:pt x="1438" y="822"/>
                  </a:lnTo>
                  <a:lnTo>
                    <a:pt x="1440" y="818"/>
                  </a:lnTo>
                  <a:lnTo>
                    <a:pt x="1440" y="818"/>
                  </a:lnTo>
                  <a:lnTo>
                    <a:pt x="1440" y="818"/>
                  </a:lnTo>
                  <a:lnTo>
                    <a:pt x="1442" y="812"/>
                  </a:lnTo>
                  <a:lnTo>
                    <a:pt x="1442" y="812"/>
                  </a:lnTo>
                  <a:lnTo>
                    <a:pt x="1442" y="806"/>
                  </a:lnTo>
                  <a:lnTo>
                    <a:pt x="1442" y="806"/>
                  </a:lnTo>
                  <a:lnTo>
                    <a:pt x="1442" y="806"/>
                  </a:lnTo>
                  <a:lnTo>
                    <a:pt x="1440" y="802"/>
                  </a:lnTo>
                  <a:lnTo>
                    <a:pt x="1440" y="802"/>
                  </a:lnTo>
                  <a:lnTo>
                    <a:pt x="1440" y="802"/>
                  </a:lnTo>
                  <a:lnTo>
                    <a:pt x="1440" y="800"/>
                  </a:lnTo>
                  <a:lnTo>
                    <a:pt x="1440" y="800"/>
                  </a:lnTo>
                  <a:lnTo>
                    <a:pt x="1440" y="800"/>
                  </a:lnTo>
                  <a:lnTo>
                    <a:pt x="1438" y="798"/>
                  </a:lnTo>
                  <a:lnTo>
                    <a:pt x="1438" y="798"/>
                  </a:lnTo>
                  <a:lnTo>
                    <a:pt x="1438" y="798"/>
                  </a:lnTo>
                  <a:lnTo>
                    <a:pt x="1436" y="796"/>
                  </a:lnTo>
                  <a:lnTo>
                    <a:pt x="1436" y="796"/>
                  </a:lnTo>
                  <a:lnTo>
                    <a:pt x="1436" y="796"/>
                  </a:lnTo>
                  <a:lnTo>
                    <a:pt x="1434" y="796"/>
                  </a:lnTo>
                  <a:lnTo>
                    <a:pt x="1434" y="796"/>
                  </a:lnTo>
                  <a:lnTo>
                    <a:pt x="1434" y="796"/>
                  </a:lnTo>
                  <a:lnTo>
                    <a:pt x="1432" y="796"/>
                  </a:lnTo>
                  <a:lnTo>
                    <a:pt x="1432" y="796"/>
                  </a:lnTo>
                  <a:lnTo>
                    <a:pt x="1432" y="798"/>
                  </a:lnTo>
                  <a:lnTo>
                    <a:pt x="1428" y="798"/>
                  </a:lnTo>
                  <a:lnTo>
                    <a:pt x="1424" y="802"/>
                  </a:lnTo>
                  <a:lnTo>
                    <a:pt x="1422" y="804"/>
                  </a:lnTo>
                  <a:lnTo>
                    <a:pt x="1418" y="806"/>
                  </a:lnTo>
                  <a:lnTo>
                    <a:pt x="1416" y="808"/>
                  </a:lnTo>
                  <a:lnTo>
                    <a:pt x="1418" y="804"/>
                  </a:lnTo>
                  <a:lnTo>
                    <a:pt x="1420" y="800"/>
                  </a:lnTo>
                  <a:lnTo>
                    <a:pt x="1422" y="796"/>
                  </a:lnTo>
                  <a:lnTo>
                    <a:pt x="1424" y="792"/>
                  </a:lnTo>
                  <a:lnTo>
                    <a:pt x="1424" y="786"/>
                  </a:lnTo>
                  <a:lnTo>
                    <a:pt x="1426" y="782"/>
                  </a:lnTo>
                  <a:lnTo>
                    <a:pt x="1426" y="782"/>
                  </a:lnTo>
                  <a:lnTo>
                    <a:pt x="1426" y="782"/>
                  </a:lnTo>
                  <a:lnTo>
                    <a:pt x="1426" y="780"/>
                  </a:lnTo>
                  <a:lnTo>
                    <a:pt x="1426" y="776"/>
                  </a:lnTo>
                  <a:lnTo>
                    <a:pt x="1426" y="776"/>
                  </a:lnTo>
                  <a:lnTo>
                    <a:pt x="1426" y="776"/>
                  </a:lnTo>
                  <a:lnTo>
                    <a:pt x="1424" y="770"/>
                  </a:lnTo>
                  <a:lnTo>
                    <a:pt x="1424" y="770"/>
                  </a:lnTo>
                  <a:lnTo>
                    <a:pt x="1424" y="770"/>
                  </a:lnTo>
                  <a:lnTo>
                    <a:pt x="1422" y="766"/>
                  </a:lnTo>
                  <a:lnTo>
                    <a:pt x="1422" y="766"/>
                  </a:lnTo>
                  <a:lnTo>
                    <a:pt x="1422" y="766"/>
                  </a:lnTo>
                  <a:lnTo>
                    <a:pt x="1420" y="764"/>
                  </a:lnTo>
                  <a:lnTo>
                    <a:pt x="1420" y="764"/>
                  </a:lnTo>
                  <a:lnTo>
                    <a:pt x="1420" y="764"/>
                  </a:lnTo>
                  <a:lnTo>
                    <a:pt x="1418" y="762"/>
                  </a:lnTo>
                  <a:lnTo>
                    <a:pt x="1418" y="762"/>
                  </a:lnTo>
                  <a:lnTo>
                    <a:pt x="1418" y="762"/>
                  </a:lnTo>
                  <a:lnTo>
                    <a:pt x="1416" y="760"/>
                  </a:lnTo>
                  <a:lnTo>
                    <a:pt x="1416" y="760"/>
                  </a:lnTo>
                  <a:lnTo>
                    <a:pt x="1416" y="760"/>
                  </a:lnTo>
                  <a:lnTo>
                    <a:pt x="1414" y="760"/>
                  </a:lnTo>
                  <a:lnTo>
                    <a:pt x="1414" y="760"/>
                  </a:lnTo>
                  <a:lnTo>
                    <a:pt x="1414" y="760"/>
                  </a:lnTo>
                  <a:lnTo>
                    <a:pt x="1410" y="758"/>
                  </a:lnTo>
                  <a:lnTo>
                    <a:pt x="1410" y="758"/>
                  </a:lnTo>
                  <a:lnTo>
                    <a:pt x="1408" y="758"/>
                  </a:lnTo>
                  <a:lnTo>
                    <a:pt x="1404" y="758"/>
                  </a:lnTo>
                  <a:lnTo>
                    <a:pt x="1404" y="758"/>
                  </a:lnTo>
                  <a:lnTo>
                    <a:pt x="1404" y="758"/>
                  </a:lnTo>
                  <a:lnTo>
                    <a:pt x="1400" y="758"/>
                  </a:lnTo>
                  <a:lnTo>
                    <a:pt x="1400" y="758"/>
                  </a:lnTo>
                  <a:lnTo>
                    <a:pt x="1400" y="758"/>
                  </a:lnTo>
                  <a:lnTo>
                    <a:pt x="1398" y="758"/>
                  </a:lnTo>
                  <a:lnTo>
                    <a:pt x="1398" y="758"/>
                  </a:lnTo>
                  <a:lnTo>
                    <a:pt x="1398" y="758"/>
                  </a:lnTo>
                  <a:lnTo>
                    <a:pt x="1394" y="760"/>
                  </a:lnTo>
                  <a:lnTo>
                    <a:pt x="1394" y="760"/>
                  </a:lnTo>
                  <a:lnTo>
                    <a:pt x="1394" y="762"/>
                  </a:lnTo>
                  <a:lnTo>
                    <a:pt x="1390" y="764"/>
                  </a:lnTo>
                  <a:lnTo>
                    <a:pt x="1390" y="764"/>
                  </a:lnTo>
                  <a:lnTo>
                    <a:pt x="1390" y="764"/>
                  </a:lnTo>
                  <a:lnTo>
                    <a:pt x="1388" y="768"/>
                  </a:lnTo>
                  <a:lnTo>
                    <a:pt x="1384" y="772"/>
                  </a:lnTo>
                  <a:lnTo>
                    <a:pt x="1382" y="776"/>
                  </a:lnTo>
                  <a:lnTo>
                    <a:pt x="1382" y="780"/>
                  </a:lnTo>
                  <a:lnTo>
                    <a:pt x="1378" y="786"/>
                  </a:lnTo>
                  <a:lnTo>
                    <a:pt x="1376" y="794"/>
                  </a:lnTo>
                  <a:lnTo>
                    <a:pt x="1374" y="798"/>
                  </a:lnTo>
                  <a:lnTo>
                    <a:pt x="1374" y="802"/>
                  </a:lnTo>
                  <a:lnTo>
                    <a:pt x="1374" y="808"/>
                  </a:lnTo>
                  <a:lnTo>
                    <a:pt x="1374" y="812"/>
                  </a:lnTo>
                  <a:lnTo>
                    <a:pt x="1376" y="820"/>
                  </a:lnTo>
                  <a:lnTo>
                    <a:pt x="1376" y="826"/>
                  </a:lnTo>
                  <a:lnTo>
                    <a:pt x="1378" y="828"/>
                  </a:lnTo>
                  <a:lnTo>
                    <a:pt x="1376" y="832"/>
                  </a:lnTo>
                  <a:lnTo>
                    <a:pt x="1376" y="834"/>
                  </a:lnTo>
                  <a:lnTo>
                    <a:pt x="1376" y="836"/>
                  </a:lnTo>
                  <a:lnTo>
                    <a:pt x="1374" y="838"/>
                  </a:lnTo>
                  <a:lnTo>
                    <a:pt x="1372" y="838"/>
                  </a:lnTo>
                  <a:lnTo>
                    <a:pt x="1370" y="840"/>
                  </a:lnTo>
                  <a:lnTo>
                    <a:pt x="1366" y="840"/>
                  </a:lnTo>
                  <a:lnTo>
                    <a:pt x="1366" y="842"/>
                  </a:lnTo>
                  <a:lnTo>
                    <a:pt x="1364" y="840"/>
                  </a:lnTo>
                  <a:lnTo>
                    <a:pt x="1364" y="840"/>
                  </a:lnTo>
                  <a:lnTo>
                    <a:pt x="1362" y="838"/>
                  </a:lnTo>
                  <a:lnTo>
                    <a:pt x="1362" y="836"/>
                  </a:lnTo>
                  <a:lnTo>
                    <a:pt x="1360" y="832"/>
                  </a:lnTo>
                  <a:lnTo>
                    <a:pt x="1360" y="828"/>
                  </a:lnTo>
                  <a:lnTo>
                    <a:pt x="1358" y="822"/>
                  </a:lnTo>
                  <a:lnTo>
                    <a:pt x="1358" y="816"/>
                  </a:lnTo>
                  <a:lnTo>
                    <a:pt x="1358" y="812"/>
                  </a:lnTo>
                  <a:lnTo>
                    <a:pt x="1358" y="808"/>
                  </a:lnTo>
                  <a:lnTo>
                    <a:pt x="1358" y="798"/>
                  </a:lnTo>
                  <a:lnTo>
                    <a:pt x="1360" y="790"/>
                  </a:lnTo>
                  <a:lnTo>
                    <a:pt x="1360" y="790"/>
                  </a:lnTo>
                  <a:lnTo>
                    <a:pt x="1362" y="782"/>
                  </a:lnTo>
                  <a:lnTo>
                    <a:pt x="1364" y="780"/>
                  </a:lnTo>
                  <a:lnTo>
                    <a:pt x="1366" y="776"/>
                  </a:lnTo>
                  <a:lnTo>
                    <a:pt x="1368" y="774"/>
                  </a:lnTo>
                  <a:lnTo>
                    <a:pt x="1372" y="770"/>
                  </a:lnTo>
                  <a:lnTo>
                    <a:pt x="1376" y="768"/>
                  </a:lnTo>
                  <a:lnTo>
                    <a:pt x="1380" y="766"/>
                  </a:lnTo>
                  <a:lnTo>
                    <a:pt x="1384" y="764"/>
                  </a:lnTo>
                  <a:lnTo>
                    <a:pt x="1388" y="762"/>
                  </a:lnTo>
                  <a:lnTo>
                    <a:pt x="1392" y="760"/>
                  </a:lnTo>
                  <a:lnTo>
                    <a:pt x="1392" y="760"/>
                  </a:lnTo>
                  <a:lnTo>
                    <a:pt x="1392" y="758"/>
                  </a:lnTo>
                  <a:lnTo>
                    <a:pt x="1394" y="756"/>
                  </a:lnTo>
                  <a:lnTo>
                    <a:pt x="1394" y="756"/>
                  </a:lnTo>
                  <a:lnTo>
                    <a:pt x="1396" y="756"/>
                  </a:lnTo>
                  <a:lnTo>
                    <a:pt x="1398" y="754"/>
                  </a:lnTo>
                  <a:lnTo>
                    <a:pt x="1398" y="752"/>
                  </a:lnTo>
                  <a:lnTo>
                    <a:pt x="1398" y="752"/>
                  </a:lnTo>
                  <a:lnTo>
                    <a:pt x="1398" y="750"/>
                  </a:lnTo>
                  <a:lnTo>
                    <a:pt x="1400" y="748"/>
                  </a:lnTo>
                  <a:lnTo>
                    <a:pt x="1400" y="748"/>
                  </a:lnTo>
                  <a:lnTo>
                    <a:pt x="1400" y="748"/>
                  </a:lnTo>
                  <a:lnTo>
                    <a:pt x="1400" y="746"/>
                  </a:lnTo>
                  <a:lnTo>
                    <a:pt x="1400" y="746"/>
                  </a:lnTo>
                  <a:lnTo>
                    <a:pt x="1400" y="744"/>
                  </a:lnTo>
                  <a:lnTo>
                    <a:pt x="1400" y="742"/>
                  </a:lnTo>
                  <a:lnTo>
                    <a:pt x="1400" y="742"/>
                  </a:lnTo>
                  <a:lnTo>
                    <a:pt x="1400" y="742"/>
                  </a:lnTo>
                  <a:lnTo>
                    <a:pt x="1400" y="740"/>
                  </a:lnTo>
                  <a:lnTo>
                    <a:pt x="1400" y="740"/>
                  </a:lnTo>
                  <a:lnTo>
                    <a:pt x="1400" y="738"/>
                  </a:lnTo>
                  <a:lnTo>
                    <a:pt x="1398" y="736"/>
                  </a:lnTo>
                  <a:lnTo>
                    <a:pt x="1398" y="736"/>
                  </a:lnTo>
                  <a:lnTo>
                    <a:pt x="1398" y="736"/>
                  </a:lnTo>
                  <a:lnTo>
                    <a:pt x="1396" y="736"/>
                  </a:lnTo>
                  <a:lnTo>
                    <a:pt x="1396" y="736"/>
                  </a:lnTo>
                  <a:lnTo>
                    <a:pt x="1394" y="734"/>
                  </a:lnTo>
                  <a:lnTo>
                    <a:pt x="1392" y="734"/>
                  </a:lnTo>
                  <a:lnTo>
                    <a:pt x="1386" y="732"/>
                  </a:lnTo>
                  <a:lnTo>
                    <a:pt x="1382" y="732"/>
                  </a:lnTo>
                  <a:lnTo>
                    <a:pt x="1376" y="732"/>
                  </a:lnTo>
                  <a:lnTo>
                    <a:pt x="1368" y="732"/>
                  </a:lnTo>
                  <a:lnTo>
                    <a:pt x="1362" y="732"/>
                  </a:lnTo>
                  <a:lnTo>
                    <a:pt x="1356" y="732"/>
                  </a:lnTo>
                  <a:lnTo>
                    <a:pt x="1348" y="732"/>
                  </a:lnTo>
                  <a:lnTo>
                    <a:pt x="1342" y="732"/>
                  </a:lnTo>
                  <a:lnTo>
                    <a:pt x="1334" y="732"/>
                  </a:lnTo>
                  <a:lnTo>
                    <a:pt x="1326" y="734"/>
                  </a:lnTo>
                  <a:lnTo>
                    <a:pt x="1320" y="736"/>
                  </a:lnTo>
                  <a:lnTo>
                    <a:pt x="1312" y="736"/>
                  </a:lnTo>
                  <a:lnTo>
                    <a:pt x="1308" y="736"/>
                  </a:lnTo>
                  <a:lnTo>
                    <a:pt x="1306" y="736"/>
                  </a:lnTo>
                  <a:lnTo>
                    <a:pt x="1304" y="736"/>
                  </a:lnTo>
                  <a:lnTo>
                    <a:pt x="1302" y="736"/>
                  </a:lnTo>
                  <a:lnTo>
                    <a:pt x="1304" y="736"/>
                  </a:lnTo>
                  <a:lnTo>
                    <a:pt x="1306" y="734"/>
                  </a:lnTo>
                  <a:lnTo>
                    <a:pt x="1308" y="732"/>
                  </a:lnTo>
                  <a:lnTo>
                    <a:pt x="1314" y="728"/>
                  </a:lnTo>
                  <a:lnTo>
                    <a:pt x="1318" y="724"/>
                  </a:lnTo>
                  <a:lnTo>
                    <a:pt x="1324" y="722"/>
                  </a:lnTo>
                  <a:lnTo>
                    <a:pt x="1326" y="720"/>
                  </a:lnTo>
                  <a:lnTo>
                    <a:pt x="1328" y="718"/>
                  </a:lnTo>
                  <a:lnTo>
                    <a:pt x="1328" y="716"/>
                  </a:lnTo>
                  <a:lnTo>
                    <a:pt x="1328" y="716"/>
                  </a:lnTo>
                  <a:lnTo>
                    <a:pt x="1330" y="716"/>
                  </a:lnTo>
                  <a:lnTo>
                    <a:pt x="1330" y="714"/>
                  </a:lnTo>
                  <a:lnTo>
                    <a:pt x="1330" y="714"/>
                  </a:lnTo>
                  <a:lnTo>
                    <a:pt x="1330" y="712"/>
                  </a:lnTo>
                  <a:lnTo>
                    <a:pt x="1330" y="710"/>
                  </a:lnTo>
                  <a:lnTo>
                    <a:pt x="1330" y="710"/>
                  </a:lnTo>
                  <a:lnTo>
                    <a:pt x="1328" y="710"/>
                  </a:lnTo>
                  <a:lnTo>
                    <a:pt x="1326" y="708"/>
                  </a:lnTo>
                  <a:lnTo>
                    <a:pt x="1326" y="708"/>
                  </a:lnTo>
                  <a:lnTo>
                    <a:pt x="1326" y="708"/>
                  </a:lnTo>
                  <a:lnTo>
                    <a:pt x="1322" y="706"/>
                  </a:lnTo>
                  <a:lnTo>
                    <a:pt x="1318" y="706"/>
                  </a:lnTo>
                  <a:lnTo>
                    <a:pt x="1314" y="706"/>
                  </a:lnTo>
                  <a:lnTo>
                    <a:pt x="1310" y="706"/>
                  </a:lnTo>
                  <a:lnTo>
                    <a:pt x="1306" y="704"/>
                  </a:lnTo>
                  <a:lnTo>
                    <a:pt x="1302" y="704"/>
                  </a:lnTo>
                  <a:lnTo>
                    <a:pt x="1296" y="704"/>
                  </a:lnTo>
                  <a:lnTo>
                    <a:pt x="1292" y="704"/>
                  </a:lnTo>
                  <a:lnTo>
                    <a:pt x="1282" y="704"/>
                  </a:lnTo>
                  <a:lnTo>
                    <a:pt x="1272" y="704"/>
                  </a:lnTo>
                  <a:lnTo>
                    <a:pt x="1260" y="704"/>
                  </a:lnTo>
                  <a:lnTo>
                    <a:pt x="1258" y="704"/>
                  </a:lnTo>
                  <a:lnTo>
                    <a:pt x="1256" y="704"/>
                  </a:lnTo>
                  <a:lnTo>
                    <a:pt x="1256" y="704"/>
                  </a:lnTo>
                  <a:lnTo>
                    <a:pt x="1256" y="704"/>
                  </a:lnTo>
                  <a:lnTo>
                    <a:pt x="1256" y="704"/>
                  </a:lnTo>
                  <a:lnTo>
                    <a:pt x="1254" y="704"/>
                  </a:lnTo>
                  <a:lnTo>
                    <a:pt x="1254" y="704"/>
                  </a:lnTo>
                  <a:lnTo>
                    <a:pt x="1252" y="704"/>
                  </a:lnTo>
                  <a:lnTo>
                    <a:pt x="1250" y="704"/>
                  </a:lnTo>
                  <a:lnTo>
                    <a:pt x="1248" y="702"/>
                  </a:lnTo>
                  <a:lnTo>
                    <a:pt x="1244" y="702"/>
                  </a:lnTo>
                  <a:lnTo>
                    <a:pt x="1238" y="702"/>
                  </a:lnTo>
                  <a:lnTo>
                    <a:pt x="1232" y="702"/>
                  </a:lnTo>
                  <a:lnTo>
                    <a:pt x="1210" y="702"/>
                  </a:lnTo>
                  <a:lnTo>
                    <a:pt x="1206" y="702"/>
                  </a:lnTo>
                  <a:lnTo>
                    <a:pt x="1192" y="702"/>
                  </a:lnTo>
                  <a:lnTo>
                    <a:pt x="1180" y="702"/>
                  </a:lnTo>
                  <a:lnTo>
                    <a:pt x="1164" y="702"/>
                  </a:lnTo>
                  <a:lnTo>
                    <a:pt x="1148" y="702"/>
                  </a:lnTo>
                  <a:lnTo>
                    <a:pt x="1132" y="702"/>
                  </a:lnTo>
                  <a:lnTo>
                    <a:pt x="1116" y="702"/>
                  </a:lnTo>
                  <a:lnTo>
                    <a:pt x="1100" y="702"/>
                  </a:lnTo>
                  <a:lnTo>
                    <a:pt x="1084" y="702"/>
                  </a:lnTo>
                  <a:lnTo>
                    <a:pt x="1068" y="702"/>
                  </a:lnTo>
                  <a:lnTo>
                    <a:pt x="1052" y="702"/>
                  </a:lnTo>
                  <a:lnTo>
                    <a:pt x="1038" y="702"/>
                  </a:lnTo>
                  <a:lnTo>
                    <a:pt x="1026" y="702"/>
                  </a:lnTo>
                  <a:lnTo>
                    <a:pt x="1020" y="702"/>
                  </a:lnTo>
                  <a:lnTo>
                    <a:pt x="932" y="702"/>
                  </a:lnTo>
                  <a:lnTo>
                    <a:pt x="916" y="702"/>
                  </a:lnTo>
                  <a:lnTo>
                    <a:pt x="910" y="702"/>
                  </a:lnTo>
                  <a:lnTo>
                    <a:pt x="902" y="702"/>
                  </a:lnTo>
                  <a:lnTo>
                    <a:pt x="896" y="704"/>
                  </a:lnTo>
                  <a:lnTo>
                    <a:pt x="890" y="704"/>
                  </a:lnTo>
                  <a:lnTo>
                    <a:pt x="886" y="704"/>
                  </a:lnTo>
                  <a:lnTo>
                    <a:pt x="880" y="704"/>
                  </a:lnTo>
                  <a:lnTo>
                    <a:pt x="876" y="704"/>
                  </a:lnTo>
                  <a:lnTo>
                    <a:pt x="872" y="704"/>
                  </a:lnTo>
                  <a:lnTo>
                    <a:pt x="870" y="704"/>
                  </a:lnTo>
                  <a:lnTo>
                    <a:pt x="868" y="704"/>
                  </a:lnTo>
                  <a:lnTo>
                    <a:pt x="866" y="702"/>
                  </a:lnTo>
                  <a:lnTo>
                    <a:pt x="866" y="702"/>
                  </a:lnTo>
                  <a:lnTo>
                    <a:pt x="864" y="702"/>
                  </a:lnTo>
                  <a:lnTo>
                    <a:pt x="864" y="702"/>
                  </a:lnTo>
                  <a:lnTo>
                    <a:pt x="864" y="702"/>
                  </a:lnTo>
                  <a:lnTo>
                    <a:pt x="862" y="704"/>
                  </a:lnTo>
                  <a:lnTo>
                    <a:pt x="860" y="704"/>
                  </a:lnTo>
                  <a:lnTo>
                    <a:pt x="860" y="704"/>
                  </a:lnTo>
                  <a:lnTo>
                    <a:pt x="860" y="704"/>
                  </a:lnTo>
                  <a:lnTo>
                    <a:pt x="858" y="706"/>
                  </a:lnTo>
                  <a:lnTo>
                    <a:pt x="858" y="706"/>
                  </a:lnTo>
                  <a:lnTo>
                    <a:pt x="858" y="708"/>
                  </a:lnTo>
                  <a:lnTo>
                    <a:pt x="858" y="710"/>
                  </a:lnTo>
                  <a:lnTo>
                    <a:pt x="858" y="710"/>
                  </a:lnTo>
                  <a:lnTo>
                    <a:pt x="860" y="710"/>
                  </a:lnTo>
                  <a:lnTo>
                    <a:pt x="860" y="714"/>
                  </a:lnTo>
                  <a:lnTo>
                    <a:pt x="862" y="718"/>
                  </a:lnTo>
                  <a:lnTo>
                    <a:pt x="864" y="722"/>
                  </a:lnTo>
                  <a:lnTo>
                    <a:pt x="866" y="728"/>
                  </a:lnTo>
                  <a:lnTo>
                    <a:pt x="868" y="732"/>
                  </a:lnTo>
                  <a:lnTo>
                    <a:pt x="868" y="734"/>
                  </a:lnTo>
                  <a:lnTo>
                    <a:pt x="868" y="736"/>
                  </a:lnTo>
                  <a:lnTo>
                    <a:pt x="868" y="738"/>
                  </a:lnTo>
                  <a:lnTo>
                    <a:pt x="868" y="738"/>
                  </a:lnTo>
                  <a:lnTo>
                    <a:pt x="866" y="740"/>
                  </a:lnTo>
                  <a:lnTo>
                    <a:pt x="866" y="740"/>
                  </a:lnTo>
                  <a:lnTo>
                    <a:pt x="862" y="742"/>
                  </a:lnTo>
                  <a:lnTo>
                    <a:pt x="856" y="742"/>
                  </a:lnTo>
                  <a:lnTo>
                    <a:pt x="854" y="742"/>
                  </a:lnTo>
                  <a:lnTo>
                    <a:pt x="850" y="740"/>
                  </a:lnTo>
                  <a:lnTo>
                    <a:pt x="844" y="740"/>
                  </a:lnTo>
                  <a:lnTo>
                    <a:pt x="840" y="738"/>
                  </a:lnTo>
                  <a:lnTo>
                    <a:pt x="834" y="736"/>
                  </a:lnTo>
                  <a:lnTo>
                    <a:pt x="828" y="734"/>
                  </a:lnTo>
                  <a:lnTo>
                    <a:pt x="824" y="734"/>
                  </a:lnTo>
                  <a:lnTo>
                    <a:pt x="824" y="734"/>
                  </a:lnTo>
                  <a:lnTo>
                    <a:pt x="824" y="734"/>
                  </a:lnTo>
                  <a:lnTo>
                    <a:pt x="820" y="734"/>
                  </a:lnTo>
                  <a:lnTo>
                    <a:pt x="820" y="734"/>
                  </a:lnTo>
                  <a:lnTo>
                    <a:pt x="820" y="734"/>
                  </a:lnTo>
                  <a:lnTo>
                    <a:pt x="818" y="734"/>
                  </a:lnTo>
                  <a:lnTo>
                    <a:pt x="818" y="734"/>
                  </a:lnTo>
                  <a:lnTo>
                    <a:pt x="816" y="736"/>
                  </a:lnTo>
                  <a:lnTo>
                    <a:pt x="814" y="736"/>
                  </a:lnTo>
                  <a:lnTo>
                    <a:pt x="814" y="736"/>
                  </a:lnTo>
                  <a:lnTo>
                    <a:pt x="814" y="738"/>
                  </a:lnTo>
                  <a:lnTo>
                    <a:pt x="814" y="740"/>
                  </a:lnTo>
                  <a:lnTo>
                    <a:pt x="814" y="740"/>
                  </a:lnTo>
                  <a:lnTo>
                    <a:pt x="814" y="740"/>
                  </a:lnTo>
                  <a:lnTo>
                    <a:pt x="812" y="742"/>
                  </a:lnTo>
                  <a:lnTo>
                    <a:pt x="812" y="746"/>
                  </a:lnTo>
                  <a:lnTo>
                    <a:pt x="812" y="750"/>
                  </a:lnTo>
                  <a:lnTo>
                    <a:pt x="814" y="754"/>
                  </a:lnTo>
                  <a:lnTo>
                    <a:pt x="814" y="758"/>
                  </a:lnTo>
                  <a:lnTo>
                    <a:pt x="814" y="764"/>
                  </a:lnTo>
                  <a:lnTo>
                    <a:pt x="816" y="770"/>
                  </a:lnTo>
                  <a:lnTo>
                    <a:pt x="816" y="778"/>
                  </a:lnTo>
                  <a:lnTo>
                    <a:pt x="818" y="786"/>
                  </a:lnTo>
                  <a:lnTo>
                    <a:pt x="820" y="802"/>
                  </a:lnTo>
                  <a:lnTo>
                    <a:pt x="820" y="810"/>
                  </a:lnTo>
                  <a:lnTo>
                    <a:pt x="822" y="818"/>
                  </a:lnTo>
                  <a:lnTo>
                    <a:pt x="822" y="824"/>
                  </a:lnTo>
                  <a:lnTo>
                    <a:pt x="822" y="832"/>
                  </a:lnTo>
                  <a:lnTo>
                    <a:pt x="822" y="844"/>
                  </a:lnTo>
                  <a:lnTo>
                    <a:pt x="822" y="852"/>
                  </a:lnTo>
                  <a:lnTo>
                    <a:pt x="822" y="858"/>
                  </a:lnTo>
                  <a:lnTo>
                    <a:pt x="822" y="866"/>
                  </a:lnTo>
                  <a:lnTo>
                    <a:pt x="824" y="872"/>
                  </a:lnTo>
                  <a:lnTo>
                    <a:pt x="828" y="886"/>
                  </a:lnTo>
                  <a:lnTo>
                    <a:pt x="832" y="902"/>
                  </a:lnTo>
                  <a:lnTo>
                    <a:pt x="838" y="916"/>
                  </a:lnTo>
                  <a:lnTo>
                    <a:pt x="840" y="922"/>
                  </a:lnTo>
                  <a:lnTo>
                    <a:pt x="844" y="930"/>
                  </a:lnTo>
                  <a:lnTo>
                    <a:pt x="848" y="938"/>
                  </a:lnTo>
                  <a:lnTo>
                    <a:pt x="854" y="946"/>
                  </a:lnTo>
                  <a:lnTo>
                    <a:pt x="858" y="956"/>
                  </a:lnTo>
                  <a:lnTo>
                    <a:pt x="864" y="964"/>
                  </a:lnTo>
                  <a:lnTo>
                    <a:pt x="870" y="972"/>
                  </a:lnTo>
                  <a:lnTo>
                    <a:pt x="876" y="980"/>
                  </a:lnTo>
                  <a:lnTo>
                    <a:pt x="882" y="986"/>
                  </a:lnTo>
                  <a:lnTo>
                    <a:pt x="884" y="990"/>
                  </a:lnTo>
                  <a:lnTo>
                    <a:pt x="886" y="992"/>
                  </a:lnTo>
                  <a:lnTo>
                    <a:pt x="886" y="992"/>
                  </a:lnTo>
                  <a:lnTo>
                    <a:pt x="886" y="992"/>
                  </a:lnTo>
                  <a:lnTo>
                    <a:pt x="892" y="996"/>
                  </a:lnTo>
                  <a:lnTo>
                    <a:pt x="892" y="996"/>
                  </a:lnTo>
                  <a:lnTo>
                    <a:pt x="892" y="996"/>
                  </a:lnTo>
                  <a:lnTo>
                    <a:pt x="896" y="998"/>
                  </a:lnTo>
                  <a:lnTo>
                    <a:pt x="896" y="998"/>
                  </a:lnTo>
                  <a:lnTo>
                    <a:pt x="898" y="998"/>
                  </a:lnTo>
                  <a:lnTo>
                    <a:pt x="902" y="1000"/>
                  </a:lnTo>
                  <a:lnTo>
                    <a:pt x="906" y="1002"/>
                  </a:lnTo>
                  <a:lnTo>
                    <a:pt x="912" y="1002"/>
                  </a:lnTo>
                  <a:lnTo>
                    <a:pt x="916" y="1002"/>
                  </a:lnTo>
                  <a:lnTo>
                    <a:pt x="918" y="1002"/>
                  </a:lnTo>
                  <a:lnTo>
                    <a:pt x="922" y="1004"/>
                  </a:lnTo>
                  <a:lnTo>
                    <a:pt x="924" y="1004"/>
                  </a:lnTo>
                  <a:lnTo>
                    <a:pt x="926" y="1006"/>
                  </a:lnTo>
                  <a:lnTo>
                    <a:pt x="926" y="1008"/>
                  </a:lnTo>
                  <a:lnTo>
                    <a:pt x="928" y="1010"/>
                  </a:lnTo>
                  <a:lnTo>
                    <a:pt x="930" y="1010"/>
                  </a:lnTo>
                  <a:lnTo>
                    <a:pt x="930" y="1010"/>
                  </a:lnTo>
                  <a:lnTo>
                    <a:pt x="930" y="1012"/>
                  </a:lnTo>
                  <a:lnTo>
                    <a:pt x="932" y="1012"/>
                  </a:lnTo>
                  <a:lnTo>
                    <a:pt x="932" y="1012"/>
                  </a:lnTo>
                  <a:lnTo>
                    <a:pt x="932" y="1012"/>
                  </a:lnTo>
                  <a:lnTo>
                    <a:pt x="934" y="1014"/>
                  </a:lnTo>
                  <a:lnTo>
                    <a:pt x="934" y="1014"/>
                  </a:lnTo>
                  <a:lnTo>
                    <a:pt x="934" y="1014"/>
                  </a:lnTo>
                  <a:lnTo>
                    <a:pt x="936" y="1014"/>
                  </a:lnTo>
                  <a:lnTo>
                    <a:pt x="936" y="1014"/>
                  </a:lnTo>
                  <a:lnTo>
                    <a:pt x="938" y="1014"/>
                  </a:lnTo>
                  <a:lnTo>
                    <a:pt x="940" y="1014"/>
                  </a:lnTo>
                  <a:lnTo>
                    <a:pt x="940" y="1014"/>
                  </a:lnTo>
                  <a:lnTo>
                    <a:pt x="940" y="1014"/>
                  </a:lnTo>
                  <a:lnTo>
                    <a:pt x="942" y="1012"/>
                  </a:lnTo>
                  <a:lnTo>
                    <a:pt x="946" y="1010"/>
                  </a:lnTo>
                  <a:lnTo>
                    <a:pt x="948" y="1008"/>
                  </a:lnTo>
                  <a:lnTo>
                    <a:pt x="952" y="1006"/>
                  </a:lnTo>
                  <a:lnTo>
                    <a:pt x="954" y="1004"/>
                  </a:lnTo>
                  <a:lnTo>
                    <a:pt x="956" y="1004"/>
                  </a:lnTo>
                  <a:lnTo>
                    <a:pt x="956" y="1004"/>
                  </a:lnTo>
                  <a:lnTo>
                    <a:pt x="958" y="1004"/>
                  </a:lnTo>
                  <a:lnTo>
                    <a:pt x="958" y="1004"/>
                  </a:lnTo>
                  <a:lnTo>
                    <a:pt x="958" y="1006"/>
                  </a:lnTo>
                  <a:lnTo>
                    <a:pt x="960" y="1006"/>
                  </a:lnTo>
                  <a:lnTo>
                    <a:pt x="960" y="1008"/>
                  </a:lnTo>
                  <a:lnTo>
                    <a:pt x="962" y="1010"/>
                  </a:lnTo>
                  <a:lnTo>
                    <a:pt x="964" y="1012"/>
                  </a:lnTo>
                  <a:lnTo>
                    <a:pt x="964" y="1012"/>
                  </a:lnTo>
                  <a:lnTo>
                    <a:pt x="964" y="1014"/>
                  </a:lnTo>
                  <a:lnTo>
                    <a:pt x="966" y="1016"/>
                  </a:lnTo>
                  <a:lnTo>
                    <a:pt x="970" y="1018"/>
                  </a:lnTo>
                  <a:lnTo>
                    <a:pt x="974" y="1020"/>
                  </a:lnTo>
                  <a:lnTo>
                    <a:pt x="980" y="1022"/>
                  </a:lnTo>
                  <a:lnTo>
                    <a:pt x="984" y="1024"/>
                  </a:lnTo>
                  <a:lnTo>
                    <a:pt x="994" y="1028"/>
                  </a:lnTo>
                  <a:lnTo>
                    <a:pt x="998" y="1030"/>
                  </a:lnTo>
                  <a:lnTo>
                    <a:pt x="1002" y="1032"/>
                  </a:lnTo>
                  <a:lnTo>
                    <a:pt x="1004" y="1032"/>
                  </a:lnTo>
                  <a:lnTo>
                    <a:pt x="1008" y="1034"/>
                  </a:lnTo>
                  <a:lnTo>
                    <a:pt x="1010" y="1034"/>
                  </a:lnTo>
                  <a:lnTo>
                    <a:pt x="1012" y="1034"/>
                  </a:lnTo>
                  <a:lnTo>
                    <a:pt x="1016" y="1036"/>
                  </a:lnTo>
                  <a:lnTo>
                    <a:pt x="1018" y="1036"/>
                  </a:lnTo>
                  <a:lnTo>
                    <a:pt x="1020" y="1036"/>
                  </a:lnTo>
                  <a:lnTo>
                    <a:pt x="1024" y="1036"/>
                  </a:lnTo>
                  <a:lnTo>
                    <a:pt x="1028" y="1036"/>
                  </a:lnTo>
                  <a:lnTo>
                    <a:pt x="1036" y="1036"/>
                  </a:lnTo>
                  <a:lnTo>
                    <a:pt x="1040" y="1036"/>
                  </a:lnTo>
                  <a:lnTo>
                    <a:pt x="1044" y="1036"/>
                  </a:lnTo>
                  <a:lnTo>
                    <a:pt x="1048" y="1034"/>
                  </a:lnTo>
                  <a:lnTo>
                    <a:pt x="1048" y="1034"/>
                  </a:lnTo>
                  <a:lnTo>
                    <a:pt x="1050" y="1034"/>
                  </a:lnTo>
                  <a:lnTo>
                    <a:pt x="1052" y="1034"/>
                  </a:lnTo>
                  <a:lnTo>
                    <a:pt x="1052" y="1034"/>
                  </a:lnTo>
                  <a:lnTo>
                    <a:pt x="1052" y="1034"/>
                  </a:lnTo>
                  <a:lnTo>
                    <a:pt x="1054" y="1032"/>
                  </a:lnTo>
                  <a:lnTo>
                    <a:pt x="1054" y="1032"/>
                  </a:lnTo>
                  <a:lnTo>
                    <a:pt x="1056" y="1030"/>
                  </a:lnTo>
                  <a:lnTo>
                    <a:pt x="1056" y="1028"/>
                  </a:lnTo>
                  <a:lnTo>
                    <a:pt x="1056" y="1028"/>
                  </a:lnTo>
                  <a:lnTo>
                    <a:pt x="1056" y="1028"/>
                  </a:lnTo>
                  <a:lnTo>
                    <a:pt x="1056" y="1026"/>
                  </a:lnTo>
                  <a:lnTo>
                    <a:pt x="1056" y="1026"/>
                  </a:lnTo>
                  <a:lnTo>
                    <a:pt x="1056" y="1026"/>
                  </a:lnTo>
                  <a:lnTo>
                    <a:pt x="1056" y="1022"/>
                  </a:lnTo>
                  <a:lnTo>
                    <a:pt x="1058" y="1020"/>
                  </a:lnTo>
                  <a:lnTo>
                    <a:pt x="1058" y="1020"/>
                  </a:lnTo>
                  <a:lnTo>
                    <a:pt x="1058" y="1020"/>
                  </a:lnTo>
                  <a:lnTo>
                    <a:pt x="1060" y="1020"/>
                  </a:lnTo>
                  <a:lnTo>
                    <a:pt x="1062" y="1022"/>
                  </a:lnTo>
                  <a:lnTo>
                    <a:pt x="1066" y="1024"/>
                  </a:lnTo>
                  <a:lnTo>
                    <a:pt x="1068" y="1026"/>
                  </a:lnTo>
                  <a:lnTo>
                    <a:pt x="1072" y="1028"/>
                  </a:lnTo>
                  <a:lnTo>
                    <a:pt x="1080" y="1034"/>
                  </a:lnTo>
                  <a:lnTo>
                    <a:pt x="1084" y="1036"/>
                  </a:lnTo>
                  <a:lnTo>
                    <a:pt x="1088" y="1040"/>
                  </a:lnTo>
                  <a:lnTo>
                    <a:pt x="1094" y="1046"/>
                  </a:lnTo>
                  <a:lnTo>
                    <a:pt x="1100" y="1050"/>
                  </a:lnTo>
                  <a:lnTo>
                    <a:pt x="1106" y="1056"/>
                  </a:lnTo>
                  <a:lnTo>
                    <a:pt x="1112" y="1060"/>
                  </a:lnTo>
                  <a:lnTo>
                    <a:pt x="1116" y="1064"/>
                  </a:lnTo>
                  <a:lnTo>
                    <a:pt x="1122" y="1066"/>
                  </a:lnTo>
                  <a:lnTo>
                    <a:pt x="1122" y="1066"/>
                  </a:lnTo>
                  <a:lnTo>
                    <a:pt x="1122" y="1066"/>
                  </a:lnTo>
                  <a:lnTo>
                    <a:pt x="1124" y="1068"/>
                  </a:lnTo>
                  <a:lnTo>
                    <a:pt x="1124" y="1068"/>
                  </a:lnTo>
                  <a:lnTo>
                    <a:pt x="1124" y="1068"/>
                  </a:lnTo>
                  <a:lnTo>
                    <a:pt x="1126" y="1068"/>
                  </a:lnTo>
                  <a:lnTo>
                    <a:pt x="1126" y="1068"/>
                  </a:lnTo>
                  <a:lnTo>
                    <a:pt x="1126" y="1068"/>
                  </a:lnTo>
                  <a:lnTo>
                    <a:pt x="1130" y="1068"/>
                  </a:lnTo>
                  <a:lnTo>
                    <a:pt x="1130" y="1068"/>
                  </a:lnTo>
                  <a:lnTo>
                    <a:pt x="1130" y="1068"/>
                  </a:lnTo>
                  <a:lnTo>
                    <a:pt x="1132" y="1066"/>
                  </a:lnTo>
                  <a:lnTo>
                    <a:pt x="1132" y="1066"/>
                  </a:lnTo>
                  <a:lnTo>
                    <a:pt x="1134" y="1066"/>
                  </a:lnTo>
                  <a:lnTo>
                    <a:pt x="1136" y="1064"/>
                  </a:lnTo>
                  <a:lnTo>
                    <a:pt x="1138" y="1062"/>
                  </a:lnTo>
                  <a:lnTo>
                    <a:pt x="1140" y="1062"/>
                  </a:lnTo>
                  <a:lnTo>
                    <a:pt x="1140" y="1060"/>
                  </a:lnTo>
                  <a:lnTo>
                    <a:pt x="1142" y="1060"/>
                  </a:lnTo>
                  <a:lnTo>
                    <a:pt x="1146" y="1062"/>
                  </a:lnTo>
                  <a:lnTo>
                    <a:pt x="1148" y="1064"/>
                  </a:lnTo>
                  <a:lnTo>
                    <a:pt x="1152" y="1066"/>
                  </a:lnTo>
                  <a:lnTo>
                    <a:pt x="1156" y="1068"/>
                  </a:lnTo>
                  <a:lnTo>
                    <a:pt x="1160" y="1070"/>
                  </a:lnTo>
                  <a:lnTo>
                    <a:pt x="1164" y="1072"/>
                  </a:lnTo>
                  <a:lnTo>
                    <a:pt x="1166" y="1076"/>
                  </a:lnTo>
                  <a:lnTo>
                    <a:pt x="1168" y="1078"/>
                  </a:lnTo>
                  <a:lnTo>
                    <a:pt x="1170" y="1080"/>
                  </a:lnTo>
                  <a:lnTo>
                    <a:pt x="1172" y="1082"/>
                  </a:lnTo>
                  <a:lnTo>
                    <a:pt x="1172" y="1082"/>
                  </a:lnTo>
                  <a:lnTo>
                    <a:pt x="1172" y="1086"/>
                  </a:lnTo>
                  <a:lnTo>
                    <a:pt x="1172" y="1090"/>
                  </a:lnTo>
                  <a:lnTo>
                    <a:pt x="1172" y="1096"/>
                  </a:lnTo>
                  <a:lnTo>
                    <a:pt x="1174" y="1100"/>
                  </a:lnTo>
                  <a:lnTo>
                    <a:pt x="1174" y="1100"/>
                  </a:lnTo>
                  <a:lnTo>
                    <a:pt x="1174" y="1100"/>
                  </a:lnTo>
                  <a:lnTo>
                    <a:pt x="1174" y="1102"/>
                  </a:lnTo>
                  <a:lnTo>
                    <a:pt x="1174" y="1102"/>
                  </a:lnTo>
                  <a:lnTo>
                    <a:pt x="1174" y="1104"/>
                  </a:lnTo>
                  <a:lnTo>
                    <a:pt x="1176" y="1108"/>
                  </a:lnTo>
                  <a:lnTo>
                    <a:pt x="1176" y="1108"/>
                  </a:lnTo>
                  <a:lnTo>
                    <a:pt x="1178" y="1108"/>
                  </a:lnTo>
                  <a:lnTo>
                    <a:pt x="1180" y="1112"/>
                  </a:lnTo>
                  <a:lnTo>
                    <a:pt x="1180" y="1112"/>
                  </a:lnTo>
                  <a:lnTo>
                    <a:pt x="1180" y="1114"/>
                  </a:lnTo>
                  <a:lnTo>
                    <a:pt x="1184" y="1116"/>
                  </a:lnTo>
                  <a:lnTo>
                    <a:pt x="1184" y="1116"/>
                  </a:lnTo>
                  <a:lnTo>
                    <a:pt x="1186" y="1118"/>
                  </a:lnTo>
                  <a:lnTo>
                    <a:pt x="1188" y="1118"/>
                  </a:lnTo>
                  <a:lnTo>
                    <a:pt x="1190" y="1120"/>
                  </a:lnTo>
                  <a:lnTo>
                    <a:pt x="1190" y="1120"/>
                  </a:lnTo>
                  <a:lnTo>
                    <a:pt x="1190" y="1120"/>
                  </a:lnTo>
                  <a:lnTo>
                    <a:pt x="1192" y="1120"/>
                  </a:lnTo>
                  <a:lnTo>
                    <a:pt x="1196" y="1120"/>
                  </a:lnTo>
                  <a:lnTo>
                    <a:pt x="1204" y="1120"/>
                  </a:lnTo>
                  <a:lnTo>
                    <a:pt x="1206" y="1120"/>
                  </a:lnTo>
                  <a:lnTo>
                    <a:pt x="1210" y="1118"/>
                  </a:lnTo>
                  <a:lnTo>
                    <a:pt x="1214" y="1118"/>
                  </a:lnTo>
                  <a:lnTo>
                    <a:pt x="1214" y="1118"/>
                  </a:lnTo>
                  <a:lnTo>
                    <a:pt x="1214" y="1118"/>
                  </a:lnTo>
                  <a:lnTo>
                    <a:pt x="1216" y="1116"/>
                  </a:lnTo>
                  <a:lnTo>
                    <a:pt x="1216" y="1116"/>
                  </a:lnTo>
                  <a:lnTo>
                    <a:pt x="1216" y="1116"/>
                  </a:lnTo>
                  <a:lnTo>
                    <a:pt x="1218" y="1114"/>
                  </a:lnTo>
                  <a:lnTo>
                    <a:pt x="1218" y="1114"/>
                  </a:lnTo>
                  <a:lnTo>
                    <a:pt x="1218" y="1112"/>
                  </a:lnTo>
                  <a:lnTo>
                    <a:pt x="1218" y="1112"/>
                  </a:lnTo>
                  <a:lnTo>
                    <a:pt x="1218" y="1112"/>
                  </a:lnTo>
                  <a:lnTo>
                    <a:pt x="1218" y="1110"/>
                  </a:lnTo>
                  <a:lnTo>
                    <a:pt x="1218" y="1108"/>
                  </a:lnTo>
                  <a:lnTo>
                    <a:pt x="1218" y="1106"/>
                  </a:lnTo>
                  <a:lnTo>
                    <a:pt x="1218" y="1104"/>
                  </a:lnTo>
                  <a:lnTo>
                    <a:pt x="1216" y="1102"/>
                  </a:lnTo>
                  <a:lnTo>
                    <a:pt x="1216" y="1100"/>
                  </a:lnTo>
                  <a:lnTo>
                    <a:pt x="1218" y="1098"/>
                  </a:lnTo>
                  <a:lnTo>
                    <a:pt x="1218" y="1096"/>
                  </a:lnTo>
                  <a:lnTo>
                    <a:pt x="1220" y="1094"/>
                  </a:lnTo>
                  <a:lnTo>
                    <a:pt x="1224" y="1088"/>
                  </a:lnTo>
                  <a:lnTo>
                    <a:pt x="1228" y="1082"/>
                  </a:lnTo>
                  <a:lnTo>
                    <a:pt x="1232" y="1080"/>
                  </a:lnTo>
                  <a:lnTo>
                    <a:pt x="1234" y="1078"/>
                  </a:lnTo>
                  <a:lnTo>
                    <a:pt x="1238" y="1076"/>
                  </a:lnTo>
                  <a:lnTo>
                    <a:pt x="1242" y="1074"/>
                  </a:lnTo>
                  <a:lnTo>
                    <a:pt x="1246" y="1072"/>
                  </a:lnTo>
                  <a:lnTo>
                    <a:pt x="1252" y="1068"/>
                  </a:lnTo>
                  <a:lnTo>
                    <a:pt x="1256" y="1066"/>
                  </a:lnTo>
                  <a:lnTo>
                    <a:pt x="1262" y="1066"/>
                  </a:lnTo>
                  <a:lnTo>
                    <a:pt x="1266" y="1064"/>
                  </a:lnTo>
                  <a:lnTo>
                    <a:pt x="1272" y="1062"/>
                  </a:lnTo>
                  <a:lnTo>
                    <a:pt x="1276" y="1062"/>
                  </a:lnTo>
                  <a:lnTo>
                    <a:pt x="1282" y="1062"/>
                  </a:lnTo>
                  <a:lnTo>
                    <a:pt x="1286" y="1064"/>
                  </a:lnTo>
                  <a:lnTo>
                    <a:pt x="1292" y="1064"/>
                  </a:lnTo>
                  <a:lnTo>
                    <a:pt x="1298" y="1066"/>
                  </a:lnTo>
                  <a:lnTo>
                    <a:pt x="1302" y="1066"/>
                  </a:lnTo>
                  <a:lnTo>
                    <a:pt x="1308" y="1068"/>
                  </a:lnTo>
                  <a:lnTo>
                    <a:pt x="1312" y="1068"/>
                  </a:lnTo>
                  <a:lnTo>
                    <a:pt x="1316" y="1070"/>
                  </a:lnTo>
                  <a:lnTo>
                    <a:pt x="1320" y="1070"/>
                  </a:lnTo>
                  <a:lnTo>
                    <a:pt x="1322" y="1072"/>
                  </a:lnTo>
                  <a:lnTo>
                    <a:pt x="1324" y="1072"/>
                  </a:lnTo>
                  <a:lnTo>
                    <a:pt x="1328" y="1072"/>
                  </a:lnTo>
                  <a:lnTo>
                    <a:pt x="1330" y="1074"/>
                  </a:lnTo>
                  <a:lnTo>
                    <a:pt x="1332" y="1074"/>
                  </a:lnTo>
                  <a:lnTo>
                    <a:pt x="1332" y="1074"/>
                  </a:lnTo>
                  <a:lnTo>
                    <a:pt x="1334" y="1074"/>
                  </a:lnTo>
                  <a:lnTo>
                    <a:pt x="1336" y="1072"/>
                  </a:lnTo>
                  <a:lnTo>
                    <a:pt x="1336" y="1072"/>
                  </a:lnTo>
                  <a:lnTo>
                    <a:pt x="1336" y="1072"/>
                  </a:lnTo>
                  <a:lnTo>
                    <a:pt x="1338" y="1072"/>
                  </a:lnTo>
                  <a:lnTo>
                    <a:pt x="1338" y="1072"/>
                  </a:lnTo>
                  <a:lnTo>
                    <a:pt x="1340" y="1070"/>
                  </a:lnTo>
                  <a:lnTo>
                    <a:pt x="1340" y="1068"/>
                  </a:lnTo>
                  <a:lnTo>
                    <a:pt x="1340" y="1068"/>
                  </a:lnTo>
                  <a:lnTo>
                    <a:pt x="1342" y="1068"/>
                  </a:lnTo>
                  <a:lnTo>
                    <a:pt x="1342" y="1066"/>
                  </a:lnTo>
                  <a:lnTo>
                    <a:pt x="1344" y="1064"/>
                  </a:lnTo>
                  <a:lnTo>
                    <a:pt x="1346" y="1060"/>
                  </a:lnTo>
                  <a:lnTo>
                    <a:pt x="1348" y="1058"/>
                  </a:lnTo>
                  <a:lnTo>
                    <a:pt x="1348" y="1056"/>
                  </a:lnTo>
                  <a:lnTo>
                    <a:pt x="1350" y="1056"/>
                  </a:lnTo>
                  <a:lnTo>
                    <a:pt x="1352" y="1054"/>
                  </a:lnTo>
                  <a:lnTo>
                    <a:pt x="1356" y="1054"/>
                  </a:lnTo>
                  <a:lnTo>
                    <a:pt x="1360" y="1054"/>
                  </a:lnTo>
                  <a:lnTo>
                    <a:pt x="1364" y="1054"/>
                  </a:lnTo>
                  <a:lnTo>
                    <a:pt x="1368" y="1054"/>
                  </a:lnTo>
                  <a:lnTo>
                    <a:pt x="1372" y="1054"/>
                  </a:lnTo>
                  <a:lnTo>
                    <a:pt x="1376" y="1054"/>
                  </a:lnTo>
                  <a:lnTo>
                    <a:pt x="1378" y="1054"/>
                  </a:lnTo>
                  <a:lnTo>
                    <a:pt x="1380" y="1054"/>
                  </a:lnTo>
                  <a:lnTo>
                    <a:pt x="1382" y="1054"/>
                  </a:lnTo>
                  <a:lnTo>
                    <a:pt x="1382" y="1056"/>
                  </a:lnTo>
                  <a:lnTo>
                    <a:pt x="1384" y="1056"/>
                  </a:lnTo>
                  <a:lnTo>
                    <a:pt x="1384" y="1058"/>
                  </a:lnTo>
                  <a:lnTo>
                    <a:pt x="1384" y="1058"/>
                  </a:lnTo>
                  <a:lnTo>
                    <a:pt x="1386" y="1058"/>
                  </a:lnTo>
                  <a:lnTo>
                    <a:pt x="1386" y="1058"/>
                  </a:lnTo>
                  <a:lnTo>
                    <a:pt x="1386" y="1058"/>
                  </a:lnTo>
                  <a:lnTo>
                    <a:pt x="1388" y="1058"/>
                  </a:lnTo>
                  <a:lnTo>
                    <a:pt x="1388" y="1058"/>
                  </a:lnTo>
                  <a:lnTo>
                    <a:pt x="1392" y="1060"/>
                  </a:lnTo>
                  <a:lnTo>
                    <a:pt x="1394" y="1060"/>
                  </a:lnTo>
                  <a:lnTo>
                    <a:pt x="1398" y="1060"/>
                  </a:lnTo>
                  <a:lnTo>
                    <a:pt x="1398" y="1060"/>
                  </a:lnTo>
                  <a:lnTo>
                    <a:pt x="1398" y="1060"/>
                  </a:lnTo>
                  <a:lnTo>
                    <a:pt x="1402" y="1060"/>
                  </a:lnTo>
                  <a:lnTo>
                    <a:pt x="1402" y="1060"/>
                  </a:lnTo>
                  <a:lnTo>
                    <a:pt x="1402" y="1060"/>
                  </a:lnTo>
                  <a:lnTo>
                    <a:pt x="1404" y="1060"/>
                  </a:lnTo>
                  <a:lnTo>
                    <a:pt x="1404" y="1060"/>
                  </a:lnTo>
                  <a:lnTo>
                    <a:pt x="1404" y="1060"/>
                  </a:lnTo>
                  <a:lnTo>
                    <a:pt x="1406" y="1058"/>
                  </a:lnTo>
                  <a:lnTo>
                    <a:pt x="1408" y="1056"/>
                  </a:lnTo>
                  <a:lnTo>
                    <a:pt x="1410" y="1054"/>
                  </a:lnTo>
                  <a:lnTo>
                    <a:pt x="1410" y="1054"/>
                  </a:lnTo>
                  <a:lnTo>
                    <a:pt x="1410" y="1054"/>
                  </a:lnTo>
                  <a:lnTo>
                    <a:pt x="1412" y="1056"/>
                  </a:lnTo>
                  <a:lnTo>
                    <a:pt x="1412" y="1056"/>
                  </a:lnTo>
                  <a:lnTo>
                    <a:pt x="1414" y="1058"/>
                  </a:lnTo>
                  <a:lnTo>
                    <a:pt x="1416" y="1060"/>
                  </a:lnTo>
                  <a:lnTo>
                    <a:pt x="1420" y="1064"/>
                  </a:lnTo>
                  <a:lnTo>
                    <a:pt x="1424" y="1070"/>
                  </a:lnTo>
                  <a:lnTo>
                    <a:pt x="1428" y="1076"/>
                  </a:lnTo>
                  <a:lnTo>
                    <a:pt x="1432" y="1080"/>
                  </a:lnTo>
                  <a:lnTo>
                    <a:pt x="1434" y="1086"/>
                  </a:lnTo>
                  <a:lnTo>
                    <a:pt x="1436" y="1088"/>
                  </a:lnTo>
                  <a:lnTo>
                    <a:pt x="1438" y="1092"/>
                  </a:lnTo>
                  <a:lnTo>
                    <a:pt x="1438" y="1094"/>
                  </a:lnTo>
                  <a:lnTo>
                    <a:pt x="1438" y="1098"/>
                  </a:lnTo>
                  <a:lnTo>
                    <a:pt x="1436" y="1100"/>
                  </a:lnTo>
                  <a:lnTo>
                    <a:pt x="1436" y="1102"/>
                  </a:lnTo>
                  <a:lnTo>
                    <a:pt x="1436" y="1106"/>
                  </a:lnTo>
                  <a:lnTo>
                    <a:pt x="1436" y="1106"/>
                  </a:lnTo>
                  <a:lnTo>
                    <a:pt x="1436" y="1106"/>
                  </a:lnTo>
                  <a:lnTo>
                    <a:pt x="1436" y="1108"/>
                  </a:lnTo>
                  <a:lnTo>
                    <a:pt x="1436" y="1108"/>
                  </a:lnTo>
                  <a:lnTo>
                    <a:pt x="1436" y="1108"/>
                  </a:lnTo>
                  <a:lnTo>
                    <a:pt x="1436" y="1112"/>
                  </a:lnTo>
                  <a:lnTo>
                    <a:pt x="1436" y="1112"/>
                  </a:lnTo>
                  <a:lnTo>
                    <a:pt x="1436" y="1112"/>
                  </a:lnTo>
                  <a:lnTo>
                    <a:pt x="1438" y="1116"/>
                  </a:lnTo>
                  <a:lnTo>
                    <a:pt x="1440" y="1118"/>
                  </a:lnTo>
                  <a:lnTo>
                    <a:pt x="1444" y="1126"/>
                  </a:lnTo>
                  <a:lnTo>
                    <a:pt x="1448" y="1128"/>
                  </a:lnTo>
                  <a:lnTo>
                    <a:pt x="1450" y="1132"/>
                  </a:lnTo>
                  <a:lnTo>
                    <a:pt x="1452" y="1134"/>
                  </a:lnTo>
                  <a:lnTo>
                    <a:pt x="1456" y="1136"/>
                  </a:lnTo>
                  <a:lnTo>
                    <a:pt x="1456" y="1136"/>
                  </a:lnTo>
                  <a:lnTo>
                    <a:pt x="1456" y="1136"/>
                  </a:lnTo>
                  <a:lnTo>
                    <a:pt x="1460" y="1138"/>
                  </a:lnTo>
                  <a:lnTo>
                    <a:pt x="1460" y="1138"/>
                  </a:lnTo>
                  <a:lnTo>
                    <a:pt x="1462" y="1138"/>
                  </a:lnTo>
                  <a:lnTo>
                    <a:pt x="1464" y="1138"/>
                  </a:lnTo>
                  <a:lnTo>
                    <a:pt x="1466" y="1138"/>
                  </a:lnTo>
                  <a:lnTo>
                    <a:pt x="1466" y="1138"/>
                  </a:lnTo>
                  <a:lnTo>
                    <a:pt x="1468" y="1138"/>
                  </a:lnTo>
                  <a:lnTo>
                    <a:pt x="1470" y="1138"/>
                  </a:lnTo>
                  <a:lnTo>
                    <a:pt x="1470" y="1138"/>
                  </a:lnTo>
                  <a:lnTo>
                    <a:pt x="1470" y="1138"/>
                  </a:lnTo>
                  <a:lnTo>
                    <a:pt x="1472" y="1136"/>
                  </a:lnTo>
                  <a:lnTo>
                    <a:pt x="1472" y="1136"/>
                  </a:lnTo>
                  <a:lnTo>
                    <a:pt x="1472" y="1136"/>
                  </a:lnTo>
                  <a:lnTo>
                    <a:pt x="1474" y="1134"/>
                  </a:lnTo>
                  <a:lnTo>
                    <a:pt x="1474" y="1134"/>
                  </a:lnTo>
                  <a:lnTo>
                    <a:pt x="1474" y="1132"/>
                  </a:lnTo>
                  <a:lnTo>
                    <a:pt x="1476" y="1130"/>
                  </a:lnTo>
                  <a:lnTo>
                    <a:pt x="1476" y="1130"/>
                  </a:lnTo>
                  <a:lnTo>
                    <a:pt x="1476" y="1130"/>
                  </a:lnTo>
                  <a:lnTo>
                    <a:pt x="1476" y="1128"/>
                  </a:lnTo>
                  <a:lnTo>
                    <a:pt x="1476" y="1126"/>
                  </a:lnTo>
                  <a:lnTo>
                    <a:pt x="1478" y="1120"/>
                  </a:lnTo>
                  <a:lnTo>
                    <a:pt x="1478" y="1114"/>
                  </a:lnTo>
                  <a:lnTo>
                    <a:pt x="1478" y="1106"/>
                  </a:lnTo>
                  <a:lnTo>
                    <a:pt x="1476" y="1100"/>
                  </a:lnTo>
                  <a:lnTo>
                    <a:pt x="1476" y="1094"/>
                  </a:lnTo>
                  <a:lnTo>
                    <a:pt x="1476" y="1086"/>
                  </a:lnTo>
                  <a:lnTo>
                    <a:pt x="1474" y="1082"/>
                  </a:lnTo>
                  <a:lnTo>
                    <a:pt x="1474" y="1082"/>
                  </a:lnTo>
                  <a:lnTo>
                    <a:pt x="1474" y="1080"/>
                  </a:lnTo>
                  <a:lnTo>
                    <a:pt x="1472" y="1076"/>
                  </a:lnTo>
                  <a:lnTo>
                    <a:pt x="1470" y="1072"/>
                  </a:lnTo>
                  <a:lnTo>
                    <a:pt x="1466" y="1066"/>
                  </a:lnTo>
                  <a:lnTo>
                    <a:pt x="1462" y="1064"/>
                  </a:lnTo>
                  <a:lnTo>
                    <a:pt x="1460" y="1060"/>
                  </a:lnTo>
                  <a:lnTo>
                    <a:pt x="1458" y="1056"/>
                  </a:lnTo>
                  <a:lnTo>
                    <a:pt x="1456" y="1052"/>
                  </a:lnTo>
                  <a:lnTo>
                    <a:pt x="1454" y="1050"/>
                  </a:lnTo>
                  <a:lnTo>
                    <a:pt x="1452" y="1046"/>
                  </a:lnTo>
                  <a:lnTo>
                    <a:pt x="1452" y="1044"/>
                  </a:lnTo>
                  <a:lnTo>
                    <a:pt x="1452" y="1040"/>
                  </a:lnTo>
                  <a:lnTo>
                    <a:pt x="1452" y="1038"/>
                  </a:lnTo>
                  <a:lnTo>
                    <a:pt x="1452" y="1036"/>
                  </a:lnTo>
                  <a:lnTo>
                    <a:pt x="1452" y="1034"/>
                  </a:lnTo>
                  <a:lnTo>
                    <a:pt x="1454" y="1030"/>
                  </a:lnTo>
                  <a:lnTo>
                    <a:pt x="1458" y="1026"/>
                  </a:lnTo>
                  <a:lnTo>
                    <a:pt x="1460" y="1024"/>
                  </a:lnTo>
                  <a:lnTo>
                    <a:pt x="1462" y="1022"/>
                  </a:lnTo>
                  <a:lnTo>
                    <a:pt x="1464" y="1020"/>
                  </a:lnTo>
                  <a:lnTo>
                    <a:pt x="1468" y="1018"/>
                  </a:lnTo>
                  <a:lnTo>
                    <a:pt x="1474" y="1014"/>
                  </a:lnTo>
                  <a:lnTo>
                    <a:pt x="1482" y="1008"/>
                  </a:lnTo>
                  <a:lnTo>
                    <a:pt x="1490" y="1002"/>
                  </a:lnTo>
                  <a:lnTo>
                    <a:pt x="1498" y="998"/>
                  </a:lnTo>
                  <a:lnTo>
                    <a:pt x="1504" y="992"/>
                  </a:lnTo>
                  <a:lnTo>
                    <a:pt x="1508" y="990"/>
                  </a:lnTo>
                  <a:lnTo>
                    <a:pt x="1510" y="988"/>
                  </a:lnTo>
                  <a:lnTo>
                    <a:pt x="1516" y="984"/>
                  </a:lnTo>
                  <a:lnTo>
                    <a:pt x="1520" y="982"/>
                  </a:lnTo>
                  <a:lnTo>
                    <a:pt x="1526" y="978"/>
                  </a:lnTo>
                  <a:lnTo>
                    <a:pt x="1530" y="976"/>
                  </a:lnTo>
                  <a:lnTo>
                    <a:pt x="1534" y="972"/>
                  </a:lnTo>
                  <a:lnTo>
                    <a:pt x="1538" y="968"/>
                  </a:lnTo>
                  <a:lnTo>
                    <a:pt x="1540" y="964"/>
                  </a:lnTo>
                  <a:lnTo>
                    <a:pt x="1540" y="964"/>
                  </a:lnTo>
                  <a:lnTo>
                    <a:pt x="1542" y="964"/>
                  </a:lnTo>
                  <a:lnTo>
                    <a:pt x="1544" y="960"/>
                  </a:lnTo>
                  <a:lnTo>
                    <a:pt x="1544" y="960"/>
                  </a:lnTo>
                  <a:lnTo>
                    <a:pt x="1544" y="958"/>
                  </a:lnTo>
                  <a:lnTo>
                    <a:pt x="1546" y="954"/>
                  </a:lnTo>
                  <a:lnTo>
                    <a:pt x="1546" y="954"/>
                  </a:lnTo>
                  <a:lnTo>
                    <a:pt x="1546" y="954"/>
                  </a:lnTo>
                  <a:lnTo>
                    <a:pt x="1546" y="948"/>
                  </a:lnTo>
                  <a:lnTo>
                    <a:pt x="1546" y="942"/>
                  </a:lnTo>
                  <a:lnTo>
                    <a:pt x="1546" y="936"/>
                  </a:lnTo>
                  <a:lnTo>
                    <a:pt x="1546" y="928"/>
                  </a:lnTo>
                  <a:lnTo>
                    <a:pt x="1544" y="922"/>
                  </a:lnTo>
                  <a:lnTo>
                    <a:pt x="1544" y="916"/>
                  </a:lnTo>
                  <a:lnTo>
                    <a:pt x="1544" y="918"/>
                  </a:lnTo>
                  <a:lnTo>
                    <a:pt x="1546" y="912"/>
                  </a:lnTo>
                  <a:lnTo>
                    <a:pt x="1548" y="906"/>
                  </a:lnTo>
                  <a:lnTo>
                    <a:pt x="1550" y="902"/>
                  </a:lnTo>
                  <a:lnTo>
                    <a:pt x="1552" y="896"/>
                  </a:lnTo>
                  <a:lnTo>
                    <a:pt x="1556" y="892"/>
                  </a:lnTo>
                  <a:lnTo>
                    <a:pt x="1560" y="888"/>
                  </a:lnTo>
                  <a:lnTo>
                    <a:pt x="1562" y="884"/>
                  </a:lnTo>
                  <a:lnTo>
                    <a:pt x="1566" y="880"/>
                  </a:lnTo>
                  <a:lnTo>
                    <a:pt x="1570" y="876"/>
                  </a:lnTo>
                  <a:lnTo>
                    <a:pt x="1572" y="874"/>
                  </a:lnTo>
                  <a:lnTo>
                    <a:pt x="1574" y="872"/>
                  </a:lnTo>
                  <a:lnTo>
                    <a:pt x="1578" y="872"/>
                  </a:lnTo>
                  <a:lnTo>
                    <a:pt x="1580" y="870"/>
                  </a:lnTo>
                  <a:lnTo>
                    <a:pt x="1586" y="870"/>
                  </a:lnTo>
                  <a:lnTo>
                    <a:pt x="1590" y="868"/>
                  </a:lnTo>
                  <a:lnTo>
                    <a:pt x="1594" y="866"/>
                  </a:lnTo>
                  <a:lnTo>
                    <a:pt x="1598" y="866"/>
                  </a:lnTo>
                  <a:lnTo>
                    <a:pt x="1604" y="864"/>
                  </a:lnTo>
                  <a:lnTo>
                    <a:pt x="1608" y="862"/>
                  </a:lnTo>
                  <a:lnTo>
                    <a:pt x="1614" y="862"/>
                  </a:lnTo>
                  <a:lnTo>
                    <a:pt x="1620" y="860"/>
                  </a:lnTo>
                  <a:lnTo>
                    <a:pt x="1624" y="858"/>
                  </a:lnTo>
                  <a:lnTo>
                    <a:pt x="1628" y="856"/>
                  </a:lnTo>
                  <a:lnTo>
                    <a:pt x="1628" y="856"/>
                  </a:lnTo>
                  <a:lnTo>
                    <a:pt x="1628" y="856"/>
                  </a:lnTo>
                  <a:lnTo>
                    <a:pt x="1630" y="856"/>
                  </a:lnTo>
                  <a:lnTo>
                    <a:pt x="1630" y="856"/>
                  </a:lnTo>
                  <a:lnTo>
                    <a:pt x="1630" y="856"/>
                  </a:lnTo>
                  <a:lnTo>
                    <a:pt x="1632" y="854"/>
                  </a:lnTo>
                  <a:lnTo>
                    <a:pt x="1632" y="854"/>
                  </a:lnTo>
                  <a:lnTo>
                    <a:pt x="1632" y="854"/>
                  </a:lnTo>
                  <a:lnTo>
                    <a:pt x="1632" y="852"/>
                  </a:lnTo>
                  <a:lnTo>
                    <a:pt x="1632" y="852"/>
                  </a:lnTo>
                  <a:lnTo>
                    <a:pt x="1632" y="852"/>
                  </a:lnTo>
                  <a:lnTo>
                    <a:pt x="1632" y="852"/>
                  </a:lnTo>
                  <a:lnTo>
                    <a:pt x="1632" y="852"/>
                  </a:lnTo>
                  <a:lnTo>
                    <a:pt x="1632" y="850"/>
                  </a:lnTo>
                  <a:lnTo>
                    <a:pt x="1632" y="848"/>
                  </a:lnTo>
                  <a:lnTo>
                    <a:pt x="1632" y="848"/>
                  </a:lnTo>
                  <a:lnTo>
                    <a:pt x="1632" y="846"/>
                  </a:lnTo>
                  <a:lnTo>
                    <a:pt x="1630" y="844"/>
                  </a:lnTo>
                  <a:lnTo>
                    <a:pt x="1630" y="844"/>
                  </a:lnTo>
                  <a:lnTo>
                    <a:pt x="1630" y="844"/>
                  </a:lnTo>
                  <a:lnTo>
                    <a:pt x="1628" y="842"/>
                  </a:lnTo>
                  <a:lnTo>
                    <a:pt x="1626" y="840"/>
                  </a:lnTo>
                  <a:lnTo>
                    <a:pt x="1624" y="838"/>
                  </a:lnTo>
                  <a:lnTo>
                    <a:pt x="1622" y="836"/>
                  </a:lnTo>
                  <a:lnTo>
                    <a:pt x="1622" y="836"/>
                  </a:lnTo>
                  <a:lnTo>
                    <a:pt x="1622" y="834"/>
                  </a:lnTo>
                  <a:lnTo>
                    <a:pt x="1622" y="830"/>
                  </a:lnTo>
                  <a:lnTo>
                    <a:pt x="1622" y="824"/>
                  </a:lnTo>
                  <a:lnTo>
                    <a:pt x="1622" y="822"/>
                  </a:lnTo>
                  <a:lnTo>
                    <a:pt x="1622" y="820"/>
                  </a:lnTo>
                  <a:lnTo>
                    <a:pt x="1624" y="816"/>
                  </a:lnTo>
                  <a:lnTo>
                    <a:pt x="1624" y="816"/>
                  </a:lnTo>
                  <a:lnTo>
                    <a:pt x="1624" y="816"/>
                  </a:lnTo>
                  <a:lnTo>
                    <a:pt x="1624" y="814"/>
                  </a:lnTo>
                  <a:lnTo>
                    <a:pt x="1626" y="814"/>
                  </a:lnTo>
                  <a:lnTo>
                    <a:pt x="1630" y="814"/>
                  </a:lnTo>
                  <a:lnTo>
                    <a:pt x="1630" y="814"/>
                  </a:lnTo>
                  <a:lnTo>
                    <a:pt x="1630" y="814"/>
                  </a:lnTo>
                  <a:lnTo>
                    <a:pt x="1632" y="812"/>
                  </a:lnTo>
                  <a:lnTo>
                    <a:pt x="1632" y="812"/>
                  </a:lnTo>
                  <a:lnTo>
                    <a:pt x="1632" y="812"/>
                  </a:lnTo>
                  <a:lnTo>
                    <a:pt x="1632" y="812"/>
                  </a:lnTo>
                  <a:lnTo>
                    <a:pt x="1632" y="812"/>
                  </a:lnTo>
                  <a:lnTo>
                    <a:pt x="1634" y="810"/>
                  </a:lnTo>
                  <a:lnTo>
                    <a:pt x="1634" y="810"/>
                  </a:lnTo>
                  <a:lnTo>
                    <a:pt x="1634" y="810"/>
                  </a:lnTo>
                  <a:lnTo>
                    <a:pt x="1634" y="808"/>
                  </a:lnTo>
                  <a:lnTo>
                    <a:pt x="1636" y="808"/>
                  </a:lnTo>
                  <a:lnTo>
                    <a:pt x="1636" y="802"/>
                  </a:lnTo>
                  <a:lnTo>
                    <a:pt x="1638" y="798"/>
                  </a:lnTo>
                  <a:lnTo>
                    <a:pt x="1638" y="798"/>
                  </a:lnTo>
                  <a:lnTo>
                    <a:pt x="1640" y="796"/>
                  </a:lnTo>
                  <a:lnTo>
                    <a:pt x="1640" y="796"/>
                  </a:lnTo>
                  <a:lnTo>
                    <a:pt x="1640" y="796"/>
                  </a:lnTo>
                  <a:lnTo>
                    <a:pt x="1644" y="796"/>
                  </a:lnTo>
                  <a:lnTo>
                    <a:pt x="1648" y="796"/>
                  </a:lnTo>
                  <a:lnTo>
                    <a:pt x="1652" y="796"/>
                  </a:lnTo>
                  <a:lnTo>
                    <a:pt x="1652" y="796"/>
                  </a:lnTo>
                  <a:lnTo>
                    <a:pt x="1652" y="796"/>
                  </a:lnTo>
                  <a:lnTo>
                    <a:pt x="1654" y="796"/>
                  </a:lnTo>
                  <a:lnTo>
                    <a:pt x="1654" y="796"/>
                  </a:lnTo>
                  <a:lnTo>
                    <a:pt x="1654" y="796"/>
                  </a:lnTo>
                  <a:lnTo>
                    <a:pt x="1656" y="794"/>
                  </a:lnTo>
                  <a:lnTo>
                    <a:pt x="1660" y="794"/>
                  </a:lnTo>
                  <a:lnTo>
                    <a:pt x="1664" y="790"/>
                  </a:lnTo>
                  <a:lnTo>
                    <a:pt x="1666" y="788"/>
                  </a:lnTo>
                  <a:lnTo>
                    <a:pt x="1670" y="784"/>
                  </a:lnTo>
                  <a:lnTo>
                    <a:pt x="1670" y="782"/>
                  </a:lnTo>
                  <a:lnTo>
                    <a:pt x="1670" y="782"/>
                  </a:lnTo>
                  <a:lnTo>
                    <a:pt x="1672" y="782"/>
                  </a:lnTo>
                  <a:lnTo>
                    <a:pt x="1672" y="780"/>
                  </a:lnTo>
                  <a:lnTo>
                    <a:pt x="1672" y="780"/>
                  </a:lnTo>
                  <a:lnTo>
                    <a:pt x="1672" y="780"/>
                  </a:lnTo>
                  <a:lnTo>
                    <a:pt x="1672" y="778"/>
                  </a:lnTo>
                  <a:close/>
                  <a:moveTo>
                    <a:pt x="688" y="518"/>
                  </a:moveTo>
                  <a:lnTo>
                    <a:pt x="688" y="516"/>
                  </a:lnTo>
                  <a:lnTo>
                    <a:pt x="688" y="516"/>
                  </a:lnTo>
                  <a:lnTo>
                    <a:pt x="688" y="516"/>
                  </a:lnTo>
                  <a:lnTo>
                    <a:pt x="686" y="514"/>
                  </a:lnTo>
                  <a:lnTo>
                    <a:pt x="686" y="514"/>
                  </a:lnTo>
                  <a:lnTo>
                    <a:pt x="686" y="514"/>
                  </a:lnTo>
                  <a:lnTo>
                    <a:pt x="684" y="512"/>
                  </a:lnTo>
                  <a:lnTo>
                    <a:pt x="684" y="512"/>
                  </a:lnTo>
                  <a:lnTo>
                    <a:pt x="682" y="512"/>
                  </a:lnTo>
                  <a:lnTo>
                    <a:pt x="682" y="512"/>
                  </a:lnTo>
                  <a:lnTo>
                    <a:pt x="682" y="512"/>
                  </a:lnTo>
                  <a:lnTo>
                    <a:pt x="680" y="510"/>
                  </a:lnTo>
                  <a:lnTo>
                    <a:pt x="678" y="508"/>
                  </a:lnTo>
                  <a:lnTo>
                    <a:pt x="678" y="506"/>
                  </a:lnTo>
                  <a:lnTo>
                    <a:pt x="678" y="506"/>
                  </a:lnTo>
                  <a:lnTo>
                    <a:pt x="676" y="506"/>
                  </a:lnTo>
                  <a:lnTo>
                    <a:pt x="672" y="504"/>
                  </a:lnTo>
                  <a:lnTo>
                    <a:pt x="670" y="504"/>
                  </a:lnTo>
                  <a:lnTo>
                    <a:pt x="668" y="504"/>
                  </a:lnTo>
                  <a:lnTo>
                    <a:pt x="668" y="504"/>
                  </a:lnTo>
                  <a:lnTo>
                    <a:pt x="666" y="502"/>
                  </a:lnTo>
                  <a:lnTo>
                    <a:pt x="666" y="502"/>
                  </a:lnTo>
                  <a:lnTo>
                    <a:pt x="664" y="502"/>
                  </a:lnTo>
                  <a:lnTo>
                    <a:pt x="664" y="500"/>
                  </a:lnTo>
                  <a:lnTo>
                    <a:pt x="664" y="498"/>
                  </a:lnTo>
                  <a:lnTo>
                    <a:pt x="662" y="494"/>
                  </a:lnTo>
                  <a:lnTo>
                    <a:pt x="662" y="494"/>
                  </a:lnTo>
                  <a:lnTo>
                    <a:pt x="662" y="492"/>
                  </a:lnTo>
                  <a:lnTo>
                    <a:pt x="660" y="490"/>
                  </a:lnTo>
                  <a:lnTo>
                    <a:pt x="658" y="490"/>
                  </a:lnTo>
                  <a:lnTo>
                    <a:pt x="656" y="484"/>
                  </a:lnTo>
                  <a:lnTo>
                    <a:pt x="656" y="484"/>
                  </a:lnTo>
                  <a:lnTo>
                    <a:pt x="656" y="484"/>
                  </a:lnTo>
                  <a:lnTo>
                    <a:pt x="652" y="482"/>
                  </a:lnTo>
                  <a:lnTo>
                    <a:pt x="650" y="478"/>
                  </a:lnTo>
                  <a:lnTo>
                    <a:pt x="648" y="476"/>
                  </a:lnTo>
                  <a:lnTo>
                    <a:pt x="646" y="472"/>
                  </a:lnTo>
                  <a:lnTo>
                    <a:pt x="646" y="472"/>
                  </a:lnTo>
                  <a:lnTo>
                    <a:pt x="646" y="470"/>
                  </a:lnTo>
                  <a:lnTo>
                    <a:pt x="644" y="466"/>
                  </a:lnTo>
                  <a:lnTo>
                    <a:pt x="642" y="462"/>
                  </a:lnTo>
                  <a:lnTo>
                    <a:pt x="640" y="456"/>
                  </a:lnTo>
                  <a:lnTo>
                    <a:pt x="638" y="452"/>
                  </a:lnTo>
                  <a:lnTo>
                    <a:pt x="638" y="452"/>
                  </a:lnTo>
                  <a:lnTo>
                    <a:pt x="638" y="452"/>
                  </a:lnTo>
                  <a:lnTo>
                    <a:pt x="632" y="446"/>
                  </a:lnTo>
                  <a:lnTo>
                    <a:pt x="628" y="440"/>
                  </a:lnTo>
                  <a:lnTo>
                    <a:pt x="628" y="440"/>
                  </a:lnTo>
                  <a:lnTo>
                    <a:pt x="628" y="440"/>
                  </a:lnTo>
                  <a:lnTo>
                    <a:pt x="624" y="438"/>
                  </a:lnTo>
                  <a:lnTo>
                    <a:pt x="622" y="436"/>
                  </a:lnTo>
                  <a:lnTo>
                    <a:pt x="620" y="436"/>
                  </a:lnTo>
                  <a:lnTo>
                    <a:pt x="620" y="434"/>
                  </a:lnTo>
                  <a:lnTo>
                    <a:pt x="620" y="434"/>
                  </a:lnTo>
                  <a:lnTo>
                    <a:pt x="620" y="434"/>
                  </a:lnTo>
                  <a:lnTo>
                    <a:pt x="618" y="432"/>
                  </a:lnTo>
                  <a:lnTo>
                    <a:pt x="616" y="430"/>
                  </a:lnTo>
                  <a:lnTo>
                    <a:pt x="614" y="428"/>
                  </a:lnTo>
                  <a:lnTo>
                    <a:pt x="614" y="428"/>
                  </a:lnTo>
                  <a:lnTo>
                    <a:pt x="614" y="428"/>
                  </a:lnTo>
                  <a:lnTo>
                    <a:pt x="610" y="428"/>
                  </a:lnTo>
                  <a:lnTo>
                    <a:pt x="610" y="428"/>
                  </a:lnTo>
                  <a:lnTo>
                    <a:pt x="610" y="428"/>
                  </a:lnTo>
                  <a:lnTo>
                    <a:pt x="606" y="428"/>
                  </a:lnTo>
                  <a:lnTo>
                    <a:pt x="604" y="428"/>
                  </a:lnTo>
                  <a:lnTo>
                    <a:pt x="604" y="428"/>
                  </a:lnTo>
                  <a:lnTo>
                    <a:pt x="604" y="428"/>
                  </a:lnTo>
                  <a:lnTo>
                    <a:pt x="602" y="430"/>
                  </a:lnTo>
                  <a:lnTo>
                    <a:pt x="602" y="430"/>
                  </a:lnTo>
                  <a:lnTo>
                    <a:pt x="602" y="430"/>
                  </a:lnTo>
                  <a:lnTo>
                    <a:pt x="600" y="432"/>
                  </a:lnTo>
                  <a:lnTo>
                    <a:pt x="600" y="432"/>
                  </a:lnTo>
                  <a:lnTo>
                    <a:pt x="600" y="432"/>
                  </a:lnTo>
                  <a:lnTo>
                    <a:pt x="600" y="434"/>
                  </a:lnTo>
                  <a:lnTo>
                    <a:pt x="600" y="434"/>
                  </a:lnTo>
                  <a:lnTo>
                    <a:pt x="600" y="436"/>
                  </a:lnTo>
                  <a:lnTo>
                    <a:pt x="600" y="440"/>
                  </a:lnTo>
                  <a:lnTo>
                    <a:pt x="600" y="440"/>
                  </a:lnTo>
                  <a:lnTo>
                    <a:pt x="598" y="440"/>
                  </a:lnTo>
                  <a:lnTo>
                    <a:pt x="594" y="440"/>
                  </a:lnTo>
                  <a:lnTo>
                    <a:pt x="594" y="440"/>
                  </a:lnTo>
                  <a:lnTo>
                    <a:pt x="592" y="440"/>
                  </a:lnTo>
                  <a:lnTo>
                    <a:pt x="592" y="438"/>
                  </a:lnTo>
                  <a:lnTo>
                    <a:pt x="590" y="436"/>
                  </a:lnTo>
                  <a:lnTo>
                    <a:pt x="590" y="436"/>
                  </a:lnTo>
                  <a:lnTo>
                    <a:pt x="590" y="436"/>
                  </a:lnTo>
                  <a:lnTo>
                    <a:pt x="586" y="434"/>
                  </a:lnTo>
                  <a:lnTo>
                    <a:pt x="582" y="430"/>
                  </a:lnTo>
                  <a:lnTo>
                    <a:pt x="580" y="428"/>
                  </a:lnTo>
                  <a:lnTo>
                    <a:pt x="578" y="422"/>
                  </a:lnTo>
                  <a:lnTo>
                    <a:pt x="578" y="422"/>
                  </a:lnTo>
                  <a:lnTo>
                    <a:pt x="578" y="420"/>
                  </a:lnTo>
                  <a:lnTo>
                    <a:pt x="578" y="418"/>
                  </a:lnTo>
                  <a:lnTo>
                    <a:pt x="578" y="418"/>
                  </a:lnTo>
                  <a:lnTo>
                    <a:pt x="576" y="416"/>
                  </a:lnTo>
                  <a:lnTo>
                    <a:pt x="576" y="416"/>
                  </a:lnTo>
                  <a:lnTo>
                    <a:pt x="576" y="416"/>
                  </a:lnTo>
                  <a:lnTo>
                    <a:pt x="576" y="414"/>
                  </a:lnTo>
                  <a:lnTo>
                    <a:pt x="574" y="414"/>
                  </a:lnTo>
                  <a:lnTo>
                    <a:pt x="574" y="414"/>
                  </a:lnTo>
                  <a:lnTo>
                    <a:pt x="574" y="412"/>
                  </a:lnTo>
                  <a:lnTo>
                    <a:pt x="572" y="412"/>
                  </a:lnTo>
                  <a:lnTo>
                    <a:pt x="572" y="412"/>
                  </a:lnTo>
                  <a:lnTo>
                    <a:pt x="572" y="412"/>
                  </a:lnTo>
                  <a:lnTo>
                    <a:pt x="572" y="412"/>
                  </a:lnTo>
                  <a:lnTo>
                    <a:pt x="572" y="412"/>
                  </a:lnTo>
                  <a:lnTo>
                    <a:pt x="572" y="412"/>
                  </a:lnTo>
                  <a:lnTo>
                    <a:pt x="574" y="408"/>
                  </a:lnTo>
                  <a:lnTo>
                    <a:pt x="574" y="406"/>
                  </a:lnTo>
                  <a:lnTo>
                    <a:pt x="574" y="404"/>
                  </a:lnTo>
                  <a:lnTo>
                    <a:pt x="574" y="400"/>
                  </a:lnTo>
                  <a:lnTo>
                    <a:pt x="574" y="396"/>
                  </a:lnTo>
                  <a:lnTo>
                    <a:pt x="574" y="394"/>
                  </a:lnTo>
                  <a:lnTo>
                    <a:pt x="572" y="392"/>
                  </a:lnTo>
                  <a:lnTo>
                    <a:pt x="572" y="390"/>
                  </a:lnTo>
                  <a:lnTo>
                    <a:pt x="572" y="386"/>
                  </a:lnTo>
                  <a:lnTo>
                    <a:pt x="572" y="382"/>
                  </a:lnTo>
                  <a:lnTo>
                    <a:pt x="572" y="378"/>
                  </a:lnTo>
                  <a:lnTo>
                    <a:pt x="572" y="372"/>
                  </a:lnTo>
                  <a:lnTo>
                    <a:pt x="572" y="364"/>
                  </a:lnTo>
                  <a:lnTo>
                    <a:pt x="572" y="358"/>
                  </a:lnTo>
                  <a:lnTo>
                    <a:pt x="572" y="348"/>
                  </a:lnTo>
                  <a:lnTo>
                    <a:pt x="572" y="338"/>
                  </a:lnTo>
                  <a:lnTo>
                    <a:pt x="572" y="330"/>
                  </a:lnTo>
                  <a:lnTo>
                    <a:pt x="572" y="324"/>
                  </a:lnTo>
                  <a:lnTo>
                    <a:pt x="572" y="316"/>
                  </a:lnTo>
                  <a:lnTo>
                    <a:pt x="572" y="310"/>
                  </a:lnTo>
                  <a:lnTo>
                    <a:pt x="572" y="302"/>
                  </a:lnTo>
                  <a:lnTo>
                    <a:pt x="572" y="292"/>
                  </a:lnTo>
                  <a:lnTo>
                    <a:pt x="572" y="276"/>
                  </a:lnTo>
                  <a:lnTo>
                    <a:pt x="572" y="256"/>
                  </a:lnTo>
                  <a:lnTo>
                    <a:pt x="572" y="238"/>
                  </a:lnTo>
                  <a:lnTo>
                    <a:pt x="572" y="218"/>
                  </a:lnTo>
                  <a:lnTo>
                    <a:pt x="572" y="200"/>
                  </a:lnTo>
                  <a:lnTo>
                    <a:pt x="572" y="180"/>
                  </a:lnTo>
                  <a:lnTo>
                    <a:pt x="572" y="162"/>
                  </a:lnTo>
                  <a:lnTo>
                    <a:pt x="572" y="144"/>
                  </a:lnTo>
                  <a:lnTo>
                    <a:pt x="572" y="136"/>
                  </a:lnTo>
                  <a:lnTo>
                    <a:pt x="572" y="130"/>
                  </a:lnTo>
                  <a:lnTo>
                    <a:pt x="572" y="122"/>
                  </a:lnTo>
                  <a:lnTo>
                    <a:pt x="572" y="114"/>
                  </a:lnTo>
                  <a:lnTo>
                    <a:pt x="572" y="108"/>
                  </a:lnTo>
                  <a:lnTo>
                    <a:pt x="574" y="102"/>
                  </a:lnTo>
                  <a:lnTo>
                    <a:pt x="574" y="88"/>
                  </a:lnTo>
                  <a:lnTo>
                    <a:pt x="574" y="86"/>
                  </a:lnTo>
                  <a:lnTo>
                    <a:pt x="574" y="82"/>
                  </a:lnTo>
                  <a:lnTo>
                    <a:pt x="574" y="80"/>
                  </a:lnTo>
                  <a:lnTo>
                    <a:pt x="574" y="74"/>
                  </a:lnTo>
                  <a:lnTo>
                    <a:pt x="574" y="74"/>
                  </a:lnTo>
                  <a:lnTo>
                    <a:pt x="574" y="74"/>
                  </a:lnTo>
                  <a:lnTo>
                    <a:pt x="574" y="74"/>
                  </a:lnTo>
                  <a:lnTo>
                    <a:pt x="576" y="74"/>
                  </a:lnTo>
                  <a:lnTo>
                    <a:pt x="576" y="74"/>
                  </a:lnTo>
                  <a:lnTo>
                    <a:pt x="576" y="72"/>
                  </a:lnTo>
                  <a:lnTo>
                    <a:pt x="576" y="72"/>
                  </a:lnTo>
                  <a:lnTo>
                    <a:pt x="576" y="72"/>
                  </a:lnTo>
                  <a:lnTo>
                    <a:pt x="576" y="70"/>
                  </a:lnTo>
                  <a:lnTo>
                    <a:pt x="576" y="68"/>
                  </a:lnTo>
                  <a:lnTo>
                    <a:pt x="576" y="68"/>
                  </a:lnTo>
                  <a:lnTo>
                    <a:pt x="576" y="68"/>
                  </a:lnTo>
                  <a:lnTo>
                    <a:pt x="576" y="66"/>
                  </a:lnTo>
                  <a:lnTo>
                    <a:pt x="576" y="66"/>
                  </a:lnTo>
                  <a:lnTo>
                    <a:pt x="576" y="66"/>
                  </a:lnTo>
                  <a:lnTo>
                    <a:pt x="576" y="64"/>
                  </a:lnTo>
                  <a:lnTo>
                    <a:pt x="576" y="64"/>
                  </a:lnTo>
                  <a:lnTo>
                    <a:pt x="574" y="64"/>
                  </a:lnTo>
                  <a:lnTo>
                    <a:pt x="574" y="64"/>
                  </a:lnTo>
                  <a:lnTo>
                    <a:pt x="574" y="64"/>
                  </a:lnTo>
                  <a:lnTo>
                    <a:pt x="570" y="64"/>
                  </a:lnTo>
                  <a:lnTo>
                    <a:pt x="570" y="66"/>
                  </a:lnTo>
                  <a:lnTo>
                    <a:pt x="570" y="66"/>
                  </a:lnTo>
                  <a:lnTo>
                    <a:pt x="570" y="66"/>
                  </a:lnTo>
                  <a:lnTo>
                    <a:pt x="570" y="68"/>
                  </a:lnTo>
                  <a:lnTo>
                    <a:pt x="570" y="68"/>
                  </a:lnTo>
                  <a:lnTo>
                    <a:pt x="570" y="68"/>
                  </a:lnTo>
                  <a:lnTo>
                    <a:pt x="570" y="68"/>
                  </a:lnTo>
                  <a:lnTo>
                    <a:pt x="568" y="68"/>
                  </a:lnTo>
                  <a:lnTo>
                    <a:pt x="566" y="68"/>
                  </a:lnTo>
                  <a:lnTo>
                    <a:pt x="560" y="66"/>
                  </a:lnTo>
                  <a:lnTo>
                    <a:pt x="554" y="66"/>
                  </a:lnTo>
                  <a:lnTo>
                    <a:pt x="546" y="66"/>
                  </a:lnTo>
                  <a:lnTo>
                    <a:pt x="538" y="66"/>
                  </a:lnTo>
                  <a:lnTo>
                    <a:pt x="532" y="68"/>
                  </a:lnTo>
                  <a:lnTo>
                    <a:pt x="524" y="68"/>
                  </a:lnTo>
                  <a:lnTo>
                    <a:pt x="518" y="66"/>
                  </a:lnTo>
                  <a:lnTo>
                    <a:pt x="508" y="66"/>
                  </a:lnTo>
                  <a:lnTo>
                    <a:pt x="498" y="64"/>
                  </a:lnTo>
                  <a:lnTo>
                    <a:pt x="490" y="62"/>
                  </a:lnTo>
                  <a:lnTo>
                    <a:pt x="486" y="60"/>
                  </a:lnTo>
                  <a:lnTo>
                    <a:pt x="482" y="60"/>
                  </a:lnTo>
                  <a:lnTo>
                    <a:pt x="478" y="56"/>
                  </a:lnTo>
                  <a:lnTo>
                    <a:pt x="478" y="58"/>
                  </a:lnTo>
                  <a:lnTo>
                    <a:pt x="474" y="54"/>
                  </a:lnTo>
                  <a:lnTo>
                    <a:pt x="470" y="50"/>
                  </a:lnTo>
                  <a:lnTo>
                    <a:pt x="464" y="44"/>
                  </a:lnTo>
                  <a:lnTo>
                    <a:pt x="460" y="40"/>
                  </a:lnTo>
                  <a:lnTo>
                    <a:pt x="460" y="40"/>
                  </a:lnTo>
                  <a:lnTo>
                    <a:pt x="460" y="40"/>
                  </a:lnTo>
                  <a:lnTo>
                    <a:pt x="458" y="38"/>
                  </a:lnTo>
                  <a:lnTo>
                    <a:pt x="458" y="38"/>
                  </a:lnTo>
                  <a:lnTo>
                    <a:pt x="456" y="38"/>
                  </a:lnTo>
                  <a:lnTo>
                    <a:pt x="452" y="38"/>
                  </a:lnTo>
                  <a:lnTo>
                    <a:pt x="452" y="38"/>
                  </a:lnTo>
                  <a:lnTo>
                    <a:pt x="452" y="38"/>
                  </a:lnTo>
                  <a:lnTo>
                    <a:pt x="448" y="38"/>
                  </a:lnTo>
                  <a:lnTo>
                    <a:pt x="448" y="38"/>
                  </a:lnTo>
                  <a:lnTo>
                    <a:pt x="448" y="38"/>
                  </a:lnTo>
                  <a:lnTo>
                    <a:pt x="444" y="38"/>
                  </a:lnTo>
                  <a:lnTo>
                    <a:pt x="444" y="38"/>
                  </a:lnTo>
                  <a:lnTo>
                    <a:pt x="444" y="40"/>
                  </a:lnTo>
                  <a:lnTo>
                    <a:pt x="440" y="42"/>
                  </a:lnTo>
                  <a:lnTo>
                    <a:pt x="436" y="44"/>
                  </a:lnTo>
                  <a:lnTo>
                    <a:pt x="434" y="46"/>
                  </a:lnTo>
                  <a:lnTo>
                    <a:pt x="430" y="48"/>
                  </a:lnTo>
                  <a:lnTo>
                    <a:pt x="428" y="50"/>
                  </a:lnTo>
                  <a:lnTo>
                    <a:pt x="426" y="50"/>
                  </a:lnTo>
                  <a:lnTo>
                    <a:pt x="424" y="50"/>
                  </a:lnTo>
                  <a:lnTo>
                    <a:pt x="422" y="50"/>
                  </a:lnTo>
                  <a:lnTo>
                    <a:pt x="420" y="50"/>
                  </a:lnTo>
                  <a:lnTo>
                    <a:pt x="420" y="50"/>
                  </a:lnTo>
                  <a:lnTo>
                    <a:pt x="418" y="46"/>
                  </a:lnTo>
                  <a:lnTo>
                    <a:pt x="414" y="44"/>
                  </a:lnTo>
                  <a:lnTo>
                    <a:pt x="412" y="42"/>
                  </a:lnTo>
                  <a:lnTo>
                    <a:pt x="412" y="40"/>
                  </a:lnTo>
                  <a:lnTo>
                    <a:pt x="408" y="36"/>
                  </a:lnTo>
                  <a:lnTo>
                    <a:pt x="406" y="32"/>
                  </a:lnTo>
                  <a:lnTo>
                    <a:pt x="404" y="30"/>
                  </a:lnTo>
                  <a:lnTo>
                    <a:pt x="402" y="28"/>
                  </a:lnTo>
                  <a:lnTo>
                    <a:pt x="400" y="26"/>
                  </a:lnTo>
                  <a:lnTo>
                    <a:pt x="400" y="26"/>
                  </a:lnTo>
                  <a:lnTo>
                    <a:pt x="398" y="26"/>
                  </a:lnTo>
                  <a:lnTo>
                    <a:pt x="396" y="24"/>
                  </a:lnTo>
                  <a:lnTo>
                    <a:pt x="396" y="24"/>
                  </a:lnTo>
                  <a:lnTo>
                    <a:pt x="396" y="24"/>
                  </a:lnTo>
                  <a:lnTo>
                    <a:pt x="392" y="22"/>
                  </a:lnTo>
                  <a:lnTo>
                    <a:pt x="388" y="22"/>
                  </a:lnTo>
                  <a:lnTo>
                    <a:pt x="384" y="20"/>
                  </a:lnTo>
                  <a:lnTo>
                    <a:pt x="382" y="20"/>
                  </a:lnTo>
                  <a:lnTo>
                    <a:pt x="382" y="20"/>
                  </a:lnTo>
                  <a:lnTo>
                    <a:pt x="380" y="20"/>
                  </a:lnTo>
                  <a:lnTo>
                    <a:pt x="376" y="20"/>
                  </a:lnTo>
                  <a:lnTo>
                    <a:pt x="376" y="20"/>
                  </a:lnTo>
                  <a:lnTo>
                    <a:pt x="376" y="20"/>
                  </a:lnTo>
                  <a:lnTo>
                    <a:pt x="374" y="20"/>
                  </a:lnTo>
                  <a:lnTo>
                    <a:pt x="370" y="22"/>
                  </a:lnTo>
                  <a:lnTo>
                    <a:pt x="368" y="24"/>
                  </a:lnTo>
                  <a:lnTo>
                    <a:pt x="364" y="26"/>
                  </a:lnTo>
                  <a:lnTo>
                    <a:pt x="360" y="28"/>
                  </a:lnTo>
                  <a:lnTo>
                    <a:pt x="358" y="30"/>
                  </a:lnTo>
                  <a:lnTo>
                    <a:pt x="354" y="34"/>
                  </a:lnTo>
                  <a:lnTo>
                    <a:pt x="352" y="36"/>
                  </a:lnTo>
                  <a:lnTo>
                    <a:pt x="350" y="36"/>
                  </a:lnTo>
                  <a:lnTo>
                    <a:pt x="350" y="36"/>
                  </a:lnTo>
                  <a:lnTo>
                    <a:pt x="352" y="30"/>
                  </a:lnTo>
                  <a:lnTo>
                    <a:pt x="352" y="26"/>
                  </a:lnTo>
                  <a:lnTo>
                    <a:pt x="354" y="24"/>
                  </a:lnTo>
                  <a:lnTo>
                    <a:pt x="354" y="22"/>
                  </a:lnTo>
                  <a:lnTo>
                    <a:pt x="358" y="16"/>
                  </a:lnTo>
                  <a:lnTo>
                    <a:pt x="360" y="14"/>
                  </a:lnTo>
                  <a:lnTo>
                    <a:pt x="360" y="12"/>
                  </a:lnTo>
                  <a:lnTo>
                    <a:pt x="360" y="12"/>
                  </a:lnTo>
                  <a:lnTo>
                    <a:pt x="360" y="10"/>
                  </a:lnTo>
                  <a:lnTo>
                    <a:pt x="362" y="8"/>
                  </a:lnTo>
                  <a:lnTo>
                    <a:pt x="362" y="8"/>
                  </a:lnTo>
                  <a:lnTo>
                    <a:pt x="362" y="8"/>
                  </a:lnTo>
                  <a:lnTo>
                    <a:pt x="360" y="6"/>
                  </a:lnTo>
                  <a:lnTo>
                    <a:pt x="360" y="6"/>
                  </a:lnTo>
                  <a:lnTo>
                    <a:pt x="360" y="4"/>
                  </a:lnTo>
                  <a:lnTo>
                    <a:pt x="358" y="4"/>
                  </a:lnTo>
                  <a:lnTo>
                    <a:pt x="358" y="4"/>
                  </a:lnTo>
                  <a:lnTo>
                    <a:pt x="358" y="4"/>
                  </a:lnTo>
                  <a:lnTo>
                    <a:pt x="356" y="2"/>
                  </a:lnTo>
                  <a:lnTo>
                    <a:pt x="356" y="2"/>
                  </a:lnTo>
                  <a:lnTo>
                    <a:pt x="356" y="2"/>
                  </a:lnTo>
                  <a:lnTo>
                    <a:pt x="354" y="0"/>
                  </a:lnTo>
                  <a:lnTo>
                    <a:pt x="350" y="0"/>
                  </a:lnTo>
                  <a:lnTo>
                    <a:pt x="350" y="0"/>
                  </a:lnTo>
                  <a:lnTo>
                    <a:pt x="350" y="0"/>
                  </a:lnTo>
                  <a:lnTo>
                    <a:pt x="346" y="0"/>
                  </a:lnTo>
                  <a:lnTo>
                    <a:pt x="344" y="0"/>
                  </a:lnTo>
                  <a:lnTo>
                    <a:pt x="344" y="0"/>
                  </a:lnTo>
                  <a:lnTo>
                    <a:pt x="344" y="0"/>
                  </a:lnTo>
                  <a:lnTo>
                    <a:pt x="342" y="0"/>
                  </a:lnTo>
                  <a:lnTo>
                    <a:pt x="342" y="0"/>
                  </a:lnTo>
                  <a:lnTo>
                    <a:pt x="340" y="2"/>
                  </a:lnTo>
                  <a:lnTo>
                    <a:pt x="338" y="2"/>
                  </a:lnTo>
                  <a:lnTo>
                    <a:pt x="338" y="2"/>
                  </a:lnTo>
                  <a:lnTo>
                    <a:pt x="338" y="4"/>
                  </a:lnTo>
                  <a:lnTo>
                    <a:pt x="336" y="6"/>
                  </a:lnTo>
                  <a:lnTo>
                    <a:pt x="336" y="6"/>
                  </a:lnTo>
                  <a:lnTo>
                    <a:pt x="336" y="6"/>
                  </a:lnTo>
                  <a:lnTo>
                    <a:pt x="336" y="8"/>
                  </a:lnTo>
                  <a:lnTo>
                    <a:pt x="334" y="12"/>
                  </a:lnTo>
                  <a:lnTo>
                    <a:pt x="334" y="16"/>
                  </a:lnTo>
                  <a:lnTo>
                    <a:pt x="334" y="20"/>
                  </a:lnTo>
                  <a:lnTo>
                    <a:pt x="332" y="22"/>
                  </a:lnTo>
                  <a:lnTo>
                    <a:pt x="332" y="24"/>
                  </a:lnTo>
                  <a:lnTo>
                    <a:pt x="330" y="26"/>
                  </a:lnTo>
                  <a:lnTo>
                    <a:pt x="328" y="26"/>
                  </a:lnTo>
                  <a:lnTo>
                    <a:pt x="326" y="26"/>
                  </a:lnTo>
                  <a:lnTo>
                    <a:pt x="322" y="26"/>
                  </a:lnTo>
                  <a:lnTo>
                    <a:pt x="318" y="26"/>
                  </a:lnTo>
                  <a:lnTo>
                    <a:pt x="312" y="26"/>
                  </a:lnTo>
                  <a:lnTo>
                    <a:pt x="308" y="26"/>
                  </a:lnTo>
                  <a:lnTo>
                    <a:pt x="304" y="24"/>
                  </a:lnTo>
                  <a:lnTo>
                    <a:pt x="304" y="24"/>
                  </a:lnTo>
                  <a:lnTo>
                    <a:pt x="304" y="24"/>
                  </a:lnTo>
                  <a:lnTo>
                    <a:pt x="302" y="26"/>
                  </a:lnTo>
                  <a:lnTo>
                    <a:pt x="302" y="26"/>
                  </a:lnTo>
                  <a:lnTo>
                    <a:pt x="300" y="26"/>
                  </a:lnTo>
                  <a:lnTo>
                    <a:pt x="298" y="26"/>
                  </a:lnTo>
                  <a:lnTo>
                    <a:pt x="298" y="26"/>
                  </a:lnTo>
                  <a:lnTo>
                    <a:pt x="298" y="28"/>
                  </a:lnTo>
                  <a:lnTo>
                    <a:pt x="296" y="28"/>
                  </a:lnTo>
                  <a:lnTo>
                    <a:pt x="296" y="28"/>
                  </a:lnTo>
                  <a:lnTo>
                    <a:pt x="296" y="30"/>
                  </a:lnTo>
                  <a:lnTo>
                    <a:pt x="296" y="30"/>
                  </a:lnTo>
                  <a:lnTo>
                    <a:pt x="296" y="30"/>
                  </a:lnTo>
                  <a:lnTo>
                    <a:pt x="296" y="32"/>
                  </a:lnTo>
                  <a:lnTo>
                    <a:pt x="294" y="34"/>
                  </a:lnTo>
                  <a:lnTo>
                    <a:pt x="294" y="34"/>
                  </a:lnTo>
                  <a:lnTo>
                    <a:pt x="294" y="34"/>
                  </a:lnTo>
                  <a:lnTo>
                    <a:pt x="294" y="38"/>
                  </a:lnTo>
                  <a:lnTo>
                    <a:pt x="294" y="42"/>
                  </a:lnTo>
                  <a:lnTo>
                    <a:pt x="292" y="44"/>
                  </a:lnTo>
                  <a:lnTo>
                    <a:pt x="294" y="46"/>
                  </a:lnTo>
                  <a:lnTo>
                    <a:pt x="294" y="52"/>
                  </a:lnTo>
                  <a:lnTo>
                    <a:pt x="294" y="54"/>
                  </a:lnTo>
                  <a:lnTo>
                    <a:pt x="294" y="54"/>
                  </a:lnTo>
                  <a:lnTo>
                    <a:pt x="292" y="54"/>
                  </a:lnTo>
                  <a:lnTo>
                    <a:pt x="290" y="52"/>
                  </a:lnTo>
                  <a:lnTo>
                    <a:pt x="286" y="52"/>
                  </a:lnTo>
                  <a:lnTo>
                    <a:pt x="284" y="50"/>
                  </a:lnTo>
                  <a:lnTo>
                    <a:pt x="282" y="50"/>
                  </a:lnTo>
                  <a:lnTo>
                    <a:pt x="280" y="50"/>
                  </a:lnTo>
                  <a:lnTo>
                    <a:pt x="272" y="50"/>
                  </a:lnTo>
                  <a:lnTo>
                    <a:pt x="270" y="48"/>
                  </a:lnTo>
                  <a:lnTo>
                    <a:pt x="266" y="50"/>
                  </a:lnTo>
                  <a:lnTo>
                    <a:pt x="266" y="50"/>
                  </a:lnTo>
                  <a:lnTo>
                    <a:pt x="266" y="50"/>
                  </a:lnTo>
                  <a:lnTo>
                    <a:pt x="262" y="50"/>
                  </a:lnTo>
                  <a:lnTo>
                    <a:pt x="262" y="50"/>
                  </a:lnTo>
                  <a:lnTo>
                    <a:pt x="262" y="50"/>
                  </a:lnTo>
                  <a:lnTo>
                    <a:pt x="260" y="52"/>
                  </a:lnTo>
                  <a:lnTo>
                    <a:pt x="260" y="52"/>
                  </a:lnTo>
                  <a:lnTo>
                    <a:pt x="258" y="52"/>
                  </a:lnTo>
                  <a:lnTo>
                    <a:pt x="256" y="54"/>
                  </a:lnTo>
                  <a:lnTo>
                    <a:pt x="252" y="56"/>
                  </a:lnTo>
                  <a:lnTo>
                    <a:pt x="250" y="58"/>
                  </a:lnTo>
                  <a:lnTo>
                    <a:pt x="248" y="62"/>
                  </a:lnTo>
                  <a:lnTo>
                    <a:pt x="244" y="68"/>
                  </a:lnTo>
                  <a:lnTo>
                    <a:pt x="242" y="72"/>
                  </a:lnTo>
                  <a:lnTo>
                    <a:pt x="242" y="74"/>
                  </a:lnTo>
                  <a:lnTo>
                    <a:pt x="240" y="78"/>
                  </a:lnTo>
                  <a:lnTo>
                    <a:pt x="240" y="80"/>
                  </a:lnTo>
                  <a:lnTo>
                    <a:pt x="240" y="80"/>
                  </a:lnTo>
                  <a:lnTo>
                    <a:pt x="240" y="80"/>
                  </a:lnTo>
                  <a:lnTo>
                    <a:pt x="240" y="86"/>
                  </a:lnTo>
                  <a:lnTo>
                    <a:pt x="240" y="90"/>
                  </a:lnTo>
                  <a:lnTo>
                    <a:pt x="240" y="92"/>
                  </a:lnTo>
                  <a:lnTo>
                    <a:pt x="240" y="94"/>
                  </a:lnTo>
                  <a:lnTo>
                    <a:pt x="240" y="94"/>
                  </a:lnTo>
                  <a:lnTo>
                    <a:pt x="238" y="94"/>
                  </a:lnTo>
                  <a:lnTo>
                    <a:pt x="236" y="96"/>
                  </a:lnTo>
                  <a:lnTo>
                    <a:pt x="232" y="96"/>
                  </a:lnTo>
                  <a:lnTo>
                    <a:pt x="230" y="98"/>
                  </a:lnTo>
                  <a:lnTo>
                    <a:pt x="230" y="98"/>
                  </a:lnTo>
                  <a:lnTo>
                    <a:pt x="230" y="98"/>
                  </a:lnTo>
                  <a:lnTo>
                    <a:pt x="228" y="98"/>
                  </a:lnTo>
                  <a:lnTo>
                    <a:pt x="228" y="98"/>
                  </a:lnTo>
                  <a:lnTo>
                    <a:pt x="228" y="98"/>
                  </a:lnTo>
                  <a:lnTo>
                    <a:pt x="224" y="102"/>
                  </a:lnTo>
                  <a:lnTo>
                    <a:pt x="222" y="104"/>
                  </a:lnTo>
                  <a:lnTo>
                    <a:pt x="218" y="108"/>
                  </a:lnTo>
                  <a:lnTo>
                    <a:pt x="214" y="110"/>
                  </a:lnTo>
                  <a:lnTo>
                    <a:pt x="214" y="110"/>
                  </a:lnTo>
                  <a:lnTo>
                    <a:pt x="212" y="112"/>
                  </a:lnTo>
                  <a:lnTo>
                    <a:pt x="206" y="112"/>
                  </a:lnTo>
                  <a:lnTo>
                    <a:pt x="200" y="114"/>
                  </a:lnTo>
                  <a:lnTo>
                    <a:pt x="198" y="114"/>
                  </a:lnTo>
                  <a:lnTo>
                    <a:pt x="196" y="116"/>
                  </a:lnTo>
                  <a:lnTo>
                    <a:pt x="196" y="116"/>
                  </a:lnTo>
                  <a:lnTo>
                    <a:pt x="196" y="116"/>
                  </a:lnTo>
                  <a:lnTo>
                    <a:pt x="194" y="118"/>
                  </a:lnTo>
                  <a:lnTo>
                    <a:pt x="194" y="118"/>
                  </a:lnTo>
                  <a:lnTo>
                    <a:pt x="194" y="120"/>
                  </a:lnTo>
                  <a:lnTo>
                    <a:pt x="192" y="122"/>
                  </a:lnTo>
                  <a:lnTo>
                    <a:pt x="192" y="122"/>
                  </a:lnTo>
                  <a:lnTo>
                    <a:pt x="190" y="122"/>
                  </a:lnTo>
                  <a:lnTo>
                    <a:pt x="190" y="126"/>
                  </a:lnTo>
                  <a:lnTo>
                    <a:pt x="190" y="126"/>
                  </a:lnTo>
                  <a:lnTo>
                    <a:pt x="190" y="126"/>
                  </a:lnTo>
                  <a:lnTo>
                    <a:pt x="190" y="130"/>
                  </a:lnTo>
                  <a:lnTo>
                    <a:pt x="190" y="130"/>
                  </a:lnTo>
                  <a:lnTo>
                    <a:pt x="190" y="130"/>
                  </a:lnTo>
                  <a:lnTo>
                    <a:pt x="190" y="134"/>
                  </a:lnTo>
                  <a:lnTo>
                    <a:pt x="190" y="134"/>
                  </a:lnTo>
                  <a:lnTo>
                    <a:pt x="190" y="134"/>
                  </a:lnTo>
                  <a:lnTo>
                    <a:pt x="190" y="138"/>
                  </a:lnTo>
                  <a:lnTo>
                    <a:pt x="190" y="138"/>
                  </a:lnTo>
                  <a:lnTo>
                    <a:pt x="190" y="138"/>
                  </a:lnTo>
                  <a:lnTo>
                    <a:pt x="192" y="140"/>
                  </a:lnTo>
                  <a:lnTo>
                    <a:pt x="192" y="140"/>
                  </a:lnTo>
                  <a:lnTo>
                    <a:pt x="192" y="140"/>
                  </a:lnTo>
                  <a:lnTo>
                    <a:pt x="194" y="142"/>
                  </a:lnTo>
                  <a:lnTo>
                    <a:pt x="196" y="144"/>
                  </a:lnTo>
                  <a:lnTo>
                    <a:pt x="198" y="146"/>
                  </a:lnTo>
                  <a:lnTo>
                    <a:pt x="202" y="148"/>
                  </a:lnTo>
                  <a:lnTo>
                    <a:pt x="206" y="150"/>
                  </a:lnTo>
                  <a:lnTo>
                    <a:pt x="212" y="156"/>
                  </a:lnTo>
                  <a:lnTo>
                    <a:pt x="216" y="158"/>
                  </a:lnTo>
                  <a:lnTo>
                    <a:pt x="220" y="160"/>
                  </a:lnTo>
                  <a:lnTo>
                    <a:pt x="224" y="162"/>
                  </a:lnTo>
                  <a:lnTo>
                    <a:pt x="226" y="166"/>
                  </a:lnTo>
                  <a:lnTo>
                    <a:pt x="228" y="168"/>
                  </a:lnTo>
                  <a:lnTo>
                    <a:pt x="228" y="170"/>
                  </a:lnTo>
                  <a:lnTo>
                    <a:pt x="228" y="172"/>
                  </a:lnTo>
                  <a:lnTo>
                    <a:pt x="228" y="174"/>
                  </a:lnTo>
                  <a:lnTo>
                    <a:pt x="228" y="178"/>
                  </a:lnTo>
                  <a:lnTo>
                    <a:pt x="228" y="180"/>
                  </a:lnTo>
                  <a:lnTo>
                    <a:pt x="228" y="180"/>
                  </a:lnTo>
                  <a:lnTo>
                    <a:pt x="230" y="180"/>
                  </a:lnTo>
                  <a:lnTo>
                    <a:pt x="230" y="182"/>
                  </a:lnTo>
                  <a:lnTo>
                    <a:pt x="230" y="182"/>
                  </a:lnTo>
                  <a:lnTo>
                    <a:pt x="230" y="184"/>
                  </a:lnTo>
                  <a:lnTo>
                    <a:pt x="232" y="186"/>
                  </a:lnTo>
                  <a:lnTo>
                    <a:pt x="232" y="186"/>
                  </a:lnTo>
                  <a:lnTo>
                    <a:pt x="232" y="186"/>
                  </a:lnTo>
                  <a:lnTo>
                    <a:pt x="234" y="186"/>
                  </a:lnTo>
                  <a:lnTo>
                    <a:pt x="234" y="186"/>
                  </a:lnTo>
                  <a:lnTo>
                    <a:pt x="236" y="188"/>
                  </a:lnTo>
                  <a:lnTo>
                    <a:pt x="238" y="188"/>
                  </a:lnTo>
                  <a:lnTo>
                    <a:pt x="242" y="188"/>
                  </a:lnTo>
                  <a:lnTo>
                    <a:pt x="246" y="188"/>
                  </a:lnTo>
                  <a:lnTo>
                    <a:pt x="252" y="188"/>
                  </a:lnTo>
                  <a:lnTo>
                    <a:pt x="254" y="188"/>
                  </a:lnTo>
                  <a:lnTo>
                    <a:pt x="258" y="188"/>
                  </a:lnTo>
                  <a:lnTo>
                    <a:pt x="262" y="190"/>
                  </a:lnTo>
                  <a:lnTo>
                    <a:pt x="266" y="192"/>
                  </a:lnTo>
                  <a:lnTo>
                    <a:pt x="270" y="196"/>
                  </a:lnTo>
                  <a:lnTo>
                    <a:pt x="272" y="198"/>
                  </a:lnTo>
                  <a:lnTo>
                    <a:pt x="272" y="200"/>
                  </a:lnTo>
                  <a:lnTo>
                    <a:pt x="274" y="202"/>
                  </a:lnTo>
                  <a:lnTo>
                    <a:pt x="274" y="204"/>
                  </a:lnTo>
                  <a:lnTo>
                    <a:pt x="274" y="208"/>
                  </a:lnTo>
                  <a:lnTo>
                    <a:pt x="274" y="206"/>
                  </a:lnTo>
                  <a:lnTo>
                    <a:pt x="276" y="210"/>
                  </a:lnTo>
                  <a:lnTo>
                    <a:pt x="274" y="212"/>
                  </a:lnTo>
                  <a:lnTo>
                    <a:pt x="274" y="212"/>
                  </a:lnTo>
                  <a:lnTo>
                    <a:pt x="272" y="214"/>
                  </a:lnTo>
                  <a:lnTo>
                    <a:pt x="272" y="214"/>
                  </a:lnTo>
                  <a:lnTo>
                    <a:pt x="270" y="216"/>
                  </a:lnTo>
                  <a:lnTo>
                    <a:pt x="266" y="218"/>
                  </a:lnTo>
                  <a:lnTo>
                    <a:pt x="260" y="218"/>
                  </a:lnTo>
                  <a:lnTo>
                    <a:pt x="254" y="220"/>
                  </a:lnTo>
                  <a:lnTo>
                    <a:pt x="248" y="222"/>
                  </a:lnTo>
                  <a:lnTo>
                    <a:pt x="242" y="222"/>
                  </a:lnTo>
                  <a:lnTo>
                    <a:pt x="238" y="222"/>
                  </a:lnTo>
                  <a:lnTo>
                    <a:pt x="236" y="222"/>
                  </a:lnTo>
                  <a:lnTo>
                    <a:pt x="236" y="222"/>
                  </a:lnTo>
                  <a:lnTo>
                    <a:pt x="234" y="220"/>
                  </a:lnTo>
                  <a:lnTo>
                    <a:pt x="236" y="218"/>
                  </a:lnTo>
                  <a:lnTo>
                    <a:pt x="236" y="214"/>
                  </a:lnTo>
                  <a:lnTo>
                    <a:pt x="238" y="210"/>
                  </a:lnTo>
                  <a:lnTo>
                    <a:pt x="238" y="210"/>
                  </a:lnTo>
                  <a:lnTo>
                    <a:pt x="238" y="210"/>
                  </a:lnTo>
                  <a:lnTo>
                    <a:pt x="238" y="206"/>
                  </a:lnTo>
                  <a:lnTo>
                    <a:pt x="238" y="206"/>
                  </a:lnTo>
                  <a:lnTo>
                    <a:pt x="238" y="206"/>
                  </a:lnTo>
                  <a:lnTo>
                    <a:pt x="236" y="204"/>
                  </a:lnTo>
                  <a:lnTo>
                    <a:pt x="236" y="204"/>
                  </a:lnTo>
                  <a:lnTo>
                    <a:pt x="236" y="204"/>
                  </a:lnTo>
                  <a:lnTo>
                    <a:pt x="236" y="202"/>
                  </a:lnTo>
                  <a:lnTo>
                    <a:pt x="236" y="202"/>
                  </a:lnTo>
                  <a:lnTo>
                    <a:pt x="234" y="202"/>
                  </a:lnTo>
                  <a:lnTo>
                    <a:pt x="232" y="202"/>
                  </a:lnTo>
                  <a:lnTo>
                    <a:pt x="232" y="202"/>
                  </a:lnTo>
                  <a:lnTo>
                    <a:pt x="232" y="202"/>
                  </a:lnTo>
                  <a:lnTo>
                    <a:pt x="230" y="202"/>
                  </a:lnTo>
                  <a:lnTo>
                    <a:pt x="230" y="202"/>
                  </a:lnTo>
                  <a:lnTo>
                    <a:pt x="230" y="202"/>
                  </a:lnTo>
                  <a:lnTo>
                    <a:pt x="226" y="202"/>
                  </a:lnTo>
                  <a:lnTo>
                    <a:pt x="224" y="204"/>
                  </a:lnTo>
                  <a:lnTo>
                    <a:pt x="220" y="206"/>
                  </a:lnTo>
                  <a:lnTo>
                    <a:pt x="216" y="208"/>
                  </a:lnTo>
                  <a:lnTo>
                    <a:pt x="208" y="212"/>
                  </a:lnTo>
                  <a:lnTo>
                    <a:pt x="198" y="216"/>
                  </a:lnTo>
                  <a:lnTo>
                    <a:pt x="188" y="222"/>
                  </a:lnTo>
                  <a:lnTo>
                    <a:pt x="184" y="224"/>
                  </a:lnTo>
                  <a:lnTo>
                    <a:pt x="180" y="226"/>
                  </a:lnTo>
                  <a:lnTo>
                    <a:pt x="176" y="228"/>
                  </a:lnTo>
                  <a:lnTo>
                    <a:pt x="172" y="230"/>
                  </a:lnTo>
                  <a:lnTo>
                    <a:pt x="170" y="232"/>
                  </a:lnTo>
                  <a:lnTo>
                    <a:pt x="168" y="234"/>
                  </a:lnTo>
                  <a:lnTo>
                    <a:pt x="166" y="236"/>
                  </a:lnTo>
                  <a:lnTo>
                    <a:pt x="166" y="236"/>
                  </a:lnTo>
                  <a:lnTo>
                    <a:pt x="166" y="236"/>
                  </a:lnTo>
                  <a:lnTo>
                    <a:pt x="166" y="238"/>
                  </a:lnTo>
                  <a:lnTo>
                    <a:pt x="166" y="238"/>
                  </a:lnTo>
                  <a:lnTo>
                    <a:pt x="166" y="238"/>
                  </a:lnTo>
                  <a:lnTo>
                    <a:pt x="166" y="240"/>
                  </a:lnTo>
                  <a:lnTo>
                    <a:pt x="166" y="240"/>
                  </a:lnTo>
                  <a:lnTo>
                    <a:pt x="166" y="240"/>
                  </a:lnTo>
                  <a:lnTo>
                    <a:pt x="168" y="242"/>
                  </a:lnTo>
                  <a:lnTo>
                    <a:pt x="168" y="242"/>
                  </a:lnTo>
                  <a:lnTo>
                    <a:pt x="168" y="242"/>
                  </a:lnTo>
                  <a:lnTo>
                    <a:pt x="168" y="242"/>
                  </a:lnTo>
                  <a:lnTo>
                    <a:pt x="170" y="242"/>
                  </a:lnTo>
                  <a:lnTo>
                    <a:pt x="172" y="242"/>
                  </a:lnTo>
                  <a:lnTo>
                    <a:pt x="176" y="242"/>
                  </a:lnTo>
                  <a:lnTo>
                    <a:pt x="178" y="242"/>
                  </a:lnTo>
                  <a:lnTo>
                    <a:pt x="180" y="244"/>
                  </a:lnTo>
                  <a:lnTo>
                    <a:pt x="182" y="244"/>
                  </a:lnTo>
                  <a:lnTo>
                    <a:pt x="182" y="246"/>
                  </a:lnTo>
                  <a:lnTo>
                    <a:pt x="184" y="248"/>
                  </a:lnTo>
                  <a:lnTo>
                    <a:pt x="186" y="252"/>
                  </a:lnTo>
                  <a:lnTo>
                    <a:pt x="188" y="256"/>
                  </a:lnTo>
                  <a:lnTo>
                    <a:pt x="188" y="260"/>
                  </a:lnTo>
                  <a:lnTo>
                    <a:pt x="190" y="264"/>
                  </a:lnTo>
                  <a:lnTo>
                    <a:pt x="192" y="266"/>
                  </a:lnTo>
                  <a:lnTo>
                    <a:pt x="194" y="270"/>
                  </a:lnTo>
                  <a:lnTo>
                    <a:pt x="194" y="270"/>
                  </a:lnTo>
                  <a:lnTo>
                    <a:pt x="194" y="270"/>
                  </a:lnTo>
                  <a:lnTo>
                    <a:pt x="196" y="272"/>
                  </a:lnTo>
                  <a:lnTo>
                    <a:pt x="196" y="272"/>
                  </a:lnTo>
                  <a:lnTo>
                    <a:pt x="196" y="272"/>
                  </a:lnTo>
                  <a:lnTo>
                    <a:pt x="198" y="272"/>
                  </a:lnTo>
                  <a:lnTo>
                    <a:pt x="200" y="274"/>
                  </a:lnTo>
                  <a:lnTo>
                    <a:pt x="200" y="274"/>
                  </a:lnTo>
                  <a:lnTo>
                    <a:pt x="200" y="274"/>
                  </a:lnTo>
                  <a:lnTo>
                    <a:pt x="202" y="276"/>
                  </a:lnTo>
                  <a:lnTo>
                    <a:pt x="204" y="276"/>
                  </a:lnTo>
                  <a:lnTo>
                    <a:pt x="206" y="276"/>
                  </a:lnTo>
                  <a:lnTo>
                    <a:pt x="210" y="276"/>
                  </a:lnTo>
                  <a:lnTo>
                    <a:pt x="214" y="276"/>
                  </a:lnTo>
                  <a:lnTo>
                    <a:pt x="218" y="276"/>
                  </a:lnTo>
                  <a:lnTo>
                    <a:pt x="222" y="276"/>
                  </a:lnTo>
                  <a:lnTo>
                    <a:pt x="226" y="278"/>
                  </a:lnTo>
                  <a:lnTo>
                    <a:pt x="232" y="276"/>
                  </a:lnTo>
                  <a:lnTo>
                    <a:pt x="236" y="276"/>
                  </a:lnTo>
                  <a:lnTo>
                    <a:pt x="240" y="276"/>
                  </a:lnTo>
                  <a:lnTo>
                    <a:pt x="242" y="276"/>
                  </a:lnTo>
                  <a:lnTo>
                    <a:pt x="246" y="276"/>
                  </a:lnTo>
                  <a:lnTo>
                    <a:pt x="246" y="276"/>
                  </a:lnTo>
                  <a:lnTo>
                    <a:pt x="246" y="276"/>
                  </a:lnTo>
                  <a:lnTo>
                    <a:pt x="248" y="274"/>
                  </a:lnTo>
                  <a:lnTo>
                    <a:pt x="248" y="274"/>
                  </a:lnTo>
                  <a:lnTo>
                    <a:pt x="248" y="274"/>
                  </a:lnTo>
                  <a:lnTo>
                    <a:pt x="250" y="274"/>
                  </a:lnTo>
                  <a:lnTo>
                    <a:pt x="250" y="272"/>
                  </a:lnTo>
                  <a:lnTo>
                    <a:pt x="252" y="270"/>
                  </a:lnTo>
                  <a:lnTo>
                    <a:pt x="252" y="270"/>
                  </a:lnTo>
                  <a:lnTo>
                    <a:pt x="254" y="270"/>
                  </a:lnTo>
                  <a:lnTo>
                    <a:pt x="256" y="270"/>
                  </a:lnTo>
                  <a:lnTo>
                    <a:pt x="260" y="270"/>
                  </a:lnTo>
                  <a:lnTo>
                    <a:pt x="266" y="272"/>
                  </a:lnTo>
                  <a:lnTo>
                    <a:pt x="268" y="272"/>
                  </a:lnTo>
                  <a:lnTo>
                    <a:pt x="270" y="272"/>
                  </a:lnTo>
                  <a:lnTo>
                    <a:pt x="272" y="274"/>
                  </a:lnTo>
                  <a:lnTo>
                    <a:pt x="274" y="276"/>
                  </a:lnTo>
                  <a:lnTo>
                    <a:pt x="274" y="278"/>
                  </a:lnTo>
                  <a:lnTo>
                    <a:pt x="276" y="280"/>
                  </a:lnTo>
                  <a:lnTo>
                    <a:pt x="276" y="284"/>
                  </a:lnTo>
                  <a:lnTo>
                    <a:pt x="278" y="288"/>
                  </a:lnTo>
                  <a:lnTo>
                    <a:pt x="278" y="294"/>
                  </a:lnTo>
                  <a:lnTo>
                    <a:pt x="278" y="298"/>
                  </a:lnTo>
                  <a:lnTo>
                    <a:pt x="276" y="300"/>
                  </a:lnTo>
                  <a:lnTo>
                    <a:pt x="276" y="304"/>
                  </a:lnTo>
                  <a:lnTo>
                    <a:pt x="274" y="306"/>
                  </a:lnTo>
                  <a:lnTo>
                    <a:pt x="272" y="306"/>
                  </a:lnTo>
                  <a:lnTo>
                    <a:pt x="270" y="308"/>
                  </a:lnTo>
                  <a:lnTo>
                    <a:pt x="266" y="310"/>
                  </a:lnTo>
                  <a:lnTo>
                    <a:pt x="258" y="312"/>
                  </a:lnTo>
                  <a:lnTo>
                    <a:pt x="254" y="312"/>
                  </a:lnTo>
                  <a:lnTo>
                    <a:pt x="252" y="314"/>
                  </a:lnTo>
                  <a:lnTo>
                    <a:pt x="248" y="316"/>
                  </a:lnTo>
                  <a:lnTo>
                    <a:pt x="244" y="316"/>
                  </a:lnTo>
                  <a:lnTo>
                    <a:pt x="236" y="318"/>
                  </a:lnTo>
                  <a:lnTo>
                    <a:pt x="228" y="320"/>
                  </a:lnTo>
                  <a:lnTo>
                    <a:pt x="224" y="322"/>
                  </a:lnTo>
                  <a:lnTo>
                    <a:pt x="220" y="324"/>
                  </a:lnTo>
                  <a:lnTo>
                    <a:pt x="218" y="326"/>
                  </a:lnTo>
                  <a:lnTo>
                    <a:pt x="214" y="328"/>
                  </a:lnTo>
                  <a:lnTo>
                    <a:pt x="214" y="328"/>
                  </a:lnTo>
                  <a:lnTo>
                    <a:pt x="214" y="328"/>
                  </a:lnTo>
                  <a:lnTo>
                    <a:pt x="210" y="334"/>
                  </a:lnTo>
                  <a:lnTo>
                    <a:pt x="210" y="334"/>
                  </a:lnTo>
                  <a:lnTo>
                    <a:pt x="210" y="334"/>
                  </a:lnTo>
                  <a:lnTo>
                    <a:pt x="206" y="340"/>
                  </a:lnTo>
                  <a:lnTo>
                    <a:pt x="204" y="348"/>
                  </a:lnTo>
                  <a:lnTo>
                    <a:pt x="202" y="354"/>
                  </a:lnTo>
                  <a:lnTo>
                    <a:pt x="200" y="360"/>
                  </a:lnTo>
                  <a:lnTo>
                    <a:pt x="200" y="364"/>
                  </a:lnTo>
                  <a:lnTo>
                    <a:pt x="200" y="366"/>
                  </a:lnTo>
                  <a:lnTo>
                    <a:pt x="200" y="366"/>
                  </a:lnTo>
                  <a:lnTo>
                    <a:pt x="200" y="366"/>
                  </a:lnTo>
                  <a:lnTo>
                    <a:pt x="200" y="370"/>
                  </a:lnTo>
                  <a:lnTo>
                    <a:pt x="200" y="370"/>
                  </a:lnTo>
                  <a:lnTo>
                    <a:pt x="200" y="370"/>
                  </a:lnTo>
                  <a:lnTo>
                    <a:pt x="202" y="372"/>
                  </a:lnTo>
                  <a:lnTo>
                    <a:pt x="202" y="372"/>
                  </a:lnTo>
                  <a:lnTo>
                    <a:pt x="202" y="374"/>
                  </a:lnTo>
                  <a:lnTo>
                    <a:pt x="204" y="376"/>
                  </a:lnTo>
                  <a:lnTo>
                    <a:pt x="204" y="376"/>
                  </a:lnTo>
                  <a:lnTo>
                    <a:pt x="204" y="376"/>
                  </a:lnTo>
                  <a:lnTo>
                    <a:pt x="206" y="378"/>
                  </a:lnTo>
                  <a:lnTo>
                    <a:pt x="206" y="378"/>
                  </a:lnTo>
                  <a:lnTo>
                    <a:pt x="206" y="378"/>
                  </a:lnTo>
                  <a:lnTo>
                    <a:pt x="208" y="380"/>
                  </a:lnTo>
                  <a:lnTo>
                    <a:pt x="212" y="382"/>
                  </a:lnTo>
                  <a:lnTo>
                    <a:pt x="218" y="384"/>
                  </a:lnTo>
                  <a:lnTo>
                    <a:pt x="220" y="386"/>
                  </a:lnTo>
                  <a:lnTo>
                    <a:pt x="222" y="388"/>
                  </a:lnTo>
                  <a:lnTo>
                    <a:pt x="224" y="390"/>
                  </a:lnTo>
                  <a:lnTo>
                    <a:pt x="228" y="392"/>
                  </a:lnTo>
                  <a:lnTo>
                    <a:pt x="230" y="394"/>
                  </a:lnTo>
                  <a:lnTo>
                    <a:pt x="234" y="396"/>
                  </a:lnTo>
                  <a:lnTo>
                    <a:pt x="234" y="396"/>
                  </a:lnTo>
                  <a:lnTo>
                    <a:pt x="234" y="396"/>
                  </a:lnTo>
                  <a:lnTo>
                    <a:pt x="230" y="396"/>
                  </a:lnTo>
                  <a:lnTo>
                    <a:pt x="224" y="394"/>
                  </a:lnTo>
                  <a:lnTo>
                    <a:pt x="218" y="394"/>
                  </a:lnTo>
                  <a:lnTo>
                    <a:pt x="214" y="394"/>
                  </a:lnTo>
                  <a:lnTo>
                    <a:pt x="212" y="394"/>
                  </a:lnTo>
                  <a:lnTo>
                    <a:pt x="210" y="394"/>
                  </a:lnTo>
                  <a:lnTo>
                    <a:pt x="210" y="394"/>
                  </a:lnTo>
                  <a:lnTo>
                    <a:pt x="210" y="394"/>
                  </a:lnTo>
                  <a:lnTo>
                    <a:pt x="208" y="394"/>
                  </a:lnTo>
                  <a:lnTo>
                    <a:pt x="208" y="394"/>
                  </a:lnTo>
                  <a:lnTo>
                    <a:pt x="206" y="394"/>
                  </a:lnTo>
                  <a:lnTo>
                    <a:pt x="206" y="394"/>
                  </a:lnTo>
                  <a:lnTo>
                    <a:pt x="206" y="394"/>
                  </a:lnTo>
                  <a:lnTo>
                    <a:pt x="206" y="396"/>
                  </a:lnTo>
                  <a:lnTo>
                    <a:pt x="206" y="398"/>
                  </a:lnTo>
                  <a:lnTo>
                    <a:pt x="206" y="398"/>
                  </a:lnTo>
                  <a:lnTo>
                    <a:pt x="206" y="398"/>
                  </a:lnTo>
                  <a:lnTo>
                    <a:pt x="206" y="400"/>
                  </a:lnTo>
                  <a:lnTo>
                    <a:pt x="206" y="400"/>
                  </a:lnTo>
                  <a:lnTo>
                    <a:pt x="206" y="400"/>
                  </a:lnTo>
                  <a:lnTo>
                    <a:pt x="206" y="402"/>
                  </a:lnTo>
                  <a:lnTo>
                    <a:pt x="206" y="402"/>
                  </a:lnTo>
                  <a:lnTo>
                    <a:pt x="206" y="404"/>
                  </a:lnTo>
                  <a:lnTo>
                    <a:pt x="210" y="406"/>
                  </a:lnTo>
                  <a:lnTo>
                    <a:pt x="212" y="410"/>
                  </a:lnTo>
                  <a:lnTo>
                    <a:pt x="216" y="414"/>
                  </a:lnTo>
                  <a:lnTo>
                    <a:pt x="218" y="418"/>
                  </a:lnTo>
                  <a:lnTo>
                    <a:pt x="222" y="420"/>
                  </a:lnTo>
                  <a:lnTo>
                    <a:pt x="224" y="422"/>
                  </a:lnTo>
                  <a:lnTo>
                    <a:pt x="224" y="422"/>
                  </a:lnTo>
                  <a:lnTo>
                    <a:pt x="224" y="424"/>
                  </a:lnTo>
                  <a:lnTo>
                    <a:pt x="228" y="424"/>
                  </a:lnTo>
                  <a:lnTo>
                    <a:pt x="228" y="424"/>
                  </a:lnTo>
                  <a:lnTo>
                    <a:pt x="228" y="424"/>
                  </a:lnTo>
                  <a:lnTo>
                    <a:pt x="230" y="424"/>
                  </a:lnTo>
                  <a:lnTo>
                    <a:pt x="230" y="424"/>
                  </a:lnTo>
                  <a:lnTo>
                    <a:pt x="230" y="426"/>
                  </a:lnTo>
                  <a:lnTo>
                    <a:pt x="232" y="426"/>
                  </a:lnTo>
                  <a:lnTo>
                    <a:pt x="234" y="424"/>
                  </a:lnTo>
                  <a:lnTo>
                    <a:pt x="234" y="424"/>
                  </a:lnTo>
                  <a:lnTo>
                    <a:pt x="236" y="424"/>
                  </a:lnTo>
                  <a:lnTo>
                    <a:pt x="240" y="422"/>
                  </a:lnTo>
                  <a:lnTo>
                    <a:pt x="244" y="422"/>
                  </a:lnTo>
                  <a:lnTo>
                    <a:pt x="246" y="420"/>
                  </a:lnTo>
                  <a:lnTo>
                    <a:pt x="248" y="418"/>
                  </a:lnTo>
                  <a:lnTo>
                    <a:pt x="254" y="414"/>
                  </a:lnTo>
                  <a:lnTo>
                    <a:pt x="256" y="412"/>
                  </a:lnTo>
                  <a:lnTo>
                    <a:pt x="256" y="412"/>
                  </a:lnTo>
                  <a:lnTo>
                    <a:pt x="256" y="412"/>
                  </a:lnTo>
                  <a:lnTo>
                    <a:pt x="256" y="416"/>
                  </a:lnTo>
                  <a:lnTo>
                    <a:pt x="254" y="420"/>
                  </a:lnTo>
                  <a:lnTo>
                    <a:pt x="254" y="426"/>
                  </a:lnTo>
                  <a:lnTo>
                    <a:pt x="252" y="432"/>
                  </a:lnTo>
                  <a:lnTo>
                    <a:pt x="252" y="438"/>
                  </a:lnTo>
                  <a:lnTo>
                    <a:pt x="250" y="442"/>
                  </a:lnTo>
                  <a:lnTo>
                    <a:pt x="250" y="442"/>
                  </a:lnTo>
                  <a:lnTo>
                    <a:pt x="250" y="442"/>
                  </a:lnTo>
                  <a:lnTo>
                    <a:pt x="252" y="444"/>
                  </a:lnTo>
                  <a:lnTo>
                    <a:pt x="252" y="446"/>
                  </a:lnTo>
                  <a:lnTo>
                    <a:pt x="252" y="446"/>
                  </a:lnTo>
                  <a:lnTo>
                    <a:pt x="252" y="448"/>
                  </a:lnTo>
                  <a:lnTo>
                    <a:pt x="252" y="450"/>
                  </a:lnTo>
                  <a:lnTo>
                    <a:pt x="252" y="450"/>
                  </a:lnTo>
                  <a:lnTo>
                    <a:pt x="254" y="450"/>
                  </a:lnTo>
                  <a:lnTo>
                    <a:pt x="254" y="452"/>
                  </a:lnTo>
                  <a:lnTo>
                    <a:pt x="254" y="452"/>
                  </a:lnTo>
                  <a:lnTo>
                    <a:pt x="256" y="454"/>
                  </a:lnTo>
                  <a:lnTo>
                    <a:pt x="258" y="454"/>
                  </a:lnTo>
                  <a:lnTo>
                    <a:pt x="258" y="454"/>
                  </a:lnTo>
                  <a:lnTo>
                    <a:pt x="258" y="454"/>
                  </a:lnTo>
                  <a:lnTo>
                    <a:pt x="260" y="456"/>
                  </a:lnTo>
                  <a:lnTo>
                    <a:pt x="260" y="456"/>
                  </a:lnTo>
                  <a:lnTo>
                    <a:pt x="260" y="456"/>
                  </a:lnTo>
                  <a:lnTo>
                    <a:pt x="266" y="458"/>
                  </a:lnTo>
                  <a:lnTo>
                    <a:pt x="270" y="458"/>
                  </a:lnTo>
                  <a:lnTo>
                    <a:pt x="272" y="458"/>
                  </a:lnTo>
                  <a:lnTo>
                    <a:pt x="272" y="458"/>
                  </a:lnTo>
                  <a:lnTo>
                    <a:pt x="274" y="458"/>
                  </a:lnTo>
                  <a:lnTo>
                    <a:pt x="274" y="458"/>
                  </a:lnTo>
                  <a:lnTo>
                    <a:pt x="274" y="458"/>
                  </a:lnTo>
                  <a:lnTo>
                    <a:pt x="278" y="458"/>
                  </a:lnTo>
                  <a:lnTo>
                    <a:pt x="284" y="456"/>
                  </a:lnTo>
                  <a:lnTo>
                    <a:pt x="288" y="456"/>
                  </a:lnTo>
                  <a:lnTo>
                    <a:pt x="290" y="454"/>
                  </a:lnTo>
                  <a:lnTo>
                    <a:pt x="292" y="454"/>
                  </a:lnTo>
                  <a:lnTo>
                    <a:pt x="292" y="456"/>
                  </a:lnTo>
                  <a:lnTo>
                    <a:pt x="294" y="456"/>
                  </a:lnTo>
                  <a:lnTo>
                    <a:pt x="294" y="458"/>
                  </a:lnTo>
                  <a:lnTo>
                    <a:pt x="296" y="460"/>
                  </a:lnTo>
                  <a:lnTo>
                    <a:pt x="298" y="462"/>
                  </a:lnTo>
                  <a:lnTo>
                    <a:pt x="300" y="462"/>
                  </a:lnTo>
                  <a:lnTo>
                    <a:pt x="300" y="462"/>
                  </a:lnTo>
                  <a:lnTo>
                    <a:pt x="300" y="464"/>
                  </a:lnTo>
                  <a:lnTo>
                    <a:pt x="302" y="464"/>
                  </a:lnTo>
                  <a:lnTo>
                    <a:pt x="302" y="464"/>
                  </a:lnTo>
                  <a:lnTo>
                    <a:pt x="302" y="464"/>
                  </a:lnTo>
                  <a:lnTo>
                    <a:pt x="304" y="464"/>
                  </a:lnTo>
                  <a:lnTo>
                    <a:pt x="304" y="464"/>
                  </a:lnTo>
                  <a:lnTo>
                    <a:pt x="306" y="464"/>
                  </a:lnTo>
                  <a:lnTo>
                    <a:pt x="306" y="464"/>
                  </a:lnTo>
                  <a:lnTo>
                    <a:pt x="306" y="464"/>
                  </a:lnTo>
                  <a:lnTo>
                    <a:pt x="308" y="462"/>
                  </a:lnTo>
                  <a:lnTo>
                    <a:pt x="310" y="462"/>
                  </a:lnTo>
                  <a:lnTo>
                    <a:pt x="310" y="462"/>
                  </a:lnTo>
                  <a:lnTo>
                    <a:pt x="310" y="460"/>
                  </a:lnTo>
                  <a:lnTo>
                    <a:pt x="310" y="458"/>
                  </a:lnTo>
                  <a:lnTo>
                    <a:pt x="312" y="456"/>
                  </a:lnTo>
                  <a:lnTo>
                    <a:pt x="312" y="454"/>
                  </a:lnTo>
                  <a:lnTo>
                    <a:pt x="314" y="452"/>
                  </a:lnTo>
                  <a:lnTo>
                    <a:pt x="314" y="450"/>
                  </a:lnTo>
                  <a:lnTo>
                    <a:pt x="316" y="448"/>
                  </a:lnTo>
                  <a:lnTo>
                    <a:pt x="318" y="448"/>
                  </a:lnTo>
                  <a:lnTo>
                    <a:pt x="316" y="448"/>
                  </a:lnTo>
                  <a:lnTo>
                    <a:pt x="318" y="448"/>
                  </a:lnTo>
                  <a:lnTo>
                    <a:pt x="322" y="446"/>
                  </a:lnTo>
                  <a:lnTo>
                    <a:pt x="324" y="446"/>
                  </a:lnTo>
                  <a:lnTo>
                    <a:pt x="324" y="446"/>
                  </a:lnTo>
                  <a:lnTo>
                    <a:pt x="326" y="448"/>
                  </a:lnTo>
                  <a:lnTo>
                    <a:pt x="326" y="448"/>
                  </a:lnTo>
                  <a:lnTo>
                    <a:pt x="326" y="448"/>
                  </a:lnTo>
                  <a:lnTo>
                    <a:pt x="326" y="450"/>
                  </a:lnTo>
                  <a:lnTo>
                    <a:pt x="326" y="454"/>
                  </a:lnTo>
                  <a:lnTo>
                    <a:pt x="326" y="456"/>
                  </a:lnTo>
                  <a:lnTo>
                    <a:pt x="324" y="464"/>
                  </a:lnTo>
                  <a:lnTo>
                    <a:pt x="322" y="468"/>
                  </a:lnTo>
                  <a:lnTo>
                    <a:pt x="322" y="470"/>
                  </a:lnTo>
                  <a:lnTo>
                    <a:pt x="318" y="476"/>
                  </a:lnTo>
                  <a:lnTo>
                    <a:pt x="316" y="482"/>
                  </a:lnTo>
                  <a:lnTo>
                    <a:pt x="310" y="488"/>
                  </a:lnTo>
                  <a:lnTo>
                    <a:pt x="306" y="492"/>
                  </a:lnTo>
                  <a:lnTo>
                    <a:pt x="300" y="498"/>
                  </a:lnTo>
                  <a:lnTo>
                    <a:pt x="294" y="502"/>
                  </a:lnTo>
                  <a:lnTo>
                    <a:pt x="288" y="508"/>
                  </a:lnTo>
                  <a:lnTo>
                    <a:pt x="280" y="512"/>
                  </a:lnTo>
                  <a:lnTo>
                    <a:pt x="274" y="516"/>
                  </a:lnTo>
                  <a:lnTo>
                    <a:pt x="266" y="520"/>
                  </a:lnTo>
                  <a:lnTo>
                    <a:pt x="260" y="522"/>
                  </a:lnTo>
                  <a:lnTo>
                    <a:pt x="252" y="526"/>
                  </a:lnTo>
                  <a:lnTo>
                    <a:pt x="246" y="530"/>
                  </a:lnTo>
                  <a:lnTo>
                    <a:pt x="240" y="532"/>
                  </a:lnTo>
                  <a:lnTo>
                    <a:pt x="232" y="536"/>
                  </a:lnTo>
                  <a:lnTo>
                    <a:pt x="232" y="536"/>
                  </a:lnTo>
                  <a:lnTo>
                    <a:pt x="232" y="536"/>
                  </a:lnTo>
                  <a:lnTo>
                    <a:pt x="226" y="540"/>
                  </a:lnTo>
                  <a:lnTo>
                    <a:pt x="226" y="540"/>
                  </a:lnTo>
                  <a:lnTo>
                    <a:pt x="226" y="540"/>
                  </a:lnTo>
                  <a:lnTo>
                    <a:pt x="224" y="542"/>
                  </a:lnTo>
                  <a:lnTo>
                    <a:pt x="224" y="542"/>
                  </a:lnTo>
                  <a:lnTo>
                    <a:pt x="224" y="544"/>
                  </a:lnTo>
                  <a:lnTo>
                    <a:pt x="222" y="546"/>
                  </a:lnTo>
                  <a:lnTo>
                    <a:pt x="222" y="546"/>
                  </a:lnTo>
                  <a:lnTo>
                    <a:pt x="222" y="546"/>
                  </a:lnTo>
                  <a:lnTo>
                    <a:pt x="218" y="552"/>
                  </a:lnTo>
                  <a:lnTo>
                    <a:pt x="218" y="556"/>
                  </a:lnTo>
                  <a:lnTo>
                    <a:pt x="216" y="558"/>
                  </a:lnTo>
                  <a:lnTo>
                    <a:pt x="214" y="560"/>
                  </a:lnTo>
                  <a:lnTo>
                    <a:pt x="212" y="562"/>
                  </a:lnTo>
                  <a:lnTo>
                    <a:pt x="210" y="562"/>
                  </a:lnTo>
                  <a:lnTo>
                    <a:pt x="208" y="562"/>
                  </a:lnTo>
                  <a:lnTo>
                    <a:pt x="200" y="564"/>
                  </a:lnTo>
                  <a:lnTo>
                    <a:pt x="192" y="564"/>
                  </a:lnTo>
                  <a:lnTo>
                    <a:pt x="188" y="564"/>
                  </a:lnTo>
                  <a:lnTo>
                    <a:pt x="186" y="564"/>
                  </a:lnTo>
                  <a:lnTo>
                    <a:pt x="182" y="566"/>
                  </a:lnTo>
                  <a:lnTo>
                    <a:pt x="180" y="566"/>
                  </a:lnTo>
                  <a:lnTo>
                    <a:pt x="176" y="568"/>
                  </a:lnTo>
                  <a:lnTo>
                    <a:pt x="174" y="570"/>
                  </a:lnTo>
                  <a:lnTo>
                    <a:pt x="170" y="574"/>
                  </a:lnTo>
                  <a:lnTo>
                    <a:pt x="166" y="576"/>
                  </a:lnTo>
                  <a:lnTo>
                    <a:pt x="162" y="578"/>
                  </a:lnTo>
                  <a:lnTo>
                    <a:pt x="160" y="580"/>
                  </a:lnTo>
                  <a:lnTo>
                    <a:pt x="160" y="580"/>
                  </a:lnTo>
                  <a:lnTo>
                    <a:pt x="160" y="580"/>
                  </a:lnTo>
                  <a:lnTo>
                    <a:pt x="156" y="584"/>
                  </a:lnTo>
                  <a:lnTo>
                    <a:pt x="156" y="584"/>
                  </a:lnTo>
                  <a:lnTo>
                    <a:pt x="156" y="584"/>
                  </a:lnTo>
                  <a:lnTo>
                    <a:pt x="154" y="586"/>
                  </a:lnTo>
                  <a:lnTo>
                    <a:pt x="154" y="586"/>
                  </a:lnTo>
                  <a:lnTo>
                    <a:pt x="154" y="586"/>
                  </a:lnTo>
                  <a:lnTo>
                    <a:pt x="154" y="588"/>
                  </a:lnTo>
                  <a:lnTo>
                    <a:pt x="152" y="594"/>
                  </a:lnTo>
                  <a:lnTo>
                    <a:pt x="152" y="596"/>
                  </a:lnTo>
                  <a:lnTo>
                    <a:pt x="150" y="598"/>
                  </a:lnTo>
                  <a:lnTo>
                    <a:pt x="150" y="600"/>
                  </a:lnTo>
                  <a:lnTo>
                    <a:pt x="146" y="600"/>
                  </a:lnTo>
                  <a:lnTo>
                    <a:pt x="144" y="602"/>
                  </a:lnTo>
                  <a:lnTo>
                    <a:pt x="140" y="602"/>
                  </a:lnTo>
                  <a:lnTo>
                    <a:pt x="134" y="602"/>
                  </a:lnTo>
                  <a:lnTo>
                    <a:pt x="128" y="602"/>
                  </a:lnTo>
                  <a:lnTo>
                    <a:pt x="116" y="602"/>
                  </a:lnTo>
                  <a:lnTo>
                    <a:pt x="110" y="604"/>
                  </a:lnTo>
                  <a:lnTo>
                    <a:pt x="106" y="604"/>
                  </a:lnTo>
                  <a:lnTo>
                    <a:pt x="100" y="606"/>
                  </a:lnTo>
                  <a:lnTo>
                    <a:pt x="96" y="608"/>
                  </a:lnTo>
                  <a:lnTo>
                    <a:pt x="94" y="608"/>
                  </a:lnTo>
                  <a:lnTo>
                    <a:pt x="90" y="610"/>
                  </a:lnTo>
                  <a:lnTo>
                    <a:pt x="88" y="612"/>
                  </a:lnTo>
                  <a:lnTo>
                    <a:pt x="86" y="612"/>
                  </a:lnTo>
                  <a:lnTo>
                    <a:pt x="76" y="616"/>
                  </a:lnTo>
                  <a:lnTo>
                    <a:pt x="72" y="616"/>
                  </a:lnTo>
                  <a:lnTo>
                    <a:pt x="66" y="616"/>
                  </a:lnTo>
                  <a:lnTo>
                    <a:pt x="60" y="616"/>
                  </a:lnTo>
                  <a:lnTo>
                    <a:pt x="54" y="616"/>
                  </a:lnTo>
                  <a:lnTo>
                    <a:pt x="46" y="614"/>
                  </a:lnTo>
                  <a:lnTo>
                    <a:pt x="40" y="614"/>
                  </a:lnTo>
                  <a:lnTo>
                    <a:pt x="32" y="616"/>
                  </a:lnTo>
                  <a:lnTo>
                    <a:pt x="28" y="616"/>
                  </a:lnTo>
                  <a:lnTo>
                    <a:pt x="28" y="616"/>
                  </a:lnTo>
                  <a:lnTo>
                    <a:pt x="28" y="616"/>
                  </a:lnTo>
                  <a:lnTo>
                    <a:pt x="22" y="618"/>
                  </a:lnTo>
                  <a:lnTo>
                    <a:pt x="16" y="620"/>
                  </a:lnTo>
                  <a:lnTo>
                    <a:pt x="12" y="622"/>
                  </a:lnTo>
                  <a:lnTo>
                    <a:pt x="8" y="624"/>
                  </a:lnTo>
                  <a:lnTo>
                    <a:pt x="4" y="628"/>
                  </a:lnTo>
                  <a:lnTo>
                    <a:pt x="2" y="630"/>
                  </a:lnTo>
                  <a:lnTo>
                    <a:pt x="0" y="632"/>
                  </a:lnTo>
                  <a:lnTo>
                    <a:pt x="0" y="632"/>
                  </a:lnTo>
                  <a:lnTo>
                    <a:pt x="0" y="632"/>
                  </a:lnTo>
                  <a:lnTo>
                    <a:pt x="0" y="634"/>
                  </a:lnTo>
                  <a:lnTo>
                    <a:pt x="0" y="634"/>
                  </a:lnTo>
                  <a:lnTo>
                    <a:pt x="0" y="636"/>
                  </a:lnTo>
                  <a:lnTo>
                    <a:pt x="0" y="636"/>
                  </a:lnTo>
                  <a:lnTo>
                    <a:pt x="2" y="638"/>
                  </a:lnTo>
                  <a:lnTo>
                    <a:pt x="2" y="638"/>
                  </a:lnTo>
                  <a:lnTo>
                    <a:pt x="2" y="638"/>
                  </a:lnTo>
                  <a:lnTo>
                    <a:pt x="2" y="638"/>
                  </a:lnTo>
                  <a:lnTo>
                    <a:pt x="4" y="638"/>
                  </a:lnTo>
                  <a:lnTo>
                    <a:pt x="6" y="636"/>
                  </a:lnTo>
                  <a:lnTo>
                    <a:pt x="10" y="636"/>
                  </a:lnTo>
                  <a:lnTo>
                    <a:pt x="14" y="634"/>
                  </a:lnTo>
                  <a:lnTo>
                    <a:pt x="18" y="632"/>
                  </a:lnTo>
                  <a:lnTo>
                    <a:pt x="24" y="632"/>
                  </a:lnTo>
                  <a:lnTo>
                    <a:pt x="28" y="630"/>
                  </a:lnTo>
                  <a:lnTo>
                    <a:pt x="32" y="630"/>
                  </a:lnTo>
                  <a:lnTo>
                    <a:pt x="40" y="628"/>
                  </a:lnTo>
                  <a:lnTo>
                    <a:pt x="48" y="626"/>
                  </a:lnTo>
                  <a:lnTo>
                    <a:pt x="58" y="626"/>
                  </a:lnTo>
                  <a:lnTo>
                    <a:pt x="66" y="624"/>
                  </a:lnTo>
                  <a:lnTo>
                    <a:pt x="72" y="622"/>
                  </a:lnTo>
                  <a:lnTo>
                    <a:pt x="78" y="622"/>
                  </a:lnTo>
                  <a:lnTo>
                    <a:pt x="84" y="620"/>
                  </a:lnTo>
                  <a:lnTo>
                    <a:pt x="88" y="620"/>
                  </a:lnTo>
                  <a:lnTo>
                    <a:pt x="90" y="618"/>
                  </a:lnTo>
                  <a:lnTo>
                    <a:pt x="100" y="616"/>
                  </a:lnTo>
                  <a:lnTo>
                    <a:pt x="110" y="614"/>
                  </a:lnTo>
                  <a:lnTo>
                    <a:pt x="116" y="614"/>
                  </a:lnTo>
                  <a:lnTo>
                    <a:pt x="122" y="612"/>
                  </a:lnTo>
                  <a:lnTo>
                    <a:pt x="134" y="612"/>
                  </a:lnTo>
                  <a:lnTo>
                    <a:pt x="140" y="612"/>
                  </a:lnTo>
                  <a:lnTo>
                    <a:pt x="146" y="612"/>
                  </a:lnTo>
                  <a:lnTo>
                    <a:pt x="152" y="612"/>
                  </a:lnTo>
                  <a:lnTo>
                    <a:pt x="156" y="612"/>
                  </a:lnTo>
                  <a:lnTo>
                    <a:pt x="160" y="610"/>
                  </a:lnTo>
                  <a:lnTo>
                    <a:pt x="160" y="610"/>
                  </a:lnTo>
                  <a:lnTo>
                    <a:pt x="160" y="610"/>
                  </a:lnTo>
                  <a:lnTo>
                    <a:pt x="164" y="610"/>
                  </a:lnTo>
                  <a:lnTo>
                    <a:pt x="164" y="610"/>
                  </a:lnTo>
                  <a:lnTo>
                    <a:pt x="164" y="608"/>
                  </a:lnTo>
                  <a:lnTo>
                    <a:pt x="168" y="608"/>
                  </a:lnTo>
                  <a:lnTo>
                    <a:pt x="170" y="606"/>
                  </a:lnTo>
                  <a:lnTo>
                    <a:pt x="174" y="602"/>
                  </a:lnTo>
                  <a:lnTo>
                    <a:pt x="176" y="600"/>
                  </a:lnTo>
                  <a:lnTo>
                    <a:pt x="176" y="600"/>
                  </a:lnTo>
                  <a:lnTo>
                    <a:pt x="176" y="600"/>
                  </a:lnTo>
                  <a:lnTo>
                    <a:pt x="178" y="600"/>
                  </a:lnTo>
                  <a:lnTo>
                    <a:pt x="180" y="600"/>
                  </a:lnTo>
                  <a:lnTo>
                    <a:pt x="182" y="600"/>
                  </a:lnTo>
                  <a:lnTo>
                    <a:pt x="184" y="602"/>
                  </a:lnTo>
                  <a:lnTo>
                    <a:pt x="184" y="602"/>
                  </a:lnTo>
                  <a:lnTo>
                    <a:pt x="184" y="602"/>
                  </a:lnTo>
                  <a:lnTo>
                    <a:pt x="186" y="602"/>
                  </a:lnTo>
                  <a:lnTo>
                    <a:pt x="186" y="602"/>
                  </a:lnTo>
                  <a:lnTo>
                    <a:pt x="186" y="602"/>
                  </a:lnTo>
                  <a:lnTo>
                    <a:pt x="188" y="602"/>
                  </a:lnTo>
                  <a:lnTo>
                    <a:pt x="188" y="602"/>
                  </a:lnTo>
                  <a:lnTo>
                    <a:pt x="190" y="600"/>
                  </a:lnTo>
                  <a:lnTo>
                    <a:pt x="192" y="600"/>
                  </a:lnTo>
                  <a:lnTo>
                    <a:pt x="192" y="600"/>
                  </a:lnTo>
                  <a:lnTo>
                    <a:pt x="192" y="600"/>
                  </a:lnTo>
                  <a:lnTo>
                    <a:pt x="194" y="596"/>
                  </a:lnTo>
                  <a:lnTo>
                    <a:pt x="194" y="596"/>
                  </a:lnTo>
                  <a:lnTo>
                    <a:pt x="194" y="596"/>
                  </a:lnTo>
                  <a:lnTo>
                    <a:pt x="196" y="594"/>
                  </a:lnTo>
                  <a:lnTo>
                    <a:pt x="198" y="590"/>
                  </a:lnTo>
                  <a:lnTo>
                    <a:pt x="200" y="586"/>
                  </a:lnTo>
                  <a:lnTo>
                    <a:pt x="204" y="582"/>
                  </a:lnTo>
                  <a:lnTo>
                    <a:pt x="206" y="578"/>
                  </a:lnTo>
                  <a:lnTo>
                    <a:pt x="210" y="574"/>
                  </a:lnTo>
                  <a:lnTo>
                    <a:pt x="216" y="570"/>
                  </a:lnTo>
                  <a:lnTo>
                    <a:pt x="218" y="568"/>
                  </a:lnTo>
                  <a:lnTo>
                    <a:pt x="222" y="566"/>
                  </a:lnTo>
                  <a:lnTo>
                    <a:pt x="230" y="562"/>
                  </a:lnTo>
                  <a:lnTo>
                    <a:pt x="238" y="558"/>
                  </a:lnTo>
                  <a:lnTo>
                    <a:pt x="248" y="554"/>
                  </a:lnTo>
                  <a:lnTo>
                    <a:pt x="258" y="548"/>
                  </a:lnTo>
                  <a:lnTo>
                    <a:pt x="268" y="544"/>
                  </a:lnTo>
                  <a:lnTo>
                    <a:pt x="278" y="540"/>
                  </a:lnTo>
                  <a:lnTo>
                    <a:pt x="286" y="534"/>
                  </a:lnTo>
                  <a:lnTo>
                    <a:pt x="302" y="526"/>
                  </a:lnTo>
                  <a:lnTo>
                    <a:pt x="316" y="518"/>
                  </a:lnTo>
                  <a:lnTo>
                    <a:pt x="330" y="510"/>
                  </a:lnTo>
                  <a:lnTo>
                    <a:pt x="338" y="504"/>
                  </a:lnTo>
                  <a:lnTo>
                    <a:pt x="344" y="500"/>
                  </a:lnTo>
                  <a:lnTo>
                    <a:pt x="350" y="494"/>
                  </a:lnTo>
                  <a:lnTo>
                    <a:pt x="356" y="486"/>
                  </a:lnTo>
                  <a:lnTo>
                    <a:pt x="362" y="478"/>
                  </a:lnTo>
                  <a:lnTo>
                    <a:pt x="368" y="472"/>
                  </a:lnTo>
                  <a:lnTo>
                    <a:pt x="374" y="464"/>
                  </a:lnTo>
                  <a:lnTo>
                    <a:pt x="378" y="458"/>
                  </a:lnTo>
                  <a:lnTo>
                    <a:pt x="382" y="452"/>
                  </a:lnTo>
                  <a:lnTo>
                    <a:pt x="384" y="450"/>
                  </a:lnTo>
                  <a:lnTo>
                    <a:pt x="384" y="448"/>
                  </a:lnTo>
                  <a:lnTo>
                    <a:pt x="386" y="446"/>
                  </a:lnTo>
                  <a:lnTo>
                    <a:pt x="386" y="446"/>
                  </a:lnTo>
                  <a:lnTo>
                    <a:pt x="386" y="444"/>
                  </a:lnTo>
                  <a:lnTo>
                    <a:pt x="386" y="444"/>
                  </a:lnTo>
                  <a:lnTo>
                    <a:pt x="386" y="444"/>
                  </a:lnTo>
                  <a:lnTo>
                    <a:pt x="386" y="442"/>
                  </a:lnTo>
                  <a:lnTo>
                    <a:pt x="386" y="442"/>
                  </a:lnTo>
                  <a:lnTo>
                    <a:pt x="386" y="442"/>
                  </a:lnTo>
                  <a:lnTo>
                    <a:pt x="386" y="440"/>
                  </a:lnTo>
                  <a:lnTo>
                    <a:pt x="384" y="440"/>
                  </a:lnTo>
                  <a:lnTo>
                    <a:pt x="384" y="440"/>
                  </a:lnTo>
                  <a:lnTo>
                    <a:pt x="390" y="440"/>
                  </a:lnTo>
                  <a:lnTo>
                    <a:pt x="396" y="440"/>
                  </a:lnTo>
                  <a:lnTo>
                    <a:pt x="398" y="440"/>
                  </a:lnTo>
                  <a:lnTo>
                    <a:pt x="400" y="440"/>
                  </a:lnTo>
                  <a:lnTo>
                    <a:pt x="402" y="440"/>
                  </a:lnTo>
                  <a:lnTo>
                    <a:pt x="404" y="440"/>
                  </a:lnTo>
                  <a:lnTo>
                    <a:pt x="404" y="440"/>
                  </a:lnTo>
                  <a:lnTo>
                    <a:pt x="402" y="442"/>
                  </a:lnTo>
                  <a:lnTo>
                    <a:pt x="400" y="444"/>
                  </a:lnTo>
                  <a:lnTo>
                    <a:pt x="398" y="446"/>
                  </a:lnTo>
                  <a:lnTo>
                    <a:pt x="396" y="450"/>
                  </a:lnTo>
                  <a:lnTo>
                    <a:pt x="394" y="452"/>
                  </a:lnTo>
                  <a:lnTo>
                    <a:pt x="388" y="458"/>
                  </a:lnTo>
                  <a:lnTo>
                    <a:pt x="380" y="464"/>
                  </a:lnTo>
                  <a:lnTo>
                    <a:pt x="378" y="468"/>
                  </a:lnTo>
                  <a:lnTo>
                    <a:pt x="376" y="470"/>
                  </a:lnTo>
                  <a:lnTo>
                    <a:pt x="374" y="472"/>
                  </a:lnTo>
                  <a:lnTo>
                    <a:pt x="372" y="474"/>
                  </a:lnTo>
                  <a:lnTo>
                    <a:pt x="370" y="474"/>
                  </a:lnTo>
                  <a:lnTo>
                    <a:pt x="370" y="474"/>
                  </a:lnTo>
                  <a:lnTo>
                    <a:pt x="370" y="476"/>
                  </a:lnTo>
                  <a:lnTo>
                    <a:pt x="370" y="476"/>
                  </a:lnTo>
                  <a:lnTo>
                    <a:pt x="370" y="476"/>
                  </a:lnTo>
                  <a:lnTo>
                    <a:pt x="370" y="478"/>
                  </a:lnTo>
                  <a:lnTo>
                    <a:pt x="370" y="478"/>
                  </a:lnTo>
                  <a:lnTo>
                    <a:pt x="372" y="480"/>
                  </a:lnTo>
                  <a:lnTo>
                    <a:pt x="372" y="480"/>
                  </a:lnTo>
                  <a:lnTo>
                    <a:pt x="372" y="480"/>
                  </a:lnTo>
                  <a:lnTo>
                    <a:pt x="374" y="480"/>
                  </a:lnTo>
                  <a:lnTo>
                    <a:pt x="374" y="480"/>
                  </a:lnTo>
                  <a:lnTo>
                    <a:pt x="376" y="478"/>
                  </a:lnTo>
                  <a:lnTo>
                    <a:pt x="378" y="478"/>
                  </a:lnTo>
                  <a:lnTo>
                    <a:pt x="380" y="476"/>
                  </a:lnTo>
                  <a:lnTo>
                    <a:pt x="382" y="474"/>
                  </a:lnTo>
                  <a:lnTo>
                    <a:pt x="388" y="470"/>
                  </a:lnTo>
                  <a:lnTo>
                    <a:pt x="394" y="464"/>
                  </a:lnTo>
                  <a:lnTo>
                    <a:pt x="400" y="460"/>
                  </a:lnTo>
                  <a:lnTo>
                    <a:pt x="406" y="456"/>
                  </a:lnTo>
                  <a:lnTo>
                    <a:pt x="408" y="454"/>
                  </a:lnTo>
                  <a:lnTo>
                    <a:pt x="410" y="452"/>
                  </a:lnTo>
                  <a:lnTo>
                    <a:pt x="418" y="446"/>
                  </a:lnTo>
                  <a:lnTo>
                    <a:pt x="424" y="442"/>
                  </a:lnTo>
                  <a:lnTo>
                    <a:pt x="430" y="438"/>
                  </a:lnTo>
                  <a:lnTo>
                    <a:pt x="436" y="432"/>
                  </a:lnTo>
                  <a:lnTo>
                    <a:pt x="442" y="428"/>
                  </a:lnTo>
                  <a:lnTo>
                    <a:pt x="448" y="424"/>
                  </a:lnTo>
                  <a:lnTo>
                    <a:pt x="454" y="422"/>
                  </a:lnTo>
                  <a:lnTo>
                    <a:pt x="456" y="420"/>
                  </a:lnTo>
                  <a:lnTo>
                    <a:pt x="456" y="420"/>
                  </a:lnTo>
                  <a:lnTo>
                    <a:pt x="458" y="420"/>
                  </a:lnTo>
                  <a:lnTo>
                    <a:pt x="458" y="420"/>
                  </a:lnTo>
                  <a:lnTo>
                    <a:pt x="460" y="422"/>
                  </a:lnTo>
                  <a:lnTo>
                    <a:pt x="460" y="422"/>
                  </a:lnTo>
                  <a:lnTo>
                    <a:pt x="460" y="422"/>
                  </a:lnTo>
                  <a:lnTo>
                    <a:pt x="462" y="422"/>
                  </a:lnTo>
                  <a:lnTo>
                    <a:pt x="462" y="422"/>
                  </a:lnTo>
                  <a:lnTo>
                    <a:pt x="462" y="424"/>
                  </a:lnTo>
                  <a:lnTo>
                    <a:pt x="464" y="424"/>
                  </a:lnTo>
                  <a:lnTo>
                    <a:pt x="464" y="424"/>
                  </a:lnTo>
                  <a:lnTo>
                    <a:pt x="468" y="424"/>
                  </a:lnTo>
                  <a:lnTo>
                    <a:pt x="472" y="424"/>
                  </a:lnTo>
                  <a:lnTo>
                    <a:pt x="474" y="422"/>
                  </a:lnTo>
                  <a:lnTo>
                    <a:pt x="474" y="422"/>
                  </a:lnTo>
                  <a:lnTo>
                    <a:pt x="476" y="422"/>
                  </a:lnTo>
                  <a:lnTo>
                    <a:pt x="478" y="422"/>
                  </a:lnTo>
                  <a:lnTo>
                    <a:pt x="478" y="422"/>
                  </a:lnTo>
                  <a:lnTo>
                    <a:pt x="478" y="422"/>
                  </a:lnTo>
                  <a:lnTo>
                    <a:pt x="480" y="420"/>
                  </a:lnTo>
                  <a:lnTo>
                    <a:pt x="482" y="420"/>
                  </a:lnTo>
                  <a:lnTo>
                    <a:pt x="484" y="418"/>
                  </a:lnTo>
                  <a:lnTo>
                    <a:pt x="488" y="414"/>
                  </a:lnTo>
                  <a:lnTo>
                    <a:pt x="492" y="410"/>
                  </a:lnTo>
                  <a:lnTo>
                    <a:pt x="492" y="408"/>
                  </a:lnTo>
                  <a:lnTo>
                    <a:pt x="494" y="406"/>
                  </a:lnTo>
                  <a:lnTo>
                    <a:pt x="494" y="406"/>
                  </a:lnTo>
                  <a:lnTo>
                    <a:pt x="496" y="406"/>
                  </a:lnTo>
                  <a:lnTo>
                    <a:pt x="496" y="406"/>
                  </a:lnTo>
                  <a:lnTo>
                    <a:pt x="496" y="406"/>
                  </a:lnTo>
                  <a:lnTo>
                    <a:pt x="498" y="406"/>
                  </a:lnTo>
                  <a:lnTo>
                    <a:pt x="500" y="404"/>
                  </a:lnTo>
                  <a:lnTo>
                    <a:pt x="502" y="404"/>
                  </a:lnTo>
                  <a:lnTo>
                    <a:pt x="506" y="402"/>
                  </a:lnTo>
                  <a:lnTo>
                    <a:pt x="510" y="400"/>
                  </a:lnTo>
                  <a:lnTo>
                    <a:pt x="512" y="400"/>
                  </a:lnTo>
                  <a:lnTo>
                    <a:pt x="512" y="400"/>
                  </a:lnTo>
                  <a:lnTo>
                    <a:pt x="512" y="400"/>
                  </a:lnTo>
                  <a:lnTo>
                    <a:pt x="512" y="404"/>
                  </a:lnTo>
                  <a:lnTo>
                    <a:pt x="510" y="408"/>
                  </a:lnTo>
                  <a:lnTo>
                    <a:pt x="510" y="410"/>
                  </a:lnTo>
                  <a:lnTo>
                    <a:pt x="510" y="414"/>
                  </a:lnTo>
                  <a:lnTo>
                    <a:pt x="510" y="414"/>
                  </a:lnTo>
                  <a:lnTo>
                    <a:pt x="510" y="414"/>
                  </a:lnTo>
                  <a:lnTo>
                    <a:pt x="510" y="418"/>
                  </a:lnTo>
                  <a:lnTo>
                    <a:pt x="510" y="418"/>
                  </a:lnTo>
                  <a:lnTo>
                    <a:pt x="510" y="418"/>
                  </a:lnTo>
                  <a:lnTo>
                    <a:pt x="512" y="420"/>
                  </a:lnTo>
                  <a:lnTo>
                    <a:pt x="512" y="420"/>
                  </a:lnTo>
                  <a:lnTo>
                    <a:pt x="514" y="422"/>
                  </a:lnTo>
                  <a:lnTo>
                    <a:pt x="516" y="422"/>
                  </a:lnTo>
                  <a:lnTo>
                    <a:pt x="516" y="422"/>
                  </a:lnTo>
                  <a:lnTo>
                    <a:pt x="516" y="422"/>
                  </a:lnTo>
                  <a:lnTo>
                    <a:pt x="518" y="422"/>
                  </a:lnTo>
                  <a:lnTo>
                    <a:pt x="520" y="422"/>
                  </a:lnTo>
                  <a:lnTo>
                    <a:pt x="522" y="422"/>
                  </a:lnTo>
                  <a:lnTo>
                    <a:pt x="526" y="420"/>
                  </a:lnTo>
                  <a:lnTo>
                    <a:pt x="532" y="418"/>
                  </a:lnTo>
                  <a:lnTo>
                    <a:pt x="536" y="418"/>
                  </a:lnTo>
                  <a:lnTo>
                    <a:pt x="538" y="418"/>
                  </a:lnTo>
                  <a:lnTo>
                    <a:pt x="540" y="418"/>
                  </a:lnTo>
                  <a:lnTo>
                    <a:pt x="542" y="418"/>
                  </a:lnTo>
                  <a:lnTo>
                    <a:pt x="546" y="420"/>
                  </a:lnTo>
                  <a:lnTo>
                    <a:pt x="548" y="422"/>
                  </a:lnTo>
                  <a:lnTo>
                    <a:pt x="550" y="422"/>
                  </a:lnTo>
                  <a:lnTo>
                    <a:pt x="550" y="422"/>
                  </a:lnTo>
                  <a:lnTo>
                    <a:pt x="550" y="422"/>
                  </a:lnTo>
                  <a:lnTo>
                    <a:pt x="552" y="424"/>
                  </a:lnTo>
                  <a:lnTo>
                    <a:pt x="552" y="424"/>
                  </a:lnTo>
                  <a:lnTo>
                    <a:pt x="552" y="424"/>
                  </a:lnTo>
                  <a:lnTo>
                    <a:pt x="554" y="424"/>
                  </a:lnTo>
                  <a:lnTo>
                    <a:pt x="554" y="424"/>
                  </a:lnTo>
                  <a:lnTo>
                    <a:pt x="556" y="422"/>
                  </a:lnTo>
                  <a:lnTo>
                    <a:pt x="560" y="422"/>
                  </a:lnTo>
                  <a:lnTo>
                    <a:pt x="560" y="422"/>
                  </a:lnTo>
                  <a:lnTo>
                    <a:pt x="560" y="424"/>
                  </a:lnTo>
                  <a:lnTo>
                    <a:pt x="560" y="426"/>
                  </a:lnTo>
                  <a:lnTo>
                    <a:pt x="560" y="428"/>
                  </a:lnTo>
                  <a:lnTo>
                    <a:pt x="560" y="430"/>
                  </a:lnTo>
                  <a:lnTo>
                    <a:pt x="560" y="430"/>
                  </a:lnTo>
                  <a:lnTo>
                    <a:pt x="560" y="430"/>
                  </a:lnTo>
                  <a:lnTo>
                    <a:pt x="560" y="434"/>
                  </a:lnTo>
                  <a:lnTo>
                    <a:pt x="564" y="436"/>
                  </a:lnTo>
                  <a:lnTo>
                    <a:pt x="568" y="438"/>
                  </a:lnTo>
                  <a:lnTo>
                    <a:pt x="576" y="444"/>
                  </a:lnTo>
                  <a:lnTo>
                    <a:pt x="578" y="448"/>
                  </a:lnTo>
                  <a:lnTo>
                    <a:pt x="582" y="452"/>
                  </a:lnTo>
                  <a:lnTo>
                    <a:pt x="584" y="456"/>
                  </a:lnTo>
                  <a:lnTo>
                    <a:pt x="586" y="458"/>
                  </a:lnTo>
                  <a:lnTo>
                    <a:pt x="586" y="458"/>
                  </a:lnTo>
                  <a:lnTo>
                    <a:pt x="588" y="460"/>
                  </a:lnTo>
                  <a:lnTo>
                    <a:pt x="590" y="462"/>
                  </a:lnTo>
                  <a:lnTo>
                    <a:pt x="590" y="462"/>
                  </a:lnTo>
                  <a:lnTo>
                    <a:pt x="592" y="464"/>
                  </a:lnTo>
                  <a:lnTo>
                    <a:pt x="594" y="466"/>
                  </a:lnTo>
                  <a:lnTo>
                    <a:pt x="594" y="466"/>
                  </a:lnTo>
                  <a:lnTo>
                    <a:pt x="598" y="466"/>
                  </a:lnTo>
                  <a:lnTo>
                    <a:pt x="600" y="466"/>
                  </a:lnTo>
                  <a:lnTo>
                    <a:pt x="600" y="466"/>
                  </a:lnTo>
                  <a:lnTo>
                    <a:pt x="600" y="466"/>
                  </a:lnTo>
                  <a:lnTo>
                    <a:pt x="598" y="468"/>
                  </a:lnTo>
                  <a:lnTo>
                    <a:pt x="598" y="470"/>
                  </a:lnTo>
                  <a:lnTo>
                    <a:pt x="598" y="470"/>
                  </a:lnTo>
                  <a:lnTo>
                    <a:pt x="598" y="470"/>
                  </a:lnTo>
                  <a:lnTo>
                    <a:pt x="598" y="474"/>
                  </a:lnTo>
                  <a:lnTo>
                    <a:pt x="600" y="478"/>
                  </a:lnTo>
                  <a:lnTo>
                    <a:pt x="600" y="478"/>
                  </a:lnTo>
                  <a:lnTo>
                    <a:pt x="602" y="478"/>
                  </a:lnTo>
                  <a:lnTo>
                    <a:pt x="602" y="480"/>
                  </a:lnTo>
                  <a:lnTo>
                    <a:pt x="604" y="482"/>
                  </a:lnTo>
                  <a:lnTo>
                    <a:pt x="606" y="486"/>
                  </a:lnTo>
                  <a:lnTo>
                    <a:pt x="606" y="486"/>
                  </a:lnTo>
                  <a:lnTo>
                    <a:pt x="606" y="486"/>
                  </a:lnTo>
                  <a:lnTo>
                    <a:pt x="610" y="490"/>
                  </a:lnTo>
                  <a:lnTo>
                    <a:pt x="612" y="494"/>
                  </a:lnTo>
                  <a:lnTo>
                    <a:pt x="614" y="498"/>
                  </a:lnTo>
                  <a:lnTo>
                    <a:pt x="614" y="502"/>
                  </a:lnTo>
                  <a:lnTo>
                    <a:pt x="614" y="502"/>
                  </a:lnTo>
                  <a:lnTo>
                    <a:pt x="614" y="504"/>
                  </a:lnTo>
                  <a:lnTo>
                    <a:pt x="614" y="504"/>
                  </a:lnTo>
                  <a:lnTo>
                    <a:pt x="614" y="504"/>
                  </a:lnTo>
                  <a:lnTo>
                    <a:pt x="616" y="508"/>
                  </a:lnTo>
                  <a:lnTo>
                    <a:pt x="618" y="508"/>
                  </a:lnTo>
                  <a:lnTo>
                    <a:pt x="618" y="508"/>
                  </a:lnTo>
                  <a:lnTo>
                    <a:pt x="618" y="508"/>
                  </a:lnTo>
                  <a:lnTo>
                    <a:pt x="618" y="510"/>
                  </a:lnTo>
                  <a:lnTo>
                    <a:pt x="618" y="510"/>
                  </a:lnTo>
                  <a:lnTo>
                    <a:pt x="620" y="510"/>
                  </a:lnTo>
                  <a:lnTo>
                    <a:pt x="620" y="510"/>
                  </a:lnTo>
                  <a:lnTo>
                    <a:pt x="620" y="510"/>
                  </a:lnTo>
                  <a:lnTo>
                    <a:pt x="622" y="510"/>
                  </a:lnTo>
                  <a:lnTo>
                    <a:pt x="622" y="510"/>
                  </a:lnTo>
                  <a:lnTo>
                    <a:pt x="622" y="510"/>
                  </a:lnTo>
                  <a:lnTo>
                    <a:pt x="624" y="510"/>
                  </a:lnTo>
                  <a:lnTo>
                    <a:pt x="624" y="510"/>
                  </a:lnTo>
                  <a:lnTo>
                    <a:pt x="624" y="510"/>
                  </a:lnTo>
                  <a:lnTo>
                    <a:pt x="626" y="508"/>
                  </a:lnTo>
                  <a:lnTo>
                    <a:pt x="626" y="508"/>
                  </a:lnTo>
                  <a:lnTo>
                    <a:pt x="626" y="508"/>
                  </a:lnTo>
                  <a:lnTo>
                    <a:pt x="626" y="506"/>
                  </a:lnTo>
                  <a:lnTo>
                    <a:pt x="628" y="504"/>
                  </a:lnTo>
                  <a:lnTo>
                    <a:pt x="628" y="504"/>
                  </a:lnTo>
                  <a:lnTo>
                    <a:pt x="628" y="502"/>
                  </a:lnTo>
                  <a:lnTo>
                    <a:pt x="628" y="500"/>
                  </a:lnTo>
                  <a:lnTo>
                    <a:pt x="628" y="500"/>
                  </a:lnTo>
                  <a:lnTo>
                    <a:pt x="628" y="498"/>
                  </a:lnTo>
                  <a:lnTo>
                    <a:pt x="626" y="496"/>
                  </a:lnTo>
                  <a:lnTo>
                    <a:pt x="626" y="494"/>
                  </a:lnTo>
                  <a:lnTo>
                    <a:pt x="624" y="492"/>
                  </a:lnTo>
                  <a:lnTo>
                    <a:pt x="624" y="490"/>
                  </a:lnTo>
                  <a:lnTo>
                    <a:pt x="626" y="490"/>
                  </a:lnTo>
                  <a:lnTo>
                    <a:pt x="626" y="490"/>
                  </a:lnTo>
                  <a:lnTo>
                    <a:pt x="628" y="490"/>
                  </a:lnTo>
                  <a:lnTo>
                    <a:pt x="630" y="490"/>
                  </a:lnTo>
                  <a:lnTo>
                    <a:pt x="630" y="490"/>
                  </a:lnTo>
                  <a:lnTo>
                    <a:pt x="630" y="488"/>
                  </a:lnTo>
                  <a:lnTo>
                    <a:pt x="632" y="486"/>
                  </a:lnTo>
                  <a:lnTo>
                    <a:pt x="632" y="486"/>
                  </a:lnTo>
                  <a:lnTo>
                    <a:pt x="632" y="484"/>
                  </a:lnTo>
                  <a:lnTo>
                    <a:pt x="632" y="482"/>
                  </a:lnTo>
                  <a:lnTo>
                    <a:pt x="632" y="482"/>
                  </a:lnTo>
                  <a:lnTo>
                    <a:pt x="632" y="482"/>
                  </a:lnTo>
                  <a:lnTo>
                    <a:pt x="632" y="480"/>
                  </a:lnTo>
                  <a:lnTo>
                    <a:pt x="630" y="478"/>
                  </a:lnTo>
                  <a:lnTo>
                    <a:pt x="630" y="474"/>
                  </a:lnTo>
                  <a:lnTo>
                    <a:pt x="630" y="472"/>
                  </a:lnTo>
                  <a:lnTo>
                    <a:pt x="630" y="470"/>
                  </a:lnTo>
                  <a:lnTo>
                    <a:pt x="630" y="472"/>
                  </a:lnTo>
                  <a:lnTo>
                    <a:pt x="632" y="472"/>
                  </a:lnTo>
                  <a:lnTo>
                    <a:pt x="634" y="476"/>
                  </a:lnTo>
                  <a:lnTo>
                    <a:pt x="634" y="482"/>
                  </a:lnTo>
                  <a:lnTo>
                    <a:pt x="636" y="488"/>
                  </a:lnTo>
                  <a:lnTo>
                    <a:pt x="636" y="488"/>
                  </a:lnTo>
                  <a:lnTo>
                    <a:pt x="638" y="490"/>
                  </a:lnTo>
                  <a:lnTo>
                    <a:pt x="640" y="490"/>
                  </a:lnTo>
                  <a:lnTo>
                    <a:pt x="644" y="492"/>
                  </a:lnTo>
                  <a:lnTo>
                    <a:pt x="644" y="494"/>
                  </a:lnTo>
                  <a:lnTo>
                    <a:pt x="644" y="494"/>
                  </a:lnTo>
                  <a:lnTo>
                    <a:pt x="644" y="492"/>
                  </a:lnTo>
                  <a:lnTo>
                    <a:pt x="640" y="492"/>
                  </a:lnTo>
                  <a:lnTo>
                    <a:pt x="638" y="492"/>
                  </a:lnTo>
                  <a:lnTo>
                    <a:pt x="638" y="492"/>
                  </a:lnTo>
                  <a:lnTo>
                    <a:pt x="638" y="492"/>
                  </a:lnTo>
                  <a:lnTo>
                    <a:pt x="634" y="492"/>
                  </a:lnTo>
                  <a:lnTo>
                    <a:pt x="634" y="492"/>
                  </a:lnTo>
                  <a:lnTo>
                    <a:pt x="634" y="492"/>
                  </a:lnTo>
                  <a:lnTo>
                    <a:pt x="632" y="492"/>
                  </a:lnTo>
                  <a:lnTo>
                    <a:pt x="632" y="492"/>
                  </a:lnTo>
                  <a:lnTo>
                    <a:pt x="632" y="492"/>
                  </a:lnTo>
                  <a:lnTo>
                    <a:pt x="630" y="494"/>
                  </a:lnTo>
                  <a:lnTo>
                    <a:pt x="630" y="494"/>
                  </a:lnTo>
                  <a:lnTo>
                    <a:pt x="630" y="494"/>
                  </a:lnTo>
                  <a:lnTo>
                    <a:pt x="628" y="496"/>
                  </a:lnTo>
                  <a:lnTo>
                    <a:pt x="628" y="496"/>
                  </a:lnTo>
                  <a:lnTo>
                    <a:pt x="628" y="496"/>
                  </a:lnTo>
                  <a:lnTo>
                    <a:pt x="628" y="498"/>
                  </a:lnTo>
                  <a:lnTo>
                    <a:pt x="628" y="498"/>
                  </a:lnTo>
                  <a:lnTo>
                    <a:pt x="628" y="498"/>
                  </a:lnTo>
                  <a:lnTo>
                    <a:pt x="628" y="500"/>
                  </a:lnTo>
                  <a:lnTo>
                    <a:pt x="630" y="504"/>
                  </a:lnTo>
                  <a:lnTo>
                    <a:pt x="630" y="504"/>
                  </a:lnTo>
                  <a:lnTo>
                    <a:pt x="632" y="506"/>
                  </a:lnTo>
                  <a:lnTo>
                    <a:pt x="632" y="506"/>
                  </a:lnTo>
                  <a:lnTo>
                    <a:pt x="634" y="506"/>
                  </a:lnTo>
                  <a:lnTo>
                    <a:pt x="634" y="508"/>
                  </a:lnTo>
                  <a:lnTo>
                    <a:pt x="636" y="508"/>
                  </a:lnTo>
                  <a:lnTo>
                    <a:pt x="640" y="508"/>
                  </a:lnTo>
                  <a:lnTo>
                    <a:pt x="642" y="510"/>
                  </a:lnTo>
                  <a:lnTo>
                    <a:pt x="642" y="510"/>
                  </a:lnTo>
                  <a:lnTo>
                    <a:pt x="644" y="510"/>
                  </a:lnTo>
                  <a:lnTo>
                    <a:pt x="644" y="510"/>
                  </a:lnTo>
                  <a:lnTo>
                    <a:pt x="644" y="510"/>
                  </a:lnTo>
                  <a:lnTo>
                    <a:pt x="644" y="510"/>
                  </a:lnTo>
                  <a:lnTo>
                    <a:pt x="644" y="512"/>
                  </a:lnTo>
                  <a:lnTo>
                    <a:pt x="644" y="512"/>
                  </a:lnTo>
                  <a:lnTo>
                    <a:pt x="644" y="512"/>
                  </a:lnTo>
                  <a:lnTo>
                    <a:pt x="646" y="512"/>
                  </a:lnTo>
                  <a:lnTo>
                    <a:pt x="644" y="512"/>
                  </a:lnTo>
                  <a:lnTo>
                    <a:pt x="644" y="512"/>
                  </a:lnTo>
                  <a:lnTo>
                    <a:pt x="642" y="512"/>
                  </a:lnTo>
                  <a:lnTo>
                    <a:pt x="642" y="512"/>
                  </a:lnTo>
                  <a:lnTo>
                    <a:pt x="640" y="514"/>
                  </a:lnTo>
                  <a:lnTo>
                    <a:pt x="640" y="518"/>
                  </a:lnTo>
                  <a:lnTo>
                    <a:pt x="640" y="520"/>
                  </a:lnTo>
                  <a:lnTo>
                    <a:pt x="640" y="522"/>
                  </a:lnTo>
                  <a:lnTo>
                    <a:pt x="640" y="524"/>
                  </a:lnTo>
                  <a:lnTo>
                    <a:pt x="640" y="528"/>
                  </a:lnTo>
                  <a:lnTo>
                    <a:pt x="640" y="530"/>
                  </a:lnTo>
                  <a:lnTo>
                    <a:pt x="640" y="530"/>
                  </a:lnTo>
                  <a:lnTo>
                    <a:pt x="640" y="532"/>
                  </a:lnTo>
                  <a:lnTo>
                    <a:pt x="640" y="534"/>
                  </a:lnTo>
                  <a:lnTo>
                    <a:pt x="640" y="536"/>
                  </a:lnTo>
                  <a:lnTo>
                    <a:pt x="640" y="538"/>
                  </a:lnTo>
                  <a:lnTo>
                    <a:pt x="642" y="540"/>
                  </a:lnTo>
                  <a:lnTo>
                    <a:pt x="642" y="540"/>
                  </a:lnTo>
                  <a:lnTo>
                    <a:pt x="642" y="542"/>
                  </a:lnTo>
                  <a:lnTo>
                    <a:pt x="644" y="544"/>
                  </a:lnTo>
                  <a:lnTo>
                    <a:pt x="644" y="544"/>
                  </a:lnTo>
                  <a:lnTo>
                    <a:pt x="644" y="544"/>
                  </a:lnTo>
                  <a:lnTo>
                    <a:pt x="646" y="546"/>
                  </a:lnTo>
                  <a:lnTo>
                    <a:pt x="646" y="546"/>
                  </a:lnTo>
                  <a:lnTo>
                    <a:pt x="646" y="546"/>
                  </a:lnTo>
                  <a:lnTo>
                    <a:pt x="648" y="548"/>
                  </a:lnTo>
                  <a:lnTo>
                    <a:pt x="648" y="548"/>
                  </a:lnTo>
                  <a:lnTo>
                    <a:pt x="648" y="548"/>
                  </a:lnTo>
                  <a:lnTo>
                    <a:pt x="650" y="548"/>
                  </a:lnTo>
                  <a:lnTo>
                    <a:pt x="650" y="548"/>
                  </a:lnTo>
                  <a:lnTo>
                    <a:pt x="652" y="548"/>
                  </a:lnTo>
                  <a:lnTo>
                    <a:pt x="654" y="546"/>
                  </a:lnTo>
                  <a:lnTo>
                    <a:pt x="656" y="546"/>
                  </a:lnTo>
                  <a:lnTo>
                    <a:pt x="656" y="546"/>
                  </a:lnTo>
                  <a:lnTo>
                    <a:pt x="658" y="544"/>
                  </a:lnTo>
                  <a:lnTo>
                    <a:pt x="662" y="542"/>
                  </a:lnTo>
                  <a:lnTo>
                    <a:pt x="664" y="542"/>
                  </a:lnTo>
                  <a:lnTo>
                    <a:pt x="666" y="540"/>
                  </a:lnTo>
                  <a:lnTo>
                    <a:pt x="668" y="540"/>
                  </a:lnTo>
                  <a:lnTo>
                    <a:pt x="668" y="540"/>
                  </a:lnTo>
                  <a:lnTo>
                    <a:pt x="670" y="542"/>
                  </a:lnTo>
                  <a:lnTo>
                    <a:pt x="672" y="542"/>
                  </a:lnTo>
                  <a:lnTo>
                    <a:pt x="672" y="542"/>
                  </a:lnTo>
                  <a:lnTo>
                    <a:pt x="674" y="542"/>
                  </a:lnTo>
                  <a:lnTo>
                    <a:pt x="674" y="542"/>
                  </a:lnTo>
                  <a:lnTo>
                    <a:pt x="674" y="542"/>
                  </a:lnTo>
                  <a:lnTo>
                    <a:pt x="676" y="542"/>
                  </a:lnTo>
                  <a:lnTo>
                    <a:pt x="678" y="544"/>
                  </a:lnTo>
                  <a:lnTo>
                    <a:pt x="678" y="544"/>
                  </a:lnTo>
                  <a:lnTo>
                    <a:pt x="678" y="544"/>
                  </a:lnTo>
                  <a:lnTo>
                    <a:pt x="680" y="546"/>
                  </a:lnTo>
                  <a:lnTo>
                    <a:pt x="680" y="546"/>
                  </a:lnTo>
                  <a:lnTo>
                    <a:pt x="682" y="546"/>
                  </a:lnTo>
                  <a:lnTo>
                    <a:pt x="682" y="546"/>
                  </a:lnTo>
                  <a:lnTo>
                    <a:pt x="682" y="546"/>
                  </a:lnTo>
                  <a:lnTo>
                    <a:pt x="684" y="544"/>
                  </a:lnTo>
                  <a:lnTo>
                    <a:pt x="686" y="544"/>
                  </a:lnTo>
                  <a:lnTo>
                    <a:pt x="686" y="544"/>
                  </a:lnTo>
                  <a:lnTo>
                    <a:pt x="686" y="542"/>
                  </a:lnTo>
                  <a:lnTo>
                    <a:pt x="686" y="540"/>
                  </a:lnTo>
                  <a:lnTo>
                    <a:pt x="688" y="538"/>
                  </a:lnTo>
                  <a:lnTo>
                    <a:pt x="688" y="534"/>
                  </a:lnTo>
                  <a:lnTo>
                    <a:pt x="688" y="530"/>
                  </a:lnTo>
                  <a:lnTo>
                    <a:pt x="688" y="524"/>
                  </a:lnTo>
                  <a:lnTo>
                    <a:pt x="688" y="520"/>
                  </a:lnTo>
                  <a:lnTo>
                    <a:pt x="688" y="520"/>
                  </a:lnTo>
                  <a:lnTo>
                    <a:pt x="688" y="520"/>
                  </a:lnTo>
                  <a:lnTo>
                    <a:pt x="688" y="518"/>
                  </a:lnTo>
                  <a:lnTo>
                    <a:pt x="688" y="518"/>
                  </a:lnTo>
                  <a:lnTo>
                    <a:pt x="688" y="518"/>
                  </a:lnTo>
                  <a:lnTo>
                    <a:pt x="688" y="518"/>
                  </a:lnTo>
                  <a:close/>
                  <a:moveTo>
                    <a:pt x="294" y="54"/>
                  </a:moveTo>
                  <a:lnTo>
                    <a:pt x="294" y="54"/>
                  </a:lnTo>
                  <a:lnTo>
                    <a:pt x="294" y="54"/>
                  </a:lnTo>
                  <a:lnTo>
                    <a:pt x="294" y="54"/>
                  </a:lnTo>
                  <a:close/>
                  <a:moveTo>
                    <a:pt x="606" y="460"/>
                  </a:moveTo>
                  <a:lnTo>
                    <a:pt x="604" y="462"/>
                  </a:lnTo>
                  <a:lnTo>
                    <a:pt x="604" y="462"/>
                  </a:lnTo>
                  <a:lnTo>
                    <a:pt x="604" y="462"/>
                  </a:lnTo>
                  <a:lnTo>
                    <a:pt x="604" y="462"/>
                  </a:lnTo>
                  <a:lnTo>
                    <a:pt x="604" y="460"/>
                  </a:lnTo>
                  <a:lnTo>
                    <a:pt x="604" y="458"/>
                  </a:lnTo>
                  <a:lnTo>
                    <a:pt x="604" y="458"/>
                  </a:lnTo>
                  <a:lnTo>
                    <a:pt x="606" y="458"/>
                  </a:lnTo>
                  <a:lnTo>
                    <a:pt x="608" y="460"/>
                  </a:lnTo>
                  <a:lnTo>
                    <a:pt x="606" y="460"/>
                  </a:lnTo>
                  <a:close/>
                  <a:moveTo>
                    <a:pt x="654" y="516"/>
                  </a:moveTo>
                  <a:lnTo>
                    <a:pt x="654" y="516"/>
                  </a:lnTo>
                  <a:lnTo>
                    <a:pt x="652" y="516"/>
                  </a:lnTo>
                  <a:lnTo>
                    <a:pt x="650" y="514"/>
                  </a:lnTo>
                  <a:lnTo>
                    <a:pt x="648" y="514"/>
                  </a:lnTo>
                  <a:lnTo>
                    <a:pt x="648" y="514"/>
                  </a:lnTo>
                  <a:lnTo>
                    <a:pt x="648" y="514"/>
                  </a:lnTo>
                  <a:lnTo>
                    <a:pt x="650" y="514"/>
                  </a:lnTo>
                  <a:lnTo>
                    <a:pt x="650" y="514"/>
                  </a:lnTo>
                  <a:lnTo>
                    <a:pt x="650" y="514"/>
                  </a:lnTo>
                  <a:lnTo>
                    <a:pt x="650" y="514"/>
                  </a:lnTo>
                  <a:lnTo>
                    <a:pt x="652" y="514"/>
                  </a:lnTo>
                  <a:lnTo>
                    <a:pt x="654" y="516"/>
                  </a:lnTo>
                  <a:lnTo>
                    <a:pt x="654" y="516"/>
                  </a:lnTo>
                  <a:lnTo>
                    <a:pt x="654" y="516"/>
                  </a:lnTo>
                  <a:close/>
                </a:path>
              </a:pathLst>
            </a:custGeom>
            <a:solidFill>
              <a:schemeClr val="accent1"/>
            </a:solidFill>
            <a:ln w="9525" cap="flat" cmpd="sng">
              <a:solidFill>
                <a:schemeClr val="bg1"/>
              </a:solidFill>
              <a:prstDash val="solid"/>
              <a:round/>
              <a:headEnd type="none" w="med" len="med"/>
              <a:tailEnd type="none" w="med" len="med"/>
            </a:ln>
            <a:effectLst/>
            <a:extLst/>
          </p:spPr>
          <p:txBody>
            <a:bodyPr>
              <a:noAutofit/>
            </a:bodyPr>
            <a:lstStyle/>
            <a:p>
              <a:pPr fontAlgn="auto">
                <a:spcBef>
                  <a:spcPts val="0"/>
                </a:spcBef>
                <a:spcAft>
                  <a:spcPts val="0"/>
                </a:spcAft>
                <a:defRPr/>
              </a:pPr>
              <a:endParaRPr lang="en-US" kern="0">
                <a:solidFill>
                  <a:sysClr val="windowText" lastClr="000000"/>
                </a:solidFill>
              </a:endParaRPr>
            </a:p>
          </p:txBody>
        </p:sp>
        <p:sp>
          <p:nvSpPr>
            <p:cNvPr id="507" name="Freeform 24"/>
            <p:cNvSpPr>
              <a:spLocks/>
            </p:cNvSpPr>
            <p:nvPr>
              <p:custDataLst>
                <p:tags r:id="rId178"/>
              </p:custDataLst>
            </p:nvPr>
          </p:nvSpPr>
          <p:spPr bwMode="gray">
            <a:xfrm>
              <a:off x="1480328" y="2808439"/>
              <a:ext cx="214782" cy="488212"/>
            </a:xfrm>
            <a:custGeom>
              <a:avLst/>
              <a:gdLst/>
              <a:ahLst/>
              <a:cxnLst/>
              <a:rect l="l" t="t" r="r" b="b"/>
              <a:pathLst>
                <a:path w="426179" h="1007062">
                  <a:moveTo>
                    <a:pt x="295614" y="854662"/>
                  </a:moveTo>
                  <a:cubicBezTo>
                    <a:pt x="328952" y="856209"/>
                    <a:pt x="348002" y="856209"/>
                    <a:pt x="376577" y="862396"/>
                  </a:cubicBezTo>
                  <a:cubicBezTo>
                    <a:pt x="371815" y="876317"/>
                    <a:pt x="363877" y="879411"/>
                    <a:pt x="349590" y="882505"/>
                  </a:cubicBezTo>
                  <a:cubicBezTo>
                    <a:pt x="341652" y="896426"/>
                    <a:pt x="336890" y="897973"/>
                    <a:pt x="321014" y="901066"/>
                  </a:cubicBezTo>
                  <a:cubicBezTo>
                    <a:pt x="303552" y="914987"/>
                    <a:pt x="297202" y="897973"/>
                    <a:pt x="278152" y="894879"/>
                  </a:cubicBezTo>
                  <a:cubicBezTo>
                    <a:pt x="270214" y="882505"/>
                    <a:pt x="274977" y="874771"/>
                    <a:pt x="287677" y="868583"/>
                  </a:cubicBezTo>
                  <a:cubicBezTo>
                    <a:pt x="294027" y="860849"/>
                    <a:pt x="290852" y="865490"/>
                    <a:pt x="295614" y="854662"/>
                  </a:cubicBezTo>
                  <a:close/>
                  <a:moveTo>
                    <a:pt x="167429" y="363"/>
                  </a:moveTo>
                  <a:cubicBezTo>
                    <a:pt x="170608" y="1534"/>
                    <a:pt x="180528" y="5044"/>
                    <a:pt x="225759" y="3518"/>
                  </a:cubicBezTo>
                  <a:cubicBezTo>
                    <a:pt x="233704" y="8199"/>
                    <a:pt x="252747" y="9725"/>
                    <a:pt x="259094" y="17561"/>
                  </a:cubicBezTo>
                  <a:cubicBezTo>
                    <a:pt x="274984" y="23768"/>
                    <a:pt x="306722" y="40863"/>
                    <a:pt x="314667" y="53380"/>
                  </a:cubicBezTo>
                  <a:cubicBezTo>
                    <a:pt x="333709" y="67422"/>
                    <a:pt x="349599" y="78310"/>
                    <a:pt x="363892" y="97034"/>
                  </a:cubicBezTo>
                  <a:cubicBezTo>
                    <a:pt x="362294" y="106396"/>
                    <a:pt x="359099" y="110975"/>
                    <a:pt x="354349" y="118810"/>
                  </a:cubicBezTo>
                  <a:cubicBezTo>
                    <a:pt x="359099" y="126646"/>
                    <a:pt x="362294" y="129699"/>
                    <a:pt x="371794" y="132853"/>
                  </a:cubicBezTo>
                  <a:cubicBezTo>
                    <a:pt x="386086" y="134380"/>
                    <a:pt x="408324" y="140587"/>
                    <a:pt x="421019" y="134380"/>
                  </a:cubicBezTo>
                  <a:cubicBezTo>
                    <a:pt x="428964" y="137534"/>
                    <a:pt x="425769" y="145268"/>
                    <a:pt x="424214" y="151577"/>
                  </a:cubicBezTo>
                  <a:cubicBezTo>
                    <a:pt x="414671" y="156258"/>
                    <a:pt x="411519" y="160939"/>
                    <a:pt x="406726" y="170199"/>
                  </a:cubicBezTo>
                  <a:cubicBezTo>
                    <a:pt x="398781" y="176508"/>
                    <a:pt x="395629" y="181189"/>
                    <a:pt x="390879" y="188922"/>
                  </a:cubicBezTo>
                  <a:cubicBezTo>
                    <a:pt x="381336" y="196758"/>
                    <a:pt x="374989" y="206119"/>
                    <a:pt x="368642" y="217008"/>
                  </a:cubicBezTo>
                  <a:cubicBezTo>
                    <a:pt x="344806" y="234103"/>
                    <a:pt x="354349" y="287119"/>
                    <a:pt x="354349" y="302688"/>
                  </a:cubicBezTo>
                  <a:cubicBezTo>
                    <a:pt x="357544" y="316731"/>
                    <a:pt x="360696" y="327619"/>
                    <a:pt x="367044" y="340136"/>
                  </a:cubicBezTo>
                  <a:cubicBezTo>
                    <a:pt x="387684" y="355705"/>
                    <a:pt x="382934" y="358757"/>
                    <a:pt x="387684" y="386843"/>
                  </a:cubicBezTo>
                  <a:cubicBezTo>
                    <a:pt x="386086" y="397731"/>
                    <a:pt x="378184" y="397731"/>
                    <a:pt x="376587" y="408619"/>
                  </a:cubicBezTo>
                  <a:cubicBezTo>
                    <a:pt x="367044" y="427343"/>
                    <a:pt x="352751" y="446066"/>
                    <a:pt x="333709" y="455428"/>
                  </a:cubicBezTo>
                  <a:cubicBezTo>
                    <a:pt x="325764" y="456955"/>
                    <a:pt x="270234" y="469471"/>
                    <a:pt x="268637" y="470997"/>
                  </a:cubicBezTo>
                  <a:cubicBezTo>
                    <a:pt x="257496" y="478833"/>
                    <a:pt x="260692" y="494402"/>
                    <a:pt x="257496" y="506816"/>
                  </a:cubicBezTo>
                  <a:cubicBezTo>
                    <a:pt x="246399" y="508445"/>
                    <a:pt x="244801" y="513024"/>
                    <a:pt x="240052" y="522385"/>
                  </a:cubicBezTo>
                  <a:cubicBezTo>
                    <a:pt x="190827" y="525540"/>
                    <a:pt x="190827" y="519333"/>
                    <a:pt x="197174" y="553625"/>
                  </a:cubicBezTo>
                  <a:cubicBezTo>
                    <a:pt x="217814" y="555152"/>
                    <a:pt x="228954" y="559833"/>
                    <a:pt x="224161" y="581609"/>
                  </a:cubicBezTo>
                  <a:cubicBezTo>
                    <a:pt x="198772" y="583237"/>
                    <a:pt x="187674" y="580083"/>
                    <a:pt x="192424" y="606540"/>
                  </a:cubicBezTo>
                  <a:cubicBezTo>
                    <a:pt x="190827" y="617530"/>
                    <a:pt x="187674" y="623737"/>
                    <a:pt x="182881" y="633099"/>
                  </a:cubicBezTo>
                  <a:cubicBezTo>
                    <a:pt x="171784" y="640833"/>
                    <a:pt x="173382" y="650194"/>
                    <a:pt x="168632" y="661083"/>
                  </a:cubicBezTo>
                  <a:cubicBezTo>
                    <a:pt x="136852" y="662711"/>
                    <a:pt x="136852" y="658030"/>
                    <a:pt x="133700" y="686013"/>
                  </a:cubicBezTo>
                  <a:cubicBezTo>
                    <a:pt x="140047" y="695375"/>
                    <a:pt x="144797" y="706263"/>
                    <a:pt x="154340" y="712572"/>
                  </a:cubicBezTo>
                  <a:cubicBezTo>
                    <a:pt x="173382" y="715625"/>
                    <a:pt x="171784" y="723461"/>
                    <a:pt x="176534" y="740556"/>
                  </a:cubicBezTo>
                  <a:cubicBezTo>
                    <a:pt x="171784" y="746865"/>
                    <a:pt x="170187" y="754599"/>
                    <a:pt x="163839" y="760806"/>
                  </a:cubicBezTo>
                  <a:cubicBezTo>
                    <a:pt x="149547" y="774849"/>
                    <a:pt x="138449" y="776477"/>
                    <a:pt x="133700" y="796727"/>
                  </a:cubicBezTo>
                  <a:cubicBezTo>
                    <a:pt x="140047" y="806089"/>
                    <a:pt x="141645" y="810668"/>
                    <a:pt x="135297" y="820030"/>
                  </a:cubicBezTo>
                  <a:cubicBezTo>
                    <a:pt x="100365" y="821658"/>
                    <a:pt x="105114" y="823184"/>
                    <a:pt x="101919" y="859003"/>
                  </a:cubicBezTo>
                  <a:cubicBezTo>
                    <a:pt x="105114" y="866839"/>
                    <a:pt x="109864" y="871520"/>
                    <a:pt x="111462" y="880881"/>
                  </a:cubicBezTo>
                  <a:cubicBezTo>
                    <a:pt x="124157" y="897977"/>
                    <a:pt x="119407" y="910493"/>
                    <a:pt x="121005" y="933796"/>
                  </a:cubicBezTo>
                  <a:cubicBezTo>
                    <a:pt x="130504" y="936950"/>
                    <a:pt x="133700" y="940105"/>
                    <a:pt x="138449" y="947839"/>
                  </a:cubicBezTo>
                  <a:cubicBezTo>
                    <a:pt x="151144" y="957200"/>
                    <a:pt x="155894" y="971243"/>
                    <a:pt x="163839" y="983658"/>
                  </a:cubicBezTo>
                  <a:cubicBezTo>
                    <a:pt x="171784" y="988339"/>
                    <a:pt x="189272" y="999227"/>
                    <a:pt x="197174" y="1002381"/>
                  </a:cubicBezTo>
                  <a:lnTo>
                    <a:pt x="187674" y="1007062"/>
                  </a:lnTo>
                  <a:cubicBezTo>
                    <a:pt x="190827" y="986812"/>
                    <a:pt x="130504" y="991493"/>
                    <a:pt x="116212" y="988339"/>
                  </a:cubicBezTo>
                  <a:cubicBezTo>
                    <a:pt x="109065" y="986812"/>
                    <a:pt x="107090" y="987982"/>
                    <a:pt x="106102" y="988567"/>
                  </a:cubicBezTo>
                  <a:lnTo>
                    <a:pt x="101919" y="985286"/>
                  </a:lnTo>
                  <a:cubicBezTo>
                    <a:pt x="95572" y="977450"/>
                    <a:pt x="84474" y="955674"/>
                    <a:pt x="76529" y="943158"/>
                  </a:cubicBezTo>
                  <a:cubicBezTo>
                    <a:pt x="68584" y="930743"/>
                    <a:pt x="57487" y="921381"/>
                    <a:pt x="49542" y="913546"/>
                  </a:cubicBezTo>
                  <a:cubicBezTo>
                    <a:pt x="41597" y="905812"/>
                    <a:pt x="25750" y="904184"/>
                    <a:pt x="24152" y="894822"/>
                  </a:cubicBezTo>
                  <a:cubicBezTo>
                    <a:pt x="22554" y="885562"/>
                    <a:pt x="38445" y="866839"/>
                    <a:pt x="35249" y="854322"/>
                  </a:cubicBezTo>
                  <a:cubicBezTo>
                    <a:pt x="32097" y="841908"/>
                    <a:pt x="3512" y="835599"/>
                    <a:pt x="360" y="821658"/>
                  </a:cubicBezTo>
                  <a:cubicBezTo>
                    <a:pt x="-2836" y="807615"/>
                    <a:pt x="16207" y="790418"/>
                    <a:pt x="20957" y="773322"/>
                  </a:cubicBezTo>
                  <a:cubicBezTo>
                    <a:pt x="25750" y="756125"/>
                    <a:pt x="28902" y="742184"/>
                    <a:pt x="33695" y="718780"/>
                  </a:cubicBezTo>
                  <a:cubicBezTo>
                    <a:pt x="38445" y="695375"/>
                    <a:pt x="51139" y="656402"/>
                    <a:pt x="49542" y="629944"/>
                  </a:cubicBezTo>
                  <a:cubicBezTo>
                    <a:pt x="47944" y="603487"/>
                    <a:pt x="25750" y="578556"/>
                    <a:pt x="24152" y="559833"/>
                  </a:cubicBezTo>
                  <a:cubicBezTo>
                    <a:pt x="22554" y="541109"/>
                    <a:pt x="32097" y="538056"/>
                    <a:pt x="35249" y="520859"/>
                  </a:cubicBezTo>
                  <a:cubicBezTo>
                    <a:pt x="38445" y="503764"/>
                    <a:pt x="44792" y="481885"/>
                    <a:pt x="47944" y="460109"/>
                  </a:cubicBezTo>
                  <a:cubicBezTo>
                    <a:pt x="51139" y="438231"/>
                    <a:pt x="52737" y="411774"/>
                    <a:pt x="59085" y="389997"/>
                  </a:cubicBezTo>
                  <a:cubicBezTo>
                    <a:pt x="63834" y="377481"/>
                    <a:pt x="84474" y="341662"/>
                    <a:pt x="86072" y="324465"/>
                  </a:cubicBezTo>
                  <a:cubicBezTo>
                    <a:pt x="76529" y="302688"/>
                    <a:pt x="76529" y="270024"/>
                    <a:pt x="73377" y="244991"/>
                  </a:cubicBezTo>
                  <a:cubicBezTo>
                    <a:pt x="76529" y="218534"/>
                    <a:pt x="70182" y="185869"/>
                    <a:pt x="87670" y="165518"/>
                  </a:cubicBezTo>
                  <a:cubicBezTo>
                    <a:pt x="94017" y="149949"/>
                    <a:pt x="106712" y="154629"/>
                    <a:pt x="111462" y="146896"/>
                  </a:cubicBezTo>
                  <a:cubicBezTo>
                    <a:pt x="116212" y="139060"/>
                    <a:pt x="121005" y="128172"/>
                    <a:pt x="121005" y="118810"/>
                  </a:cubicBezTo>
                  <a:cubicBezTo>
                    <a:pt x="121005" y="109449"/>
                    <a:pt x="113060" y="101715"/>
                    <a:pt x="116212" y="90725"/>
                  </a:cubicBezTo>
                  <a:cubicBezTo>
                    <a:pt x="122559" y="76784"/>
                    <a:pt x="121005" y="67422"/>
                    <a:pt x="130504" y="54906"/>
                  </a:cubicBezTo>
                  <a:cubicBezTo>
                    <a:pt x="144797" y="51853"/>
                    <a:pt x="147992" y="23768"/>
                    <a:pt x="149547" y="11251"/>
                  </a:cubicBezTo>
                  <a:cubicBezTo>
                    <a:pt x="167812" y="363"/>
                    <a:pt x="164249" y="-807"/>
                    <a:pt x="167429" y="363"/>
                  </a:cubicBezTo>
                  <a:close/>
                </a:path>
              </a:pathLst>
            </a:custGeom>
            <a:solidFill>
              <a:schemeClr val="accent1"/>
            </a:solidFill>
            <a:ln w="9525" cap="flat" cmpd="sng">
              <a:solidFill>
                <a:schemeClr val="bg1"/>
              </a:solidFill>
              <a:prstDash val="solid"/>
              <a:round/>
              <a:headEnd type="none" w="med" len="med"/>
              <a:tailEnd type="none" w="med" len="med"/>
            </a:ln>
            <a:effectLst/>
            <a:extLst/>
          </p:spPr>
          <p:txBody>
            <a:bodyPr>
              <a:noAutofit/>
            </a:bodyPr>
            <a:lstStyle/>
            <a:p>
              <a:pPr fontAlgn="auto">
                <a:spcBef>
                  <a:spcPts val="0"/>
                </a:spcBef>
                <a:spcAft>
                  <a:spcPts val="0"/>
                </a:spcAft>
                <a:defRPr/>
              </a:pPr>
              <a:endParaRPr lang="en-CA" kern="0">
                <a:solidFill>
                  <a:sysClr val="windowText" lastClr="000000"/>
                </a:solidFill>
              </a:endParaRPr>
            </a:p>
          </p:txBody>
        </p:sp>
        <p:sp>
          <p:nvSpPr>
            <p:cNvPr id="508" name="Freeform 21"/>
            <p:cNvSpPr>
              <a:spLocks noEditPoints="1"/>
            </p:cNvSpPr>
            <p:nvPr/>
          </p:nvSpPr>
          <p:spPr bwMode="auto">
            <a:xfrm>
              <a:off x="2604772" y="1132245"/>
              <a:ext cx="2054536" cy="909672"/>
            </a:xfrm>
            <a:custGeom>
              <a:avLst/>
              <a:gdLst>
                <a:gd name="T0" fmla="*/ 550 w 2568"/>
                <a:gd name="T1" fmla="*/ 246 h 1182"/>
                <a:gd name="T2" fmla="*/ 746 w 2568"/>
                <a:gd name="T3" fmla="*/ 24 h 1182"/>
                <a:gd name="T4" fmla="*/ 602 w 2568"/>
                <a:gd name="T5" fmla="*/ 80 h 1182"/>
                <a:gd name="T6" fmla="*/ 514 w 2568"/>
                <a:gd name="T7" fmla="*/ 210 h 1182"/>
                <a:gd name="T8" fmla="*/ 0 w 2568"/>
                <a:gd name="T9" fmla="*/ 880 h 1182"/>
                <a:gd name="T10" fmla="*/ 2398 w 2568"/>
                <a:gd name="T11" fmla="*/ 330 h 1182"/>
                <a:gd name="T12" fmla="*/ 2492 w 2568"/>
                <a:gd name="T13" fmla="*/ 480 h 1182"/>
                <a:gd name="T14" fmla="*/ 2246 w 2568"/>
                <a:gd name="T15" fmla="*/ 404 h 1182"/>
                <a:gd name="T16" fmla="*/ 2142 w 2568"/>
                <a:gd name="T17" fmla="*/ 402 h 1182"/>
                <a:gd name="T18" fmla="*/ 1968 w 2568"/>
                <a:gd name="T19" fmla="*/ 284 h 1182"/>
                <a:gd name="T20" fmla="*/ 1802 w 2568"/>
                <a:gd name="T21" fmla="*/ 308 h 1182"/>
                <a:gd name="T22" fmla="*/ 1658 w 2568"/>
                <a:gd name="T23" fmla="*/ 286 h 1182"/>
                <a:gd name="T24" fmla="*/ 1562 w 2568"/>
                <a:gd name="T25" fmla="*/ 232 h 1182"/>
                <a:gd name="T26" fmla="*/ 1420 w 2568"/>
                <a:gd name="T27" fmla="*/ 182 h 1182"/>
                <a:gd name="T28" fmla="*/ 1380 w 2568"/>
                <a:gd name="T29" fmla="*/ 190 h 1182"/>
                <a:gd name="T30" fmla="*/ 1344 w 2568"/>
                <a:gd name="T31" fmla="*/ 206 h 1182"/>
                <a:gd name="T32" fmla="*/ 1386 w 2568"/>
                <a:gd name="T33" fmla="*/ 28 h 1182"/>
                <a:gd name="T34" fmla="*/ 1232 w 2568"/>
                <a:gd name="T35" fmla="*/ 36 h 1182"/>
                <a:gd name="T36" fmla="*/ 1096 w 2568"/>
                <a:gd name="T37" fmla="*/ 94 h 1182"/>
                <a:gd name="T38" fmla="*/ 928 w 2568"/>
                <a:gd name="T39" fmla="*/ 210 h 1182"/>
                <a:gd name="T40" fmla="*/ 896 w 2568"/>
                <a:gd name="T41" fmla="*/ 264 h 1182"/>
                <a:gd name="T42" fmla="*/ 838 w 2568"/>
                <a:gd name="T43" fmla="*/ 234 h 1182"/>
                <a:gd name="T44" fmla="*/ 826 w 2568"/>
                <a:gd name="T45" fmla="*/ 444 h 1182"/>
                <a:gd name="T46" fmla="*/ 796 w 2568"/>
                <a:gd name="T47" fmla="*/ 308 h 1182"/>
                <a:gd name="T48" fmla="*/ 622 w 2568"/>
                <a:gd name="T49" fmla="*/ 388 h 1182"/>
                <a:gd name="T50" fmla="*/ 534 w 2568"/>
                <a:gd name="T51" fmla="*/ 444 h 1182"/>
                <a:gd name="T52" fmla="*/ 388 w 2568"/>
                <a:gd name="T53" fmla="*/ 484 h 1182"/>
                <a:gd name="T54" fmla="*/ 328 w 2568"/>
                <a:gd name="T55" fmla="*/ 534 h 1182"/>
                <a:gd name="T56" fmla="*/ 268 w 2568"/>
                <a:gd name="T57" fmla="*/ 612 h 1182"/>
                <a:gd name="T58" fmla="*/ 324 w 2568"/>
                <a:gd name="T59" fmla="*/ 496 h 1182"/>
                <a:gd name="T60" fmla="*/ 144 w 2568"/>
                <a:gd name="T61" fmla="*/ 466 h 1182"/>
                <a:gd name="T62" fmla="*/ 136 w 2568"/>
                <a:gd name="T63" fmla="*/ 722 h 1182"/>
                <a:gd name="T64" fmla="*/ 160 w 2568"/>
                <a:gd name="T65" fmla="*/ 860 h 1182"/>
                <a:gd name="T66" fmla="*/ 282 w 2568"/>
                <a:gd name="T67" fmla="*/ 988 h 1182"/>
                <a:gd name="T68" fmla="*/ 310 w 2568"/>
                <a:gd name="T69" fmla="*/ 1134 h 1182"/>
                <a:gd name="T70" fmla="*/ 432 w 2568"/>
                <a:gd name="T71" fmla="*/ 1088 h 1182"/>
                <a:gd name="T72" fmla="*/ 432 w 2568"/>
                <a:gd name="T73" fmla="*/ 994 h 1182"/>
                <a:gd name="T74" fmla="*/ 628 w 2568"/>
                <a:gd name="T75" fmla="*/ 962 h 1182"/>
                <a:gd name="T76" fmla="*/ 806 w 2568"/>
                <a:gd name="T77" fmla="*/ 890 h 1182"/>
                <a:gd name="T78" fmla="*/ 956 w 2568"/>
                <a:gd name="T79" fmla="*/ 978 h 1182"/>
                <a:gd name="T80" fmla="*/ 1188 w 2568"/>
                <a:gd name="T81" fmla="*/ 998 h 1182"/>
                <a:gd name="T82" fmla="*/ 1464 w 2568"/>
                <a:gd name="T83" fmla="*/ 998 h 1182"/>
                <a:gd name="T84" fmla="*/ 1658 w 2568"/>
                <a:gd name="T85" fmla="*/ 1010 h 1182"/>
                <a:gd name="T86" fmla="*/ 1690 w 2568"/>
                <a:gd name="T87" fmla="*/ 1148 h 1182"/>
                <a:gd name="T88" fmla="*/ 1796 w 2568"/>
                <a:gd name="T89" fmla="*/ 890 h 1182"/>
                <a:gd name="T90" fmla="*/ 1850 w 2568"/>
                <a:gd name="T91" fmla="*/ 770 h 1182"/>
                <a:gd name="T92" fmla="*/ 2000 w 2568"/>
                <a:gd name="T93" fmla="*/ 766 h 1182"/>
                <a:gd name="T94" fmla="*/ 2144 w 2568"/>
                <a:gd name="T95" fmla="*/ 706 h 1182"/>
                <a:gd name="T96" fmla="*/ 2048 w 2568"/>
                <a:gd name="T97" fmla="*/ 878 h 1182"/>
                <a:gd name="T98" fmla="*/ 2120 w 2568"/>
                <a:gd name="T99" fmla="*/ 902 h 1182"/>
                <a:gd name="T100" fmla="*/ 2156 w 2568"/>
                <a:gd name="T101" fmla="*/ 794 h 1182"/>
                <a:gd name="T102" fmla="*/ 2222 w 2568"/>
                <a:gd name="T103" fmla="*/ 734 h 1182"/>
                <a:gd name="T104" fmla="*/ 2420 w 2568"/>
                <a:gd name="T105" fmla="*/ 640 h 1182"/>
                <a:gd name="T106" fmla="*/ 2460 w 2568"/>
                <a:gd name="T107" fmla="*/ 560 h 1182"/>
                <a:gd name="T108" fmla="*/ 2566 w 2568"/>
                <a:gd name="T109" fmla="*/ 538 h 1182"/>
                <a:gd name="T110" fmla="*/ 856 w 2568"/>
                <a:gd name="T111" fmla="*/ 302 h 1182"/>
                <a:gd name="T112" fmla="*/ 1752 w 2568"/>
                <a:gd name="T113" fmla="*/ 90 h 1182"/>
                <a:gd name="T114" fmla="*/ 1762 w 2568"/>
                <a:gd name="T115" fmla="*/ 200 h 1182"/>
                <a:gd name="T116" fmla="*/ 1860 w 2568"/>
                <a:gd name="T117" fmla="*/ 150 h 1182"/>
                <a:gd name="T118" fmla="*/ 1830 w 2568"/>
                <a:gd name="T119" fmla="*/ 68 h 1182"/>
                <a:gd name="T120" fmla="*/ 1972 w 2568"/>
                <a:gd name="T121" fmla="*/ 146 h 1182"/>
                <a:gd name="T122" fmla="*/ 1870 w 2568"/>
                <a:gd name="T123" fmla="*/ 202 h 1182"/>
                <a:gd name="T124" fmla="*/ 2222 w 2568"/>
                <a:gd name="T125" fmla="*/ 860 h 1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568" h="1182">
                  <a:moveTo>
                    <a:pt x="486" y="312"/>
                  </a:moveTo>
                  <a:lnTo>
                    <a:pt x="486" y="318"/>
                  </a:lnTo>
                  <a:lnTo>
                    <a:pt x="486" y="318"/>
                  </a:lnTo>
                  <a:lnTo>
                    <a:pt x="486" y="318"/>
                  </a:lnTo>
                  <a:lnTo>
                    <a:pt x="488" y="320"/>
                  </a:lnTo>
                  <a:lnTo>
                    <a:pt x="488" y="320"/>
                  </a:lnTo>
                  <a:lnTo>
                    <a:pt x="488" y="320"/>
                  </a:lnTo>
                  <a:lnTo>
                    <a:pt x="490" y="320"/>
                  </a:lnTo>
                  <a:lnTo>
                    <a:pt x="490" y="320"/>
                  </a:lnTo>
                  <a:lnTo>
                    <a:pt x="490" y="320"/>
                  </a:lnTo>
                  <a:lnTo>
                    <a:pt x="494" y="320"/>
                  </a:lnTo>
                  <a:lnTo>
                    <a:pt x="496" y="320"/>
                  </a:lnTo>
                  <a:lnTo>
                    <a:pt x="496" y="320"/>
                  </a:lnTo>
                  <a:lnTo>
                    <a:pt x="496" y="320"/>
                  </a:lnTo>
                  <a:lnTo>
                    <a:pt x="500" y="326"/>
                  </a:lnTo>
                  <a:lnTo>
                    <a:pt x="502" y="330"/>
                  </a:lnTo>
                  <a:lnTo>
                    <a:pt x="502" y="334"/>
                  </a:lnTo>
                  <a:lnTo>
                    <a:pt x="502" y="336"/>
                  </a:lnTo>
                  <a:lnTo>
                    <a:pt x="502" y="336"/>
                  </a:lnTo>
                  <a:lnTo>
                    <a:pt x="502" y="338"/>
                  </a:lnTo>
                  <a:lnTo>
                    <a:pt x="502" y="338"/>
                  </a:lnTo>
                  <a:lnTo>
                    <a:pt x="500" y="338"/>
                  </a:lnTo>
                  <a:lnTo>
                    <a:pt x="500" y="338"/>
                  </a:lnTo>
                  <a:lnTo>
                    <a:pt x="498" y="340"/>
                  </a:lnTo>
                  <a:lnTo>
                    <a:pt x="498" y="340"/>
                  </a:lnTo>
                  <a:lnTo>
                    <a:pt x="498" y="340"/>
                  </a:lnTo>
                  <a:lnTo>
                    <a:pt x="498" y="342"/>
                  </a:lnTo>
                  <a:lnTo>
                    <a:pt x="500" y="342"/>
                  </a:lnTo>
                  <a:lnTo>
                    <a:pt x="500" y="344"/>
                  </a:lnTo>
                  <a:lnTo>
                    <a:pt x="502" y="344"/>
                  </a:lnTo>
                  <a:lnTo>
                    <a:pt x="504" y="346"/>
                  </a:lnTo>
                  <a:lnTo>
                    <a:pt x="506" y="346"/>
                  </a:lnTo>
                  <a:lnTo>
                    <a:pt x="506" y="348"/>
                  </a:lnTo>
                  <a:lnTo>
                    <a:pt x="506" y="348"/>
                  </a:lnTo>
                  <a:lnTo>
                    <a:pt x="506" y="350"/>
                  </a:lnTo>
                  <a:lnTo>
                    <a:pt x="508" y="352"/>
                  </a:lnTo>
                  <a:lnTo>
                    <a:pt x="508" y="352"/>
                  </a:lnTo>
                  <a:lnTo>
                    <a:pt x="508" y="352"/>
                  </a:lnTo>
                  <a:lnTo>
                    <a:pt x="510" y="356"/>
                  </a:lnTo>
                  <a:lnTo>
                    <a:pt x="510" y="356"/>
                  </a:lnTo>
                  <a:lnTo>
                    <a:pt x="510" y="356"/>
                  </a:lnTo>
                  <a:lnTo>
                    <a:pt x="514" y="358"/>
                  </a:lnTo>
                  <a:lnTo>
                    <a:pt x="514" y="358"/>
                  </a:lnTo>
                  <a:lnTo>
                    <a:pt x="514" y="358"/>
                  </a:lnTo>
                  <a:lnTo>
                    <a:pt x="520" y="360"/>
                  </a:lnTo>
                  <a:lnTo>
                    <a:pt x="520" y="360"/>
                  </a:lnTo>
                  <a:lnTo>
                    <a:pt x="520" y="360"/>
                  </a:lnTo>
                  <a:lnTo>
                    <a:pt x="526" y="364"/>
                  </a:lnTo>
                  <a:lnTo>
                    <a:pt x="526" y="364"/>
                  </a:lnTo>
                  <a:lnTo>
                    <a:pt x="528" y="364"/>
                  </a:lnTo>
                  <a:lnTo>
                    <a:pt x="538" y="362"/>
                  </a:lnTo>
                  <a:lnTo>
                    <a:pt x="550" y="364"/>
                  </a:lnTo>
                  <a:lnTo>
                    <a:pt x="560" y="362"/>
                  </a:lnTo>
                  <a:lnTo>
                    <a:pt x="566" y="362"/>
                  </a:lnTo>
                  <a:lnTo>
                    <a:pt x="570" y="362"/>
                  </a:lnTo>
                  <a:lnTo>
                    <a:pt x="570" y="362"/>
                  </a:lnTo>
                  <a:lnTo>
                    <a:pt x="572" y="360"/>
                  </a:lnTo>
                  <a:lnTo>
                    <a:pt x="574" y="360"/>
                  </a:lnTo>
                  <a:lnTo>
                    <a:pt x="574" y="360"/>
                  </a:lnTo>
                  <a:lnTo>
                    <a:pt x="574" y="358"/>
                  </a:lnTo>
                  <a:lnTo>
                    <a:pt x="574" y="356"/>
                  </a:lnTo>
                  <a:lnTo>
                    <a:pt x="574" y="356"/>
                  </a:lnTo>
                  <a:lnTo>
                    <a:pt x="574" y="356"/>
                  </a:lnTo>
                  <a:lnTo>
                    <a:pt x="574" y="354"/>
                  </a:lnTo>
                  <a:lnTo>
                    <a:pt x="574" y="354"/>
                  </a:lnTo>
                  <a:lnTo>
                    <a:pt x="574" y="354"/>
                  </a:lnTo>
                  <a:lnTo>
                    <a:pt x="572" y="352"/>
                  </a:lnTo>
                  <a:lnTo>
                    <a:pt x="570" y="348"/>
                  </a:lnTo>
                  <a:lnTo>
                    <a:pt x="568" y="346"/>
                  </a:lnTo>
                  <a:lnTo>
                    <a:pt x="568" y="346"/>
                  </a:lnTo>
                  <a:lnTo>
                    <a:pt x="566" y="340"/>
                  </a:lnTo>
                  <a:lnTo>
                    <a:pt x="564" y="336"/>
                  </a:lnTo>
                  <a:lnTo>
                    <a:pt x="562" y="328"/>
                  </a:lnTo>
                  <a:lnTo>
                    <a:pt x="560" y="322"/>
                  </a:lnTo>
                  <a:lnTo>
                    <a:pt x="558" y="318"/>
                  </a:lnTo>
                  <a:lnTo>
                    <a:pt x="558" y="318"/>
                  </a:lnTo>
                  <a:lnTo>
                    <a:pt x="558" y="318"/>
                  </a:lnTo>
                  <a:lnTo>
                    <a:pt x="554" y="314"/>
                  </a:lnTo>
                  <a:lnTo>
                    <a:pt x="554" y="314"/>
                  </a:lnTo>
                  <a:lnTo>
                    <a:pt x="550" y="310"/>
                  </a:lnTo>
                  <a:lnTo>
                    <a:pt x="550" y="308"/>
                  </a:lnTo>
                  <a:lnTo>
                    <a:pt x="550" y="306"/>
                  </a:lnTo>
                  <a:lnTo>
                    <a:pt x="548" y="304"/>
                  </a:lnTo>
                  <a:lnTo>
                    <a:pt x="548" y="304"/>
                  </a:lnTo>
                  <a:lnTo>
                    <a:pt x="548" y="302"/>
                  </a:lnTo>
                  <a:lnTo>
                    <a:pt x="546" y="300"/>
                  </a:lnTo>
                  <a:lnTo>
                    <a:pt x="546" y="300"/>
                  </a:lnTo>
                  <a:lnTo>
                    <a:pt x="548" y="298"/>
                  </a:lnTo>
                  <a:lnTo>
                    <a:pt x="548" y="296"/>
                  </a:lnTo>
                  <a:lnTo>
                    <a:pt x="548" y="294"/>
                  </a:lnTo>
                  <a:lnTo>
                    <a:pt x="548" y="292"/>
                  </a:lnTo>
                  <a:lnTo>
                    <a:pt x="548" y="290"/>
                  </a:lnTo>
                  <a:lnTo>
                    <a:pt x="548" y="288"/>
                  </a:lnTo>
                  <a:lnTo>
                    <a:pt x="550" y="284"/>
                  </a:lnTo>
                  <a:lnTo>
                    <a:pt x="548" y="278"/>
                  </a:lnTo>
                  <a:lnTo>
                    <a:pt x="548" y="268"/>
                  </a:lnTo>
                  <a:lnTo>
                    <a:pt x="548" y="260"/>
                  </a:lnTo>
                  <a:lnTo>
                    <a:pt x="548" y="254"/>
                  </a:lnTo>
                  <a:lnTo>
                    <a:pt x="548" y="248"/>
                  </a:lnTo>
                  <a:lnTo>
                    <a:pt x="550" y="246"/>
                  </a:lnTo>
                  <a:lnTo>
                    <a:pt x="550" y="246"/>
                  </a:lnTo>
                  <a:lnTo>
                    <a:pt x="550" y="242"/>
                  </a:lnTo>
                  <a:lnTo>
                    <a:pt x="552" y="240"/>
                  </a:lnTo>
                  <a:lnTo>
                    <a:pt x="554" y="238"/>
                  </a:lnTo>
                  <a:lnTo>
                    <a:pt x="556" y="236"/>
                  </a:lnTo>
                  <a:lnTo>
                    <a:pt x="560" y="234"/>
                  </a:lnTo>
                  <a:lnTo>
                    <a:pt x="560" y="234"/>
                  </a:lnTo>
                  <a:lnTo>
                    <a:pt x="562" y="232"/>
                  </a:lnTo>
                  <a:lnTo>
                    <a:pt x="562" y="228"/>
                  </a:lnTo>
                  <a:lnTo>
                    <a:pt x="562" y="226"/>
                  </a:lnTo>
                  <a:lnTo>
                    <a:pt x="564" y="220"/>
                  </a:lnTo>
                  <a:lnTo>
                    <a:pt x="564" y="218"/>
                  </a:lnTo>
                  <a:lnTo>
                    <a:pt x="566" y="216"/>
                  </a:lnTo>
                  <a:lnTo>
                    <a:pt x="568" y="214"/>
                  </a:lnTo>
                  <a:lnTo>
                    <a:pt x="570" y="212"/>
                  </a:lnTo>
                  <a:lnTo>
                    <a:pt x="570" y="212"/>
                  </a:lnTo>
                  <a:lnTo>
                    <a:pt x="572" y="210"/>
                  </a:lnTo>
                  <a:lnTo>
                    <a:pt x="574" y="202"/>
                  </a:lnTo>
                  <a:lnTo>
                    <a:pt x="578" y="194"/>
                  </a:lnTo>
                  <a:lnTo>
                    <a:pt x="582" y="186"/>
                  </a:lnTo>
                  <a:lnTo>
                    <a:pt x="584" y="182"/>
                  </a:lnTo>
                  <a:lnTo>
                    <a:pt x="586" y="178"/>
                  </a:lnTo>
                  <a:lnTo>
                    <a:pt x="586" y="178"/>
                  </a:lnTo>
                  <a:lnTo>
                    <a:pt x="586" y="178"/>
                  </a:lnTo>
                  <a:lnTo>
                    <a:pt x="586" y="174"/>
                  </a:lnTo>
                  <a:lnTo>
                    <a:pt x="586" y="170"/>
                  </a:lnTo>
                  <a:lnTo>
                    <a:pt x="588" y="166"/>
                  </a:lnTo>
                  <a:lnTo>
                    <a:pt x="588" y="166"/>
                  </a:lnTo>
                  <a:lnTo>
                    <a:pt x="588" y="166"/>
                  </a:lnTo>
                  <a:lnTo>
                    <a:pt x="590" y="164"/>
                  </a:lnTo>
                  <a:lnTo>
                    <a:pt x="594" y="164"/>
                  </a:lnTo>
                  <a:lnTo>
                    <a:pt x="598" y="164"/>
                  </a:lnTo>
                  <a:lnTo>
                    <a:pt x="602" y="164"/>
                  </a:lnTo>
                  <a:lnTo>
                    <a:pt x="602" y="164"/>
                  </a:lnTo>
                  <a:lnTo>
                    <a:pt x="602" y="164"/>
                  </a:lnTo>
                  <a:lnTo>
                    <a:pt x="606" y="162"/>
                  </a:lnTo>
                  <a:lnTo>
                    <a:pt x="606" y="162"/>
                  </a:lnTo>
                  <a:lnTo>
                    <a:pt x="606" y="162"/>
                  </a:lnTo>
                  <a:lnTo>
                    <a:pt x="608" y="160"/>
                  </a:lnTo>
                  <a:lnTo>
                    <a:pt x="608" y="160"/>
                  </a:lnTo>
                  <a:lnTo>
                    <a:pt x="608" y="158"/>
                  </a:lnTo>
                  <a:lnTo>
                    <a:pt x="610" y="156"/>
                  </a:lnTo>
                  <a:lnTo>
                    <a:pt x="610" y="154"/>
                  </a:lnTo>
                  <a:lnTo>
                    <a:pt x="612" y="154"/>
                  </a:lnTo>
                  <a:lnTo>
                    <a:pt x="612" y="152"/>
                  </a:lnTo>
                  <a:lnTo>
                    <a:pt x="614" y="150"/>
                  </a:lnTo>
                  <a:lnTo>
                    <a:pt x="616" y="150"/>
                  </a:lnTo>
                  <a:lnTo>
                    <a:pt x="616" y="150"/>
                  </a:lnTo>
                  <a:lnTo>
                    <a:pt x="618" y="148"/>
                  </a:lnTo>
                  <a:lnTo>
                    <a:pt x="618" y="144"/>
                  </a:lnTo>
                  <a:lnTo>
                    <a:pt x="620" y="142"/>
                  </a:lnTo>
                  <a:lnTo>
                    <a:pt x="622" y="134"/>
                  </a:lnTo>
                  <a:lnTo>
                    <a:pt x="622" y="130"/>
                  </a:lnTo>
                  <a:lnTo>
                    <a:pt x="624" y="128"/>
                  </a:lnTo>
                  <a:lnTo>
                    <a:pt x="626" y="124"/>
                  </a:lnTo>
                  <a:lnTo>
                    <a:pt x="626" y="124"/>
                  </a:lnTo>
                  <a:lnTo>
                    <a:pt x="630" y="122"/>
                  </a:lnTo>
                  <a:lnTo>
                    <a:pt x="632" y="122"/>
                  </a:lnTo>
                  <a:lnTo>
                    <a:pt x="638" y="120"/>
                  </a:lnTo>
                  <a:lnTo>
                    <a:pt x="642" y="118"/>
                  </a:lnTo>
                  <a:lnTo>
                    <a:pt x="644" y="118"/>
                  </a:lnTo>
                  <a:lnTo>
                    <a:pt x="646" y="118"/>
                  </a:lnTo>
                  <a:lnTo>
                    <a:pt x="646" y="118"/>
                  </a:lnTo>
                  <a:lnTo>
                    <a:pt x="646" y="118"/>
                  </a:lnTo>
                  <a:lnTo>
                    <a:pt x="648" y="118"/>
                  </a:lnTo>
                  <a:lnTo>
                    <a:pt x="652" y="114"/>
                  </a:lnTo>
                  <a:lnTo>
                    <a:pt x="654" y="110"/>
                  </a:lnTo>
                  <a:lnTo>
                    <a:pt x="656" y="108"/>
                  </a:lnTo>
                  <a:lnTo>
                    <a:pt x="658" y="106"/>
                  </a:lnTo>
                  <a:lnTo>
                    <a:pt x="660" y="102"/>
                  </a:lnTo>
                  <a:lnTo>
                    <a:pt x="662" y="100"/>
                  </a:lnTo>
                  <a:lnTo>
                    <a:pt x="662" y="100"/>
                  </a:lnTo>
                  <a:lnTo>
                    <a:pt x="664" y="100"/>
                  </a:lnTo>
                  <a:lnTo>
                    <a:pt x="666" y="98"/>
                  </a:lnTo>
                  <a:lnTo>
                    <a:pt x="668" y="98"/>
                  </a:lnTo>
                  <a:lnTo>
                    <a:pt x="670" y="98"/>
                  </a:lnTo>
                  <a:lnTo>
                    <a:pt x="674" y="98"/>
                  </a:lnTo>
                  <a:lnTo>
                    <a:pt x="678" y="96"/>
                  </a:lnTo>
                  <a:lnTo>
                    <a:pt x="684" y="96"/>
                  </a:lnTo>
                  <a:lnTo>
                    <a:pt x="684" y="96"/>
                  </a:lnTo>
                  <a:lnTo>
                    <a:pt x="686" y="96"/>
                  </a:lnTo>
                  <a:lnTo>
                    <a:pt x="692" y="92"/>
                  </a:lnTo>
                  <a:lnTo>
                    <a:pt x="696" y="90"/>
                  </a:lnTo>
                  <a:lnTo>
                    <a:pt x="708" y="84"/>
                  </a:lnTo>
                  <a:lnTo>
                    <a:pt x="718" y="78"/>
                  </a:lnTo>
                  <a:lnTo>
                    <a:pt x="724" y="74"/>
                  </a:lnTo>
                  <a:lnTo>
                    <a:pt x="728" y="70"/>
                  </a:lnTo>
                  <a:lnTo>
                    <a:pt x="734" y="66"/>
                  </a:lnTo>
                  <a:lnTo>
                    <a:pt x="738" y="62"/>
                  </a:lnTo>
                  <a:lnTo>
                    <a:pt x="746" y="54"/>
                  </a:lnTo>
                  <a:lnTo>
                    <a:pt x="750" y="50"/>
                  </a:lnTo>
                  <a:lnTo>
                    <a:pt x="752" y="46"/>
                  </a:lnTo>
                  <a:lnTo>
                    <a:pt x="754" y="42"/>
                  </a:lnTo>
                  <a:lnTo>
                    <a:pt x="758" y="40"/>
                  </a:lnTo>
                  <a:lnTo>
                    <a:pt x="754" y="38"/>
                  </a:lnTo>
                  <a:lnTo>
                    <a:pt x="754" y="38"/>
                  </a:lnTo>
                  <a:lnTo>
                    <a:pt x="756" y="34"/>
                  </a:lnTo>
                  <a:lnTo>
                    <a:pt x="758" y="32"/>
                  </a:lnTo>
                  <a:lnTo>
                    <a:pt x="756" y="30"/>
                  </a:lnTo>
                  <a:lnTo>
                    <a:pt x="754" y="28"/>
                  </a:lnTo>
                  <a:lnTo>
                    <a:pt x="750" y="26"/>
                  </a:lnTo>
                  <a:lnTo>
                    <a:pt x="746" y="24"/>
                  </a:lnTo>
                  <a:lnTo>
                    <a:pt x="742" y="20"/>
                  </a:lnTo>
                  <a:lnTo>
                    <a:pt x="740" y="18"/>
                  </a:lnTo>
                  <a:lnTo>
                    <a:pt x="736" y="16"/>
                  </a:lnTo>
                  <a:lnTo>
                    <a:pt x="732" y="14"/>
                  </a:lnTo>
                  <a:lnTo>
                    <a:pt x="732" y="14"/>
                  </a:lnTo>
                  <a:lnTo>
                    <a:pt x="732" y="14"/>
                  </a:lnTo>
                  <a:lnTo>
                    <a:pt x="728" y="12"/>
                  </a:lnTo>
                  <a:lnTo>
                    <a:pt x="724" y="12"/>
                  </a:lnTo>
                  <a:lnTo>
                    <a:pt x="718" y="12"/>
                  </a:lnTo>
                  <a:lnTo>
                    <a:pt x="718" y="12"/>
                  </a:lnTo>
                  <a:lnTo>
                    <a:pt x="718" y="12"/>
                  </a:lnTo>
                  <a:lnTo>
                    <a:pt x="712" y="12"/>
                  </a:lnTo>
                  <a:lnTo>
                    <a:pt x="712" y="12"/>
                  </a:lnTo>
                  <a:lnTo>
                    <a:pt x="712" y="12"/>
                  </a:lnTo>
                  <a:lnTo>
                    <a:pt x="706" y="14"/>
                  </a:lnTo>
                  <a:lnTo>
                    <a:pt x="706" y="14"/>
                  </a:lnTo>
                  <a:lnTo>
                    <a:pt x="704" y="16"/>
                  </a:lnTo>
                  <a:lnTo>
                    <a:pt x="702" y="18"/>
                  </a:lnTo>
                  <a:lnTo>
                    <a:pt x="700" y="20"/>
                  </a:lnTo>
                  <a:lnTo>
                    <a:pt x="696" y="26"/>
                  </a:lnTo>
                  <a:lnTo>
                    <a:pt x="694" y="30"/>
                  </a:lnTo>
                  <a:lnTo>
                    <a:pt x="694" y="32"/>
                  </a:lnTo>
                  <a:lnTo>
                    <a:pt x="692" y="34"/>
                  </a:lnTo>
                  <a:lnTo>
                    <a:pt x="692" y="34"/>
                  </a:lnTo>
                  <a:lnTo>
                    <a:pt x="692" y="34"/>
                  </a:lnTo>
                  <a:lnTo>
                    <a:pt x="692" y="36"/>
                  </a:lnTo>
                  <a:lnTo>
                    <a:pt x="692" y="38"/>
                  </a:lnTo>
                  <a:lnTo>
                    <a:pt x="692" y="40"/>
                  </a:lnTo>
                  <a:lnTo>
                    <a:pt x="692" y="42"/>
                  </a:lnTo>
                  <a:lnTo>
                    <a:pt x="692" y="42"/>
                  </a:lnTo>
                  <a:lnTo>
                    <a:pt x="690" y="42"/>
                  </a:lnTo>
                  <a:lnTo>
                    <a:pt x="688" y="44"/>
                  </a:lnTo>
                  <a:lnTo>
                    <a:pt x="686" y="44"/>
                  </a:lnTo>
                  <a:lnTo>
                    <a:pt x="682" y="44"/>
                  </a:lnTo>
                  <a:lnTo>
                    <a:pt x="682" y="44"/>
                  </a:lnTo>
                  <a:lnTo>
                    <a:pt x="680" y="46"/>
                  </a:lnTo>
                  <a:lnTo>
                    <a:pt x="678" y="46"/>
                  </a:lnTo>
                  <a:lnTo>
                    <a:pt x="678" y="46"/>
                  </a:lnTo>
                  <a:lnTo>
                    <a:pt x="678" y="46"/>
                  </a:lnTo>
                  <a:lnTo>
                    <a:pt x="676" y="48"/>
                  </a:lnTo>
                  <a:lnTo>
                    <a:pt x="676" y="48"/>
                  </a:lnTo>
                  <a:lnTo>
                    <a:pt x="676" y="48"/>
                  </a:lnTo>
                  <a:lnTo>
                    <a:pt x="676" y="50"/>
                  </a:lnTo>
                  <a:lnTo>
                    <a:pt x="676" y="50"/>
                  </a:lnTo>
                  <a:lnTo>
                    <a:pt x="676" y="50"/>
                  </a:lnTo>
                  <a:lnTo>
                    <a:pt x="674" y="52"/>
                  </a:lnTo>
                  <a:lnTo>
                    <a:pt x="674" y="52"/>
                  </a:lnTo>
                  <a:lnTo>
                    <a:pt x="674" y="52"/>
                  </a:lnTo>
                  <a:lnTo>
                    <a:pt x="674" y="52"/>
                  </a:lnTo>
                  <a:lnTo>
                    <a:pt x="674" y="52"/>
                  </a:lnTo>
                  <a:lnTo>
                    <a:pt x="674" y="52"/>
                  </a:lnTo>
                  <a:lnTo>
                    <a:pt x="672" y="52"/>
                  </a:lnTo>
                  <a:lnTo>
                    <a:pt x="668" y="54"/>
                  </a:lnTo>
                  <a:lnTo>
                    <a:pt x="666" y="54"/>
                  </a:lnTo>
                  <a:lnTo>
                    <a:pt x="664" y="54"/>
                  </a:lnTo>
                  <a:lnTo>
                    <a:pt x="662" y="56"/>
                  </a:lnTo>
                  <a:lnTo>
                    <a:pt x="658" y="56"/>
                  </a:lnTo>
                  <a:lnTo>
                    <a:pt x="656" y="56"/>
                  </a:lnTo>
                  <a:lnTo>
                    <a:pt x="656" y="56"/>
                  </a:lnTo>
                  <a:lnTo>
                    <a:pt x="654" y="56"/>
                  </a:lnTo>
                  <a:lnTo>
                    <a:pt x="652" y="58"/>
                  </a:lnTo>
                  <a:lnTo>
                    <a:pt x="650" y="58"/>
                  </a:lnTo>
                  <a:lnTo>
                    <a:pt x="648" y="58"/>
                  </a:lnTo>
                  <a:lnTo>
                    <a:pt x="646" y="58"/>
                  </a:lnTo>
                  <a:lnTo>
                    <a:pt x="642" y="58"/>
                  </a:lnTo>
                  <a:lnTo>
                    <a:pt x="638" y="58"/>
                  </a:lnTo>
                  <a:lnTo>
                    <a:pt x="634" y="58"/>
                  </a:lnTo>
                  <a:lnTo>
                    <a:pt x="630" y="56"/>
                  </a:lnTo>
                  <a:lnTo>
                    <a:pt x="630" y="56"/>
                  </a:lnTo>
                  <a:lnTo>
                    <a:pt x="630" y="56"/>
                  </a:lnTo>
                  <a:lnTo>
                    <a:pt x="628" y="56"/>
                  </a:lnTo>
                  <a:lnTo>
                    <a:pt x="626" y="54"/>
                  </a:lnTo>
                  <a:lnTo>
                    <a:pt x="626" y="54"/>
                  </a:lnTo>
                  <a:lnTo>
                    <a:pt x="624" y="54"/>
                  </a:lnTo>
                  <a:lnTo>
                    <a:pt x="624" y="54"/>
                  </a:lnTo>
                  <a:lnTo>
                    <a:pt x="624" y="54"/>
                  </a:lnTo>
                  <a:lnTo>
                    <a:pt x="622" y="54"/>
                  </a:lnTo>
                  <a:lnTo>
                    <a:pt x="622" y="56"/>
                  </a:lnTo>
                  <a:lnTo>
                    <a:pt x="622" y="56"/>
                  </a:lnTo>
                  <a:lnTo>
                    <a:pt x="620" y="56"/>
                  </a:lnTo>
                  <a:lnTo>
                    <a:pt x="618" y="60"/>
                  </a:lnTo>
                  <a:lnTo>
                    <a:pt x="618" y="62"/>
                  </a:lnTo>
                  <a:lnTo>
                    <a:pt x="618" y="62"/>
                  </a:lnTo>
                  <a:lnTo>
                    <a:pt x="618" y="62"/>
                  </a:lnTo>
                  <a:lnTo>
                    <a:pt x="616" y="66"/>
                  </a:lnTo>
                  <a:lnTo>
                    <a:pt x="616" y="66"/>
                  </a:lnTo>
                  <a:lnTo>
                    <a:pt x="616" y="66"/>
                  </a:lnTo>
                  <a:lnTo>
                    <a:pt x="616" y="68"/>
                  </a:lnTo>
                  <a:lnTo>
                    <a:pt x="616" y="68"/>
                  </a:lnTo>
                  <a:lnTo>
                    <a:pt x="616" y="68"/>
                  </a:lnTo>
                  <a:lnTo>
                    <a:pt x="616" y="70"/>
                  </a:lnTo>
                  <a:lnTo>
                    <a:pt x="616" y="70"/>
                  </a:lnTo>
                  <a:lnTo>
                    <a:pt x="614" y="70"/>
                  </a:lnTo>
                  <a:lnTo>
                    <a:pt x="608" y="70"/>
                  </a:lnTo>
                  <a:lnTo>
                    <a:pt x="608" y="70"/>
                  </a:lnTo>
                  <a:lnTo>
                    <a:pt x="606" y="72"/>
                  </a:lnTo>
                  <a:lnTo>
                    <a:pt x="606" y="76"/>
                  </a:lnTo>
                  <a:lnTo>
                    <a:pt x="604" y="78"/>
                  </a:lnTo>
                  <a:lnTo>
                    <a:pt x="604" y="76"/>
                  </a:lnTo>
                  <a:lnTo>
                    <a:pt x="604" y="78"/>
                  </a:lnTo>
                  <a:lnTo>
                    <a:pt x="602" y="80"/>
                  </a:lnTo>
                  <a:lnTo>
                    <a:pt x="600" y="80"/>
                  </a:lnTo>
                  <a:lnTo>
                    <a:pt x="598" y="82"/>
                  </a:lnTo>
                  <a:lnTo>
                    <a:pt x="596" y="82"/>
                  </a:lnTo>
                  <a:lnTo>
                    <a:pt x="592" y="82"/>
                  </a:lnTo>
                  <a:lnTo>
                    <a:pt x="592" y="82"/>
                  </a:lnTo>
                  <a:lnTo>
                    <a:pt x="590" y="84"/>
                  </a:lnTo>
                  <a:lnTo>
                    <a:pt x="588" y="86"/>
                  </a:lnTo>
                  <a:lnTo>
                    <a:pt x="586" y="88"/>
                  </a:lnTo>
                  <a:lnTo>
                    <a:pt x="582" y="92"/>
                  </a:lnTo>
                  <a:lnTo>
                    <a:pt x="578" y="94"/>
                  </a:lnTo>
                  <a:lnTo>
                    <a:pt x="576" y="96"/>
                  </a:lnTo>
                  <a:lnTo>
                    <a:pt x="576" y="96"/>
                  </a:lnTo>
                  <a:lnTo>
                    <a:pt x="576" y="96"/>
                  </a:lnTo>
                  <a:lnTo>
                    <a:pt x="576" y="96"/>
                  </a:lnTo>
                  <a:lnTo>
                    <a:pt x="574" y="98"/>
                  </a:lnTo>
                  <a:lnTo>
                    <a:pt x="572" y="102"/>
                  </a:lnTo>
                  <a:lnTo>
                    <a:pt x="570" y="104"/>
                  </a:lnTo>
                  <a:lnTo>
                    <a:pt x="570" y="108"/>
                  </a:lnTo>
                  <a:lnTo>
                    <a:pt x="568" y="108"/>
                  </a:lnTo>
                  <a:lnTo>
                    <a:pt x="568" y="110"/>
                  </a:lnTo>
                  <a:lnTo>
                    <a:pt x="566" y="110"/>
                  </a:lnTo>
                  <a:lnTo>
                    <a:pt x="566" y="110"/>
                  </a:lnTo>
                  <a:lnTo>
                    <a:pt x="566" y="110"/>
                  </a:lnTo>
                  <a:lnTo>
                    <a:pt x="564" y="112"/>
                  </a:lnTo>
                  <a:lnTo>
                    <a:pt x="562" y="112"/>
                  </a:lnTo>
                  <a:lnTo>
                    <a:pt x="560" y="112"/>
                  </a:lnTo>
                  <a:lnTo>
                    <a:pt x="560" y="112"/>
                  </a:lnTo>
                  <a:lnTo>
                    <a:pt x="558" y="114"/>
                  </a:lnTo>
                  <a:lnTo>
                    <a:pt x="558" y="114"/>
                  </a:lnTo>
                  <a:lnTo>
                    <a:pt x="558" y="116"/>
                  </a:lnTo>
                  <a:lnTo>
                    <a:pt x="558" y="118"/>
                  </a:lnTo>
                  <a:lnTo>
                    <a:pt x="560" y="120"/>
                  </a:lnTo>
                  <a:lnTo>
                    <a:pt x="560" y="120"/>
                  </a:lnTo>
                  <a:lnTo>
                    <a:pt x="558" y="120"/>
                  </a:lnTo>
                  <a:lnTo>
                    <a:pt x="554" y="122"/>
                  </a:lnTo>
                  <a:lnTo>
                    <a:pt x="552" y="122"/>
                  </a:lnTo>
                  <a:lnTo>
                    <a:pt x="552" y="122"/>
                  </a:lnTo>
                  <a:lnTo>
                    <a:pt x="550" y="122"/>
                  </a:lnTo>
                  <a:lnTo>
                    <a:pt x="550" y="122"/>
                  </a:lnTo>
                  <a:lnTo>
                    <a:pt x="550" y="122"/>
                  </a:lnTo>
                  <a:lnTo>
                    <a:pt x="548" y="124"/>
                  </a:lnTo>
                  <a:lnTo>
                    <a:pt x="546" y="128"/>
                  </a:lnTo>
                  <a:lnTo>
                    <a:pt x="546" y="128"/>
                  </a:lnTo>
                  <a:lnTo>
                    <a:pt x="544" y="128"/>
                  </a:lnTo>
                  <a:lnTo>
                    <a:pt x="544" y="134"/>
                  </a:lnTo>
                  <a:lnTo>
                    <a:pt x="542" y="138"/>
                  </a:lnTo>
                  <a:lnTo>
                    <a:pt x="542" y="144"/>
                  </a:lnTo>
                  <a:lnTo>
                    <a:pt x="542" y="154"/>
                  </a:lnTo>
                  <a:lnTo>
                    <a:pt x="540" y="158"/>
                  </a:lnTo>
                  <a:lnTo>
                    <a:pt x="540" y="162"/>
                  </a:lnTo>
                  <a:lnTo>
                    <a:pt x="540" y="162"/>
                  </a:lnTo>
                  <a:lnTo>
                    <a:pt x="540" y="166"/>
                  </a:lnTo>
                  <a:lnTo>
                    <a:pt x="540" y="166"/>
                  </a:lnTo>
                  <a:lnTo>
                    <a:pt x="538" y="166"/>
                  </a:lnTo>
                  <a:lnTo>
                    <a:pt x="536" y="166"/>
                  </a:lnTo>
                  <a:lnTo>
                    <a:pt x="536" y="166"/>
                  </a:lnTo>
                  <a:lnTo>
                    <a:pt x="536" y="166"/>
                  </a:lnTo>
                  <a:lnTo>
                    <a:pt x="536" y="166"/>
                  </a:lnTo>
                  <a:lnTo>
                    <a:pt x="534" y="168"/>
                  </a:lnTo>
                  <a:lnTo>
                    <a:pt x="534" y="168"/>
                  </a:lnTo>
                  <a:lnTo>
                    <a:pt x="534" y="170"/>
                  </a:lnTo>
                  <a:lnTo>
                    <a:pt x="534" y="174"/>
                  </a:lnTo>
                  <a:lnTo>
                    <a:pt x="534" y="176"/>
                  </a:lnTo>
                  <a:lnTo>
                    <a:pt x="534" y="176"/>
                  </a:lnTo>
                  <a:lnTo>
                    <a:pt x="534" y="176"/>
                  </a:lnTo>
                  <a:lnTo>
                    <a:pt x="534" y="176"/>
                  </a:lnTo>
                  <a:lnTo>
                    <a:pt x="532" y="176"/>
                  </a:lnTo>
                  <a:lnTo>
                    <a:pt x="532" y="176"/>
                  </a:lnTo>
                  <a:lnTo>
                    <a:pt x="532" y="176"/>
                  </a:lnTo>
                  <a:lnTo>
                    <a:pt x="530" y="176"/>
                  </a:lnTo>
                  <a:lnTo>
                    <a:pt x="530" y="176"/>
                  </a:lnTo>
                  <a:lnTo>
                    <a:pt x="528" y="176"/>
                  </a:lnTo>
                  <a:lnTo>
                    <a:pt x="528" y="176"/>
                  </a:lnTo>
                  <a:lnTo>
                    <a:pt x="528" y="176"/>
                  </a:lnTo>
                  <a:lnTo>
                    <a:pt x="526" y="176"/>
                  </a:lnTo>
                  <a:lnTo>
                    <a:pt x="526" y="178"/>
                  </a:lnTo>
                  <a:lnTo>
                    <a:pt x="526" y="178"/>
                  </a:lnTo>
                  <a:lnTo>
                    <a:pt x="526" y="178"/>
                  </a:lnTo>
                  <a:lnTo>
                    <a:pt x="526" y="180"/>
                  </a:lnTo>
                  <a:lnTo>
                    <a:pt x="526" y="180"/>
                  </a:lnTo>
                  <a:lnTo>
                    <a:pt x="526" y="180"/>
                  </a:lnTo>
                  <a:lnTo>
                    <a:pt x="526" y="182"/>
                  </a:lnTo>
                  <a:lnTo>
                    <a:pt x="526" y="184"/>
                  </a:lnTo>
                  <a:lnTo>
                    <a:pt x="526" y="186"/>
                  </a:lnTo>
                  <a:lnTo>
                    <a:pt x="524" y="188"/>
                  </a:lnTo>
                  <a:lnTo>
                    <a:pt x="522" y="192"/>
                  </a:lnTo>
                  <a:lnTo>
                    <a:pt x="520" y="194"/>
                  </a:lnTo>
                  <a:lnTo>
                    <a:pt x="518" y="196"/>
                  </a:lnTo>
                  <a:lnTo>
                    <a:pt x="516" y="198"/>
                  </a:lnTo>
                  <a:lnTo>
                    <a:pt x="514" y="198"/>
                  </a:lnTo>
                  <a:lnTo>
                    <a:pt x="514" y="198"/>
                  </a:lnTo>
                  <a:lnTo>
                    <a:pt x="514" y="198"/>
                  </a:lnTo>
                  <a:lnTo>
                    <a:pt x="512" y="200"/>
                  </a:lnTo>
                  <a:lnTo>
                    <a:pt x="512" y="204"/>
                  </a:lnTo>
                  <a:lnTo>
                    <a:pt x="512" y="204"/>
                  </a:lnTo>
                  <a:lnTo>
                    <a:pt x="512" y="204"/>
                  </a:lnTo>
                  <a:lnTo>
                    <a:pt x="512" y="206"/>
                  </a:lnTo>
                  <a:lnTo>
                    <a:pt x="512" y="206"/>
                  </a:lnTo>
                  <a:lnTo>
                    <a:pt x="512" y="208"/>
                  </a:lnTo>
                  <a:lnTo>
                    <a:pt x="514" y="210"/>
                  </a:lnTo>
                  <a:lnTo>
                    <a:pt x="514" y="210"/>
                  </a:lnTo>
                  <a:lnTo>
                    <a:pt x="514" y="210"/>
                  </a:lnTo>
                  <a:lnTo>
                    <a:pt x="516" y="212"/>
                  </a:lnTo>
                  <a:lnTo>
                    <a:pt x="516" y="212"/>
                  </a:lnTo>
                  <a:lnTo>
                    <a:pt x="516" y="212"/>
                  </a:lnTo>
                  <a:lnTo>
                    <a:pt x="518" y="212"/>
                  </a:lnTo>
                  <a:lnTo>
                    <a:pt x="520" y="212"/>
                  </a:lnTo>
                  <a:lnTo>
                    <a:pt x="520" y="214"/>
                  </a:lnTo>
                  <a:lnTo>
                    <a:pt x="518" y="216"/>
                  </a:lnTo>
                  <a:lnTo>
                    <a:pt x="516" y="218"/>
                  </a:lnTo>
                  <a:lnTo>
                    <a:pt x="516" y="218"/>
                  </a:lnTo>
                  <a:lnTo>
                    <a:pt x="516" y="218"/>
                  </a:lnTo>
                  <a:lnTo>
                    <a:pt x="516" y="220"/>
                  </a:lnTo>
                  <a:lnTo>
                    <a:pt x="516" y="220"/>
                  </a:lnTo>
                  <a:lnTo>
                    <a:pt x="516" y="220"/>
                  </a:lnTo>
                  <a:lnTo>
                    <a:pt x="516" y="220"/>
                  </a:lnTo>
                  <a:lnTo>
                    <a:pt x="514" y="224"/>
                  </a:lnTo>
                  <a:lnTo>
                    <a:pt x="514" y="224"/>
                  </a:lnTo>
                  <a:lnTo>
                    <a:pt x="514" y="224"/>
                  </a:lnTo>
                  <a:lnTo>
                    <a:pt x="514" y="224"/>
                  </a:lnTo>
                  <a:lnTo>
                    <a:pt x="512" y="226"/>
                  </a:lnTo>
                  <a:lnTo>
                    <a:pt x="508" y="226"/>
                  </a:lnTo>
                  <a:lnTo>
                    <a:pt x="506" y="226"/>
                  </a:lnTo>
                  <a:lnTo>
                    <a:pt x="500" y="228"/>
                  </a:lnTo>
                  <a:lnTo>
                    <a:pt x="500" y="228"/>
                  </a:lnTo>
                  <a:lnTo>
                    <a:pt x="498" y="230"/>
                  </a:lnTo>
                  <a:lnTo>
                    <a:pt x="498" y="232"/>
                  </a:lnTo>
                  <a:lnTo>
                    <a:pt x="500" y="234"/>
                  </a:lnTo>
                  <a:lnTo>
                    <a:pt x="500" y="236"/>
                  </a:lnTo>
                  <a:lnTo>
                    <a:pt x="500" y="240"/>
                  </a:lnTo>
                  <a:lnTo>
                    <a:pt x="500" y="240"/>
                  </a:lnTo>
                  <a:lnTo>
                    <a:pt x="500" y="244"/>
                  </a:lnTo>
                  <a:lnTo>
                    <a:pt x="498" y="244"/>
                  </a:lnTo>
                  <a:lnTo>
                    <a:pt x="498" y="246"/>
                  </a:lnTo>
                  <a:lnTo>
                    <a:pt x="496" y="248"/>
                  </a:lnTo>
                  <a:lnTo>
                    <a:pt x="492" y="250"/>
                  </a:lnTo>
                  <a:lnTo>
                    <a:pt x="488" y="252"/>
                  </a:lnTo>
                  <a:lnTo>
                    <a:pt x="488" y="252"/>
                  </a:lnTo>
                  <a:lnTo>
                    <a:pt x="486" y="254"/>
                  </a:lnTo>
                  <a:lnTo>
                    <a:pt x="486" y="256"/>
                  </a:lnTo>
                  <a:lnTo>
                    <a:pt x="488" y="258"/>
                  </a:lnTo>
                  <a:lnTo>
                    <a:pt x="490" y="260"/>
                  </a:lnTo>
                  <a:lnTo>
                    <a:pt x="490" y="260"/>
                  </a:lnTo>
                  <a:lnTo>
                    <a:pt x="490" y="262"/>
                  </a:lnTo>
                  <a:lnTo>
                    <a:pt x="490" y="262"/>
                  </a:lnTo>
                  <a:lnTo>
                    <a:pt x="492" y="264"/>
                  </a:lnTo>
                  <a:lnTo>
                    <a:pt x="496" y="266"/>
                  </a:lnTo>
                  <a:lnTo>
                    <a:pt x="496" y="268"/>
                  </a:lnTo>
                  <a:lnTo>
                    <a:pt x="494" y="268"/>
                  </a:lnTo>
                  <a:lnTo>
                    <a:pt x="494" y="268"/>
                  </a:lnTo>
                  <a:lnTo>
                    <a:pt x="494" y="268"/>
                  </a:lnTo>
                  <a:lnTo>
                    <a:pt x="492" y="270"/>
                  </a:lnTo>
                  <a:lnTo>
                    <a:pt x="492" y="270"/>
                  </a:lnTo>
                  <a:lnTo>
                    <a:pt x="492" y="270"/>
                  </a:lnTo>
                  <a:lnTo>
                    <a:pt x="490" y="270"/>
                  </a:lnTo>
                  <a:lnTo>
                    <a:pt x="490" y="270"/>
                  </a:lnTo>
                  <a:lnTo>
                    <a:pt x="490" y="272"/>
                  </a:lnTo>
                  <a:lnTo>
                    <a:pt x="488" y="274"/>
                  </a:lnTo>
                  <a:lnTo>
                    <a:pt x="488" y="274"/>
                  </a:lnTo>
                  <a:lnTo>
                    <a:pt x="488" y="274"/>
                  </a:lnTo>
                  <a:lnTo>
                    <a:pt x="486" y="276"/>
                  </a:lnTo>
                  <a:lnTo>
                    <a:pt x="486" y="278"/>
                  </a:lnTo>
                  <a:lnTo>
                    <a:pt x="484" y="282"/>
                  </a:lnTo>
                  <a:lnTo>
                    <a:pt x="484" y="282"/>
                  </a:lnTo>
                  <a:lnTo>
                    <a:pt x="484" y="282"/>
                  </a:lnTo>
                  <a:lnTo>
                    <a:pt x="484" y="286"/>
                  </a:lnTo>
                  <a:lnTo>
                    <a:pt x="484" y="292"/>
                  </a:lnTo>
                  <a:lnTo>
                    <a:pt x="484" y="300"/>
                  </a:lnTo>
                  <a:lnTo>
                    <a:pt x="484" y="304"/>
                  </a:lnTo>
                  <a:lnTo>
                    <a:pt x="484" y="308"/>
                  </a:lnTo>
                  <a:lnTo>
                    <a:pt x="486" y="312"/>
                  </a:lnTo>
                  <a:close/>
                  <a:moveTo>
                    <a:pt x="52" y="880"/>
                  </a:moveTo>
                  <a:lnTo>
                    <a:pt x="52" y="876"/>
                  </a:lnTo>
                  <a:lnTo>
                    <a:pt x="52" y="874"/>
                  </a:lnTo>
                  <a:lnTo>
                    <a:pt x="52" y="874"/>
                  </a:lnTo>
                  <a:lnTo>
                    <a:pt x="52" y="874"/>
                  </a:lnTo>
                  <a:lnTo>
                    <a:pt x="50" y="870"/>
                  </a:lnTo>
                  <a:lnTo>
                    <a:pt x="50" y="870"/>
                  </a:lnTo>
                  <a:lnTo>
                    <a:pt x="50" y="870"/>
                  </a:lnTo>
                  <a:lnTo>
                    <a:pt x="46" y="868"/>
                  </a:lnTo>
                  <a:lnTo>
                    <a:pt x="46" y="868"/>
                  </a:lnTo>
                  <a:lnTo>
                    <a:pt x="46" y="868"/>
                  </a:lnTo>
                  <a:lnTo>
                    <a:pt x="42" y="866"/>
                  </a:lnTo>
                  <a:lnTo>
                    <a:pt x="42" y="866"/>
                  </a:lnTo>
                  <a:lnTo>
                    <a:pt x="42" y="866"/>
                  </a:lnTo>
                  <a:lnTo>
                    <a:pt x="38" y="864"/>
                  </a:lnTo>
                  <a:lnTo>
                    <a:pt x="32" y="862"/>
                  </a:lnTo>
                  <a:lnTo>
                    <a:pt x="26" y="862"/>
                  </a:lnTo>
                  <a:lnTo>
                    <a:pt x="26" y="862"/>
                  </a:lnTo>
                  <a:lnTo>
                    <a:pt x="24" y="862"/>
                  </a:lnTo>
                  <a:lnTo>
                    <a:pt x="20" y="864"/>
                  </a:lnTo>
                  <a:lnTo>
                    <a:pt x="16" y="866"/>
                  </a:lnTo>
                  <a:lnTo>
                    <a:pt x="10" y="868"/>
                  </a:lnTo>
                  <a:lnTo>
                    <a:pt x="6" y="872"/>
                  </a:lnTo>
                  <a:lnTo>
                    <a:pt x="2" y="874"/>
                  </a:lnTo>
                  <a:lnTo>
                    <a:pt x="2" y="874"/>
                  </a:lnTo>
                  <a:lnTo>
                    <a:pt x="2" y="874"/>
                  </a:lnTo>
                  <a:lnTo>
                    <a:pt x="0" y="876"/>
                  </a:lnTo>
                  <a:lnTo>
                    <a:pt x="0" y="878"/>
                  </a:lnTo>
                  <a:lnTo>
                    <a:pt x="0" y="878"/>
                  </a:lnTo>
                  <a:lnTo>
                    <a:pt x="0" y="878"/>
                  </a:lnTo>
                  <a:lnTo>
                    <a:pt x="0" y="880"/>
                  </a:lnTo>
                  <a:lnTo>
                    <a:pt x="0" y="880"/>
                  </a:lnTo>
                  <a:lnTo>
                    <a:pt x="0" y="880"/>
                  </a:lnTo>
                  <a:lnTo>
                    <a:pt x="0" y="882"/>
                  </a:lnTo>
                  <a:lnTo>
                    <a:pt x="0" y="882"/>
                  </a:lnTo>
                  <a:lnTo>
                    <a:pt x="0" y="882"/>
                  </a:lnTo>
                  <a:lnTo>
                    <a:pt x="0" y="884"/>
                  </a:lnTo>
                  <a:lnTo>
                    <a:pt x="0" y="884"/>
                  </a:lnTo>
                  <a:lnTo>
                    <a:pt x="2" y="884"/>
                  </a:lnTo>
                  <a:lnTo>
                    <a:pt x="4" y="886"/>
                  </a:lnTo>
                  <a:lnTo>
                    <a:pt x="4" y="886"/>
                  </a:lnTo>
                  <a:lnTo>
                    <a:pt x="4" y="886"/>
                  </a:lnTo>
                  <a:lnTo>
                    <a:pt x="10" y="886"/>
                  </a:lnTo>
                  <a:lnTo>
                    <a:pt x="16" y="888"/>
                  </a:lnTo>
                  <a:lnTo>
                    <a:pt x="26" y="888"/>
                  </a:lnTo>
                  <a:lnTo>
                    <a:pt x="38" y="888"/>
                  </a:lnTo>
                  <a:lnTo>
                    <a:pt x="50" y="888"/>
                  </a:lnTo>
                  <a:lnTo>
                    <a:pt x="50" y="888"/>
                  </a:lnTo>
                  <a:lnTo>
                    <a:pt x="52" y="888"/>
                  </a:lnTo>
                  <a:lnTo>
                    <a:pt x="52" y="888"/>
                  </a:lnTo>
                  <a:lnTo>
                    <a:pt x="52" y="886"/>
                  </a:lnTo>
                  <a:lnTo>
                    <a:pt x="52" y="882"/>
                  </a:lnTo>
                  <a:lnTo>
                    <a:pt x="52" y="880"/>
                  </a:lnTo>
                  <a:close/>
                  <a:moveTo>
                    <a:pt x="2398" y="340"/>
                  </a:moveTo>
                  <a:lnTo>
                    <a:pt x="2398" y="340"/>
                  </a:lnTo>
                  <a:lnTo>
                    <a:pt x="2398" y="342"/>
                  </a:lnTo>
                  <a:lnTo>
                    <a:pt x="2398" y="342"/>
                  </a:lnTo>
                  <a:lnTo>
                    <a:pt x="2398" y="342"/>
                  </a:lnTo>
                  <a:lnTo>
                    <a:pt x="2398" y="344"/>
                  </a:lnTo>
                  <a:lnTo>
                    <a:pt x="2400" y="346"/>
                  </a:lnTo>
                  <a:lnTo>
                    <a:pt x="2400" y="346"/>
                  </a:lnTo>
                  <a:lnTo>
                    <a:pt x="2402" y="346"/>
                  </a:lnTo>
                  <a:lnTo>
                    <a:pt x="2402" y="346"/>
                  </a:lnTo>
                  <a:lnTo>
                    <a:pt x="2402" y="346"/>
                  </a:lnTo>
                  <a:lnTo>
                    <a:pt x="2404" y="346"/>
                  </a:lnTo>
                  <a:lnTo>
                    <a:pt x="2406" y="348"/>
                  </a:lnTo>
                  <a:lnTo>
                    <a:pt x="2410" y="348"/>
                  </a:lnTo>
                  <a:lnTo>
                    <a:pt x="2414" y="348"/>
                  </a:lnTo>
                  <a:lnTo>
                    <a:pt x="2420" y="346"/>
                  </a:lnTo>
                  <a:lnTo>
                    <a:pt x="2422" y="346"/>
                  </a:lnTo>
                  <a:lnTo>
                    <a:pt x="2426" y="346"/>
                  </a:lnTo>
                  <a:lnTo>
                    <a:pt x="2428" y="344"/>
                  </a:lnTo>
                  <a:lnTo>
                    <a:pt x="2428" y="344"/>
                  </a:lnTo>
                  <a:lnTo>
                    <a:pt x="2430" y="344"/>
                  </a:lnTo>
                  <a:lnTo>
                    <a:pt x="2432" y="342"/>
                  </a:lnTo>
                  <a:lnTo>
                    <a:pt x="2434" y="342"/>
                  </a:lnTo>
                  <a:lnTo>
                    <a:pt x="2438" y="340"/>
                  </a:lnTo>
                  <a:lnTo>
                    <a:pt x="2436" y="340"/>
                  </a:lnTo>
                  <a:lnTo>
                    <a:pt x="2438" y="338"/>
                  </a:lnTo>
                  <a:lnTo>
                    <a:pt x="2440" y="338"/>
                  </a:lnTo>
                  <a:lnTo>
                    <a:pt x="2446" y="336"/>
                  </a:lnTo>
                  <a:lnTo>
                    <a:pt x="2448" y="334"/>
                  </a:lnTo>
                  <a:lnTo>
                    <a:pt x="2450" y="334"/>
                  </a:lnTo>
                  <a:lnTo>
                    <a:pt x="2450" y="334"/>
                  </a:lnTo>
                  <a:lnTo>
                    <a:pt x="2452" y="334"/>
                  </a:lnTo>
                  <a:lnTo>
                    <a:pt x="2452" y="332"/>
                  </a:lnTo>
                  <a:lnTo>
                    <a:pt x="2452" y="332"/>
                  </a:lnTo>
                  <a:lnTo>
                    <a:pt x="2454" y="332"/>
                  </a:lnTo>
                  <a:lnTo>
                    <a:pt x="2454" y="330"/>
                  </a:lnTo>
                  <a:lnTo>
                    <a:pt x="2454" y="330"/>
                  </a:lnTo>
                  <a:lnTo>
                    <a:pt x="2454" y="330"/>
                  </a:lnTo>
                  <a:lnTo>
                    <a:pt x="2454" y="328"/>
                  </a:lnTo>
                  <a:lnTo>
                    <a:pt x="2454" y="328"/>
                  </a:lnTo>
                  <a:lnTo>
                    <a:pt x="2454" y="328"/>
                  </a:lnTo>
                  <a:lnTo>
                    <a:pt x="2454" y="326"/>
                  </a:lnTo>
                  <a:lnTo>
                    <a:pt x="2454" y="326"/>
                  </a:lnTo>
                  <a:lnTo>
                    <a:pt x="2454" y="324"/>
                  </a:lnTo>
                  <a:lnTo>
                    <a:pt x="2454" y="322"/>
                  </a:lnTo>
                  <a:lnTo>
                    <a:pt x="2454" y="322"/>
                  </a:lnTo>
                  <a:lnTo>
                    <a:pt x="2452" y="320"/>
                  </a:lnTo>
                  <a:lnTo>
                    <a:pt x="2450" y="318"/>
                  </a:lnTo>
                  <a:lnTo>
                    <a:pt x="2450" y="318"/>
                  </a:lnTo>
                  <a:lnTo>
                    <a:pt x="2450" y="316"/>
                  </a:lnTo>
                  <a:lnTo>
                    <a:pt x="2448" y="316"/>
                  </a:lnTo>
                  <a:lnTo>
                    <a:pt x="2446" y="314"/>
                  </a:lnTo>
                  <a:lnTo>
                    <a:pt x="2446" y="314"/>
                  </a:lnTo>
                  <a:lnTo>
                    <a:pt x="2446" y="314"/>
                  </a:lnTo>
                  <a:lnTo>
                    <a:pt x="2444" y="312"/>
                  </a:lnTo>
                  <a:lnTo>
                    <a:pt x="2442" y="310"/>
                  </a:lnTo>
                  <a:lnTo>
                    <a:pt x="2438" y="310"/>
                  </a:lnTo>
                  <a:lnTo>
                    <a:pt x="2436" y="308"/>
                  </a:lnTo>
                  <a:lnTo>
                    <a:pt x="2432" y="308"/>
                  </a:lnTo>
                  <a:lnTo>
                    <a:pt x="2428" y="306"/>
                  </a:lnTo>
                  <a:lnTo>
                    <a:pt x="2428" y="306"/>
                  </a:lnTo>
                  <a:lnTo>
                    <a:pt x="2428" y="306"/>
                  </a:lnTo>
                  <a:lnTo>
                    <a:pt x="2424" y="306"/>
                  </a:lnTo>
                  <a:lnTo>
                    <a:pt x="2422" y="306"/>
                  </a:lnTo>
                  <a:lnTo>
                    <a:pt x="2422" y="306"/>
                  </a:lnTo>
                  <a:lnTo>
                    <a:pt x="2420" y="308"/>
                  </a:lnTo>
                  <a:lnTo>
                    <a:pt x="2418" y="308"/>
                  </a:lnTo>
                  <a:lnTo>
                    <a:pt x="2418" y="308"/>
                  </a:lnTo>
                  <a:lnTo>
                    <a:pt x="2418" y="308"/>
                  </a:lnTo>
                  <a:lnTo>
                    <a:pt x="2414" y="310"/>
                  </a:lnTo>
                  <a:lnTo>
                    <a:pt x="2412" y="312"/>
                  </a:lnTo>
                  <a:lnTo>
                    <a:pt x="2408" y="314"/>
                  </a:lnTo>
                  <a:lnTo>
                    <a:pt x="2406" y="318"/>
                  </a:lnTo>
                  <a:lnTo>
                    <a:pt x="2404" y="320"/>
                  </a:lnTo>
                  <a:lnTo>
                    <a:pt x="2402" y="322"/>
                  </a:lnTo>
                  <a:lnTo>
                    <a:pt x="2400" y="324"/>
                  </a:lnTo>
                  <a:lnTo>
                    <a:pt x="2398" y="326"/>
                  </a:lnTo>
                  <a:lnTo>
                    <a:pt x="2398" y="330"/>
                  </a:lnTo>
                  <a:lnTo>
                    <a:pt x="2398" y="330"/>
                  </a:lnTo>
                  <a:lnTo>
                    <a:pt x="2398" y="330"/>
                  </a:lnTo>
                  <a:lnTo>
                    <a:pt x="2396" y="334"/>
                  </a:lnTo>
                  <a:lnTo>
                    <a:pt x="2396" y="336"/>
                  </a:lnTo>
                  <a:lnTo>
                    <a:pt x="2396" y="338"/>
                  </a:lnTo>
                  <a:lnTo>
                    <a:pt x="2398" y="340"/>
                  </a:lnTo>
                  <a:close/>
                  <a:moveTo>
                    <a:pt x="2568" y="530"/>
                  </a:moveTo>
                  <a:lnTo>
                    <a:pt x="2568" y="530"/>
                  </a:lnTo>
                  <a:lnTo>
                    <a:pt x="2566" y="530"/>
                  </a:lnTo>
                  <a:lnTo>
                    <a:pt x="2566" y="528"/>
                  </a:lnTo>
                  <a:lnTo>
                    <a:pt x="2566" y="528"/>
                  </a:lnTo>
                  <a:lnTo>
                    <a:pt x="2566" y="528"/>
                  </a:lnTo>
                  <a:lnTo>
                    <a:pt x="2564" y="526"/>
                  </a:lnTo>
                  <a:lnTo>
                    <a:pt x="2564" y="526"/>
                  </a:lnTo>
                  <a:lnTo>
                    <a:pt x="2562" y="526"/>
                  </a:lnTo>
                  <a:lnTo>
                    <a:pt x="2560" y="524"/>
                  </a:lnTo>
                  <a:lnTo>
                    <a:pt x="2558" y="522"/>
                  </a:lnTo>
                  <a:lnTo>
                    <a:pt x="2554" y="520"/>
                  </a:lnTo>
                  <a:lnTo>
                    <a:pt x="2552" y="520"/>
                  </a:lnTo>
                  <a:lnTo>
                    <a:pt x="2550" y="518"/>
                  </a:lnTo>
                  <a:lnTo>
                    <a:pt x="2550" y="518"/>
                  </a:lnTo>
                  <a:lnTo>
                    <a:pt x="2550" y="516"/>
                  </a:lnTo>
                  <a:lnTo>
                    <a:pt x="2548" y="514"/>
                  </a:lnTo>
                  <a:lnTo>
                    <a:pt x="2548" y="516"/>
                  </a:lnTo>
                  <a:lnTo>
                    <a:pt x="2548" y="512"/>
                  </a:lnTo>
                  <a:lnTo>
                    <a:pt x="2548" y="508"/>
                  </a:lnTo>
                  <a:lnTo>
                    <a:pt x="2548" y="506"/>
                  </a:lnTo>
                  <a:lnTo>
                    <a:pt x="2548" y="506"/>
                  </a:lnTo>
                  <a:lnTo>
                    <a:pt x="2548" y="506"/>
                  </a:lnTo>
                  <a:lnTo>
                    <a:pt x="2546" y="504"/>
                  </a:lnTo>
                  <a:lnTo>
                    <a:pt x="2546" y="504"/>
                  </a:lnTo>
                  <a:lnTo>
                    <a:pt x="2546" y="504"/>
                  </a:lnTo>
                  <a:lnTo>
                    <a:pt x="2546" y="502"/>
                  </a:lnTo>
                  <a:lnTo>
                    <a:pt x="2546" y="502"/>
                  </a:lnTo>
                  <a:lnTo>
                    <a:pt x="2544" y="502"/>
                  </a:lnTo>
                  <a:lnTo>
                    <a:pt x="2542" y="500"/>
                  </a:lnTo>
                  <a:lnTo>
                    <a:pt x="2542" y="500"/>
                  </a:lnTo>
                  <a:lnTo>
                    <a:pt x="2542" y="498"/>
                  </a:lnTo>
                  <a:lnTo>
                    <a:pt x="2538" y="498"/>
                  </a:lnTo>
                  <a:lnTo>
                    <a:pt x="2538" y="498"/>
                  </a:lnTo>
                  <a:lnTo>
                    <a:pt x="2538" y="498"/>
                  </a:lnTo>
                  <a:lnTo>
                    <a:pt x="2536" y="496"/>
                  </a:lnTo>
                  <a:lnTo>
                    <a:pt x="2534" y="496"/>
                  </a:lnTo>
                  <a:lnTo>
                    <a:pt x="2530" y="496"/>
                  </a:lnTo>
                  <a:lnTo>
                    <a:pt x="2528" y="496"/>
                  </a:lnTo>
                  <a:lnTo>
                    <a:pt x="2524" y="496"/>
                  </a:lnTo>
                  <a:lnTo>
                    <a:pt x="2520" y="496"/>
                  </a:lnTo>
                  <a:lnTo>
                    <a:pt x="2516" y="496"/>
                  </a:lnTo>
                  <a:lnTo>
                    <a:pt x="2512" y="498"/>
                  </a:lnTo>
                  <a:lnTo>
                    <a:pt x="2508" y="498"/>
                  </a:lnTo>
                  <a:lnTo>
                    <a:pt x="2508" y="498"/>
                  </a:lnTo>
                  <a:lnTo>
                    <a:pt x="2508" y="498"/>
                  </a:lnTo>
                  <a:lnTo>
                    <a:pt x="2506" y="498"/>
                  </a:lnTo>
                  <a:lnTo>
                    <a:pt x="2506" y="498"/>
                  </a:lnTo>
                  <a:lnTo>
                    <a:pt x="2506" y="500"/>
                  </a:lnTo>
                  <a:lnTo>
                    <a:pt x="2504" y="500"/>
                  </a:lnTo>
                  <a:lnTo>
                    <a:pt x="2504" y="500"/>
                  </a:lnTo>
                  <a:lnTo>
                    <a:pt x="2504" y="502"/>
                  </a:lnTo>
                  <a:lnTo>
                    <a:pt x="2502" y="502"/>
                  </a:lnTo>
                  <a:lnTo>
                    <a:pt x="2502" y="502"/>
                  </a:lnTo>
                  <a:lnTo>
                    <a:pt x="2502" y="504"/>
                  </a:lnTo>
                  <a:lnTo>
                    <a:pt x="2502" y="504"/>
                  </a:lnTo>
                  <a:lnTo>
                    <a:pt x="2502" y="504"/>
                  </a:lnTo>
                  <a:lnTo>
                    <a:pt x="2502" y="506"/>
                  </a:lnTo>
                  <a:lnTo>
                    <a:pt x="2502" y="508"/>
                  </a:lnTo>
                  <a:lnTo>
                    <a:pt x="2504" y="510"/>
                  </a:lnTo>
                  <a:lnTo>
                    <a:pt x="2504" y="512"/>
                  </a:lnTo>
                  <a:lnTo>
                    <a:pt x="2504" y="514"/>
                  </a:lnTo>
                  <a:lnTo>
                    <a:pt x="2504" y="516"/>
                  </a:lnTo>
                  <a:lnTo>
                    <a:pt x="2504" y="518"/>
                  </a:lnTo>
                  <a:lnTo>
                    <a:pt x="2504" y="522"/>
                  </a:lnTo>
                  <a:lnTo>
                    <a:pt x="2504" y="522"/>
                  </a:lnTo>
                  <a:lnTo>
                    <a:pt x="2504" y="522"/>
                  </a:lnTo>
                  <a:lnTo>
                    <a:pt x="2502" y="520"/>
                  </a:lnTo>
                  <a:lnTo>
                    <a:pt x="2498" y="518"/>
                  </a:lnTo>
                  <a:lnTo>
                    <a:pt x="2498" y="516"/>
                  </a:lnTo>
                  <a:lnTo>
                    <a:pt x="2496" y="514"/>
                  </a:lnTo>
                  <a:lnTo>
                    <a:pt x="2496" y="516"/>
                  </a:lnTo>
                  <a:lnTo>
                    <a:pt x="2496" y="514"/>
                  </a:lnTo>
                  <a:lnTo>
                    <a:pt x="2496" y="514"/>
                  </a:lnTo>
                  <a:lnTo>
                    <a:pt x="2496" y="512"/>
                  </a:lnTo>
                  <a:lnTo>
                    <a:pt x="2496" y="508"/>
                  </a:lnTo>
                  <a:lnTo>
                    <a:pt x="2498" y="504"/>
                  </a:lnTo>
                  <a:lnTo>
                    <a:pt x="2498" y="504"/>
                  </a:lnTo>
                  <a:lnTo>
                    <a:pt x="2498" y="504"/>
                  </a:lnTo>
                  <a:lnTo>
                    <a:pt x="2498" y="502"/>
                  </a:lnTo>
                  <a:lnTo>
                    <a:pt x="2500" y="500"/>
                  </a:lnTo>
                  <a:lnTo>
                    <a:pt x="2500" y="500"/>
                  </a:lnTo>
                  <a:lnTo>
                    <a:pt x="2500" y="500"/>
                  </a:lnTo>
                  <a:lnTo>
                    <a:pt x="2500" y="498"/>
                  </a:lnTo>
                  <a:lnTo>
                    <a:pt x="2502" y="496"/>
                  </a:lnTo>
                  <a:lnTo>
                    <a:pt x="2502" y="496"/>
                  </a:lnTo>
                  <a:lnTo>
                    <a:pt x="2502" y="496"/>
                  </a:lnTo>
                  <a:lnTo>
                    <a:pt x="2502" y="494"/>
                  </a:lnTo>
                  <a:lnTo>
                    <a:pt x="2502" y="494"/>
                  </a:lnTo>
                  <a:lnTo>
                    <a:pt x="2502" y="492"/>
                  </a:lnTo>
                  <a:lnTo>
                    <a:pt x="2502" y="490"/>
                  </a:lnTo>
                  <a:lnTo>
                    <a:pt x="2500" y="490"/>
                  </a:lnTo>
                  <a:lnTo>
                    <a:pt x="2500" y="488"/>
                  </a:lnTo>
                  <a:lnTo>
                    <a:pt x="2498" y="486"/>
                  </a:lnTo>
                  <a:lnTo>
                    <a:pt x="2496" y="484"/>
                  </a:lnTo>
                  <a:lnTo>
                    <a:pt x="2492" y="480"/>
                  </a:lnTo>
                  <a:lnTo>
                    <a:pt x="2490" y="478"/>
                  </a:lnTo>
                  <a:lnTo>
                    <a:pt x="2486" y="476"/>
                  </a:lnTo>
                  <a:lnTo>
                    <a:pt x="2480" y="470"/>
                  </a:lnTo>
                  <a:lnTo>
                    <a:pt x="2472" y="464"/>
                  </a:lnTo>
                  <a:lnTo>
                    <a:pt x="2462" y="456"/>
                  </a:lnTo>
                  <a:lnTo>
                    <a:pt x="2454" y="450"/>
                  </a:lnTo>
                  <a:lnTo>
                    <a:pt x="2448" y="446"/>
                  </a:lnTo>
                  <a:lnTo>
                    <a:pt x="2444" y="442"/>
                  </a:lnTo>
                  <a:lnTo>
                    <a:pt x="2442" y="440"/>
                  </a:lnTo>
                  <a:lnTo>
                    <a:pt x="2438" y="436"/>
                  </a:lnTo>
                  <a:lnTo>
                    <a:pt x="2434" y="432"/>
                  </a:lnTo>
                  <a:lnTo>
                    <a:pt x="2432" y="430"/>
                  </a:lnTo>
                  <a:lnTo>
                    <a:pt x="2430" y="426"/>
                  </a:lnTo>
                  <a:lnTo>
                    <a:pt x="2424" y="420"/>
                  </a:lnTo>
                  <a:lnTo>
                    <a:pt x="2422" y="418"/>
                  </a:lnTo>
                  <a:lnTo>
                    <a:pt x="2418" y="414"/>
                  </a:lnTo>
                  <a:lnTo>
                    <a:pt x="2414" y="412"/>
                  </a:lnTo>
                  <a:lnTo>
                    <a:pt x="2408" y="410"/>
                  </a:lnTo>
                  <a:lnTo>
                    <a:pt x="2398" y="404"/>
                  </a:lnTo>
                  <a:lnTo>
                    <a:pt x="2392" y="402"/>
                  </a:lnTo>
                  <a:lnTo>
                    <a:pt x="2388" y="398"/>
                  </a:lnTo>
                  <a:lnTo>
                    <a:pt x="2384" y="396"/>
                  </a:lnTo>
                  <a:lnTo>
                    <a:pt x="2380" y="394"/>
                  </a:lnTo>
                  <a:lnTo>
                    <a:pt x="2376" y="394"/>
                  </a:lnTo>
                  <a:lnTo>
                    <a:pt x="2374" y="392"/>
                  </a:lnTo>
                  <a:lnTo>
                    <a:pt x="2372" y="392"/>
                  </a:lnTo>
                  <a:lnTo>
                    <a:pt x="2370" y="390"/>
                  </a:lnTo>
                  <a:lnTo>
                    <a:pt x="2368" y="388"/>
                  </a:lnTo>
                  <a:lnTo>
                    <a:pt x="2368" y="388"/>
                  </a:lnTo>
                  <a:lnTo>
                    <a:pt x="2368" y="388"/>
                  </a:lnTo>
                  <a:lnTo>
                    <a:pt x="2366" y="388"/>
                  </a:lnTo>
                  <a:lnTo>
                    <a:pt x="2364" y="388"/>
                  </a:lnTo>
                  <a:lnTo>
                    <a:pt x="2364" y="388"/>
                  </a:lnTo>
                  <a:lnTo>
                    <a:pt x="2358" y="388"/>
                  </a:lnTo>
                  <a:lnTo>
                    <a:pt x="2352" y="388"/>
                  </a:lnTo>
                  <a:lnTo>
                    <a:pt x="2348" y="388"/>
                  </a:lnTo>
                  <a:lnTo>
                    <a:pt x="2342" y="388"/>
                  </a:lnTo>
                  <a:lnTo>
                    <a:pt x="2340" y="388"/>
                  </a:lnTo>
                  <a:lnTo>
                    <a:pt x="2336" y="386"/>
                  </a:lnTo>
                  <a:lnTo>
                    <a:pt x="2330" y="386"/>
                  </a:lnTo>
                  <a:lnTo>
                    <a:pt x="2324" y="384"/>
                  </a:lnTo>
                  <a:lnTo>
                    <a:pt x="2322" y="384"/>
                  </a:lnTo>
                  <a:lnTo>
                    <a:pt x="2318" y="382"/>
                  </a:lnTo>
                  <a:lnTo>
                    <a:pt x="2316" y="382"/>
                  </a:lnTo>
                  <a:lnTo>
                    <a:pt x="2316" y="382"/>
                  </a:lnTo>
                  <a:lnTo>
                    <a:pt x="2312" y="382"/>
                  </a:lnTo>
                  <a:lnTo>
                    <a:pt x="2310" y="380"/>
                  </a:lnTo>
                  <a:lnTo>
                    <a:pt x="2308" y="380"/>
                  </a:lnTo>
                  <a:lnTo>
                    <a:pt x="2306" y="380"/>
                  </a:lnTo>
                  <a:lnTo>
                    <a:pt x="2304" y="380"/>
                  </a:lnTo>
                  <a:lnTo>
                    <a:pt x="2300" y="378"/>
                  </a:lnTo>
                  <a:lnTo>
                    <a:pt x="2294" y="376"/>
                  </a:lnTo>
                  <a:lnTo>
                    <a:pt x="2290" y="376"/>
                  </a:lnTo>
                  <a:lnTo>
                    <a:pt x="2288" y="376"/>
                  </a:lnTo>
                  <a:lnTo>
                    <a:pt x="2286" y="376"/>
                  </a:lnTo>
                  <a:lnTo>
                    <a:pt x="2284" y="376"/>
                  </a:lnTo>
                  <a:lnTo>
                    <a:pt x="2282" y="376"/>
                  </a:lnTo>
                  <a:lnTo>
                    <a:pt x="2282" y="376"/>
                  </a:lnTo>
                  <a:lnTo>
                    <a:pt x="2282" y="376"/>
                  </a:lnTo>
                  <a:lnTo>
                    <a:pt x="2280" y="376"/>
                  </a:lnTo>
                  <a:lnTo>
                    <a:pt x="2280" y="376"/>
                  </a:lnTo>
                  <a:lnTo>
                    <a:pt x="2280" y="376"/>
                  </a:lnTo>
                  <a:lnTo>
                    <a:pt x="2278" y="378"/>
                  </a:lnTo>
                  <a:lnTo>
                    <a:pt x="2278" y="378"/>
                  </a:lnTo>
                  <a:lnTo>
                    <a:pt x="2278" y="378"/>
                  </a:lnTo>
                  <a:lnTo>
                    <a:pt x="2276" y="382"/>
                  </a:lnTo>
                  <a:lnTo>
                    <a:pt x="2276" y="382"/>
                  </a:lnTo>
                  <a:lnTo>
                    <a:pt x="2276" y="382"/>
                  </a:lnTo>
                  <a:lnTo>
                    <a:pt x="2274" y="386"/>
                  </a:lnTo>
                  <a:lnTo>
                    <a:pt x="2274" y="386"/>
                  </a:lnTo>
                  <a:lnTo>
                    <a:pt x="2274" y="392"/>
                  </a:lnTo>
                  <a:lnTo>
                    <a:pt x="2274" y="392"/>
                  </a:lnTo>
                  <a:lnTo>
                    <a:pt x="2274" y="392"/>
                  </a:lnTo>
                  <a:lnTo>
                    <a:pt x="2274" y="394"/>
                  </a:lnTo>
                  <a:lnTo>
                    <a:pt x="2274" y="394"/>
                  </a:lnTo>
                  <a:lnTo>
                    <a:pt x="2276" y="396"/>
                  </a:lnTo>
                  <a:lnTo>
                    <a:pt x="2276" y="400"/>
                  </a:lnTo>
                  <a:lnTo>
                    <a:pt x="2278" y="404"/>
                  </a:lnTo>
                  <a:lnTo>
                    <a:pt x="2280" y="408"/>
                  </a:lnTo>
                  <a:lnTo>
                    <a:pt x="2282" y="412"/>
                  </a:lnTo>
                  <a:lnTo>
                    <a:pt x="2282" y="416"/>
                  </a:lnTo>
                  <a:lnTo>
                    <a:pt x="2284" y="420"/>
                  </a:lnTo>
                  <a:lnTo>
                    <a:pt x="2284" y="420"/>
                  </a:lnTo>
                  <a:lnTo>
                    <a:pt x="2284" y="420"/>
                  </a:lnTo>
                  <a:lnTo>
                    <a:pt x="2282" y="420"/>
                  </a:lnTo>
                  <a:lnTo>
                    <a:pt x="2280" y="420"/>
                  </a:lnTo>
                  <a:lnTo>
                    <a:pt x="2276" y="420"/>
                  </a:lnTo>
                  <a:lnTo>
                    <a:pt x="2272" y="420"/>
                  </a:lnTo>
                  <a:lnTo>
                    <a:pt x="2268" y="418"/>
                  </a:lnTo>
                  <a:lnTo>
                    <a:pt x="2266" y="418"/>
                  </a:lnTo>
                  <a:lnTo>
                    <a:pt x="2262" y="418"/>
                  </a:lnTo>
                  <a:lnTo>
                    <a:pt x="2258" y="416"/>
                  </a:lnTo>
                  <a:lnTo>
                    <a:pt x="2254" y="416"/>
                  </a:lnTo>
                  <a:lnTo>
                    <a:pt x="2250" y="414"/>
                  </a:lnTo>
                  <a:lnTo>
                    <a:pt x="2252" y="416"/>
                  </a:lnTo>
                  <a:lnTo>
                    <a:pt x="2250" y="414"/>
                  </a:lnTo>
                  <a:lnTo>
                    <a:pt x="2250" y="414"/>
                  </a:lnTo>
                  <a:lnTo>
                    <a:pt x="2248" y="412"/>
                  </a:lnTo>
                  <a:lnTo>
                    <a:pt x="2248" y="410"/>
                  </a:lnTo>
                  <a:lnTo>
                    <a:pt x="2248" y="408"/>
                  </a:lnTo>
                  <a:lnTo>
                    <a:pt x="2246" y="404"/>
                  </a:lnTo>
                  <a:lnTo>
                    <a:pt x="2246" y="402"/>
                  </a:lnTo>
                  <a:lnTo>
                    <a:pt x="2246" y="398"/>
                  </a:lnTo>
                  <a:lnTo>
                    <a:pt x="2246" y="400"/>
                  </a:lnTo>
                  <a:lnTo>
                    <a:pt x="2248" y="398"/>
                  </a:lnTo>
                  <a:lnTo>
                    <a:pt x="2248" y="396"/>
                  </a:lnTo>
                  <a:lnTo>
                    <a:pt x="2248" y="396"/>
                  </a:lnTo>
                  <a:lnTo>
                    <a:pt x="2250" y="394"/>
                  </a:lnTo>
                  <a:lnTo>
                    <a:pt x="2252" y="394"/>
                  </a:lnTo>
                  <a:lnTo>
                    <a:pt x="2256" y="394"/>
                  </a:lnTo>
                  <a:lnTo>
                    <a:pt x="2258" y="394"/>
                  </a:lnTo>
                  <a:lnTo>
                    <a:pt x="2262" y="392"/>
                  </a:lnTo>
                  <a:lnTo>
                    <a:pt x="2264" y="392"/>
                  </a:lnTo>
                  <a:lnTo>
                    <a:pt x="2264" y="392"/>
                  </a:lnTo>
                  <a:lnTo>
                    <a:pt x="2264" y="392"/>
                  </a:lnTo>
                  <a:lnTo>
                    <a:pt x="2266" y="390"/>
                  </a:lnTo>
                  <a:lnTo>
                    <a:pt x="2266" y="390"/>
                  </a:lnTo>
                  <a:lnTo>
                    <a:pt x="2266" y="388"/>
                  </a:lnTo>
                  <a:lnTo>
                    <a:pt x="2266" y="386"/>
                  </a:lnTo>
                  <a:lnTo>
                    <a:pt x="2266" y="386"/>
                  </a:lnTo>
                  <a:lnTo>
                    <a:pt x="2264" y="386"/>
                  </a:lnTo>
                  <a:lnTo>
                    <a:pt x="2264" y="384"/>
                  </a:lnTo>
                  <a:lnTo>
                    <a:pt x="2262" y="382"/>
                  </a:lnTo>
                  <a:lnTo>
                    <a:pt x="2258" y="380"/>
                  </a:lnTo>
                  <a:lnTo>
                    <a:pt x="2256" y="378"/>
                  </a:lnTo>
                  <a:lnTo>
                    <a:pt x="2254" y="378"/>
                  </a:lnTo>
                  <a:lnTo>
                    <a:pt x="2254" y="378"/>
                  </a:lnTo>
                  <a:lnTo>
                    <a:pt x="2254" y="378"/>
                  </a:lnTo>
                  <a:lnTo>
                    <a:pt x="2250" y="376"/>
                  </a:lnTo>
                  <a:lnTo>
                    <a:pt x="2250" y="376"/>
                  </a:lnTo>
                  <a:lnTo>
                    <a:pt x="2250" y="376"/>
                  </a:lnTo>
                  <a:lnTo>
                    <a:pt x="2248" y="376"/>
                  </a:lnTo>
                  <a:lnTo>
                    <a:pt x="2248" y="376"/>
                  </a:lnTo>
                  <a:lnTo>
                    <a:pt x="2248" y="376"/>
                  </a:lnTo>
                  <a:lnTo>
                    <a:pt x="2246" y="378"/>
                  </a:lnTo>
                  <a:lnTo>
                    <a:pt x="2246" y="378"/>
                  </a:lnTo>
                  <a:lnTo>
                    <a:pt x="2244" y="378"/>
                  </a:lnTo>
                  <a:lnTo>
                    <a:pt x="2244" y="380"/>
                  </a:lnTo>
                  <a:lnTo>
                    <a:pt x="2244" y="380"/>
                  </a:lnTo>
                  <a:lnTo>
                    <a:pt x="2244" y="380"/>
                  </a:lnTo>
                  <a:lnTo>
                    <a:pt x="2242" y="382"/>
                  </a:lnTo>
                  <a:lnTo>
                    <a:pt x="2240" y="386"/>
                  </a:lnTo>
                  <a:lnTo>
                    <a:pt x="2238" y="390"/>
                  </a:lnTo>
                  <a:lnTo>
                    <a:pt x="2236" y="392"/>
                  </a:lnTo>
                  <a:lnTo>
                    <a:pt x="2234" y="394"/>
                  </a:lnTo>
                  <a:lnTo>
                    <a:pt x="2230" y="398"/>
                  </a:lnTo>
                  <a:lnTo>
                    <a:pt x="2230" y="400"/>
                  </a:lnTo>
                  <a:lnTo>
                    <a:pt x="2228" y="402"/>
                  </a:lnTo>
                  <a:lnTo>
                    <a:pt x="2226" y="402"/>
                  </a:lnTo>
                  <a:lnTo>
                    <a:pt x="2226" y="402"/>
                  </a:lnTo>
                  <a:lnTo>
                    <a:pt x="2226" y="402"/>
                  </a:lnTo>
                  <a:lnTo>
                    <a:pt x="2224" y="402"/>
                  </a:lnTo>
                  <a:lnTo>
                    <a:pt x="2224" y="402"/>
                  </a:lnTo>
                  <a:lnTo>
                    <a:pt x="2222" y="400"/>
                  </a:lnTo>
                  <a:lnTo>
                    <a:pt x="2220" y="398"/>
                  </a:lnTo>
                  <a:lnTo>
                    <a:pt x="2220" y="398"/>
                  </a:lnTo>
                  <a:lnTo>
                    <a:pt x="2220" y="398"/>
                  </a:lnTo>
                  <a:lnTo>
                    <a:pt x="2218" y="398"/>
                  </a:lnTo>
                  <a:lnTo>
                    <a:pt x="2218" y="398"/>
                  </a:lnTo>
                  <a:lnTo>
                    <a:pt x="2216" y="398"/>
                  </a:lnTo>
                  <a:lnTo>
                    <a:pt x="2216" y="396"/>
                  </a:lnTo>
                  <a:lnTo>
                    <a:pt x="2216" y="396"/>
                  </a:lnTo>
                  <a:lnTo>
                    <a:pt x="2214" y="396"/>
                  </a:lnTo>
                  <a:lnTo>
                    <a:pt x="2212" y="396"/>
                  </a:lnTo>
                  <a:lnTo>
                    <a:pt x="2210" y="396"/>
                  </a:lnTo>
                  <a:lnTo>
                    <a:pt x="2204" y="398"/>
                  </a:lnTo>
                  <a:lnTo>
                    <a:pt x="2198" y="398"/>
                  </a:lnTo>
                  <a:lnTo>
                    <a:pt x="2196" y="398"/>
                  </a:lnTo>
                  <a:lnTo>
                    <a:pt x="2194" y="398"/>
                  </a:lnTo>
                  <a:lnTo>
                    <a:pt x="2194" y="398"/>
                  </a:lnTo>
                  <a:lnTo>
                    <a:pt x="2192" y="396"/>
                  </a:lnTo>
                  <a:lnTo>
                    <a:pt x="2192" y="394"/>
                  </a:lnTo>
                  <a:lnTo>
                    <a:pt x="2190" y="390"/>
                  </a:lnTo>
                  <a:lnTo>
                    <a:pt x="2190" y="390"/>
                  </a:lnTo>
                  <a:lnTo>
                    <a:pt x="2190" y="390"/>
                  </a:lnTo>
                  <a:lnTo>
                    <a:pt x="2188" y="390"/>
                  </a:lnTo>
                  <a:lnTo>
                    <a:pt x="2188" y="390"/>
                  </a:lnTo>
                  <a:lnTo>
                    <a:pt x="2186" y="388"/>
                  </a:lnTo>
                  <a:lnTo>
                    <a:pt x="2186" y="388"/>
                  </a:lnTo>
                  <a:lnTo>
                    <a:pt x="2186" y="388"/>
                  </a:lnTo>
                  <a:lnTo>
                    <a:pt x="2184" y="388"/>
                  </a:lnTo>
                  <a:lnTo>
                    <a:pt x="2182" y="388"/>
                  </a:lnTo>
                  <a:lnTo>
                    <a:pt x="2178" y="388"/>
                  </a:lnTo>
                  <a:lnTo>
                    <a:pt x="2176" y="388"/>
                  </a:lnTo>
                  <a:lnTo>
                    <a:pt x="2172" y="388"/>
                  </a:lnTo>
                  <a:lnTo>
                    <a:pt x="2164" y="388"/>
                  </a:lnTo>
                  <a:lnTo>
                    <a:pt x="2162" y="388"/>
                  </a:lnTo>
                  <a:lnTo>
                    <a:pt x="2158" y="388"/>
                  </a:lnTo>
                  <a:lnTo>
                    <a:pt x="2156" y="390"/>
                  </a:lnTo>
                  <a:lnTo>
                    <a:pt x="2154" y="390"/>
                  </a:lnTo>
                  <a:lnTo>
                    <a:pt x="2154" y="390"/>
                  </a:lnTo>
                  <a:lnTo>
                    <a:pt x="2154" y="390"/>
                  </a:lnTo>
                  <a:lnTo>
                    <a:pt x="2150" y="392"/>
                  </a:lnTo>
                  <a:lnTo>
                    <a:pt x="2150" y="392"/>
                  </a:lnTo>
                  <a:lnTo>
                    <a:pt x="2150" y="392"/>
                  </a:lnTo>
                  <a:lnTo>
                    <a:pt x="2148" y="394"/>
                  </a:lnTo>
                  <a:lnTo>
                    <a:pt x="2144" y="398"/>
                  </a:lnTo>
                  <a:lnTo>
                    <a:pt x="2144" y="400"/>
                  </a:lnTo>
                  <a:lnTo>
                    <a:pt x="2142" y="402"/>
                  </a:lnTo>
                  <a:lnTo>
                    <a:pt x="2142" y="402"/>
                  </a:lnTo>
                  <a:lnTo>
                    <a:pt x="2142" y="402"/>
                  </a:lnTo>
                  <a:lnTo>
                    <a:pt x="2142" y="402"/>
                  </a:lnTo>
                  <a:lnTo>
                    <a:pt x="2140" y="402"/>
                  </a:lnTo>
                  <a:lnTo>
                    <a:pt x="2140" y="400"/>
                  </a:lnTo>
                  <a:lnTo>
                    <a:pt x="2140" y="400"/>
                  </a:lnTo>
                  <a:lnTo>
                    <a:pt x="2140" y="400"/>
                  </a:lnTo>
                  <a:lnTo>
                    <a:pt x="2138" y="398"/>
                  </a:lnTo>
                  <a:lnTo>
                    <a:pt x="2138" y="398"/>
                  </a:lnTo>
                  <a:lnTo>
                    <a:pt x="2138" y="398"/>
                  </a:lnTo>
                  <a:lnTo>
                    <a:pt x="2136" y="396"/>
                  </a:lnTo>
                  <a:lnTo>
                    <a:pt x="2132" y="394"/>
                  </a:lnTo>
                  <a:lnTo>
                    <a:pt x="2130" y="390"/>
                  </a:lnTo>
                  <a:lnTo>
                    <a:pt x="2128" y="390"/>
                  </a:lnTo>
                  <a:lnTo>
                    <a:pt x="2128" y="390"/>
                  </a:lnTo>
                  <a:lnTo>
                    <a:pt x="2128" y="390"/>
                  </a:lnTo>
                  <a:lnTo>
                    <a:pt x="2126" y="388"/>
                  </a:lnTo>
                  <a:lnTo>
                    <a:pt x="2120" y="388"/>
                  </a:lnTo>
                  <a:lnTo>
                    <a:pt x="2118" y="388"/>
                  </a:lnTo>
                  <a:lnTo>
                    <a:pt x="2118" y="386"/>
                  </a:lnTo>
                  <a:lnTo>
                    <a:pt x="2118" y="386"/>
                  </a:lnTo>
                  <a:lnTo>
                    <a:pt x="2120" y="384"/>
                  </a:lnTo>
                  <a:lnTo>
                    <a:pt x="2124" y="382"/>
                  </a:lnTo>
                  <a:lnTo>
                    <a:pt x="2124" y="382"/>
                  </a:lnTo>
                  <a:lnTo>
                    <a:pt x="2124" y="380"/>
                  </a:lnTo>
                  <a:lnTo>
                    <a:pt x="2124" y="378"/>
                  </a:lnTo>
                  <a:lnTo>
                    <a:pt x="2124" y="378"/>
                  </a:lnTo>
                  <a:lnTo>
                    <a:pt x="2126" y="378"/>
                  </a:lnTo>
                  <a:lnTo>
                    <a:pt x="2126" y="376"/>
                  </a:lnTo>
                  <a:lnTo>
                    <a:pt x="2126" y="376"/>
                  </a:lnTo>
                  <a:lnTo>
                    <a:pt x="2126" y="376"/>
                  </a:lnTo>
                  <a:lnTo>
                    <a:pt x="2126" y="372"/>
                  </a:lnTo>
                  <a:lnTo>
                    <a:pt x="2126" y="372"/>
                  </a:lnTo>
                  <a:lnTo>
                    <a:pt x="2126" y="368"/>
                  </a:lnTo>
                  <a:lnTo>
                    <a:pt x="2126" y="366"/>
                  </a:lnTo>
                  <a:lnTo>
                    <a:pt x="2126" y="362"/>
                  </a:lnTo>
                  <a:lnTo>
                    <a:pt x="2124" y="358"/>
                  </a:lnTo>
                  <a:lnTo>
                    <a:pt x="2122" y="356"/>
                  </a:lnTo>
                  <a:lnTo>
                    <a:pt x="2120" y="354"/>
                  </a:lnTo>
                  <a:lnTo>
                    <a:pt x="2120" y="350"/>
                  </a:lnTo>
                  <a:lnTo>
                    <a:pt x="2116" y="346"/>
                  </a:lnTo>
                  <a:lnTo>
                    <a:pt x="2114" y="342"/>
                  </a:lnTo>
                  <a:lnTo>
                    <a:pt x="2112" y="340"/>
                  </a:lnTo>
                  <a:lnTo>
                    <a:pt x="2108" y="336"/>
                  </a:lnTo>
                  <a:lnTo>
                    <a:pt x="2108" y="336"/>
                  </a:lnTo>
                  <a:lnTo>
                    <a:pt x="2108" y="336"/>
                  </a:lnTo>
                  <a:lnTo>
                    <a:pt x="2104" y="334"/>
                  </a:lnTo>
                  <a:lnTo>
                    <a:pt x="2104" y="334"/>
                  </a:lnTo>
                  <a:lnTo>
                    <a:pt x="2104" y="334"/>
                  </a:lnTo>
                  <a:lnTo>
                    <a:pt x="2098" y="332"/>
                  </a:lnTo>
                  <a:lnTo>
                    <a:pt x="2094" y="330"/>
                  </a:lnTo>
                  <a:lnTo>
                    <a:pt x="2088" y="330"/>
                  </a:lnTo>
                  <a:lnTo>
                    <a:pt x="2082" y="328"/>
                  </a:lnTo>
                  <a:lnTo>
                    <a:pt x="2076" y="328"/>
                  </a:lnTo>
                  <a:lnTo>
                    <a:pt x="2068" y="328"/>
                  </a:lnTo>
                  <a:lnTo>
                    <a:pt x="2062" y="328"/>
                  </a:lnTo>
                  <a:lnTo>
                    <a:pt x="2056" y="328"/>
                  </a:lnTo>
                  <a:lnTo>
                    <a:pt x="2052" y="328"/>
                  </a:lnTo>
                  <a:lnTo>
                    <a:pt x="2048" y="328"/>
                  </a:lnTo>
                  <a:lnTo>
                    <a:pt x="2048" y="328"/>
                  </a:lnTo>
                  <a:lnTo>
                    <a:pt x="2046" y="328"/>
                  </a:lnTo>
                  <a:lnTo>
                    <a:pt x="2044" y="330"/>
                  </a:lnTo>
                  <a:lnTo>
                    <a:pt x="2044" y="330"/>
                  </a:lnTo>
                  <a:lnTo>
                    <a:pt x="2044" y="330"/>
                  </a:lnTo>
                  <a:lnTo>
                    <a:pt x="2042" y="332"/>
                  </a:lnTo>
                  <a:lnTo>
                    <a:pt x="2042" y="332"/>
                  </a:lnTo>
                  <a:lnTo>
                    <a:pt x="2040" y="332"/>
                  </a:lnTo>
                  <a:lnTo>
                    <a:pt x="2038" y="334"/>
                  </a:lnTo>
                  <a:lnTo>
                    <a:pt x="2038" y="336"/>
                  </a:lnTo>
                  <a:lnTo>
                    <a:pt x="2036" y="338"/>
                  </a:lnTo>
                  <a:lnTo>
                    <a:pt x="2036" y="338"/>
                  </a:lnTo>
                  <a:lnTo>
                    <a:pt x="2034" y="340"/>
                  </a:lnTo>
                  <a:lnTo>
                    <a:pt x="2032" y="340"/>
                  </a:lnTo>
                  <a:lnTo>
                    <a:pt x="2030" y="340"/>
                  </a:lnTo>
                  <a:lnTo>
                    <a:pt x="2026" y="340"/>
                  </a:lnTo>
                  <a:lnTo>
                    <a:pt x="2018" y="338"/>
                  </a:lnTo>
                  <a:lnTo>
                    <a:pt x="2014" y="336"/>
                  </a:lnTo>
                  <a:lnTo>
                    <a:pt x="2010" y="336"/>
                  </a:lnTo>
                  <a:lnTo>
                    <a:pt x="2006" y="334"/>
                  </a:lnTo>
                  <a:lnTo>
                    <a:pt x="2004" y="334"/>
                  </a:lnTo>
                  <a:lnTo>
                    <a:pt x="2002" y="332"/>
                  </a:lnTo>
                  <a:lnTo>
                    <a:pt x="2002" y="334"/>
                  </a:lnTo>
                  <a:lnTo>
                    <a:pt x="2000" y="332"/>
                  </a:lnTo>
                  <a:lnTo>
                    <a:pt x="2000" y="332"/>
                  </a:lnTo>
                  <a:lnTo>
                    <a:pt x="2000" y="332"/>
                  </a:lnTo>
                  <a:lnTo>
                    <a:pt x="1998" y="330"/>
                  </a:lnTo>
                  <a:lnTo>
                    <a:pt x="1996" y="328"/>
                  </a:lnTo>
                  <a:lnTo>
                    <a:pt x="1994" y="326"/>
                  </a:lnTo>
                  <a:lnTo>
                    <a:pt x="1992" y="326"/>
                  </a:lnTo>
                  <a:lnTo>
                    <a:pt x="1988" y="322"/>
                  </a:lnTo>
                  <a:lnTo>
                    <a:pt x="1984" y="318"/>
                  </a:lnTo>
                  <a:lnTo>
                    <a:pt x="1980" y="314"/>
                  </a:lnTo>
                  <a:lnTo>
                    <a:pt x="1978" y="310"/>
                  </a:lnTo>
                  <a:lnTo>
                    <a:pt x="1974" y="306"/>
                  </a:lnTo>
                  <a:lnTo>
                    <a:pt x="1972" y="304"/>
                  </a:lnTo>
                  <a:lnTo>
                    <a:pt x="1968" y="300"/>
                  </a:lnTo>
                  <a:lnTo>
                    <a:pt x="1966" y="296"/>
                  </a:lnTo>
                  <a:lnTo>
                    <a:pt x="1966" y="296"/>
                  </a:lnTo>
                  <a:lnTo>
                    <a:pt x="1966" y="294"/>
                  </a:lnTo>
                  <a:lnTo>
                    <a:pt x="1966" y="290"/>
                  </a:lnTo>
                  <a:lnTo>
                    <a:pt x="1968" y="286"/>
                  </a:lnTo>
                  <a:lnTo>
                    <a:pt x="1968" y="284"/>
                  </a:lnTo>
                  <a:lnTo>
                    <a:pt x="1968" y="284"/>
                  </a:lnTo>
                  <a:lnTo>
                    <a:pt x="1968" y="284"/>
                  </a:lnTo>
                  <a:lnTo>
                    <a:pt x="1966" y="282"/>
                  </a:lnTo>
                  <a:lnTo>
                    <a:pt x="1966" y="282"/>
                  </a:lnTo>
                  <a:lnTo>
                    <a:pt x="1966" y="280"/>
                  </a:lnTo>
                  <a:lnTo>
                    <a:pt x="1964" y="278"/>
                  </a:lnTo>
                  <a:lnTo>
                    <a:pt x="1964" y="278"/>
                  </a:lnTo>
                  <a:lnTo>
                    <a:pt x="1964" y="278"/>
                  </a:lnTo>
                  <a:lnTo>
                    <a:pt x="1962" y="276"/>
                  </a:lnTo>
                  <a:lnTo>
                    <a:pt x="1962" y="276"/>
                  </a:lnTo>
                  <a:lnTo>
                    <a:pt x="1962" y="276"/>
                  </a:lnTo>
                  <a:lnTo>
                    <a:pt x="1960" y="274"/>
                  </a:lnTo>
                  <a:lnTo>
                    <a:pt x="1958" y="274"/>
                  </a:lnTo>
                  <a:lnTo>
                    <a:pt x="1954" y="272"/>
                  </a:lnTo>
                  <a:lnTo>
                    <a:pt x="1952" y="270"/>
                  </a:lnTo>
                  <a:lnTo>
                    <a:pt x="1948" y="270"/>
                  </a:lnTo>
                  <a:lnTo>
                    <a:pt x="1944" y="268"/>
                  </a:lnTo>
                  <a:lnTo>
                    <a:pt x="1940" y="268"/>
                  </a:lnTo>
                  <a:lnTo>
                    <a:pt x="1934" y="268"/>
                  </a:lnTo>
                  <a:lnTo>
                    <a:pt x="1924" y="266"/>
                  </a:lnTo>
                  <a:lnTo>
                    <a:pt x="1920" y="266"/>
                  </a:lnTo>
                  <a:lnTo>
                    <a:pt x="1916" y="264"/>
                  </a:lnTo>
                  <a:lnTo>
                    <a:pt x="1914" y="264"/>
                  </a:lnTo>
                  <a:lnTo>
                    <a:pt x="1910" y="262"/>
                  </a:lnTo>
                  <a:lnTo>
                    <a:pt x="1906" y="260"/>
                  </a:lnTo>
                  <a:lnTo>
                    <a:pt x="1900" y="256"/>
                  </a:lnTo>
                  <a:lnTo>
                    <a:pt x="1896" y="254"/>
                  </a:lnTo>
                  <a:lnTo>
                    <a:pt x="1890" y="252"/>
                  </a:lnTo>
                  <a:lnTo>
                    <a:pt x="1884" y="250"/>
                  </a:lnTo>
                  <a:lnTo>
                    <a:pt x="1876" y="248"/>
                  </a:lnTo>
                  <a:lnTo>
                    <a:pt x="1870" y="248"/>
                  </a:lnTo>
                  <a:lnTo>
                    <a:pt x="1870" y="248"/>
                  </a:lnTo>
                  <a:lnTo>
                    <a:pt x="1866" y="248"/>
                  </a:lnTo>
                  <a:lnTo>
                    <a:pt x="1862" y="248"/>
                  </a:lnTo>
                  <a:lnTo>
                    <a:pt x="1852" y="250"/>
                  </a:lnTo>
                  <a:lnTo>
                    <a:pt x="1848" y="252"/>
                  </a:lnTo>
                  <a:lnTo>
                    <a:pt x="1844" y="254"/>
                  </a:lnTo>
                  <a:lnTo>
                    <a:pt x="1840" y="254"/>
                  </a:lnTo>
                  <a:lnTo>
                    <a:pt x="1836" y="256"/>
                  </a:lnTo>
                  <a:lnTo>
                    <a:pt x="1832" y="258"/>
                  </a:lnTo>
                  <a:lnTo>
                    <a:pt x="1828" y="260"/>
                  </a:lnTo>
                  <a:lnTo>
                    <a:pt x="1828" y="260"/>
                  </a:lnTo>
                  <a:lnTo>
                    <a:pt x="1828" y="260"/>
                  </a:lnTo>
                  <a:lnTo>
                    <a:pt x="1824" y="264"/>
                  </a:lnTo>
                  <a:lnTo>
                    <a:pt x="1824" y="264"/>
                  </a:lnTo>
                  <a:lnTo>
                    <a:pt x="1824" y="264"/>
                  </a:lnTo>
                  <a:lnTo>
                    <a:pt x="1822" y="266"/>
                  </a:lnTo>
                  <a:lnTo>
                    <a:pt x="1822" y="266"/>
                  </a:lnTo>
                  <a:lnTo>
                    <a:pt x="1822" y="268"/>
                  </a:lnTo>
                  <a:lnTo>
                    <a:pt x="1820" y="270"/>
                  </a:lnTo>
                  <a:lnTo>
                    <a:pt x="1820" y="274"/>
                  </a:lnTo>
                  <a:lnTo>
                    <a:pt x="1818" y="274"/>
                  </a:lnTo>
                  <a:lnTo>
                    <a:pt x="1818" y="274"/>
                  </a:lnTo>
                  <a:lnTo>
                    <a:pt x="1818" y="270"/>
                  </a:lnTo>
                  <a:lnTo>
                    <a:pt x="1818" y="266"/>
                  </a:lnTo>
                  <a:lnTo>
                    <a:pt x="1818" y="264"/>
                  </a:lnTo>
                  <a:lnTo>
                    <a:pt x="1818" y="262"/>
                  </a:lnTo>
                  <a:lnTo>
                    <a:pt x="1818" y="262"/>
                  </a:lnTo>
                  <a:lnTo>
                    <a:pt x="1818" y="262"/>
                  </a:lnTo>
                  <a:lnTo>
                    <a:pt x="1816" y="262"/>
                  </a:lnTo>
                  <a:lnTo>
                    <a:pt x="1816" y="260"/>
                  </a:lnTo>
                  <a:lnTo>
                    <a:pt x="1816" y="260"/>
                  </a:lnTo>
                  <a:lnTo>
                    <a:pt x="1814" y="260"/>
                  </a:lnTo>
                  <a:lnTo>
                    <a:pt x="1814" y="260"/>
                  </a:lnTo>
                  <a:lnTo>
                    <a:pt x="1814" y="260"/>
                  </a:lnTo>
                  <a:lnTo>
                    <a:pt x="1812" y="260"/>
                  </a:lnTo>
                  <a:lnTo>
                    <a:pt x="1812" y="260"/>
                  </a:lnTo>
                  <a:lnTo>
                    <a:pt x="1812" y="260"/>
                  </a:lnTo>
                  <a:lnTo>
                    <a:pt x="1810" y="262"/>
                  </a:lnTo>
                  <a:lnTo>
                    <a:pt x="1810" y="262"/>
                  </a:lnTo>
                  <a:lnTo>
                    <a:pt x="1810" y="262"/>
                  </a:lnTo>
                  <a:lnTo>
                    <a:pt x="1810" y="262"/>
                  </a:lnTo>
                  <a:lnTo>
                    <a:pt x="1808" y="266"/>
                  </a:lnTo>
                  <a:lnTo>
                    <a:pt x="1806" y="268"/>
                  </a:lnTo>
                  <a:lnTo>
                    <a:pt x="1806" y="272"/>
                  </a:lnTo>
                  <a:lnTo>
                    <a:pt x="1804" y="276"/>
                  </a:lnTo>
                  <a:lnTo>
                    <a:pt x="1804" y="278"/>
                  </a:lnTo>
                  <a:lnTo>
                    <a:pt x="1804" y="280"/>
                  </a:lnTo>
                  <a:lnTo>
                    <a:pt x="1804" y="280"/>
                  </a:lnTo>
                  <a:lnTo>
                    <a:pt x="1804" y="282"/>
                  </a:lnTo>
                  <a:lnTo>
                    <a:pt x="1804" y="282"/>
                  </a:lnTo>
                  <a:lnTo>
                    <a:pt x="1804" y="282"/>
                  </a:lnTo>
                  <a:lnTo>
                    <a:pt x="1804" y="284"/>
                  </a:lnTo>
                  <a:lnTo>
                    <a:pt x="1806" y="284"/>
                  </a:lnTo>
                  <a:lnTo>
                    <a:pt x="1806" y="284"/>
                  </a:lnTo>
                  <a:lnTo>
                    <a:pt x="1806" y="286"/>
                  </a:lnTo>
                  <a:lnTo>
                    <a:pt x="1808" y="286"/>
                  </a:lnTo>
                  <a:lnTo>
                    <a:pt x="1810" y="286"/>
                  </a:lnTo>
                  <a:lnTo>
                    <a:pt x="1812" y="288"/>
                  </a:lnTo>
                  <a:lnTo>
                    <a:pt x="1814" y="288"/>
                  </a:lnTo>
                  <a:lnTo>
                    <a:pt x="1814" y="290"/>
                  </a:lnTo>
                  <a:lnTo>
                    <a:pt x="1814" y="292"/>
                  </a:lnTo>
                  <a:lnTo>
                    <a:pt x="1816" y="294"/>
                  </a:lnTo>
                  <a:lnTo>
                    <a:pt x="1816" y="298"/>
                  </a:lnTo>
                  <a:lnTo>
                    <a:pt x="1816" y="302"/>
                  </a:lnTo>
                  <a:lnTo>
                    <a:pt x="1816" y="304"/>
                  </a:lnTo>
                  <a:lnTo>
                    <a:pt x="1816" y="308"/>
                  </a:lnTo>
                  <a:lnTo>
                    <a:pt x="1816" y="310"/>
                  </a:lnTo>
                  <a:lnTo>
                    <a:pt x="1814" y="310"/>
                  </a:lnTo>
                  <a:lnTo>
                    <a:pt x="1814" y="310"/>
                  </a:lnTo>
                  <a:lnTo>
                    <a:pt x="1812" y="310"/>
                  </a:lnTo>
                  <a:lnTo>
                    <a:pt x="1808" y="310"/>
                  </a:lnTo>
                  <a:lnTo>
                    <a:pt x="1802" y="308"/>
                  </a:lnTo>
                  <a:lnTo>
                    <a:pt x="1800" y="306"/>
                  </a:lnTo>
                  <a:lnTo>
                    <a:pt x="1798" y="306"/>
                  </a:lnTo>
                  <a:lnTo>
                    <a:pt x="1798" y="306"/>
                  </a:lnTo>
                  <a:lnTo>
                    <a:pt x="1796" y="306"/>
                  </a:lnTo>
                  <a:lnTo>
                    <a:pt x="1794" y="306"/>
                  </a:lnTo>
                  <a:lnTo>
                    <a:pt x="1794" y="306"/>
                  </a:lnTo>
                  <a:lnTo>
                    <a:pt x="1792" y="308"/>
                  </a:lnTo>
                  <a:lnTo>
                    <a:pt x="1790" y="308"/>
                  </a:lnTo>
                  <a:lnTo>
                    <a:pt x="1790" y="308"/>
                  </a:lnTo>
                  <a:lnTo>
                    <a:pt x="1788" y="308"/>
                  </a:lnTo>
                  <a:lnTo>
                    <a:pt x="1786" y="308"/>
                  </a:lnTo>
                  <a:lnTo>
                    <a:pt x="1782" y="308"/>
                  </a:lnTo>
                  <a:lnTo>
                    <a:pt x="1780" y="308"/>
                  </a:lnTo>
                  <a:lnTo>
                    <a:pt x="1774" y="308"/>
                  </a:lnTo>
                  <a:lnTo>
                    <a:pt x="1770" y="308"/>
                  </a:lnTo>
                  <a:lnTo>
                    <a:pt x="1766" y="308"/>
                  </a:lnTo>
                  <a:lnTo>
                    <a:pt x="1760" y="308"/>
                  </a:lnTo>
                  <a:lnTo>
                    <a:pt x="1756" y="308"/>
                  </a:lnTo>
                  <a:lnTo>
                    <a:pt x="1754" y="308"/>
                  </a:lnTo>
                  <a:lnTo>
                    <a:pt x="1752" y="308"/>
                  </a:lnTo>
                  <a:lnTo>
                    <a:pt x="1752" y="308"/>
                  </a:lnTo>
                  <a:lnTo>
                    <a:pt x="1750" y="308"/>
                  </a:lnTo>
                  <a:lnTo>
                    <a:pt x="1748" y="310"/>
                  </a:lnTo>
                  <a:lnTo>
                    <a:pt x="1748" y="310"/>
                  </a:lnTo>
                  <a:lnTo>
                    <a:pt x="1748" y="310"/>
                  </a:lnTo>
                  <a:lnTo>
                    <a:pt x="1748" y="310"/>
                  </a:lnTo>
                  <a:lnTo>
                    <a:pt x="1748" y="310"/>
                  </a:lnTo>
                  <a:lnTo>
                    <a:pt x="1746" y="310"/>
                  </a:lnTo>
                  <a:lnTo>
                    <a:pt x="1746" y="312"/>
                  </a:lnTo>
                  <a:lnTo>
                    <a:pt x="1744" y="314"/>
                  </a:lnTo>
                  <a:lnTo>
                    <a:pt x="1744" y="314"/>
                  </a:lnTo>
                  <a:lnTo>
                    <a:pt x="1742" y="314"/>
                  </a:lnTo>
                  <a:lnTo>
                    <a:pt x="1742" y="314"/>
                  </a:lnTo>
                  <a:lnTo>
                    <a:pt x="1740" y="314"/>
                  </a:lnTo>
                  <a:lnTo>
                    <a:pt x="1734" y="316"/>
                  </a:lnTo>
                  <a:lnTo>
                    <a:pt x="1730" y="316"/>
                  </a:lnTo>
                  <a:lnTo>
                    <a:pt x="1728" y="316"/>
                  </a:lnTo>
                  <a:lnTo>
                    <a:pt x="1728" y="316"/>
                  </a:lnTo>
                  <a:lnTo>
                    <a:pt x="1726" y="314"/>
                  </a:lnTo>
                  <a:lnTo>
                    <a:pt x="1722" y="312"/>
                  </a:lnTo>
                  <a:lnTo>
                    <a:pt x="1724" y="312"/>
                  </a:lnTo>
                  <a:lnTo>
                    <a:pt x="1722" y="310"/>
                  </a:lnTo>
                  <a:lnTo>
                    <a:pt x="1720" y="306"/>
                  </a:lnTo>
                  <a:lnTo>
                    <a:pt x="1720" y="306"/>
                  </a:lnTo>
                  <a:lnTo>
                    <a:pt x="1720" y="304"/>
                  </a:lnTo>
                  <a:lnTo>
                    <a:pt x="1718" y="302"/>
                  </a:lnTo>
                  <a:lnTo>
                    <a:pt x="1718" y="296"/>
                  </a:lnTo>
                  <a:lnTo>
                    <a:pt x="1718" y="294"/>
                  </a:lnTo>
                  <a:lnTo>
                    <a:pt x="1718" y="292"/>
                  </a:lnTo>
                  <a:lnTo>
                    <a:pt x="1718" y="290"/>
                  </a:lnTo>
                  <a:lnTo>
                    <a:pt x="1718" y="290"/>
                  </a:lnTo>
                  <a:lnTo>
                    <a:pt x="1716" y="288"/>
                  </a:lnTo>
                  <a:lnTo>
                    <a:pt x="1716" y="288"/>
                  </a:lnTo>
                  <a:lnTo>
                    <a:pt x="1716" y="288"/>
                  </a:lnTo>
                  <a:lnTo>
                    <a:pt x="1714" y="286"/>
                  </a:lnTo>
                  <a:lnTo>
                    <a:pt x="1714" y="286"/>
                  </a:lnTo>
                  <a:lnTo>
                    <a:pt x="1714" y="286"/>
                  </a:lnTo>
                  <a:lnTo>
                    <a:pt x="1712" y="288"/>
                  </a:lnTo>
                  <a:lnTo>
                    <a:pt x="1710" y="288"/>
                  </a:lnTo>
                  <a:lnTo>
                    <a:pt x="1710" y="288"/>
                  </a:lnTo>
                  <a:lnTo>
                    <a:pt x="1710" y="288"/>
                  </a:lnTo>
                  <a:lnTo>
                    <a:pt x="1708" y="290"/>
                  </a:lnTo>
                  <a:lnTo>
                    <a:pt x="1706" y="292"/>
                  </a:lnTo>
                  <a:lnTo>
                    <a:pt x="1704" y="296"/>
                  </a:lnTo>
                  <a:lnTo>
                    <a:pt x="1702" y="298"/>
                  </a:lnTo>
                  <a:lnTo>
                    <a:pt x="1702" y="300"/>
                  </a:lnTo>
                  <a:lnTo>
                    <a:pt x="1700" y="302"/>
                  </a:lnTo>
                  <a:lnTo>
                    <a:pt x="1700" y="302"/>
                  </a:lnTo>
                  <a:lnTo>
                    <a:pt x="1700" y="304"/>
                  </a:lnTo>
                  <a:lnTo>
                    <a:pt x="1700" y="306"/>
                  </a:lnTo>
                  <a:lnTo>
                    <a:pt x="1700" y="308"/>
                  </a:lnTo>
                  <a:lnTo>
                    <a:pt x="1700" y="312"/>
                  </a:lnTo>
                  <a:lnTo>
                    <a:pt x="1700" y="316"/>
                  </a:lnTo>
                  <a:lnTo>
                    <a:pt x="1700" y="318"/>
                  </a:lnTo>
                  <a:lnTo>
                    <a:pt x="1698" y="322"/>
                  </a:lnTo>
                  <a:lnTo>
                    <a:pt x="1696" y="326"/>
                  </a:lnTo>
                  <a:lnTo>
                    <a:pt x="1696" y="330"/>
                  </a:lnTo>
                  <a:lnTo>
                    <a:pt x="1694" y="334"/>
                  </a:lnTo>
                  <a:lnTo>
                    <a:pt x="1692" y="338"/>
                  </a:lnTo>
                  <a:lnTo>
                    <a:pt x="1690" y="342"/>
                  </a:lnTo>
                  <a:lnTo>
                    <a:pt x="1688" y="344"/>
                  </a:lnTo>
                  <a:lnTo>
                    <a:pt x="1686" y="346"/>
                  </a:lnTo>
                  <a:lnTo>
                    <a:pt x="1686" y="346"/>
                  </a:lnTo>
                  <a:lnTo>
                    <a:pt x="1686" y="346"/>
                  </a:lnTo>
                  <a:lnTo>
                    <a:pt x="1686" y="346"/>
                  </a:lnTo>
                  <a:lnTo>
                    <a:pt x="1684" y="344"/>
                  </a:lnTo>
                  <a:lnTo>
                    <a:pt x="1682" y="342"/>
                  </a:lnTo>
                  <a:lnTo>
                    <a:pt x="1680" y="340"/>
                  </a:lnTo>
                  <a:lnTo>
                    <a:pt x="1678" y="336"/>
                  </a:lnTo>
                  <a:lnTo>
                    <a:pt x="1674" y="334"/>
                  </a:lnTo>
                  <a:lnTo>
                    <a:pt x="1672" y="330"/>
                  </a:lnTo>
                  <a:lnTo>
                    <a:pt x="1668" y="326"/>
                  </a:lnTo>
                  <a:lnTo>
                    <a:pt x="1666" y="322"/>
                  </a:lnTo>
                  <a:lnTo>
                    <a:pt x="1664" y="318"/>
                  </a:lnTo>
                  <a:lnTo>
                    <a:pt x="1662" y="314"/>
                  </a:lnTo>
                  <a:lnTo>
                    <a:pt x="1660" y="312"/>
                  </a:lnTo>
                  <a:lnTo>
                    <a:pt x="1660" y="308"/>
                  </a:lnTo>
                  <a:lnTo>
                    <a:pt x="1658" y="302"/>
                  </a:lnTo>
                  <a:lnTo>
                    <a:pt x="1658" y="294"/>
                  </a:lnTo>
                  <a:lnTo>
                    <a:pt x="1658" y="288"/>
                  </a:lnTo>
                  <a:lnTo>
                    <a:pt x="1658" y="286"/>
                  </a:lnTo>
                  <a:lnTo>
                    <a:pt x="1658" y="284"/>
                  </a:lnTo>
                  <a:lnTo>
                    <a:pt x="1658" y="284"/>
                  </a:lnTo>
                  <a:lnTo>
                    <a:pt x="1660" y="280"/>
                  </a:lnTo>
                  <a:lnTo>
                    <a:pt x="1662" y="276"/>
                  </a:lnTo>
                  <a:lnTo>
                    <a:pt x="1664" y="274"/>
                  </a:lnTo>
                  <a:lnTo>
                    <a:pt x="1664" y="274"/>
                  </a:lnTo>
                  <a:lnTo>
                    <a:pt x="1664" y="274"/>
                  </a:lnTo>
                  <a:lnTo>
                    <a:pt x="1664" y="272"/>
                  </a:lnTo>
                  <a:lnTo>
                    <a:pt x="1664" y="268"/>
                  </a:lnTo>
                  <a:lnTo>
                    <a:pt x="1664" y="264"/>
                  </a:lnTo>
                  <a:lnTo>
                    <a:pt x="1664" y="258"/>
                  </a:lnTo>
                  <a:lnTo>
                    <a:pt x="1664" y="250"/>
                  </a:lnTo>
                  <a:lnTo>
                    <a:pt x="1664" y="244"/>
                  </a:lnTo>
                  <a:lnTo>
                    <a:pt x="1664" y="244"/>
                  </a:lnTo>
                  <a:lnTo>
                    <a:pt x="1664" y="244"/>
                  </a:lnTo>
                  <a:lnTo>
                    <a:pt x="1662" y="240"/>
                  </a:lnTo>
                  <a:lnTo>
                    <a:pt x="1662" y="238"/>
                  </a:lnTo>
                  <a:lnTo>
                    <a:pt x="1658" y="232"/>
                  </a:lnTo>
                  <a:lnTo>
                    <a:pt x="1658" y="232"/>
                  </a:lnTo>
                  <a:lnTo>
                    <a:pt x="1658" y="232"/>
                  </a:lnTo>
                  <a:lnTo>
                    <a:pt x="1654" y="226"/>
                  </a:lnTo>
                  <a:lnTo>
                    <a:pt x="1648" y="222"/>
                  </a:lnTo>
                  <a:lnTo>
                    <a:pt x="1648" y="222"/>
                  </a:lnTo>
                  <a:lnTo>
                    <a:pt x="1648" y="222"/>
                  </a:lnTo>
                  <a:lnTo>
                    <a:pt x="1646" y="220"/>
                  </a:lnTo>
                  <a:lnTo>
                    <a:pt x="1646" y="220"/>
                  </a:lnTo>
                  <a:lnTo>
                    <a:pt x="1646" y="220"/>
                  </a:lnTo>
                  <a:lnTo>
                    <a:pt x="1642" y="218"/>
                  </a:lnTo>
                  <a:lnTo>
                    <a:pt x="1642" y="218"/>
                  </a:lnTo>
                  <a:lnTo>
                    <a:pt x="1642" y="218"/>
                  </a:lnTo>
                  <a:lnTo>
                    <a:pt x="1636" y="216"/>
                  </a:lnTo>
                  <a:lnTo>
                    <a:pt x="1630" y="216"/>
                  </a:lnTo>
                  <a:lnTo>
                    <a:pt x="1626" y="216"/>
                  </a:lnTo>
                  <a:lnTo>
                    <a:pt x="1624" y="214"/>
                  </a:lnTo>
                  <a:lnTo>
                    <a:pt x="1618" y="214"/>
                  </a:lnTo>
                  <a:lnTo>
                    <a:pt x="1614" y="212"/>
                  </a:lnTo>
                  <a:lnTo>
                    <a:pt x="1610" y="210"/>
                  </a:lnTo>
                  <a:lnTo>
                    <a:pt x="1606" y="210"/>
                  </a:lnTo>
                  <a:lnTo>
                    <a:pt x="1606" y="210"/>
                  </a:lnTo>
                  <a:lnTo>
                    <a:pt x="1604" y="208"/>
                  </a:lnTo>
                  <a:lnTo>
                    <a:pt x="1604" y="208"/>
                  </a:lnTo>
                  <a:lnTo>
                    <a:pt x="1602" y="206"/>
                  </a:lnTo>
                  <a:lnTo>
                    <a:pt x="1600" y="204"/>
                  </a:lnTo>
                  <a:lnTo>
                    <a:pt x="1598" y="202"/>
                  </a:lnTo>
                  <a:lnTo>
                    <a:pt x="1596" y="200"/>
                  </a:lnTo>
                  <a:lnTo>
                    <a:pt x="1596" y="200"/>
                  </a:lnTo>
                  <a:lnTo>
                    <a:pt x="1596" y="200"/>
                  </a:lnTo>
                  <a:lnTo>
                    <a:pt x="1594" y="198"/>
                  </a:lnTo>
                  <a:lnTo>
                    <a:pt x="1594" y="198"/>
                  </a:lnTo>
                  <a:lnTo>
                    <a:pt x="1594" y="198"/>
                  </a:lnTo>
                  <a:lnTo>
                    <a:pt x="1592" y="196"/>
                  </a:lnTo>
                  <a:lnTo>
                    <a:pt x="1592" y="196"/>
                  </a:lnTo>
                  <a:lnTo>
                    <a:pt x="1592" y="196"/>
                  </a:lnTo>
                  <a:lnTo>
                    <a:pt x="1586" y="196"/>
                  </a:lnTo>
                  <a:lnTo>
                    <a:pt x="1586" y="196"/>
                  </a:lnTo>
                  <a:lnTo>
                    <a:pt x="1582" y="198"/>
                  </a:lnTo>
                  <a:lnTo>
                    <a:pt x="1582" y="198"/>
                  </a:lnTo>
                  <a:lnTo>
                    <a:pt x="1582" y="198"/>
                  </a:lnTo>
                  <a:lnTo>
                    <a:pt x="1578" y="198"/>
                  </a:lnTo>
                  <a:lnTo>
                    <a:pt x="1578" y="198"/>
                  </a:lnTo>
                  <a:lnTo>
                    <a:pt x="1578" y="198"/>
                  </a:lnTo>
                  <a:lnTo>
                    <a:pt x="1576" y="200"/>
                  </a:lnTo>
                  <a:lnTo>
                    <a:pt x="1574" y="200"/>
                  </a:lnTo>
                  <a:lnTo>
                    <a:pt x="1574" y="200"/>
                  </a:lnTo>
                  <a:lnTo>
                    <a:pt x="1574" y="200"/>
                  </a:lnTo>
                  <a:lnTo>
                    <a:pt x="1572" y="202"/>
                  </a:lnTo>
                  <a:lnTo>
                    <a:pt x="1572" y="202"/>
                  </a:lnTo>
                  <a:lnTo>
                    <a:pt x="1572" y="204"/>
                  </a:lnTo>
                  <a:lnTo>
                    <a:pt x="1570" y="206"/>
                  </a:lnTo>
                  <a:lnTo>
                    <a:pt x="1570" y="206"/>
                  </a:lnTo>
                  <a:lnTo>
                    <a:pt x="1570" y="206"/>
                  </a:lnTo>
                  <a:lnTo>
                    <a:pt x="1568" y="210"/>
                  </a:lnTo>
                  <a:lnTo>
                    <a:pt x="1568" y="210"/>
                  </a:lnTo>
                  <a:lnTo>
                    <a:pt x="1568" y="210"/>
                  </a:lnTo>
                  <a:lnTo>
                    <a:pt x="1568" y="214"/>
                  </a:lnTo>
                  <a:lnTo>
                    <a:pt x="1568" y="214"/>
                  </a:lnTo>
                  <a:lnTo>
                    <a:pt x="1568" y="216"/>
                  </a:lnTo>
                  <a:lnTo>
                    <a:pt x="1568" y="216"/>
                  </a:lnTo>
                  <a:lnTo>
                    <a:pt x="1568" y="216"/>
                  </a:lnTo>
                  <a:lnTo>
                    <a:pt x="1570" y="220"/>
                  </a:lnTo>
                  <a:lnTo>
                    <a:pt x="1570" y="222"/>
                  </a:lnTo>
                  <a:lnTo>
                    <a:pt x="1572" y="224"/>
                  </a:lnTo>
                  <a:lnTo>
                    <a:pt x="1574" y="226"/>
                  </a:lnTo>
                  <a:lnTo>
                    <a:pt x="1574" y="228"/>
                  </a:lnTo>
                  <a:lnTo>
                    <a:pt x="1576" y="230"/>
                  </a:lnTo>
                  <a:lnTo>
                    <a:pt x="1576" y="232"/>
                  </a:lnTo>
                  <a:lnTo>
                    <a:pt x="1576" y="232"/>
                  </a:lnTo>
                  <a:lnTo>
                    <a:pt x="1576" y="234"/>
                  </a:lnTo>
                  <a:lnTo>
                    <a:pt x="1574" y="236"/>
                  </a:lnTo>
                  <a:lnTo>
                    <a:pt x="1570" y="238"/>
                  </a:lnTo>
                  <a:lnTo>
                    <a:pt x="1572" y="238"/>
                  </a:lnTo>
                  <a:lnTo>
                    <a:pt x="1570" y="238"/>
                  </a:lnTo>
                  <a:lnTo>
                    <a:pt x="1570" y="238"/>
                  </a:lnTo>
                  <a:lnTo>
                    <a:pt x="1568" y="236"/>
                  </a:lnTo>
                  <a:lnTo>
                    <a:pt x="1566" y="234"/>
                  </a:lnTo>
                  <a:lnTo>
                    <a:pt x="1566" y="234"/>
                  </a:lnTo>
                  <a:lnTo>
                    <a:pt x="1566" y="234"/>
                  </a:lnTo>
                  <a:lnTo>
                    <a:pt x="1564" y="234"/>
                  </a:lnTo>
                  <a:lnTo>
                    <a:pt x="1564" y="234"/>
                  </a:lnTo>
                  <a:lnTo>
                    <a:pt x="1564" y="234"/>
                  </a:lnTo>
                  <a:lnTo>
                    <a:pt x="1562" y="232"/>
                  </a:lnTo>
                  <a:lnTo>
                    <a:pt x="1560" y="232"/>
                  </a:lnTo>
                  <a:lnTo>
                    <a:pt x="1558" y="234"/>
                  </a:lnTo>
                  <a:lnTo>
                    <a:pt x="1556" y="234"/>
                  </a:lnTo>
                  <a:lnTo>
                    <a:pt x="1550" y="234"/>
                  </a:lnTo>
                  <a:lnTo>
                    <a:pt x="1544" y="236"/>
                  </a:lnTo>
                  <a:lnTo>
                    <a:pt x="1542" y="238"/>
                  </a:lnTo>
                  <a:lnTo>
                    <a:pt x="1540" y="238"/>
                  </a:lnTo>
                  <a:lnTo>
                    <a:pt x="1534" y="238"/>
                  </a:lnTo>
                  <a:lnTo>
                    <a:pt x="1530" y="238"/>
                  </a:lnTo>
                  <a:lnTo>
                    <a:pt x="1526" y="238"/>
                  </a:lnTo>
                  <a:lnTo>
                    <a:pt x="1526" y="238"/>
                  </a:lnTo>
                  <a:lnTo>
                    <a:pt x="1524" y="238"/>
                  </a:lnTo>
                  <a:lnTo>
                    <a:pt x="1524" y="238"/>
                  </a:lnTo>
                  <a:lnTo>
                    <a:pt x="1524" y="238"/>
                  </a:lnTo>
                  <a:lnTo>
                    <a:pt x="1522" y="236"/>
                  </a:lnTo>
                  <a:lnTo>
                    <a:pt x="1524" y="238"/>
                  </a:lnTo>
                  <a:lnTo>
                    <a:pt x="1522" y="234"/>
                  </a:lnTo>
                  <a:lnTo>
                    <a:pt x="1522" y="232"/>
                  </a:lnTo>
                  <a:lnTo>
                    <a:pt x="1522" y="230"/>
                  </a:lnTo>
                  <a:lnTo>
                    <a:pt x="1522" y="230"/>
                  </a:lnTo>
                  <a:lnTo>
                    <a:pt x="1522" y="230"/>
                  </a:lnTo>
                  <a:lnTo>
                    <a:pt x="1522" y="228"/>
                  </a:lnTo>
                  <a:lnTo>
                    <a:pt x="1522" y="228"/>
                  </a:lnTo>
                  <a:lnTo>
                    <a:pt x="1520" y="228"/>
                  </a:lnTo>
                  <a:lnTo>
                    <a:pt x="1520" y="228"/>
                  </a:lnTo>
                  <a:lnTo>
                    <a:pt x="1520" y="228"/>
                  </a:lnTo>
                  <a:lnTo>
                    <a:pt x="1516" y="228"/>
                  </a:lnTo>
                  <a:lnTo>
                    <a:pt x="1516" y="228"/>
                  </a:lnTo>
                  <a:lnTo>
                    <a:pt x="1516" y="228"/>
                  </a:lnTo>
                  <a:lnTo>
                    <a:pt x="1516" y="228"/>
                  </a:lnTo>
                  <a:lnTo>
                    <a:pt x="1514" y="228"/>
                  </a:lnTo>
                  <a:lnTo>
                    <a:pt x="1512" y="230"/>
                  </a:lnTo>
                  <a:lnTo>
                    <a:pt x="1512" y="232"/>
                  </a:lnTo>
                  <a:lnTo>
                    <a:pt x="1510" y="234"/>
                  </a:lnTo>
                  <a:lnTo>
                    <a:pt x="1510" y="234"/>
                  </a:lnTo>
                  <a:lnTo>
                    <a:pt x="1508" y="234"/>
                  </a:lnTo>
                  <a:lnTo>
                    <a:pt x="1508" y="234"/>
                  </a:lnTo>
                  <a:lnTo>
                    <a:pt x="1508" y="234"/>
                  </a:lnTo>
                  <a:lnTo>
                    <a:pt x="1506" y="232"/>
                  </a:lnTo>
                  <a:lnTo>
                    <a:pt x="1504" y="230"/>
                  </a:lnTo>
                  <a:lnTo>
                    <a:pt x="1504" y="228"/>
                  </a:lnTo>
                  <a:lnTo>
                    <a:pt x="1504" y="228"/>
                  </a:lnTo>
                  <a:lnTo>
                    <a:pt x="1504" y="226"/>
                  </a:lnTo>
                  <a:lnTo>
                    <a:pt x="1506" y="220"/>
                  </a:lnTo>
                  <a:lnTo>
                    <a:pt x="1506" y="218"/>
                  </a:lnTo>
                  <a:lnTo>
                    <a:pt x="1506" y="218"/>
                  </a:lnTo>
                  <a:lnTo>
                    <a:pt x="1508" y="218"/>
                  </a:lnTo>
                  <a:lnTo>
                    <a:pt x="1508" y="216"/>
                  </a:lnTo>
                  <a:lnTo>
                    <a:pt x="1508" y="214"/>
                  </a:lnTo>
                  <a:lnTo>
                    <a:pt x="1508" y="212"/>
                  </a:lnTo>
                  <a:lnTo>
                    <a:pt x="1508" y="212"/>
                  </a:lnTo>
                  <a:lnTo>
                    <a:pt x="1506" y="210"/>
                  </a:lnTo>
                  <a:lnTo>
                    <a:pt x="1506" y="208"/>
                  </a:lnTo>
                  <a:lnTo>
                    <a:pt x="1506" y="208"/>
                  </a:lnTo>
                  <a:lnTo>
                    <a:pt x="1504" y="208"/>
                  </a:lnTo>
                  <a:lnTo>
                    <a:pt x="1502" y="206"/>
                  </a:lnTo>
                  <a:lnTo>
                    <a:pt x="1502" y="206"/>
                  </a:lnTo>
                  <a:lnTo>
                    <a:pt x="1502" y="206"/>
                  </a:lnTo>
                  <a:lnTo>
                    <a:pt x="1498" y="206"/>
                  </a:lnTo>
                  <a:lnTo>
                    <a:pt x="1494" y="204"/>
                  </a:lnTo>
                  <a:lnTo>
                    <a:pt x="1488" y="204"/>
                  </a:lnTo>
                  <a:lnTo>
                    <a:pt x="1480" y="204"/>
                  </a:lnTo>
                  <a:lnTo>
                    <a:pt x="1476" y="204"/>
                  </a:lnTo>
                  <a:lnTo>
                    <a:pt x="1472" y="202"/>
                  </a:lnTo>
                  <a:lnTo>
                    <a:pt x="1466" y="202"/>
                  </a:lnTo>
                  <a:lnTo>
                    <a:pt x="1458" y="202"/>
                  </a:lnTo>
                  <a:lnTo>
                    <a:pt x="1452" y="202"/>
                  </a:lnTo>
                  <a:lnTo>
                    <a:pt x="1446" y="202"/>
                  </a:lnTo>
                  <a:lnTo>
                    <a:pt x="1442" y="204"/>
                  </a:lnTo>
                  <a:lnTo>
                    <a:pt x="1438" y="204"/>
                  </a:lnTo>
                  <a:lnTo>
                    <a:pt x="1432" y="204"/>
                  </a:lnTo>
                  <a:lnTo>
                    <a:pt x="1428" y="204"/>
                  </a:lnTo>
                  <a:lnTo>
                    <a:pt x="1424" y="204"/>
                  </a:lnTo>
                  <a:lnTo>
                    <a:pt x="1424" y="204"/>
                  </a:lnTo>
                  <a:lnTo>
                    <a:pt x="1424" y="204"/>
                  </a:lnTo>
                  <a:lnTo>
                    <a:pt x="1422" y="204"/>
                  </a:lnTo>
                  <a:lnTo>
                    <a:pt x="1422" y="204"/>
                  </a:lnTo>
                  <a:lnTo>
                    <a:pt x="1420" y="206"/>
                  </a:lnTo>
                  <a:lnTo>
                    <a:pt x="1420" y="206"/>
                  </a:lnTo>
                  <a:lnTo>
                    <a:pt x="1418" y="202"/>
                  </a:lnTo>
                  <a:lnTo>
                    <a:pt x="1418" y="198"/>
                  </a:lnTo>
                  <a:lnTo>
                    <a:pt x="1416" y="194"/>
                  </a:lnTo>
                  <a:lnTo>
                    <a:pt x="1416" y="194"/>
                  </a:lnTo>
                  <a:lnTo>
                    <a:pt x="1416" y="194"/>
                  </a:lnTo>
                  <a:lnTo>
                    <a:pt x="1416" y="192"/>
                  </a:lnTo>
                  <a:lnTo>
                    <a:pt x="1416" y="192"/>
                  </a:lnTo>
                  <a:lnTo>
                    <a:pt x="1416" y="192"/>
                  </a:lnTo>
                  <a:lnTo>
                    <a:pt x="1414" y="190"/>
                  </a:lnTo>
                  <a:lnTo>
                    <a:pt x="1414" y="190"/>
                  </a:lnTo>
                  <a:lnTo>
                    <a:pt x="1414" y="190"/>
                  </a:lnTo>
                  <a:lnTo>
                    <a:pt x="1414" y="188"/>
                  </a:lnTo>
                  <a:lnTo>
                    <a:pt x="1414" y="188"/>
                  </a:lnTo>
                  <a:lnTo>
                    <a:pt x="1414" y="186"/>
                  </a:lnTo>
                  <a:lnTo>
                    <a:pt x="1414" y="186"/>
                  </a:lnTo>
                  <a:lnTo>
                    <a:pt x="1416" y="186"/>
                  </a:lnTo>
                  <a:lnTo>
                    <a:pt x="1416" y="186"/>
                  </a:lnTo>
                  <a:lnTo>
                    <a:pt x="1416" y="186"/>
                  </a:lnTo>
                  <a:lnTo>
                    <a:pt x="1418" y="184"/>
                  </a:lnTo>
                  <a:lnTo>
                    <a:pt x="1418" y="184"/>
                  </a:lnTo>
                  <a:lnTo>
                    <a:pt x="1420" y="184"/>
                  </a:lnTo>
                  <a:lnTo>
                    <a:pt x="1420" y="182"/>
                  </a:lnTo>
                  <a:lnTo>
                    <a:pt x="1420" y="182"/>
                  </a:lnTo>
                  <a:lnTo>
                    <a:pt x="1420" y="180"/>
                  </a:lnTo>
                  <a:lnTo>
                    <a:pt x="1420" y="178"/>
                  </a:lnTo>
                  <a:lnTo>
                    <a:pt x="1418" y="176"/>
                  </a:lnTo>
                  <a:lnTo>
                    <a:pt x="1418" y="172"/>
                  </a:lnTo>
                  <a:lnTo>
                    <a:pt x="1416" y="168"/>
                  </a:lnTo>
                  <a:lnTo>
                    <a:pt x="1416" y="166"/>
                  </a:lnTo>
                  <a:lnTo>
                    <a:pt x="1414" y="162"/>
                  </a:lnTo>
                  <a:lnTo>
                    <a:pt x="1412" y="160"/>
                  </a:lnTo>
                  <a:lnTo>
                    <a:pt x="1412" y="160"/>
                  </a:lnTo>
                  <a:lnTo>
                    <a:pt x="1412" y="160"/>
                  </a:lnTo>
                  <a:lnTo>
                    <a:pt x="1410" y="158"/>
                  </a:lnTo>
                  <a:lnTo>
                    <a:pt x="1410" y="158"/>
                  </a:lnTo>
                  <a:lnTo>
                    <a:pt x="1410" y="158"/>
                  </a:lnTo>
                  <a:lnTo>
                    <a:pt x="1408" y="156"/>
                  </a:lnTo>
                  <a:lnTo>
                    <a:pt x="1408" y="156"/>
                  </a:lnTo>
                  <a:lnTo>
                    <a:pt x="1408" y="156"/>
                  </a:lnTo>
                  <a:lnTo>
                    <a:pt x="1406" y="156"/>
                  </a:lnTo>
                  <a:lnTo>
                    <a:pt x="1406" y="156"/>
                  </a:lnTo>
                  <a:lnTo>
                    <a:pt x="1406" y="156"/>
                  </a:lnTo>
                  <a:lnTo>
                    <a:pt x="1400" y="156"/>
                  </a:lnTo>
                  <a:lnTo>
                    <a:pt x="1400" y="156"/>
                  </a:lnTo>
                  <a:lnTo>
                    <a:pt x="1398" y="156"/>
                  </a:lnTo>
                  <a:lnTo>
                    <a:pt x="1398" y="156"/>
                  </a:lnTo>
                  <a:lnTo>
                    <a:pt x="1398" y="156"/>
                  </a:lnTo>
                  <a:lnTo>
                    <a:pt x="1396" y="156"/>
                  </a:lnTo>
                  <a:lnTo>
                    <a:pt x="1396" y="156"/>
                  </a:lnTo>
                  <a:lnTo>
                    <a:pt x="1396" y="156"/>
                  </a:lnTo>
                  <a:lnTo>
                    <a:pt x="1394" y="158"/>
                  </a:lnTo>
                  <a:lnTo>
                    <a:pt x="1394" y="158"/>
                  </a:lnTo>
                  <a:lnTo>
                    <a:pt x="1392" y="158"/>
                  </a:lnTo>
                  <a:lnTo>
                    <a:pt x="1392" y="158"/>
                  </a:lnTo>
                  <a:lnTo>
                    <a:pt x="1392" y="158"/>
                  </a:lnTo>
                  <a:lnTo>
                    <a:pt x="1392" y="160"/>
                  </a:lnTo>
                  <a:lnTo>
                    <a:pt x="1390" y="162"/>
                  </a:lnTo>
                  <a:lnTo>
                    <a:pt x="1390" y="162"/>
                  </a:lnTo>
                  <a:lnTo>
                    <a:pt x="1390" y="162"/>
                  </a:lnTo>
                  <a:lnTo>
                    <a:pt x="1390" y="164"/>
                  </a:lnTo>
                  <a:lnTo>
                    <a:pt x="1390" y="164"/>
                  </a:lnTo>
                  <a:lnTo>
                    <a:pt x="1390" y="170"/>
                  </a:lnTo>
                  <a:lnTo>
                    <a:pt x="1390" y="170"/>
                  </a:lnTo>
                  <a:lnTo>
                    <a:pt x="1390" y="170"/>
                  </a:lnTo>
                  <a:lnTo>
                    <a:pt x="1392" y="174"/>
                  </a:lnTo>
                  <a:lnTo>
                    <a:pt x="1392" y="174"/>
                  </a:lnTo>
                  <a:lnTo>
                    <a:pt x="1392" y="176"/>
                  </a:lnTo>
                  <a:lnTo>
                    <a:pt x="1394" y="178"/>
                  </a:lnTo>
                  <a:lnTo>
                    <a:pt x="1394" y="180"/>
                  </a:lnTo>
                  <a:lnTo>
                    <a:pt x="1394" y="180"/>
                  </a:lnTo>
                  <a:lnTo>
                    <a:pt x="1394" y="180"/>
                  </a:lnTo>
                  <a:lnTo>
                    <a:pt x="1396" y="182"/>
                  </a:lnTo>
                  <a:lnTo>
                    <a:pt x="1396" y="182"/>
                  </a:lnTo>
                  <a:lnTo>
                    <a:pt x="1396" y="182"/>
                  </a:lnTo>
                  <a:lnTo>
                    <a:pt x="1398" y="182"/>
                  </a:lnTo>
                  <a:lnTo>
                    <a:pt x="1398" y="182"/>
                  </a:lnTo>
                  <a:lnTo>
                    <a:pt x="1398" y="182"/>
                  </a:lnTo>
                  <a:lnTo>
                    <a:pt x="1404" y="184"/>
                  </a:lnTo>
                  <a:lnTo>
                    <a:pt x="1404" y="184"/>
                  </a:lnTo>
                  <a:lnTo>
                    <a:pt x="1404" y="184"/>
                  </a:lnTo>
                  <a:lnTo>
                    <a:pt x="1404" y="188"/>
                  </a:lnTo>
                  <a:lnTo>
                    <a:pt x="1404" y="188"/>
                  </a:lnTo>
                  <a:lnTo>
                    <a:pt x="1404" y="188"/>
                  </a:lnTo>
                  <a:lnTo>
                    <a:pt x="1404" y="190"/>
                  </a:lnTo>
                  <a:lnTo>
                    <a:pt x="1404" y="190"/>
                  </a:lnTo>
                  <a:lnTo>
                    <a:pt x="1404" y="190"/>
                  </a:lnTo>
                  <a:lnTo>
                    <a:pt x="1404" y="190"/>
                  </a:lnTo>
                  <a:lnTo>
                    <a:pt x="1408" y="192"/>
                  </a:lnTo>
                  <a:lnTo>
                    <a:pt x="1408" y="194"/>
                  </a:lnTo>
                  <a:lnTo>
                    <a:pt x="1408" y="196"/>
                  </a:lnTo>
                  <a:lnTo>
                    <a:pt x="1406" y="200"/>
                  </a:lnTo>
                  <a:lnTo>
                    <a:pt x="1406" y="202"/>
                  </a:lnTo>
                  <a:lnTo>
                    <a:pt x="1404" y="204"/>
                  </a:lnTo>
                  <a:lnTo>
                    <a:pt x="1404" y="204"/>
                  </a:lnTo>
                  <a:lnTo>
                    <a:pt x="1402" y="200"/>
                  </a:lnTo>
                  <a:lnTo>
                    <a:pt x="1402" y="196"/>
                  </a:lnTo>
                  <a:lnTo>
                    <a:pt x="1400" y="192"/>
                  </a:lnTo>
                  <a:lnTo>
                    <a:pt x="1396" y="188"/>
                  </a:lnTo>
                  <a:lnTo>
                    <a:pt x="1394" y="186"/>
                  </a:lnTo>
                  <a:lnTo>
                    <a:pt x="1394" y="186"/>
                  </a:lnTo>
                  <a:lnTo>
                    <a:pt x="1394" y="186"/>
                  </a:lnTo>
                  <a:lnTo>
                    <a:pt x="1394" y="184"/>
                  </a:lnTo>
                  <a:lnTo>
                    <a:pt x="1394" y="184"/>
                  </a:lnTo>
                  <a:lnTo>
                    <a:pt x="1392" y="184"/>
                  </a:lnTo>
                  <a:lnTo>
                    <a:pt x="1392" y="184"/>
                  </a:lnTo>
                  <a:lnTo>
                    <a:pt x="1392" y="184"/>
                  </a:lnTo>
                  <a:lnTo>
                    <a:pt x="1390" y="184"/>
                  </a:lnTo>
                  <a:lnTo>
                    <a:pt x="1390" y="184"/>
                  </a:lnTo>
                  <a:lnTo>
                    <a:pt x="1390" y="184"/>
                  </a:lnTo>
                  <a:lnTo>
                    <a:pt x="1388" y="184"/>
                  </a:lnTo>
                  <a:lnTo>
                    <a:pt x="1388" y="184"/>
                  </a:lnTo>
                  <a:lnTo>
                    <a:pt x="1388" y="184"/>
                  </a:lnTo>
                  <a:lnTo>
                    <a:pt x="1386" y="184"/>
                  </a:lnTo>
                  <a:lnTo>
                    <a:pt x="1384" y="186"/>
                  </a:lnTo>
                  <a:lnTo>
                    <a:pt x="1384" y="186"/>
                  </a:lnTo>
                  <a:lnTo>
                    <a:pt x="1384" y="188"/>
                  </a:lnTo>
                  <a:lnTo>
                    <a:pt x="1382" y="190"/>
                  </a:lnTo>
                  <a:lnTo>
                    <a:pt x="1382" y="192"/>
                  </a:lnTo>
                  <a:lnTo>
                    <a:pt x="1382" y="192"/>
                  </a:lnTo>
                  <a:lnTo>
                    <a:pt x="1380" y="190"/>
                  </a:lnTo>
                  <a:lnTo>
                    <a:pt x="1380" y="190"/>
                  </a:lnTo>
                  <a:lnTo>
                    <a:pt x="1380" y="190"/>
                  </a:lnTo>
                  <a:lnTo>
                    <a:pt x="1380" y="190"/>
                  </a:lnTo>
                  <a:lnTo>
                    <a:pt x="1378" y="190"/>
                  </a:lnTo>
                  <a:lnTo>
                    <a:pt x="1378" y="190"/>
                  </a:lnTo>
                  <a:lnTo>
                    <a:pt x="1376" y="190"/>
                  </a:lnTo>
                  <a:lnTo>
                    <a:pt x="1374" y="190"/>
                  </a:lnTo>
                  <a:lnTo>
                    <a:pt x="1370" y="188"/>
                  </a:lnTo>
                  <a:lnTo>
                    <a:pt x="1368" y="190"/>
                  </a:lnTo>
                  <a:lnTo>
                    <a:pt x="1364" y="190"/>
                  </a:lnTo>
                  <a:lnTo>
                    <a:pt x="1362" y="190"/>
                  </a:lnTo>
                  <a:lnTo>
                    <a:pt x="1362" y="190"/>
                  </a:lnTo>
                  <a:lnTo>
                    <a:pt x="1362" y="190"/>
                  </a:lnTo>
                  <a:lnTo>
                    <a:pt x="1362" y="192"/>
                  </a:lnTo>
                  <a:lnTo>
                    <a:pt x="1362" y="192"/>
                  </a:lnTo>
                  <a:lnTo>
                    <a:pt x="1360" y="192"/>
                  </a:lnTo>
                  <a:lnTo>
                    <a:pt x="1360" y="192"/>
                  </a:lnTo>
                  <a:lnTo>
                    <a:pt x="1360" y="192"/>
                  </a:lnTo>
                  <a:lnTo>
                    <a:pt x="1360" y="194"/>
                  </a:lnTo>
                  <a:lnTo>
                    <a:pt x="1360" y="196"/>
                  </a:lnTo>
                  <a:lnTo>
                    <a:pt x="1360" y="196"/>
                  </a:lnTo>
                  <a:lnTo>
                    <a:pt x="1360" y="196"/>
                  </a:lnTo>
                  <a:lnTo>
                    <a:pt x="1362" y="198"/>
                  </a:lnTo>
                  <a:lnTo>
                    <a:pt x="1364" y="200"/>
                  </a:lnTo>
                  <a:lnTo>
                    <a:pt x="1366" y="202"/>
                  </a:lnTo>
                  <a:lnTo>
                    <a:pt x="1368" y="204"/>
                  </a:lnTo>
                  <a:lnTo>
                    <a:pt x="1370" y="206"/>
                  </a:lnTo>
                  <a:lnTo>
                    <a:pt x="1368" y="206"/>
                  </a:lnTo>
                  <a:lnTo>
                    <a:pt x="1366" y="208"/>
                  </a:lnTo>
                  <a:lnTo>
                    <a:pt x="1366" y="210"/>
                  </a:lnTo>
                  <a:lnTo>
                    <a:pt x="1362" y="212"/>
                  </a:lnTo>
                  <a:lnTo>
                    <a:pt x="1356" y="214"/>
                  </a:lnTo>
                  <a:lnTo>
                    <a:pt x="1352" y="216"/>
                  </a:lnTo>
                  <a:lnTo>
                    <a:pt x="1352" y="216"/>
                  </a:lnTo>
                  <a:lnTo>
                    <a:pt x="1352" y="216"/>
                  </a:lnTo>
                  <a:lnTo>
                    <a:pt x="1348" y="218"/>
                  </a:lnTo>
                  <a:lnTo>
                    <a:pt x="1348" y="218"/>
                  </a:lnTo>
                  <a:lnTo>
                    <a:pt x="1348" y="218"/>
                  </a:lnTo>
                  <a:lnTo>
                    <a:pt x="1346" y="218"/>
                  </a:lnTo>
                  <a:lnTo>
                    <a:pt x="1346" y="218"/>
                  </a:lnTo>
                  <a:lnTo>
                    <a:pt x="1346" y="220"/>
                  </a:lnTo>
                  <a:lnTo>
                    <a:pt x="1344" y="222"/>
                  </a:lnTo>
                  <a:lnTo>
                    <a:pt x="1344" y="222"/>
                  </a:lnTo>
                  <a:lnTo>
                    <a:pt x="1344" y="222"/>
                  </a:lnTo>
                  <a:lnTo>
                    <a:pt x="1342" y="226"/>
                  </a:lnTo>
                  <a:lnTo>
                    <a:pt x="1342" y="228"/>
                  </a:lnTo>
                  <a:lnTo>
                    <a:pt x="1340" y="230"/>
                  </a:lnTo>
                  <a:lnTo>
                    <a:pt x="1340" y="230"/>
                  </a:lnTo>
                  <a:lnTo>
                    <a:pt x="1338" y="230"/>
                  </a:lnTo>
                  <a:lnTo>
                    <a:pt x="1336" y="232"/>
                  </a:lnTo>
                  <a:lnTo>
                    <a:pt x="1332" y="232"/>
                  </a:lnTo>
                  <a:lnTo>
                    <a:pt x="1330" y="232"/>
                  </a:lnTo>
                  <a:lnTo>
                    <a:pt x="1330" y="232"/>
                  </a:lnTo>
                  <a:lnTo>
                    <a:pt x="1328" y="232"/>
                  </a:lnTo>
                  <a:lnTo>
                    <a:pt x="1326" y="232"/>
                  </a:lnTo>
                  <a:lnTo>
                    <a:pt x="1324" y="234"/>
                  </a:lnTo>
                  <a:lnTo>
                    <a:pt x="1322" y="234"/>
                  </a:lnTo>
                  <a:lnTo>
                    <a:pt x="1320" y="236"/>
                  </a:lnTo>
                  <a:lnTo>
                    <a:pt x="1318" y="238"/>
                  </a:lnTo>
                  <a:lnTo>
                    <a:pt x="1314" y="240"/>
                  </a:lnTo>
                  <a:lnTo>
                    <a:pt x="1310" y="242"/>
                  </a:lnTo>
                  <a:lnTo>
                    <a:pt x="1306" y="244"/>
                  </a:lnTo>
                  <a:lnTo>
                    <a:pt x="1306" y="244"/>
                  </a:lnTo>
                  <a:lnTo>
                    <a:pt x="1306" y="244"/>
                  </a:lnTo>
                  <a:lnTo>
                    <a:pt x="1310" y="238"/>
                  </a:lnTo>
                  <a:lnTo>
                    <a:pt x="1312" y="236"/>
                  </a:lnTo>
                  <a:lnTo>
                    <a:pt x="1314" y="234"/>
                  </a:lnTo>
                  <a:lnTo>
                    <a:pt x="1314" y="232"/>
                  </a:lnTo>
                  <a:lnTo>
                    <a:pt x="1316" y="230"/>
                  </a:lnTo>
                  <a:lnTo>
                    <a:pt x="1318" y="226"/>
                  </a:lnTo>
                  <a:lnTo>
                    <a:pt x="1320" y="224"/>
                  </a:lnTo>
                  <a:lnTo>
                    <a:pt x="1322" y="222"/>
                  </a:lnTo>
                  <a:lnTo>
                    <a:pt x="1322" y="222"/>
                  </a:lnTo>
                  <a:lnTo>
                    <a:pt x="1322" y="222"/>
                  </a:lnTo>
                  <a:lnTo>
                    <a:pt x="1322" y="220"/>
                  </a:lnTo>
                  <a:lnTo>
                    <a:pt x="1322" y="220"/>
                  </a:lnTo>
                  <a:lnTo>
                    <a:pt x="1324" y="220"/>
                  </a:lnTo>
                  <a:lnTo>
                    <a:pt x="1324" y="218"/>
                  </a:lnTo>
                  <a:lnTo>
                    <a:pt x="1324" y="218"/>
                  </a:lnTo>
                  <a:lnTo>
                    <a:pt x="1324" y="216"/>
                  </a:lnTo>
                  <a:lnTo>
                    <a:pt x="1324" y="216"/>
                  </a:lnTo>
                  <a:lnTo>
                    <a:pt x="1324" y="216"/>
                  </a:lnTo>
                  <a:lnTo>
                    <a:pt x="1322" y="214"/>
                  </a:lnTo>
                  <a:lnTo>
                    <a:pt x="1322" y="212"/>
                  </a:lnTo>
                  <a:lnTo>
                    <a:pt x="1322" y="214"/>
                  </a:lnTo>
                  <a:lnTo>
                    <a:pt x="1322" y="214"/>
                  </a:lnTo>
                  <a:lnTo>
                    <a:pt x="1324" y="214"/>
                  </a:lnTo>
                  <a:lnTo>
                    <a:pt x="1326" y="214"/>
                  </a:lnTo>
                  <a:lnTo>
                    <a:pt x="1326" y="214"/>
                  </a:lnTo>
                  <a:lnTo>
                    <a:pt x="1326" y="214"/>
                  </a:lnTo>
                  <a:lnTo>
                    <a:pt x="1330" y="214"/>
                  </a:lnTo>
                  <a:lnTo>
                    <a:pt x="1330" y="214"/>
                  </a:lnTo>
                  <a:lnTo>
                    <a:pt x="1334" y="212"/>
                  </a:lnTo>
                  <a:lnTo>
                    <a:pt x="1334" y="212"/>
                  </a:lnTo>
                  <a:lnTo>
                    <a:pt x="1334" y="212"/>
                  </a:lnTo>
                  <a:lnTo>
                    <a:pt x="1338" y="210"/>
                  </a:lnTo>
                  <a:lnTo>
                    <a:pt x="1338" y="210"/>
                  </a:lnTo>
                  <a:lnTo>
                    <a:pt x="1338" y="210"/>
                  </a:lnTo>
                  <a:lnTo>
                    <a:pt x="1342" y="208"/>
                  </a:lnTo>
                  <a:lnTo>
                    <a:pt x="1342" y="208"/>
                  </a:lnTo>
                  <a:lnTo>
                    <a:pt x="1342" y="208"/>
                  </a:lnTo>
                  <a:lnTo>
                    <a:pt x="1344" y="206"/>
                  </a:lnTo>
                  <a:lnTo>
                    <a:pt x="1344" y="206"/>
                  </a:lnTo>
                  <a:lnTo>
                    <a:pt x="1344" y="206"/>
                  </a:lnTo>
                  <a:lnTo>
                    <a:pt x="1346" y="204"/>
                  </a:lnTo>
                  <a:lnTo>
                    <a:pt x="1348" y="200"/>
                  </a:lnTo>
                  <a:lnTo>
                    <a:pt x="1352" y="196"/>
                  </a:lnTo>
                  <a:lnTo>
                    <a:pt x="1354" y="192"/>
                  </a:lnTo>
                  <a:lnTo>
                    <a:pt x="1356" y="188"/>
                  </a:lnTo>
                  <a:lnTo>
                    <a:pt x="1358" y="184"/>
                  </a:lnTo>
                  <a:lnTo>
                    <a:pt x="1360" y="180"/>
                  </a:lnTo>
                  <a:lnTo>
                    <a:pt x="1364" y="176"/>
                  </a:lnTo>
                  <a:lnTo>
                    <a:pt x="1366" y="174"/>
                  </a:lnTo>
                  <a:lnTo>
                    <a:pt x="1368" y="172"/>
                  </a:lnTo>
                  <a:lnTo>
                    <a:pt x="1374" y="166"/>
                  </a:lnTo>
                  <a:lnTo>
                    <a:pt x="1378" y="160"/>
                  </a:lnTo>
                  <a:lnTo>
                    <a:pt x="1380" y="158"/>
                  </a:lnTo>
                  <a:lnTo>
                    <a:pt x="1384" y="156"/>
                  </a:lnTo>
                  <a:lnTo>
                    <a:pt x="1386" y="154"/>
                  </a:lnTo>
                  <a:lnTo>
                    <a:pt x="1388" y="154"/>
                  </a:lnTo>
                  <a:lnTo>
                    <a:pt x="1394" y="152"/>
                  </a:lnTo>
                  <a:lnTo>
                    <a:pt x="1396" y="150"/>
                  </a:lnTo>
                  <a:lnTo>
                    <a:pt x="1400" y="148"/>
                  </a:lnTo>
                  <a:lnTo>
                    <a:pt x="1402" y="146"/>
                  </a:lnTo>
                  <a:lnTo>
                    <a:pt x="1404" y="144"/>
                  </a:lnTo>
                  <a:lnTo>
                    <a:pt x="1408" y="140"/>
                  </a:lnTo>
                  <a:lnTo>
                    <a:pt x="1412" y="138"/>
                  </a:lnTo>
                  <a:lnTo>
                    <a:pt x="1414" y="134"/>
                  </a:lnTo>
                  <a:lnTo>
                    <a:pt x="1418" y="130"/>
                  </a:lnTo>
                  <a:lnTo>
                    <a:pt x="1422" y="124"/>
                  </a:lnTo>
                  <a:lnTo>
                    <a:pt x="1424" y="120"/>
                  </a:lnTo>
                  <a:lnTo>
                    <a:pt x="1426" y="118"/>
                  </a:lnTo>
                  <a:lnTo>
                    <a:pt x="1428" y="114"/>
                  </a:lnTo>
                  <a:lnTo>
                    <a:pt x="1430" y="112"/>
                  </a:lnTo>
                  <a:lnTo>
                    <a:pt x="1430" y="112"/>
                  </a:lnTo>
                  <a:lnTo>
                    <a:pt x="1430" y="110"/>
                  </a:lnTo>
                  <a:lnTo>
                    <a:pt x="1430" y="108"/>
                  </a:lnTo>
                  <a:lnTo>
                    <a:pt x="1430" y="108"/>
                  </a:lnTo>
                  <a:lnTo>
                    <a:pt x="1430" y="108"/>
                  </a:lnTo>
                  <a:lnTo>
                    <a:pt x="1430" y="106"/>
                  </a:lnTo>
                  <a:lnTo>
                    <a:pt x="1430" y="106"/>
                  </a:lnTo>
                  <a:lnTo>
                    <a:pt x="1428" y="104"/>
                  </a:lnTo>
                  <a:lnTo>
                    <a:pt x="1428" y="102"/>
                  </a:lnTo>
                  <a:lnTo>
                    <a:pt x="1426" y="98"/>
                  </a:lnTo>
                  <a:lnTo>
                    <a:pt x="1426" y="100"/>
                  </a:lnTo>
                  <a:lnTo>
                    <a:pt x="1426" y="98"/>
                  </a:lnTo>
                  <a:lnTo>
                    <a:pt x="1426" y="98"/>
                  </a:lnTo>
                  <a:lnTo>
                    <a:pt x="1426" y="98"/>
                  </a:lnTo>
                  <a:lnTo>
                    <a:pt x="1426" y="96"/>
                  </a:lnTo>
                  <a:lnTo>
                    <a:pt x="1430" y="94"/>
                  </a:lnTo>
                  <a:lnTo>
                    <a:pt x="1432" y="92"/>
                  </a:lnTo>
                  <a:lnTo>
                    <a:pt x="1432" y="92"/>
                  </a:lnTo>
                  <a:lnTo>
                    <a:pt x="1432" y="90"/>
                  </a:lnTo>
                  <a:lnTo>
                    <a:pt x="1434" y="90"/>
                  </a:lnTo>
                  <a:lnTo>
                    <a:pt x="1434" y="90"/>
                  </a:lnTo>
                  <a:lnTo>
                    <a:pt x="1434" y="88"/>
                  </a:lnTo>
                  <a:lnTo>
                    <a:pt x="1434" y="86"/>
                  </a:lnTo>
                  <a:lnTo>
                    <a:pt x="1434" y="86"/>
                  </a:lnTo>
                  <a:lnTo>
                    <a:pt x="1434" y="84"/>
                  </a:lnTo>
                  <a:lnTo>
                    <a:pt x="1434" y="84"/>
                  </a:lnTo>
                  <a:lnTo>
                    <a:pt x="1434" y="82"/>
                  </a:lnTo>
                  <a:lnTo>
                    <a:pt x="1432" y="80"/>
                  </a:lnTo>
                  <a:lnTo>
                    <a:pt x="1430" y="76"/>
                  </a:lnTo>
                  <a:lnTo>
                    <a:pt x="1428" y="70"/>
                  </a:lnTo>
                  <a:lnTo>
                    <a:pt x="1426" y="68"/>
                  </a:lnTo>
                  <a:lnTo>
                    <a:pt x="1426" y="66"/>
                  </a:lnTo>
                  <a:lnTo>
                    <a:pt x="1426" y="66"/>
                  </a:lnTo>
                  <a:lnTo>
                    <a:pt x="1426" y="64"/>
                  </a:lnTo>
                  <a:lnTo>
                    <a:pt x="1426" y="62"/>
                  </a:lnTo>
                  <a:lnTo>
                    <a:pt x="1426" y="56"/>
                  </a:lnTo>
                  <a:lnTo>
                    <a:pt x="1426" y="54"/>
                  </a:lnTo>
                  <a:lnTo>
                    <a:pt x="1428" y="52"/>
                  </a:lnTo>
                  <a:lnTo>
                    <a:pt x="1428" y="50"/>
                  </a:lnTo>
                  <a:lnTo>
                    <a:pt x="1428" y="50"/>
                  </a:lnTo>
                  <a:lnTo>
                    <a:pt x="1426" y="48"/>
                  </a:lnTo>
                  <a:lnTo>
                    <a:pt x="1426" y="48"/>
                  </a:lnTo>
                  <a:lnTo>
                    <a:pt x="1426" y="48"/>
                  </a:lnTo>
                  <a:lnTo>
                    <a:pt x="1424" y="46"/>
                  </a:lnTo>
                  <a:lnTo>
                    <a:pt x="1424" y="46"/>
                  </a:lnTo>
                  <a:lnTo>
                    <a:pt x="1424" y="46"/>
                  </a:lnTo>
                  <a:lnTo>
                    <a:pt x="1422" y="46"/>
                  </a:lnTo>
                  <a:lnTo>
                    <a:pt x="1420" y="46"/>
                  </a:lnTo>
                  <a:lnTo>
                    <a:pt x="1418" y="46"/>
                  </a:lnTo>
                  <a:lnTo>
                    <a:pt x="1416" y="48"/>
                  </a:lnTo>
                  <a:lnTo>
                    <a:pt x="1410" y="48"/>
                  </a:lnTo>
                  <a:lnTo>
                    <a:pt x="1408" y="50"/>
                  </a:lnTo>
                  <a:lnTo>
                    <a:pt x="1408" y="50"/>
                  </a:lnTo>
                  <a:lnTo>
                    <a:pt x="1408" y="48"/>
                  </a:lnTo>
                  <a:lnTo>
                    <a:pt x="1408" y="46"/>
                  </a:lnTo>
                  <a:lnTo>
                    <a:pt x="1408" y="42"/>
                  </a:lnTo>
                  <a:lnTo>
                    <a:pt x="1408" y="42"/>
                  </a:lnTo>
                  <a:lnTo>
                    <a:pt x="1408" y="42"/>
                  </a:lnTo>
                  <a:lnTo>
                    <a:pt x="1406" y="42"/>
                  </a:lnTo>
                  <a:lnTo>
                    <a:pt x="1406" y="42"/>
                  </a:lnTo>
                  <a:lnTo>
                    <a:pt x="1406" y="40"/>
                  </a:lnTo>
                  <a:lnTo>
                    <a:pt x="1404" y="38"/>
                  </a:lnTo>
                  <a:lnTo>
                    <a:pt x="1402" y="36"/>
                  </a:lnTo>
                  <a:lnTo>
                    <a:pt x="1400" y="34"/>
                  </a:lnTo>
                  <a:lnTo>
                    <a:pt x="1400" y="34"/>
                  </a:lnTo>
                  <a:lnTo>
                    <a:pt x="1400" y="34"/>
                  </a:lnTo>
                  <a:lnTo>
                    <a:pt x="1398" y="32"/>
                  </a:lnTo>
                  <a:lnTo>
                    <a:pt x="1394" y="32"/>
                  </a:lnTo>
                  <a:lnTo>
                    <a:pt x="1392" y="30"/>
                  </a:lnTo>
                  <a:lnTo>
                    <a:pt x="1388" y="30"/>
                  </a:lnTo>
                  <a:lnTo>
                    <a:pt x="1386" y="28"/>
                  </a:lnTo>
                  <a:lnTo>
                    <a:pt x="1384" y="28"/>
                  </a:lnTo>
                  <a:lnTo>
                    <a:pt x="1378" y="28"/>
                  </a:lnTo>
                  <a:lnTo>
                    <a:pt x="1372" y="26"/>
                  </a:lnTo>
                  <a:lnTo>
                    <a:pt x="1366" y="26"/>
                  </a:lnTo>
                  <a:lnTo>
                    <a:pt x="1358" y="26"/>
                  </a:lnTo>
                  <a:lnTo>
                    <a:pt x="1352" y="26"/>
                  </a:lnTo>
                  <a:lnTo>
                    <a:pt x="1348" y="24"/>
                  </a:lnTo>
                  <a:lnTo>
                    <a:pt x="1346" y="26"/>
                  </a:lnTo>
                  <a:lnTo>
                    <a:pt x="1344" y="26"/>
                  </a:lnTo>
                  <a:lnTo>
                    <a:pt x="1344" y="26"/>
                  </a:lnTo>
                  <a:lnTo>
                    <a:pt x="1340" y="26"/>
                  </a:lnTo>
                  <a:lnTo>
                    <a:pt x="1340" y="26"/>
                  </a:lnTo>
                  <a:lnTo>
                    <a:pt x="1340" y="26"/>
                  </a:lnTo>
                  <a:lnTo>
                    <a:pt x="1338" y="28"/>
                  </a:lnTo>
                  <a:lnTo>
                    <a:pt x="1338" y="28"/>
                  </a:lnTo>
                  <a:lnTo>
                    <a:pt x="1338" y="28"/>
                  </a:lnTo>
                  <a:lnTo>
                    <a:pt x="1336" y="30"/>
                  </a:lnTo>
                  <a:lnTo>
                    <a:pt x="1336" y="30"/>
                  </a:lnTo>
                  <a:lnTo>
                    <a:pt x="1336" y="30"/>
                  </a:lnTo>
                  <a:lnTo>
                    <a:pt x="1336" y="32"/>
                  </a:lnTo>
                  <a:lnTo>
                    <a:pt x="1336" y="32"/>
                  </a:lnTo>
                  <a:lnTo>
                    <a:pt x="1336" y="32"/>
                  </a:lnTo>
                  <a:lnTo>
                    <a:pt x="1336" y="34"/>
                  </a:lnTo>
                  <a:lnTo>
                    <a:pt x="1336" y="34"/>
                  </a:lnTo>
                  <a:lnTo>
                    <a:pt x="1336" y="34"/>
                  </a:lnTo>
                  <a:lnTo>
                    <a:pt x="1334" y="36"/>
                  </a:lnTo>
                  <a:lnTo>
                    <a:pt x="1332" y="36"/>
                  </a:lnTo>
                  <a:lnTo>
                    <a:pt x="1326" y="38"/>
                  </a:lnTo>
                  <a:lnTo>
                    <a:pt x="1326" y="38"/>
                  </a:lnTo>
                  <a:lnTo>
                    <a:pt x="1322" y="38"/>
                  </a:lnTo>
                  <a:lnTo>
                    <a:pt x="1322" y="38"/>
                  </a:lnTo>
                  <a:lnTo>
                    <a:pt x="1322" y="38"/>
                  </a:lnTo>
                  <a:lnTo>
                    <a:pt x="1322" y="36"/>
                  </a:lnTo>
                  <a:lnTo>
                    <a:pt x="1324" y="36"/>
                  </a:lnTo>
                  <a:lnTo>
                    <a:pt x="1324" y="36"/>
                  </a:lnTo>
                  <a:lnTo>
                    <a:pt x="1324" y="36"/>
                  </a:lnTo>
                  <a:lnTo>
                    <a:pt x="1326" y="34"/>
                  </a:lnTo>
                  <a:lnTo>
                    <a:pt x="1326" y="30"/>
                  </a:lnTo>
                  <a:lnTo>
                    <a:pt x="1328" y="28"/>
                  </a:lnTo>
                  <a:lnTo>
                    <a:pt x="1330" y="24"/>
                  </a:lnTo>
                  <a:lnTo>
                    <a:pt x="1330" y="20"/>
                  </a:lnTo>
                  <a:lnTo>
                    <a:pt x="1332" y="16"/>
                  </a:lnTo>
                  <a:lnTo>
                    <a:pt x="1332" y="12"/>
                  </a:lnTo>
                  <a:lnTo>
                    <a:pt x="1332" y="10"/>
                  </a:lnTo>
                  <a:lnTo>
                    <a:pt x="1332" y="10"/>
                  </a:lnTo>
                  <a:lnTo>
                    <a:pt x="1332" y="8"/>
                  </a:lnTo>
                  <a:lnTo>
                    <a:pt x="1332" y="6"/>
                  </a:lnTo>
                  <a:lnTo>
                    <a:pt x="1332" y="6"/>
                  </a:lnTo>
                  <a:lnTo>
                    <a:pt x="1332" y="6"/>
                  </a:lnTo>
                  <a:lnTo>
                    <a:pt x="1330" y="4"/>
                  </a:lnTo>
                  <a:lnTo>
                    <a:pt x="1330" y="4"/>
                  </a:lnTo>
                  <a:lnTo>
                    <a:pt x="1330" y="2"/>
                  </a:lnTo>
                  <a:lnTo>
                    <a:pt x="1328" y="2"/>
                  </a:lnTo>
                  <a:lnTo>
                    <a:pt x="1328" y="2"/>
                  </a:lnTo>
                  <a:lnTo>
                    <a:pt x="1326" y="2"/>
                  </a:lnTo>
                  <a:lnTo>
                    <a:pt x="1324" y="0"/>
                  </a:lnTo>
                  <a:lnTo>
                    <a:pt x="1324" y="0"/>
                  </a:lnTo>
                  <a:lnTo>
                    <a:pt x="1322" y="0"/>
                  </a:lnTo>
                  <a:lnTo>
                    <a:pt x="1318" y="0"/>
                  </a:lnTo>
                  <a:lnTo>
                    <a:pt x="1314" y="0"/>
                  </a:lnTo>
                  <a:lnTo>
                    <a:pt x="1310" y="0"/>
                  </a:lnTo>
                  <a:lnTo>
                    <a:pt x="1304" y="0"/>
                  </a:lnTo>
                  <a:lnTo>
                    <a:pt x="1302" y="0"/>
                  </a:lnTo>
                  <a:lnTo>
                    <a:pt x="1298" y="0"/>
                  </a:lnTo>
                  <a:lnTo>
                    <a:pt x="1294" y="0"/>
                  </a:lnTo>
                  <a:lnTo>
                    <a:pt x="1290" y="0"/>
                  </a:lnTo>
                  <a:lnTo>
                    <a:pt x="1280" y="0"/>
                  </a:lnTo>
                  <a:lnTo>
                    <a:pt x="1270" y="0"/>
                  </a:lnTo>
                  <a:lnTo>
                    <a:pt x="1260" y="0"/>
                  </a:lnTo>
                  <a:lnTo>
                    <a:pt x="1250" y="0"/>
                  </a:lnTo>
                  <a:lnTo>
                    <a:pt x="1246" y="0"/>
                  </a:lnTo>
                  <a:lnTo>
                    <a:pt x="1242" y="0"/>
                  </a:lnTo>
                  <a:lnTo>
                    <a:pt x="1240" y="0"/>
                  </a:lnTo>
                  <a:lnTo>
                    <a:pt x="1236" y="0"/>
                  </a:lnTo>
                  <a:lnTo>
                    <a:pt x="1234" y="0"/>
                  </a:lnTo>
                  <a:lnTo>
                    <a:pt x="1232" y="0"/>
                  </a:lnTo>
                  <a:lnTo>
                    <a:pt x="1232" y="0"/>
                  </a:lnTo>
                  <a:lnTo>
                    <a:pt x="1232" y="0"/>
                  </a:lnTo>
                  <a:lnTo>
                    <a:pt x="1230" y="2"/>
                  </a:lnTo>
                  <a:lnTo>
                    <a:pt x="1230" y="2"/>
                  </a:lnTo>
                  <a:lnTo>
                    <a:pt x="1230" y="2"/>
                  </a:lnTo>
                  <a:lnTo>
                    <a:pt x="1230" y="2"/>
                  </a:lnTo>
                  <a:lnTo>
                    <a:pt x="1228" y="2"/>
                  </a:lnTo>
                  <a:lnTo>
                    <a:pt x="1228" y="2"/>
                  </a:lnTo>
                  <a:lnTo>
                    <a:pt x="1228" y="6"/>
                  </a:lnTo>
                  <a:lnTo>
                    <a:pt x="1228" y="6"/>
                  </a:lnTo>
                  <a:lnTo>
                    <a:pt x="1228" y="6"/>
                  </a:lnTo>
                  <a:lnTo>
                    <a:pt x="1228" y="8"/>
                  </a:lnTo>
                  <a:lnTo>
                    <a:pt x="1230" y="8"/>
                  </a:lnTo>
                  <a:lnTo>
                    <a:pt x="1230" y="10"/>
                  </a:lnTo>
                  <a:lnTo>
                    <a:pt x="1230" y="10"/>
                  </a:lnTo>
                  <a:lnTo>
                    <a:pt x="1230" y="12"/>
                  </a:lnTo>
                  <a:lnTo>
                    <a:pt x="1230" y="14"/>
                  </a:lnTo>
                  <a:lnTo>
                    <a:pt x="1232" y="16"/>
                  </a:lnTo>
                  <a:lnTo>
                    <a:pt x="1232" y="20"/>
                  </a:lnTo>
                  <a:lnTo>
                    <a:pt x="1234" y="24"/>
                  </a:lnTo>
                  <a:lnTo>
                    <a:pt x="1234" y="26"/>
                  </a:lnTo>
                  <a:lnTo>
                    <a:pt x="1234" y="28"/>
                  </a:lnTo>
                  <a:lnTo>
                    <a:pt x="1234" y="28"/>
                  </a:lnTo>
                  <a:lnTo>
                    <a:pt x="1232" y="30"/>
                  </a:lnTo>
                  <a:lnTo>
                    <a:pt x="1232" y="36"/>
                  </a:lnTo>
                  <a:lnTo>
                    <a:pt x="1232" y="34"/>
                  </a:lnTo>
                  <a:lnTo>
                    <a:pt x="1228" y="38"/>
                  </a:lnTo>
                  <a:lnTo>
                    <a:pt x="1230" y="38"/>
                  </a:lnTo>
                  <a:lnTo>
                    <a:pt x="1228" y="40"/>
                  </a:lnTo>
                  <a:lnTo>
                    <a:pt x="1228" y="40"/>
                  </a:lnTo>
                  <a:lnTo>
                    <a:pt x="1226" y="40"/>
                  </a:lnTo>
                  <a:lnTo>
                    <a:pt x="1224" y="42"/>
                  </a:lnTo>
                  <a:lnTo>
                    <a:pt x="1216" y="42"/>
                  </a:lnTo>
                  <a:lnTo>
                    <a:pt x="1214" y="42"/>
                  </a:lnTo>
                  <a:lnTo>
                    <a:pt x="1214" y="42"/>
                  </a:lnTo>
                  <a:lnTo>
                    <a:pt x="1212" y="42"/>
                  </a:lnTo>
                  <a:lnTo>
                    <a:pt x="1210" y="42"/>
                  </a:lnTo>
                  <a:lnTo>
                    <a:pt x="1210" y="42"/>
                  </a:lnTo>
                  <a:lnTo>
                    <a:pt x="1210" y="42"/>
                  </a:lnTo>
                  <a:lnTo>
                    <a:pt x="1208" y="44"/>
                  </a:lnTo>
                  <a:lnTo>
                    <a:pt x="1208" y="44"/>
                  </a:lnTo>
                  <a:lnTo>
                    <a:pt x="1206" y="44"/>
                  </a:lnTo>
                  <a:lnTo>
                    <a:pt x="1206" y="46"/>
                  </a:lnTo>
                  <a:lnTo>
                    <a:pt x="1206" y="46"/>
                  </a:lnTo>
                  <a:lnTo>
                    <a:pt x="1206" y="48"/>
                  </a:lnTo>
                  <a:lnTo>
                    <a:pt x="1206" y="50"/>
                  </a:lnTo>
                  <a:lnTo>
                    <a:pt x="1206" y="50"/>
                  </a:lnTo>
                  <a:lnTo>
                    <a:pt x="1206" y="52"/>
                  </a:lnTo>
                  <a:lnTo>
                    <a:pt x="1208" y="54"/>
                  </a:lnTo>
                  <a:lnTo>
                    <a:pt x="1208" y="58"/>
                  </a:lnTo>
                  <a:lnTo>
                    <a:pt x="1210" y="60"/>
                  </a:lnTo>
                  <a:lnTo>
                    <a:pt x="1210" y="60"/>
                  </a:lnTo>
                  <a:lnTo>
                    <a:pt x="1208" y="60"/>
                  </a:lnTo>
                  <a:lnTo>
                    <a:pt x="1204" y="58"/>
                  </a:lnTo>
                  <a:lnTo>
                    <a:pt x="1204" y="58"/>
                  </a:lnTo>
                  <a:lnTo>
                    <a:pt x="1204" y="58"/>
                  </a:lnTo>
                  <a:lnTo>
                    <a:pt x="1202" y="56"/>
                  </a:lnTo>
                  <a:lnTo>
                    <a:pt x="1202" y="56"/>
                  </a:lnTo>
                  <a:lnTo>
                    <a:pt x="1202" y="56"/>
                  </a:lnTo>
                  <a:lnTo>
                    <a:pt x="1200" y="56"/>
                  </a:lnTo>
                  <a:lnTo>
                    <a:pt x="1198" y="56"/>
                  </a:lnTo>
                  <a:lnTo>
                    <a:pt x="1196" y="56"/>
                  </a:lnTo>
                  <a:lnTo>
                    <a:pt x="1192" y="56"/>
                  </a:lnTo>
                  <a:lnTo>
                    <a:pt x="1188" y="58"/>
                  </a:lnTo>
                  <a:lnTo>
                    <a:pt x="1182" y="62"/>
                  </a:lnTo>
                  <a:lnTo>
                    <a:pt x="1176" y="64"/>
                  </a:lnTo>
                  <a:lnTo>
                    <a:pt x="1176" y="64"/>
                  </a:lnTo>
                  <a:lnTo>
                    <a:pt x="1174" y="64"/>
                  </a:lnTo>
                  <a:lnTo>
                    <a:pt x="1172" y="66"/>
                  </a:lnTo>
                  <a:lnTo>
                    <a:pt x="1170" y="70"/>
                  </a:lnTo>
                  <a:lnTo>
                    <a:pt x="1166" y="74"/>
                  </a:lnTo>
                  <a:lnTo>
                    <a:pt x="1164" y="76"/>
                  </a:lnTo>
                  <a:lnTo>
                    <a:pt x="1162" y="78"/>
                  </a:lnTo>
                  <a:lnTo>
                    <a:pt x="1160" y="78"/>
                  </a:lnTo>
                  <a:lnTo>
                    <a:pt x="1160" y="78"/>
                  </a:lnTo>
                  <a:lnTo>
                    <a:pt x="1158" y="78"/>
                  </a:lnTo>
                  <a:lnTo>
                    <a:pt x="1158" y="78"/>
                  </a:lnTo>
                  <a:lnTo>
                    <a:pt x="1158" y="78"/>
                  </a:lnTo>
                  <a:lnTo>
                    <a:pt x="1156" y="76"/>
                  </a:lnTo>
                  <a:lnTo>
                    <a:pt x="1152" y="72"/>
                  </a:lnTo>
                  <a:lnTo>
                    <a:pt x="1150" y="70"/>
                  </a:lnTo>
                  <a:lnTo>
                    <a:pt x="1148" y="66"/>
                  </a:lnTo>
                  <a:lnTo>
                    <a:pt x="1144" y="62"/>
                  </a:lnTo>
                  <a:lnTo>
                    <a:pt x="1142" y="58"/>
                  </a:lnTo>
                  <a:lnTo>
                    <a:pt x="1142" y="58"/>
                  </a:lnTo>
                  <a:lnTo>
                    <a:pt x="1142" y="58"/>
                  </a:lnTo>
                  <a:lnTo>
                    <a:pt x="1140" y="58"/>
                  </a:lnTo>
                  <a:lnTo>
                    <a:pt x="1140" y="58"/>
                  </a:lnTo>
                  <a:lnTo>
                    <a:pt x="1140" y="58"/>
                  </a:lnTo>
                  <a:lnTo>
                    <a:pt x="1140" y="56"/>
                  </a:lnTo>
                  <a:lnTo>
                    <a:pt x="1140" y="56"/>
                  </a:lnTo>
                  <a:lnTo>
                    <a:pt x="1138" y="56"/>
                  </a:lnTo>
                  <a:lnTo>
                    <a:pt x="1136" y="56"/>
                  </a:lnTo>
                  <a:lnTo>
                    <a:pt x="1136" y="56"/>
                  </a:lnTo>
                  <a:lnTo>
                    <a:pt x="1136" y="56"/>
                  </a:lnTo>
                  <a:lnTo>
                    <a:pt x="1134" y="56"/>
                  </a:lnTo>
                  <a:lnTo>
                    <a:pt x="1134" y="56"/>
                  </a:lnTo>
                  <a:lnTo>
                    <a:pt x="1132" y="56"/>
                  </a:lnTo>
                  <a:lnTo>
                    <a:pt x="1132" y="58"/>
                  </a:lnTo>
                  <a:lnTo>
                    <a:pt x="1132" y="58"/>
                  </a:lnTo>
                  <a:lnTo>
                    <a:pt x="1130" y="58"/>
                  </a:lnTo>
                  <a:lnTo>
                    <a:pt x="1130" y="60"/>
                  </a:lnTo>
                  <a:lnTo>
                    <a:pt x="1130" y="60"/>
                  </a:lnTo>
                  <a:lnTo>
                    <a:pt x="1130" y="60"/>
                  </a:lnTo>
                  <a:lnTo>
                    <a:pt x="1126" y="62"/>
                  </a:lnTo>
                  <a:lnTo>
                    <a:pt x="1124" y="66"/>
                  </a:lnTo>
                  <a:lnTo>
                    <a:pt x="1120" y="70"/>
                  </a:lnTo>
                  <a:lnTo>
                    <a:pt x="1118" y="74"/>
                  </a:lnTo>
                  <a:lnTo>
                    <a:pt x="1114" y="78"/>
                  </a:lnTo>
                  <a:lnTo>
                    <a:pt x="1112" y="82"/>
                  </a:lnTo>
                  <a:lnTo>
                    <a:pt x="1112" y="82"/>
                  </a:lnTo>
                  <a:lnTo>
                    <a:pt x="1112" y="82"/>
                  </a:lnTo>
                  <a:lnTo>
                    <a:pt x="1112" y="84"/>
                  </a:lnTo>
                  <a:lnTo>
                    <a:pt x="1112" y="84"/>
                  </a:lnTo>
                  <a:lnTo>
                    <a:pt x="1112" y="84"/>
                  </a:lnTo>
                  <a:lnTo>
                    <a:pt x="1112" y="86"/>
                  </a:lnTo>
                  <a:lnTo>
                    <a:pt x="1112" y="86"/>
                  </a:lnTo>
                  <a:lnTo>
                    <a:pt x="1112" y="90"/>
                  </a:lnTo>
                  <a:lnTo>
                    <a:pt x="1112" y="92"/>
                  </a:lnTo>
                  <a:lnTo>
                    <a:pt x="1112" y="92"/>
                  </a:lnTo>
                  <a:lnTo>
                    <a:pt x="1112" y="92"/>
                  </a:lnTo>
                  <a:lnTo>
                    <a:pt x="1110" y="92"/>
                  </a:lnTo>
                  <a:lnTo>
                    <a:pt x="1108" y="94"/>
                  </a:lnTo>
                  <a:lnTo>
                    <a:pt x="1106" y="94"/>
                  </a:lnTo>
                  <a:lnTo>
                    <a:pt x="1102" y="94"/>
                  </a:lnTo>
                  <a:lnTo>
                    <a:pt x="1096" y="94"/>
                  </a:lnTo>
                  <a:lnTo>
                    <a:pt x="1086" y="94"/>
                  </a:lnTo>
                  <a:lnTo>
                    <a:pt x="1084" y="94"/>
                  </a:lnTo>
                  <a:lnTo>
                    <a:pt x="1080" y="94"/>
                  </a:lnTo>
                  <a:lnTo>
                    <a:pt x="1076" y="94"/>
                  </a:lnTo>
                  <a:lnTo>
                    <a:pt x="1072" y="94"/>
                  </a:lnTo>
                  <a:lnTo>
                    <a:pt x="1070" y="94"/>
                  </a:lnTo>
                  <a:lnTo>
                    <a:pt x="1064" y="96"/>
                  </a:lnTo>
                  <a:lnTo>
                    <a:pt x="1056" y="98"/>
                  </a:lnTo>
                  <a:lnTo>
                    <a:pt x="1054" y="98"/>
                  </a:lnTo>
                  <a:lnTo>
                    <a:pt x="1050" y="100"/>
                  </a:lnTo>
                  <a:lnTo>
                    <a:pt x="1050" y="100"/>
                  </a:lnTo>
                  <a:lnTo>
                    <a:pt x="1050" y="100"/>
                  </a:lnTo>
                  <a:lnTo>
                    <a:pt x="1048" y="102"/>
                  </a:lnTo>
                  <a:lnTo>
                    <a:pt x="1048" y="102"/>
                  </a:lnTo>
                  <a:lnTo>
                    <a:pt x="1048" y="102"/>
                  </a:lnTo>
                  <a:lnTo>
                    <a:pt x="1046" y="106"/>
                  </a:lnTo>
                  <a:lnTo>
                    <a:pt x="1042" y="110"/>
                  </a:lnTo>
                  <a:lnTo>
                    <a:pt x="1040" y="116"/>
                  </a:lnTo>
                  <a:lnTo>
                    <a:pt x="1038" y="118"/>
                  </a:lnTo>
                  <a:lnTo>
                    <a:pt x="1038" y="118"/>
                  </a:lnTo>
                  <a:lnTo>
                    <a:pt x="1036" y="120"/>
                  </a:lnTo>
                  <a:lnTo>
                    <a:pt x="1036" y="120"/>
                  </a:lnTo>
                  <a:lnTo>
                    <a:pt x="1032" y="122"/>
                  </a:lnTo>
                  <a:lnTo>
                    <a:pt x="1028" y="122"/>
                  </a:lnTo>
                  <a:lnTo>
                    <a:pt x="1028" y="122"/>
                  </a:lnTo>
                  <a:lnTo>
                    <a:pt x="1028" y="124"/>
                  </a:lnTo>
                  <a:lnTo>
                    <a:pt x="1026" y="124"/>
                  </a:lnTo>
                  <a:lnTo>
                    <a:pt x="1026" y="124"/>
                  </a:lnTo>
                  <a:lnTo>
                    <a:pt x="1026" y="124"/>
                  </a:lnTo>
                  <a:lnTo>
                    <a:pt x="1024" y="126"/>
                  </a:lnTo>
                  <a:lnTo>
                    <a:pt x="1024" y="126"/>
                  </a:lnTo>
                  <a:lnTo>
                    <a:pt x="1024" y="126"/>
                  </a:lnTo>
                  <a:lnTo>
                    <a:pt x="1024" y="128"/>
                  </a:lnTo>
                  <a:lnTo>
                    <a:pt x="1024" y="128"/>
                  </a:lnTo>
                  <a:lnTo>
                    <a:pt x="1024" y="130"/>
                  </a:lnTo>
                  <a:lnTo>
                    <a:pt x="1022" y="132"/>
                  </a:lnTo>
                  <a:lnTo>
                    <a:pt x="1024" y="136"/>
                  </a:lnTo>
                  <a:lnTo>
                    <a:pt x="1024" y="138"/>
                  </a:lnTo>
                  <a:lnTo>
                    <a:pt x="1024" y="140"/>
                  </a:lnTo>
                  <a:lnTo>
                    <a:pt x="1022" y="140"/>
                  </a:lnTo>
                  <a:lnTo>
                    <a:pt x="1022" y="140"/>
                  </a:lnTo>
                  <a:lnTo>
                    <a:pt x="1022" y="140"/>
                  </a:lnTo>
                  <a:lnTo>
                    <a:pt x="1022" y="140"/>
                  </a:lnTo>
                  <a:lnTo>
                    <a:pt x="1018" y="140"/>
                  </a:lnTo>
                  <a:lnTo>
                    <a:pt x="1016" y="140"/>
                  </a:lnTo>
                  <a:lnTo>
                    <a:pt x="1012" y="140"/>
                  </a:lnTo>
                  <a:lnTo>
                    <a:pt x="1010" y="140"/>
                  </a:lnTo>
                  <a:lnTo>
                    <a:pt x="1010" y="140"/>
                  </a:lnTo>
                  <a:lnTo>
                    <a:pt x="1008" y="140"/>
                  </a:lnTo>
                  <a:lnTo>
                    <a:pt x="1008" y="140"/>
                  </a:lnTo>
                  <a:lnTo>
                    <a:pt x="1006" y="140"/>
                  </a:lnTo>
                  <a:lnTo>
                    <a:pt x="1006" y="140"/>
                  </a:lnTo>
                  <a:lnTo>
                    <a:pt x="1006" y="140"/>
                  </a:lnTo>
                  <a:lnTo>
                    <a:pt x="1004" y="142"/>
                  </a:lnTo>
                  <a:lnTo>
                    <a:pt x="1004" y="142"/>
                  </a:lnTo>
                  <a:lnTo>
                    <a:pt x="1004" y="142"/>
                  </a:lnTo>
                  <a:lnTo>
                    <a:pt x="1004" y="144"/>
                  </a:lnTo>
                  <a:lnTo>
                    <a:pt x="1004" y="146"/>
                  </a:lnTo>
                  <a:lnTo>
                    <a:pt x="1004" y="146"/>
                  </a:lnTo>
                  <a:lnTo>
                    <a:pt x="1004" y="146"/>
                  </a:lnTo>
                  <a:lnTo>
                    <a:pt x="1004" y="148"/>
                  </a:lnTo>
                  <a:lnTo>
                    <a:pt x="1006" y="150"/>
                  </a:lnTo>
                  <a:lnTo>
                    <a:pt x="1008" y="154"/>
                  </a:lnTo>
                  <a:lnTo>
                    <a:pt x="1010" y="156"/>
                  </a:lnTo>
                  <a:lnTo>
                    <a:pt x="1010" y="158"/>
                  </a:lnTo>
                  <a:lnTo>
                    <a:pt x="1012" y="162"/>
                  </a:lnTo>
                  <a:lnTo>
                    <a:pt x="1014" y="166"/>
                  </a:lnTo>
                  <a:lnTo>
                    <a:pt x="1016" y="172"/>
                  </a:lnTo>
                  <a:lnTo>
                    <a:pt x="1018" y="176"/>
                  </a:lnTo>
                  <a:lnTo>
                    <a:pt x="1020" y="180"/>
                  </a:lnTo>
                  <a:lnTo>
                    <a:pt x="1022" y="184"/>
                  </a:lnTo>
                  <a:lnTo>
                    <a:pt x="1022" y="184"/>
                  </a:lnTo>
                  <a:lnTo>
                    <a:pt x="1022" y="186"/>
                  </a:lnTo>
                  <a:lnTo>
                    <a:pt x="1022" y="188"/>
                  </a:lnTo>
                  <a:lnTo>
                    <a:pt x="1022" y="188"/>
                  </a:lnTo>
                  <a:lnTo>
                    <a:pt x="1020" y="190"/>
                  </a:lnTo>
                  <a:lnTo>
                    <a:pt x="1020" y="188"/>
                  </a:lnTo>
                  <a:lnTo>
                    <a:pt x="1018" y="190"/>
                  </a:lnTo>
                  <a:lnTo>
                    <a:pt x="1016" y="192"/>
                  </a:lnTo>
                  <a:lnTo>
                    <a:pt x="1014" y="192"/>
                  </a:lnTo>
                  <a:lnTo>
                    <a:pt x="1008" y="194"/>
                  </a:lnTo>
                  <a:lnTo>
                    <a:pt x="1004" y="196"/>
                  </a:lnTo>
                  <a:lnTo>
                    <a:pt x="1002" y="196"/>
                  </a:lnTo>
                  <a:lnTo>
                    <a:pt x="996" y="198"/>
                  </a:lnTo>
                  <a:lnTo>
                    <a:pt x="990" y="198"/>
                  </a:lnTo>
                  <a:lnTo>
                    <a:pt x="984" y="200"/>
                  </a:lnTo>
                  <a:lnTo>
                    <a:pt x="978" y="202"/>
                  </a:lnTo>
                  <a:lnTo>
                    <a:pt x="972" y="204"/>
                  </a:lnTo>
                  <a:lnTo>
                    <a:pt x="968" y="206"/>
                  </a:lnTo>
                  <a:lnTo>
                    <a:pt x="964" y="208"/>
                  </a:lnTo>
                  <a:lnTo>
                    <a:pt x="962" y="208"/>
                  </a:lnTo>
                  <a:lnTo>
                    <a:pt x="960" y="208"/>
                  </a:lnTo>
                  <a:lnTo>
                    <a:pt x="956" y="208"/>
                  </a:lnTo>
                  <a:lnTo>
                    <a:pt x="952" y="208"/>
                  </a:lnTo>
                  <a:lnTo>
                    <a:pt x="944" y="208"/>
                  </a:lnTo>
                  <a:lnTo>
                    <a:pt x="940" y="208"/>
                  </a:lnTo>
                  <a:lnTo>
                    <a:pt x="936" y="208"/>
                  </a:lnTo>
                  <a:lnTo>
                    <a:pt x="932" y="208"/>
                  </a:lnTo>
                  <a:lnTo>
                    <a:pt x="928" y="208"/>
                  </a:lnTo>
                  <a:lnTo>
                    <a:pt x="928" y="208"/>
                  </a:lnTo>
                  <a:lnTo>
                    <a:pt x="928" y="210"/>
                  </a:lnTo>
                  <a:lnTo>
                    <a:pt x="926" y="210"/>
                  </a:lnTo>
                  <a:lnTo>
                    <a:pt x="926" y="210"/>
                  </a:lnTo>
                  <a:lnTo>
                    <a:pt x="924" y="210"/>
                  </a:lnTo>
                  <a:lnTo>
                    <a:pt x="924" y="212"/>
                  </a:lnTo>
                  <a:lnTo>
                    <a:pt x="924" y="212"/>
                  </a:lnTo>
                  <a:lnTo>
                    <a:pt x="922" y="212"/>
                  </a:lnTo>
                  <a:lnTo>
                    <a:pt x="920" y="216"/>
                  </a:lnTo>
                  <a:lnTo>
                    <a:pt x="920" y="216"/>
                  </a:lnTo>
                  <a:lnTo>
                    <a:pt x="920" y="216"/>
                  </a:lnTo>
                  <a:lnTo>
                    <a:pt x="918" y="220"/>
                  </a:lnTo>
                  <a:lnTo>
                    <a:pt x="918" y="220"/>
                  </a:lnTo>
                  <a:lnTo>
                    <a:pt x="918" y="220"/>
                  </a:lnTo>
                  <a:lnTo>
                    <a:pt x="918" y="224"/>
                  </a:lnTo>
                  <a:lnTo>
                    <a:pt x="918" y="224"/>
                  </a:lnTo>
                  <a:lnTo>
                    <a:pt x="918" y="226"/>
                  </a:lnTo>
                  <a:lnTo>
                    <a:pt x="918" y="226"/>
                  </a:lnTo>
                  <a:lnTo>
                    <a:pt x="918" y="226"/>
                  </a:lnTo>
                  <a:lnTo>
                    <a:pt x="920" y="228"/>
                  </a:lnTo>
                  <a:lnTo>
                    <a:pt x="920" y="228"/>
                  </a:lnTo>
                  <a:lnTo>
                    <a:pt x="920" y="228"/>
                  </a:lnTo>
                  <a:lnTo>
                    <a:pt x="922" y="232"/>
                  </a:lnTo>
                  <a:lnTo>
                    <a:pt x="924" y="234"/>
                  </a:lnTo>
                  <a:lnTo>
                    <a:pt x="924" y="234"/>
                  </a:lnTo>
                  <a:lnTo>
                    <a:pt x="926" y="234"/>
                  </a:lnTo>
                  <a:lnTo>
                    <a:pt x="926" y="236"/>
                  </a:lnTo>
                  <a:lnTo>
                    <a:pt x="926" y="236"/>
                  </a:lnTo>
                  <a:lnTo>
                    <a:pt x="926" y="238"/>
                  </a:lnTo>
                  <a:lnTo>
                    <a:pt x="926" y="236"/>
                  </a:lnTo>
                  <a:lnTo>
                    <a:pt x="926" y="240"/>
                  </a:lnTo>
                  <a:lnTo>
                    <a:pt x="924" y="244"/>
                  </a:lnTo>
                  <a:lnTo>
                    <a:pt x="924" y="248"/>
                  </a:lnTo>
                  <a:lnTo>
                    <a:pt x="924" y="252"/>
                  </a:lnTo>
                  <a:lnTo>
                    <a:pt x="924" y="256"/>
                  </a:lnTo>
                  <a:lnTo>
                    <a:pt x="924" y="260"/>
                  </a:lnTo>
                  <a:lnTo>
                    <a:pt x="924" y="262"/>
                  </a:lnTo>
                  <a:lnTo>
                    <a:pt x="924" y="262"/>
                  </a:lnTo>
                  <a:lnTo>
                    <a:pt x="924" y="262"/>
                  </a:lnTo>
                  <a:lnTo>
                    <a:pt x="924" y="264"/>
                  </a:lnTo>
                  <a:lnTo>
                    <a:pt x="924" y="264"/>
                  </a:lnTo>
                  <a:lnTo>
                    <a:pt x="924" y="264"/>
                  </a:lnTo>
                  <a:lnTo>
                    <a:pt x="926" y="266"/>
                  </a:lnTo>
                  <a:lnTo>
                    <a:pt x="926" y="266"/>
                  </a:lnTo>
                  <a:lnTo>
                    <a:pt x="926" y="266"/>
                  </a:lnTo>
                  <a:lnTo>
                    <a:pt x="928" y="268"/>
                  </a:lnTo>
                  <a:lnTo>
                    <a:pt x="928" y="268"/>
                  </a:lnTo>
                  <a:lnTo>
                    <a:pt x="930" y="268"/>
                  </a:lnTo>
                  <a:lnTo>
                    <a:pt x="932" y="270"/>
                  </a:lnTo>
                  <a:lnTo>
                    <a:pt x="934" y="272"/>
                  </a:lnTo>
                  <a:lnTo>
                    <a:pt x="938" y="272"/>
                  </a:lnTo>
                  <a:lnTo>
                    <a:pt x="940" y="274"/>
                  </a:lnTo>
                  <a:lnTo>
                    <a:pt x="944" y="274"/>
                  </a:lnTo>
                  <a:lnTo>
                    <a:pt x="946" y="274"/>
                  </a:lnTo>
                  <a:lnTo>
                    <a:pt x="946" y="276"/>
                  </a:lnTo>
                  <a:lnTo>
                    <a:pt x="946" y="276"/>
                  </a:lnTo>
                  <a:lnTo>
                    <a:pt x="948" y="278"/>
                  </a:lnTo>
                  <a:lnTo>
                    <a:pt x="948" y="278"/>
                  </a:lnTo>
                  <a:lnTo>
                    <a:pt x="948" y="282"/>
                  </a:lnTo>
                  <a:lnTo>
                    <a:pt x="948" y="282"/>
                  </a:lnTo>
                  <a:lnTo>
                    <a:pt x="948" y="282"/>
                  </a:lnTo>
                  <a:lnTo>
                    <a:pt x="948" y="284"/>
                  </a:lnTo>
                  <a:lnTo>
                    <a:pt x="948" y="284"/>
                  </a:lnTo>
                  <a:lnTo>
                    <a:pt x="948" y="284"/>
                  </a:lnTo>
                  <a:lnTo>
                    <a:pt x="948" y="288"/>
                  </a:lnTo>
                  <a:lnTo>
                    <a:pt x="948" y="288"/>
                  </a:lnTo>
                  <a:lnTo>
                    <a:pt x="950" y="288"/>
                  </a:lnTo>
                  <a:lnTo>
                    <a:pt x="952" y="290"/>
                  </a:lnTo>
                  <a:lnTo>
                    <a:pt x="954" y="292"/>
                  </a:lnTo>
                  <a:lnTo>
                    <a:pt x="954" y="292"/>
                  </a:lnTo>
                  <a:lnTo>
                    <a:pt x="954" y="292"/>
                  </a:lnTo>
                  <a:lnTo>
                    <a:pt x="956" y="294"/>
                  </a:lnTo>
                  <a:lnTo>
                    <a:pt x="956" y="294"/>
                  </a:lnTo>
                  <a:lnTo>
                    <a:pt x="956" y="296"/>
                  </a:lnTo>
                  <a:lnTo>
                    <a:pt x="958" y="296"/>
                  </a:lnTo>
                  <a:lnTo>
                    <a:pt x="958" y="296"/>
                  </a:lnTo>
                  <a:lnTo>
                    <a:pt x="956" y="298"/>
                  </a:lnTo>
                  <a:lnTo>
                    <a:pt x="954" y="298"/>
                  </a:lnTo>
                  <a:lnTo>
                    <a:pt x="948" y="300"/>
                  </a:lnTo>
                  <a:lnTo>
                    <a:pt x="946" y="302"/>
                  </a:lnTo>
                  <a:lnTo>
                    <a:pt x="944" y="302"/>
                  </a:lnTo>
                  <a:lnTo>
                    <a:pt x="944" y="302"/>
                  </a:lnTo>
                  <a:lnTo>
                    <a:pt x="944" y="302"/>
                  </a:lnTo>
                  <a:lnTo>
                    <a:pt x="942" y="300"/>
                  </a:lnTo>
                  <a:lnTo>
                    <a:pt x="940" y="298"/>
                  </a:lnTo>
                  <a:lnTo>
                    <a:pt x="938" y="296"/>
                  </a:lnTo>
                  <a:lnTo>
                    <a:pt x="936" y="296"/>
                  </a:lnTo>
                  <a:lnTo>
                    <a:pt x="934" y="294"/>
                  </a:lnTo>
                  <a:lnTo>
                    <a:pt x="932" y="292"/>
                  </a:lnTo>
                  <a:lnTo>
                    <a:pt x="928" y="288"/>
                  </a:lnTo>
                  <a:lnTo>
                    <a:pt x="926" y="284"/>
                  </a:lnTo>
                  <a:lnTo>
                    <a:pt x="922" y="282"/>
                  </a:lnTo>
                  <a:lnTo>
                    <a:pt x="918" y="278"/>
                  </a:lnTo>
                  <a:lnTo>
                    <a:pt x="914" y="274"/>
                  </a:lnTo>
                  <a:lnTo>
                    <a:pt x="910" y="272"/>
                  </a:lnTo>
                  <a:lnTo>
                    <a:pt x="908" y="270"/>
                  </a:lnTo>
                  <a:lnTo>
                    <a:pt x="904" y="268"/>
                  </a:lnTo>
                  <a:lnTo>
                    <a:pt x="902" y="266"/>
                  </a:lnTo>
                  <a:lnTo>
                    <a:pt x="900" y="266"/>
                  </a:lnTo>
                  <a:lnTo>
                    <a:pt x="900" y="266"/>
                  </a:lnTo>
                  <a:lnTo>
                    <a:pt x="900" y="266"/>
                  </a:lnTo>
                  <a:lnTo>
                    <a:pt x="898" y="264"/>
                  </a:lnTo>
                  <a:lnTo>
                    <a:pt x="896" y="264"/>
                  </a:lnTo>
                  <a:lnTo>
                    <a:pt x="892" y="264"/>
                  </a:lnTo>
                  <a:lnTo>
                    <a:pt x="892" y="264"/>
                  </a:lnTo>
                  <a:lnTo>
                    <a:pt x="892" y="264"/>
                  </a:lnTo>
                  <a:lnTo>
                    <a:pt x="892" y="264"/>
                  </a:lnTo>
                  <a:lnTo>
                    <a:pt x="890" y="262"/>
                  </a:lnTo>
                  <a:lnTo>
                    <a:pt x="888" y="260"/>
                  </a:lnTo>
                  <a:lnTo>
                    <a:pt x="886" y="258"/>
                  </a:lnTo>
                  <a:lnTo>
                    <a:pt x="886" y="258"/>
                  </a:lnTo>
                  <a:lnTo>
                    <a:pt x="886" y="258"/>
                  </a:lnTo>
                  <a:lnTo>
                    <a:pt x="884" y="258"/>
                  </a:lnTo>
                  <a:lnTo>
                    <a:pt x="884" y="256"/>
                  </a:lnTo>
                  <a:lnTo>
                    <a:pt x="884" y="256"/>
                  </a:lnTo>
                  <a:lnTo>
                    <a:pt x="882" y="256"/>
                  </a:lnTo>
                  <a:lnTo>
                    <a:pt x="882" y="256"/>
                  </a:lnTo>
                  <a:lnTo>
                    <a:pt x="882" y="256"/>
                  </a:lnTo>
                  <a:lnTo>
                    <a:pt x="880" y="256"/>
                  </a:lnTo>
                  <a:lnTo>
                    <a:pt x="878" y="256"/>
                  </a:lnTo>
                  <a:lnTo>
                    <a:pt x="878" y="256"/>
                  </a:lnTo>
                  <a:lnTo>
                    <a:pt x="878" y="256"/>
                  </a:lnTo>
                  <a:lnTo>
                    <a:pt x="876" y="258"/>
                  </a:lnTo>
                  <a:lnTo>
                    <a:pt x="874" y="258"/>
                  </a:lnTo>
                  <a:lnTo>
                    <a:pt x="872" y="260"/>
                  </a:lnTo>
                  <a:lnTo>
                    <a:pt x="870" y="262"/>
                  </a:lnTo>
                  <a:lnTo>
                    <a:pt x="868" y="264"/>
                  </a:lnTo>
                  <a:lnTo>
                    <a:pt x="866" y="266"/>
                  </a:lnTo>
                  <a:lnTo>
                    <a:pt x="866" y="266"/>
                  </a:lnTo>
                  <a:lnTo>
                    <a:pt x="866" y="266"/>
                  </a:lnTo>
                  <a:lnTo>
                    <a:pt x="866" y="268"/>
                  </a:lnTo>
                  <a:lnTo>
                    <a:pt x="866" y="268"/>
                  </a:lnTo>
                  <a:lnTo>
                    <a:pt x="866" y="268"/>
                  </a:lnTo>
                  <a:lnTo>
                    <a:pt x="866" y="270"/>
                  </a:lnTo>
                  <a:lnTo>
                    <a:pt x="866" y="270"/>
                  </a:lnTo>
                  <a:lnTo>
                    <a:pt x="866" y="272"/>
                  </a:lnTo>
                  <a:lnTo>
                    <a:pt x="866" y="272"/>
                  </a:lnTo>
                  <a:lnTo>
                    <a:pt x="866" y="272"/>
                  </a:lnTo>
                  <a:lnTo>
                    <a:pt x="868" y="272"/>
                  </a:lnTo>
                  <a:lnTo>
                    <a:pt x="868" y="274"/>
                  </a:lnTo>
                  <a:lnTo>
                    <a:pt x="868" y="274"/>
                  </a:lnTo>
                  <a:lnTo>
                    <a:pt x="870" y="274"/>
                  </a:lnTo>
                  <a:lnTo>
                    <a:pt x="870" y="274"/>
                  </a:lnTo>
                  <a:lnTo>
                    <a:pt x="874" y="276"/>
                  </a:lnTo>
                  <a:lnTo>
                    <a:pt x="876" y="276"/>
                  </a:lnTo>
                  <a:lnTo>
                    <a:pt x="876" y="278"/>
                  </a:lnTo>
                  <a:lnTo>
                    <a:pt x="878" y="278"/>
                  </a:lnTo>
                  <a:lnTo>
                    <a:pt x="880" y="280"/>
                  </a:lnTo>
                  <a:lnTo>
                    <a:pt x="882" y="284"/>
                  </a:lnTo>
                  <a:lnTo>
                    <a:pt x="882" y="284"/>
                  </a:lnTo>
                  <a:lnTo>
                    <a:pt x="882" y="286"/>
                  </a:lnTo>
                  <a:lnTo>
                    <a:pt x="882" y="286"/>
                  </a:lnTo>
                  <a:lnTo>
                    <a:pt x="882" y="286"/>
                  </a:lnTo>
                  <a:lnTo>
                    <a:pt x="882" y="290"/>
                  </a:lnTo>
                  <a:lnTo>
                    <a:pt x="882" y="290"/>
                  </a:lnTo>
                  <a:lnTo>
                    <a:pt x="882" y="292"/>
                  </a:lnTo>
                  <a:lnTo>
                    <a:pt x="882" y="292"/>
                  </a:lnTo>
                  <a:lnTo>
                    <a:pt x="880" y="292"/>
                  </a:lnTo>
                  <a:lnTo>
                    <a:pt x="878" y="290"/>
                  </a:lnTo>
                  <a:lnTo>
                    <a:pt x="878" y="288"/>
                  </a:lnTo>
                  <a:lnTo>
                    <a:pt x="874" y="286"/>
                  </a:lnTo>
                  <a:lnTo>
                    <a:pt x="872" y="284"/>
                  </a:lnTo>
                  <a:lnTo>
                    <a:pt x="870" y="282"/>
                  </a:lnTo>
                  <a:lnTo>
                    <a:pt x="870" y="282"/>
                  </a:lnTo>
                  <a:lnTo>
                    <a:pt x="870" y="282"/>
                  </a:lnTo>
                  <a:lnTo>
                    <a:pt x="868" y="280"/>
                  </a:lnTo>
                  <a:lnTo>
                    <a:pt x="868" y="280"/>
                  </a:lnTo>
                  <a:lnTo>
                    <a:pt x="868" y="280"/>
                  </a:lnTo>
                  <a:lnTo>
                    <a:pt x="866" y="280"/>
                  </a:lnTo>
                  <a:lnTo>
                    <a:pt x="866" y="280"/>
                  </a:lnTo>
                  <a:lnTo>
                    <a:pt x="866" y="280"/>
                  </a:lnTo>
                  <a:lnTo>
                    <a:pt x="864" y="282"/>
                  </a:lnTo>
                  <a:lnTo>
                    <a:pt x="864" y="282"/>
                  </a:lnTo>
                  <a:lnTo>
                    <a:pt x="864" y="282"/>
                  </a:lnTo>
                  <a:lnTo>
                    <a:pt x="862" y="282"/>
                  </a:lnTo>
                  <a:lnTo>
                    <a:pt x="862" y="282"/>
                  </a:lnTo>
                  <a:lnTo>
                    <a:pt x="862" y="282"/>
                  </a:lnTo>
                  <a:lnTo>
                    <a:pt x="860" y="284"/>
                  </a:lnTo>
                  <a:lnTo>
                    <a:pt x="860" y="284"/>
                  </a:lnTo>
                  <a:lnTo>
                    <a:pt x="858" y="286"/>
                  </a:lnTo>
                  <a:lnTo>
                    <a:pt x="858" y="286"/>
                  </a:lnTo>
                  <a:lnTo>
                    <a:pt x="858" y="288"/>
                  </a:lnTo>
                  <a:lnTo>
                    <a:pt x="856" y="290"/>
                  </a:lnTo>
                  <a:lnTo>
                    <a:pt x="856" y="290"/>
                  </a:lnTo>
                  <a:lnTo>
                    <a:pt x="856" y="288"/>
                  </a:lnTo>
                  <a:lnTo>
                    <a:pt x="856" y="286"/>
                  </a:lnTo>
                  <a:lnTo>
                    <a:pt x="856" y="282"/>
                  </a:lnTo>
                  <a:lnTo>
                    <a:pt x="856" y="278"/>
                  </a:lnTo>
                  <a:lnTo>
                    <a:pt x="856" y="274"/>
                  </a:lnTo>
                  <a:lnTo>
                    <a:pt x="856" y="268"/>
                  </a:lnTo>
                  <a:lnTo>
                    <a:pt x="854" y="264"/>
                  </a:lnTo>
                  <a:lnTo>
                    <a:pt x="854" y="260"/>
                  </a:lnTo>
                  <a:lnTo>
                    <a:pt x="854" y="256"/>
                  </a:lnTo>
                  <a:lnTo>
                    <a:pt x="852" y="252"/>
                  </a:lnTo>
                  <a:lnTo>
                    <a:pt x="850" y="250"/>
                  </a:lnTo>
                  <a:lnTo>
                    <a:pt x="848" y="244"/>
                  </a:lnTo>
                  <a:lnTo>
                    <a:pt x="846" y="240"/>
                  </a:lnTo>
                  <a:lnTo>
                    <a:pt x="844" y="238"/>
                  </a:lnTo>
                  <a:lnTo>
                    <a:pt x="842" y="236"/>
                  </a:lnTo>
                  <a:lnTo>
                    <a:pt x="840" y="236"/>
                  </a:lnTo>
                  <a:lnTo>
                    <a:pt x="840" y="236"/>
                  </a:lnTo>
                  <a:lnTo>
                    <a:pt x="840" y="234"/>
                  </a:lnTo>
                  <a:lnTo>
                    <a:pt x="838" y="234"/>
                  </a:lnTo>
                  <a:lnTo>
                    <a:pt x="838" y="234"/>
                  </a:lnTo>
                  <a:lnTo>
                    <a:pt x="836" y="234"/>
                  </a:lnTo>
                  <a:lnTo>
                    <a:pt x="836" y="234"/>
                  </a:lnTo>
                  <a:lnTo>
                    <a:pt x="836" y="234"/>
                  </a:lnTo>
                  <a:lnTo>
                    <a:pt x="834" y="236"/>
                  </a:lnTo>
                  <a:lnTo>
                    <a:pt x="834" y="236"/>
                  </a:lnTo>
                  <a:lnTo>
                    <a:pt x="834" y="236"/>
                  </a:lnTo>
                  <a:lnTo>
                    <a:pt x="832" y="236"/>
                  </a:lnTo>
                  <a:lnTo>
                    <a:pt x="832" y="238"/>
                  </a:lnTo>
                  <a:lnTo>
                    <a:pt x="832" y="238"/>
                  </a:lnTo>
                  <a:lnTo>
                    <a:pt x="832" y="238"/>
                  </a:lnTo>
                  <a:lnTo>
                    <a:pt x="830" y="242"/>
                  </a:lnTo>
                  <a:lnTo>
                    <a:pt x="830" y="242"/>
                  </a:lnTo>
                  <a:lnTo>
                    <a:pt x="830" y="242"/>
                  </a:lnTo>
                  <a:lnTo>
                    <a:pt x="830" y="244"/>
                  </a:lnTo>
                  <a:lnTo>
                    <a:pt x="830" y="244"/>
                  </a:lnTo>
                  <a:lnTo>
                    <a:pt x="830" y="246"/>
                  </a:lnTo>
                  <a:lnTo>
                    <a:pt x="830" y="246"/>
                  </a:lnTo>
                  <a:lnTo>
                    <a:pt x="830" y="246"/>
                  </a:lnTo>
                  <a:lnTo>
                    <a:pt x="830" y="248"/>
                  </a:lnTo>
                  <a:lnTo>
                    <a:pt x="830" y="250"/>
                  </a:lnTo>
                  <a:lnTo>
                    <a:pt x="830" y="250"/>
                  </a:lnTo>
                  <a:lnTo>
                    <a:pt x="832" y="250"/>
                  </a:lnTo>
                  <a:lnTo>
                    <a:pt x="834" y="252"/>
                  </a:lnTo>
                  <a:lnTo>
                    <a:pt x="836" y="254"/>
                  </a:lnTo>
                  <a:lnTo>
                    <a:pt x="838" y="256"/>
                  </a:lnTo>
                  <a:lnTo>
                    <a:pt x="840" y="256"/>
                  </a:lnTo>
                  <a:lnTo>
                    <a:pt x="842" y="258"/>
                  </a:lnTo>
                  <a:lnTo>
                    <a:pt x="842" y="258"/>
                  </a:lnTo>
                  <a:lnTo>
                    <a:pt x="844" y="260"/>
                  </a:lnTo>
                  <a:lnTo>
                    <a:pt x="844" y="262"/>
                  </a:lnTo>
                  <a:lnTo>
                    <a:pt x="844" y="264"/>
                  </a:lnTo>
                  <a:lnTo>
                    <a:pt x="844" y="266"/>
                  </a:lnTo>
                  <a:lnTo>
                    <a:pt x="842" y="270"/>
                  </a:lnTo>
                  <a:lnTo>
                    <a:pt x="840" y="274"/>
                  </a:lnTo>
                  <a:lnTo>
                    <a:pt x="836" y="280"/>
                  </a:lnTo>
                  <a:lnTo>
                    <a:pt x="834" y="282"/>
                  </a:lnTo>
                  <a:lnTo>
                    <a:pt x="834" y="284"/>
                  </a:lnTo>
                  <a:lnTo>
                    <a:pt x="832" y="286"/>
                  </a:lnTo>
                  <a:lnTo>
                    <a:pt x="832" y="286"/>
                  </a:lnTo>
                  <a:lnTo>
                    <a:pt x="830" y="286"/>
                  </a:lnTo>
                  <a:lnTo>
                    <a:pt x="828" y="286"/>
                  </a:lnTo>
                  <a:lnTo>
                    <a:pt x="828" y="286"/>
                  </a:lnTo>
                  <a:lnTo>
                    <a:pt x="828" y="286"/>
                  </a:lnTo>
                  <a:lnTo>
                    <a:pt x="826" y="286"/>
                  </a:lnTo>
                  <a:lnTo>
                    <a:pt x="826" y="286"/>
                  </a:lnTo>
                  <a:lnTo>
                    <a:pt x="824" y="288"/>
                  </a:lnTo>
                  <a:lnTo>
                    <a:pt x="824" y="288"/>
                  </a:lnTo>
                  <a:lnTo>
                    <a:pt x="824" y="288"/>
                  </a:lnTo>
                  <a:lnTo>
                    <a:pt x="822" y="290"/>
                  </a:lnTo>
                  <a:lnTo>
                    <a:pt x="822" y="290"/>
                  </a:lnTo>
                  <a:lnTo>
                    <a:pt x="820" y="292"/>
                  </a:lnTo>
                  <a:lnTo>
                    <a:pt x="820" y="292"/>
                  </a:lnTo>
                  <a:lnTo>
                    <a:pt x="820" y="292"/>
                  </a:lnTo>
                  <a:lnTo>
                    <a:pt x="820" y="294"/>
                  </a:lnTo>
                  <a:lnTo>
                    <a:pt x="820" y="298"/>
                  </a:lnTo>
                  <a:lnTo>
                    <a:pt x="820" y="300"/>
                  </a:lnTo>
                  <a:lnTo>
                    <a:pt x="820" y="304"/>
                  </a:lnTo>
                  <a:lnTo>
                    <a:pt x="818" y="308"/>
                  </a:lnTo>
                  <a:lnTo>
                    <a:pt x="818" y="318"/>
                  </a:lnTo>
                  <a:lnTo>
                    <a:pt x="820" y="324"/>
                  </a:lnTo>
                  <a:lnTo>
                    <a:pt x="820" y="334"/>
                  </a:lnTo>
                  <a:lnTo>
                    <a:pt x="820" y="346"/>
                  </a:lnTo>
                  <a:lnTo>
                    <a:pt x="820" y="356"/>
                  </a:lnTo>
                  <a:lnTo>
                    <a:pt x="820" y="360"/>
                  </a:lnTo>
                  <a:lnTo>
                    <a:pt x="820" y="364"/>
                  </a:lnTo>
                  <a:lnTo>
                    <a:pt x="820" y="370"/>
                  </a:lnTo>
                  <a:lnTo>
                    <a:pt x="820" y="372"/>
                  </a:lnTo>
                  <a:lnTo>
                    <a:pt x="820" y="378"/>
                  </a:lnTo>
                  <a:lnTo>
                    <a:pt x="820" y="382"/>
                  </a:lnTo>
                  <a:lnTo>
                    <a:pt x="820" y="386"/>
                  </a:lnTo>
                  <a:lnTo>
                    <a:pt x="820" y="390"/>
                  </a:lnTo>
                  <a:lnTo>
                    <a:pt x="818" y="392"/>
                  </a:lnTo>
                  <a:lnTo>
                    <a:pt x="818" y="394"/>
                  </a:lnTo>
                  <a:lnTo>
                    <a:pt x="818" y="396"/>
                  </a:lnTo>
                  <a:lnTo>
                    <a:pt x="818" y="400"/>
                  </a:lnTo>
                  <a:lnTo>
                    <a:pt x="818" y="404"/>
                  </a:lnTo>
                  <a:lnTo>
                    <a:pt x="816" y="410"/>
                  </a:lnTo>
                  <a:lnTo>
                    <a:pt x="818" y="412"/>
                  </a:lnTo>
                  <a:lnTo>
                    <a:pt x="818" y="412"/>
                  </a:lnTo>
                  <a:lnTo>
                    <a:pt x="818" y="414"/>
                  </a:lnTo>
                  <a:lnTo>
                    <a:pt x="818" y="416"/>
                  </a:lnTo>
                  <a:lnTo>
                    <a:pt x="818" y="416"/>
                  </a:lnTo>
                  <a:lnTo>
                    <a:pt x="818" y="416"/>
                  </a:lnTo>
                  <a:lnTo>
                    <a:pt x="820" y="418"/>
                  </a:lnTo>
                  <a:lnTo>
                    <a:pt x="820" y="418"/>
                  </a:lnTo>
                  <a:lnTo>
                    <a:pt x="820" y="418"/>
                  </a:lnTo>
                  <a:lnTo>
                    <a:pt x="822" y="420"/>
                  </a:lnTo>
                  <a:lnTo>
                    <a:pt x="822" y="420"/>
                  </a:lnTo>
                  <a:lnTo>
                    <a:pt x="824" y="420"/>
                  </a:lnTo>
                  <a:lnTo>
                    <a:pt x="826" y="420"/>
                  </a:lnTo>
                  <a:lnTo>
                    <a:pt x="826" y="420"/>
                  </a:lnTo>
                  <a:lnTo>
                    <a:pt x="826" y="420"/>
                  </a:lnTo>
                  <a:lnTo>
                    <a:pt x="830" y="420"/>
                  </a:lnTo>
                  <a:lnTo>
                    <a:pt x="836" y="420"/>
                  </a:lnTo>
                  <a:lnTo>
                    <a:pt x="834" y="422"/>
                  </a:lnTo>
                  <a:lnTo>
                    <a:pt x="832" y="426"/>
                  </a:lnTo>
                  <a:lnTo>
                    <a:pt x="830" y="430"/>
                  </a:lnTo>
                  <a:lnTo>
                    <a:pt x="828" y="434"/>
                  </a:lnTo>
                  <a:lnTo>
                    <a:pt x="828" y="438"/>
                  </a:lnTo>
                  <a:lnTo>
                    <a:pt x="826" y="442"/>
                  </a:lnTo>
                  <a:lnTo>
                    <a:pt x="826" y="444"/>
                  </a:lnTo>
                  <a:lnTo>
                    <a:pt x="826" y="444"/>
                  </a:lnTo>
                  <a:lnTo>
                    <a:pt x="826" y="446"/>
                  </a:lnTo>
                  <a:lnTo>
                    <a:pt x="826" y="446"/>
                  </a:lnTo>
                  <a:lnTo>
                    <a:pt x="826" y="448"/>
                  </a:lnTo>
                  <a:lnTo>
                    <a:pt x="828" y="450"/>
                  </a:lnTo>
                  <a:lnTo>
                    <a:pt x="828" y="450"/>
                  </a:lnTo>
                  <a:lnTo>
                    <a:pt x="828" y="450"/>
                  </a:lnTo>
                  <a:lnTo>
                    <a:pt x="828" y="452"/>
                  </a:lnTo>
                  <a:lnTo>
                    <a:pt x="828" y="454"/>
                  </a:lnTo>
                  <a:lnTo>
                    <a:pt x="828" y="454"/>
                  </a:lnTo>
                  <a:lnTo>
                    <a:pt x="828" y="456"/>
                  </a:lnTo>
                  <a:lnTo>
                    <a:pt x="828" y="460"/>
                  </a:lnTo>
                  <a:lnTo>
                    <a:pt x="828" y="462"/>
                  </a:lnTo>
                  <a:lnTo>
                    <a:pt x="828" y="466"/>
                  </a:lnTo>
                  <a:lnTo>
                    <a:pt x="828" y="470"/>
                  </a:lnTo>
                  <a:lnTo>
                    <a:pt x="826" y="476"/>
                  </a:lnTo>
                  <a:lnTo>
                    <a:pt x="826" y="482"/>
                  </a:lnTo>
                  <a:lnTo>
                    <a:pt x="824" y="486"/>
                  </a:lnTo>
                  <a:lnTo>
                    <a:pt x="824" y="488"/>
                  </a:lnTo>
                  <a:lnTo>
                    <a:pt x="822" y="490"/>
                  </a:lnTo>
                  <a:lnTo>
                    <a:pt x="820" y="492"/>
                  </a:lnTo>
                  <a:lnTo>
                    <a:pt x="820" y="492"/>
                  </a:lnTo>
                  <a:lnTo>
                    <a:pt x="818" y="494"/>
                  </a:lnTo>
                  <a:lnTo>
                    <a:pt x="818" y="494"/>
                  </a:lnTo>
                  <a:lnTo>
                    <a:pt x="816" y="496"/>
                  </a:lnTo>
                  <a:lnTo>
                    <a:pt x="814" y="496"/>
                  </a:lnTo>
                  <a:lnTo>
                    <a:pt x="812" y="498"/>
                  </a:lnTo>
                  <a:lnTo>
                    <a:pt x="806" y="500"/>
                  </a:lnTo>
                  <a:lnTo>
                    <a:pt x="802" y="502"/>
                  </a:lnTo>
                  <a:lnTo>
                    <a:pt x="796" y="506"/>
                  </a:lnTo>
                  <a:lnTo>
                    <a:pt x="790" y="508"/>
                  </a:lnTo>
                  <a:lnTo>
                    <a:pt x="788" y="510"/>
                  </a:lnTo>
                  <a:lnTo>
                    <a:pt x="790" y="508"/>
                  </a:lnTo>
                  <a:lnTo>
                    <a:pt x="792" y="504"/>
                  </a:lnTo>
                  <a:lnTo>
                    <a:pt x="796" y="500"/>
                  </a:lnTo>
                  <a:lnTo>
                    <a:pt x="798" y="496"/>
                  </a:lnTo>
                  <a:lnTo>
                    <a:pt x="800" y="494"/>
                  </a:lnTo>
                  <a:lnTo>
                    <a:pt x="800" y="494"/>
                  </a:lnTo>
                  <a:lnTo>
                    <a:pt x="800" y="494"/>
                  </a:lnTo>
                  <a:lnTo>
                    <a:pt x="800" y="492"/>
                  </a:lnTo>
                  <a:lnTo>
                    <a:pt x="800" y="492"/>
                  </a:lnTo>
                  <a:lnTo>
                    <a:pt x="802" y="490"/>
                  </a:lnTo>
                  <a:lnTo>
                    <a:pt x="802" y="488"/>
                  </a:lnTo>
                  <a:lnTo>
                    <a:pt x="802" y="488"/>
                  </a:lnTo>
                  <a:lnTo>
                    <a:pt x="802" y="488"/>
                  </a:lnTo>
                  <a:lnTo>
                    <a:pt x="802" y="484"/>
                  </a:lnTo>
                  <a:lnTo>
                    <a:pt x="800" y="480"/>
                  </a:lnTo>
                  <a:lnTo>
                    <a:pt x="800" y="476"/>
                  </a:lnTo>
                  <a:lnTo>
                    <a:pt x="800" y="472"/>
                  </a:lnTo>
                  <a:lnTo>
                    <a:pt x="800" y="470"/>
                  </a:lnTo>
                  <a:lnTo>
                    <a:pt x="800" y="470"/>
                  </a:lnTo>
                  <a:lnTo>
                    <a:pt x="800" y="468"/>
                  </a:lnTo>
                  <a:lnTo>
                    <a:pt x="800" y="466"/>
                  </a:lnTo>
                  <a:lnTo>
                    <a:pt x="800" y="462"/>
                  </a:lnTo>
                  <a:lnTo>
                    <a:pt x="800" y="458"/>
                  </a:lnTo>
                  <a:lnTo>
                    <a:pt x="800" y="454"/>
                  </a:lnTo>
                  <a:lnTo>
                    <a:pt x="800" y="452"/>
                  </a:lnTo>
                  <a:lnTo>
                    <a:pt x="800" y="448"/>
                  </a:lnTo>
                  <a:lnTo>
                    <a:pt x="800" y="442"/>
                  </a:lnTo>
                  <a:lnTo>
                    <a:pt x="800" y="436"/>
                  </a:lnTo>
                  <a:lnTo>
                    <a:pt x="800" y="430"/>
                  </a:lnTo>
                  <a:lnTo>
                    <a:pt x="800" y="424"/>
                  </a:lnTo>
                  <a:lnTo>
                    <a:pt x="802" y="418"/>
                  </a:lnTo>
                  <a:lnTo>
                    <a:pt x="802" y="402"/>
                  </a:lnTo>
                  <a:lnTo>
                    <a:pt x="802" y="388"/>
                  </a:lnTo>
                  <a:lnTo>
                    <a:pt x="804" y="382"/>
                  </a:lnTo>
                  <a:lnTo>
                    <a:pt x="804" y="376"/>
                  </a:lnTo>
                  <a:lnTo>
                    <a:pt x="804" y="370"/>
                  </a:lnTo>
                  <a:lnTo>
                    <a:pt x="804" y="364"/>
                  </a:lnTo>
                  <a:lnTo>
                    <a:pt x="804" y="360"/>
                  </a:lnTo>
                  <a:lnTo>
                    <a:pt x="804" y="354"/>
                  </a:lnTo>
                  <a:lnTo>
                    <a:pt x="804" y="352"/>
                  </a:lnTo>
                  <a:lnTo>
                    <a:pt x="804" y="350"/>
                  </a:lnTo>
                  <a:lnTo>
                    <a:pt x="804" y="348"/>
                  </a:lnTo>
                  <a:lnTo>
                    <a:pt x="804" y="348"/>
                  </a:lnTo>
                  <a:lnTo>
                    <a:pt x="804" y="348"/>
                  </a:lnTo>
                  <a:lnTo>
                    <a:pt x="804" y="348"/>
                  </a:lnTo>
                  <a:lnTo>
                    <a:pt x="804" y="348"/>
                  </a:lnTo>
                  <a:lnTo>
                    <a:pt x="800" y="346"/>
                  </a:lnTo>
                  <a:lnTo>
                    <a:pt x="800" y="346"/>
                  </a:lnTo>
                  <a:lnTo>
                    <a:pt x="800" y="346"/>
                  </a:lnTo>
                  <a:lnTo>
                    <a:pt x="800" y="346"/>
                  </a:lnTo>
                  <a:lnTo>
                    <a:pt x="800" y="342"/>
                  </a:lnTo>
                  <a:lnTo>
                    <a:pt x="802" y="338"/>
                  </a:lnTo>
                  <a:lnTo>
                    <a:pt x="802" y="332"/>
                  </a:lnTo>
                  <a:lnTo>
                    <a:pt x="802" y="326"/>
                  </a:lnTo>
                  <a:lnTo>
                    <a:pt x="802" y="320"/>
                  </a:lnTo>
                  <a:lnTo>
                    <a:pt x="802" y="320"/>
                  </a:lnTo>
                  <a:lnTo>
                    <a:pt x="802" y="316"/>
                  </a:lnTo>
                  <a:lnTo>
                    <a:pt x="802" y="316"/>
                  </a:lnTo>
                  <a:lnTo>
                    <a:pt x="802" y="314"/>
                  </a:lnTo>
                  <a:lnTo>
                    <a:pt x="802" y="312"/>
                  </a:lnTo>
                  <a:lnTo>
                    <a:pt x="802" y="312"/>
                  </a:lnTo>
                  <a:lnTo>
                    <a:pt x="800" y="312"/>
                  </a:lnTo>
                  <a:lnTo>
                    <a:pt x="800" y="310"/>
                  </a:lnTo>
                  <a:lnTo>
                    <a:pt x="800" y="310"/>
                  </a:lnTo>
                  <a:lnTo>
                    <a:pt x="800" y="310"/>
                  </a:lnTo>
                  <a:lnTo>
                    <a:pt x="798" y="310"/>
                  </a:lnTo>
                  <a:lnTo>
                    <a:pt x="798" y="310"/>
                  </a:lnTo>
                  <a:lnTo>
                    <a:pt x="798" y="308"/>
                  </a:lnTo>
                  <a:lnTo>
                    <a:pt x="796" y="308"/>
                  </a:lnTo>
                  <a:lnTo>
                    <a:pt x="796" y="308"/>
                  </a:lnTo>
                  <a:lnTo>
                    <a:pt x="796" y="308"/>
                  </a:lnTo>
                  <a:lnTo>
                    <a:pt x="792" y="308"/>
                  </a:lnTo>
                  <a:lnTo>
                    <a:pt x="790" y="306"/>
                  </a:lnTo>
                  <a:lnTo>
                    <a:pt x="784" y="306"/>
                  </a:lnTo>
                  <a:lnTo>
                    <a:pt x="778" y="306"/>
                  </a:lnTo>
                  <a:lnTo>
                    <a:pt x="770" y="308"/>
                  </a:lnTo>
                  <a:lnTo>
                    <a:pt x="764" y="310"/>
                  </a:lnTo>
                  <a:lnTo>
                    <a:pt x="762" y="310"/>
                  </a:lnTo>
                  <a:lnTo>
                    <a:pt x="762" y="310"/>
                  </a:lnTo>
                  <a:lnTo>
                    <a:pt x="762" y="310"/>
                  </a:lnTo>
                  <a:lnTo>
                    <a:pt x="760" y="312"/>
                  </a:lnTo>
                  <a:lnTo>
                    <a:pt x="758" y="312"/>
                  </a:lnTo>
                  <a:lnTo>
                    <a:pt x="758" y="312"/>
                  </a:lnTo>
                  <a:lnTo>
                    <a:pt x="758" y="314"/>
                  </a:lnTo>
                  <a:lnTo>
                    <a:pt x="756" y="314"/>
                  </a:lnTo>
                  <a:lnTo>
                    <a:pt x="756" y="314"/>
                  </a:lnTo>
                  <a:lnTo>
                    <a:pt x="756" y="316"/>
                  </a:lnTo>
                  <a:lnTo>
                    <a:pt x="756" y="318"/>
                  </a:lnTo>
                  <a:lnTo>
                    <a:pt x="756" y="318"/>
                  </a:lnTo>
                  <a:lnTo>
                    <a:pt x="754" y="318"/>
                  </a:lnTo>
                  <a:lnTo>
                    <a:pt x="754" y="320"/>
                  </a:lnTo>
                  <a:lnTo>
                    <a:pt x="754" y="320"/>
                  </a:lnTo>
                  <a:lnTo>
                    <a:pt x="754" y="322"/>
                  </a:lnTo>
                  <a:lnTo>
                    <a:pt x="754" y="322"/>
                  </a:lnTo>
                  <a:lnTo>
                    <a:pt x="754" y="322"/>
                  </a:lnTo>
                  <a:lnTo>
                    <a:pt x="756" y="326"/>
                  </a:lnTo>
                  <a:lnTo>
                    <a:pt x="758" y="330"/>
                  </a:lnTo>
                  <a:lnTo>
                    <a:pt x="760" y="336"/>
                  </a:lnTo>
                  <a:lnTo>
                    <a:pt x="762" y="342"/>
                  </a:lnTo>
                  <a:lnTo>
                    <a:pt x="764" y="348"/>
                  </a:lnTo>
                  <a:lnTo>
                    <a:pt x="766" y="354"/>
                  </a:lnTo>
                  <a:lnTo>
                    <a:pt x="766" y="356"/>
                  </a:lnTo>
                  <a:lnTo>
                    <a:pt x="766" y="358"/>
                  </a:lnTo>
                  <a:lnTo>
                    <a:pt x="766" y="370"/>
                  </a:lnTo>
                  <a:lnTo>
                    <a:pt x="764" y="380"/>
                  </a:lnTo>
                  <a:lnTo>
                    <a:pt x="762" y="392"/>
                  </a:lnTo>
                  <a:lnTo>
                    <a:pt x="760" y="398"/>
                  </a:lnTo>
                  <a:lnTo>
                    <a:pt x="758" y="404"/>
                  </a:lnTo>
                  <a:lnTo>
                    <a:pt x="758" y="408"/>
                  </a:lnTo>
                  <a:lnTo>
                    <a:pt x="756" y="412"/>
                  </a:lnTo>
                  <a:lnTo>
                    <a:pt x="754" y="420"/>
                  </a:lnTo>
                  <a:lnTo>
                    <a:pt x="750" y="430"/>
                  </a:lnTo>
                  <a:lnTo>
                    <a:pt x="746" y="440"/>
                  </a:lnTo>
                  <a:lnTo>
                    <a:pt x="742" y="450"/>
                  </a:lnTo>
                  <a:lnTo>
                    <a:pt x="740" y="454"/>
                  </a:lnTo>
                  <a:lnTo>
                    <a:pt x="740" y="458"/>
                  </a:lnTo>
                  <a:lnTo>
                    <a:pt x="738" y="460"/>
                  </a:lnTo>
                  <a:lnTo>
                    <a:pt x="736" y="462"/>
                  </a:lnTo>
                  <a:lnTo>
                    <a:pt x="736" y="452"/>
                  </a:lnTo>
                  <a:lnTo>
                    <a:pt x="736" y="448"/>
                  </a:lnTo>
                  <a:lnTo>
                    <a:pt x="736" y="446"/>
                  </a:lnTo>
                  <a:lnTo>
                    <a:pt x="736" y="442"/>
                  </a:lnTo>
                  <a:lnTo>
                    <a:pt x="736" y="440"/>
                  </a:lnTo>
                  <a:lnTo>
                    <a:pt x="736" y="440"/>
                  </a:lnTo>
                  <a:lnTo>
                    <a:pt x="736" y="440"/>
                  </a:lnTo>
                  <a:lnTo>
                    <a:pt x="736" y="440"/>
                  </a:lnTo>
                  <a:lnTo>
                    <a:pt x="736" y="440"/>
                  </a:lnTo>
                  <a:lnTo>
                    <a:pt x="734" y="438"/>
                  </a:lnTo>
                  <a:lnTo>
                    <a:pt x="734" y="436"/>
                  </a:lnTo>
                  <a:lnTo>
                    <a:pt x="734" y="436"/>
                  </a:lnTo>
                  <a:lnTo>
                    <a:pt x="732" y="436"/>
                  </a:lnTo>
                  <a:lnTo>
                    <a:pt x="730" y="436"/>
                  </a:lnTo>
                  <a:lnTo>
                    <a:pt x="730" y="436"/>
                  </a:lnTo>
                  <a:lnTo>
                    <a:pt x="730" y="434"/>
                  </a:lnTo>
                  <a:lnTo>
                    <a:pt x="728" y="434"/>
                  </a:lnTo>
                  <a:lnTo>
                    <a:pt x="728" y="434"/>
                  </a:lnTo>
                  <a:lnTo>
                    <a:pt x="726" y="434"/>
                  </a:lnTo>
                  <a:lnTo>
                    <a:pt x="722" y="434"/>
                  </a:lnTo>
                  <a:lnTo>
                    <a:pt x="722" y="434"/>
                  </a:lnTo>
                  <a:lnTo>
                    <a:pt x="722" y="434"/>
                  </a:lnTo>
                  <a:lnTo>
                    <a:pt x="720" y="434"/>
                  </a:lnTo>
                  <a:lnTo>
                    <a:pt x="718" y="434"/>
                  </a:lnTo>
                  <a:lnTo>
                    <a:pt x="716" y="434"/>
                  </a:lnTo>
                  <a:lnTo>
                    <a:pt x="716" y="432"/>
                  </a:lnTo>
                  <a:lnTo>
                    <a:pt x="716" y="432"/>
                  </a:lnTo>
                  <a:lnTo>
                    <a:pt x="716" y="432"/>
                  </a:lnTo>
                  <a:lnTo>
                    <a:pt x="716" y="430"/>
                  </a:lnTo>
                  <a:lnTo>
                    <a:pt x="714" y="428"/>
                  </a:lnTo>
                  <a:lnTo>
                    <a:pt x="710" y="428"/>
                  </a:lnTo>
                  <a:lnTo>
                    <a:pt x="708" y="426"/>
                  </a:lnTo>
                  <a:lnTo>
                    <a:pt x="702" y="424"/>
                  </a:lnTo>
                  <a:lnTo>
                    <a:pt x="698" y="422"/>
                  </a:lnTo>
                  <a:lnTo>
                    <a:pt x="694" y="418"/>
                  </a:lnTo>
                  <a:lnTo>
                    <a:pt x="690" y="412"/>
                  </a:lnTo>
                  <a:lnTo>
                    <a:pt x="684" y="408"/>
                  </a:lnTo>
                  <a:lnTo>
                    <a:pt x="680" y="402"/>
                  </a:lnTo>
                  <a:lnTo>
                    <a:pt x="674" y="398"/>
                  </a:lnTo>
                  <a:lnTo>
                    <a:pt x="674" y="398"/>
                  </a:lnTo>
                  <a:lnTo>
                    <a:pt x="672" y="398"/>
                  </a:lnTo>
                  <a:lnTo>
                    <a:pt x="670" y="398"/>
                  </a:lnTo>
                  <a:lnTo>
                    <a:pt x="666" y="398"/>
                  </a:lnTo>
                  <a:lnTo>
                    <a:pt x="662" y="396"/>
                  </a:lnTo>
                  <a:lnTo>
                    <a:pt x="656" y="392"/>
                  </a:lnTo>
                  <a:lnTo>
                    <a:pt x="654" y="392"/>
                  </a:lnTo>
                  <a:lnTo>
                    <a:pt x="650" y="390"/>
                  </a:lnTo>
                  <a:lnTo>
                    <a:pt x="650" y="390"/>
                  </a:lnTo>
                  <a:lnTo>
                    <a:pt x="650" y="390"/>
                  </a:lnTo>
                  <a:lnTo>
                    <a:pt x="638" y="390"/>
                  </a:lnTo>
                  <a:lnTo>
                    <a:pt x="626" y="388"/>
                  </a:lnTo>
                  <a:lnTo>
                    <a:pt x="622" y="388"/>
                  </a:lnTo>
                  <a:lnTo>
                    <a:pt x="620" y="386"/>
                  </a:lnTo>
                  <a:lnTo>
                    <a:pt x="616" y="384"/>
                  </a:lnTo>
                  <a:lnTo>
                    <a:pt x="614" y="380"/>
                  </a:lnTo>
                  <a:lnTo>
                    <a:pt x="610" y="374"/>
                  </a:lnTo>
                  <a:lnTo>
                    <a:pt x="606" y="372"/>
                  </a:lnTo>
                  <a:lnTo>
                    <a:pt x="606" y="372"/>
                  </a:lnTo>
                  <a:lnTo>
                    <a:pt x="606" y="372"/>
                  </a:lnTo>
                  <a:lnTo>
                    <a:pt x="604" y="368"/>
                  </a:lnTo>
                  <a:lnTo>
                    <a:pt x="602" y="368"/>
                  </a:lnTo>
                  <a:lnTo>
                    <a:pt x="602" y="368"/>
                  </a:lnTo>
                  <a:lnTo>
                    <a:pt x="600" y="368"/>
                  </a:lnTo>
                  <a:lnTo>
                    <a:pt x="600" y="366"/>
                  </a:lnTo>
                  <a:lnTo>
                    <a:pt x="600" y="366"/>
                  </a:lnTo>
                  <a:lnTo>
                    <a:pt x="598" y="366"/>
                  </a:lnTo>
                  <a:lnTo>
                    <a:pt x="596" y="366"/>
                  </a:lnTo>
                  <a:lnTo>
                    <a:pt x="596" y="366"/>
                  </a:lnTo>
                  <a:lnTo>
                    <a:pt x="596" y="366"/>
                  </a:lnTo>
                  <a:lnTo>
                    <a:pt x="594" y="366"/>
                  </a:lnTo>
                  <a:lnTo>
                    <a:pt x="594" y="366"/>
                  </a:lnTo>
                  <a:lnTo>
                    <a:pt x="594" y="368"/>
                  </a:lnTo>
                  <a:lnTo>
                    <a:pt x="592" y="368"/>
                  </a:lnTo>
                  <a:lnTo>
                    <a:pt x="592" y="368"/>
                  </a:lnTo>
                  <a:lnTo>
                    <a:pt x="592" y="368"/>
                  </a:lnTo>
                  <a:lnTo>
                    <a:pt x="592" y="370"/>
                  </a:lnTo>
                  <a:lnTo>
                    <a:pt x="590" y="372"/>
                  </a:lnTo>
                  <a:lnTo>
                    <a:pt x="590" y="372"/>
                  </a:lnTo>
                  <a:lnTo>
                    <a:pt x="590" y="376"/>
                  </a:lnTo>
                  <a:lnTo>
                    <a:pt x="592" y="380"/>
                  </a:lnTo>
                  <a:lnTo>
                    <a:pt x="594" y="382"/>
                  </a:lnTo>
                  <a:lnTo>
                    <a:pt x="594" y="386"/>
                  </a:lnTo>
                  <a:lnTo>
                    <a:pt x="596" y="388"/>
                  </a:lnTo>
                  <a:lnTo>
                    <a:pt x="596" y="388"/>
                  </a:lnTo>
                  <a:lnTo>
                    <a:pt x="598" y="390"/>
                  </a:lnTo>
                  <a:lnTo>
                    <a:pt x="600" y="392"/>
                  </a:lnTo>
                  <a:lnTo>
                    <a:pt x="602" y="396"/>
                  </a:lnTo>
                  <a:lnTo>
                    <a:pt x="606" y="398"/>
                  </a:lnTo>
                  <a:lnTo>
                    <a:pt x="610" y="402"/>
                  </a:lnTo>
                  <a:lnTo>
                    <a:pt x="614" y="406"/>
                  </a:lnTo>
                  <a:lnTo>
                    <a:pt x="616" y="408"/>
                  </a:lnTo>
                  <a:lnTo>
                    <a:pt x="618" y="412"/>
                  </a:lnTo>
                  <a:lnTo>
                    <a:pt x="620" y="414"/>
                  </a:lnTo>
                  <a:lnTo>
                    <a:pt x="620" y="418"/>
                  </a:lnTo>
                  <a:lnTo>
                    <a:pt x="622" y="422"/>
                  </a:lnTo>
                  <a:lnTo>
                    <a:pt x="622" y="422"/>
                  </a:lnTo>
                  <a:lnTo>
                    <a:pt x="622" y="424"/>
                  </a:lnTo>
                  <a:lnTo>
                    <a:pt x="622" y="424"/>
                  </a:lnTo>
                  <a:lnTo>
                    <a:pt x="620" y="424"/>
                  </a:lnTo>
                  <a:lnTo>
                    <a:pt x="618" y="426"/>
                  </a:lnTo>
                  <a:lnTo>
                    <a:pt x="616" y="426"/>
                  </a:lnTo>
                  <a:lnTo>
                    <a:pt x="614" y="426"/>
                  </a:lnTo>
                  <a:lnTo>
                    <a:pt x="610" y="426"/>
                  </a:lnTo>
                  <a:lnTo>
                    <a:pt x="608" y="426"/>
                  </a:lnTo>
                  <a:lnTo>
                    <a:pt x="606" y="424"/>
                  </a:lnTo>
                  <a:lnTo>
                    <a:pt x="606" y="424"/>
                  </a:lnTo>
                  <a:lnTo>
                    <a:pt x="606" y="424"/>
                  </a:lnTo>
                  <a:lnTo>
                    <a:pt x="606" y="424"/>
                  </a:lnTo>
                  <a:lnTo>
                    <a:pt x="606" y="422"/>
                  </a:lnTo>
                  <a:lnTo>
                    <a:pt x="604" y="422"/>
                  </a:lnTo>
                  <a:lnTo>
                    <a:pt x="604" y="422"/>
                  </a:lnTo>
                  <a:lnTo>
                    <a:pt x="604" y="420"/>
                  </a:lnTo>
                  <a:lnTo>
                    <a:pt x="602" y="416"/>
                  </a:lnTo>
                  <a:lnTo>
                    <a:pt x="600" y="414"/>
                  </a:lnTo>
                  <a:lnTo>
                    <a:pt x="598" y="412"/>
                  </a:lnTo>
                  <a:lnTo>
                    <a:pt x="598" y="412"/>
                  </a:lnTo>
                  <a:lnTo>
                    <a:pt x="596" y="410"/>
                  </a:lnTo>
                  <a:lnTo>
                    <a:pt x="596" y="410"/>
                  </a:lnTo>
                  <a:lnTo>
                    <a:pt x="596" y="410"/>
                  </a:lnTo>
                  <a:lnTo>
                    <a:pt x="596" y="410"/>
                  </a:lnTo>
                  <a:lnTo>
                    <a:pt x="596" y="410"/>
                  </a:lnTo>
                  <a:lnTo>
                    <a:pt x="594" y="410"/>
                  </a:lnTo>
                  <a:lnTo>
                    <a:pt x="592" y="410"/>
                  </a:lnTo>
                  <a:lnTo>
                    <a:pt x="592" y="410"/>
                  </a:lnTo>
                  <a:lnTo>
                    <a:pt x="590" y="412"/>
                  </a:lnTo>
                  <a:lnTo>
                    <a:pt x="590" y="412"/>
                  </a:lnTo>
                  <a:lnTo>
                    <a:pt x="590" y="412"/>
                  </a:lnTo>
                  <a:lnTo>
                    <a:pt x="590" y="412"/>
                  </a:lnTo>
                  <a:lnTo>
                    <a:pt x="590" y="414"/>
                  </a:lnTo>
                  <a:lnTo>
                    <a:pt x="590" y="414"/>
                  </a:lnTo>
                  <a:lnTo>
                    <a:pt x="590" y="414"/>
                  </a:lnTo>
                  <a:lnTo>
                    <a:pt x="590" y="416"/>
                  </a:lnTo>
                  <a:lnTo>
                    <a:pt x="588" y="418"/>
                  </a:lnTo>
                  <a:lnTo>
                    <a:pt x="588" y="422"/>
                  </a:lnTo>
                  <a:lnTo>
                    <a:pt x="588" y="426"/>
                  </a:lnTo>
                  <a:lnTo>
                    <a:pt x="588" y="430"/>
                  </a:lnTo>
                  <a:lnTo>
                    <a:pt x="586" y="432"/>
                  </a:lnTo>
                  <a:lnTo>
                    <a:pt x="582" y="434"/>
                  </a:lnTo>
                  <a:lnTo>
                    <a:pt x="576" y="436"/>
                  </a:lnTo>
                  <a:lnTo>
                    <a:pt x="572" y="440"/>
                  </a:lnTo>
                  <a:lnTo>
                    <a:pt x="568" y="440"/>
                  </a:lnTo>
                  <a:lnTo>
                    <a:pt x="562" y="438"/>
                  </a:lnTo>
                  <a:lnTo>
                    <a:pt x="556" y="438"/>
                  </a:lnTo>
                  <a:lnTo>
                    <a:pt x="550" y="438"/>
                  </a:lnTo>
                  <a:lnTo>
                    <a:pt x="544" y="438"/>
                  </a:lnTo>
                  <a:lnTo>
                    <a:pt x="544" y="438"/>
                  </a:lnTo>
                  <a:lnTo>
                    <a:pt x="544" y="438"/>
                  </a:lnTo>
                  <a:lnTo>
                    <a:pt x="540" y="440"/>
                  </a:lnTo>
                  <a:lnTo>
                    <a:pt x="540" y="440"/>
                  </a:lnTo>
                  <a:lnTo>
                    <a:pt x="538" y="440"/>
                  </a:lnTo>
                  <a:lnTo>
                    <a:pt x="534" y="442"/>
                  </a:lnTo>
                  <a:lnTo>
                    <a:pt x="534" y="442"/>
                  </a:lnTo>
                  <a:lnTo>
                    <a:pt x="534" y="444"/>
                  </a:lnTo>
                  <a:lnTo>
                    <a:pt x="532" y="444"/>
                  </a:lnTo>
                  <a:lnTo>
                    <a:pt x="532" y="444"/>
                  </a:lnTo>
                  <a:lnTo>
                    <a:pt x="532" y="446"/>
                  </a:lnTo>
                  <a:lnTo>
                    <a:pt x="530" y="446"/>
                  </a:lnTo>
                  <a:lnTo>
                    <a:pt x="528" y="446"/>
                  </a:lnTo>
                  <a:lnTo>
                    <a:pt x="524" y="448"/>
                  </a:lnTo>
                  <a:lnTo>
                    <a:pt x="522" y="448"/>
                  </a:lnTo>
                  <a:lnTo>
                    <a:pt x="520" y="448"/>
                  </a:lnTo>
                  <a:lnTo>
                    <a:pt x="520" y="448"/>
                  </a:lnTo>
                  <a:lnTo>
                    <a:pt x="520" y="448"/>
                  </a:lnTo>
                  <a:lnTo>
                    <a:pt x="518" y="446"/>
                  </a:lnTo>
                  <a:lnTo>
                    <a:pt x="520" y="442"/>
                  </a:lnTo>
                  <a:lnTo>
                    <a:pt x="520" y="442"/>
                  </a:lnTo>
                  <a:lnTo>
                    <a:pt x="520" y="440"/>
                  </a:lnTo>
                  <a:lnTo>
                    <a:pt x="522" y="438"/>
                  </a:lnTo>
                  <a:lnTo>
                    <a:pt x="524" y="436"/>
                  </a:lnTo>
                  <a:lnTo>
                    <a:pt x="524" y="436"/>
                  </a:lnTo>
                  <a:lnTo>
                    <a:pt x="524" y="434"/>
                  </a:lnTo>
                  <a:lnTo>
                    <a:pt x="524" y="434"/>
                  </a:lnTo>
                  <a:lnTo>
                    <a:pt x="524" y="434"/>
                  </a:lnTo>
                  <a:lnTo>
                    <a:pt x="524" y="432"/>
                  </a:lnTo>
                  <a:lnTo>
                    <a:pt x="522" y="430"/>
                  </a:lnTo>
                  <a:lnTo>
                    <a:pt x="522" y="430"/>
                  </a:lnTo>
                  <a:lnTo>
                    <a:pt x="522" y="430"/>
                  </a:lnTo>
                  <a:lnTo>
                    <a:pt x="522" y="430"/>
                  </a:lnTo>
                  <a:lnTo>
                    <a:pt x="522" y="430"/>
                  </a:lnTo>
                  <a:lnTo>
                    <a:pt x="520" y="430"/>
                  </a:lnTo>
                  <a:lnTo>
                    <a:pt x="520" y="430"/>
                  </a:lnTo>
                  <a:lnTo>
                    <a:pt x="518" y="430"/>
                  </a:lnTo>
                  <a:lnTo>
                    <a:pt x="516" y="430"/>
                  </a:lnTo>
                  <a:lnTo>
                    <a:pt x="514" y="430"/>
                  </a:lnTo>
                  <a:lnTo>
                    <a:pt x="510" y="428"/>
                  </a:lnTo>
                  <a:lnTo>
                    <a:pt x="506" y="428"/>
                  </a:lnTo>
                  <a:lnTo>
                    <a:pt x="506" y="428"/>
                  </a:lnTo>
                  <a:lnTo>
                    <a:pt x="504" y="428"/>
                  </a:lnTo>
                  <a:lnTo>
                    <a:pt x="498" y="434"/>
                  </a:lnTo>
                  <a:lnTo>
                    <a:pt x="494" y="436"/>
                  </a:lnTo>
                  <a:lnTo>
                    <a:pt x="490" y="438"/>
                  </a:lnTo>
                  <a:lnTo>
                    <a:pt x="490" y="438"/>
                  </a:lnTo>
                  <a:lnTo>
                    <a:pt x="486" y="438"/>
                  </a:lnTo>
                  <a:lnTo>
                    <a:pt x="484" y="438"/>
                  </a:lnTo>
                  <a:lnTo>
                    <a:pt x="476" y="440"/>
                  </a:lnTo>
                  <a:lnTo>
                    <a:pt x="474" y="442"/>
                  </a:lnTo>
                  <a:lnTo>
                    <a:pt x="474" y="442"/>
                  </a:lnTo>
                  <a:lnTo>
                    <a:pt x="474" y="442"/>
                  </a:lnTo>
                  <a:lnTo>
                    <a:pt x="472" y="442"/>
                  </a:lnTo>
                  <a:lnTo>
                    <a:pt x="472" y="442"/>
                  </a:lnTo>
                  <a:lnTo>
                    <a:pt x="470" y="444"/>
                  </a:lnTo>
                  <a:lnTo>
                    <a:pt x="468" y="446"/>
                  </a:lnTo>
                  <a:lnTo>
                    <a:pt x="468" y="446"/>
                  </a:lnTo>
                  <a:lnTo>
                    <a:pt x="468" y="446"/>
                  </a:lnTo>
                  <a:lnTo>
                    <a:pt x="466" y="448"/>
                  </a:lnTo>
                  <a:lnTo>
                    <a:pt x="462" y="454"/>
                  </a:lnTo>
                  <a:lnTo>
                    <a:pt x="460" y="460"/>
                  </a:lnTo>
                  <a:lnTo>
                    <a:pt x="458" y="462"/>
                  </a:lnTo>
                  <a:lnTo>
                    <a:pt x="456" y="464"/>
                  </a:lnTo>
                  <a:lnTo>
                    <a:pt x="452" y="464"/>
                  </a:lnTo>
                  <a:lnTo>
                    <a:pt x="452" y="464"/>
                  </a:lnTo>
                  <a:lnTo>
                    <a:pt x="452" y="464"/>
                  </a:lnTo>
                  <a:lnTo>
                    <a:pt x="446" y="466"/>
                  </a:lnTo>
                  <a:lnTo>
                    <a:pt x="446" y="466"/>
                  </a:lnTo>
                  <a:lnTo>
                    <a:pt x="446" y="466"/>
                  </a:lnTo>
                  <a:lnTo>
                    <a:pt x="442" y="470"/>
                  </a:lnTo>
                  <a:lnTo>
                    <a:pt x="438" y="472"/>
                  </a:lnTo>
                  <a:lnTo>
                    <a:pt x="434" y="476"/>
                  </a:lnTo>
                  <a:lnTo>
                    <a:pt x="430" y="480"/>
                  </a:lnTo>
                  <a:lnTo>
                    <a:pt x="424" y="488"/>
                  </a:lnTo>
                  <a:lnTo>
                    <a:pt x="422" y="490"/>
                  </a:lnTo>
                  <a:lnTo>
                    <a:pt x="420" y="492"/>
                  </a:lnTo>
                  <a:lnTo>
                    <a:pt x="420" y="492"/>
                  </a:lnTo>
                  <a:lnTo>
                    <a:pt x="420" y="492"/>
                  </a:lnTo>
                  <a:lnTo>
                    <a:pt x="418" y="494"/>
                  </a:lnTo>
                  <a:lnTo>
                    <a:pt x="418" y="494"/>
                  </a:lnTo>
                  <a:lnTo>
                    <a:pt x="418" y="494"/>
                  </a:lnTo>
                  <a:lnTo>
                    <a:pt x="416" y="496"/>
                  </a:lnTo>
                  <a:lnTo>
                    <a:pt x="416" y="496"/>
                  </a:lnTo>
                  <a:lnTo>
                    <a:pt x="416" y="496"/>
                  </a:lnTo>
                  <a:lnTo>
                    <a:pt x="416" y="498"/>
                  </a:lnTo>
                  <a:lnTo>
                    <a:pt x="416" y="498"/>
                  </a:lnTo>
                  <a:lnTo>
                    <a:pt x="416" y="498"/>
                  </a:lnTo>
                  <a:lnTo>
                    <a:pt x="416" y="500"/>
                  </a:lnTo>
                  <a:lnTo>
                    <a:pt x="414" y="502"/>
                  </a:lnTo>
                  <a:lnTo>
                    <a:pt x="414" y="502"/>
                  </a:lnTo>
                  <a:lnTo>
                    <a:pt x="414" y="502"/>
                  </a:lnTo>
                  <a:lnTo>
                    <a:pt x="414" y="502"/>
                  </a:lnTo>
                  <a:lnTo>
                    <a:pt x="414" y="502"/>
                  </a:lnTo>
                  <a:lnTo>
                    <a:pt x="412" y="504"/>
                  </a:lnTo>
                  <a:lnTo>
                    <a:pt x="408" y="504"/>
                  </a:lnTo>
                  <a:lnTo>
                    <a:pt x="404" y="504"/>
                  </a:lnTo>
                  <a:lnTo>
                    <a:pt x="400" y="506"/>
                  </a:lnTo>
                  <a:lnTo>
                    <a:pt x="398" y="504"/>
                  </a:lnTo>
                  <a:lnTo>
                    <a:pt x="396" y="502"/>
                  </a:lnTo>
                  <a:lnTo>
                    <a:pt x="392" y="502"/>
                  </a:lnTo>
                  <a:lnTo>
                    <a:pt x="390" y="500"/>
                  </a:lnTo>
                  <a:lnTo>
                    <a:pt x="388" y="498"/>
                  </a:lnTo>
                  <a:lnTo>
                    <a:pt x="388" y="496"/>
                  </a:lnTo>
                  <a:lnTo>
                    <a:pt x="388" y="494"/>
                  </a:lnTo>
                  <a:lnTo>
                    <a:pt x="388" y="490"/>
                  </a:lnTo>
                  <a:lnTo>
                    <a:pt x="388" y="488"/>
                  </a:lnTo>
                  <a:lnTo>
                    <a:pt x="388" y="486"/>
                  </a:lnTo>
                  <a:lnTo>
                    <a:pt x="388" y="484"/>
                  </a:lnTo>
                  <a:lnTo>
                    <a:pt x="388" y="482"/>
                  </a:lnTo>
                  <a:lnTo>
                    <a:pt x="390" y="480"/>
                  </a:lnTo>
                  <a:lnTo>
                    <a:pt x="396" y="476"/>
                  </a:lnTo>
                  <a:lnTo>
                    <a:pt x="398" y="474"/>
                  </a:lnTo>
                  <a:lnTo>
                    <a:pt x="400" y="472"/>
                  </a:lnTo>
                  <a:lnTo>
                    <a:pt x="400" y="472"/>
                  </a:lnTo>
                  <a:lnTo>
                    <a:pt x="402" y="472"/>
                  </a:lnTo>
                  <a:lnTo>
                    <a:pt x="404" y="468"/>
                  </a:lnTo>
                  <a:lnTo>
                    <a:pt x="404" y="468"/>
                  </a:lnTo>
                  <a:lnTo>
                    <a:pt x="404" y="468"/>
                  </a:lnTo>
                  <a:lnTo>
                    <a:pt x="406" y="464"/>
                  </a:lnTo>
                  <a:lnTo>
                    <a:pt x="406" y="464"/>
                  </a:lnTo>
                  <a:lnTo>
                    <a:pt x="406" y="462"/>
                  </a:lnTo>
                  <a:lnTo>
                    <a:pt x="404" y="460"/>
                  </a:lnTo>
                  <a:lnTo>
                    <a:pt x="402" y="460"/>
                  </a:lnTo>
                  <a:lnTo>
                    <a:pt x="402" y="460"/>
                  </a:lnTo>
                  <a:lnTo>
                    <a:pt x="400" y="458"/>
                  </a:lnTo>
                  <a:lnTo>
                    <a:pt x="400" y="458"/>
                  </a:lnTo>
                  <a:lnTo>
                    <a:pt x="400" y="454"/>
                  </a:lnTo>
                  <a:lnTo>
                    <a:pt x="400" y="454"/>
                  </a:lnTo>
                  <a:lnTo>
                    <a:pt x="400" y="454"/>
                  </a:lnTo>
                  <a:lnTo>
                    <a:pt x="398" y="452"/>
                  </a:lnTo>
                  <a:lnTo>
                    <a:pt x="396" y="450"/>
                  </a:lnTo>
                  <a:lnTo>
                    <a:pt x="396" y="450"/>
                  </a:lnTo>
                  <a:lnTo>
                    <a:pt x="396" y="448"/>
                  </a:lnTo>
                  <a:lnTo>
                    <a:pt x="394" y="448"/>
                  </a:lnTo>
                  <a:lnTo>
                    <a:pt x="394" y="448"/>
                  </a:lnTo>
                  <a:lnTo>
                    <a:pt x="392" y="448"/>
                  </a:lnTo>
                  <a:lnTo>
                    <a:pt x="390" y="446"/>
                  </a:lnTo>
                  <a:lnTo>
                    <a:pt x="384" y="446"/>
                  </a:lnTo>
                  <a:lnTo>
                    <a:pt x="378" y="444"/>
                  </a:lnTo>
                  <a:lnTo>
                    <a:pt x="376" y="444"/>
                  </a:lnTo>
                  <a:lnTo>
                    <a:pt x="372" y="444"/>
                  </a:lnTo>
                  <a:lnTo>
                    <a:pt x="370" y="442"/>
                  </a:lnTo>
                  <a:lnTo>
                    <a:pt x="368" y="442"/>
                  </a:lnTo>
                  <a:lnTo>
                    <a:pt x="368" y="440"/>
                  </a:lnTo>
                  <a:lnTo>
                    <a:pt x="366" y="438"/>
                  </a:lnTo>
                  <a:lnTo>
                    <a:pt x="364" y="438"/>
                  </a:lnTo>
                  <a:lnTo>
                    <a:pt x="364" y="438"/>
                  </a:lnTo>
                  <a:lnTo>
                    <a:pt x="362" y="438"/>
                  </a:lnTo>
                  <a:lnTo>
                    <a:pt x="362" y="438"/>
                  </a:lnTo>
                  <a:lnTo>
                    <a:pt x="362" y="438"/>
                  </a:lnTo>
                  <a:lnTo>
                    <a:pt x="360" y="440"/>
                  </a:lnTo>
                  <a:lnTo>
                    <a:pt x="360" y="440"/>
                  </a:lnTo>
                  <a:lnTo>
                    <a:pt x="360" y="440"/>
                  </a:lnTo>
                  <a:lnTo>
                    <a:pt x="360" y="440"/>
                  </a:lnTo>
                  <a:lnTo>
                    <a:pt x="358" y="442"/>
                  </a:lnTo>
                  <a:lnTo>
                    <a:pt x="358" y="442"/>
                  </a:lnTo>
                  <a:lnTo>
                    <a:pt x="358" y="444"/>
                  </a:lnTo>
                  <a:lnTo>
                    <a:pt x="358" y="444"/>
                  </a:lnTo>
                  <a:lnTo>
                    <a:pt x="358" y="446"/>
                  </a:lnTo>
                  <a:lnTo>
                    <a:pt x="358" y="446"/>
                  </a:lnTo>
                  <a:lnTo>
                    <a:pt x="358" y="448"/>
                  </a:lnTo>
                  <a:lnTo>
                    <a:pt x="360" y="448"/>
                  </a:lnTo>
                  <a:lnTo>
                    <a:pt x="360" y="452"/>
                  </a:lnTo>
                  <a:lnTo>
                    <a:pt x="362" y="454"/>
                  </a:lnTo>
                  <a:lnTo>
                    <a:pt x="364" y="458"/>
                  </a:lnTo>
                  <a:lnTo>
                    <a:pt x="366" y="462"/>
                  </a:lnTo>
                  <a:lnTo>
                    <a:pt x="366" y="464"/>
                  </a:lnTo>
                  <a:lnTo>
                    <a:pt x="368" y="466"/>
                  </a:lnTo>
                  <a:lnTo>
                    <a:pt x="368" y="470"/>
                  </a:lnTo>
                  <a:lnTo>
                    <a:pt x="368" y="474"/>
                  </a:lnTo>
                  <a:lnTo>
                    <a:pt x="366" y="476"/>
                  </a:lnTo>
                  <a:lnTo>
                    <a:pt x="366" y="478"/>
                  </a:lnTo>
                  <a:lnTo>
                    <a:pt x="364" y="480"/>
                  </a:lnTo>
                  <a:lnTo>
                    <a:pt x="362" y="482"/>
                  </a:lnTo>
                  <a:lnTo>
                    <a:pt x="362" y="482"/>
                  </a:lnTo>
                  <a:lnTo>
                    <a:pt x="362" y="482"/>
                  </a:lnTo>
                  <a:lnTo>
                    <a:pt x="360" y="486"/>
                  </a:lnTo>
                  <a:lnTo>
                    <a:pt x="360" y="486"/>
                  </a:lnTo>
                  <a:lnTo>
                    <a:pt x="360" y="486"/>
                  </a:lnTo>
                  <a:lnTo>
                    <a:pt x="360" y="490"/>
                  </a:lnTo>
                  <a:lnTo>
                    <a:pt x="360" y="490"/>
                  </a:lnTo>
                  <a:lnTo>
                    <a:pt x="360" y="492"/>
                  </a:lnTo>
                  <a:lnTo>
                    <a:pt x="362" y="496"/>
                  </a:lnTo>
                  <a:lnTo>
                    <a:pt x="364" y="500"/>
                  </a:lnTo>
                  <a:lnTo>
                    <a:pt x="366" y="502"/>
                  </a:lnTo>
                  <a:lnTo>
                    <a:pt x="368" y="504"/>
                  </a:lnTo>
                  <a:lnTo>
                    <a:pt x="368" y="506"/>
                  </a:lnTo>
                  <a:lnTo>
                    <a:pt x="370" y="510"/>
                  </a:lnTo>
                  <a:lnTo>
                    <a:pt x="370" y="514"/>
                  </a:lnTo>
                  <a:lnTo>
                    <a:pt x="370" y="518"/>
                  </a:lnTo>
                  <a:lnTo>
                    <a:pt x="370" y="520"/>
                  </a:lnTo>
                  <a:lnTo>
                    <a:pt x="368" y="524"/>
                  </a:lnTo>
                  <a:lnTo>
                    <a:pt x="368" y="528"/>
                  </a:lnTo>
                  <a:lnTo>
                    <a:pt x="366" y="530"/>
                  </a:lnTo>
                  <a:lnTo>
                    <a:pt x="364" y="530"/>
                  </a:lnTo>
                  <a:lnTo>
                    <a:pt x="360" y="530"/>
                  </a:lnTo>
                  <a:lnTo>
                    <a:pt x="358" y="530"/>
                  </a:lnTo>
                  <a:lnTo>
                    <a:pt x="354" y="530"/>
                  </a:lnTo>
                  <a:lnTo>
                    <a:pt x="352" y="530"/>
                  </a:lnTo>
                  <a:lnTo>
                    <a:pt x="348" y="530"/>
                  </a:lnTo>
                  <a:lnTo>
                    <a:pt x="344" y="530"/>
                  </a:lnTo>
                  <a:lnTo>
                    <a:pt x="338" y="530"/>
                  </a:lnTo>
                  <a:lnTo>
                    <a:pt x="338" y="530"/>
                  </a:lnTo>
                  <a:lnTo>
                    <a:pt x="338" y="530"/>
                  </a:lnTo>
                  <a:lnTo>
                    <a:pt x="334" y="530"/>
                  </a:lnTo>
                  <a:lnTo>
                    <a:pt x="332" y="530"/>
                  </a:lnTo>
                  <a:lnTo>
                    <a:pt x="332" y="530"/>
                  </a:lnTo>
                  <a:lnTo>
                    <a:pt x="332" y="530"/>
                  </a:lnTo>
                  <a:lnTo>
                    <a:pt x="328" y="534"/>
                  </a:lnTo>
                  <a:lnTo>
                    <a:pt x="324" y="536"/>
                  </a:lnTo>
                  <a:lnTo>
                    <a:pt x="320" y="538"/>
                  </a:lnTo>
                  <a:lnTo>
                    <a:pt x="316" y="538"/>
                  </a:lnTo>
                  <a:lnTo>
                    <a:pt x="314" y="540"/>
                  </a:lnTo>
                  <a:lnTo>
                    <a:pt x="314" y="540"/>
                  </a:lnTo>
                  <a:lnTo>
                    <a:pt x="314" y="540"/>
                  </a:lnTo>
                  <a:lnTo>
                    <a:pt x="312" y="542"/>
                  </a:lnTo>
                  <a:lnTo>
                    <a:pt x="312" y="542"/>
                  </a:lnTo>
                  <a:lnTo>
                    <a:pt x="310" y="542"/>
                  </a:lnTo>
                  <a:lnTo>
                    <a:pt x="308" y="544"/>
                  </a:lnTo>
                  <a:lnTo>
                    <a:pt x="306" y="546"/>
                  </a:lnTo>
                  <a:lnTo>
                    <a:pt x="306" y="548"/>
                  </a:lnTo>
                  <a:lnTo>
                    <a:pt x="302" y="548"/>
                  </a:lnTo>
                  <a:lnTo>
                    <a:pt x="302" y="548"/>
                  </a:lnTo>
                  <a:lnTo>
                    <a:pt x="302" y="548"/>
                  </a:lnTo>
                  <a:lnTo>
                    <a:pt x="300" y="550"/>
                  </a:lnTo>
                  <a:lnTo>
                    <a:pt x="300" y="550"/>
                  </a:lnTo>
                  <a:lnTo>
                    <a:pt x="300" y="550"/>
                  </a:lnTo>
                  <a:lnTo>
                    <a:pt x="298" y="550"/>
                  </a:lnTo>
                  <a:lnTo>
                    <a:pt x="298" y="550"/>
                  </a:lnTo>
                  <a:lnTo>
                    <a:pt x="298" y="550"/>
                  </a:lnTo>
                  <a:lnTo>
                    <a:pt x="296" y="552"/>
                  </a:lnTo>
                  <a:lnTo>
                    <a:pt x="296" y="552"/>
                  </a:lnTo>
                  <a:lnTo>
                    <a:pt x="296" y="554"/>
                  </a:lnTo>
                  <a:lnTo>
                    <a:pt x="296" y="554"/>
                  </a:lnTo>
                  <a:lnTo>
                    <a:pt x="296" y="554"/>
                  </a:lnTo>
                  <a:lnTo>
                    <a:pt x="296" y="556"/>
                  </a:lnTo>
                  <a:lnTo>
                    <a:pt x="296" y="558"/>
                  </a:lnTo>
                  <a:lnTo>
                    <a:pt x="296" y="558"/>
                  </a:lnTo>
                  <a:lnTo>
                    <a:pt x="296" y="558"/>
                  </a:lnTo>
                  <a:lnTo>
                    <a:pt x="298" y="562"/>
                  </a:lnTo>
                  <a:lnTo>
                    <a:pt x="298" y="562"/>
                  </a:lnTo>
                  <a:lnTo>
                    <a:pt x="298" y="562"/>
                  </a:lnTo>
                  <a:lnTo>
                    <a:pt x="302" y="564"/>
                  </a:lnTo>
                  <a:lnTo>
                    <a:pt x="302" y="564"/>
                  </a:lnTo>
                  <a:lnTo>
                    <a:pt x="304" y="566"/>
                  </a:lnTo>
                  <a:lnTo>
                    <a:pt x="306" y="568"/>
                  </a:lnTo>
                  <a:lnTo>
                    <a:pt x="306" y="570"/>
                  </a:lnTo>
                  <a:lnTo>
                    <a:pt x="306" y="572"/>
                  </a:lnTo>
                  <a:lnTo>
                    <a:pt x="308" y="576"/>
                  </a:lnTo>
                  <a:lnTo>
                    <a:pt x="308" y="578"/>
                  </a:lnTo>
                  <a:lnTo>
                    <a:pt x="308" y="580"/>
                  </a:lnTo>
                  <a:lnTo>
                    <a:pt x="304" y="580"/>
                  </a:lnTo>
                  <a:lnTo>
                    <a:pt x="298" y="580"/>
                  </a:lnTo>
                  <a:lnTo>
                    <a:pt x="290" y="580"/>
                  </a:lnTo>
                  <a:lnTo>
                    <a:pt x="288" y="580"/>
                  </a:lnTo>
                  <a:lnTo>
                    <a:pt x="284" y="578"/>
                  </a:lnTo>
                  <a:lnTo>
                    <a:pt x="280" y="576"/>
                  </a:lnTo>
                  <a:lnTo>
                    <a:pt x="276" y="576"/>
                  </a:lnTo>
                  <a:lnTo>
                    <a:pt x="270" y="572"/>
                  </a:lnTo>
                  <a:lnTo>
                    <a:pt x="266" y="570"/>
                  </a:lnTo>
                  <a:lnTo>
                    <a:pt x="266" y="570"/>
                  </a:lnTo>
                  <a:lnTo>
                    <a:pt x="266" y="570"/>
                  </a:lnTo>
                  <a:lnTo>
                    <a:pt x="266" y="568"/>
                  </a:lnTo>
                  <a:lnTo>
                    <a:pt x="264" y="568"/>
                  </a:lnTo>
                  <a:lnTo>
                    <a:pt x="260" y="568"/>
                  </a:lnTo>
                  <a:lnTo>
                    <a:pt x="258" y="568"/>
                  </a:lnTo>
                  <a:lnTo>
                    <a:pt x="254" y="566"/>
                  </a:lnTo>
                  <a:lnTo>
                    <a:pt x="250" y="566"/>
                  </a:lnTo>
                  <a:lnTo>
                    <a:pt x="246" y="568"/>
                  </a:lnTo>
                  <a:lnTo>
                    <a:pt x="246" y="568"/>
                  </a:lnTo>
                  <a:lnTo>
                    <a:pt x="246" y="568"/>
                  </a:lnTo>
                  <a:lnTo>
                    <a:pt x="244" y="568"/>
                  </a:lnTo>
                  <a:lnTo>
                    <a:pt x="242" y="568"/>
                  </a:lnTo>
                  <a:lnTo>
                    <a:pt x="240" y="568"/>
                  </a:lnTo>
                  <a:lnTo>
                    <a:pt x="238" y="570"/>
                  </a:lnTo>
                  <a:lnTo>
                    <a:pt x="238" y="570"/>
                  </a:lnTo>
                  <a:lnTo>
                    <a:pt x="236" y="570"/>
                  </a:lnTo>
                  <a:lnTo>
                    <a:pt x="236" y="570"/>
                  </a:lnTo>
                  <a:lnTo>
                    <a:pt x="236" y="570"/>
                  </a:lnTo>
                  <a:lnTo>
                    <a:pt x="236" y="574"/>
                  </a:lnTo>
                  <a:lnTo>
                    <a:pt x="236" y="574"/>
                  </a:lnTo>
                  <a:lnTo>
                    <a:pt x="236" y="574"/>
                  </a:lnTo>
                  <a:lnTo>
                    <a:pt x="238" y="576"/>
                  </a:lnTo>
                  <a:lnTo>
                    <a:pt x="238" y="576"/>
                  </a:lnTo>
                  <a:lnTo>
                    <a:pt x="240" y="578"/>
                  </a:lnTo>
                  <a:lnTo>
                    <a:pt x="242" y="578"/>
                  </a:lnTo>
                  <a:lnTo>
                    <a:pt x="242" y="578"/>
                  </a:lnTo>
                  <a:lnTo>
                    <a:pt x="242" y="580"/>
                  </a:lnTo>
                  <a:lnTo>
                    <a:pt x="242" y="580"/>
                  </a:lnTo>
                  <a:lnTo>
                    <a:pt x="244" y="580"/>
                  </a:lnTo>
                  <a:lnTo>
                    <a:pt x="246" y="582"/>
                  </a:lnTo>
                  <a:lnTo>
                    <a:pt x="250" y="584"/>
                  </a:lnTo>
                  <a:lnTo>
                    <a:pt x="252" y="586"/>
                  </a:lnTo>
                  <a:lnTo>
                    <a:pt x="254" y="588"/>
                  </a:lnTo>
                  <a:lnTo>
                    <a:pt x="254" y="588"/>
                  </a:lnTo>
                  <a:lnTo>
                    <a:pt x="254" y="588"/>
                  </a:lnTo>
                  <a:lnTo>
                    <a:pt x="256" y="590"/>
                  </a:lnTo>
                  <a:lnTo>
                    <a:pt x="262" y="592"/>
                  </a:lnTo>
                  <a:lnTo>
                    <a:pt x="268" y="596"/>
                  </a:lnTo>
                  <a:lnTo>
                    <a:pt x="272" y="600"/>
                  </a:lnTo>
                  <a:lnTo>
                    <a:pt x="274" y="602"/>
                  </a:lnTo>
                  <a:lnTo>
                    <a:pt x="276" y="606"/>
                  </a:lnTo>
                  <a:lnTo>
                    <a:pt x="276" y="606"/>
                  </a:lnTo>
                  <a:lnTo>
                    <a:pt x="278" y="608"/>
                  </a:lnTo>
                  <a:lnTo>
                    <a:pt x="278" y="610"/>
                  </a:lnTo>
                  <a:lnTo>
                    <a:pt x="278" y="610"/>
                  </a:lnTo>
                  <a:lnTo>
                    <a:pt x="278" y="610"/>
                  </a:lnTo>
                  <a:lnTo>
                    <a:pt x="278" y="610"/>
                  </a:lnTo>
                  <a:lnTo>
                    <a:pt x="272" y="612"/>
                  </a:lnTo>
                  <a:lnTo>
                    <a:pt x="268" y="612"/>
                  </a:lnTo>
                  <a:lnTo>
                    <a:pt x="262" y="612"/>
                  </a:lnTo>
                  <a:lnTo>
                    <a:pt x="256" y="612"/>
                  </a:lnTo>
                  <a:lnTo>
                    <a:pt x="252" y="610"/>
                  </a:lnTo>
                  <a:lnTo>
                    <a:pt x="250" y="610"/>
                  </a:lnTo>
                  <a:lnTo>
                    <a:pt x="250" y="610"/>
                  </a:lnTo>
                  <a:lnTo>
                    <a:pt x="248" y="610"/>
                  </a:lnTo>
                  <a:lnTo>
                    <a:pt x="248" y="608"/>
                  </a:lnTo>
                  <a:lnTo>
                    <a:pt x="246" y="606"/>
                  </a:lnTo>
                  <a:lnTo>
                    <a:pt x="244" y="602"/>
                  </a:lnTo>
                  <a:lnTo>
                    <a:pt x="244" y="600"/>
                  </a:lnTo>
                  <a:lnTo>
                    <a:pt x="242" y="598"/>
                  </a:lnTo>
                  <a:lnTo>
                    <a:pt x="242" y="594"/>
                  </a:lnTo>
                  <a:lnTo>
                    <a:pt x="240" y="592"/>
                  </a:lnTo>
                  <a:lnTo>
                    <a:pt x="238" y="584"/>
                  </a:lnTo>
                  <a:lnTo>
                    <a:pt x="236" y="576"/>
                  </a:lnTo>
                  <a:lnTo>
                    <a:pt x="232" y="566"/>
                  </a:lnTo>
                  <a:lnTo>
                    <a:pt x="230" y="558"/>
                  </a:lnTo>
                  <a:lnTo>
                    <a:pt x="228" y="552"/>
                  </a:lnTo>
                  <a:lnTo>
                    <a:pt x="228" y="548"/>
                  </a:lnTo>
                  <a:lnTo>
                    <a:pt x="226" y="546"/>
                  </a:lnTo>
                  <a:lnTo>
                    <a:pt x="226" y="546"/>
                  </a:lnTo>
                  <a:lnTo>
                    <a:pt x="226" y="544"/>
                  </a:lnTo>
                  <a:lnTo>
                    <a:pt x="222" y="542"/>
                  </a:lnTo>
                  <a:lnTo>
                    <a:pt x="220" y="540"/>
                  </a:lnTo>
                  <a:lnTo>
                    <a:pt x="220" y="538"/>
                  </a:lnTo>
                  <a:lnTo>
                    <a:pt x="218" y="536"/>
                  </a:lnTo>
                  <a:lnTo>
                    <a:pt x="218" y="530"/>
                  </a:lnTo>
                  <a:lnTo>
                    <a:pt x="216" y="524"/>
                  </a:lnTo>
                  <a:lnTo>
                    <a:pt x="216" y="524"/>
                  </a:lnTo>
                  <a:lnTo>
                    <a:pt x="214" y="522"/>
                  </a:lnTo>
                  <a:lnTo>
                    <a:pt x="210" y="520"/>
                  </a:lnTo>
                  <a:lnTo>
                    <a:pt x="206" y="518"/>
                  </a:lnTo>
                  <a:lnTo>
                    <a:pt x="200" y="516"/>
                  </a:lnTo>
                  <a:lnTo>
                    <a:pt x="196" y="512"/>
                  </a:lnTo>
                  <a:lnTo>
                    <a:pt x="196" y="512"/>
                  </a:lnTo>
                  <a:lnTo>
                    <a:pt x="192" y="508"/>
                  </a:lnTo>
                  <a:lnTo>
                    <a:pt x="190" y="506"/>
                  </a:lnTo>
                  <a:lnTo>
                    <a:pt x="188" y="504"/>
                  </a:lnTo>
                  <a:lnTo>
                    <a:pt x="188" y="504"/>
                  </a:lnTo>
                  <a:lnTo>
                    <a:pt x="188" y="500"/>
                  </a:lnTo>
                  <a:lnTo>
                    <a:pt x="188" y="500"/>
                  </a:lnTo>
                  <a:lnTo>
                    <a:pt x="188" y="498"/>
                  </a:lnTo>
                  <a:lnTo>
                    <a:pt x="188" y="498"/>
                  </a:lnTo>
                  <a:lnTo>
                    <a:pt x="190" y="498"/>
                  </a:lnTo>
                  <a:lnTo>
                    <a:pt x="192" y="498"/>
                  </a:lnTo>
                  <a:lnTo>
                    <a:pt x="192" y="498"/>
                  </a:lnTo>
                  <a:lnTo>
                    <a:pt x="192" y="498"/>
                  </a:lnTo>
                  <a:lnTo>
                    <a:pt x="192" y="500"/>
                  </a:lnTo>
                  <a:lnTo>
                    <a:pt x="196" y="502"/>
                  </a:lnTo>
                  <a:lnTo>
                    <a:pt x="198" y="506"/>
                  </a:lnTo>
                  <a:lnTo>
                    <a:pt x="200" y="510"/>
                  </a:lnTo>
                  <a:lnTo>
                    <a:pt x="200" y="510"/>
                  </a:lnTo>
                  <a:lnTo>
                    <a:pt x="202" y="510"/>
                  </a:lnTo>
                  <a:lnTo>
                    <a:pt x="206" y="512"/>
                  </a:lnTo>
                  <a:lnTo>
                    <a:pt x="212" y="512"/>
                  </a:lnTo>
                  <a:lnTo>
                    <a:pt x="218" y="514"/>
                  </a:lnTo>
                  <a:lnTo>
                    <a:pt x="222" y="516"/>
                  </a:lnTo>
                  <a:lnTo>
                    <a:pt x="222" y="516"/>
                  </a:lnTo>
                  <a:lnTo>
                    <a:pt x="222" y="516"/>
                  </a:lnTo>
                  <a:lnTo>
                    <a:pt x="224" y="518"/>
                  </a:lnTo>
                  <a:lnTo>
                    <a:pt x="226" y="518"/>
                  </a:lnTo>
                  <a:lnTo>
                    <a:pt x="228" y="518"/>
                  </a:lnTo>
                  <a:lnTo>
                    <a:pt x="228" y="520"/>
                  </a:lnTo>
                  <a:lnTo>
                    <a:pt x="230" y="522"/>
                  </a:lnTo>
                  <a:lnTo>
                    <a:pt x="232" y="524"/>
                  </a:lnTo>
                  <a:lnTo>
                    <a:pt x="234" y="526"/>
                  </a:lnTo>
                  <a:lnTo>
                    <a:pt x="234" y="526"/>
                  </a:lnTo>
                  <a:lnTo>
                    <a:pt x="236" y="526"/>
                  </a:lnTo>
                  <a:lnTo>
                    <a:pt x="240" y="526"/>
                  </a:lnTo>
                  <a:lnTo>
                    <a:pt x="244" y="528"/>
                  </a:lnTo>
                  <a:lnTo>
                    <a:pt x="248" y="530"/>
                  </a:lnTo>
                  <a:lnTo>
                    <a:pt x="252" y="532"/>
                  </a:lnTo>
                  <a:lnTo>
                    <a:pt x="252" y="532"/>
                  </a:lnTo>
                  <a:lnTo>
                    <a:pt x="254" y="532"/>
                  </a:lnTo>
                  <a:lnTo>
                    <a:pt x="258" y="532"/>
                  </a:lnTo>
                  <a:lnTo>
                    <a:pt x="264" y="534"/>
                  </a:lnTo>
                  <a:lnTo>
                    <a:pt x="272" y="536"/>
                  </a:lnTo>
                  <a:lnTo>
                    <a:pt x="276" y="536"/>
                  </a:lnTo>
                  <a:lnTo>
                    <a:pt x="282" y="536"/>
                  </a:lnTo>
                  <a:lnTo>
                    <a:pt x="286" y="538"/>
                  </a:lnTo>
                  <a:lnTo>
                    <a:pt x="292" y="538"/>
                  </a:lnTo>
                  <a:lnTo>
                    <a:pt x="292" y="538"/>
                  </a:lnTo>
                  <a:lnTo>
                    <a:pt x="294" y="538"/>
                  </a:lnTo>
                  <a:lnTo>
                    <a:pt x="298" y="534"/>
                  </a:lnTo>
                  <a:lnTo>
                    <a:pt x="302" y="532"/>
                  </a:lnTo>
                  <a:lnTo>
                    <a:pt x="306" y="530"/>
                  </a:lnTo>
                  <a:lnTo>
                    <a:pt x="312" y="526"/>
                  </a:lnTo>
                  <a:lnTo>
                    <a:pt x="316" y="522"/>
                  </a:lnTo>
                  <a:lnTo>
                    <a:pt x="316" y="522"/>
                  </a:lnTo>
                  <a:lnTo>
                    <a:pt x="316" y="522"/>
                  </a:lnTo>
                  <a:lnTo>
                    <a:pt x="318" y="518"/>
                  </a:lnTo>
                  <a:lnTo>
                    <a:pt x="318" y="518"/>
                  </a:lnTo>
                  <a:lnTo>
                    <a:pt x="320" y="518"/>
                  </a:lnTo>
                  <a:lnTo>
                    <a:pt x="320" y="516"/>
                  </a:lnTo>
                  <a:lnTo>
                    <a:pt x="322" y="512"/>
                  </a:lnTo>
                  <a:lnTo>
                    <a:pt x="322" y="510"/>
                  </a:lnTo>
                  <a:lnTo>
                    <a:pt x="324" y="506"/>
                  </a:lnTo>
                  <a:lnTo>
                    <a:pt x="324" y="502"/>
                  </a:lnTo>
                  <a:lnTo>
                    <a:pt x="324" y="496"/>
                  </a:lnTo>
                  <a:lnTo>
                    <a:pt x="324" y="496"/>
                  </a:lnTo>
                  <a:lnTo>
                    <a:pt x="324" y="496"/>
                  </a:lnTo>
                  <a:lnTo>
                    <a:pt x="324" y="492"/>
                  </a:lnTo>
                  <a:lnTo>
                    <a:pt x="322" y="490"/>
                  </a:lnTo>
                  <a:lnTo>
                    <a:pt x="322" y="486"/>
                  </a:lnTo>
                  <a:lnTo>
                    <a:pt x="322" y="486"/>
                  </a:lnTo>
                  <a:lnTo>
                    <a:pt x="322" y="486"/>
                  </a:lnTo>
                  <a:lnTo>
                    <a:pt x="318" y="482"/>
                  </a:lnTo>
                  <a:lnTo>
                    <a:pt x="316" y="480"/>
                  </a:lnTo>
                  <a:lnTo>
                    <a:pt x="316" y="480"/>
                  </a:lnTo>
                  <a:lnTo>
                    <a:pt x="316" y="478"/>
                  </a:lnTo>
                  <a:lnTo>
                    <a:pt x="312" y="476"/>
                  </a:lnTo>
                  <a:lnTo>
                    <a:pt x="308" y="474"/>
                  </a:lnTo>
                  <a:lnTo>
                    <a:pt x="306" y="472"/>
                  </a:lnTo>
                  <a:lnTo>
                    <a:pt x="304" y="468"/>
                  </a:lnTo>
                  <a:lnTo>
                    <a:pt x="300" y="462"/>
                  </a:lnTo>
                  <a:lnTo>
                    <a:pt x="298" y="458"/>
                  </a:lnTo>
                  <a:lnTo>
                    <a:pt x="296" y="454"/>
                  </a:lnTo>
                  <a:lnTo>
                    <a:pt x="292" y="448"/>
                  </a:lnTo>
                  <a:lnTo>
                    <a:pt x="292" y="448"/>
                  </a:lnTo>
                  <a:lnTo>
                    <a:pt x="286" y="442"/>
                  </a:lnTo>
                  <a:lnTo>
                    <a:pt x="282" y="438"/>
                  </a:lnTo>
                  <a:lnTo>
                    <a:pt x="276" y="434"/>
                  </a:lnTo>
                  <a:lnTo>
                    <a:pt x="276" y="434"/>
                  </a:lnTo>
                  <a:lnTo>
                    <a:pt x="274" y="434"/>
                  </a:lnTo>
                  <a:lnTo>
                    <a:pt x="270" y="434"/>
                  </a:lnTo>
                  <a:lnTo>
                    <a:pt x="266" y="432"/>
                  </a:lnTo>
                  <a:lnTo>
                    <a:pt x="262" y="430"/>
                  </a:lnTo>
                  <a:lnTo>
                    <a:pt x="258" y="428"/>
                  </a:lnTo>
                  <a:lnTo>
                    <a:pt x="248" y="424"/>
                  </a:lnTo>
                  <a:lnTo>
                    <a:pt x="244" y="422"/>
                  </a:lnTo>
                  <a:lnTo>
                    <a:pt x="240" y="418"/>
                  </a:lnTo>
                  <a:lnTo>
                    <a:pt x="240" y="418"/>
                  </a:lnTo>
                  <a:lnTo>
                    <a:pt x="238" y="418"/>
                  </a:lnTo>
                  <a:lnTo>
                    <a:pt x="234" y="418"/>
                  </a:lnTo>
                  <a:lnTo>
                    <a:pt x="230" y="418"/>
                  </a:lnTo>
                  <a:lnTo>
                    <a:pt x="224" y="418"/>
                  </a:lnTo>
                  <a:lnTo>
                    <a:pt x="218" y="418"/>
                  </a:lnTo>
                  <a:lnTo>
                    <a:pt x="214" y="418"/>
                  </a:lnTo>
                  <a:lnTo>
                    <a:pt x="210" y="418"/>
                  </a:lnTo>
                  <a:lnTo>
                    <a:pt x="206" y="418"/>
                  </a:lnTo>
                  <a:lnTo>
                    <a:pt x="206" y="418"/>
                  </a:lnTo>
                  <a:lnTo>
                    <a:pt x="206" y="418"/>
                  </a:lnTo>
                  <a:lnTo>
                    <a:pt x="204" y="418"/>
                  </a:lnTo>
                  <a:lnTo>
                    <a:pt x="204" y="416"/>
                  </a:lnTo>
                  <a:lnTo>
                    <a:pt x="204" y="414"/>
                  </a:lnTo>
                  <a:lnTo>
                    <a:pt x="204" y="410"/>
                  </a:lnTo>
                  <a:lnTo>
                    <a:pt x="204" y="406"/>
                  </a:lnTo>
                  <a:lnTo>
                    <a:pt x="202" y="402"/>
                  </a:lnTo>
                  <a:lnTo>
                    <a:pt x="202" y="402"/>
                  </a:lnTo>
                  <a:lnTo>
                    <a:pt x="200" y="400"/>
                  </a:lnTo>
                  <a:lnTo>
                    <a:pt x="196" y="400"/>
                  </a:lnTo>
                  <a:lnTo>
                    <a:pt x="194" y="398"/>
                  </a:lnTo>
                  <a:lnTo>
                    <a:pt x="186" y="396"/>
                  </a:lnTo>
                  <a:lnTo>
                    <a:pt x="180" y="396"/>
                  </a:lnTo>
                  <a:lnTo>
                    <a:pt x="174" y="396"/>
                  </a:lnTo>
                  <a:lnTo>
                    <a:pt x="174" y="396"/>
                  </a:lnTo>
                  <a:lnTo>
                    <a:pt x="172" y="396"/>
                  </a:lnTo>
                  <a:lnTo>
                    <a:pt x="164" y="400"/>
                  </a:lnTo>
                  <a:lnTo>
                    <a:pt x="156" y="406"/>
                  </a:lnTo>
                  <a:lnTo>
                    <a:pt x="152" y="410"/>
                  </a:lnTo>
                  <a:lnTo>
                    <a:pt x="148" y="412"/>
                  </a:lnTo>
                  <a:lnTo>
                    <a:pt x="144" y="416"/>
                  </a:lnTo>
                  <a:lnTo>
                    <a:pt x="142" y="420"/>
                  </a:lnTo>
                  <a:lnTo>
                    <a:pt x="140" y="422"/>
                  </a:lnTo>
                  <a:lnTo>
                    <a:pt x="138" y="424"/>
                  </a:lnTo>
                  <a:lnTo>
                    <a:pt x="134" y="426"/>
                  </a:lnTo>
                  <a:lnTo>
                    <a:pt x="132" y="428"/>
                  </a:lnTo>
                  <a:lnTo>
                    <a:pt x="132" y="428"/>
                  </a:lnTo>
                  <a:lnTo>
                    <a:pt x="132" y="428"/>
                  </a:lnTo>
                  <a:lnTo>
                    <a:pt x="130" y="428"/>
                  </a:lnTo>
                  <a:lnTo>
                    <a:pt x="130" y="428"/>
                  </a:lnTo>
                  <a:lnTo>
                    <a:pt x="130" y="430"/>
                  </a:lnTo>
                  <a:lnTo>
                    <a:pt x="128" y="432"/>
                  </a:lnTo>
                  <a:lnTo>
                    <a:pt x="128" y="432"/>
                  </a:lnTo>
                  <a:lnTo>
                    <a:pt x="128" y="432"/>
                  </a:lnTo>
                  <a:lnTo>
                    <a:pt x="128" y="434"/>
                  </a:lnTo>
                  <a:lnTo>
                    <a:pt x="128" y="434"/>
                  </a:lnTo>
                  <a:lnTo>
                    <a:pt x="128" y="434"/>
                  </a:lnTo>
                  <a:lnTo>
                    <a:pt x="128" y="436"/>
                  </a:lnTo>
                  <a:lnTo>
                    <a:pt x="128" y="436"/>
                  </a:lnTo>
                  <a:lnTo>
                    <a:pt x="130" y="438"/>
                  </a:lnTo>
                  <a:lnTo>
                    <a:pt x="130" y="440"/>
                  </a:lnTo>
                  <a:lnTo>
                    <a:pt x="132" y="442"/>
                  </a:lnTo>
                  <a:lnTo>
                    <a:pt x="134" y="446"/>
                  </a:lnTo>
                  <a:lnTo>
                    <a:pt x="138" y="448"/>
                  </a:lnTo>
                  <a:lnTo>
                    <a:pt x="138" y="450"/>
                  </a:lnTo>
                  <a:lnTo>
                    <a:pt x="140" y="452"/>
                  </a:lnTo>
                  <a:lnTo>
                    <a:pt x="140" y="452"/>
                  </a:lnTo>
                  <a:lnTo>
                    <a:pt x="140" y="452"/>
                  </a:lnTo>
                  <a:lnTo>
                    <a:pt x="140" y="454"/>
                  </a:lnTo>
                  <a:lnTo>
                    <a:pt x="142" y="454"/>
                  </a:lnTo>
                  <a:lnTo>
                    <a:pt x="142" y="454"/>
                  </a:lnTo>
                  <a:lnTo>
                    <a:pt x="142" y="456"/>
                  </a:lnTo>
                  <a:lnTo>
                    <a:pt x="142" y="456"/>
                  </a:lnTo>
                  <a:lnTo>
                    <a:pt x="142" y="456"/>
                  </a:lnTo>
                  <a:lnTo>
                    <a:pt x="142" y="458"/>
                  </a:lnTo>
                  <a:lnTo>
                    <a:pt x="142" y="458"/>
                  </a:lnTo>
                  <a:lnTo>
                    <a:pt x="142" y="460"/>
                  </a:lnTo>
                  <a:lnTo>
                    <a:pt x="142" y="460"/>
                  </a:lnTo>
                  <a:lnTo>
                    <a:pt x="142" y="460"/>
                  </a:lnTo>
                  <a:lnTo>
                    <a:pt x="142" y="464"/>
                  </a:lnTo>
                  <a:lnTo>
                    <a:pt x="144" y="466"/>
                  </a:lnTo>
                  <a:lnTo>
                    <a:pt x="146" y="472"/>
                  </a:lnTo>
                  <a:lnTo>
                    <a:pt x="148" y="476"/>
                  </a:lnTo>
                  <a:lnTo>
                    <a:pt x="148" y="478"/>
                  </a:lnTo>
                  <a:lnTo>
                    <a:pt x="150" y="482"/>
                  </a:lnTo>
                  <a:lnTo>
                    <a:pt x="150" y="484"/>
                  </a:lnTo>
                  <a:lnTo>
                    <a:pt x="148" y="486"/>
                  </a:lnTo>
                  <a:lnTo>
                    <a:pt x="146" y="490"/>
                  </a:lnTo>
                  <a:lnTo>
                    <a:pt x="144" y="492"/>
                  </a:lnTo>
                  <a:lnTo>
                    <a:pt x="144" y="492"/>
                  </a:lnTo>
                  <a:lnTo>
                    <a:pt x="144" y="492"/>
                  </a:lnTo>
                  <a:lnTo>
                    <a:pt x="144" y="494"/>
                  </a:lnTo>
                  <a:lnTo>
                    <a:pt x="144" y="494"/>
                  </a:lnTo>
                  <a:lnTo>
                    <a:pt x="144" y="496"/>
                  </a:lnTo>
                  <a:lnTo>
                    <a:pt x="144" y="498"/>
                  </a:lnTo>
                  <a:lnTo>
                    <a:pt x="144" y="502"/>
                  </a:lnTo>
                  <a:lnTo>
                    <a:pt x="144" y="504"/>
                  </a:lnTo>
                  <a:lnTo>
                    <a:pt x="144" y="508"/>
                  </a:lnTo>
                  <a:lnTo>
                    <a:pt x="144" y="508"/>
                  </a:lnTo>
                  <a:lnTo>
                    <a:pt x="144" y="510"/>
                  </a:lnTo>
                  <a:lnTo>
                    <a:pt x="148" y="514"/>
                  </a:lnTo>
                  <a:lnTo>
                    <a:pt x="148" y="516"/>
                  </a:lnTo>
                  <a:lnTo>
                    <a:pt x="150" y="520"/>
                  </a:lnTo>
                  <a:lnTo>
                    <a:pt x="150" y="524"/>
                  </a:lnTo>
                  <a:lnTo>
                    <a:pt x="152" y="532"/>
                  </a:lnTo>
                  <a:lnTo>
                    <a:pt x="154" y="542"/>
                  </a:lnTo>
                  <a:lnTo>
                    <a:pt x="154" y="544"/>
                  </a:lnTo>
                  <a:lnTo>
                    <a:pt x="154" y="544"/>
                  </a:lnTo>
                  <a:lnTo>
                    <a:pt x="154" y="546"/>
                  </a:lnTo>
                  <a:lnTo>
                    <a:pt x="156" y="546"/>
                  </a:lnTo>
                  <a:lnTo>
                    <a:pt x="156" y="550"/>
                  </a:lnTo>
                  <a:lnTo>
                    <a:pt x="158" y="552"/>
                  </a:lnTo>
                  <a:lnTo>
                    <a:pt x="158" y="554"/>
                  </a:lnTo>
                  <a:lnTo>
                    <a:pt x="158" y="556"/>
                  </a:lnTo>
                  <a:lnTo>
                    <a:pt x="158" y="560"/>
                  </a:lnTo>
                  <a:lnTo>
                    <a:pt x="158" y="564"/>
                  </a:lnTo>
                  <a:lnTo>
                    <a:pt x="158" y="570"/>
                  </a:lnTo>
                  <a:lnTo>
                    <a:pt x="156" y="576"/>
                  </a:lnTo>
                  <a:lnTo>
                    <a:pt x="156" y="584"/>
                  </a:lnTo>
                  <a:lnTo>
                    <a:pt x="154" y="592"/>
                  </a:lnTo>
                  <a:lnTo>
                    <a:pt x="154" y="598"/>
                  </a:lnTo>
                  <a:lnTo>
                    <a:pt x="154" y="606"/>
                  </a:lnTo>
                  <a:lnTo>
                    <a:pt x="154" y="612"/>
                  </a:lnTo>
                  <a:lnTo>
                    <a:pt x="154" y="612"/>
                  </a:lnTo>
                  <a:lnTo>
                    <a:pt x="154" y="612"/>
                  </a:lnTo>
                  <a:lnTo>
                    <a:pt x="156" y="616"/>
                  </a:lnTo>
                  <a:lnTo>
                    <a:pt x="158" y="622"/>
                  </a:lnTo>
                  <a:lnTo>
                    <a:pt x="164" y="628"/>
                  </a:lnTo>
                  <a:lnTo>
                    <a:pt x="166" y="632"/>
                  </a:lnTo>
                  <a:lnTo>
                    <a:pt x="168" y="636"/>
                  </a:lnTo>
                  <a:lnTo>
                    <a:pt x="170" y="640"/>
                  </a:lnTo>
                  <a:lnTo>
                    <a:pt x="172" y="644"/>
                  </a:lnTo>
                  <a:lnTo>
                    <a:pt x="170" y="648"/>
                  </a:lnTo>
                  <a:lnTo>
                    <a:pt x="170" y="648"/>
                  </a:lnTo>
                  <a:lnTo>
                    <a:pt x="170" y="650"/>
                  </a:lnTo>
                  <a:lnTo>
                    <a:pt x="170" y="656"/>
                  </a:lnTo>
                  <a:lnTo>
                    <a:pt x="168" y="662"/>
                  </a:lnTo>
                  <a:lnTo>
                    <a:pt x="168" y="666"/>
                  </a:lnTo>
                  <a:lnTo>
                    <a:pt x="168" y="668"/>
                  </a:lnTo>
                  <a:lnTo>
                    <a:pt x="166" y="668"/>
                  </a:lnTo>
                  <a:lnTo>
                    <a:pt x="166" y="668"/>
                  </a:lnTo>
                  <a:lnTo>
                    <a:pt x="164" y="668"/>
                  </a:lnTo>
                  <a:lnTo>
                    <a:pt x="160" y="670"/>
                  </a:lnTo>
                  <a:lnTo>
                    <a:pt x="160" y="670"/>
                  </a:lnTo>
                  <a:lnTo>
                    <a:pt x="160" y="670"/>
                  </a:lnTo>
                  <a:lnTo>
                    <a:pt x="160" y="670"/>
                  </a:lnTo>
                  <a:lnTo>
                    <a:pt x="160" y="670"/>
                  </a:lnTo>
                  <a:lnTo>
                    <a:pt x="158" y="670"/>
                  </a:lnTo>
                  <a:lnTo>
                    <a:pt x="158" y="672"/>
                  </a:lnTo>
                  <a:lnTo>
                    <a:pt x="158" y="672"/>
                  </a:lnTo>
                  <a:lnTo>
                    <a:pt x="156" y="672"/>
                  </a:lnTo>
                  <a:lnTo>
                    <a:pt x="156" y="674"/>
                  </a:lnTo>
                  <a:lnTo>
                    <a:pt x="156" y="674"/>
                  </a:lnTo>
                  <a:lnTo>
                    <a:pt x="156" y="674"/>
                  </a:lnTo>
                  <a:lnTo>
                    <a:pt x="156" y="676"/>
                  </a:lnTo>
                  <a:lnTo>
                    <a:pt x="156" y="680"/>
                  </a:lnTo>
                  <a:lnTo>
                    <a:pt x="156" y="684"/>
                  </a:lnTo>
                  <a:lnTo>
                    <a:pt x="154" y="686"/>
                  </a:lnTo>
                  <a:lnTo>
                    <a:pt x="154" y="686"/>
                  </a:lnTo>
                  <a:lnTo>
                    <a:pt x="150" y="688"/>
                  </a:lnTo>
                  <a:lnTo>
                    <a:pt x="146" y="692"/>
                  </a:lnTo>
                  <a:lnTo>
                    <a:pt x="144" y="696"/>
                  </a:lnTo>
                  <a:lnTo>
                    <a:pt x="144" y="696"/>
                  </a:lnTo>
                  <a:lnTo>
                    <a:pt x="144" y="698"/>
                  </a:lnTo>
                  <a:lnTo>
                    <a:pt x="142" y="700"/>
                  </a:lnTo>
                  <a:lnTo>
                    <a:pt x="140" y="702"/>
                  </a:lnTo>
                  <a:lnTo>
                    <a:pt x="138" y="704"/>
                  </a:lnTo>
                  <a:lnTo>
                    <a:pt x="136" y="706"/>
                  </a:lnTo>
                  <a:lnTo>
                    <a:pt x="134" y="708"/>
                  </a:lnTo>
                  <a:lnTo>
                    <a:pt x="134" y="710"/>
                  </a:lnTo>
                  <a:lnTo>
                    <a:pt x="134" y="710"/>
                  </a:lnTo>
                  <a:lnTo>
                    <a:pt x="134" y="710"/>
                  </a:lnTo>
                  <a:lnTo>
                    <a:pt x="132" y="712"/>
                  </a:lnTo>
                  <a:lnTo>
                    <a:pt x="132" y="712"/>
                  </a:lnTo>
                  <a:lnTo>
                    <a:pt x="132" y="712"/>
                  </a:lnTo>
                  <a:lnTo>
                    <a:pt x="132" y="714"/>
                  </a:lnTo>
                  <a:lnTo>
                    <a:pt x="132" y="714"/>
                  </a:lnTo>
                  <a:lnTo>
                    <a:pt x="132" y="716"/>
                  </a:lnTo>
                  <a:lnTo>
                    <a:pt x="134" y="718"/>
                  </a:lnTo>
                  <a:lnTo>
                    <a:pt x="134" y="718"/>
                  </a:lnTo>
                  <a:lnTo>
                    <a:pt x="134" y="718"/>
                  </a:lnTo>
                  <a:lnTo>
                    <a:pt x="136" y="722"/>
                  </a:lnTo>
                  <a:lnTo>
                    <a:pt x="138" y="724"/>
                  </a:lnTo>
                  <a:lnTo>
                    <a:pt x="140" y="728"/>
                  </a:lnTo>
                  <a:lnTo>
                    <a:pt x="140" y="728"/>
                  </a:lnTo>
                  <a:lnTo>
                    <a:pt x="142" y="728"/>
                  </a:lnTo>
                  <a:lnTo>
                    <a:pt x="144" y="732"/>
                  </a:lnTo>
                  <a:lnTo>
                    <a:pt x="146" y="734"/>
                  </a:lnTo>
                  <a:lnTo>
                    <a:pt x="148" y="736"/>
                  </a:lnTo>
                  <a:lnTo>
                    <a:pt x="150" y="738"/>
                  </a:lnTo>
                  <a:lnTo>
                    <a:pt x="146" y="738"/>
                  </a:lnTo>
                  <a:lnTo>
                    <a:pt x="142" y="738"/>
                  </a:lnTo>
                  <a:lnTo>
                    <a:pt x="140" y="740"/>
                  </a:lnTo>
                  <a:lnTo>
                    <a:pt x="140" y="740"/>
                  </a:lnTo>
                  <a:lnTo>
                    <a:pt x="140" y="740"/>
                  </a:lnTo>
                  <a:lnTo>
                    <a:pt x="138" y="740"/>
                  </a:lnTo>
                  <a:lnTo>
                    <a:pt x="138" y="740"/>
                  </a:lnTo>
                  <a:lnTo>
                    <a:pt x="136" y="740"/>
                  </a:lnTo>
                  <a:lnTo>
                    <a:pt x="134" y="742"/>
                  </a:lnTo>
                  <a:lnTo>
                    <a:pt x="134" y="742"/>
                  </a:lnTo>
                  <a:lnTo>
                    <a:pt x="134" y="742"/>
                  </a:lnTo>
                  <a:lnTo>
                    <a:pt x="132" y="744"/>
                  </a:lnTo>
                  <a:lnTo>
                    <a:pt x="132" y="744"/>
                  </a:lnTo>
                  <a:lnTo>
                    <a:pt x="132" y="746"/>
                  </a:lnTo>
                  <a:lnTo>
                    <a:pt x="132" y="748"/>
                  </a:lnTo>
                  <a:lnTo>
                    <a:pt x="130" y="748"/>
                  </a:lnTo>
                  <a:lnTo>
                    <a:pt x="130" y="748"/>
                  </a:lnTo>
                  <a:lnTo>
                    <a:pt x="130" y="750"/>
                  </a:lnTo>
                  <a:lnTo>
                    <a:pt x="130" y="750"/>
                  </a:lnTo>
                  <a:lnTo>
                    <a:pt x="130" y="750"/>
                  </a:lnTo>
                  <a:lnTo>
                    <a:pt x="130" y="752"/>
                  </a:lnTo>
                  <a:lnTo>
                    <a:pt x="128" y="756"/>
                  </a:lnTo>
                  <a:lnTo>
                    <a:pt x="128" y="756"/>
                  </a:lnTo>
                  <a:lnTo>
                    <a:pt x="128" y="756"/>
                  </a:lnTo>
                  <a:lnTo>
                    <a:pt x="128" y="760"/>
                  </a:lnTo>
                  <a:lnTo>
                    <a:pt x="128" y="762"/>
                  </a:lnTo>
                  <a:lnTo>
                    <a:pt x="128" y="766"/>
                  </a:lnTo>
                  <a:lnTo>
                    <a:pt x="126" y="768"/>
                  </a:lnTo>
                  <a:lnTo>
                    <a:pt x="126" y="772"/>
                  </a:lnTo>
                  <a:lnTo>
                    <a:pt x="126" y="772"/>
                  </a:lnTo>
                  <a:lnTo>
                    <a:pt x="126" y="772"/>
                  </a:lnTo>
                  <a:lnTo>
                    <a:pt x="124" y="774"/>
                  </a:lnTo>
                  <a:lnTo>
                    <a:pt x="124" y="774"/>
                  </a:lnTo>
                  <a:lnTo>
                    <a:pt x="124" y="776"/>
                  </a:lnTo>
                  <a:lnTo>
                    <a:pt x="124" y="778"/>
                  </a:lnTo>
                  <a:lnTo>
                    <a:pt x="124" y="778"/>
                  </a:lnTo>
                  <a:lnTo>
                    <a:pt x="124" y="778"/>
                  </a:lnTo>
                  <a:lnTo>
                    <a:pt x="124" y="780"/>
                  </a:lnTo>
                  <a:lnTo>
                    <a:pt x="124" y="782"/>
                  </a:lnTo>
                  <a:lnTo>
                    <a:pt x="122" y="784"/>
                  </a:lnTo>
                  <a:lnTo>
                    <a:pt x="122" y="788"/>
                  </a:lnTo>
                  <a:lnTo>
                    <a:pt x="122" y="790"/>
                  </a:lnTo>
                  <a:lnTo>
                    <a:pt x="122" y="792"/>
                  </a:lnTo>
                  <a:lnTo>
                    <a:pt x="122" y="792"/>
                  </a:lnTo>
                  <a:lnTo>
                    <a:pt x="122" y="792"/>
                  </a:lnTo>
                  <a:lnTo>
                    <a:pt x="124" y="794"/>
                  </a:lnTo>
                  <a:lnTo>
                    <a:pt x="124" y="794"/>
                  </a:lnTo>
                  <a:lnTo>
                    <a:pt x="124" y="794"/>
                  </a:lnTo>
                  <a:lnTo>
                    <a:pt x="124" y="796"/>
                  </a:lnTo>
                  <a:lnTo>
                    <a:pt x="124" y="796"/>
                  </a:lnTo>
                  <a:lnTo>
                    <a:pt x="126" y="796"/>
                  </a:lnTo>
                  <a:lnTo>
                    <a:pt x="126" y="796"/>
                  </a:lnTo>
                  <a:lnTo>
                    <a:pt x="126" y="796"/>
                  </a:lnTo>
                  <a:lnTo>
                    <a:pt x="126" y="796"/>
                  </a:lnTo>
                  <a:lnTo>
                    <a:pt x="128" y="796"/>
                  </a:lnTo>
                  <a:lnTo>
                    <a:pt x="128" y="796"/>
                  </a:lnTo>
                  <a:lnTo>
                    <a:pt x="128" y="796"/>
                  </a:lnTo>
                  <a:lnTo>
                    <a:pt x="128" y="798"/>
                  </a:lnTo>
                  <a:lnTo>
                    <a:pt x="130" y="800"/>
                  </a:lnTo>
                  <a:lnTo>
                    <a:pt x="130" y="800"/>
                  </a:lnTo>
                  <a:lnTo>
                    <a:pt x="130" y="800"/>
                  </a:lnTo>
                  <a:lnTo>
                    <a:pt x="132" y="802"/>
                  </a:lnTo>
                  <a:lnTo>
                    <a:pt x="134" y="802"/>
                  </a:lnTo>
                  <a:lnTo>
                    <a:pt x="134" y="804"/>
                  </a:lnTo>
                  <a:lnTo>
                    <a:pt x="134" y="804"/>
                  </a:lnTo>
                  <a:lnTo>
                    <a:pt x="132" y="806"/>
                  </a:lnTo>
                  <a:lnTo>
                    <a:pt x="132" y="808"/>
                  </a:lnTo>
                  <a:lnTo>
                    <a:pt x="132" y="810"/>
                  </a:lnTo>
                  <a:lnTo>
                    <a:pt x="130" y="814"/>
                  </a:lnTo>
                  <a:lnTo>
                    <a:pt x="130" y="818"/>
                  </a:lnTo>
                  <a:lnTo>
                    <a:pt x="128" y="822"/>
                  </a:lnTo>
                  <a:lnTo>
                    <a:pt x="128" y="826"/>
                  </a:lnTo>
                  <a:lnTo>
                    <a:pt x="128" y="828"/>
                  </a:lnTo>
                  <a:lnTo>
                    <a:pt x="128" y="828"/>
                  </a:lnTo>
                  <a:lnTo>
                    <a:pt x="128" y="830"/>
                  </a:lnTo>
                  <a:lnTo>
                    <a:pt x="128" y="832"/>
                  </a:lnTo>
                  <a:lnTo>
                    <a:pt x="128" y="832"/>
                  </a:lnTo>
                  <a:lnTo>
                    <a:pt x="128" y="832"/>
                  </a:lnTo>
                  <a:lnTo>
                    <a:pt x="130" y="834"/>
                  </a:lnTo>
                  <a:lnTo>
                    <a:pt x="130" y="834"/>
                  </a:lnTo>
                  <a:lnTo>
                    <a:pt x="130" y="836"/>
                  </a:lnTo>
                  <a:lnTo>
                    <a:pt x="132" y="838"/>
                  </a:lnTo>
                  <a:lnTo>
                    <a:pt x="132" y="838"/>
                  </a:lnTo>
                  <a:lnTo>
                    <a:pt x="132" y="838"/>
                  </a:lnTo>
                  <a:lnTo>
                    <a:pt x="136" y="840"/>
                  </a:lnTo>
                  <a:lnTo>
                    <a:pt x="140" y="844"/>
                  </a:lnTo>
                  <a:lnTo>
                    <a:pt x="144" y="846"/>
                  </a:lnTo>
                  <a:lnTo>
                    <a:pt x="148" y="848"/>
                  </a:lnTo>
                  <a:lnTo>
                    <a:pt x="152" y="852"/>
                  </a:lnTo>
                  <a:lnTo>
                    <a:pt x="154" y="856"/>
                  </a:lnTo>
                  <a:lnTo>
                    <a:pt x="158" y="858"/>
                  </a:lnTo>
                  <a:lnTo>
                    <a:pt x="160" y="860"/>
                  </a:lnTo>
                  <a:lnTo>
                    <a:pt x="160" y="860"/>
                  </a:lnTo>
                  <a:lnTo>
                    <a:pt x="162" y="862"/>
                  </a:lnTo>
                  <a:lnTo>
                    <a:pt x="162" y="862"/>
                  </a:lnTo>
                  <a:lnTo>
                    <a:pt x="164" y="864"/>
                  </a:lnTo>
                  <a:lnTo>
                    <a:pt x="164" y="866"/>
                  </a:lnTo>
                  <a:lnTo>
                    <a:pt x="164" y="868"/>
                  </a:lnTo>
                  <a:lnTo>
                    <a:pt x="166" y="872"/>
                  </a:lnTo>
                  <a:lnTo>
                    <a:pt x="168" y="878"/>
                  </a:lnTo>
                  <a:lnTo>
                    <a:pt x="170" y="882"/>
                  </a:lnTo>
                  <a:lnTo>
                    <a:pt x="172" y="886"/>
                  </a:lnTo>
                  <a:lnTo>
                    <a:pt x="172" y="890"/>
                  </a:lnTo>
                  <a:lnTo>
                    <a:pt x="172" y="892"/>
                  </a:lnTo>
                  <a:lnTo>
                    <a:pt x="172" y="898"/>
                  </a:lnTo>
                  <a:lnTo>
                    <a:pt x="172" y="902"/>
                  </a:lnTo>
                  <a:lnTo>
                    <a:pt x="172" y="906"/>
                  </a:lnTo>
                  <a:lnTo>
                    <a:pt x="172" y="906"/>
                  </a:lnTo>
                  <a:lnTo>
                    <a:pt x="172" y="906"/>
                  </a:lnTo>
                  <a:lnTo>
                    <a:pt x="172" y="908"/>
                  </a:lnTo>
                  <a:lnTo>
                    <a:pt x="172" y="910"/>
                  </a:lnTo>
                  <a:lnTo>
                    <a:pt x="172" y="912"/>
                  </a:lnTo>
                  <a:lnTo>
                    <a:pt x="174" y="916"/>
                  </a:lnTo>
                  <a:lnTo>
                    <a:pt x="174" y="918"/>
                  </a:lnTo>
                  <a:lnTo>
                    <a:pt x="174" y="920"/>
                  </a:lnTo>
                  <a:lnTo>
                    <a:pt x="174" y="922"/>
                  </a:lnTo>
                  <a:lnTo>
                    <a:pt x="174" y="922"/>
                  </a:lnTo>
                  <a:lnTo>
                    <a:pt x="174" y="924"/>
                  </a:lnTo>
                  <a:lnTo>
                    <a:pt x="172" y="926"/>
                  </a:lnTo>
                  <a:lnTo>
                    <a:pt x="170" y="928"/>
                  </a:lnTo>
                  <a:lnTo>
                    <a:pt x="170" y="930"/>
                  </a:lnTo>
                  <a:lnTo>
                    <a:pt x="170" y="930"/>
                  </a:lnTo>
                  <a:lnTo>
                    <a:pt x="170" y="930"/>
                  </a:lnTo>
                  <a:lnTo>
                    <a:pt x="168" y="932"/>
                  </a:lnTo>
                  <a:lnTo>
                    <a:pt x="168" y="932"/>
                  </a:lnTo>
                  <a:lnTo>
                    <a:pt x="168" y="934"/>
                  </a:lnTo>
                  <a:lnTo>
                    <a:pt x="168" y="936"/>
                  </a:lnTo>
                  <a:lnTo>
                    <a:pt x="168" y="936"/>
                  </a:lnTo>
                  <a:lnTo>
                    <a:pt x="170" y="936"/>
                  </a:lnTo>
                  <a:lnTo>
                    <a:pt x="170" y="938"/>
                  </a:lnTo>
                  <a:lnTo>
                    <a:pt x="170" y="938"/>
                  </a:lnTo>
                  <a:lnTo>
                    <a:pt x="170" y="938"/>
                  </a:lnTo>
                  <a:lnTo>
                    <a:pt x="172" y="940"/>
                  </a:lnTo>
                  <a:lnTo>
                    <a:pt x="172" y="940"/>
                  </a:lnTo>
                  <a:lnTo>
                    <a:pt x="172" y="940"/>
                  </a:lnTo>
                  <a:lnTo>
                    <a:pt x="174" y="940"/>
                  </a:lnTo>
                  <a:lnTo>
                    <a:pt x="176" y="942"/>
                  </a:lnTo>
                  <a:lnTo>
                    <a:pt x="178" y="942"/>
                  </a:lnTo>
                  <a:lnTo>
                    <a:pt x="182" y="942"/>
                  </a:lnTo>
                  <a:lnTo>
                    <a:pt x="188" y="942"/>
                  </a:lnTo>
                  <a:lnTo>
                    <a:pt x="194" y="942"/>
                  </a:lnTo>
                  <a:lnTo>
                    <a:pt x="200" y="942"/>
                  </a:lnTo>
                  <a:lnTo>
                    <a:pt x="206" y="942"/>
                  </a:lnTo>
                  <a:lnTo>
                    <a:pt x="210" y="942"/>
                  </a:lnTo>
                  <a:lnTo>
                    <a:pt x="212" y="942"/>
                  </a:lnTo>
                  <a:lnTo>
                    <a:pt x="214" y="942"/>
                  </a:lnTo>
                  <a:lnTo>
                    <a:pt x="216" y="942"/>
                  </a:lnTo>
                  <a:lnTo>
                    <a:pt x="216" y="944"/>
                  </a:lnTo>
                  <a:lnTo>
                    <a:pt x="218" y="946"/>
                  </a:lnTo>
                  <a:lnTo>
                    <a:pt x="218" y="946"/>
                  </a:lnTo>
                  <a:lnTo>
                    <a:pt x="218" y="952"/>
                  </a:lnTo>
                  <a:lnTo>
                    <a:pt x="218" y="954"/>
                  </a:lnTo>
                  <a:lnTo>
                    <a:pt x="218" y="954"/>
                  </a:lnTo>
                  <a:lnTo>
                    <a:pt x="220" y="954"/>
                  </a:lnTo>
                  <a:lnTo>
                    <a:pt x="220" y="956"/>
                  </a:lnTo>
                  <a:lnTo>
                    <a:pt x="220" y="956"/>
                  </a:lnTo>
                  <a:lnTo>
                    <a:pt x="220" y="956"/>
                  </a:lnTo>
                  <a:lnTo>
                    <a:pt x="222" y="958"/>
                  </a:lnTo>
                  <a:lnTo>
                    <a:pt x="222" y="958"/>
                  </a:lnTo>
                  <a:lnTo>
                    <a:pt x="222" y="958"/>
                  </a:lnTo>
                  <a:lnTo>
                    <a:pt x="224" y="960"/>
                  </a:lnTo>
                  <a:lnTo>
                    <a:pt x="224" y="960"/>
                  </a:lnTo>
                  <a:lnTo>
                    <a:pt x="224" y="960"/>
                  </a:lnTo>
                  <a:lnTo>
                    <a:pt x="228" y="962"/>
                  </a:lnTo>
                  <a:lnTo>
                    <a:pt x="232" y="964"/>
                  </a:lnTo>
                  <a:lnTo>
                    <a:pt x="232" y="964"/>
                  </a:lnTo>
                  <a:lnTo>
                    <a:pt x="234" y="966"/>
                  </a:lnTo>
                  <a:lnTo>
                    <a:pt x="234" y="966"/>
                  </a:lnTo>
                  <a:lnTo>
                    <a:pt x="234" y="966"/>
                  </a:lnTo>
                  <a:lnTo>
                    <a:pt x="238" y="970"/>
                  </a:lnTo>
                  <a:lnTo>
                    <a:pt x="242" y="974"/>
                  </a:lnTo>
                  <a:lnTo>
                    <a:pt x="248" y="978"/>
                  </a:lnTo>
                  <a:lnTo>
                    <a:pt x="252" y="980"/>
                  </a:lnTo>
                  <a:lnTo>
                    <a:pt x="252" y="980"/>
                  </a:lnTo>
                  <a:lnTo>
                    <a:pt x="252" y="982"/>
                  </a:lnTo>
                  <a:lnTo>
                    <a:pt x="254" y="982"/>
                  </a:lnTo>
                  <a:lnTo>
                    <a:pt x="254" y="982"/>
                  </a:lnTo>
                  <a:lnTo>
                    <a:pt x="256" y="982"/>
                  </a:lnTo>
                  <a:lnTo>
                    <a:pt x="260" y="982"/>
                  </a:lnTo>
                  <a:lnTo>
                    <a:pt x="266" y="984"/>
                  </a:lnTo>
                  <a:lnTo>
                    <a:pt x="268" y="986"/>
                  </a:lnTo>
                  <a:lnTo>
                    <a:pt x="270" y="986"/>
                  </a:lnTo>
                  <a:lnTo>
                    <a:pt x="272" y="988"/>
                  </a:lnTo>
                  <a:lnTo>
                    <a:pt x="272" y="988"/>
                  </a:lnTo>
                  <a:lnTo>
                    <a:pt x="274" y="988"/>
                  </a:lnTo>
                  <a:lnTo>
                    <a:pt x="274" y="990"/>
                  </a:lnTo>
                  <a:lnTo>
                    <a:pt x="274" y="990"/>
                  </a:lnTo>
                  <a:lnTo>
                    <a:pt x="276" y="990"/>
                  </a:lnTo>
                  <a:lnTo>
                    <a:pt x="278" y="990"/>
                  </a:lnTo>
                  <a:lnTo>
                    <a:pt x="278" y="990"/>
                  </a:lnTo>
                  <a:lnTo>
                    <a:pt x="278" y="990"/>
                  </a:lnTo>
                  <a:lnTo>
                    <a:pt x="280" y="990"/>
                  </a:lnTo>
                  <a:lnTo>
                    <a:pt x="280" y="988"/>
                  </a:lnTo>
                  <a:lnTo>
                    <a:pt x="282" y="988"/>
                  </a:lnTo>
                  <a:lnTo>
                    <a:pt x="284" y="988"/>
                  </a:lnTo>
                  <a:lnTo>
                    <a:pt x="286" y="988"/>
                  </a:lnTo>
                  <a:lnTo>
                    <a:pt x="288" y="988"/>
                  </a:lnTo>
                  <a:lnTo>
                    <a:pt x="290" y="990"/>
                  </a:lnTo>
                  <a:lnTo>
                    <a:pt x="296" y="992"/>
                  </a:lnTo>
                  <a:lnTo>
                    <a:pt x="300" y="994"/>
                  </a:lnTo>
                  <a:lnTo>
                    <a:pt x="304" y="996"/>
                  </a:lnTo>
                  <a:lnTo>
                    <a:pt x="306" y="998"/>
                  </a:lnTo>
                  <a:lnTo>
                    <a:pt x="306" y="998"/>
                  </a:lnTo>
                  <a:lnTo>
                    <a:pt x="308" y="1000"/>
                  </a:lnTo>
                  <a:lnTo>
                    <a:pt x="308" y="1004"/>
                  </a:lnTo>
                  <a:lnTo>
                    <a:pt x="308" y="1004"/>
                  </a:lnTo>
                  <a:lnTo>
                    <a:pt x="310" y="1006"/>
                  </a:lnTo>
                  <a:lnTo>
                    <a:pt x="308" y="1008"/>
                  </a:lnTo>
                  <a:lnTo>
                    <a:pt x="308" y="1010"/>
                  </a:lnTo>
                  <a:lnTo>
                    <a:pt x="308" y="1014"/>
                  </a:lnTo>
                  <a:lnTo>
                    <a:pt x="306" y="1018"/>
                  </a:lnTo>
                  <a:lnTo>
                    <a:pt x="304" y="1024"/>
                  </a:lnTo>
                  <a:lnTo>
                    <a:pt x="302" y="1028"/>
                  </a:lnTo>
                  <a:lnTo>
                    <a:pt x="302" y="1030"/>
                  </a:lnTo>
                  <a:lnTo>
                    <a:pt x="298" y="1036"/>
                  </a:lnTo>
                  <a:lnTo>
                    <a:pt x="298" y="1036"/>
                  </a:lnTo>
                  <a:lnTo>
                    <a:pt x="296" y="1040"/>
                  </a:lnTo>
                  <a:lnTo>
                    <a:pt x="292" y="1042"/>
                  </a:lnTo>
                  <a:lnTo>
                    <a:pt x="290" y="1044"/>
                  </a:lnTo>
                  <a:lnTo>
                    <a:pt x="290" y="1044"/>
                  </a:lnTo>
                  <a:lnTo>
                    <a:pt x="288" y="1044"/>
                  </a:lnTo>
                  <a:lnTo>
                    <a:pt x="288" y="1044"/>
                  </a:lnTo>
                  <a:lnTo>
                    <a:pt x="286" y="1044"/>
                  </a:lnTo>
                  <a:lnTo>
                    <a:pt x="284" y="1042"/>
                  </a:lnTo>
                  <a:lnTo>
                    <a:pt x="284" y="1042"/>
                  </a:lnTo>
                  <a:lnTo>
                    <a:pt x="284" y="1042"/>
                  </a:lnTo>
                  <a:lnTo>
                    <a:pt x="282" y="1042"/>
                  </a:lnTo>
                  <a:lnTo>
                    <a:pt x="282" y="1042"/>
                  </a:lnTo>
                  <a:lnTo>
                    <a:pt x="280" y="1044"/>
                  </a:lnTo>
                  <a:lnTo>
                    <a:pt x="280" y="1044"/>
                  </a:lnTo>
                  <a:lnTo>
                    <a:pt x="280" y="1044"/>
                  </a:lnTo>
                  <a:lnTo>
                    <a:pt x="278" y="1046"/>
                  </a:lnTo>
                  <a:lnTo>
                    <a:pt x="278" y="1046"/>
                  </a:lnTo>
                  <a:lnTo>
                    <a:pt x="278" y="1046"/>
                  </a:lnTo>
                  <a:lnTo>
                    <a:pt x="278" y="1048"/>
                  </a:lnTo>
                  <a:lnTo>
                    <a:pt x="280" y="1050"/>
                  </a:lnTo>
                  <a:lnTo>
                    <a:pt x="284" y="1052"/>
                  </a:lnTo>
                  <a:lnTo>
                    <a:pt x="286" y="1052"/>
                  </a:lnTo>
                  <a:lnTo>
                    <a:pt x="286" y="1054"/>
                  </a:lnTo>
                  <a:lnTo>
                    <a:pt x="288" y="1056"/>
                  </a:lnTo>
                  <a:lnTo>
                    <a:pt x="288" y="1058"/>
                  </a:lnTo>
                  <a:lnTo>
                    <a:pt x="288" y="1058"/>
                  </a:lnTo>
                  <a:lnTo>
                    <a:pt x="288" y="1062"/>
                  </a:lnTo>
                  <a:lnTo>
                    <a:pt x="288" y="1064"/>
                  </a:lnTo>
                  <a:lnTo>
                    <a:pt x="288" y="1066"/>
                  </a:lnTo>
                  <a:lnTo>
                    <a:pt x="288" y="1066"/>
                  </a:lnTo>
                  <a:lnTo>
                    <a:pt x="286" y="1066"/>
                  </a:lnTo>
                  <a:lnTo>
                    <a:pt x="282" y="1066"/>
                  </a:lnTo>
                  <a:lnTo>
                    <a:pt x="282" y="1066"/>
                  </a:lnTo>
                  <a:lnTo>
                    <a:pt x="282" y="1066"/>
                  </a:lnTo>
                  <a:lnTo>
                    <a:pt x="280" y="1068"/>
                  </a:lnTo>
                  <a:lnTo>
                    <a:pt x="280" y="1068"/>
                  </a:lnTo>
                  <a:lnTo>
                    <a:pt x="280" y="1068"/>
                  </a:lnTo>
                  <a:lnTo>
                    <a:pt x="280" y="1070"/>
                  </a:lnTo>
                  <a:lnTo>
                    <a:pt x="280" y="1070"/>
                  </a:lnTo>
                  <a:lnTo>
                    <a:pt x="278" y="1070"/>
                  </a:lnTo>
                  <a:lnTo>
                    <a:pt x="278" y="1072"/>
                  </a:lnTo>
                  <a:lnTo>
                    <a:pt x="278" y="1078"/>
                  </a:lnTo>
                  <a:lnTo>
                    <a:pt x="278" y="1080"/>
                  </a:lnTo>
                  <a:lnTo>
                    <a:pt x="278" y="1082"/>
                  </a:lnTo>
                  <a:lnTo>
                    <a:pt x="278" y="1086"/>
                  </a:lnTo>
                  <a:lnTo>
                    <a:pt x="276" y="1090"/>
                  </a:lnTo>
                  <a:lnTo>
                    <a:pt x="276" y="1092"/>
                  </a:lnTo>
                  <a:lnTo>
                    <a:pt x="276" y="1092"/>
                  </a:lnTo>
                  <a:lnTo>
                    <a:pt x="276" y="1092"/>
                  </a:lnTo>
                  <a:lnTo>
                    <a:pt x="274" y="1092"/>
                  </a:lnTo>
                  <a:lnTo>
                    <a:pt x="272" y="1092"/>
                  </a:lnTo>
                  <a:lnTo>
                    <a:pt x="272" y="1092"/>
                  </a:lnTo>
                  <a:lnTo>
                    <a:pt x="272" y="1092"/>
                  </a:lnTo>
                  <a:lnTo>
                    <a:pt x="270" y="1094"/>
                  </a:lnTo>
                  <a:lnTo>
                    <a:pt x="270" y="1094"/>
                  </a:lnTo>
                  <a:lnTo>
                    <a:pt x="270" y="1094"/>
                  </a:lnTo>
                  <a:lnTo>
                    <a:pt x="268" y="1096"/>
                  </a:lnTo>
                  <a:lnTo>
                    <a:pt x="268" y="1096"/>
                  </a:lnTo>
                  <a:lnTo>
                    <a:pt x="268" y="1096"/>
                  </a:lnTo>
                  <a:lnTo>
                    <a:pt x="266" y="1098"/>
                  </a:lnTo>
                  <a:lnTo>
                    <a:pt x="266" y="1100"/>
                  </a:lnTo>
                  <a:lnTo>
                    <a:pt x="266" y="1102"/>
                  </a:lnTo>
                  <a:lnTo>
                    <a:pt x="266" y="1102"/>
                  </a:lnTo>
                  <a:lnTo>
                    <a:pt x="266" y="1104"/>
                  </a:lnTo>
                  <a:lnTo>
                    <a:pt x="266" y="1104"/>
                  </a:lnTo>
                  <a:lnTo>
                    <a:pt x="274" y="1108"/>
                  </a:lnTo>
                  <a:lnTo>
                    <a:pt x="280" y="1112"/>
                  </a:lnTo>
                  <a:lnTo>
                    <a:pt x="284" y="1116"/>
                  </a:lnTo>
                  <a:lnTo>
                    <a:pt x="286" y="1118"/>
                  </a:lnTo>
                  <a:lnTo>
                    <a:pt x="288" y="1120"/>
                  </a:lnTo>
                  <a:lnTo>
                    <a:pt x="292" y="1124"/>
                  </a:lnTo>
                  <a:lnTo>
                    <a:pt x="292" y="1124"/>
                  </a:lnTo>
                  <a:lnTo>
                    <a:pt x="294" y="1124"/>
                  </a:lnTo>
                  <a:lnTo>
                    <a:pt x="296" y="1126"/>
                  </a:lnTo>
                  <a:lnTo>
                    <a:pt x="298" y="1126"/>
                  </a:lnTo>
                  <a:lnTo>
                    <a:pt x="302" y="1128"/>
                  </a:lnTo>
                  <a:lnTo>
                    <a:pt x="306" y="1132"/>
                  </a:lnTo>
                  <a:lnTo>
                    <a:pt x="310" y="1134"/>
                  </a:lnTo>
                  <a:lnTo>
                    <a:pt x="310" y="1134"/>
                  </a:lnTo>
                  <a:lnTo>
                    <a:pt x="312" y="1134"/>
                  </a:lnTo>
                  <a:lnTo>
                    <a:pt x="318" y="1136"/>
                  </a:lnTo>
                  <a:lnTo>
                    <a:pt x="324" y="1138"/>
                  </a:lnTo>
                  <a:lnTo>
                    <a:pt x="330" y="1140"/>
                  </a:lnTo>
                  <a:lnTo>
                    <a:pt x="332" y="1140"/>
                  </a:lnTo>
                  <a:lnTo>
                    <a:pt x="334" y="1142"/>
                  </a:lnTo>
                  <a:lnTo>
                    <a:pt x="334" y="1142"/>
                  </a:lnTo>
                  <a:lnTo>
                    <a:pt x="336" y="1144"/>
                  </a:lnTo>
                  <a:lnTo>
                    <a:pt x="336" y="1144"/>
                  </a:lnTo>
                  <a:lnTo>
                    <a:pt x="338" y="1144"/>
                  </a:lnTo>
                  <a:lnTo>
                    <a:pt x="340" y="1144"/>
                  </a:lnTo>
                  <a:lnTo>
                    <a:pt x="342" y="1144"/>
                  </a:lnTo>
                  <a:lnTo>
                    <a:pt x="348" y="1146"/>
                  </a:lnTo>
                  <a:lnTo>
                    <a:pt x="350" y="1146"/>
                  </a:lnTo>
                  <a:lnTo>
                    <a:pt x="354" y="1146"/>
                  </a:lnTo>
                  <a:lnTo>
                    <a:pt x="360" y="1146"/>
                  </a:lnTo>
                  <a:lnTo>
                    <a:pt x="364" y="1148"/>
                  </a:lnTo>
                  <a:lnTo>
                    <a:pt x="370" y="1150"/>
                  </a:lnTo>
                  <a:lnTo>
                    <a:pt x="370" y="1150"/>
                  </a:lnTo>
                  <a:lnTo>
                    <a:pt x="374" y="1152"/>
                  </a:lnTo>
                  <a:lnTo>
                    <a:pt x="374" y="1152"/>
                  </a:lnTo>
                  <a:lnTo>
                    <a:pt x="376" y="1152"/>
                  </a:lnTo>
                  <a:lnTo>
                    <a:pt x="380" y="1152"/>
                  </a:lnTo>
                  <a:lnTo>
                    <a:pt x="382" y="1152"/>
                  </a:lnTo>
                  <a:lnTo>
                    <a:pt x="388" y="1154"/>
                  </a:lnTo>
                  <a:lnTo>
                    <a:pt x="390" y="1154"/>
                  </a:lnTo>
                  <a:lnTo>
                    <a:pt x="392" y="1154"/>
                  </a:lnTo>
                  <a:lnTo>
                    <a:pt x="394" y="1156"/>
                  </a:lnTo>
                  <a:lnTo>
                    <a:pt x="396" y="1158"/>
                  </a:lnTo>
                  <a:lnTo>
                    <a:pt x="396" y="1158"/>
                  </a:lnTo>
                  <a:lnTo>
                    <a:pt x="396" y="1158"/>
                  </a:lnTo>
                  <a:lnTo>
                    <a:pt x="398" y="1158"/>
                  </a:lnTo>
                  <a:lnTo>
                    <a:pt x="400" y="1160"/>
                  </a:lnTo>
                  <a:lnTo>
                    <a:pt x="400" y="1160"/>
                  </a:lnTo>
                  <a:lnTo>
                    <a:pt x="400" y="1160"/>
                  </a:lnTo>
                  <a:lnTo>
                    <a:pt x="402" y="1162"/>
                  </a:lnTo>
                  <a:lnTo>
                    <a:pt x="404" y="1166"/>
                  </a:lnTo>
                  <a:lnTo>
                    <a:pt x="408" y="1172"/>
                  </a:lnTo>
                  <a:lnTo>
                    <a:pt x="408" y="1172"/>
                  </a:lnTo>
                  <a:lnTo>
                    <a:pt x="408" y="1172"/>
                  </a:lnTo>
                  <a:lnTo>
                    <a:pt x="410" y="1176"/>
                  </a:lnTo>
                  <a:lnTo>
                    <a:pt x="414" y="1178"/>
                  </a:lnTo>
                  <a:lnTo>
                    <a:pt x="416" y="1180"/>
                  </a:lnTo>
                  <a:lnTo>
                    <a:pt x="418" y="1182"/>
                  </a:lnTo>
                  <a:lnTo>
                    <a:pt x="418" y="1182"/>
                  </a:lnTo>
                  <a:lnTo>
                    <a:pt x="418" y="1182"/>
                  </a:lnTo>
                  <a:lnTo>
                    <a:pt x="420" y="1182"/>
                  </a:lnTo>
                  <a:lnTo>
                    <a:pt x="420" y="1182"/>
                  </a:lnTo>
                  <a:lnTo>
                    <a:pt x="420" y="1182"/>
                  </a:lnTo>
                  <a:lnTo>
                    <a:pt x="422" y="1182"/>
                  </a:lnTo>
                  <a:lnTo>
                    <a:pt x="422" y="1182"/>
                  </a:lnTo>
                  <a:lnTo>
                    <a:pt x="424" y="1182"/>
                  </a:lnTo>
                  <a:lnTo>
                    <a:pt x="424" y="1180"/>
                  </a:lnTo>
                  <a:lnTo>
                    <a:pt x="424" y="1180"/>
                  </a:lnTo>
                  <a:lnTo>
                    <a:pt x="426" y="1180"/>
                  </a:lnTo>
                  <a:lnTo>
                    <a:pt x="426" y="1178"/>
                  </a:lnTo>
                  <a:lnTo>
                    <a:pt x="426" y="1178"/>
                  </a:lnTo>
                  <a:lnTo>
                    <a:pt x="426" y="1178"/>
                  </a:lnTo>
                  <a:lnTo>
                    <a:pt x="428" y="1176"/>
                  </a:lnTo>
                  <a:lnTo>
                    <a:pt x="428" y="1176"/>
                  </a:lnTo>
                  <a:lnTo>
                    <a:pt x="428" y="1176"/>
                  </a:lnTo>
                  <a:lnTo>
                    <a:pt x="428" y="1174"/>
                  </a:lnTo>
                  <a:lnTo>
                    <a:pt x="428" y="1170"/>
                  </a:lnTo>
                  <a:lnTo>
                    <a:pt x="428" y="1168"/>
                  </a:lnTo>
                  <a:lnTo>
                    <a:pt x="428" y="1166"/>
                  </a:lnTo>
                  <a:lnTo>
                    <a:pt x="428" y="1166"/>
                  </a:lnTo>
                  <a:lnTo>
                    <a:pt x="428" y="1164"/>
                  </a:lnTo>
                  <a:lnTo>
                    <a:pt x="426" y="1162"/>
                  </a:lnTo>
                  <a:lnTo>
                    <a:pt x="426" y="1162"/>
                  </a:lnTo>
                  <a:lnTo>
                    <a:pt x="424" y="1162"/>
                  </a:lnTo>
                  <a:lnTo>
                    <a:pt x="424" y="1160"/>
                  </a:lnTo>
                  <a:lnTo>
                    <a:pt x="426" y="1158"/>
                  </a:lnTo>
                  <a:lnTo>
                    <a:pt x="426" y="1152"/>
                  </a:lnTo>
                  <a:lnTo>
                    <a:pt x="426" y="1150"/>
                  </a:lnTo>
                  <a:lnTo>
                    <a:pt x="426" y="1150"/>
                  </a:lnTo>
                  <a:lnTo>
                    <a:pt x="426" y="1150"/>
                  </a:lnTo>
                  <a:lnTo>
                    <a:pt x="426" y="1146"/>
                  </a:lnTo>
                  <a:lnTo>
                    <a:pt x="426" y="1146"/>
                  </a:lnTo>
                  <a:lnTo>
                    <a:pt x="426" y="1144"/>
                  </a:lnTo>
                  <a:lnTo>
                    <a:pt x="422" y="1136"/>
                  </a:lnTo>
                  <a:lnTo>
                    <a:pt x="420" y="1128"/>
                  </a:lnTo>
                  <a:lnTo>
                    <a:pt x="418" y="1120"/>
                  </a:lnTo>
                  <a:lnTo>
                    <a:pt x="418" y="1118"/>
                  </a:lnTo>
                  <a:lnTo>
                    <a:pt x="418" y="1114"/>
                  </a:lnTo>
                  <a:lnTo>
                    <a:pt x="420" y="1112"/>
                  </a:lnTo>
                  <a:lnTo>
                    <a:pt x="420" y="1108"/>
                  </a:lnTo>
                  <a:lnTo>
                    <a:pt x="422" y="1106"/>
                  </a:lnTo>
                  <a:lnTo>
                    <a:pt x="422" y="1104"/>
                  </a:lnTo>
                  <a:lnTo>
                    <a:pt x="424" y="1102"/>
                  </a:lnTo>
                  <a:lnTo>
                    <a:pt x="424" y="1102"/>
                  </a:lnTo>
                  <a:lnTo>
                    <a:pt x="424" y="1102"/>
                  </a:lnTo>
                  <a:lnTo>
                    <a:pt x="426" y="1100"/>
                  </a:lnTo>
                  <a:lnTo>
                    <a:pt x="426" y="1100"/>
                  </a:lnTo>
                  <a:lnTo>
                    <a:pt x="426" y="1100"/>
                  </a:lnTo>
                  <a:lnTo>
                    <a:pt x="428" y="1098"/>
                  </a:lnTo>
                  <a:lnTo>
                    <a:pt x="428" y="1098"/>
                  </a:lnTo>
                  <a:lnTo>
                    <a:pt x="428" y="1098"/>
                  </a:lnTo>
                  <a:lnTo>
                    <a:pt x="430" y="1094"/>
                  </a:lnTo>
                  <a:lnTo>
                    <a:pt x="430" y="1092"/>
                  </a:lnTo>
                  <a:lnTo>
                    <a:pt x="430" y="1090"/>
                  </a:lnTo>
                  <a:lnTo>
                    <a:pt x="432" y="1088"/>
                  </a:lnTo>
                  <a:lnTo>
                    <a:pt x="432" y="1088"/>
                  </a:lnTo>
                  <a:lnTo>
                    <a:pt x="432" y="1086"/>
                  </a:lnTo>
                  <a:lnTo>
                    <a:pt x="434" y="1084"/>
                  </a:lnTo>
                  <a:lnTo>
                    <a:pt x="434" y="1084"/>
                  </a:lnTo>
                  <a:lnTo>
                    <a:pt x="436" y="1084"/>
                  </a:lnTo>
                  <a:lnTo>
                    <a:pt x="438" y="1082"/>
                  </a:lnTo>
                  <a:lnTo>
                    <a:pt x="438" y="1082"/>
                  </a:lnTo>
                  <a:lnTo>
                    <a:pt x="438" y="1082"/>
                  </a:lnTo>
                  <a:lnTo>
                    <a:pt x="440" y="1080"/>
                  </a:lnTo>
                  <a:lnTo>
                    <a:pt x="440" y="1080"/>
                  </a:lnTo>
                  <a:lnTo>
                    <a:pt x="440" y="1080"/>
                  </a:lnTo>
                  <a:lnTo>
                    <a:pt x="440" y="1078"/>
                  </a:lnTo>
                  <a:lnTo>
                    <a:pt x="440" y="1078"/>
                  </a:lnTo>
                  <a:lnTo>
                    <a:pt x="440" y="1076"/>
                  </a:lnTo>
                  <a:lnTo>
                    <a:pt x="440" y="1074"/>
                  </a:lnTo>
                  <a:lnTo>
                    <a:pt x="440" y="1074"/>
                  </a:lnTo>
                  <a:lnTo>
                    <a:pt x="440" y="1074"/>
                  </a:lnTo>
                  <a:lnTo>
                    <a:pt x="440" y="1072"/>
                  </a:lnTo>
                  <a:lnTo>
                    <a:pt x="438" y="1066"/>
                  </a:lnTo>
                  <a:lnTo>
                    <a:pt x="438" y="1066"/>
                  </a:lnTo>
                  <a:lnTo>
                    <a:pt x="436" y="1064"/>
                  </a:lnTo>
                  <a:lnTo>
                    <a:pt x="434" y="1064"/>
                  </a:lnTo>
                  <a:lnTo>
                    <a:pt x="432" y="1062"/>
                  </a:lnTo>
                  <a:lnTo>
                    <a:pt x="432" y="1062"/>
                  </a:lnTo>
                  <a:lnTo>
                    <a:pt x="432" y="1062"/>
                  </a:lnTo>
                  <a:lnTo>
                    <a:pt x="430" y="1060"/>
                  </a:lnTo>
                  <a:lnTo>
                    <a:pt x="430" y="1058"/>
                  </a:lnTo>
                  <a:lnTo>
                    <a:pt x="430" y="1056"/>
                  </a:lnTo>
                  <a:lnTo>
                    <a:pt x="430" y="1054"/>
                  </a:lnTo>
                  <a:lnTo>
                    <a:pt x="430" y="1050"/>
                  </a:lnTo>
                  <a:lnTo>
                    <a:pt x="430" y="1050"/>
                  </a:lnTo>
                  <a:lnTo>
                    <a:pt x="428" y="1048"/>
                  </a:lnTo>
                  <a:lnTo>
                    <a:pt x="426" y="1048"/>
                  </a:lnTo>
                  <a:lnTo>
                    <a:pt x="424" y="1048"/>
                  </a:lnTo>
                  <a:lnTo>
                    <a:pt x="422" y="1048"/>
                  </a:lnTo>
                  <a:lnTo>
                    <a:pt x="420" y="1046"/>
                  </a:lnTo>
                  <a:lnTo>
                    <a:pt x="420" y="1046"/>
                  </a:lnTo>
                  <a:lnTo>
                    <a:pt x="420" y="1046"/>
                  </a:lnTo>
                  <a:lnTo>
                    <a:pt x="420" y="1044"/>
                  </a:lnTo>
                  <a:lnTo>
                    <a:pt x="418" y="1042"/>
                  </a:lnTo>
                  <a:lnTo>
                    <a:pt x="418" y="1042"/>
                  </a:lnTo>
                  <a:lnTo>
                    <a:pt x="416" y="1042"/>
                  </a:lnTo>
                  <a:lnTo>
                    <a:pt x="414" y="1040"/>
                  </a:lnTo>
                  <a:lnTo>
                    <a:pt x="410" y="1038"/>
                  </a:lnTo>
                  <a:lnTo>
                    <a:pt x="404" y="1034"/>
                  </a:lnTo>
                  <a:lnTo>
                    <a:pt x="404" y="1034"/>
                  </a:lnTo>
                  <a:lnTo>
                    <a:pt x="404" y="1034"/>
                  </a:lnTo>
                  <a:lnTo>
                    <a:pt x="400" y="1032"/>
                  </a:lnTo>
                  <a:lnTo>
                    <a:pt x="402" y="1032"/>
                  </a:lnTo>
                  <a:lnTo>
                    <a:pt x="400" y="1032"/>
                  </a:lnTo>
                  <a:lnTo>
                    <a:pt x="400" y="1032"/>
                  </a:lnTo>
                  <a:lnTo>
                    <a:pt x="400" y="1032"/>
                  </a:lnTo>
                  <a:lnTo>
                    <a:pt x="400" y="1030"/>
                  </a:lnTo>
                  <a:lnTo>
                    <a:pt x="400" y="1030"/>
                  </a:lnTo>
                  <a:lnTo>
                    <a:pt x="400" y="1028"/>
                  </a:lnTo>
                  <a:lnTo>
                    <a:pt x="400" y="1026"/>
                  </a:lnTo>
                  <a:lnTo>
                    <a:pt x="400" y="1026"/>
                  </a:lnTo>
                  <a:lnTo>
                    <a:pt x="400" y="1024"/>
                  </a:lnTo>
                  <a:lnTo>
                    <a:pt x="402" y="1024"/>
                  </a:lnTo>
                  <a:lnTo>
                    <a:pt x="404" y="1022"/>
                  </a:lnTo>
                  <a:lnTo>
                    <a:pt x="408" y="1020"/>
                  </a:lnTo>
                  <a:lnTo>
                    <a:pt x="408" y="1020"/>
                  </a:lnTo>
                  <a:lnTo>
                    <a:pt x="408" y="1020"/>
                  </a:lnTo>
                  <a:lnTo>
                    <a:pt x="410" y="1018"/>
                  </a:lnTo>
                  <a:lnTo>
                    <a:pt x="410" y="1018"/>
                  </a:lnTo>
                  <a:lnTo>
                    <a:pt x="410" y="1018"/>
                  </a:lnTo>
                  <a:lnTo>
                    <a:pt x="412" y="1018"/>
                  </a:lnTo>
                  <a:lnTo>
                    <a:pt x="412" y="1018"/>
                  </a:lnTo>
                  <a:lnTo>
                    <a:pt x="412" y="1016"/>
                  </a:lnTo>
                  <a:lnTo>
                    <a:pt x="414" y="1014"/>
                  </a:lnTo>
                  <a:lnTo>
                    <a:pt x="414" y="1014"/>
                  </a:lnTo>
                  <a:lnTo>
                    <a:pt x="414" y="1012"/>
                  </a:lnTo>
                  <a:lnTo>
                    <a:pt x="414" y="1010"/>
                  </a:lnTo>
                  <a:lnTo>
                    <a:pt x="414" y="1006"/>
                  </a:lnTo>
                  <a:lnTo>
                    <a:pt x="416" y="1004"/>
                  </a:lnTo>
                  <a:lnTo>
                    <a:pt x="416" y="1002"/>
                  </a:lnTo>
                  <a:lnTo>
                    <a:pt x="416" y="1002"/>
                  </a:lnTo>
                  <a:lnTo>
                    <a:pt x="416" y="1000"/>
                  </a:lnTo>
                  <a:lnTo>
                    <a:pt x="416" y="998"/>
                  </a:lnTo>
                  <a:lnTo>
                    <a:pt x="416" y="994"/>
                  </a:lnTo>
                  <a:lnTo>
                    <a:pt x="416" y="990"/>
                  </a:lnTo>
                  <a:lnTo>
                    <a:pt x="416" y="990"/>
                  </a:lnTo>
                  <a:lnTo>
                    <a:pt x="416" y="990"/>
                  </a:lnTo>
                  <a:lnTo>
                    <a:pt x="416" y="990"/>
                  </a:lnTo>
                  <a:lnTo>
                    <a:pt x="416" y="990"/>
                  </a:lnTo>
                  <a:lnTo>
                    <a:pt x="420" y="992"/>
                  </a:lnTo>
                  <a:lnTo>
                    <a:pt x="422" y="994"/>
                  </a:lnTo>
                  <a:lnTo>
                    <a:pt x="424" y="994"/>
                  </a:lnTo>
                  <a:lnTo>
                    <a:pt x="426" y="996"/>
                  </a:lnTo>
                  <a:lnTo>
                    <a:pt x="426" y="996"/>
                  </a:lnTo>
                  <a:lnTo>
                    <a:pt x="426" y="996"/>
                  </a:lnTo>
                  <a:lnTo>
                    <a:pt x="428" y="996"/>
                  </a:lnTo>
                  <a:lnTo>
                    <a:pt x="428" y="996"/>
                  </a:lnTo>
                  <a:lnTo>
                    <a:pt x="428" y="996"/>
                  </a:lnTo>
                  <a:lnTo>
                    <a:pt x="430" y="996"/>
                  </a:lnTo>
                  <a:lnTo>
                    <a:pt x="430" y="996"/>
                  </a:lnTo>
                  <a:lnTo>
                    <a:pt x="430" y="996"/>
                  </a:lnTo>
                  <a:lnTo>
                    <a:pt x="432" y="996"/>
                  </a:lnTo>
                  <a:lnTo>
                    <a:pt x="432" y="996"/>
                  </a:lnTo>
                  <a:lnTo>
                    <a:pt x="432" y="994"/>
                  </a:lnTo>
                  <a:lnTo>
                    <a:pt x="432" y="994"/>
                  </a:lnTo>
                  <a:lnTo>
                    <a:pt x="432" y="994"/>
                  </a:lnTo>
                  <a:lnTo>
                    <a:pt x="434" y="994"/>
                  </a:lnTo>
                  <a:lnTo>
                    <a:pt x="434" y="992"/>
                  </a:lnTo>
                  <a:lnTo>
                    <a:pt x="434" y="992"/>
                  </a:lnTo>
                  <a:lnTo>
                    <a:pt x="434" y="992"/>
                  </a:lnTo>
                  <a:lnTo>
                    <a:pt x="434" y="990"/>
                  </a:lnTo>
                  <a:lnTo>
                    <a:pt x="434" y="988"/>
                  </a:lnTo>
                  <a:lnTo>
                    <a:pt x="436" y="986"/>
                  </a:lnTo>
                  <a:lnTo>
                    <a:pt x="436" y="984"/>
                  </a:lnTo>
                  <a:lnTo>
                    <a:pt x="438" y="980"/>
                  </a:lnTo>
                  <a:lnTo>
                    <a:pt x="438" y="978"/>
                  </a:lnTo>
                  <a:lnTo>
                    <a:pt x="440" y="978"/>
                  </a:lnTo>
                  <a:lnTo>
                    <a:pt x="442" y="976"/>
                  </a:lnTo>
                  <a:lnTo>
                    <a:pt x="444" y="976"/>
                  </a:lnTo>
                  <a:lnTo>
                    <a:pt x="444" y="976"/>
                  </a:lnTo>
                  <a:lnTo>
                    <a:pt x="444" y="976"/>
                  </a:lnTo>
                  <a:lnTo>
                    <a:pt x="446" y="974"/>
                  </a:lnTo>
                  <a:lnTo>
                    <a:pt x="446" y="974"/>
                  </a:lnTo>
                  <a:lnTo>
                    <a:pt x="446" y="974"/>
                  </a:lnTo>
                  <a:lnTo>
                    <a:pt x="448" y="972"/>
                  </a:lnTo>
                  <a:lnTo>
                    <a:pt x="448" y="972"/>
                  </a:lnTo>
                  <a:lnTo>
                    <a:pt x="448" y="972"/>
                  </a:lnTo>
                  <a:lnTo>
                    <a:pt x="448" y="970"/>
                  </a:lnTo>
                  <a:lnTo>
                    <a:pt x="448" y="970"/>
                  </a:lnTo>
                  <a:lnTo>
                    <a:pt x="448" y="970"/>
                  </a:lnTo>
                  <a:lnTo>
                    <a:pt x="448" y="968"/>
                  </a:lnTo>
                  <a:lnTo>
                    <a:pt x="450" y="968"/>
                  </a:lnTo>
                  <a:lnTo>
                    <a:pt x="454" y="966"/>
                  </a:lnTo>
                  <a:lnTo>
                    <a:pt x="458" y="964"/>
                  </a:lnTo>
                  <a:lnTo>
                    <a:pt x="462" y="960"/>
                  </a:lnTo>
                  <a:lnTo>
                    <a:pt x="464" y="960"/>
                  </a:lnTo>
                  <a:lnTo>
                    <a:pt x="466" y="958"/>
                  </a:lnTo>
                  <a:lnTo>
                    <a:pt x="470" y="956"/>
                  </a:lnTo>
                  <a:lnTo>
                    <a:pt x="476" y="956"/>
                  </a:lnTo>
                  <a:lnTo>
                    <a:pt x="482" y="954"/>
                  </a:lnTo>
                  <a:lnTo>
                    <a:pt x="486" y="954"/>
                  </a:lnTo>
                  <a:lnTo>
                    <a:pt x="490" y="954"/>
                  </a:lnTo>
                  <a:lnTo>
                    <a:pt x="492" y="954"/>
                  </a:lnTo>
                  <a:lnTo>
                    <a:pt x="496" y="956"/>
                  </a:lnTo>
                  <a:lnTo>
                    <a:pt x="502" y="958"/>
                  </a:lnTo>
                  <a:lnTo>
                    <a:pt x="506" y="960"/>
                  </a:lnTo>
                  <a:lnTo>
                    <a:pt x="506" y="960"/>
                  </a:lnTo>
                  <a:lnTo>
                    <a:pt x="506" y="960"/>
                  </a:lnTo>
                  <a:lnTo>
                    <a:pt x="508" y="960"/>
                  </a:lnTo>
                  <a:lnTo>
                    <a:pt x="510" y="962"/>
                  </a:lnTo>
                  <a:lnTo>
                    <a:pt x="510" y="962"/>
                  </a:lnTo>
                  <a:lnTo>
                    <a:pt x="512" y="962"/>
                  </a:lnTo>
                  <a:lnTo>
                    <a:pt x="514" y="966"/>
                  </a:lnTo>
                  <a:lnTo>
                    <a:pt x="516" y="966"/>
                  </a:lnTo>
                  <a:lnTo>
                    <a:pt x="518" y="968"/>
                  </a:lnTo>
                  <a:lnTo>
                    <a:pt x="518" y="968"/>
                  </a:lnTo>
                  <a:lnTo>
                    <a:pt x="518" y="970"/>
                  </a:lnTo>
                  <a:lnTo>
                    <a:pt x="522" y="970"/>
                  </a:lnTo>
                  <a:lnTo>
                    <a:pt x="524" y="972"/>
                  </a:lnTo>
                  <a:lnTo>
                    <a:pt x="530" y="974"/>
                  </a:lnTo>
                  <a:lnTo>
                    <a:pt x="536" y="976"/>
                  </a:lnTo>
                  <a:lnTo>
                    <a:pt x="540" y="978"/>
                  </a:lnTo>
                  <a:lnTo>
                    <a:pt x="544" y="980"/>
                  </a:lnTo>
                  <a:lnTo>
                    <a:pt x="544" y="980"/>
                  </a:lnTo>
                  <a:lnTo>
                    <a:pt x="546" y="978"/>
                  </a:lnTo>
                  <a:lnTo>
                    <a:pt x="548" y="976"/>
                  </a:lnTo>
                  <a:lnTo>
                    <a:pt x="552" y="976"/>
                  </a:lnTo>
                  <a:lnTo>
                    <a:pt x="558" y="974"/>
                  </a:lnTo>
                  <a:lnTo>
                    <a:pt x="560" y="972"/>
                  </a:lnTo>
                  <a:lnTo>
                    <a:pt x="562" y="972"/>
                  </a:lnTo>
                  <a:lnTo>
                    <a:pt x="566" y="970"/>
                  </a:lnTo>
                  <a:lnTo>
                    <a:pt x="570" y="970"/>
                  </a:lnTo>
                  <a:lnTo>
                    <a:pt x="572" y="972"/>
                  </a:lnTo>
                  <a:lnTo>
                    <a:pt x="576" y="972"/>
                  </a:lnTo>
                  <a:lnTo>
                    <a:pt x="580" y="974"/>
                  </a:lnTo>
                  <a:lnTo>
                    <a:pt x="582" y="976"/>
                  </a:lnTo>
                  <a:lnTo>
                    <a:pt x="586" y="976"/>
                  </a:lnTo>
                  <a:lnTo>
                    <a:pt x="590" y="978"/>
                  </a:lnTo>
                  <a:lnTo>
                    <a:pt x="596" y="980"/>
                  </a:lnTo>
                  <a:lnTo>
                    <a:pt x="600" y="982"/>
                  </a:lnTo>
                  <a:lnTo>
                    <a:pt x="600" y="982"/>
                  </a:lnTo>
                  <a:lnTo>
                    <a:pt x="600" y="982"/>
                  </a:lnTo>
                  <a:lnTo>
                    <a:pt x="604" y="982"/>
                  </a:lnTo>
                  <a:lnTo>
                    <a:pt x="606" y="982"/>
                  </a:lnTo>
                  <a:lnTo>
                    <a:pt x="612" y="980"/>
                  </a:lnTo>
                  <a:lnTo>
                    <a:pt x="616" y="980"/>
                  </a:lnTo>
                  <a:lnTo>
                    <a:pt x="618" y="980"/>
                  </a:lnTo>
                  <a:lnTo>
                    <a:pt x="622" y="978"/>
                  </a:lnTo>
                  <a:lnTo>
                    <a:pt x="624" y="978"/>
                  </a:lnTo>
                  <a:lnTo>
                    <a:pt x="624" y="978"/>
                  </a:lnTo>
                  <a:lnTo>
                    <a:pt x="624" y="978"/>
                  </a:lnTo>
                  <a:lnTo>
                    <a:pt x="626" y="976"/>
                  </a:lnTo>
                  <a:lnTo>
                    <a:pt x="626" y="976"/>
                  </a:lnTo>
                  <a:lnTo>
                    <a:pt x="628" y="974"/>
                  </a:lnTo>
                  <a:lnTo>
                    <a:pt x="628" y="972"/>
                  </a:lnTo>
                  <a:lnTo>
                    <a:pt x="628" y="972"/>
                  </a:lnTo>
                  <a:lnTo>
                    <a:pt x="630" y="972"/>
                  </a:lnTo>
                  <a:lnTo>
                    <a:pt x="630" y="968"/>
                  </a:lnTo>
                  <a:lnTo>
                    <a:pt x="630" y="968"/>
                  </a:lnTo>
                  <a:lnTo>
                    <a:pt x="630" y="968"/>
                  </a:lnTo>
                  <a:lnTo>
                    <a:pt x="630" y="966"/>
                  </a:lnTo>
                  <a:lnTo>
                    <a:pt x="630" y="966"/>
                  </a:lnTo>
                  <a:lnTo>
                    <a:pt x="630" y="964"/>
                  </a:lnTo>
                  <a:lnTo>
                    <a:pt x="628" y="964"/>
                  </a:lnTo>
                  <a:lnTo>
                    <a:pt x="628" y="964"/>
                  </a:lnTo>
                  <a:lnTo>
                    <a:pt x="628" y="962"/>
                  </a:lnTo>
                  <a:lnTo>
                    <a:pt x="626" y="960"/>
                  </a:lnTo>
                  <a:lnTo>
                    <a:pt x="624" y="958"/>
                  </a:lnTo>
                  <a:lnTo>
                    <a:pt x="618" y="954"/>
                  </a:lnTo>
                  <a:lnTo>
                    <a:pt x="614" y="950"/>
                  </a:lnTo>
                  <a:lnTo>
                    <a:pt x="612" y="948"/>
                  </a:lnTo>
                  <a:lnTo>
                    <a:pt x="614" y="948"/>
                  </a:lnTo>
                  <a:lnTo>
                    <a:pt x="614" y="948"/>
                  </a:lnTo>
                  <a:lnTo>
                    <a:pt x="614" y="946"/>
                  </a:lnTo>
                  <a:lnTo>
                    <a:pt x="618" y="942"/>
                  </a:lnTo>
                  <a:lnTo>
                    <a:pt x="618" y="942"/>
                  </a:lnTo>
                  <a:lnTo>
                    <a:pt x="618" y="942"/>
                  </a:lnTo>
                  <a:lnTo>
                    <a:pt x="620" y="938"/>
                  </a:lnTo>
                  <a:lnTo>
                    <a:pt x="620" y="938"/>
                  </a:lnTo>
                  <a:lnTo>
                    <a:pt x="622" y="936"/>
                  </a:lnTo>
                  <a:lnTo>
                    <a:pt x="622" y="934"/>
                  </a:lnTo>
                  <a:lnTo>
                    <a:pt x="622" y="934"/>
                  </a:lnTo>
                  <a:lnTo>
                    <a:pt x="622" y="934"/>
                  </a:lnTo>
                  <a:lnTo>
                    <a:pt x="622" y="932"/>
                  </a:lnTo>
                  <a:lnTo>
                    <a:pt x="624" y="928"/>
                  </a:lnTo>
                  <a:lnTo>
                    <a:pt x="626" y="924"/>
                  </a:lnTo>
                  <a:lnTo>
                    <a:pt x="628" y="920"/>
                  </a:lnTo>
                  <a:lnTo>
                    <a:pt x="628" y="918"/>
                  </a:lnTo>
                  <a:lnTo>
                    <a:pt x="628" y="914"/>
                  </a:lnTo>
                  <a:lnTo>
                    <a:pt x="628" y="910"/>
                  </a:lnTo>
                  <a:lnTo>
                    <a:pt x="628" y="906"/>
                  </a:lnTo>
                  <a:lnTo>
                    <a:pt x="628" y="902"/>
                  </a:lnTo>
                  <a:lnTo>
                    <a:pt x="630" y="902"/>
                  </a:lnTo>
                  <a:lnTo>
                    <a:pt x="630" y="900"/>
                  </a:lnTo>
                  <a:lnTo>
                    <a:pt x="632" y="900"/>
                  </a:lnTo>
                  <a:lnTo>
                    <a:pt x="634" y="898"/>
                  </a:lnTo>
                  <a:lnTo>
                    <a:pt x="638" y="898"/>
                  </a:lnTo>
                  <a:lnTo>
                    <a:pt x="642" y="898"/>
                  </a:lnTo>
                  <a:lnTo>
                    <a:pt x="646" y="898"/>
                  </a:lnTo>
                  <a:lnTo>
                    <a:pt x="652" y="898"/>
                  </a:lnTo>
                  <a:lnTo>
                    <a:pt x="658" y="896"/>
                  </a:lnTo>
                  <a:lnTo>
                    <a:pt x="660" y="896"/>
                  </a:lnTo>
                  <a:lnTo>
                    <a:pt x="664" y="896"/>
                  </a:lnTo>
                  <a:lnTo>
                    <a:pt x="668" y="894"/>
                  </a:lnTo>
                  <a:lnTo>
                    <a:pt x="672" y="894"/>
                  </a:lnTo>
                  <a:lnTo>
                    <a:pt x="678" y="894"/>
                  </a:lnTo>
                  <a:lnTo>
                    <a:pt x="678" y="894"/>
                  </a:lnTo>
                  <a:lnTo>
                    <a:pt x="678" y="894"/>
                  </a:lnTo>
                  <a:lnTo>
                    <a:pt x="680" y="892"/>
                  </a:lnTo>
                  <a:lnTo>
                    <a:pt x="680" y="892"/>
                  </a:lnTo>
                  <a:lnTo>
                    <a:pt x="682" y="892"/>
                  </a:lnTo>
                  <a:lnTo>
                    <a:pt x="682" y="892"/>
                  </a:lnTo>
                  <a:lnTo>
                    <a:pt x="682" y="892"/>
                  </a:lnTo>
                  <a:lnTo>
                    <a:pt x="684" y="890"/>
                  </a:lnTo>
                  <a:lnTo>
                    <a:pt x="684" y="890"/>
                  </a:lnTo>
                  <a:lnTo>
                    <a:pt x="686" y="888"/>
                  </a:lnTo>
                  <a:lnTo>
                    <a:pt x="688" y="886"/>
                  </a:lnTo>
                  <a:lnTo>
                    <a:pt x="688" y="886"/>
                  </a:lnTo>
                  <a:lnTo>
                    <a:pt x="690" y="886"/>
                  </a:lnTo>
                  <a:lnTo>
                    <a:pt x="690" y="886"/>
                  </a:lnTo>
                  <a:lnTo>
                    <a:pt x="692" y="884"/>
                  </a:lnTo>
                  <a:lnTo>
                    <a:pt x="696" y="884"/>
                  </a:lnTo>
                  <a:lnTo>
                    <a:pt x="698" y="884"/>
                  </a:lnTo>
                  <a:lnTo>
                    <a:pt x="702" y="882"/>
                  </a:lnTo>
                  <a:lnTo>
                    <a:pt x="706" y="882"/>
                  </a:lnTo>
                  <a:lnTo>
                    <a:pt x="712" y="880"/>
                  </a:lnTo>
                  <a:lnTo>
                    <a:pt x="718" y="878"/>
                  </a:lnTo>
                  <a:lnTo>
                    <a:pt x="720" y="880"/>
                  </a:lnTo>
                  <a:lnTo>
                    <a:pt x="722" y="878"/>
                  </a:lnTo>
                  <a:lnTo>
                    <a:pt x="724" y="876"/>
                  </a:lnTo>
                  <a:lnTo>
                    <a:pt x="730" y="874"/>
                  </a:lnTo>
                  <a:lnTo>
                    <a:pt x="734" y="874"/>
                  </a:lnTo>
                  <a:lnTo>
                    <a:pt x="738" y="872"/>
                  </a:lnTo>
                  <a:lnTo>
                    <a:pt x="742" y="870"/>
                  </a:lnTo>
                  <a:lnTo>
                    <a:pt x="744" y="870"/>
                  </a:lnTo>
                  <a:lnTo>
                    <a:pt x="748" y="868"/>
                  </a:lnTo>
                  <a:lnTo>
                    <a:pt x="748" y="868"/>
                  </a:lnTo>
                  <a:lnTo>
                    <a:pt x="750" y="872"/>
                  </a:lnTo>
                  <a:lnTo>
                    <a:pt x="754" y="876"/>
                  </a:lnTo>
                  <a:lnTo>
                    <a:pt x="758" y="880"/>
                  </a:lnTo>
                  <a:lnTo>
                    <a:pt x="762" y="884"/>
                  </a:lnTo>
                  <a:lnTo>
                    <a:pt x="764" y="888"/>
                  </a:lnTo>
                  <a:lnTo>
                    <a:pt x="766" y="890"/>
                  </a:lnTo>
                  <a:lnTo>
                    <a:pt x="766" y="890"/>
                  </a:lnTo>
                  <a:lnTo>
                    <a:pt x="766" y="890"/>
                  </a:lnTo>
                  <a:lnTo>
                    <a:pt x="768" y="890"/>
                  </a:lnTo>
                  <a:lnTo>
                    <a:pt x="768" y="890"/>
                  </a:lnTo>
                  <a:lnTo>
                    <a:pt x="768" y="890"/>
                  </a:lnTo>
                  <a:lnTo>
                    <a:pt x="770" y="890"/>
                  </a:lnTo>
                  <a:lnTo>
                    <a:pt x="770" y="890"/>
                  </a:lnTo>
                  <a:lnTo>
                    <a:pt x="772" y="892"/>
                  </a:lnTo>
                  <a:lnTo>
                    <a:pt x="772" y="892"/>
                  </a:lnTo>
                  <a:lnTo>
                    <a:pt x="772" y="890"/>
                  </a:lnTo>
                  <a:lnTo>
                    <a:pt x="774" y="890"/>
                  </a:lnTo>
                  <a:lnTo>
                    <a:pt x="774" y="890"/>
                  </a:lnTo>
                  <a:lnTo>
                    <a:pt x="776" y="890"/>
                  </a:lnTo>
                  <a:lnTo>
                    <a:pt x="778" y="888"/>
                  </a:lnTo>
                  <a:lnTo>
                    <a:pt x="780" y="886"/>
                  </a:lnTo>
                  <a:lnTo>
                    <a:pt x="782" y="884"/>
                  </a:lnTo>
                  <a:lnTo>
                    <a:pt x="782" y="884"/>
                  </a:lnTo>
                  <a:lnTo>
                    <a:pt x="784" y="884"/>
                  </a:lnTo>
                  <a:lnTo>
                    <a:pt x="784" y="882"/>
                  </a:lnTo>
                  <a:lnTo>
                    <a:pt x="788" y="882"/>
                  </a:lnTo>
                  <a:lnTo>
                    <a:pt x="790" y="884"/>
                  </a:lnTo>
                  <a:lnTo>
                    <a:pt x="794" y="886"/>
                  </a:lnTo>
                  <a:lnTo>
                    <a:pt x="800" y="888"/>
                  </a:lnTo>
                  <a:lnTo>
                    <a:pt x="806" y="890"/>
                  </a:lnTo>
                  <a:lnTo>
                    <a:pt x="810" y="892"/>
                  </a:lnTo>
                  <a:lnTo>
                    <a:pt x="816" y="896"/>
                  </a:lnTo>
                  <a:lnTo>
                    <a:pt x="818" y="898"/>
                  </a:lnTo>
                  <a:lnTo>
                    <a:pt x="822" y="900"/>
                  </a:lnTo>
                  <a:lnTo>
                    <a:pt x="822" y="902"/>
                  </a:lnTo>
                  <a:lnTo>
                    <a:pt x="824" y="902"/>
                  </a:lnTo>
                  <a:lnTo>
                    <a:pt x="824" y="904"/>
                  </a:lnTo>
                  <a:lnTo>
                    <a:pt x="822" y="904"/>
                  </a:lnTo>
                  <a:lnTo>
                    <a:pt x="822" y="906"/>
                  </a:lnTo>
                  <a:lnTo>
                    <a:pt x="822" y="908"/>
                  </a:lnTo>
                  <a:lnTo>
                    <a:pt x="822" y="908"/>
                  </a:lnTo>
                  <a:lnTo>
                    <a:pt x="822" y="908"/>
                  </a:lnTo>
                  <a:lnTo>
                    <a:pt x="822" y="910"/>
                  </a:lnTo>
                  <a:lnTo>
                    <a:pt x="822" y="910"/>
                  </a:lnTo>
                  <a:lnTo>
                    <a:pt x="824" y="912"/>
                  </a:lnTo>
                  <a:lnTo>
                    <a:pt x="824" y="912"/>
                  </a:lnTo>
                  <a:lnTo>
                    <a:pt x="824" y="912"/>
                  </a:lnTo>
                  <a:lnTo>
                    <a:pt x="826" y="912"/>
                  </a:lnTo>
                  <a:lnTo>
                    <a:pt x="828" y="912"/>
                  </a:lnTo>
                  <a:lnTo>
                    <a:pt x="828" y="912"/>
                  </a:lnTo>
                  <a:lnTo>
                    <a:pt x="828" y="912"/>
                  </a:lnTo>
                  <a:lnTo>
                    <a:pt x="830" y="912"/>
                  </a:lnTo>
                  <a:lnTo>
                    <a:pt x="832" y="910"/>
                  </a:lnTo>
                  <a:lnTo>
                    <a:pt x="834" y="908"/>
                  </a:lnTo>
                  <a:lnTo>
                    <a:pt x="838" y="906"/>
                  </a:lnTo>
                  <a:lnTo>
                    <a:pt x="844" y="902"/>
                  </a:lnTo>
                  <a:lnTo>
                    <a:pt x="846" y="900"/>
                  </a:lnTo>
                  <a:lnTo>
                    <a:pt x="850" y="898"/>
                  </a:lnTo>
                  <a:lnTo>
                    <a:pt x="856" y="894"/>
                  </a:lnTo>
                  <a:lnTo>
                    <a:pt x="858" y="894"/>
                  </a:lnTo>
                  <a:lnTo>
                    <a:pt x="862" y="892"/>
                  </a:lnTo>
                  <a:lnTo>
                    <a:pt x="864" y="892"/>
                  </a:lnTo>
                  <a:lnTo>
                    <a:pt x="864" y="892"/>
                  </a:lnTo>
                  <a:lnTo>
                    <a:pt x="866" y="892"/>
                  </a:lnTo>
                  <a:lnTo>
                    <a:pt x="866" y="892"/>
                  </a:lnTo>
                  <a:lnTo>
                    <a:pt x="866" y="894"/>
                  </a:lnTo>
                  <a:lnTo>
                    <a:pt x="866" y="896"/>
                  </a:lnTo>
                  <a:lnTo>
                    <a:pt x="866" y="902"/>
                  </a:lnTo>
                  <a:lnTo>
                    <a:pt x="866" y="902"/>
                  </a:lnTo>
                  <a:lnTo>
                    <a:pt x="866" y="902"/>
                  </a:lnTo>
                  <a:lnTo>
                    <a:pt x="868" y="906"/>
                  </a:lnTo>
                  <a:lnTo>
                    <a:pt x="868" y="906"/>
                  </a:lnTo>
                  <a:lnTo>
                    <a:pt x="868" y="906"/>
                  </a:lnTo>
                  <a:lnTo>
                    <a:pt x="870" y="908"/>
                  </a:lnTo>
                  <a:lnTo>
                    <a:pt x="870" y="908"/>
                  </a:lnTo>
                  <a:lnTo>
                    <a:pt x="870" y="908"/>
                  </a:lnTo>
                  <a:lnTo>
                    <a:pt x="872" y="910"/>
                  </a:lnTo>
                  <a:lnTo>
                    <a:pt x="872" y="910"/>
                  </a:lnTo>
                  <a:lnTo>
                    <a:pt x="872" y="910"/>
                  </a:lnTo>
                  <a:lnTo>
                    <a:pt x="874" y="912"/>
                  </a:lnTo>
                  <a:lnTo>
                    <a:pt x="880" y="916"/>
                  </a:lnTo>
                  <a:lnTo>
                    <a:pt x="886" y="918"/>
                  </a:lnTo>
                  <a:lnTo>
                    <a:pt x="888" y="920"/>
                  </a:lnTo>
                  <a:lnTo>
                    <a:pt x="890" y="922"/>
                  </a:lnTo>
                  <a:lnTo>
                    <a:pt x="890" y="922"/>
                  </a:lnTo>
                  <a:lnTo>
                    <a:pt x="894" y="928"/>
                  </a:lnTo>
                  <a:lnTo>
                    <a:pt x="898" y="932"/>
                  </a:lnTo>
                  <a:lnTo>
                    <a:pt x="900" y="938"/>
                  </a:lnTo>
                  <a:lnTo>
                    <a:pt x="902" y="942"/>
                  </a:lnTo>
                  <a:lnTo>
                    <a:pt x="904" y="944"/>
                  </a:lnTo>
                  <a:lnTo>
                    <a:pt x="904" y="948"/>
                  </a:lnTo>
                  <a:lnTo>
                    <a:pt x="904" y="954"/>
                  </a:lnTo>
                  <a:lnTo>
                    <a:pt x="906" y="958"/>
                  </a:lnTo>
                  <a:lnTo>
                    <a:pt x="906" y="960"/>
                  </a:lnTo>
                  <a:lnTo>
                    <a:pt x="906" y="964"/>
                  </a:lnTo>
                  <a:lnTo>
                    <a:pt x="906" y="968"/>
                  </a:lnTo>
                  <a:lnTo>
                    <a:pt x="908" y="970"/>
                  </a:lnTo>
                  <a:lnTo>
                    <a:pt x="908" y="970"/>
                  </a:lnTo>
                  <a:lnTo>
                    <a:pt x="908" y="970"/>
                  </a:lnTo>
                  <a:lnTo>
                    <a:pt x="910" y="972"/>
                  </a:lnTo>
                  <a:lnTo>
                    <a:pt x="910" y="972"/>
                  </a:lnTo>
                  <a:lnTo>
                    <a:pt x="910" y="974"/>
                  </a:lnTo>
                  <a:lnTo>
                    <a:pt x="912" y="976"/>
                  </a:lnTo>
                  <a:lnTo>
                    <a:pt x="912" y="976"/>
                  </a:lnTo>
                  <a:lnTo>
                    <a:pt x="914" y="976"/>
                  </a:lnTo>
                  <a:lnTo>
                    <a:pt x="914" y="976"/>
                  </a:lnTo>
                  <a:lnTo>
                    <a:pt x="914" y="976"/>
                  </a:lnTo>
                  <a:lnTo>
                    <a:pt x="916" y="976"/>
                  </a:lnTo>
                  <a:lnTo>
                    <a:pt x="918" y="974"/>
                  </a:lnTo>
                  <a:lnTo>
                    <a:pt x="920" y="974"/>
                  </a:lnTo>
                  <a:lnTo>
                    <a:pt x="922" y="972"/>
                  </a:lnTo>
                  <a:lnTo>
                    <a:pt x="924" y="970"/>
                  </a:lnTo>
                  <a:lnTo>
                    <a:pt x="926" y="970"/>
                  </a:lnTo>
                  <a:lnTo>
                    <a:pt x="926" y="970"/>
                  </a:lnTo>
                  <a:lnTo>
                    <a:pt x="928" y="970"/>
                  </a:lnTo>
                  <a:lnTo>
                    <a:pt x="930" y="970"/>
                  </a:lnTo>
                  <a:lnTo>
                    <a:pt x="932" y="970"/>
                  </a:lnTo>
                  <a:lnTo>
                    <a:pt x="934" y="970"/>
                  </a:lnTo>
                  <a:lnTo>
                    <a:pt x="938" y="974"/>
                  </a:lnTo>
                  <a:lnTo>
                    <a:pt x="942" y="976"/>
                  </a:lnTo>
                  <a:lnTo>
                    <a:pt x="942" y="976"/>
                  </a:lnTo>
                  <a:lnTo>
                    <a:pt x="942" y="976"/>
                  </a:lnTo>
                  <a:lnTo>
                    <a:pt x="944" y="978"/>
                  </a:lnTo>
                  <a:lnTo>
                    <a:pt x="944" y="978"/>
                  </a:lnTo>
                  <a:lnTo>
                    <a:pt x="946" y="978"/>
                  </a:lnTo>
                  <a:lnTo>
                    <a:pt x="948" y="978"/>
                  </a:lnTo>
                  <a:lnTo>
                    <a:pt x="948" y="978"/>
                  </a:lnTo>
                  <a:lnTo>
                    <a:pt x="948" y="978"/>
                  </a:lnTo>
                  <a:lnTo>
                    <a:pt x="952" y="978"/>
                  </a:lnTo>
                  <a:lnTo>
                    <a:pt x="952" y="978"/>
                  </a:lnTo>
                  <a:lnTo>
                    <a:pt x="956" y="978"/>
                  </a:lnTo>
                  <a:lnTo>
                    <a:pt x="958" y="976"/>
                  </a:lnTo>
                  <a:lnTo>
                    <a:pt x="962" y="976"/>
                  </a:lnTo>
                  <a:lnTo>
                    <a:pt x="964" y="974"/>
                  </a:lnTo>
                  <a:lnTo>
                    <a:pt x="966" y="974"/>
                  </a:lnTo>
                  <a:lnTo>
                    <a:pt x="970" y="974"/>
                  </a:lnTo>
                  <a:lnTo>
                    <a:pt x="972" y="974"/>
                  </a:lnTo>
                  <a:lnTo>
                    <a:pt x="974" y="976"/>
                  </a:lnTo>
                  <a:lnTo>
                    <a:pt x="976" y="978"/>
                  </a:lnTo>
                  <a:lnTo>
                    <a:pt x="980" y="982"/>
                  </a:lnTo>
                  <a:lnTo>
                    <a:pt x="982" y="986"/>
                  </a:lnTo>
                  <a:lnTo>
                    <a:pt x="986" y="990"/>
                  </a:lnTo>
                  <a:lnTo>
                    <a:pt x="990" y="994"/>
                  </a:lnTo>
                  <a:lnTo>
                    <a:pt x="992" y="996"/>
                  </a:lnTo>
                  <a:lnTo>
                    <a:pt x="996" y="998"/>
                  </a:lnTo>
                  <a:lnTo>
                    <a:pt x="998" y="1000"/>
                  </a:lnTo>
                  <a:lnTo>
                    <a:pt x="1000" y="1002"/>
                  </a:lnTo>
                  <a:lnTo>
                    <a:pt x="1002" y="1002"/>
                  </a:lnTo>
                  <a:lnTo>
                    <a:pt x="1002" y="1002"/>
                  </a:lnTo>
                  <a:lnTo>
                    <a:pt x="1002" y="1002"/>
                  </a:lnTo>
                  <a:lnTo>
                    <a:pt x="1004" y="1004"/>
                  </a:lnTo>
                  <a:lnTo>
                    <a:pt x="1006" y="1004"/>
                  </a:lnTo>
                  <a:lnTo>
                    <a:pt x="1008" y="1004"/>
                  </a:lnTo>
                  <a:lnTo>
                    <a:pt x="1012" y="1004"/>
                  </a:lnTo>
                  <a:lnTo>
                    <a:pt x="1014" y="1004"/>
                  </a:lnTo>
                  <a:lnTo>
                    <a:pt x="1018" y="1004"/>
                  </a:lnTo>
                  <a:lnTo>
                    <a:pt x="1024" y="1006"/>
                  </a:lnTo>
                  <a:lnTo>
                    <a:pt x="1028" y="1006"/>
                  </a:lnTo>
                  <a:lnTo>
                    <a:pt x="1034" y="1008"/>
                  </a:lnTo>
                  <a:lnTo>
                    <a:pt x="1040" y="1008"/>
                  </a:lnTo>
                  <a:lnTo>
                    <a:pt x="1044" y="1008"/>
                  </a:lnTo>
                  <a:lnTo>
                    <a:pt x="1050" y="1008"/>
                  </a:lnTo>
                  <a:lnTo>
                    <a:pt x="1050" y="1008"/>
                  </a:lnTo>
                  <a:lnTo>
                    <a:pt x="1052" y="1008"/>
                  </a:lnTo>
                  <a:lnTo>
                    <a:pt x="1052" y="1008"/>
                  </a:lnTo>
                  <a:lnTo>
                    <a:pt x="1052" y="1008"/>
                  </a:lnTo>
                  <a:lnTo>
                    <a:pt x="1054" y="1008"/>
                  </a:lnTo>
                  <a:lnTo>
                    <a:pt x="1054" y="1008"/>
                  </a:lnTo>
                  <a:lnTo>
                    <a:pt x="1054" y="1008"/>
                  </a:lnTo>
                  <a:lnTo>
                    <a:pt x="1054" y="1006"/>
                  </a:lnTo>
                  <a:lnTo>
                    <a:pt x="1054" y="1006"/>
                  </a:lnTo>
                  <a:lnTo>
                    <a:pt x="1056" y="1004"/>
                  </a:lnTo>
                  <a:lnTo>
                    <a:pt x="1056" y="1004"/>
                  </a:lnTo>
                  <a:lnTo>
                    <a:pt x="1056" y="1004"/>
                  </a:lnTo>
                  <a:lnTo>
                    <a:pt x="1054" y="1002"/>
                  </a:lnTo>
                  <a:lnTo>
                    <a:pt x="1054" y="1000"/>
                  </a:lnTo>
                  <a:lnTo>
                    <a:pt x="1052" y="998"/>
                  </a:lnTo>
                  <a:lnTo>
                    <a:pt x="1052" y="998"/>
                  </a:lnTo>
                  <a:lnTo>
                    <a:pt x="1052" y="998"/>
                  </a:lnTo>
                  <a:lnTo>
                    <a:pt x="1054" y="998"/>
                  </a:lnTo>
                  <a:lnTo>
                    <a:pt x="1058" y="998"/>
                  </a:lnTo>
                  <a:lnTo>
                    <a:pt x="1058" y="998"/>
                  </a:lnTo>
                  <a:lnTo>
                    <a:pt x="1060" y="998"/>
                  </a:lnTo>
                  <a:lnTo>
                    <a:pt x="1062" y="998"/>
                  </a:lnTo>
                  <a:lnTo>
                    <a:pt x="1064" y="998"/>
                  </a:lnTo>
                  <a:lnTo>
                    <a:pt x="1064" y="998"/>
                  </a:lnTo>
                  <a:lnTo>
                    <a:pt x="1064" y="998"/>
                  </a:lnTo>
                  <a:lnTo>
                    <a:pt x="1068" y="998"/>
                  </a:lnTo>
                  <a:lnTo>
                    <a:pt x="1068" y="998"/>
                  </a:lnTo>
                  <a:lnTo>
                    <a:pt x="1068" y="996"/>
                  </a:lnTo>
                  <a:lnTo>
                    <a:pt x="1070" y="996"/>
                  </a:lnTo>
                  <a:lnTo>
                    <a:pt x="1074" y="992"/>
                  </a:lnTo>
                  <a:lnTo>
                    <a:pt x="1076" y="990"/>
                  </a:lnTo>
                  <a:lnTo>
                    <a:pt x="1082" y="986"/>
                  </a:lnTo>
                  <a:lnTo>
                    <a:pt x="1084" y="984"/>
                  </a:lnTo>
                  <a:lnTo>
                    <a:pt x="1086" y="984"/>
                  </a:lnTo>
                  <a:lnTo>
                    <a:pt x="1092" y="982"/>
                  </a:lnTo>
                  <a:lnTo>
                    <a:pt x="1096" y="980"/>
                  </a:lnTo>
                  <a:lnTo>
                    <a:pt x="1102" y="978"/>
                  </a:lnTo>
                  <a:lnTo>
                    <a:pt x="1100" y="978"/>
                  </a:lnTo>
                  <a:lnTo>
                    <a:pt x="1102" y="978"/>
                  </a:lnTo>
                  <a:lnTo>
                    <a:pt x="1106" y="978"/>
                  </a:lnTo>
                  <a:lnTo>
                    <a:pt x="1108" y="978"/>
                  </a:lnTo>
                  <a:lnTo>
                    <a:pt x="1110" y="980"/>
                  </a:lnTo>
                  <a:lnTo>
                    <a:pt x="1118" y="982"/>
                  </a:lnTo>
                  <a:lnTo>
                    <a:pt x="1124" y="984"/>
                  </a:lnTo>
                  <a:lnTo>
                    <a:pt x="1128" y="986"/>
                  </a:lnTo>
                  <a:lnTo>
                    <a:pt x="1130" y="986"/>
                  </a:lnTo>
                  <a:lnTo>
                    <a:pt x="1132" y="988"/>
                  </a:lnTo>
                  <a:lnTo>
                    <a:pt x="1134" y="990"/>
                  </a:lnTo>
                  <a:lnTo>
                    <a:pt x="1138" y="994"/>
                  </a:lnTo>
                  <a:lnTo>
                    <a:pt x="1140" y="996"/>
                  </a:lnTo>
                  <a:lnTo>
                    <a:pt x="1142" y="998"/>
                  </a:lnTo>
                  <a:lnTo>
                    <a:pt x="1142" y="998"/>
                  </a:lnTo>
                  <a:lnTo>
                    <a:pt x="1142" y="998"/>
                  </a:lnTo>
                  <a:lnTo>
                    <a:pt x="1146" y="1000"/>
                  </a:lnTo>
                  <a:lnTo>
                    <a:pt x="1146" y="1000"/>
                  </a:lnTo>
                  <a:lnTo>
                    <a:pt x="1146" y="1000"/>
                  </a:lnTo>
                  <a:lnTo>
                    <a:pt x="1150" y="1002"/>
                  </a:lnTo>
                  <a:lnTo>
                    <a:pt x="1152" y="1002"/>
                  </a:lnTo>
                  <a:lnTo>
                    <a:pt x="1158" y="1002"/>
                  </a:lnTo>
                  <a:lnTo>
                    <a:pt x="1162" y="1004"/>
                  </a:lnTo>
                  <a:lnTo>
                    <a:pt x="1168" y="1004"/>
                  </a:lnTo>
                  <a:lnTo>
                    <a:pt x="1174" y="1002"/>
                  </a:lnTo>
                  <a:lnTo>
                    <a:pt x="1178" y="1002"/>
                  </a:lnTo>
                  <a:lnTo>
                    <a:pt x="1178" y="1002"/>
                  </a:lnTo>
                  <a:lnTo>
                    <a:pt x="1178" y="1002"/>
                  </a:lnTo>
                  <a:lnTo>
                    <a:pt x="1184" y="1000"/>
                  </a:lnTo>
                  <a:lnTo>
                    <a:pt x="1184" y="1000"/>
                  </a:lnTo>
                  <a:lnTo>
                    <a:pt x="1184" y="1000"/>
                  </a:lnTo>
                  <a:lnTo>
                    <a:pt x="1188" y="998"/>
                  </a:lnTo>
                  <a:lnTo>
                    <a:pt x="1188" y="998"/>
                  </a:lnTo>
                  <a:lnTo>
                    <a:pt x="1188" y="998"/>
                  </a:lnTo>
                  <a:lnTo>
                    <a:pt x="1190" y="996"/>
                  </a:lnTo>
                  <a:lnTo>
                    <a:pt x="1190" y="996"/>
                  </a:lnTo>
                  <a:lnTo>
                    <a:pt x="1190" y="996"/>
                  </a:lnTo>
                  <a:lnTo>
                    <a:pt x="1190" y="994"/>
                  </a:lnTo>
                  <a:lnTo>
                    <a:pt x="1190" y="994"/>
                  </a:lnTo>
                  <a:lnTo>
                    <a:pt x="1190" y="992"/>
                  </a:lnTo>
                  <a:lnTo>
                    <a:pt x="1192" y="990"/>
                  </a:lnTo>
                  <a:lnTo>
                    <a:pt x="1192" y="988"/>
                  </a:lnTo>
                  <a:lnTo>
                    <a:pt x="1192" y="982"/>
                  </a:lnTo>
                  <a:lnTo>
                    <a:pt x="1192" y="974"/>
                  </a:lnTo>
                  <a:lnTo>
                    <a:pt x="1194" y="968"/>
                  </a:lnTo>
                  <a:lnTo>
                    <a:pt x="1194" y="962"/>
                  </a:lnTo>
                  <a:lnTo>
                    <a:pt x="1194" y="960"/>
                  </a:lnTo>
                  <a:lnTo>
                    <a:pt x="1194" y="958"/>
                  </a:lnTo>
                  <a:lnTo>
                    <a:pt x="1196" y="956"/>
                  </a:lnTo>
                  <a:lnTo>
                    <a:pt x="1196" y="956"/>
                  </a:lnTo>
                  <a:lnTo>
                    <a:pt x="1200" y="954"/>
                  </a:lnTo>
                  <a:lnTo>
                    <a:pt x="1202" y="954"/>
                  </a:lnTo>
                  <a:lnTo>
                    <a:pt x="1208" y="954"/>
                  </a:lnTo>
                  <a:lnTo>
                    <a:pt x="1212" y="954"/>
                  </a:lnTo>
                  <a:lnTo>
                    <a:pt x="1218" y="954"/>
                  </a:lnTo>
                  <a:lnTo>
                    <a:pt x="1222" y="956"/>
                  </a:lnTo>
                  <a:lnTo>
                    <a:pt x="1228" y="956"/>
                  </a:lnTo>
                  <a:lnTo>
                    <a:pt x="1230" y="958"/>
                  </a:lnTo>
                  <a:lnTo>
                    <a:pt x="1234" y="958"/>
                  </a:lnTo>
                  <a:lnTo>
                    <a:pt x="1236" y="958"/>
                  </a:lnTo>
                  <a:lnTo>
                    <a:pt x="1242" y="960"/>
                  </a:lnTo>
                  <a:lnTo>
                    <a:pt x="1242" y="960"/>
                  </a:lnTo>
                  <a:lnTo>
                    <a:pt x="1246" y="962"/>
                  </a:lnTo>
                  <a:lnTo>
                    <a:pt x="1248" y="966"/>
                  </a:lnTo>
                  <a:lnTo>
                    <a:pt x="1250" y="968"/>
                  </a:lnTo>
                  <a:lnTo>
                    <a:pt x="1250" y="970"/>
                  </a:lnTo>
                  <a:lnTo>
                    <a:pt x="1252" y="972"/>
                  </a:lnTo>
                  <a:lnTo>
                    <a:pt x="1254" y="976"/>
                  </a:lnTo>
                  <a:lnTo>
                    <a:pt x="1254" y="980"/>
                  </a:lnTo>
                  <a:lnTo>
                    <a:pt x="1254" y="980"/>
                  </a:lnTo>
                  <a:lnTo>
                    <a:pt x="1256" y="980"/>
                  </a:lnTo>
                  <a:lnTo>
                    <a:pt x="1258" y="984"/>
                  </a:lnTo>
                  <a:lnTo>
                    <a:pt x="1258" y="984"/>
                  </a:lnTo>
                  <a:lnTo>
                    <a:pt x="1258" y="984"/>
                  </a:lnTo>
                  <a:lnTo>
                    <a:pt x="1260" y="986"/>
                  </a:lnTo>
                  <a:lnTo>
                    <a:pt x="1260" y="986"/>
                  </a:lnTo>
                  <a:lnTo>
                    <a:pt x="1260" y="988"/>
                  </a:lnTo>
                  <a:lnTo>
                    <a:pt x="1264" y="990"/>
                  </a:lnTo>
                  <a:lnTo>
                    <a:pt x="1264" y="990"/>
                  </a:lnTo>
                  <a:lnTo>
                    <a:pt x="1266" y="990"/>
                  </a:lnTo>
                  <a:lnTo>
                    <a:pt x="1270" y="990"/>
                  </a:lnTo>
                  <a:lnTo>
                    <a:pt x="1270" y="990"/>
                  </a:lnTo>
                  <a:lnTo>
                    <a:pt x="1270" y="990"/>
                  </a:lnTo>
                  <a:lnTo>
                    <a:pt x="1276" y="990"/>
                  </a:lnTo>
                  <a:lnTo>
                    <a:pt x="1284" y="990"/>
                  </a:lnTo>
                  <a:lnTo>
                    <a:pt x="1290" y="990"/>
                  </a:lnTo>
                  <a:lnTo>
                    <a:pt x="1298" y="988"/>
                  </a:lnTo>
                  <a:lnTo>
                    <a:pt x="1304" y="988"/>
                  </a:lnTo>
                  <a:lnTo>
                    <a:pt x="1310" y="988"/>
                  </a:lnTo>
                  <a:lnTo>
                    <a:pt x="1310" y="988"/>
                  </a:lnTo>
                  <a:lnTo>
                    <a:pt x="1316" y="990"/>
                  </a:lnTo>
                  <a:lnTo>
                    <a:pt x="1320" y="992"/>
                  </a:lnTo>
                  <a:lnTo>
                    <a:pt x="1322" y="994"/>
                  </a:lnTo>
                  <a:lnTo>
                    <a:pt x="1324" y="996"/>
                  </a:lnTo>
                  <a:lnTo>
                    <a:pt x="1328" y="1000"/>
                  </a:lnTo>
                  <a:lnTo>
                    <a:pt x="1330" y="1004"/>
                  </a:lnTo>
                  <a:lnTo>
                    <a:pt x="1332" y="1008"/>
                  </a:lnTo>
                  <a:lnTo>
                    <a:pt x="1332" y="1008"/>
                  </a:lnTo>
                  <a:lnTo>
                    <a:pt x="1332" y="1008"/>
                  </a:lnTo>
                  <a:lnTo>
                    <a:pt x="1336" y="1010"/>
                  </a:lnTo>
                  <a:lnTo>
                    <a:pt x="1336" y="1010"/>
                  </a:lnTo>
                  <a:lnTo>
                    <a:pt x="1336" y="1012"/>
                  </a:lnTo>
                  <a:lnTo>
                    <a:pt x="1340" y="1014"/>
                  </a:lnTo>
                  <a:lnTo>
                    <a:pt x="1340" y="1014"/>
                  </a:lnTo>
                  <a:lnTo>
                    <a:pt x="1340" y="1014"/>
                  </a:lnTo>
                  <a:lnTo>
                    <a:pt x="1346" y="1014"/>
                  </a:lnTo>
                  <a:lnTo>
                    <a:pt x="1352" y="1016"/>
                  </a:lnTo>
                  <a:lnTo>
                    <a:pt x="1358" y="1016"/>
                  </a:lnTo>
                  <a:lnTo>
                    <a:pt x="1364" y="1016"/>
                  </a:lnTo>
                  <a:lnTo>
                    <a:pt x="1378" y="1016"/>
                  </a:lnTo>
                  <a:lnTo>
                    <a:pt x="1384" y="1014"/>
                  </a:lnTo>
                  <a:lnTo>
                    <a:pt x="1390" y="1014"/>
                  </a:lnTo>
                  <a:lnTo>
                    <a:pt x="1398" y="1012"/>
                  </a:lnTo>
                  <a:lnTo>
                    <a:pt x="1404" y="1008"/>
                  </a:lnTo>
                  <a:lnTo>
                    <a:pt x="1412" y="1006"/>
                  </a:lnTo>
                  <a:lnTo>
                    <a:pt x="1418" y="1002"/>
                  </a:lnTo>
                  <a:lnTo>
                    <a:pt x="1426" y="998"/>
                  </a:lnTo>
                  <a:lnTo>
                    <a:pt x="1432" y="996"/>
                  </a:lnTo>
                  <a:lnTo>
                    <a:pt x="1438" y="994"/>
                  </a:lnTo>
                  <a:lnTo>
                    <a:pt x="1442" y="992"/>
                  </a:lnTo>
                  <a:lnTo>
                    <a:pt x="1442" y="992"/>
                  </a:lnTo>
                  <a:lnTo>
                    <a:pt x="1446" y="992"/>
                  </a:lnTo>
                  <a:lnTo>
                    <a:pt x="1448" y="992"/>
                  </a:lnTo>
                  <a:lnTo>
                    <a:pt x="1450" y="992"/>
                  </a:lnTo>
                  <a:lnTo>
                    <a:pt x="1450" y="994"/>
                  </a:lnTo>
                  <a:lnTo>
                    <a:pt x="1452" y="996"/>
                  </a:lnTo>
                  <a:lnTo>
                    <a:pt x="1454" y="996"/>
                  </a:lnTo>
                  <a:lnTo>
                    <a:pt x="1454" y="996"/>
                  </a:lnTo>
                  <a:lnTo>
                    <a:pt x="1454" y="996"/>
                  </a:lnTo>
                  <a:lnTo>
                    <a:pt x="1456" y="998"/>
                  </a:lnTo>
                  <a:lnTo>
                    <a:pt x="1456" y="998"/>
                  </a:lnTo>
                  <a:lnTo>
                    <a:pt x="1458" y="998"/>
                  </a:lnTo>
                  <a:lnTo>
                    <a:pt x="1460" y="998"/>
                  </a:lnTo>
                  <a:lnTo>
                    <a:pt x="1464" y="998"/>
                  </a:lnTo>
                  <a:lnTo>
                    <a:pt x="1468" y="1000"/>
                  </a:lnTo>
                  <a:lnTo>
                    <a:pt x="1478" y="1000"/>
                  </a:lnTo>
                  <a:lnTo>
                    <a:pt x="1488" y="1000"/>
                  </a:lnTo>
                  <a:lnTo>
                    <a:pt x="1492" y="998"/>
                  </a:lnTo>
                  <a:lnTo>
                    <a:pt x="1496" y="998"/>
                  </a:lnTo>
                  <a:lnTo>
                    <a:pt x="1498" y="998"/>
                  </a:lnTo>
                  <a:lnTo>
                    <a:pt x="1500" y="998"/>
                  </a:lnTo>
                  <a:lnTo>
                    <a:pt x="1502" y="996"/>
                  </a:lnTo>
                  <a:lnTo>
                    <a:pt x="1504" y="996"/>
                  </a:lnTo>
                  <a:lnTo>
                    <a:pt x="1504" y="996"/>
                  </a:lnTo>
                  <a:lnTo>
                    <a:pt x="1504" y="996"/>
                  </a:lnTo>
                  <a:lnTo>
                    <a:pt x="1506" y="994"/>
                  </a:lnTo>
                  <a:lnTo>
                    <a:pt x="1506" y="994"/>
                  </a:lnTo>
                  <a:lnTo>
                    <a:pt x="1506" y="994"/>
                  </a:lnTo>
                  <a:lnTo>
                    <a:pt x="1508" y="992"/>
                  </a:lnTo>
                  <a:lnTo>
                    <a:pt x="1510" y="990"/>
                  </a:lnTo>
                  <a:lnTo>
                    <a:pt x="1512" y="988"/>
                  </a:lnTo>
                  <a:lnTo>
                    <a:pt x="1514" y="984"/>
                  </a:lnTo>
                  <a:lnTo>
                    <a:pt x="1516" y="980"/>
                  </a:lnTo>
                  <a:lnTo>
                    <a:pt x="1518" y="974"/>
                  </a:lnTo>
                  <a:lnTo>
                    <a:pt x="1522" y="970"/>
                  </a:lnTo>
                  <a:lnTo>
                    <a:pt x="1524" y="964"/>
                  </a:lnTo>
                  <a:lnTo>
                    <a:pt x="1526" y="958"/>
                  </a:lnTo>
                  <a:lnTo>
                    <a:pt x="1528" y="952"/>
                  </a:lnTo>
                  <a:lnTo>
                    <a:pt x="1530" y="946"/>
                  </a:lnTo>
                  <a:lnTo>
                    <a:pt x="1530" y="946"/>
                  </a:lnTo>
                  <a:lnTo>
                    <a:pt x="1530" y="946"/>
                  </a:lnTo>
                  <a:lnTo>
                    <a:pt x="1530" y="940"/>
                  </a:lnTo>
                  <a:lnTo>
                    <a:pt x="1530" y="940"/>
                  </a:lnTo>
                  <a:lnTo>
                    <a:pt x="1528" y="934"/>
                  </a:lnTo>
                  <a:lnTo>
                    <a:pt x="1528" y="930"/>
                  </a:lnTo>
                  <a:lnTo>
                    <a:pt x="1526" y="924"/>
                  </a:lnTo>
                  <a:lnTo>
                    <a:pt x="1524" y="920"/>
                  </a:lnTo>
                  <a:lnTo>
                    <a:pt x="1522" y="916"/>
                  </a:lnTo>
                  <a:lnTo>
                    <a:pt x="1522" y="916"/>
                  </a:lnTo>
                  <a:lnTo>
                    <a:pt x="1522" y="912"/>
                  </a:lnTo>
                  <a:lnTo>
                    <a:pt x="1522" y="912"/>
                  </a:lnTo>
                  <a:lnTo>
                    <a:pt x="1522" y="912"/>
                  </a:lnTo>
                  <a:lnTo>
                    <a:pt x="1524" y="912"/>
                  </a:lnTo>
                  <a:lnTo>
                    <a:pt x="1526" y="910"/>
                  </a:lnTo>
                  <a:lnTo>
                    <a:pt x="1528" y="908"/>
                  </a:lnTo>
                  <a:lnTo>
                    <a:pt x="1528" y="908"/>
                  </a:lnTo>
                  <a:lnTo>
                    <a:pt x="1532" y="906"/>
                  </a:lnTo>
                  <a:lnTo>
                    <a:pt x="1536" y="904"/>
                  </a:lnTo>
                  <a:lnTo>
                    <a:pt x="1542" y="904"/>
                  </a:lnTo>
                  <a:lnTo>
                    <a:pt x="1548" y="904"/>
                  </a:lnTo>
                  <a:lnTo>
                    <a:pt x="1558" y="902"/>
                  </a:lnTo>
                  <a:lnTo>
                    <a:pt x="1564" y="902"/>
                  </a:lnTo>
                  <a:lnTo>
                    <a:pt x="1570" y="902"/>
                  </a:lnTo>
                  <a:lnTo>
                    <a:pt x="1576" y="902"/>
                  </a:lnTo>
                  <a:lnTo>
                    <a:pt x="1582" y="902"/>
                  </a:lnTo>
                  <a:lnTo>
                    <a:pt x="1588" y="904"/>
                  </a:lnTo>
                  <a:lnTo>
                    <a:pt x="1594" y="904"/>
                  </a:lnTo>
                  <a:lnTo>
                    <a:pt x="1598" y="906"/>
                  </a:lnTo>
                  <a:lnTo>
                    <a:pt x="1602" y="908"/>
                  </a:lnTo>
                  <a:lnTo>
                    <a:pt x="1606" y="910"/>
                  </a:lnTo>
                  <a:lnTo>
                    <a:pt x="1604" y="910"/>
                  </a:lnTo>
                  <a:lnTo>
                    <a:pt x="1608" y="914"/>
                  </a:lnTo>
                  <a:lnTo>
                    <a:pt x="1608" y="918"/>
                  </a:lnTo>
                  <a:lnTo>
                    <a:pt x="1610" y="922"/>
                  </a:lnTo>
                  <a:lnTo>
                    <a:pt x="1610" y="928"/>
                  </a:lnTo>
                  <a:lnTo>
                    <a:pt x="1612" y="932"/>
                  </a:lnTo>
                  <a:lnTo>
                    <a:pt x="1612" y="936"/>
                  </a:lnTo>
                  <a:lnTo>
                    <a:pt x="1614" y="940"/>
                  </a:lnTo>
                  <a:lnTo>
                    <a:pt x="1614" y="940"/>
                  </a:lnTo>
                  <a:lnTo>
                    <a:pt x="1614" y="940"/>
                  </a:lnTo>
                  <a:lnTo>
                    <a:pt x="1616" y="944"/>
                  </a:lnTo>
                  <a:lnTo>
                    <a:pt x="1618" y="946"/>
                  </a:lnTo>
                  <a:lnTo>
                    <a:pt x="1618" y="946"/>
                  </a:lnTo>
                  <a:lnTo>
                    <a:pt x="1618" y="946"/>
                  </a:lnTo>
                  <a:lnTo>
                    <a:pt x="1620" y="950"/>
                  </a:lnTo>
                  <a:lnTo>
                    <a:pt x="1622" y="950"/>
                  </a:lnTo>
                  <a:lnTo>
                    <a:pt x="1624" y="952"/>
                  </a:lnTo>
                  <a:lnTo>
                    <a:pt x="1626" y="954"/>
                  </a:lnTo>
                  <a:lnTo>
                    <a:pt x="1626" y="954"/>
                  </a:lnTo>
                  <a:lnTo>
                    <a:pt x="1626" y="956"/>
                  </a:lnTo>
                  <a:lnTo>
                    <a:pt x="1628" y="958"/>
                  </a:lnTo>
                  <a:lnTo>
                    <a:pt x="1628" y="958"/>
                  </a:lnTo>
                  <a:lnTo>
                    <a:pt x="1630" y="962"/>
                  </a:lnTo>
                  <a:lnTo>
                    <a:pt x="1630" y="966"/>
                  </a:lnTo>
                  <a:lnTo>
                    <a:pt x="1632" y="972"/>
                  </a:lnTo>
                  <a:lnTo>
                    <a:pt x="1632" y="978"/>
                  </a:lnTo>
                  <a:lnTo>
                    <a:pt x="1634" y="984"/>
                  </a:lnTo>
                  <a:lnTo>
                    <a:pt x="1634" y="988"/>
                  </a:lnTo>
                  <a:lnTo>
                    <a:pt x="1636" y="994"/>
                  </a:lnTo>
                  <a:lnTo>
                    <a:pt x="1638" y="996"/>
                  </a:lnTo>
                  <a:lnTo>
                    <a:pt x="1638" y="996"/>
                  </a:lnTo>
                  <a:lnTo>
                    <a:pt x="1638" y="998"/>
                  </a:lnTo>
                  <a:lnTo>
                    <a:pt x="1640" y="1000"/>
                  </a:lnTo>
                  <a:lnTo>
                    <a:pt x="1640" y="1000"/>
                  </a:lnTo>
                  <a:lnTo>
                    <a:pt x="1640" y="1000"/>
                  </a:lnTo>
                  <a:lnTo>
                    <a:pt x="1642" y="1002"/>
                  </a:lnTo>
                  <a:lnTo>
                    <a:pt x="1642" y="1002"/>
                  </a:lnTo>
                  <a:lnTo>
                    <a:pt x="1642" y="1004"/>
                  </a:lnTo>
                  <a:lnTo>
                    <a:pt x="1646" y="1006"/>
                  </a:lnTo>
                  <a:lnTo>
                    <a:pt x="1648" y="1006"/>
                  </a:lnTo>
                  <a:lnTo>
                    <a:pt x="1650" y="1008"/>
                  </a:lnTo>
                  <a:lnTo>
                    <a:pt x="1654" y="1010"/>
                  </a:lnTo>
                  <a:lnTo>
                    <a:pt x="1656" y="1010"/>
                  </a:lnTo>
                  <a:lnTo>
                    <a:pt x="1658" y="1010"/>
                  </a:lnTo>
                  <a:lnTo>
                    <a:pt x="1658" y="1010"/>
                  </a:lnTo>
                  <a:lnTo>
                    <a:pt x="1658" y="1010"/>
                  </a:lnTo>
                  <a:lnTo>
                    <a:pt x="1658" y="1010"/>
                  </a:lnTo>
                  <a:lnTo>
                    <a:pt x="1658" y="1010"/>
                  </a:lnTo>
                  <a:lnTo>
                    <a:pt x="1660" y="1010"/>
                  </a:lnTo>
                  <a:lnTo>
                    <a:pt x="1660" y="1010"/>
                  </a:lnTo>
                  <a:lnTo>
                    <a:pt x="1660" y="1010"/>
                  </a:lnTo>
                  <a:lnTo>
                    <a:pt x="1662" y="1008"/>
                  </a:lnTo>
                  <a:lnTo>
                    <a:pt x="1662" y="1010"/>
                  </a:lnTo>
                  <a:lnTo>
                    <a:pt x="1666" y="1012"/>
                  </a:lnTo>
                  <a:lnTo>
                    <a:pt x="1668" y="1014"/>
                  </a:lnTo>
                  <a:lnTo>
                    <a:pt x="1674" y="1018"/>
                  </a:lnTo>
                  <a:lnTo>
                    <a:pt x="1676" y="1022"/>
                  </a:lnTo>
                  <a:lnTo>
                    <a:pt x="1678" y="1024"/>
                  </a:lnTo>
                  <a:lnTo>
                    <a:pt x="1678" y="1024"/>
                  </a:lnTo>
                  <a:lnTo>
                    <a:pt x="1678" y="1026"/>
                  </a:lnTo>
                  <a:lnTo>
                    <a:pt x="1680" y="1030"/>
                  </a:lnTo>
                  <a:lnTo>
                    <a:pt x="1682" y="1036"/>
                  </a:lnTo>
                  <a:lnTo>
                    <a:pt x="1682" y="1040"/>
                  </a:lnTo>
                  <a:lnTo>
                    <a:pt x="1684" y="1044"/>
                  </a:lnTo>
                  <a:lnTo>
                    <a:pt x="1684" y="1046"/>
                  </a:lnTo>
                  <a:lnTo>
                    <a:pt x="1684" y="1046"/>
                  </a:lnTo>
                  <a:lnTo>
                    <a:pt x="1686" y="1046"/>
                  </a:lnTo>
                  <a:lnTo>
                    <a:pt x="1686" y="1048"/>
                  </a:lnTo>
                  <a:lnTo>
                    <a:pt x="1686" y="1048"/>
                  </a:lnTo>
                  <a:lnTo>
                    <a:pt x="1688" y="1048"/>
                  </a:lnTo>
                  <a:lnTo>
                    <a:pt x="1690" y="1050"/>
                  </a:lnTo>
                  <a:lnTo>
                    <a:pt x="1690" y="1050"/>
                  </a:lnTo>
                  <a:lnTo>
                    <a:pt x="1690" y="1050"/>
                  </a:lnTo>
                  <a:lnTo>
                    <a:pt x="1692" y="1050"/>
                  </a:lnTo>
                  <a:lnTo>
                    <a:pt x="1692" y="1050"/>
                  </a:lnTo>
                  <a:lnTo>
                    <a:pt x="1692" y="1050"/>
                  </a:lnTo>
                  <a:lnTo>
                    <a:pt x="1694" y="1050"/>
                  </a:lnTo>
                  <a:lnTo>
                    <a:pt x="1696" y="1050"/>
                  </a:lnTo>
                  <a:lnTo>
                    <a:pt x="1696" y="1050"/>
                  </a:lnTo>
                  <a:lnTo>
                    <a:pt x="1698" y="1050"/>
                  </a:lnTo>
                  <a:lnTo>
                    <a:pt x="1702" y="1048"/>
                  </a:lnTo>
                  <a:lnTo>
                    <a:pt x="1708" y="1046"/>
                  </a:lnTo>
                  <a:lnTo>
                    <a:pt x="1710" y="1044"/>
                  </a:lnTo>
                  <a:lnTo>
                    <a:pt x="1712" y="1044"/>
                  </a:lnTo>
                  <a:lnTo>
                    <a:pt x="1718" y="1040"/>
                  </a:lnTo>
                  <a:lnTo>
                    <a:pt x="1722" y="1036"/>
                  </a:lnTo>
                  <a:lnTo>
                    <a:pt x="1728" y="1032"/>
                  </a:lnTo>
                  <a:lnTo>
                    <a:pt x="1734" y="1028"/>
                  </a:lnTo>
                  <a:lnTo>
                    <a:pt x="1736" y="1026"/>
                  </a:lnTo>
                  <a:lnTo>
                    <a:pt x="1738" y="1026"/>
                  </a:lnTo>
                  <a:lnTo>
                    <a:pt x="1740" y="1024"/>
                  </a:lnTo>
                  <a:lnTo>
                    <a:pt x="1740" y="1026"/>
                  </a:lnTo>
                  <a:lnTo>
                    <a:pt x="1740" y="1028"/>
                  </a:lnTo>
                  <a:lnTo>
                    <a:pt x="1738" y="1032"/>
                  </a:lnTo>
                  <a:lnTo>
                    <a:pt x="1738" y="1036"/>
                  </a:lnTo>
                  <a:lnTo>
                    <a:pt x="1736" y="1040"/>
                  </a:lnTo>
                  <a:lnTo>
                    <a:pt x="1736" y="1044"/>
                  </a:lnTo>
                  <a:lnTo>
                    <a:pt x="1732" y="1056"/>
                  </a:lnTo>
                  <a:lnTo>
                    <a:pt x="1728" y="1066"/>
                  </a:lnTo>
                  <a:lnTo>
                    <a:pt x="1726" y="1070"/>
                  </a:lnTo>
                  <a:lnTo>
                    <a:pt x="1724" y="1076"/>
                  </a:lnTo>
                  <a:lnTo>
                    <a:pt x="1722" y="1080"/>
                  </a:lnTo>
                  <a:lnTo>
                    <a:pt x="1720" y="1084"/>
                  </a:lnTo>
                  <a:lnTo>
                    <a:pt x="1720" y="1088"/>
                  </a:lnTo>
                  <a:lnTo>
                    <a:pt x="1718" y="1090"/>
                  </a:lnTo>
                  <a:lnTo>
                    <a:pt x="1716" y="1092"/>
                  </a:lnTo>
                  <a:lnTo>
                    <a:pt x="1716" y="1092"/>
                  </a:lnTo>
                  <a:lnTo>
                    <a:pt x="1716" y="1092"/>
                  </a:lnTo>
                  <a:lnTo>
                    <a:pt x="1714" y="1092"/>
                  </a:lnTo>
                  <a:lnTo>
                    <a:pt x="1712" y="1094"/>
                  </a:lnTo>
                  <a:lnTo>
                    <a:pt x="1708" y="1092"/>
                  </a:lnTo>
                  <a:lnTo>
                    <a:pt x="1708" y="1092"/>
                  </a:lnTo>
                  <a:lnTo>
                    <a:pt x="1704" y="1092"/>
                  </a:lnTo>
                  <a:lnTo>
                    <a:pt x="1700" y="1090"/>
                  </a:lnTo>
                  <a:lnTo>
                    <a:pt x="1696" y="1090"/>
                  </a:lnTo>
                  <a:lnTo>
                    <a:pt x="1694" y="1090"/>
                  </a:lnTo>
                  <a:lnTo>
                    <a:pt x="1694" y="1090"/>
                  </a:lnTo>
                  <a:lnTo>
                    <a:pt x="1694" y="1090"/>
                  </a:lnTo>
                  <a:lnTo>
                    <a:pt x="1692" y="1090"/>
                  </a:lnTo>
                  <a:lnTo>
                    <a:pt x="1692" y="1090"/>
                  </a:lnTo>
                  <a:lnTo>
                    <a:pt x="1690" y="1090"/>
                  </a:lnTo>
                  <a:lnTo>
                    <a:pt x="1690" y="1092"/>
                  </a:lnTo>
                  <a:lnTo>
                    <a:pt x="1690" y="1092"/>
                  </a:lnTo>
                  <a:lnTo>
                    <a:pt x="1688" y="1092"/>
                  </a:lnTo>
                  <a:lnTo>
                    <a:pt x="1688" y="1094"/>
                  </a:lnTo>
                  <a:lnTo>
                    <a:pt x="1688" y="1094"/>
                  </a:lnTo>
                  <a:lnTo>
                    <a:pt x="1688" y="1094"/>
                  </a:lnTo>
                  <a:lnTo>
                    <a:pt x="1686" y="1096"/>
                  </a:lnTo>
                  <a:lnTo>
                    <a:pt x="1686" y="1100"/>
                  </a:lnTo>
                  <a:lnTo>
                    <a:pt x="1684" y="1102"/>
                  </a:lnTo>
                  <a:lnTo>
                    <a:pt x="1684" y="1106"/>
                  </a:lnTo>
                  <a:lnTo>
                    <a:pt x="1684" y="1112"/>
                  </a:lnTo>
                  <a:lnTo>
                    <a:pt x="1682" y="1120"/>
                  </a:lnTo>
                  <a:lnTo>
                    <a:pt x="1682" y="1128"/>
                  </a:lnTo>
                  <a:lnTo>
                    <a:pt x="1684" y="1134"/>
                  </a:lnTo>
                  <a:lnTo>
                    <a:pt x="1684" y="1138"/>
                  </a:lnTo>
                  <a:lnTo>
                    <a:pt x="1684" y="1140"/>
                  </a:lnTo>
                  <a:lnTo>
                    <a:pt x="1686" y="1142"/>
                  </a:lnTo>
                  <a:lnTo>
                    <a:pt x="1686" y="1142"/>
                  </a:lnTo>
                  <a:lnTo>
                    <a:pt x="1686" y="1144"/>
                  </a:lnTo>
                  <a:lnTo>
                    <a:pt x="1686" y="1144"/>
                  </a:lnTo>
                  <a:lnTo>
                    <a:pt x="1686" y="1144"/>
                  </a:lnTo>
                  <a:lnTo>
                    <a:pt x="1686" y="1146"/>
                  </a:lnTo>
                  <a:lnTo>
                    <a:pt x="1690" y="1148"/>
                  </a:lnTo>
                  <a:lnTo>
                    <a:pt x="1690" y="1148"/>
                  </a:lnTo>
                  <a:lnTo>
                    <a:pt x="1690" y="1148"/>
                  </a:lnTo>
                  <a:lnTo>
                    <a:pt x="1694" y="1150"/>
                  </a:lnTo>
                  <a:lnTo>
                    <a:pt x="1694" y="1150"/>
                  </a:lnTo>
                  <a:lnTo>
                    <a:pt x="1696" y="1150"/>
                  </a:lnTo>
                  <a:lnTo>
                    <a:pt x="1700" y="1152"/>
                  </a:lnTo>
                  <a:lnTo>
                    <a:pt x="1700" y="1152"/>
                  </a:lnTo>
                  <a:lnTo>
                    <a:pt x="1706" y="1152"/>
                  </a:lnTo>
                  <a:lnTo>
                    <a:pt x="1712" y="1152"/>
                  </a:lnTo>
                  <a:lnTo>
                    <a:pt x="1718" y="1152"/>
                  </a:lnTo>
                  <a:lnTo>
                    <a:pt x="1724" y="1150"/>
                  </a:lnTo>
                  <a:lnTo>
                    <a:pt x="1730" y="1148"/>
                  </a:lnTo>
                  <a:lnTo>
                    <a:pt x="1736" y="1146"/>
                  </a:lnTo>
                  <a:lnTo>
                    <a:pt x="1740" y="1142"/>
                  </a:lnTo>
                  <a:lnTo>
                    <a:pt x="1746" y="1138"/>
                  </a:lnTo>
                  <a:lnTo>
                    <a:pt x="1750" y="1134"/>
                  </a:lnTo>
                  <a:lnTo>
                    <a:pt x="1756" y="1130"/>
                  </a:lnTo>
                  <a:lnTo>
                    <a:pt x="1760" y="1124"/>
                  </a:lnTo>
                  <a:lnTo>
                    <a:pt x="1766" y="1116"/>
                  </a:lnTo>
                  <a:lnTo>
                    <a:pt x="1772" y="1110"/>
                  </a:lnTo>
                  <a:lnTo>
                    <a:pt x="1774" y="1104"/>
                  </a:lnTo>
                  <a:lnTo>
                    <a:pt x="1778" y="1100"/>
                  </a:lnTo>
                  <a:lnTo>
                    <a:pt x="1782" y="1094"/>
                  </a:lnTo>
                  <a:lnTo>
                    <a:pt x="1786" y="1088"/>
                  </a:lnTo>
                  <a:lnTo>
                    <a:pt x="1794" y="1074"/>
                  </a:lnTo>
                  <a:lnTo>
                    <a:pt x="1804" y="1060"/>
                  </a:lnTo>
                  <a:lnTo>
                    <a:pt x="1812" y="1048"/>
                  </a:lnTo>
                  <a:lnTo>
                    <a:pt x="1820" y="1034"/>
                  </a:lnTo>
                  <a:lnTo>
                    <a:pt x="1824" y="1028"/>
                  </a:lnTo>
                  <a:lnTo>
                    <a:pt x="1826" y="1022"/>
                  </a:lnTo>
                  <a:lnTo>
                    <a:pt x="1830" y="1016"/>
                  </a:lnTo>
                  <a:lnTo>
                    <a:pt x="1832" y="1012"/>
                  </a:lnTo>
                  <a:lnTo>
                    <a:pt x="1834" y="1008"/>
                  </a:lnTo>
                  <a:lnTo>
                    <a:pt x="1834" y="1004"/>
                  </a:lnTo>
                  <a:lnTo>
                    <a:pt x="1836" y="1000"/>
                  </a:lnTo>
                  <a:lnTo>
                    <a:pt x="1836" y="996"/>
                  </a:lnTo>
                  <a:lnTo>
                    <a:pt x="1836" y="992"/>
                  </a:lnTo>
                  <a:lnTo>
                    <a:pt x="1836" y="986"/>
                  </a:lnTo>
                  <a:lnTo>
                    <a:pt x="1834" y="984"/>
                  </a:lnTo>
                  <a:lnTo>
                    <a:pt x="1832" y="980"/>
                  </a:lnTo>
                  <a:lnTo>
                    <a:pt x="1832" y="976"/>
                  </a:lnTo>
                  <a:lnTo>
                    <a:pt x="1832" y="976"/>
                  </a:lnTo>
                  <a:lnTo>
                    <a:pt x="1832" y="972"/>
                  </a:lnTo>
                  <a:lnTo>
                    <a:pt x="1832" y="968"/>
                  </a:lnTo>
                  <a:lnTo>
                    <a:pt x="1834" y="962"/>
                  </a:lnTo>
                  <a:lnTo>
                    <a:pt x="1836" y="952"/>
                  </a:lnTo>
                  <a:lnTo>
                    <a:pt x="1838" y="946"/>
                  </a:lnTo>
                  <a:lnTo>
                    <a:pt x="1840" y="940"/>
                  </a:lnTo>
                  <a:lnTo>
                    <a:pt x="1840" y="936"/>
                  </a:lnTo>
                  <a:lnTo>
                    <a:pt x="1840" y="930"/>
                  </a:lnTo>
                  <a:lnTo>
                    <a:pt x="1842" y="926"/>
                  </a:lnTo>
                  <a:lnTo>
                    <a:pt x="1842" y="924"/>
                  </a:lnTo>
                  <a:lnTo>
                    <a:pt x="1840" y="920"/>
                  </a:lnTo>
                  <a:lnTo>
                    <a:pt x="1840" y="918"/>
                  </a:lnTo>
                  <a:lnTo>
                    <a:pt x="1840" y="918"/>
                  </a:lnTo>
                  <a:lnTo>
                    <a:pt x="1840" y="918"/>
                  </a:lnTo>
                  <a:lnTo>
                    <a:pt x="1838" y="912"/>
                  </a:lnTo>
                  <a:lnTo>
                    <a:pt x="1836" y="908"/>
                  </a:lnTo>
                  <a:lnTo>
                    <a:pt x="1834" y="904"/>
                  </a:lnTo>
                  <a:lnTo>
                    <a:pt x="1832" y="902"/>
                  </a:lnTo>
                  <a:lnTo>
                    <a:pt x="1826" y="896"/>
                  </a:lnTo>
                  <a:lnTo>
                    <a:pt x="1822" y="892"/>
                  </a:lnTo>
                  <a:lnTo>
                    <a:pt x="1818" y="890"/>
                  </a:lnTo>
                  <a:lnTo>
                    <a:pt x="1816" y="888"/>
                  </a:lnTo>
                  <a:lnTo>
                    <a:pt x="1814" y="888"/>
                  </a:lnTo>
                  <a:lnTo>
                    <a:pt x="1814" y="888"/>
                  </a:lnTo>
                  <a:lnTo>
                    <a:pt x="1814" y="886"/>
                  </a:lnTo>
                  <a:lnTo>
                    <a:pt x="1812" y="886"/>
                  </a:lnTo>
                  <a:lnTo>
                    <a:pt x="1812" y="886"/>
                  </a:lnTo>
                  <a:lnTo>
                    <a:pt x="1812" y="886"/>
                  </a:lnTo>
                  <a:lnTo>
                    <a:pt x="1808" y="886"/>
                  </a:lnTo>
                  <a:lnTo>
                    <a:pt x="1808" y="886"/>
                  </a:lnTo>
                  <a:lnTo>
                    <a:pt x="1806" y="886"/>
                  </a:lnTo>
                  <a:lnTo>
                    <a:pt x="1804" y="888"/>
                  </a:lnTo>
                  <a:lnTo>
                    <a:pt x="1804" y="888"/>
                  </a:lnTo>
                  <a:lnTo>
                    <a:pt x="1802" y="888"/>
                  </a:lnTo>
                  <a:lnTo>
                    <a:pt x="1802" y="888"/>
                  </a:lnTo>
                  <a:lnTo>
                    <a:pt x="1802" y="888"/>
                  </a:lnTo>
                  <a:lnTo>
                    <a:pt x="1800" y="888"/>
                  </a:lnTo>
                  <a:lnTo>
                    <a:pt x="1800" y="890"/>
                  </a:lnTo>
                  <a:lnTo>
                    <a:pt x="1800" y="890"/>
                  </a:lnTo>
                  <a:lnTo>
                    <a:pt x="1800" y="890"/>
                  </a:lnTo>
                  <a:lnTo>
                    <a:pt x="1798" y="892"/>
                  </a:lnTo>
                  <a:lnTo>
                    <a:pt x="1798" y="892"/>
                  </a:lnTo>
                  <a:lnTo>
                    <a:pt x="1798" y="894"/>
                  </a:lnTo>
                  <a:lnTo>
                    <a:pt x="1798" y="896"/>
                  </a:lnTo>
                  <a:lnTo>
                    <a:pt x="1798" y="898"/>
                  </a:lnTo>
                  <a:lnTo>
                    <a:pt x="1800" y="902"/>
                  </a:lnTo>
                  <a:lnTo>
                    <a:pt x="1800" y="904"/>
                  </a:lnTo>
                  <a:lnTo>
                    <a:pt x="1800" y="906"/>
                  </a:lnTo>
                  <a:lnTo>
                    <a:pt x="1800" y="908"/>
                  </a:lnTo>
                  <a:lnTo>
                    <a:pt x="1798" y="908"/>
                  </a:lnTo>
                  <a:lnTo>
                    <a:pt x="1798" y="908"/>
                  </a:lnTo>
                  <a:lnTo>
                    <a:pt x="1796" y="908"/>
                  </a:lnTo>
                  <a:lnTo>
                    <a:pt x="1794" y="908"/>
                  </a:lnTo>
                  <a:lnTo>
                    <a:pt x="1792" y="906"/>
                  </a:lnTo>
                  <a:lnTo>
                    <a:pt x="1792" y="906"/>
                  </a:lnTo>
                  <a:lnTo>
                    <a:pt x="1792" y="904"/>
                  </a:lnTo>
                  <a:lnTo>
                    <a:pt x="1792" y="904"/>
                  </a:lnTo>
                  <a:lnTo>
                    <a:pt x="1792" y="904"/>
                  </a:lnTo>
                  <a:lnTo>
                    <a:pt x="1792" y="900"/>
                  </a:lnTo>
                  <a:lnTo>
                    <a:pt x="1794" y="894"/>
                  </a:lnTo>
                  <a:lnTo>
                    <a:pt x="1796" y="890"/>
                  </a:lnTo>
                  <a:lnTo>
                    <a:pt x="1798" y="884"/>
                  </a:lnTo>
                  <a:lnTo>
                    <a:pt x="1798" y="880"/>
                  </a:lnTo>
                  <a:lnTo>
                    <a:pt x="1800" y="876"/>
                  </a:lnTo>
                  <a:lnTo>
                    <a:pt x="1800" y="874"/>
                  </a:lnTo>
                  <a:lnTo>
                    <a:pt x="1800" y="874"/>
                  </a:lnTo>
                  <a:lnTo>
                    <a:pt x="1800" y="872"/>
                  </a:lnTo>
                  <a:lnTo>
                    <a:pt x="1800" y="872"/>
                  </a:lnTo>
                  <a:lnTo>
                    <a:pt x="1798" y="870"/>
                  </a:lnTo>
                  <a:lnTo>
                    <a:pt x="1798" y="870"/>
                  </a:lnTo>
                  <a:lnTo>
                    <a:pt x="1798" y="870"/>
                  </a:lnTo>
                  <a:lnTo>
                    <a:pt x="1796" y="870"/>
                  </a:lnTo>
                  <a:lnTo>
                    <a:pt x="1794" y="870"/>
                  </a:lnTo>
                  <a:lnTo>
                    <a:pt x="1794" y="870"/>
                  </a:lnTo>
                  <a:lnTo>
                    <a:pt x="1794" y="870"/>
                  </a:lnTo>
                  <a:lnTo>
                    <a:pt x="1792" y="872"/>
                  </a:lnTo>
                  <a:lnTo>
                    <a:pt x="1790" y="872"/>
                  </a:lnTo>
                  <a:lnTo>
                    <a:pt x="1786" y="876"/>
                  </a:lnTo>
                  <a:lnTo>
                    <a:pt x="1782" y="878"/>
                  </a:lnTo>
                  <a:lnTo>
                    <a:pt x="1780" y="878"/>
                  </a:lnTo>
                  <a:lnTo>
                    <a:pt x="1778" y="880"/>
                  </a:lnTo>
                  <a:lnTo>
                    <a:pt x="1772" y="880"/>
                  </a:lnTo>
                  <a:lnTo>
                    <a:pt x="1768" y="880"/>
                  </a:lnTo>
                  <a:lnTo>
                    <a:pt x="1764" y="880"/>
                  </a:lnTo>
                  <a:lnTo>
                    <a:pt x="1758" y="880"/>
                  </a:lnTo>
                  <a:lnTo>
                    <a:pt x="1754" y="880"/>
                  </a:lnTo>
                  <a:lnTo>
                    <a:pt x="1752" y="880"/>
                  </a:lnTo>
                  <a:lnTo>
                    <a:pt x="1750" y="880"/>
                  </a:lnTo>
                  <a:lnTo>
                    <a:pt x="1748" y="880"/>
                  </a:lnTo>
                  <a:lnTo>
                    <a:pt x="1748" y="878"/>
                  </a:lnTo>
                  <a:lnTo>
                    <a:pt x="1750" y="878"/>
                  </a:lnTo>
                  <a:lnTo>
                    <a:pt x="1750" y="876"/>
                  </a:lnTo>
                  <a:lnTo>
                    <a:pt x="1754" y="872"/>
                  </a:lnTo>
                  <a:lnTo>
                    <a:pt x="1754" y="872"/>
                  </a:lnTo>
                  <a:lnTo>
                    <a:pt x="1758" y="868"/>
                  </a:lnTo>
                  <a:lnTo>
                    <a:pt x="1760" y="866"/>
                  </a:lnTo>
                  <a:lnTo>
                    <a:pt x="1762" y="864"/>
                  </a:lnTo>
                  <a:lnTo>
                    <a:pt x="1770" y="860"/>
                  </a:lnTo>
                  <a:lnTo>
                    <a:pt x="1772" y="858"/>
                  </a:lnTo>
                  <a:lnTo>
                    <a:pt x="1776" y="854"/>
                  </a:lnTo>
                  <a:lnTo>
                    <a:pt x="1780" y="850"/>
                  </a:lnTo>
                  <a:lnTo>
                    <a:pt x="1786" y="846"/>
                  </a:lnTo>
                  <a:lnTo>
                    <a:pt x="1790" y="842"/>
                  </a:lnTo>
                  <a:lnTo>
                    <a:pt x="1794" y="838"/>
                  </a:lnTo>
                  <a:lnTo>
                    <a:pt x="1796" y="836"/>
                  </a:lnTo>
                  <a:lnTo>
                    <a:pt x="1796" y="836"/>
                  </a:lnTo>
                  <a:lnTo>
                    <a:pt x="1796" y="836"/>
                  </a:lnTo>
                  <a:lnTo>
                    <a:pt x="1798" y="834"/>
                  </a:lnTo>
                  <a:lnTo>
                    <a:pt x="1798" y="834"/>
                  </a:lnTo>
                  <a:lnTo>
                    <a:pt x="1798" y="834"/>
                  </a:lnTo>
                  <a:lnTo>
                    <a:pt x="1798" y="830"/>
                  </a:lnTo>
                  <a:lnTo>
                    <a:pt x="1800" y="826"/>
                  </a:lnTo>
                  <a:lnTo>
                    <a:pt x="1800" y="828"/>
                  </a:lnTo>
                  <a:lnTo>
                    <a:pt x="1800" y="826"/>
                  </a:lnTo>
                  <a:lnTo>
                    <a:pt x="1802" y="824"/>
                  </a:lnTo>
                  <a:lnTo>
                    <a:pt x="1802" y="824"/>
                  </a:lnTo>
                  <a:lnTo>
                    <a:pt x="1804" y="822"/>
                  </a:lnTo>
                  <a:lnTo>
                    <a:pt x="1808" y="820"/>
                  </a:lnTo>
                  <a:lnTo>
                    <a:pt x="1812" y="818"/>
                  </a:lnTo>
                  <a:lnTo>
                    <a:pt x="1814" y="816"/>
                  </a:lnTo>
                  <a:lnTo>
                    <a:pt x="1816" y="816"/>
                  </a:lnTo>
                  <a:lnTo>
                    <a:pt x="1818" y="814"/>
                  </a:lnTo>
                  <a:lnTo>
                    <a:pt x="1818" y="812"/>
                  </a:lnTo>
                  <a:lnTo>
                    <a:pt x="1818" y="812"/>
                  </a:lnTo>
                  <a:lnTo>
                    <a:pt x="1818" y="812"/>
                  </a:lnTo>
                  <a:lnTo>
                    <a:pt x="1820" y="810"/>
                  </a:lnTo>
                  <a:lnTo>
                    <a:pt x="1822" y="808"/>
                  </a:lnTo>
                  <a:lnTo>
                    <a:pt x="1822" y="806"/>
                  </a:lnTo>
                  <a:lnTo>
                    <a:pt x="1824" y="804"/>
                  </a:lnTo>
                  <a:lnTo>
                    <a:pt x="1828" y="800"/>
                  </a:lnTo>
                  <a:lnTo>
                    <a:pt x="1828" y="800"/>
                  </a:lnTo>
                  <a:lnTo>
                    <a:pt x="1830" y="800"/>
                  </a:lnTo>
                  <a:lnTo>
                    <a:pt x="1832" y="796"/>
                  </a:lnTo>
                  <a:lnTo>
                    <a:pt x="1832" y="796"/>
                  </a:lnTo>
                  <a:lnTo>
                    <a:pt x="1832" y="796"/>
                  </a:lnTo>
                  <a:lnTo>
                    <a:pt x="1832" y="794"/>
                  </a:lnTo>
                  <a:lnTo>
                    <a:pt x="1832" y="792"/>
                  </a:lnTo>
                  <a:lnTo>
                    <a:pt x="1834" y="788"/>
                  </a:lnTo>
                  <a:lnTo>
                    <a:pt x="1834" y="786"/>
                  </a:lnTo>
                  <a:lnTo>
                    <a:pt x="1834" y="784"/>
                  </a:lnTo>
                  <a:lnTo>
                    <a:pt x="1834" y="782"/>
                  </a:lnTo>
                  <a:lnTo>
                    <a:pt x="1836" y="782"/>
                  </a:lnTo>
                  <a:lnTo>
                    <a:pt x="1836" y="782"/>
                  </a:lnTo>
                  <a:lnTo>
                    <a:pt x="1838" y="782"/>
                  </a:lnTo>
                  <a:lnTo>
                    <a:pt x="1842" y="784"/>
                  </a:lnTo>
                  <a:lnTo>
                    <a:pt x="1842" y="784"/>
                  </a:lnTo>
                  <a:lnTo>
                    <a:pt x="1842" y="784"/>
                  </a:lnTo>
                  <a:lnTo>
                    <a:pt x="1844" y="784"/>
                  </a:lnTo>
                  <a:lnTo>
                    <a:pt x="1844" y="784"/>
                  </a:lnTo>
                  <a:lnTo>
                    <a:pt x="1844" y="784"/>
                  </a:lnTo>
                  <a:lnTo>
                    <a:pt x="1846" y="782"/>
                  </a:lnTo>
                  <a:lnTo>
                    <a:pt x="1846" y="782"/>
                  </a:lnTo>
                  <a:lnTo>
                    <a:pt x="1848" y="782"/>
                  </a:lnTo>
                  <a:lnTo>
                    <a:pt x="1848" y="782"/>
                  </a:lnTo>
                  <a:lnTo>
                    <a:pt x="1848" y="782"/>
                  </a:lnTo>
                  <a:lnTo>
                    <a:pt x="1848" y="780"/>
                  </a:lnTo>
                  <a:lnTo>
                    <a:pt x="1850" y="778"/>
                  </a:lnTo>
                  <a:lnTo>
                    <a:pt x="1850" y="778"/>
                  </a:lnTo>
                  <a:lnTo>
                    <a:pt x="1850" y="778"/>
                  </a:lnTo>
                  <a:lnTo>
                    <a:pt x="1850" y="774"/>
                  </a:lnTo>
                  <a:lnTo>
                    <a:pt x="1850" y="772"/>
                  </a:lnTo>
                  <a:lnTo>
                    <a:pt x="1850" y="770"/>
                  </a:lnTo>
                  <a:lnTo>
                    <a:pt x="1850" y="770"/>
                  </a:lnTo>
                  <a:lnTo>
                    <a:pt x="1854" y="764"/>
                  </a:lnTo>
                  <a:lnTo>
                    <a:pt x="1854" y="760"/>
                  </a:lnTo>
                  <a:lnTo>
                    <a:pt x="1856" y="758"/>
                  </a:lnTo>
                  <a:lnTo>
                    <a:pt x="1856" y="760"/>
                  </a:lnTo>
                  <a:lnTo>
                    <a:pt x="1856" y="758"/>
                  </a:lnTo>
                  <a:lnTo>
                    <a:pt x="1858" y="758"/>
                  </a:lnTo>
                  <a:lnTo>
                    <a:pt x="1862" y="756"/>
                  </a:lnTo>
                  <a:lnTo>
                    <a:pt x="1866" y="754"/>
                  </a:lnTo>
                  <a:lnTo>
                    <a:pt x="1870" y="754"/>
                  </a:lnTo>
                  <a:lnTo>
                    <a:pt x="1874" y="754"/>
                  </a:lnTo>
                  <a:lnTo>
                    <a:pt x="1878" y="754"/>
                  </a:lnTo>
                  <a:lnTo>
                    <a:pt x="1884" y="754"/>
                  </a:lnTo>
                  <a:lnTo>
                    <a:pt x="1888" y="754"/>
                  </a:lnTo>
                  <a:lnTo>
                    <a:pt x="1892" y="754"/>
                  </a:lnTo>
                  <a:lnTo>
                    <a:pt x="1896" y="754"/>
                  </a:lnTo>
                  <a:lnTo>
                    <a:pt x="1900" y="754"/>
                  </a:lnTo>
                  <a:lnTo>
                    <a:pt x="1902" y="754"/>
                  </a:lnTo>
                  <a:lnTo>
                    <a:pt x="1902" y="754"/>
                  </a:lnTo>
                  <a:lnTo>
                    <a:pt x="1904" y="756"/>
                  </a:lnTo>
                  <a:lnTo>
                    <a:pt x="1904" y="754"/>
                  </a:lnTo>
                  <a:lnTo>
                    <a:pt x="1906" y="758"/>
                  </a:lnTo>
                  <a:lnTo>
                    <a:pt x="1908" y="760"/>
                  </a:lnTo>
                  <a:lnTo>
                    <a:pt x="1908" y="760"/>
                  </a:lnTo>
                  <a:lnTo>
                    <a:pt x="1910" y="762"/>
                  </a:lnTo>
                  <a:lnTo>
                    <a:pt x="1910" y="762"/>
                  </a:lnTo>
                  <a:lnTo>
                    <a:pt x="1910" y="762"/>
                  </a:lnTo>
                  <a:lnTo>
                    <a:pt x="1910" y="762"/>
                  </a:lnTo>
                  <a:lnTo>
                    <a:pt x="1910" y="762"/>
                  </a:lnTo>
                  <a:lnTo>
                    <a:pt x="1912" y="762"/>
                  </a:lnTo>
                  <a:lnTo>
                    <a:pt x="1912" y="762"/>
                  </a:lnTo>
                  <a:lnTo>
                    <a:pt x="1914" y="762"/>
                  </a:lnTo>
                  <a:lnTo>
                    <a:pt x="1914" y="760"/>
                  </a:lnTo>
                  <a:lnTo>
                    <a:pt x="1914" y="760"/>
                  </a:lnTo>
                  <a:lnTo>
                    <a:pt x="1916" y="760"/>
                  </a:lnTo>
                  <a:lnTo>
                    <a:pt x="1916" y="758"/>
                  </a:lnTo>
                  <a:lnTo>
                    <a:pt x="1914" y="756"/>
                  </a:lnTo>
                  <a:lnTo>
                    <a:pt x="1916" y="758"/>
                  </a:lnTo>
                  <a:lnTo>
                    <a:pt x="1918" y="760"/>
                  </a:lnTo>
                  <a:lnTo>
                    <a:pt x="1918" y="760"/>
                  </a:lnTo>
                  <a:lnTo>
                    <a:pt x="1918" y="760"/>
                  </a:lnTo>
                  <a:lnTo>
                    <a:pt x="1920" y="762"/>
                  </a:lnTo>
                  <a:lnTo>
                    <a:pt x="1920" y="762"/>
                  </a:lnTo>
                  <a:lnTo>
                    <a:pt x="1922" y="762"/>
                  </a:lnTo>
                  <a:lnTo>
                    <a:pt x="1924" y="762"/>
                  </a:lnTo>
                  <a:lnTo>
                    <a:pt x="1924" y="762"/>
                  </a:lnTo>
                  <a:lnTo>
                    <a:pt x="1924" y="762"/>
                  </a:lnTo>
                  <a:lnTo>
                    <a:pt x="1926" y="762"/>
                  </a:lnTo>
                  <a:lnTo>
                    <a:pt x="1930" y="760"/>
                  </a:lnTo>
                  <a:lnTo>
                    <a:pt x="1934" y="758"/>
                  </a:lnTo>
                  <a:lnTo>
                    <a:pt x="1938" y="756"/>
                  </a:lnTo>
                  <a:lnTo>
                    <a:pt x="1940" y="756"/>
                  </a:lnTo>
                  <a:lnTo>
                    <a:pt x="1942" y="756"/>
                  </a:lnTo>
                  <a:lnTo>
                    <a:pt x="1942" y="756"/>
                  </a:lnTo>
                  <a:lnTo>
                    <a:pt x="1944" y="756"/>
                  </a:lnTo>
                  <a:lnTo>
                    <a:pt x="1946" y="756"/>
                  </a:lnTo>
                  <a:lnTo>
                    <a:pt x="1950" y="756"/>
                  </a:lnTo>
                  <a:lnTo>
                    <a:pt x="1954" y="758"/>
                  </a:lnTo>
                  <a:lnTo>
                    <a:pt x="1954" y="758"/>
                  </a:lnTo>
                  <a:lnTo>
                    <a:pt x="1954" y="758"/>
                  </a:lnTo>
                  <a:lnTo>
                    <a:pt x="1956" y="758"/>
                  </a:lnTo>
                  <a:lnTo>
                    <a:pt x="1956" y="758"/>
                  </a:lnTo>
                  <a:lnTo>
                    <a:pt x="1956" y="758"/>
                  </a:lnTo>
                  <a:lnTo>
                    <a:pt x="1958" y="756"/>
                  </a:lnTo>
                  <a:lnTo>
                    <a:pt x="1958" y="756"/>
                  </a:lnTo>
                  <a:lnTo>
                    <a:pt x="1960" y="756"/>
                  </a:lnTo>
                  <a:lnTo>
                    <a:pt x="1960" y="754"/>
                  </a:lnTo>
                  <a:lnTo>
                    <a:pt x="1960" y="754"/>
                  </a:lnTo>
                  <a:lnTo>
                    <a:pt x="1960" y="754"/>
                  </a:lnTo>
                  <a:lnTo>
                    <a:pt x="1960" y="752"/>
                  </a:lnTo>
                  <a:lnTo>
                    <a:pt x="1960" y="752"/>
                  </a:lnTo>
                  <a:lnTo>
                    <a:pt x="1960" y="750"/>
                  </a:lnTo>
                  <a:lnTo>
                    <a:pt x="1960" y="748"/>
                  </a:lnTo>
                  <a:lnTo>
                    <a:pt x="1960" y="746"/>
                  </a:lnTo>
                  <a:lnTo>
                    <a:pt x="1960" y="744"/>
                  </a:lnTo>
                  <a:lnTo>
                    <a:pt x="1960" y="742"/>
                  </a:lnTo>
                  <a:lnTo>
                    <a:pt x="1960" y="740"/>
                  </a:lnTo>
                  <a:lnTo>
                    <a:pt x="1960" y="740"/>
                  </a:lnTo>
                  <a:lnTo>
                    <a:pt x="1962" y="740"/>
                  </a:lnTo>
                  <a:lnTo>
                    <a:pt x="1964" y="740"/>
                  </a:lnTo>
                  <a:lnTo>
                    <a:pt x="1964" y="740"/>
                  </a:lnTo>
                  <a:lnTo>
                    <a:pt x="1966" y="742"/>
                  </a:lnTo>
                  <a:lnTo>
                    <a:pt x="1968" y="742"/>
                  </a:lnTo>
                  <a:lnTo>
                    <a:pt x="1970" y="744"/>
                  </a:lnTo>
                  <a:lnTo>
                    <a:pt x="1976" y="748"/>
                  </a:lnTo>
                  <a:lnTo>
                    <a:pt x="1982" y="752"/>
                  </a:lnTo>
                  <a:lnTo>
                    <a:pt x="1984" y="754"/>
                  </a:lnTo>
                  <a:lnTo>
                    <a:pt x="1986" y="756"/>
                  </a:lnTo>
                  <a:lnTo>
                    <a:pt x="1988" y="758"/>
                  </a:lnTo>
                  <a:lnTo>
                    <a:pt x="1988" y="758"/>
                  </a:lnTo>
                  <a:lnTo>
                    <a:pt x="1990" y="762"/>
                  </a:lnTo>
                  <a:lnTo>
                    <a:pt x="1992" y="764"/>
                  </a:lnTo>
                  <a:lnTo>
                    <a:pt x="1992" y="764"/>
                  </a:lnTo>
                  <a:lnTo>
                    <a:pt x="1994" y="764"/>
                  </a:lnTo>
                  <a:lnTo>
                    <a:pt x="1996" y="764"/>
                  </a:lnTo>
                  <a:lnTo>
                    <a:pt x="1996" y="764"/>
                  </a:lnTo>
                  <a:lnTo>
                    <a:pt x="1996" y="766"/>
                  </a:lnTo>
                  <a:lnTo>
                    <a:pt x="1998" y="766"/>
                  </a:lnTo>
                  <a:lnTo>
                    <a:pt x="1998" y="766"/>
                  </a:lnTo>
                  <a:lnTo>
                    <a:pt x="1998" y="766"/>
                  </a:lnTo>
                  <a:lnTo>
                    <a:pt x="2000" y="766"/>
                  </a:lnTo>
                  <a:lnTo>
                    <a:pt x="2000" y="766"/>
                  </a:lnTo>
                  <a:lnTo>
                    <a:pt x="2002" y="766"/>
                  </a:lnTo>
                  <a:lnTo>
                    <a:pt x="2002" y="766"/>
                  </a:lnTo>
                  <a:lnTo>
                    <a:pt x="2004" y="766"/>
                  </a:lnTo>
                  <a:lnTo>
                    <a:pt x="2008" y="764"/>
                  </a:lnTo>
                  <a:lnTo>
                    <a:pt x="2012" y="762"/>
                  </a:lnTo>
                  <a:lnTo>
                    <a:pt x="2018" y="760"/>
                  </a:lnTo>
                  <a:lnTo>
                    <a:pt x="2018" y="760"/>
                  </a:lnTo>
                  <a:lnTo>
                    <a:pt x="2022" y="758"/>
                  </a:lnTo>
                  <a:lnTo>
                    <a:pt x="2028" y="758"/>
                  </a:lnTo>
                  <a:lnTo>
                    <a:pt x="2030" y="758"/>
                  </a:lnTo>
                  <a:lnTo>
                    <a:pt x="2032" y="758"/>
                  </a:lnTo>
                  <a:lnTo>
                    <a:pt x="2032" y="758"/>
                  </a:lnTo>
                  <a:lnTo>
                    <a:pt x="2034" y="758"/>
                  </a:lnTo>
                  <a:lnTo>
                    <a:pt x="2036" y="758"/>
                  </a:lnTo>
                  <a:lnTo>
                    <a:pt x="2036" y="758"/>
                  </a:lnTo>
                  <a:lnTo>
                    <a:pt x="2036" y="756"/>
                  </a:lnTo>
                  <a:lnTo>
                    <a:pt x="2038" y="756"/>
                  </a:lnTo>
                  <a:lnTo>
                    <a:pt x="2038" y="756"/>
                  </a:lnTo>
                  <a:lnTo>
                    <a:pt x="2038" y="754"/>
                  </a:lnTo>
                  <a:lnTo>
                    <a:pt x="2040" y="752"/>
                  </a:lnTo>
                  <a:lnTo>
                    <a:pt x="2040" y="752"/>
                  </a:lnTo>
                  <a:lnTo>
                    <a:pt x="2040" y="752"/>
                  </a:lnTo>
                  <a:lnTo>
                    <a:pt x="2042" y="748"/>
                  </a:lnTo>
                  <a:lnTo>
                    <a:pt x="2042" y="744"/>
                  </a:lnTo>
                  <a:lnTo>
                    <a:pt x="2042" y="742"/>
                  </a:lnTo>
                  <a:lnTo>
                    <a:pt x="2042" y="734"/>
                  </a:lnTo>
                  <a:lnTo>
                    <a:pt x="2044" y="730"/>
                  </a:lnTo>
                  <a:lnTo>
                    <a:pt x="2044" y="732"/>
                  </a:lnTo>
                  <a:lnTo>
                    <a:pt x="2044" y="728"/>
                  </a:lnTo>
                  <a:lnTo>
                    <a:pt x="2046" y="726"/>
                  </a:lnTo>
                  <a:lnTo>
                    <a:pt x="2046" y="726"/>
                  </a:lnTo>
                  <a:lnTo>
                    <a:pt x="2048" y="724"/>
                  </a:lnTo>
                  <a:lnTo>
                    <a:pt x="2048" y="726"/>
                  </a:lnTo>
                  <a:lnTo>
                    <a:pt x="2054" y="722"/>
                  </a:lnTo>
                  <a:lnTo>
                    <a:pt x="2058" y="720"/>
                  </a:lnTo>
                  <a:lnTo>
                    <a:pt x="2060" y="718"/>
                  </a:lnTo>
                  <a:lnTo>
                    <a:pt x="2060" y="718"/>
                  </a:lnTo>
                  <a:lnTo>
                    <a:pt x="2062" y="718"/>
                  </a:lnTo>
                  <a:lnTo>
                    <a:pt x="2062" y="716"/>
                  </a:lnTo>
                  <a:lnTo>
                    <a:pt x="2062" y="716"/>
                  </a:lnTo>
                  <a:lnTo>
                    <a:pt x="2064" y="716"/>
                  </a:lnTo>
                  <a:lnTo>
                    <a:pt x="2064" y="714"/>
                  </a:lnTo>
                  <a:lnTo>
                    <a:pt x="2066" y="712"/>
                  </a:lnTo>
                  <a:lnTo>
                    <a:pt x="2066" y="712"/>
                  </a:lnTo>
                  <a:lnTo>
                    <a:pt x="2066" y="712"/>
                  </a:lnTo>
                  <a:lnTo>
                    <a:pt x="2068" y="708"/>
                  </a:lnTo>
                  <a:lnTo>
                    <a:pt x="2068" y="706"/>
                  </a:lnTo>
                  <a:lnTo>
                    <a:pt x="2070" y="704"/>
                  </a:lnTo>
                  <a:lnTo>
                    <a:pt x="2072" y="700"/>
                  </a:lnTo>
                  <a:lnTo>
                    <a:pt x="2072" y="696"/>
                  </a:lnTo>
                  <a:lnTo>
                    <a:pt x="2074" y="694"/>
                  </a:lnTo>
                  <a:lnTo>
                    <a:pt x="2076" y="692"/>
                  </a:lnTo>
                  <a:lnTo>
                    <a:pt x="2076" y="690"/>
                  </a:lnTo>
                  <a:lnTo>
                    <a:pt x="2078" y="688"/>
                  </a:lnTo>
                  <a:lnTo>
                    <a:pt x="2080" y="686"/>
                  </a:lnTo>
                  <a:lnTo>
                    <a:pt x="2084" y="684"/>
                  </a:lnTo>
                  <a:lnTo>
                    <a:pt x="2086" y="684"/>
                  </a:lnTo>
                  <a:lnTo>
                    <a:pt x="2088" y="682"/>
                  </a:lnTo>
                  <a:lnTo>
                    <a:pt x="2092" y="682"/>
                  </a:lnTo>
                  <a:lnTo>
                    <a:pt x="2098" y="680"/>
                  </a:lnTo>
                  <a:lnTo>
                    <a:pt x="2100" y="680"/>
                  </a:lnTo>
                  <a:lnTo>
                    <a:pt x="2104" y="678"/>
                  </a:lnTo>
                  <a:lnTo>
                    <a:pt x="2106" y="680"/>
                  </a:lnTo>
                  <a:lnTo>
                    <a:pt x="2106" y="680"/>
                  </a:lnTo>
                  <a:lnTo>
                    <a:pt x="2108" y="680"/>
                  </a:lnTo>
                  <a:lnTo>
                    <a:pt x="2110" y="682"/>
                  </a:lnTo>
                  <a:lnTo>
                    <a:pt x="2112" y="684"/>
                  </a:lnTo>
                  <a:lnTo>
                    <a:pt x="2114" y="686"/>
                  </a:lnTo>
                  <a:lnTo>
                    <a:pt x="2114" y="686"/>
                  </a:lnTo>
                  <a:lnTo>
                    <a:pt x="2114" y="686"/>
                  </a:lnTo>
                  <a:lnTo>
                    <a:pt x="2114" y="690"/>
                  </a:lnTo>
                  <a:lnTo>
                    <a:pt x="2114" y="694"/>
                  </a:lnTo>
                  <a:lnTo>
                    <a:pt x="2114" y="696"/>
                  </a:lnTo>
                  <a:lnTo>
                    <a:pt x="2114" y="698"/>
                  </a:lnTo>
                  <a:lnTo>
                    <a:pt x="2114" y="700"/>
                  </a:lnTo>
                  <a:lnTo>
                    <a:pt x="2116" y="702"/>
                  </a:lnTo>
                  <a:lnTo>
                    <a:pt x="2116" y="708"/>
                  </a:lnTo>
                  <a:lnTo>
                    <a:pt x="2118" y="710"/>
                  </a:lnTo>
                  <a:lnTo>
                    <a:pt x="2118" y="712"/>
                  </a:lnTo>
                  <a:lnTo>
                    <a:pt x="2118" y="712"/>
                  </a:lnTo>
                  <a:lnTo>
                    <a:pt x="2118" y="712"/>
                  </a:lnTo>
                  <a:lnTo>
                    <a:pt x="2120" y="714"/>
                  </a:lnTo>
                  <a:lnTo>
                    <a:pt x="2120" y="714"/>
                  </a:lnTo>
                  <a:lnTo>
                    <a:pt x="2120" y="716"/>
                  </a:lnTo>
                  <a:lnTo>
                    <a:pt x="2122" y="716"/>
                  </a:lnTo>
                  <a:lnTo>
                    <a:pt x="2122" y="716"/>
                  </a:lnTo>
                  <a:lnTo>
                    <a:pt x="2122" y="716"/>
                  </a:lnTo>
                  <a:lnTo>
                    <a:pt x="2124" y="718"/>
                  </a:lnTo>
                  <a:lnTo>
                    <a:pt x="2124" y="718"/>
                  </a:lnTo>
                  <a:lnTo>
                    <a:pt x="2124" y="718"/>
                  </a:lnTo>
                  <a:lnTo>
                    <a:pt x="2126" y="718"/>
                  </a:lnTo>
                  <a:lnTo>
                    <a:pt x="2126" y="718"/>
                  </a:lnTo>
                  <a:lnTo>
                    <a:pt x="2128" y="718"/>
                  </a:lnTo>
                  <a:lnTo>
                    <a:pt x="2130" y="716"/>
                  </a:lnTo>
                  <a:lnTo>
                    <a:pt x="2130" y="716"/>
                  </a:lnTo>
                  <a:lnTo>
                    <a:pt x="2130" y="716"/>
                  </a:lnTo>
                  <a:lnTo>
                    <a:pt x="2132" y="714"/>
                  </a:lnTo>
                  <a:lnTo>
                    <a:pt x="2138" y="712"/>
                  </a:lnTo>
                  <a:lnTo>
                    <a:pt x="2142" y="708"/>
                  </a:lnTo>
                  <a:lnTo>
                    <a:pt x="2144" y="706"/>
                  </a:lnTo>
                  <a:lnTo>
                    <a:pt x="2148" y="704"/>
                  </a:lnTo>
                  <a:lnTo>
                    <a:pt x="2152" y="696"/>
                  </a:lnTo>
                  <a:lnTo>
                    <a:pt x="2156" y="690"/>
                  </a:lnTo>
                  <a:lnTo>
                    <a:pt x="2158" y="688"/>
                  </a:lnTo>
                  <a:lnTo>
                    <a:pt x="2160" y="686"/>
                  </a:lnTo>
                  <a:lnTo>
                    <a:pt x="2162" y="684"/>
                  </a:lnTo>
                  <a:lnTo>
                    <a:pt x="2162" y="684"/>
                  </a:lnTo>
                  <a:lnTo>
                    <a:pt x="2166" y="682"/>
                  </a:lnTo>
                  <a:lnTo>
                    <a:pt x="2168" y="680"/>
                  </a:lnTo>
                  <a:lnTo>
                    <a:pt x="2168" y="680"/>
                  </a:lnTo>
                  <a:lnTo>
                    <a:pt x="2168" y="680"/>
                  </a:lnTo>
                  <a:lnTo>
                    <a:pt x="2170" y="678"/>
                  </a:lnTo>
                  <a:lnTo>
                    <a:pt x="2170" y="678"/>
                  </a:lnTo>
                  <a:lnTo>
                    <a:pt x="2170" y="678"/>
                  </a:lnTo>
                  <a:lnTo>
                    <a:pt x="2170" y="676"/>
                  </a:lnTo>
                  <a:lnTo>
                    <a:pt x="2170" y="676"/>
                  </a:lnTo>
                  <a:lnTo>
                    <a:pt x="2172" y="676"/>
                  </a:lnTo>
                  <a:lnTo>
                    <a:pt x="2172" y="674"/>
                  </a:lnTo>
                  <a:lnTo>
                    <a:pt x="2172" y="674"/>
                  </a:lnTo>
                  <a:lnTo>
                    <a:pt x="2172" y="672"/>
                  </a:lnTo>
                  <a:lnTo>
                    <a:pt x="2170" y="672"/>
                  </a:lnTo>
                  <a:lnTo>
                    <a:pt x="2170" y="672"/>
                  </a:lnTo>
                  <a:lnTo>
                    <a:pt x="2170" y="670"/>
                  </a:lnTo>
                  <a:lnTo>
                    <a:pt x="2168" y="666"/>
                  </a:lnTo>
                  <a:lnTo>
                    <a:pt x="2168" y="664"/>
                  </a:lnTo>
                  <a:lnTo>
                    <a:pt x="2168" y="664"/>
                  </a:lnTo>
                  <a:lnTo>
                    <a:pt x="2166" y="662"/>
                  </a:lnTo>
                  <a:lnTo>
                    <a:pt x="2166" y="662"/>
                  </a:lnTo>
                  <a:lnTo>
                    <a:pt x="2168" y="658"/>
                  </a:lnTo>
                  <a:lnTo>
                    <a:pt x="2168" y="656"/>
                  </a:lnTo>
                  <a:lnTo>
                    <a:pt x="2168" y="656"/>
                  </a:lnTo>
                  <a:lnTo>
                    <a:pt x="2168" y="656"/>
                  </a:lnTo>
                  <a:lnTo>
                    <a:pt x="2170" y="654"/>
                  </a:lnTo>
                  <a:lnTo>
                    <a:pt x="2170" y="654"/>
                  </a:lnTo>
                  <a:lnTo>
                    <a:pt x="2172" y="654"/>
                  </a:lnTo>
                  <a:lnTo>
                    <a:pt x="2172" y="654"/>
                  </a:lnTo>
                  <a:lnTo>
                    <a:pt x="2174" y="654"/>
                  </a:lnTo>
                  <a:lnTo>
                    <a:pt x="2176" y="654"/>
                  </a:lnTo>
                  <a:lnTo>
                    <a:pt x="2180" y="654"/>
                  </a:lnTo>
                  <a:lnTo>
                    <a:pt x="2184" y="654"/>
                  </a:lnTo>
                  <a:lnTo>
                    <a:pt x="2188" y="654"/>
                  </a:lnTo>
                  <a:lnTo>
                    <a:pt x="2192" y="654"/>
                  </a:lnTo>
                  <a:lnTo>
                    <a:pt x="2190" y="654"/>
                  </a:lnTo>
                  <a:lnTo>
                    <a:pt x="2186" y="658"/>
                  </a:lnTo>
                  <a:lnTo>
                    <a:pt x="2186" y="658"/>
                  </a:lnTo>
                  <a:lnTo>
                    <a:pt x="2186" y="658"/>
                  </a:lnTo>
                  <a:lnTo>
                    <a:pt x="2184" y="662"/>
                  </a:lnTo>
                  <a:lnTo>
                    <a:pt x="2184" y="662"/>
                  </a:lnTo>
                  <a:lnTo>
                    <a:pt x="2184" y="662"/>
                  </a:lnTo>
                  <a:lnTo>
                    <a:pt x="2182" y="664"/>
                  </a:lnTo>
                  <a:lnTo>
                    <a:pt x="2182" y="664"/>
                  </a:lnTo>
                  <a:lnTo>
                    <a:pt x="2182" y="666"/>
                  </a:lnTo>
                  <a:lnTo>
                    <a:pt x="2180" y="668"/>
                  </a:lnTo>
                  <a:lnTo>
                    <a:pt x="2180" y="670"/>
                  </a:lnTo>
                  <a:lnTo>
                    <a:pt x="2180" y="674"/>
                  </a:lnTo>
                  <a:lnTo>
                    <a:pt x="2180" y="684"/>
                  </a:lnTo>
                  <a:lnTo>
                    <a:pt x="2180" y="688"/>
                  </a:lnTo>
                  <a:lnTo>
                    <a:pt x="2180" y="694"/>
                  </a:lnTo>
                  <a:lnTo>
                    <a:pt x="2178" y="698"/>
                  </a:lnTo>
                  <a:lnTo>
                    <a:pt x="2178" y="700"/>
                  </a:lnTo>
                  <a:lnTo>
                    <a:pt x="2176" y="704"/>
                  </a:lnTo>
                  <a:lnTo>
                    <a:pt x="2172" y="706"/>
                  </a:lnTo>
                  <a:lnTo>
                    <a:pt x="2174" y="706"/>
                  </a:lnTo>
                  <a:lnTo>
                    <a:pt x="2170" y="708"/>
                  </a:lnTo>
                  <a:lnTo>
                    <a:pt x="2166" y="710"/>
                  </a:lnTo>
                  <a:lnTo>
                    <a:pt x="2158" y="714"/>
                  </a:lnTo>
                  <a:lnTo>
                    <a:pt x="2154" y="716"/>
                  </a:lnTo>
                  <a:lnTo>
                    <a:pt x="2152" y="718"/>
                  </a:lnTo>
                  <a:lnTo>
                    <a:pt x="2148" y="720"/>
                  </a:lnTo>
                  <a:lnTo>
                    <a:pt x="2146" y="722"/>
                  </a:lnTo>
                  <a:lnTo>
                    <a:pt x="2142" y="724"/>
                  </a:lnTo>
                  <a:lnTo>
                    <a:pt x="2140" y="726"/>
                  </a:lnTo>
                  <a:lnTo>
                    <a:pt x="2136" y="728"/>
                  </a:lnTo>
                  <a:lnTo>
                    <a:pt x="2134" y="732"/>
                  </a:lnTo>
                  <a:lnTo>
                    <a:pt x="2132" y="734"/>
                  </a:lnTo>
                  <a:lnTo>
                    <a:pt x="2130" y="738"/>
                  </a:lnTo>
                  <a:lnTo>
                    <a:pt x="2126" y="742"/>
                  </a:lnTo>
                  <a:lnTo>
                    <a:pt x="2122" y="746"/>
                  </a:lnTo>
                  <a:lnTo>
                    <a:pt x="2120" y="752"/>
                  </a:lnTo>
                  <a:lnTo>
                    <a:pt x="2112" y="762"/>
                  </a:lnTo>
                  <a:lnTo>
                    <a:pt x="2110" y="766"/>
                  </a:lnTo>
                  <a:lnTo>
                    <a:pt x="2106" y="770"/>
                  </a:lnTo>
                  <a:lnTo>
                    <a:pt x="2098" y="776"/>
                  </a:lnTo>
                  <a:lnTo>
                    <a:pt x="2092" y="784"/>
                  </a:lnTo>
                  <a:lnTo>
                    <a:pt x="2084" y="790"/>
                  </a:lnTo>
                  <a:lnTo>
                    <a:pt x="2078" y="796"/>
                  </a:lnTo>
                  <a:lnTo>
                    <a:pt x="2074" y="800"/>
                  </a:lnTo>
                  <a:lnTo>
                    <a:pt x="2070" y="802"/>
                  </a:lnTo>
                  <a:lnTo>
                    <a:pt x="2064" y="808"/>
                  </a:lnTo>
                  <a:lnTo>
                    <a:pt x="2062" y="812"/>
                  </a:lnTo>
                  <a:lnTo>
                    <a:pt x="2058" y="816"/>
                  </a:lnTo>
                  <a:lnTo>
                    <a:pt x="2056" y="820"/>
                  </a:lnTo>
                  <a:lnTo>
                    <a:pt x="2054" y="824"/>
                  </a:lnTo>
                  <a:lnTo>
                    <a:pt x="2052" y="830"/>
                  </a:lnTo>
                  <a:lnTo>
                    <a:pt x="2050" y="836"/>
                  </a:lnTo>
                  <a:lnTo>
                    <a:pt x="2048" y="844"/>
                  </a:lnTo>
                  <a:lnTo>
                    <a:pt x="2048" y="850"/>
                  </a:lnTo>
                  <a:lnTo>
                    <a:pt x="2048" y="858"/>
                  </a:lnTo>
                  <a:lnTo>
                    <a:pt x="2048" y="866"/>
                  </a:lnTo>
                  <a:lnTo>
                    <a:pt x="2046" y="872"/>
                  </a:lnTo>
                  <a:lnTo>
                    <a:pt x="2048" y="878"/>
                  </a:lnTo>
                  <a:lnTo>
                    <a:pt x="2048" y="882"/>
                  </a:lnTo>
                  <a:lnTo>
                    <a:pt x="2048" y="882"/>
                  </a:lnTo>
                  <a:lnTo>
                    <a:pt x="2048" y="882"/>
                  </a:lnTo>
                  <a:lnTo>
                    <a:pt x="2050" y="884"/>
                  </a:lnTo>
                  <a:lnTo>
                    <a:pt x="2050" y="884"/>
                  </a:lnTo>
                  <a:lnTo>
                    <a:pt x="2050" y="886"/>
                  </a:lnTo>
                  <a:lnTo>
                    <a:pt x="2052" y="888"/>
                  </a:lnTo>
                  <a:lnTo>
                    <a:pt x="2052" y="888"/>
                  </a:lnTo>
                  <a:lnTo>
                    <a:pt x="2052" y="888"/>
                  </a:lnTo>
                  <a:lnTo>
                    <a:pt x="2054" y="890"/>
                  </a:lnTo>
                  <a:lnTo>
                    <a:pt x="2058" y="894"/>
                  </a:lnTo>
                  <a:lnTo>
                    <a:pt x="2058" y="894"/>
                  </a:lnTo>
                  <a:lnTo>
                    <a:pt x="2058" y="896"/>
                  </a:lnTo>
                  <a:lnTo>
                    <a:pt x="2060" y="898"/>
                  </a:lnTo>
                  <a:lnTo>
                    <a:pt x="2060" y="900"/>
                  </a:lnTo>
                  <a:lnTo>
                    <a:pt x="2060" y="904"/>
                  </a:lnTo>
                  <a:lnTo>
                    <a:pt x="2060" y="910"/>
                  </a:lnTo>
                  <a:lnTo>
                    <a:pt x="2058" y="918"/>
                  </a:lnTo>
                  <a:lnTo>
                    <a:pt x="2058" y="922"/>
                  </a:lnTo>
                  <a:lnTo>
                    <a:pt x="2058" y="924"/>
                  </a:lnTo>
                  <a:lnTo>
                    <a:pt x="2058" y="926"/>
                  </a:lnTo>
                  <a:lnTo>
                    <a:pt x="2058" y="928"/>
                  </a:lnTo>
                  <a:lnTo>
                    <a:pt x="2058" y="928"/>
                  </a:lnTo>
                  <a:lnTo>
                    <a:pt x="2060" y="928"/>
                  </a:lnTo>
                  <a:lnTo>
                    <a:pt x="2060" y="930"/>
                  </a:lnTo>
                  <a:lnTo>
                    <a:pt x="2062" y="934"/>
                  </a:lnTo>
                  <a:lnTo>
                    <a:pt x="2064" y="938"/>
                  </a:lnTo>
                  <a:lnTo>
                    <a:pt x="2064" y="940"/>
                  </a:lnTo>
                  <a:lnTo>
                    <a:pt x="2066" y="942"/>
                  </a:lnTo>
                  <a:lnTo>
                    <a:pt x="2066" y="944"/>
                  </a:lnTo>
                  <a:lnTo>
                    <a:pt x="2066" y="948"/>
                  </a:lnTo>
                  <a:lnTo>
                    <a:pt x="2066" y="952"/>
                  </a:lnTo>
                  <a:lnTo>
                    <a:pt x="2066" y="956"/>
                  </a:lnTo>
                  <a:lnTo>
                    <a:pt x="2066" y="960"/>
                  </a:lnTo>
                  <a:lnTo>
                    <a:pt x="2064" y="964"/>
                  </a:lnTo>
                  <a:lnTo>
                    <a:pt x="2066" y="968"/>
                  </a:lnTo>
                  <a:lnTo>
                    <a:pt x="2066" y="970"/>
                  </a:lnTo>
                  <a:lnTo>
                    <a:pt x="2066" y="970"/>
                  </a:lnTo>
                  <a:lnTo>
                    <a:pt x="2066" y="970"/>
                  </a:lnTo>
                  <a:lnTo>
                    <a:pt x="2066" y="972"/>
                  </a:lnTo>
                  <a:lnTo>
                    <a:pt x="2066" y="972"/>
                  </a:lnTo>
                  <a:lnTo>
                    <a:pt x="2070" y="972"/>
                  </a:lnTo>
                  <a:lnTo>
                    <a:pt x="2070" y="972"/>
                  </a:lnTo>
                  <a:lnTo>
                    <a:pt x="2070" y="972"/>
                  </a:lnTo>
                  <a:lnTo>
                    <a:pt x="2072" y="972"/>
                  </a:lnTo>
                  <a:lnTo>
                    <a:pt x="2072" y="970"/>
                  </a:lnTo>
                  <a:lnTo>
                    <a:pt x="2074" y="970"/>
                  </a:lnTo>
                  <a:lnTo>
                    <a:pt x="2076" y="966"/>
                  </a:lnTo>
                  <a:lnTo>
                    <a:pt x="2078" y="966"/>
                  </a:lnTo>
                  <a:lnTo>
                    <a:pt x="2078" y="966"/>
                  </a:lnTo>
                  <a:lnTo>
                    <a:pt x="2078" y="966"/>
                  </a:lnTo>
                  <a:lnTo>
                    <a:pt x="2078" y="966"/>
                  </a:lnTo>
                  <a:lnTo>
                    <a:pt x="2082" y="966"/>
                  </a:lnTo>
                  <a:lnTo>
                    <a:pt x="2084" y="966"/>
                  </a:lnTo>
                  <a:lnTo>
                    <a:pt x="2084" y="966"/>
                  </a:lnTo>
                  <a:lnTo>
                    <a:pt x="2084" y="966"/>
                  </a:lnTo>
                  <a:lnTo>
                    <a:pt x="2086" y="966"/>
                  </a:lnTo>
                  <a:lnTo>
                    <a:pt x="2086" y="966"/>
                  </a:lnTo>
                  <a:lnTo>
                    <a:pt x="2086" y="966"/>
                  </a:lnTo>
                  <a:lnTo>
                    <a:pt x="2088" y="964"/>
                  </a:lnTo>
                  <a:lnTo>
                    <a:pt x="2088" y="964"/>
                  </a:lnTo>
                  <a:lnTo>
                    <a:pt x="2088" y="964"/>
                  </a:lnTo>
                  <a:lnTo>
                    <a:pt x="2090" y="962"/>
                  </a:lnTo>
                  <a:lnTo>
                    <a:pt x="2090" y="962"/>
                  </a:lnTo>
                  <a:lnTo>
                    <a:pt x="2090" y="962"/>
                  </a:lnTo>
                  <a:lnTo>
                    <a:pt x="2092" y="960"/>
                  </a:lnTo>
                  <a:lnTo>
                    <a:pt x="2094" y="956"/>
                  </a:lnTo>
                  <a:lnTo>
                    <a:pt x="2096" y="954"/>
                  </a:lnTo>
                  <a:lnTo>
                    <a:pt x="2098" y="950"/>
                  </a:lnTo>
                  <a:lnTo>
                    <a:pt x="2100" y="942"/>
                  </a:lnTo>
                  <a:lnTo>
                    <a:pt x="2102" y="940"/>
                  </a:lnTo>
                  <a:lnTo>
                    <a:pt x="2102" y="936"/>
                  </a:lnTo>
                  <a:lnTo>
                    <a:pt x="2104" y="932"/>
                  </a:lnTo>
                  <a:lnTo>
                    <a:pt x="2106" y="926"/>
                  </a:lnTo>
                  <a:lnTo>
                    <a:pt x="2108" y="924"/>
                  </a:lnTo>
                  <a:lnTo>
                    <a:pt x="2108" y="922"/>
                  </a:lnTo>
                  <a:lnTo>
                    <a:pt x="2110" y="922"/>
                  </a:lnTo>
                  <a:lnTo>
                    <a:pt x="2110" y="922"/>
                  </a:lnTo>
                  <a:lnTo>
                    <a:pt x="2110" y="922"/>
                  </a:lnTo>
                  <a:lnTo>
                    <a:pt x="2112" y="922"/>
                  </a:lnTo>
                  <a:lnTo>
                    <a:pt x="2112" y="924"/>
                  </a:lnTo>
                  <a:lnTo>
                    <a:pt x="2114" y="926"/>
                  </a:lnTo>
                  <a:lnTo>
                    <a:pt x="2116" y="928"/>
                  </a:lnTo>
                  <a:lnTo>
                    <a:pt x="2116" y="928"/>
                  </a:lnTo>
                  <a:lnTo>
                    <a:pt x="2118" y="928"/>
                  </a:lnTo>
                  <a:lnTo>
                    <a:pt x="2118" y="928"/>
                  </a:lnTo>
                  <a:lnTo>
                    <a:pt x="2118" y="928"/>
                  </a:lnTo>
                  <a:lnTo>
                    <a:pt x="2122" y="928"/>
                  </a:lnTo>
                  <a:lnTo>
                    <a:pt x="2122" y="926"/>
                  </a:lnTo>
                  <a:lnTo>
                    <a:pt x="2122" y="926"/>
                  </a:lnTo>
                  <a:lnTo>
                    <a:pt x="2124" y="924"/>
                  </a:lnTo>
                  <a:lnTo>
                    <a:pt x="2124" y="924"/>
                  </a:lnTo>
                  <a:lnTo>
                    <a:pt x="2124" y="922"/>
                  </a:lnTo>
                  <a:lnTo>
                    <a:pt x="2122" y="920"/>
                  </a:lnTo>
                  <a:lnTo>
                    <a:pt x="2122" y="918"/>
                  </a:lnTo>
                  <a:lnTo>
                    <a:pt x="2122" y="914"/>
                  </a:lnTo>
                  <a:lnTo>
                    <a:pt x="2120" y="910"/>
                  </a:lnTo>
                  <a:lnTo>
                    <a:pt x="2120" y="908"/>
                  </a:lnTo>
                  <a:lnTo>
                    <a:pt x="2120" y="904"/>
                  </a:lnTo>
                  <a:lnTo>
                    <a:pt x="2118" y="902"/>
                  </a:lnTo>
                  <a:lnTo>
                    <a:pt x="2120" y="902"/>
                  </a:lnTo>
                  <a:lnTo>
                    <a:pt x="2120" y="900"/>
                  </a:lnTo>
                  <a:lnTo>
                    <a:pt x="2120" y="900"/>
                  </a:lnTo>
                  <a:lnTo>
                    <a:pt x="2122" y="898"/>
                  </a:lnTo>
                  <a:lnTo>
                    <a:pt x="2124" y="896"/>
                  </a:lnTo>
                  <a:lnTo>
                    <a:pt x="2126" y="894"/>
                  </a:lnTo>
                  <a:lnTo>
                    <a:pt x="2128" y="892"/>
                  </a:lnTo>
                  <a:lnTo>
                    <a:pt x="2132" y="890"/>
                  </a:lnTo>
                  <a:lnTo>
                    <a:pt x="2130" y="890"/>
                  </a:lnTo>
                  <a:lnTo>
                    <a:pt x="2134" y="888"/>
                  </a:lnTo>
                  <a:lnTo>
                    <a:pt x="2134" y="888"/>
                  </a:lnTo>
                  <a:lnTo>
                    <a:pt x="2134" y="888"/>
                  </a:lnTo>
                  <a:lnTo>
                    <a:pt x="2138" y="888"/>
                  </a:lnTo>
                  <a:lnTo>
                    <a:pt x="2142" y="890"/>
                  </a:lnTo>
                  <a:lnTo>
                    <a:pt x="2142" y="890"/>
                  </a:lnTo>
                  <a:lnTo>
                    <a:pt x="2142" y="890"/>
                  </a:lnTo>
                  <a:lnTo>
                    <a:pt x="2144" y="890"/>
                  </a:lnTo>
                  <a:lnTo>
                    <a:pt x="2144" y="890"/>
                  </a:lnTo>
                  <a:lnTo>
                    <a:pt x="2144" y="888"/>
                  </a:lnTo>
                  <a:lnTo>
                    <a:pt x="2146" y="888"/>
                  </a:lnTo>
                  <a:lnTo>
                    <a:pt x="2146" y="888"/>
                  </a:lnTo>
                  <a:lnTo>
                    <a:pt x="2146" y="888"/>
                  </a:lnTo>
                  <a:lnTo>
                    <a:pt x="2148" y="886"/>
                  </a:lnTo>
                  <a:lnTo>
                    <a:pt x="2148" y="886"/>
                  </a:lnTo>
                  <a:lnTo>
                    <a:pt x="2148" y="886"/>
                  </a:lnTo>
                  <a:lnTo>
                    <a:pt x="2152" y="884"/>
                  </a:lnTo>
                  <a:lnTo>
                    <a:pt x="2154" y="880"/>
                  </a:lnTo>
                  <a:lnTo>
                    <a:pt x="2154" y="880"/>
                  </a:lnTo>
                  <a:lnTo>
                    <a:pt x="2154" y="880"/>
                  </a:lnTo>
                  <a:lnTo>
                    <a:pt x="2154" y="878"/>
                  </a:lnTo>
                  <a:lnTo>
                    <a:pt x="2154" y="878"/>
                  </a:lnTo>
                  <a:lnTo>
                    <a:pt x="2154" y="878"/>
                  </a:lnTo>
                  <a:lnTo>
                    <a:pt x="2156" y="874"/>
                  </a:lnTo>
                  <a:lnTo>
                    <a:pt x="2156" y="874"/>
                  </a:lnTo>
                  <a:lnTo>
                    <a:pt x="2156" y="872"/>
                  </a:lnTo>
                  <a:lnTo>
                    <a:pt x="2156" y="868"/>
                  </a:lnTo>
                  <a:lnTo>
                    <a:pt x="2154" y="864"/>
                  </a:lnTo>
                  <a:lnTo>
                    <a:pt x="2154" y="860"/>
                  </a:lnTo>
                  <a:lnTo>
                    <a:pt x="2154" y="856"/>
                  </a:lnTo>
                  <a:lnTo>
                    <a:pt x="2154" y="852"/>
                  </a:lnTo>
                  <a:lnTo>
                    <a:pt x="2154" y="852"/>
                  </a:lnTo>
                  <a:lnTo>
                    <a:pt x="2154" y="850"/>
                  </a:lnTo>
                  <a:lnTo>
                    <a:pt x="2154" y="850"/>
                  </a:lnTo>
                  <a:lnTo>
                    <a:pt x="2156" y="850"/>
                  </a:lnTo>
                  <a:lnTo>
                    <a:pt x="2158" y="852"/>
                  </a:lnTo>
                  <a:lnTo>
                    <a:pt x="2162" y="852"/>
                  </a:lnTo>
                  <a:lnTo>
                    <a:pt x="2166" y="852"/>
                  </a:lnTo>
                  <a:lnTo>
                    <a:pt x="2168" y="852"/>
                  </a:lnTo>
                  <a:lnTo>
                    <a:pt x="2168" y="852"/>
                  </a:lnTo>
                  <a:lnTo>
                    <a:pt x="2170" y="852"/>
                  </a:lnTo>
                  <a:lnTo>
                    <a:pt x="2170" y="852"/>
                  </a:lnTo>
                  <a:lnTo>
                    <a:pt x="2172" y="852"/>
                  </a:lnTo>
                  <a:lnTo>
                    <a:pt x="2174" y="852"/>
                  </a:lnTo>
                  <a:lnTo>
                    <a:pt x="2174" y="852"/>
                  </a:lnTo>
                  <a:lnTo>
                    <a:pt x="2174" y="850"/>
                  </a:lnTo>
                  <a:lnTo>
                    <a:pt x="2176" y="848"/>
                  </a:lnTo>
                  <a:lnTo>
                    <a:pt x="2176" y="848"/>
                  </a:lnTo>
                  <a:lnTo>
                    <a:pt x="2176" y="848"/>
                  </a:lnTo>
                  <a:lnTo>
                    <a:pt x="2176" y="846"/>
                  </a:lnTo>
                  <a:lnTo>
                    <a:pt x="2176" y="846"/>
                  </a:lnTo>
                  <a:lnTo>
                    <a:pt x="2176" y="846"/>
                  </a:lnTo>
                  <a:lnTo>
                    <a:pt x="2176" y="844"/>
                  </a:lnTo>
                  <a:lnTo>
                    <a:pt x="2176" y="840"/>
                  </a:lnTo>
                  <a:lnTo>
                    <a:pt x="2174" y="836"/>
                  </a:lnTo>
                  <a:lnTo>
                    <a:pt x="2174" y="830"/>
                  </a:lnTo>
                  <a:lnTo>
                    <a:pt x="2174" y="828"/>
                  </a:lnTo>
                  <a:lnTo>
                    <a:pt x="2174" y="828"/>
                  </a:lnTo>
                  <a:lnTo>
                    <a:pt x="2174" y="828"/>
                  </a:lnTo>
                  <a:lnTo>
                    <a:pt x="2172" y="824"/>
                  </a:lnTo>
                  <a:lnTo>
                    <a:pt x="2168" y="820"/>
                  </a:lnTo>
                  <a:lnTo>
                    <a:pt x="2168" y="818"/>
                  </a:lnTo>
                  <a:lnTo>
                    <a:pt x="2166" y="816"/>
                  </a:lnTo>
                  <a:lnTo>
                    <a:pt x="2166" y="814"/>
                  </a:lnTo>
                  <a:lnTo>
                    <a:pt x="2166" y="812"/>
                  </a:lnTo>
                  <a:lnTo>
                    <a:pt x="2166" y="812"/>
                  </a:lnTo>
                  <a:lnTo>
                    <a:pt x="2166" y="810"/>
                  </a:lnTo>
                  <a:lnTo>
                    <a:pt x="2168" y="808"/>
                  </a:lnTo>
                  <a:lnTo>
                    <a:pt x="2170" y="806"/>
                  </a:lnTo>
                  <a:lnTo>
                    <a:pt x="2172" y="804"/>
                  </a:lnTo>
                  <a:lnTo>
                    <a:pt x="2174" y="804"/>
                  </a:lnTo>
                  <a:lnTo>
                    <a:pt x="2174" y="804"/>
                  </a:lnTo>
                  <a:lnTo>
                    <a:pt x="2174" y="802"/>
                  </a:lnTo>
                  <a:lnTo>
                    <a:pt x="2174" y="802"/>
                  </a:lnTo>
                  <a:lnTo>
                    <a:pt x="2174" y="802"/>
                  </a:lnTo>
                  <a:lnTo>
                    <a:pt x="2174" y="800"/>
                  </a:lnTo>
                  <a:lnTo>
                    <a:pt x="2174" y="800"/>
                  </a:lnTo>
                  <a:lnTo>
                    <a:pt x="2174" y="800"/>
                  </a:lnTo>
                  <a:lnTo>
                    <a:pt x="2174" y="798"/>
                  </a:lnTo>
                  <a:lnTo>
                    <a:pt x="2174" y="796"/>
                  </a:lnTo>
                  <a:lnTo>
                    <a:pt x="2172" y="796"/>
                  </a:lnTo>
                  <a:lnTo>
                    <a:pt x="2172" y="796"/>
                  </a:lnTo>
                  <a:lnTo>
                    <a:pt x="2172" y="796"/>
                  </a:lnTo>
                  <a:lnTo>
                    <a:pt x="2168" y="796"/>
                  </a:lnTo>
                  <a:lnTo>
                    <a:pt x="2166" y="796"/>
                  </a:lnTo>
                  <a:lnTo>
                    <a:pt x="2164" y="798"/>
                  </a:lnTo>
                  <a:lnTo>
                    <a:pt x="2160" y="798"/>
                  </a:lnTo>
                  <a:lnTo>
                    <a:pt x="2158" y="798"/>
                  </a:lnTo>
                  <a:lnTo>
                    <a:pt x="2158" y="798"/>
                  </a:lnTo>
                  <a:lnTo>
                    <a:pt x="2156" y="798"/>
                  </a:lnTo>
                  <a:lnTo>
                    <a:pt x="2156" y="798"/>
                  </a:lnTo>
                  <a:lnTo>
                    <a:pt x="2156" y="798"/>
                  </a:lnTo>
                  <a:lnTo>
                    <a:pt x="2156" y="794"/>
                  </a:lnTo>
                  <a:lnTo>
                    <a:pt x="2156" y="790"/>
                  </a:lnTo>
                  <a:lnTo>
                    <a:pt x="2156" y="786"/>
                  </a:lnTo>
                  <a:lnTo>
                    <a:pt x="2156" y="782"/>
                  </a:lnTo>
                  <a:lnTo>
                    <a:pt x="2156" y="780"/>
                  </a:lnTo>
                  <a:lnTo>
                    <a:pt x="2156" y="776"/>
                  </a:lnTo>
                  <a:lnTo>
                    <a:pt x="2158" y="774"/>
                  </a:lnTo>
                  <a:lnTo>
                    <a:pt x="2158" y="772"/>
                  </a:lnTo>
                  <a:lnTo>
                    <a:pt x="2160" y="770"/>
                  </a:lnTo>
                  <a:lnTo>
                    <a:pt x="2162" y="768"/>
                  </a:lnTo>
                  <a:lnTo>
                    <a:pt x="2164" y="766"/>
                  </a:lnTo>
                  <a:lnTo>
                    <a:pt x="2166" y="766"/>
                  </a:lnTo>
                  <a:lnTo>
                    <a:pt x="2168" y="766"/>
                  </a:lnTo>
                  <a:lnTo>
                    <a:pt x="2168" y="766"/>
                  </a:lnTo>
                  <a:lnTo>
                    <a:pt x="2168" y="770"/>
                  </a:lnTo>
                  <a:lnTo>
                    <a:pt x="2168" y="772"/>
                  </a:lnTo>
                  <a:lnTo>
                    <a:pt x="2168" y="772"/>
                  </a:lnTo>
                  <a:lnTo>
                    <a:pt x="2168" y="774"/>
                  </a:lnTo>
                  <a:lnTo>
                    <a:pt x="2168" y="774"/>
                  </a:lnTo>
                  <a:lnTo>
                    <a:pt x="2168" y="776"/>
                  </a:lnTo>
                  <a:lnTo>
                    <a:pt x="2170" y="776"/>
                  </a:lnTo>
                  <a:lnTo>
                    <a:pt x="2170" y="776"/>
                  </a:lnTo>
                  <a:lnTo>
                    <a:pt x="2172" y="778"/>
                  </a:lnTo>
                  <a:lnTo>
                    <a:pt x="2172" y="778"/>
                  </a:lnTo>
                  <a:lnTo>
                    <a:pt x="2172" y="778"/>
                  </a:lnTo>
                  <a:lnTo>
                    <a:pt x="2174" y="778"/>
                  </a:lnTo>
                  <a:lnTo>
                    <a:pt x="2176" y="778"/>
                  </a:lnTo>
                  <a:lnTo>
                    <a:pt x="2178" y="778"/>
                  </a:lnTo>
                  <a:lnTo>
                    <a:pt x="2182" y="778"/>
                  </a:lnTo>
                  <a:lnTo>
                    <a:pt x="2184" y="776"/>
                  </a:lnTo>
                  <a:lnTo>
                    <a:pt x="2188" y="776"/>
                  </a:lnTo>
                  <a:lnTo>
                    <a:pt x="2190" y="774"/>
                  </a:lnTo>
                  <a:lnTo>
                    <a:pt x="2190" y="774"/>
                  </a:lnTo>
                  <a:lnTo>
                    <a:pt x="2190" y="774"/>
                  </a:lnTo>
                  <a:lnTo>
                    <a:pt x="2190" y="774"/>
                  </a:lnTo>
                  <a:lnTo>
                    <a:pt x="2190" y="774"/>
                  </a:lnTo>
                  <a:lnTo>
                    <a:pt x="2192" y="772"/>
                  </a:lnTo>
                  <a:lnTo>
                    <a:pt x="2194" y="770"/>
                  </a:lnTo>
                  <a:lnTo>
                    <a:pt x="2194" y="770"/>
                  </a:lnTo>
                  <a:lnTo>
                    <a:pt x="2194" y="768"/>
                  </a:lnTo>
                  <a:lnTo>
                    <a:pt x="2194" y="766"/>
                  </a:lnTo>
                  <a:lnTo>
                    <a:pt x="2194" y="766"/>
                  </a:lnTo>
                  <a:lnTo>
                    <a:pt x="2194" y="764"/>
                  </a:lnTo>
                  <a:lnTo>
                    <a:pt x="2194" y="762"/>
                  </a:lnTo>
                  <a:lnTo>
                    <a:pt x="2194" y="762"/>
                  </a:lnTo>
                  <a:lnTo>
                    <a:pt x="2194" y="762"/>
                  </a:lnTo>
                  <a:lnTo>
                    <a:pt x="2194" y="760"/>
                  </a:lnTo>
                  <a:lnTo>
                    <a:pt x="2194" y="760"/>
                  </a:lnTo>
                  <a:lnTo>
                    <a:pt x="2194" y="760"/>
                  </a:lnTo>
                  <a:lnTo>
                    <a:pt x="2192" y="758"/>
                  </a:lnTo>
                  <a:lnTo>
                    <a:pt x="2192" y="758"/>
                  </a:lnTo>
                  <a:lnTo>
                    <a:pt x="2192" y="758"/>
                  </a:lnTo>
                  <a:lnTo>
                    <a:pt x="2190" y="756"/>
                  </a:lnTo>
                  <a:lnTo>
                    <a:pt x="2190" y="756"/>
                  </a:lnTo>
                  <a:lnTo>
                    <a:pt x="2190" y="756"/>
                  </a:lnTo>
                  <a:lnTo>
                    <a:pt x="2188" y="756"/>
                  </a:lnTo>
                  <a:lnTo>
                    <a:pt x="2188" y="756"/>
                  </a:lnTo>
                  <a:lnTo>
                    <a:pt x="2184" y="756"/>
                  </a:lnTo>
                  <a:lnTo>
                    <a:pt x="2180" y="758"/>
                  </a:lnTo>
                  <a:lnTo>
                    <a:pt x="2178" y="758"/>
                  </a:lnTo>
                  <a:lnTo>
                    <a:pt x="2178" y="758"/>
                  </a:lnTo>
                  <a:lnTo>
                    <a:pt x="2176" y="756"/>
                  </a:lnTo>
                  <a:lnTo>
                    <a:pt x="2174" y="756"/>
                  </a:lnTo>
                  <a:lnTo>
                    <a:pt x="2168" y="754"/>
                  </a:lnTo>
                  <a:lnTo>
                    <a:pt x="2166" y="754"/>
                  </a:lnTo>
                  <a:lnTo>
                    <a:pt x="2166" y="754"/>
                  </a:lnTo>
                  <a:lnTo>
                    <a:pt x="2166" y="752"/>
                  </a:lnTo>
                  <a:lnTo>
                    <a:pt x="2168" y="752"/>
                  </a:lnTo>
                  <a:lnTo>
                    <a:pt x="2172" y="750"/>
                  </a:lnTo>
                  <a:lnTo>
                    <a:pt x="2178" y="746"/>
                  </a:lnTo>
                  <a:lnTo>
                    <a:pt x="2182" y="744"/>
                  </a:lnTo>
                  <a:lnTo>
                    <a:pt x="2184" y="744"/>
                  </a:lnTo>
                  <a:lnTo>
                    <a:pt x="2190" y="742"/>
                  </a:lnTo>
                  <a:lnTo>
                    <a:pt x="2196" y="740"/>
                  </a:lnTo>
                  <a:lnTo>
                    <a:pt x="2202" y="738"/>
                  </a:lnTo>
                  <a:lnTo>
                    <a:pt x="2204" y="736"/>
                  </a:lnTo>
                  <a:lnTo>
                    <a:pt x="2204" y="736"/>
                  </a:lnTo>
                  <a:lnTo>
                    <a:pt x="2204" y="736"/>
                  </a:lnTo>
                  <a:lnTo>
                    <a:pt x="2206" y="736"/>
                  </a:lnTo>
                  <a:lnTo>
                    <a:pt x="2206" y="736"/>
                  </a:lnTo>
                  <a:lnTo>
                    <a:pt x="2208" y="734"/>
                  </a:lnTo>
                  <a:lnTo>
                    <a:pt x="2208" y="734"/>
                  </a:lnTo>
                  <a:lnTo>
                    <a:pt x="2208" y="734"/>
                  </a:lnTo>
                  <a:lnTo>
                    <a:pt x="2210" y="732"/>
                  </a:lnTo>
                  <a:lnTo>
                    <a:pt x="2210" y="730"/>
                  </a:lnTo>
                  <a:lnTo>
                    <a:pt x="2210" y="730"/>
                  </a:lnTo>
                  <a:lnTo>
                    <a:pt x="2212" y="730"/>
                  </a:lnTo>
                  <a:lnTo>
                    <a:pt x="2214" y="726"/>
                  </a:lnTo>
                  <a:lnTo>
                    <a:pt x="2214" y="724"/>
                  </a:lnTo>
                  <a:lnTo>
                    <a:pt x="2214" y="726"/>
                  </a:lnTo>
                  <a:lnTo>
                    <a:pt x="2214" y="728"/>
                  </a:lnTo>
                  <a:lnTo>
                    <a:pt x="2216" y="730"/>
                  </a:lnTo>
                  <a:lnTo>
                    <a:pt x="2216" y="730"/>
                  </a:lnTo>
                  <a:lnTo>
                    <a:pt x="2216" y="730"/>
                  </a:lnTo>
                  <a:lnTo>
                    <a:pt x="2216" y="732"/>
                  </a:lnTo>
                  <a:lnTo>
                    <a:pt x="2216" y="732"/>
                  </a:lnTo>
                  <a:lnTo>
                    <a:pt x="2218" y="734"/>
                  </a:lnTo>
                  <a:lnTo>
                    <a:pt x="2218" y="734"/>
                  </a:lnTo>
                  <a:lnTo>
                    <a:pt x="2218" y="734"/>
                  </a:lnTo>
                  <a:lnTo>
                    <a:pt x="2220" y="734"/>
                  </a:lnTo>
                  <a:lnTo>
                    <a:pt x="2222" y="734"/>
                  </a:lnTo>
                  <a:lnTo>
                    <a:pt x="2222" y="734"/>
                  </a:lnTo>
                  <a:lnTo>
                    <a:pt x="2222" y="734"/>
                  </a:lnTo>
                  <a:lnTo>
                    <a:pt x="2224" y="734"/>
                  </a:lnTo>
                  <a:lnTo>
                    <a:pt x="2224" y="734"/>
                  </a:lnTo>
                  <a:lnTo>
                    <a:pt x="2226" y="734"/>
                  </a:lnTo>
                  <a:lnTo>
                    <a:pt x="2228" y="732"/>
                  </a:lnTo>
                  <a:lnTo>
                    <a:pt x="2230" y="732"/>
                  </a:lnTo>
                  <a:lnTo>
                    <a:pt x="2236" y="728"/>
                  </a:lnTo>
                  <a:lnTo>
                    <a:pt x="2238" y="726"/>
                  </a:lnTo>
                  <a:lnTo>
                    <a:pt x="2240" y="726"/>
                  </a:lnTo>
                  <a:lnTo>
                    <a:pt x="2238" y="726"/>
                  </a:lnTo>
                  <a:lnTo>
                    <a:pt x="2242" y="724"/>
                  </a:lnTo>
                  <a:lnTo>
                    <a:pt x="2246" y="724"/>
                  </a:lnTo>
                  <a:lnTo>
                    <a:pt x="2250" y="724"/>
                  </a:lnTo>
                  <a:lnTo>
                    <a:pt x="2254" y="724"/>
                  </a:lnTo>
                  <a:lnTo>
                    <a:pt x="2258" y="724"/>
                  </a:lnTo>
                  <a:lnTo>
                    <a:pt x="2260" y="724"/>
                  </a:lnTo>
                  <a:lnTo>
                    <a:pt x="2262" y="724"/>
                  </a:lnTo>
                  <a:lnTo>
                    <a:pt x="2264" y="724"/>
                  </a:lnTo>
                  <a:lnTo>
                    <a:pt x="2264" y="724"/>
                  </a:lnTo>
                  <a:lnTo>
                    <a:pt x="2264" y="726"/>
                  </a:lnTo>
                  <a:lnTo>
                    <a:pt x="2266" y="726"/>
                  </a:lnTo>
                  <a:lnTo>
                    <a:pt x="2266" y="730"/>
                  </a:lnTo>
                  <a:lnTo>
                    <a:pt x="2266" y="732"/>
                  </a:lnTo>
                  <a:lnTo>
                    <a:pt x="2268" y="734"/>
                  </a:lnTo>
                  <a:lnTo>
                    <a:pt x="2268" y="736"/>
                  </a:lnTo>
                  <a:lnTo>
                    <a:pt x="2268" y="736"/>
                  </a:lnTo>
                  <a:lnTo>
                    <a:pt x="2268" y="738"/>
                  </a:lnTo>
                  <a:lnTo>
                    <a:pt x="2270" y="738"/>
                  </a:lnTo>
                  <a:lnTo>
                    <a:pt x="2270" y="738"/>
                  </a:lnTo>
                  <a:lnTo>
                    <a:pt x="2272" y="738"/>
                  </a:lnTo>
                  <a:lnTo>
                    <a:pt x="2272" y="738"/>
                  </a:lnTo>
                  <a:lnTo>
                    <a:pt x="2272" y="738"/>
                  </a:lnTo>
                  <a:lnTo>
                    <a:pt x="2274" y="738"/>
                  </a:lnTo>
                  <a:lnTo>
                    <a:pt x="2274" y="738"/>
                  </a:lnTo>
                  <a:lnTo>
                    <a:pt x="2274" y="738"/>
                  </a:lnTo>
                  <a:lnTo>
                    <a:pt x="2276" y="736"/>
                  </a:lnTo>
                  <a:lnTo>
                    <a:pt x="2276" y="736"/>
                  </a:lnTo>
                  <a:lnTo>
                    <a:pt x="2276" y="734"/>
                  </a:lnTo>
                  <a:lnTo>
                    <a:pt x="2278" y="730"/>
                  </a:lnTo>
                  <a:lnTo>
                    <a:pt x="2278" y="730"/>
                  </a:lnTo>
                  <a:lnTo>
                    <a:pt x="2280" y="728"/>
                  </a:lnTo>
                  <a:lnTo>
                    <a:pt x="2280" y="728"/>
                  </a:lnTo>
                  <a:lnTo>
                    <a:pt x="2282" y="728"/>
                  </a:lnTo>
                  <a:lnTo>
                    <a:pt x="2284" y="726"/>
                  </a:lnTo>
                  <a:lnTo>
                    <a:pt x="2286" y="726"/>
                  </a:lnTo>
                  <a:lnTo>
                    <a:pt x="2286" y="726"/>
                  </a:lnTo>
                  <a:lnTo>
                    <a:pt x="2286" y="726"/>
                  </a:lnTo>
                  <a:lnTo>
                    <a:pt x="2288" y="724"/>
                  </a:lnTo>
                  <a:lnTo>
                    <a:pt x="2288" y="724"/>
                  </a:lnTo>
                  <a:lnTo>
                    <a:pt x="2292" y="722"/>
                  </a:lnTo>
                  <a:lnTo>
                    <a:pt x="2294" y="720"/>
                  </a:lnTo>
                  <a:lnTo>
                    <a:pt x="2298" y="714"/>
                  </a:lnTo>
                  <a:lnTo>
                    <a:pt x="2304" y="708"/>
                  </a:lnTo>
                  <a:lnTo>
                    <a:pt x="2308" y="704"/>
                  </a:lnTo>
                  <a:lnTo>
                    <a:pt x="2312" y="700"/>
                  </a:lnTo>
                  <a:lnTo>
                    <a:pt x="2316" y="694"/>
                  </a:lnTo>
                  <a:lnTo>
                    <a:pt x="2318" y="692"/>
                  </a:lnTo>
                  <a:lnTo>
                    <a:pt x="2322" y="690"/>
                  </a:lnTo>
                  <a:lnTo>
                    <a:pt x="2324" y="688"/>
                  </a:lnTo>
                  <a:lnTo>
                    <a:pt x="2328" y="684"/>
                  </a:lnTo>
                  <a:lnTo>
                    <a:pt x="2332" y="682"/>
                  </a:lnTo>
                  <a:lnTo>
                    <a:pt x="2334" y="682"/>
                  </a:lnTo>
                  <a:lnTo>
                    <a:pt x="2340" y="678"/>
                  </a:lnTo>
                  <a:lnTo>
                    <a:pt x="2348" y="674"/>
                  </a:lnTo>
                  <a:lnTo>
                    <a:pt x="2356" y="672"/>
                  </a:lnTo>
                  <a:lnTo>
                    <a:pt x="2362" y="668"/>
                  </a:lnTo>
                  <a:lnTo>
                    <a:pt x="2370" y="664"/>
                  </a:lnTo>
                  <a:lnTo>
                    <a:pt x="2376" y="662"/>
                  </a:lnTo>
                  <a:lnTo>
                    <a:pt x="2378" y="660"/>
                  </a:lnTo>
                  <a:lnTo>
                    <a:pt x="2386" y="658"/>
                  </a:lnTo>
                  <a:lnTo>
                    <a:pt x="2386" y="656"/>
                  </a:lnTo>
                  <a:lnTo>
                    <a:pt x="2388" y="656"/>
                  </a:lnTo>
                  <a:lnTo>
                    <a:pt x="2388" y="656"/>
                  </a:lnTo>
                  <a:lnTo>
                    <a:pt x="2388" y="656"/>
                  </a:lnTo>
                  <a:lnTo>
                    <a:pt x="2390" y="656"/>
                  </a:lnTo>
                  <a:lnTo>
                    <a:pt x="2392" y="658"/>
                  </a:lnTo>
                  <a:lnTo>
                    <a:pt x="2394" y="658"/>
                  </a:lnTo>
                  <a:lnTo>
                    <a:pt x="2400" y="660"/>
                  </a:lnTo>
                  <a:lnTo>
                    <a:pt x="2402" y="662"/>
                  </a:lnTo>
                  <a:lnTo>
                    <a:pt x="2404" y="662"/>
                  </a:lnTo>
                  <a:lnTo>
                    <a:pt x="2404" y="662"/>
                  </a:lnTo>
                  <a:lnTo>
                    <a:pt x="2404" y="662"/>
                  </a:lnTo>
                  <a:lnTo>
                    <a:pt x="2408" y="664"/>
                  </a:lnTo>
                  <a:lnTo>
                    <a:pt x="2408" y="664"/>
                  </a:lnTo>
                  <a:lnTo>
                    <a:pt x="2410" y="662"/>
                  </a:lnTo>
                  <a:lnTo>
                    <a:pt x="2410" y="662"/>
                  </a:lnTo>
                  <a:lnTo>
                    <a:pt x="2410" y="662"/>
                  </a:lnTo>
                  <a:lnTo>
                    <a:pt x="2412" y="662"/>
                  </a:lnTo>
                  <a:lnTo>
                    <a:pt x="2412" y="662"/>
                  </a:lnTo>
                  <a:lnTo>
                    <a:pt x="2414" y="660"/>
                  </a:lnTo>
                  <a:lnTo>
                    <a:pt x="2414" y="660"/>
                  </a:lnTo>
                  <a:lnTo>
                    <a:pt x="2414" y="660"/>
                  </a:lnTo>
                  <a:lnTo>
                    <a:pt x="2416" y="658"/>
                  </a:lnTo>
                  <a:lnTo>
                    <a:pt x="2416" y="656"/>
                  </a:lnTo>
                  <a:lnTo>
                    <a:pt x="2418" y="654"/>
                  </a:lnTo>
                  <a:lnTo>
                    <a:pt x="2420" y="648"/>
                  </a:lnTo>
                  <a:lnTo>
                    <a:pt x="2420" y="644"/>
                  </a:lnTo>
                  <a:lnTo>
                    <a:pt x="2422" y="642"/>
                  </a:lnTo>
                  <a:lnTo>
                    <a:pt x="2422" y="642"/>
                  </a:lnTo>
                  <a:lnTo>
                    <a:pt x="2422" y="642"/>
                  </a:lnTo>
                  <a:lnTo>
                    <a:pt x="2420" y="640"/>
                  </a:lnTo>
                  <a:lnTo>
                    <a:pt x="2420" y="640"/>
                  </a:lnTo>
                  <a:lnTo>
                    <a:pt x="2420" y="638"/>
                  </a:lnTo>
                  <a:lnTo>
                    <a:pt x="2420" y="638"/>
                  </a:lnTo>
                  <a:lnTo>
                    <a:pt x="2420" y="638"/>
                  </a:lnTo>
                  <a:lnTo>
                    <a:pt x="2420" y="636"/>
                  </a:lnTo>
                  <a:lnTo>
                    <a:pt x="2418" y="636"/>
                  </a:lnTo>
                  <a:lnTo>
                    <a:pt x="2416" y="634"/>
                  </a:lnTo>
                  <a:lnTo>
                    <a:pt x="2414" y="630"/>
                  </a:lnTo>
                  <a:lnTo>
                    <a:pt x="2412" y="628"/>
                  </a:lnTo>
                  <a:lnTo>
                    <a:pt x="2410" y="626"/>
                  </a:lnTo>
                  <a:lnTo>
                    <a:pt x="2410" y="624"/>
                  </a:lnTo>
                  <a:lnTo>
                    <a:pt x="2408" y="622"/>
                  </a:lnTo>
                  <a:lnTo>
                    <a:pt x="2404" y="614"/>
                  </a:lnTo>
                  <a:lnTo>
                    <a:pt x="2404" y="612"/>
                  </a:lnTo>
                  <a:lnTo>
                    <a:pt x="2402" y="608"/>
                  </a:lnTo>
                  <a:lnTo>
                    <a:pt x="2400" y="604"/>
                  </a:lnTo>
                  <a:lnTo>
                    <a:pt x="2398" y="602"/>
                  </a:lnTo>
                  <a:lnTo>
                    <a:pt x="2398" y="600"/>
                  </a:lnTo>
                  <a:lnTo>
                    <a:pt x="2396" y="600"/>
                  </a:lnTo>
                  <a:lnTo>
                    <a:pt x="2396" y="600"/>
                  </a:lnTo>
                  <a:lnTo>
                    <a:pt x="2396" y="598"/>
                  </a:lnTo>
                  <a:lnTo>
                    <a:pt x="2394" y="596"/>
                  </a:lnTo>
                  <a:lnTo>
                    <a:pt x="2392" y="594"/>
                  </a:lnTo>
                  <a:lnTo>
                    <a:pt x="2390" y="592"/>
                  </a:lnTo>
                  <a:lnTo>
                    <a:pt x="2386" y="592"/>
                  </a:lnTo>
                  <a:lnTo>
                    <a:pt x="2386" y="592"/>
                  </a:lnTo>
                  <a:lnTo>
                    <a:pt x="2386" y="590"/>
                  </a:lnTo>
                  <a:lnTo>
                    <a:pt x="2384" y="590"/>
                  </a:lnTo>
                  <a:lnTo>
                    <a:pt x="2382" y="588"/>
                  </a:lnTo>
                  <a:lnTo>
                    <a:pt x="2382" y="588"/>
                  </a:lnTo>
                  <a:lnTo>
                    <a:pt x="2380" y="584"/>
                  </a:lnTo>
                  <a:lnTo>
                    <a:pt x="2378" y="582"/>
                  </a:lnTo>
                  <a:lnTo>
                    <a:pt x="2376" y="578"/>
                  </a:lnTo>
                  <a:lnTo>
                    <a:pt x="2376" y="578"/>
                  </a:lnTo>
                  <a:lnTo>
                    <a:pt x="2376" y="578"/>
                  </a:lnTo>
                  <a:lnTo>
                    <a:pt x="2376" y="578"/>
                  </a:lnTo>
                  <a:lnTo>
                    <a:pt x="2378" y="578"/>
                  </a:lnTo>
                  <a:lnTo>
                    <a:pt x="2382" y="576"/>
                  </a:lnTo>
                  <a:lnTo>
                    <a:pt x="2382" y="576"/>
                  </a:lnTo>
                  <a:lnTo>
                    <a:pt x="2384" y="576"/>
                  </a:lnTo>
                  <a:lnTo>
                    <a:pt x="2384" y="578"/>
                  </a:lnTo>
                  <a:lnTo>
                    <a:pt x="2384" y="578"/>
                  </a:lnTo>
                  <a:lnTo>
                    <a:pt x="2386" y="580"/>
                  </a:lnTo>
                  <a:lnTo>
                    <a:pt x="2388" y="584"/>
                  </a:lnTo>
                  <a:lnTo>
                    <a:pt x="2388" y="584"/>
                  </a:lnTo>
                  <a:lnTo>
                    <a:pt x="2390" y="584"/>
                  </a:lnTo>
                  <a:lnTo>
                    <a:pt x="2390" y="584"/>
                  </a:lnTo>
                  <a:lnTo>
                    <a:pt x="2390" y="584"/>
                  </a:lnTo>
                  <a:lnTo>
                    <a:pt x="2392" y="586"/>
                  </a:lnTo>
                  <a:lnTo>
                    <a:pt x="2394" y="586"/>
                  </a:lnTo>
                  <a:lnTo>
                    <a:pt x="2394" y="586"/>
                  </a:lnTo>
                  <a:lnTo>
                    <a:pt x="2394" y="586"/>
                  </a:lnTo>
                  <a:lnTo>
                    <a:pt x="2396" y="586"/>
                  </a:lnTo>
                  <a:lnTo>
                    <a:pt x="2400" y="586"/>
                  </a:lnTo>
                  <a:lnTo>
                    <a:pt x="2406" y="586"/>
                  </a:lnTo>
                  <a:lnTo>
                    <a:pt x="2412" y="584"/>
                  </a:lnTo>
                  <a:lnTo>
                    <a:pt x="2414" y="584"/>
                  </a:lnTo>
                  <a:lnTo>
                    <a:pt x="2416" y="582"/>
                  </a:lnTo>
                  <a:lnTo>
                    <a:pt x="2416" y="582"/>
                  </a:lnTo>
                  <a:lnTo>
                    <a:pt x="2418" y="582"/>
                  </a:lnTo>
                  <a:lnTo>
                    <a:pt x="2420" y="580"/>
                  </a:lnTo>
                  <a:lnTo>
                    <a:pt x="2420" y="580"/>
                  </a:lnTo>
                  <a:lnTo>
                    <a:pt x="2420" y="580"/>
                  </a:lnTo>
                  <a:lnTo>
                    <a:pt x="2422" y="578"/>
                  </a:lnTo>
                  <a:lnTo>
                    <a:pt x="2424" y="576"/>
                  </a:lnTo>
                  <a:lnTo>
                    <a:pt x="2424" y="572"/>
                  </a:lnTo>
                  <a:lnTo>
                    <a:pt x="2426" y="570"/>
                  </a:lnTo>
                  <a:lnTo>
                    <a:pt x="2426" y="570"/>
                  </a:lnTo>
                  <a:lnTo>
                    <a:pt x="2426" y="570"/>
                  </a:lnTo>
                  <a:lnTo>
                    <a:pt x="2426" y="566"/>
                  </a:lnTo>
                  <a:lnTo>
                    <a:pt x="2428" y="564"/>
                  </a:lnTo>
                  <a:lnTo>
                    <a:pt x="2428" y="562"/>
                  </a:lnTo>
                  <a:lnTo>
                    <a:pt x="2428" y="560"/>
                  </a:lnTo>
                  <a:lnTo>
                    <a:pt x="2430" y="560"/>
                  </a:lnTo>
                  <a:lnTo>
                    <a:pt x="2432" y="558"/>
                  </a:lnTo>
                  <a:lnTo>
                    <a:pt x="2432" y="558"/>
                  </a:lnTo>
                  <a:lnTo>
                    <a:pt x="2432" y="558"/>
                  </a:lnTo>
                  <a:lnTo>
                    <a:pt x="2432" y="556"/>
                  </a:lnTo>
                  <a:lnTo>
                    <a:pt x="2432" y="556"/>
                  </a:lnTo>
                  <a:lnTo>
                    <a:pt x="2432" y="556"/>
                  </a:lnTo>
                  <a:lnTo>
                    <a:pt x="2432" y="558"/>
                  </a:lnTo>
                  <a:lnTo>
                    <a:pt x="2434" y="560"/>
                  </a:lnTo>
                  <a:lnTo>
                    <a:pt x="2434" y="560"/>
                  </a:lnTo>
                  <a:lnTo>
                    <a:pt x="2434" y="560"/>
                  </a:lnTo>
                  <a:lnTo>
                    <a:pt x="2436" y="562"/>
                  </a:lnTo>
                  <a:lnTo>
                    <a:pt x="2436" y="562"/>
                  </a:lnTo>
                  <a:lnTo>
                    <a:pt x="2436" y="562"/>
                  </a:lnTo>
                  <a:lnTo>
                    <a:pt x="2438" y="562"/>
                  </a:lnTo>
                  <a:lnTo>
                    <a:pt x="2438" y="562"/>
                  </a:lnTo>
                  <a:lnTo>
                    <a:pt x="2440" y="564"/>
                  </a:lnTo>
                  <a:lnTo>
                    <a:pt x="2442" y="564"/>
                  </a:lnTo>
                  <a:lnTo>
                    <a:pt x="2444" y="564"/>
                  </a:lnTo>
                  <a:lnTo>
                    <a:pt x="2450" y="562"/>
                  </a:lnTo>
                  <a:lnTo>
                    <a:pt x="2452" y="562"/>
                  </a:lnTo>
                  <a:lnTo>
                    <a:pt x="2456" y="562"/>
                  </a:lnTo>
                  <a:lnTo>
                    <a:pt x="2458" y="562"/>
                  </a:lnTo>
                  <a:lnTo>
                    <a:pt x="2458" y="562"/>
                  </a:lnTo>
                  <a:lnTo>
                    <a:pt x="2458" y="562"/>
                  </a:lnTo>
                  <a:lnTo>
                    <a:pt x="2460" y="560"/>
                  </a:lnTo>
                  <a:lnTo>
                    <a:pt x="2460" y="560"/>
                  </a:lnTo>
                  <a:lnTo>
                    <a:pt x="2460" y="560"/>
                  </a:lnTo>
                  <a:lnTo>
                    <a:pt x="2462" y="558"/>
                  </a:lnTo>
                  <a:lnTo>
                    <a:pt x="2466" y="556"/>
                  </a:lnTo>
                  <a:lnTo>
                    <a:pt x="2466" y="556"/>
                  </a:lnTo>
                  <a:lnTo>
                    <a:pt x="2466" y="556"/>
                  </a:lnTo>
                  <a:lnTo>
                    <a:pt x="2468" y="556"/>
                  </a:lnTo>
                  <a:lnTo>
                    <a:pt x="2472" y="556"/>
                  </a:lnTo>
                  <a:lnTo>
                    <a:pt x="2472" y="556"/>
                  </a:lnTo>
                  <a:lnTo>
                    <a:pt x="2474" y="556"/>
                  </a:lnTo>
                  <a:lnTo>
                    <a:pt x="2474" y="556"/>
                  </a:lnTo>
                  <a:lnTo>
                    <a:pt x="2474" y="558"/>
                  </a:lnTo>
                  <a:lnTo>
                    <a:pt x="2474" y="560"/>
                  </a:lnTo>
                  <a:lnTo>
                    <a:pt x="2472" y="564"/>
                  </a:lnTo>
                  <a:lnTo>
                    <a:pt x="2470" y="566"/>
                  </a:lnTo>
                  <a:lnTo>
                    <a:pt x="2470" y="570"/>
                  </a:lnTo>
                  <a:lnTo>
                    <a:pt x="2470" y="570"/>
                  </a:lnTo>
                  <a:lnTo>
                    <a:pt x="2470" y="572"/>
                  </a:lnTo>
                  <a:lnTo>
                    <a:pt x="2470" y="572"/>
                  </a:lnTo>
                  <a:lnTo>
                    <a:pt x="2470" y="572"/>
                  </a:lnTo>
                  <a:lnTo>
                    <a:pt x="2470" y="574"/>
                  </a:lnTo>
                  <a:lnTo>
                    <a:pt x="2470" y="574"/>
                  </a:lnTo>
                  <a:lnTo>
                    <a:pt x="2470" y="576"/>
                  </a:lnTo>
                  <a:lnTo>
                    <a:pt x="2472" y="578"/>
                  </a:lnTo>
                  <a:lnTo>
                    <a:pt x="2472" y="578"/>
                  </a:lnTo>
                  <a:lnTo>
                    <a:pt x="2472" y="578"/>
                  </a:lnTo>
                  <a:lnTo>
                    <a:pt x="2474" y="578"/>
                  </a:lnTo>
                  <a:lnTo>
                    <a:pt x="2474" y="578"/>
                  </a:lnTo>
                  <a:lnTo>
                    <a:pt x="2476" y="580"/>
                  </a:lnTo>
                  <a:lnTo>
                    <a:pt x="2478" y="580"/>
                  </a:lnTo>
                  <a:lnTo>
                    <a:pt x="2480" y="580"/>
                  </a:lnTo>
                  <a:lnTo>
                    <a:pt x="2486" y="580"/>
                  </a:lnTo>
                  <a:lnTo>
                    <a:pt x="2488" y="580"/>
                  </a:lnTo>
                  <a:lnTo>
                    <a:pt x="2490" y="582"/>
                  </a:lnTo>
                  <a:lnTo>
                    <a:pt x="2492" y="582"/>
                  </a:lnTo>
                  <a:lnTo>
                    <a:pt x="2492" y="584"/>
                  </a:lnTo>
                  <a:lnTo>
                    <a:pt x="2494" y="588"/>
                  </a:lnTo>
                  <a:lnTo>
                    <a:pt x="2496" y="592"/>
                  </a:lnTo>
                  <a:lnTo>
                    <a:pt x="2498" y="594"/>
                  </a:lnTo>
                  <a:lnTo>
                    <a:pt x="2500" y="596"/>
                  </a:lnTo>
                  <a:lnTo>
                    <a:pt x="2500" y="596"/>
                  </a:lnTo>
                  <a:lnTo>
                    <a:pt x="2500" y="596"/>
                  </a:lnTo>
                  <a:lnTo>
                    <a:pt x="2502" y="598"/>
                  </a:lnTo>
                  <a:lnTo>
                    <a:pt x="2504" y="600"/>
                  </a:lnTo>
                  <a:lnTo>
                    <a:pt x="2510" y="602"/>
                  </a:lnTo>
                  <a:lnTo>
                    <a:pt x="2512" y="604"/>
                  </a:lnTo>
                  <a:lnTo>
                    <a:pt x="2514" y="604"/>
                  </a:lnTo>
                  <a:lnTo>
                    <a:pt x="2514" y="604"/>
                  </a:lnTo>
                  <a:lnTo>
                    <a:pt x="2516" y="604"/>
                  </a:lnTo>
                  <a:lnTo>
                    <a:pt x="2516" y="604"/>
                  </a:lnTo>
                  <a:lnTo>
                    <a:pt x="2518" y="604"/>
                  </a:lnTo>
                  <a:lnTo>
                    <a:pt x="2520" y="604"/>
                  </a:lnTo>
                  <a:lnTo>
                    <a:pt x="2520" y="604"/>
                  </a:lnTo>
                  <a:lnTo>
                    <a:pt x="2520" y="602"/>
                  </a:lnTo>
                  <a:lnTo>
                    <a:pt x="2522" y="602"/>
                  </a:lnTo>
                  <a:lnTo>
                    <a:pt x="2522" y="602"/>
                  </a:lnTo>
                  <a:lnTo>
                    <a:pt x="2522" y="600"/>
                  </a:lnTo>
                  <a:lnTo>
                    <a:pt x="2522" y="598"/>
                  </a:lnTo>
                  <a:lnTo>
                    <a:pt x="2522" y="596"/>
                  </a:lnTo>
                  <a:lnTo>
                    <a:pt x="2522" y="594"/>
                  </a:lnTo>
                  <a:lnTo>
                    <a:pt x="2522" y="588"/>
                  </a:lnTo>
                  <a:lnTo>
                    <a:pt x="2522" y="586"/>
                  </a:lnTo>
                  <a:lnTo>
                    <a:pt x="2522" y="586"/>
                  </a:lnTo>
                  <a:lnTo>
                    <a:pt x="2522" y="584"/>
                  </a:lnTo>
                  <a:lnTo>
                    <a:pt x="2522" y="584"/>
                  </a:lnTo>
                  <a:lnTo>
                    <a:pt x="2524" y="580"/>
                  </a:lnTo>
                  <a:lnTo>
                    <a:pt x="2526" y="578"/>
                  </a:lnTo>
                  <a:lnTo>
                    <a:pt x="2528" y="574"/>
                  </a:lnTo>
                  <a:lnTo>
                    <a:pt x="2530" y="570"/>
                  </a:lnTo>
                  <a:lnTo>
                    <a:pt x="2534" y="566"/>
                  </a:lnTo>
                  <a:lnTo>
                    <a:pt x="2536" y="562"/>
                  </a:lnTo>
                  <a:lnTo>
                    <a:pt x="2538" y="560"/>
                  </a:lnTo>
                  <a:lnTo>
                    <a:pt x="2538" y="560"/>
                  </a:lnTo>
                  <a:lnTo>
                    <a:pt x="2538" y="560"/>
                  </a:lnTo>
                  <a:lnTo>
                    <a:pt x="2540" y="558"/>
                  </a:lnTo>
                  <a:lnTo>
                    <a:pt x="2540" y="558"/>
                  </a:lnTo>
                  <a:lnTo>
                    <a:pt x="2540" y="556"/>
                  </a:lnTo>
                  <a:lnTo>
                    <a:pt x="2540" y="556"/>
                  </a:lnTo>
                  <a:lnTo>
                    <a:pt x="2540" y="556"/>
                  </a:lnTo>
                  <a:lnTo>
                    <a:pt x="2540" y="554"/>
                  </a:lnTo>
                  <a:lnTo>
                    <a:pt x="2542" y="554"/>
                  </a:lnTo>
                  <a:lnTo>
                    <a:pt x="2544" y="554"/>
                  </a:lnTo>
                  <a:lnTo>
                    <a:pt x="2548" y="556"/>
                  </a:lnTo>
                  <a:lnTo>
                    <a:pt x="2548" y="556"/>
                  </a:lnTo>
                  <a:lnTo>
                    <a:pt x="2548" y="556"/>
                  </a:lnTo>
                  <a:lnTo>
                    <a:pt x="2552" y="554"/>
                  </a:lnTo>
                  <a:lnTo>
                    <a:pt x="2552" y="554"/>
                  </a:lnTo>
                  <a:lnTo>
                    <a:pt x="2552" y="554"/>
                  </a:lnTo>
                  <a:lnTo>
                    <a:pt x="2554" y="554"/>
                  </a:lnTo>
                  <a:lnTo>
                    <a:pt x="2554" y="554"/>
                  </a:lnTo>
                  <a:lnTo>
                    <a:pt x="2556" y="554"/>
                  </a:lnTo>
                  <a:lnTo>
                    <a:pt x="2558" y="552"/>
                  </a:lnTo>
                  <a:lnTo>
                    <a:pt x="2558" y="552"/>
                  </a:lnTo>
                  <a:lnTo>
                    <a:pt x="2558" y="552"/>
                  </a:lnTo>
                  <a:lnTo>
                    <a:pt x="2560" y="550"/>
                  </a:lnTo>
                  <a:lnTo>
                    <a:pt x="2562" y="548"/>
                  </a:lnTo>
                  <a:lnTo>
                    <a:pt x="2564" y="546"/>
                  </a:lnTo>
                  <a:lnTo>
                    <a:pt x="2566" y="542"/>
                  </a:lnTo>
                  <a:lnTo>
                    <a:pt x="2566" y="542"/>
                  </a:lnTo>
                  <a:lnTo>
                    <a:pt x="2566" y="540"/>
                  </a:lnTo>
                  <a:lnTo>
                    <a:pt x="2566" y="538"/>
                  </a:lnTo>
                  <a:lnTo>
                    <a:pt x="2566" y="538"/>
                  </a:lnTo>
                  <a:lnTo>
                    <a:pt x="2566" y="538"/>
                  </a:lnTo>
                  <a:lnTo>
                    <a:pt x="2568" y="536"/>
                  </a:lnTo>
                  <a:lnTo>
                    <a:pt x="2568" y="536"/>
                  </a:lnTo>
                  <a:lnTo>
                    <a:pt x="2568" y="534"/>
                  </a:lnTo>
                  <a:lnTo>
                    <a:pt x="2568" y="534"/>
                  </a:lnTo>
                  <a:lnTo>
                    <a:pt x="2568" y="532"/>
                  </a:lnTo>
                  <a:lnTo>
                    <a:pt x="2568" y="530"/>
                  </a:lnTo>
                  <a:close/>
                  <a:moveTo>
                    <a:pt x="874" y="436"/>
                  </a:moveTo>
                  <a:lnTo>
                    <a:pt x="872" y="434"/>
                  </a:lnTo>
                  <a:lnTo>
                    <a:pt x="870" y="434"/>
                  </a:lnTo>
                  <a:lnTo>
                    <a:pt x="870" y="432"/>
                  </a:lnTo>
                  <a:lnTo>
                    <a:pt x="868" y="428"/>
                  </a:lnTo>
                  <a:lnTo>
                    <a:pt x="866" y="426"/>
                  </a:lnTo>
                  <a:lnTo>
                    <a:pt x="864" y="422"/>
                  </a:lnTo>
                  <a:lnTo>
                    <a:pt x="862" y="418"/>
                  </a:lnTo>
                  <a:lnTo>
                    <a:pt x="862" y="414"/>
                  </a:lnTo>
                  <a:lnTo>
                    <a:pt x="860" y="414"/>
                  </a:lnTo>
                  <a:lnTo>
                    <a:pt x="862" y="414"/>
                  </a:lnTo>
                  <a:lnTo>
                    <a:pt x="864" y="414"/>
                  </a:lnTo>
                  <a:lnTo>
                    <a:pt x="864" y="414"/>
                  </a:lnTo>
                  <a:lnTo>
                    <a:pt x="866" y="414"/>
                  </a:lnTo>
                  <a:lnTo>
                    <a:pt x="868" y="416"/>
                  </a:lnTo>
                  <a:lnTo>
                    <a:pt x="868" y="414"/>
                  </a:lnTo>
                  <a:lnTo>
                    <a:pt x="870" y="416"/>
                  </a:lnTo>
                  <a:lnTo>
                    <a:pt x="874" y="420"/>
                  </a:lnTo>
                  <a:lnTo>
                    <a:pt x="876" y="422"/>
                  </a:lnTo>
                  <a:lnTo>
                    <a:pt x="880" y="424"/>
                  </a:lnTo>
                  <a:lnTo>
                    <a:pt x="880" y="428"/>
                  </a:lnTo>
                  <a:lnTo>
                    <a:pt x="880" y="428"/>
                  </a:lnTo>
                  <a:lnTo>
                    <a:pt x="882" y="430"/>
                  </a:lnTo>
                  <a:lnTo>
                    <a:pt x="882" y="432"/>
                  </a:lnTo>
                  <a:lnTo>
                    <a:pt x="882" y="438"/>
                  </a:lnTo>
                  <a:lnTo>
                    <a:pt x="882" y="442"/>
                  </a:lnTo>
                  <a:lnTo>
                    <a:pt x="880" y="442"/>
                  </a:lnTo>
                  <a:lnTo>
                    <a:pt x="880" y="442"/>
                  </a:lnTo>
                  <a:lnTo>
                    <a:pt x="880" y="442"/>
                  </a:lnTo>
                  <a:lnTo>
                    <a:pt x="880" y="440"/>
                  </a:lnTo>
                  <a:lnTo>
                    <a:pt x="878" y="440"/>
                  </a:lnTo>
                  <a:lnTo>
                    <a:pt x="876" y="438"/>
                  </a:lnTo>
                  <a:lnTo>
                    <a:pt x="874" y="436"/>
                  </a:lnTo>
                  <a:close/>
                  <a:moveTo>
                    <a:pt x="886" y="474"/>
                  </a:moveTo>
                  <a:lnTo>
                    <a:pt x="882" y="472"/>
                  </a:lnTo>
                  <a:lnTo>
                    <a:pt x="880" y="470"/>
                  </a:lnTo>
                  <a:lnTo>
                    <a:pt x="878" y="466"/>
                  </a:lnTo>
                  <a:lnTo>
                    <a:pt x="880" y="468"/>
                  </a:lnTo>
                  <a:lnTo>
                    <a:pt x="878" y="466"/>
                  </a:lnTo>
                  <a:lnTo>
                    <a:pt x="878" y="464"/>
                  </a:lnTo>
                  <a:lnTo>
                    <a:pt x="878" y="462"/>
                  </a:lnTo>
                  <a:lnTo>
                    <a:pt x="878" y="458"/>
                  </a:lnTo>
                  <a:lnTo>
                    <a:pt x="880" y="456"/>
                  </a:lnTo>
                  <a:lnTo>
                    <a:pt x="880" y="450"/>
                  </a:lnTo>
                  <a:lnTo>
                    <a:pt x="880" y="452"/>
                  </a:lnTo>
                  <a:lnTo>
                    <a:pt x="880" y="454"/>
                  </a:lnTo>
                  <a:lnTo>
                    <a:pt x="882" y="456"/>
                  </a:lnTo>
                  <a:lnTo>
                    <a:pt x="882" y="458"/>
                  </a:lnTo>
                  <a:lnTo>
                    <a:pt x="882" y="460"/>
                  </a:lnTo>
                  <a:lnTo>
                    <a:pt x="882" y="462"/>
                  </a:lnTo>
                  <a:lnTo>
                    <a:pt x="884" y="466"/>
                  </a:lnTo>
                  <a:lnTo>
                    <a:pt x="884" y="468"/>
                  </a:lnTo>
                  <a:lnTo>
                    <a:pt x="886" y="472"/>
                  </a:lnTo>
                  <a:lnTo>
                    <a:pt x="886" y="474"/>
                  </a:lnTo>
                  <a:lnTo>
                    <a:pt x="886" y="474"/>
                  </a:lnTo>
                  <a:close/>
                  <a:moveTo>
                    <a:pt x="888" y="330"/>
                  </a:moveTo>
                  <a:lnTo>
                    <a:pt x="886" y="330"/>
                  </a:lnTo>
                  <a:lnTo>
                    <a:pt x="882" y="330"/>
                  </a:lnTo>
                  <a:lnTo>
                    <a:pt x="878" y="330"/>
                  </a:lnTo>
                  <a:lnTo>
                    <a:pt x="874" y="330"/>
                  </a:lnTo>
                  <a:lnTo>
                    <a:pt x="872" y="328"/>
                  </a:lnTo>
                  <a:lnTo>
                    <a:pt x="868" y="328"/>
                  </a:lnTo>
                  <a:lnTo>
                    <a:pt x="866" y="326"/>
                  </a:lnTo>
                  <a:lnTo>
                    <a:pt x="862" y="324"/>
                  </a:lnTo>
                  <a:lnTo>
                    <a:pt x="858" y="320"/>
                  </a:lnTo>
                  <a:lnTo>
                    <a:pt x="854" y="318"/>
                  </a:lnTo>
                  <a:lnTo>
                    <a:pt x="852" y="316"/>
                  </a:lnTo>
                  <a:lnTo>
                    <a:pt x="848" y="314"/>
                  </a:lnTo>
                  <a:lnTo>
                    <a:pt x="846" y="310"/>
                  </a:lnTo>
                  <a:lnTo>
                    <a:pt x="848" y="312"/>
                  </a:lnTo>
                  <a:lnTo>
                    <a:pt x="846" y="310"/>
                  </a:lnTo>
                  <a:lnTo>
                    <a:pt x="846" y="308"/>
                  </a:lnTo>
                  <a:lnTo>
                    <a:pt x="846" y="308"/>
                  </a:lnTo>
                  <a:lnTo>
                    <a:pt x="846" y="306"/>
                  </a:lnTo>
                  <a:lnTo>
                    <a:pt x="846" y="304"/>
                  </a:lnTo>
                  <a:lnTo>
                    <a:pt x="846" y="300"/>
                  </a:lnTo>
                  <a:lnTo>
                    <a:pt x="848" y="296"/>
                  </a:lnTo>
                  <a:lnTo>
                    <a:pt x="848" y="296"/>
                  </a:lnTo>
                  <a:lnTo>
                    <a:pt x="848" y="296"/>
                  </a:lnTo>
                  <a:lnTo>
                    <a:pt x="850" y="296"/>
                  </a:lnTo>
                  <a:lnTo>
                    <a:pt x="852" y="296"/>
                  </a:lnTo>
                  <a:lnTo>
                    <a:pt x="852" y="296"/>
                  </a:lnTo>
                  <a:lnTo>
                    <a:pt x="852" y="294"/>
                  </a:lnTo>
                  <a:lnTo>
                    <a:pt x="854" y="294"/>
                  </a:lnTo>
                  <a:lnTo>
                    <a:pt x="854" y="294"/>
                  </a:lnTo>
                  <a:lnTo>
                    <a:pt x="854" y="294"/>
                  </a:lnTo>
                  <a:lnTo>
                    <a:pt x="856" y="292"/>
                  </a:lnTo>
                  <a:lnTo>
                    <a:pt x="856" y="292"/>
                  </a:lnTo>
                  <a:lnTo>
                    <a:pt x="856" y="292"/>
                  </a:lnTo>
                  <a:lnTo>
                    <a:pt x="856" y="292"/>
                  </a:lnTo>
                  <a:lnTo>
                    <a:pt x="854" y="294"/>
                  </a:lnTo>
                  <a:lnTo>
                    <a:pt x="854" y="298"/>
                  </a:lnTo>
                  <a:lnTo>
                    <a:pt x="854" y="298"/>
                  </a:lnTo>
                  <a:lnTo>
                    <a:pt x="856" y="300"/>
                  </a:lnTo>
                  <a:lnTo>
                    <a:pt x="856" y="302"/>
                  </a:lnTo>
                  <a:lnTo>
                    <a:pt x="856" y="302"/>
                  </a:lnTo>
                  <a:lnTo>
                    <a:pt x="856" y="302"/>
                  </a:lnTo>
                  <a:lnTo>
                    <a:pt x="856" y="304"/>
                  </a:lnTo>
                  <a:lnTo>
                    <a:pt x="856" y="304"/>
                  </a:lnTo>
                  <a:lnTo>
                    <a:pt x="856" y="304"/>
                  </a:lnTo>
                  <a:lnTo>
                    <a:pt x="858" y="306"/>
                  </a:lnTo>
                  <a:lnTo>
                    <a:pt x="858" y="306"/>
                  </a:lnTo>
                  <a:lnTo>
                    <a:pt x="858" y="308"/>
                  </a:lnTo>
                  <a:lnTo>
                    <a:pt x="860" y="310"/>
                  </a:lnTo>
                  <a:lnTo>
                    <a:pt x="862" y="312"/>
                  </a:lnTo>
                  <a:lnTo>
                    <a:pt x="864" y="312"/>
                  </a:lnTo>
                  <a:lnTo>
                    <a:pt x="868" y="316"/>
                  </a:lnTo>
                  <a:lnTo>
                    <a:pt x="874" y="318"/>
                  </a:lnTo>
                  <a:lnTo>
                    <a:pt x="878" y="322"/>
                  </a:lnTo>
                  <a:lnTo>
                    <a:pt x="884" y="324"/>
                  </a:lnTo>
                  <a:lnTo>
                    <a:pt x="888" y="326"/>
                  </a:lnTo>
                  <a:lnTo>
                    <a:pt x="888" y="328"/>
                  </a:lnTo>
                  <a:lnTo>
                    <a:pt x="890" y="328"/>
                  </a:lnTo>
                  <a:lnTo>
                    <a:pt x="888" y="330"/>
                  </a:lnTo>
                  <a:close/>
                  <a:moveTo>
                    <a:pt x="966" y="316"/>
                  </a:moveTo>
                  <a:lnTo>
                    <a:pt x="966" y="320"/>
                  </a:lnTo>
                  <a:lnTo>
                    <a:pt x="966" y="322"/>
                  </a:lnTo>
                  <a:lnTo>
                    <a:pt x="966" y="330"/>
                  </a:lnTo>
                  <a:lnTo>
                    <a:pt x="966" y="332"/>
                  </a:lnTo>
                  <a:lnTo>
                    <a:pt x="964" y="334"/>
                  </a:lnTo>
                  <a:lnTo>
                    <a:pt x="964" y="336"/>
                  </a:lnTo>
                  <a:lnTo>
                    <a:pt x="964" y="336"/>
                  </a:lnTo>
                  <a:lnTo>
                    <a:pt x="964" y="338"/>
                  </a:lnTo>
                  <a:lnTo>
                    <a:pt x="964" y="338"/>
                  </a:lnTo>
                  <a:lnTo>
                    <a:pt x="962" y="338"/>
                  </a:lnTo>
                  <a:lnTo>
                    <a:pt x="960" y="338"/>
                  </a:lnTo>
                  <a:lnTo>
                    <a:pt x="958" y="336"/>
                  </a:lnTo>
                  <a:lnTo>
                    <a:pt x="956" y="336"/>
                  </a:lnTo>
                  <a:lnTo>
                    <a:pt x="954" y="334"/>
                  </a:lnTo>
                  <a:lnTo>
                    <a:pt x="954" y="334"/>
                  </a:lnTo>
                  <a:lnTo>
                    <a:pt x="952" y="332"/>
                  </a:lnTo>
                  <a:lnTo>
                    <a:pt x="952" y="332"/>
                  </a:lnTo>
                  <a:lnTo>
                    <a:pt x="952" y="330"/>
                  </a:lnTo>
                  <a:lnTo>
                    <a:pt x="952" y="328"/>
                  </a:lnTo>
                  <a:lnTo>
                    <a:pt x="952" y="324"/>
                  </a:lnTo>
                  <a:lnTo>
                    <a:pt x="952" y="322"/>
                  </a:lnTo>
                  <a:lnTo>
                    <a:pt x="952" y="322"/>
                  </a:lnTo>
                  <a:lnTo>
                    <a:pt x="954" y="320"/>
                  </a:lnTo>
                  <a:lnTo>
                    <a:pt x="956" y="320"/>
                  </a:lnTo>
                  <a:lnTo>
                    <a:pt x="960" y="318"/>
                  </a:lnTo>
                  <a:lnTo>
                    <a:pt x="962" y="316"/>
                  </a:lnTo>
                  <a:lnTo>
                    <a:pt x="964" y="316"/>
                  </a:lnTo>
                  <a:lnTo>
                    <a:pt x="966" y="314"/>
                  </a:lnTo>
                  <a:lnTo>
                    <a:pt x="966" y="314"/>
                  </a:lnTo>
                  <a:lnTo>
                    <a:pt x="966" y="314"/>
                  </a:lnTo>
                  <a:lnTo>
                    <a:pt x="966" y="314"/>
                  </a:lnTo>
                  <a:lnTo>
                    <a:pt x="966" y="316"/>
                  </a:lnTo>
                  <a:close/>
                  <a:moveTo>
                    <a:pt x="1746" y="118"/>
                  </a:moveTo>
                  <a:lnTo>
                    <a:pt x="1746" y="118"/>
                  </a:lnTo>
                  <a:lnTo>
                    <a:pt x="1748" y="120"/>
                  </a:lnTo>
                  <a:lnTo>
                    <a:pt x="1748" y="120"/>
                  </a:lnTo>
                  <a:lnTo>
                    <a:pt x="1748" y="120"/>
                  </a:lnTo>
                  <a:lnTo>
                    <a:pt x="1748" y="120"/>
                  </a:lnTo>
                  <a:lnTo>
                    <a:pt x="1748" y="120"/>
                  </a:lnTo>
                  <a:lnTo>
                    <a:pt x="1750" y="122"/>
                  </a:lnTo>
                  <a:lnTo>
                    <a:pt x="1750" y="122"/>
                  </a:lnTo>
                  <a:lnTo>
                    <a:pt x="1752" y="118"/>
                  </a:lnTo>
                  <a:lnTo>
                    <a:pt x="1752" y="118"/>
                  </a:lnTo>
                  <a:lnTo>
                    <a:pt x="1752" y="118"/>
                  </a:lnTo>
                  <a:lnTo>
                    <a:pt x="1756" y="118"/>
                  </a:lnTo>
                  <a:lnTo>
                    <a:pt x="1756" y="118"/>
                  </a:lnTo>
                  <a:lnTo>
                    <a:pt x="1756" y="118"/>
                  </a:lnTo>
                  <a:lnTo>
                    <a:pt x="1760" y="116"/>
                  </a:lnTo>
                  <a:lnTo>
                    <a:pt x="1760" y="116"/>
                  </a:lnTo>
                  <a:lnTo>
                    <a:pt x="1760" y="116"/>
                  </a:lnTo>
                  <a:lnTo>
                    <a:pt x="1762" y="114"/>
                  </a:lnTo>
                  <a:lnTo>
                    <a:pt x="1762" y="114"/>
                  </a:lnTo>
                  <a:lnTo>
                    <a:pt x="1764" y="112"/>
                  </a:lnTo>
                  <a:lnTo>
                    <a:pt x="1766" y="110"/>
                  </a:lnTo>
                  <a:lnTo>
                    <a:pt x="1766" y="110"/>
                  </a:lnTo>
                  <a:lnTo>
                    <a:pt x="1766" y="110"/>
                  </a:lnTo>
                  <a:lnTo>
                    <a:pt x="1766" y="106"/>
                  </a:lnTo>
                  <a:lnTo>
                    <a:pt x="1766" y="106"/>
                  </a:lnTo>
                  <a:lnTo>
                    <a:pt x="1766" y="106"/>
                  </a:lnTo>
                  <a:lnTo>
                    <a:pt x="1766" y="102"/>
                  </a:lnTo>
                  <a:lnTo>
                    <a:pt x="1766" y="102"/>
                  </a:lnTo>
                  <a:lnTo>
                    <a:pt x="1764" y="102"/>
                  </a:lnTo>
                  <a:lnTo>
                    <a:pt x="1762" y="98"/>
                  </a:lnTo>
                  <a:lnTo>
                    <a:pt x="1762" y="98"/>
                  </a:lnTo>
                  <a:lnTo>
                    <a:pt x="1762" y="96"/>
                  </a:lnTo>
                  <a:lnTo>
                    <a:pt x="1760" y="92"/>
                  </a:lnTo>
                  <a:lnTo>
                    <a:pt x="1760" y="90"/>
                  </a:lnTo>
                  <a:lnTo>
                    <a:pt x="1760" y="88"/>
                  </a:lnTo>
                  <a:lnTo>
                    <a:pt x="1760" y="88"/>
                  </a:lnTo>
                  <a:lnTo>
                    <a:pt x="1760" y="88"/>
                  </a:lnTo>
                  <a:lnTo>
                    <a:pt x="1758" y="86"/>
                  </a:lnTo>
                  <a:lnTo>
                    <a:pt x="1758" y="86"/>
                  </a:lnTo>
                  <a:lnTo>
                    <a:pt x="1758" y="84"/>
                  </a:lnTo>
                  <a:lnTo>
                    <a:pt x="1756" y="84"/>
                  </a:lnTo>
                  <a:lnTo>
                    <a:pt x="1756" y="84"/>
                  </a:lnTo>
                  <a:lnTo>
                    <a:pt x="1754" y="84"/>
                  </a:lnTo>
                  <a:lnTo>
                    <a:pt x="1752" y="86"/>
                  </a:lnTo>
                  <a:lnTo>
                    <a:pt x="1752" y="86"/>
                  </a:lnTo>
                  <a:lnTo>
                    <a:pt x="1752" y="86"/>
                  </a:lnTo>
                  <a:lnTo>
                    <a:pt x="1752" y="88"/>
                  </a:lnTo>
                  <a:lnTo>
                    <a:pt x="1752" y="90"/>
                  </a:lnTo>
                  <a:lnTo>
                    <a:pt x="1750" y="92"/>
                  </a:lnTo>
                  <a:lnTo>
                    <a:pt x="1750" y="98"/>
                  </a:lnTo>
                  <a:lnTo>
                    <a:pt x="1748" y="102"/>
                  </a:lnTo>
                  <a:lnTo>
                    <a:pt x="1746" y="108"/>
                  </a:lnTo>
                  <a:lnTo>
                    <a:pt x="1746" y="110"/>
                  </a:lnTo>
                  <a:lnTo>
                    <a:pt x="1746" y="112"/>
                  </a:lnTo>
                  <a:lnTo>
                    <a:pt x="1746" y="112"/>
                  </a:lnTo>
                  <a:lnTo>
                    <a:pt x="1746" y="114"/>
                  </a:lnTo>
                  <a:lnTo>
                    <a:pt x="1746" y="116"/>
                  </a:lnTo>
                  <a:lnTo>
                    <a:pt x="1746" y="118"/>
                  </a:lnTo>
                  <a:close/>
                  <a:moveTo>
                    <a:pt x="1942" y="36"/>
                  </a:moveTo>
                  <a:lnTo>
                    <a:pt x="1944" y="38"/>
                  </a:lnTo>
                  <a:lnTo>
                    <a:pt x="1944" y="38"/>
                  </a:lnTo>
                  <a:lnTo>
                    <a:pt x="1944" y="40"/>
                  </a:lnTo>
                  <a:lnTo>
                    <a:pt x="1946" y="40"/>
                  </a:lnTo>
                  <a:lnTo>
                    <a:pt x="1950" y="40"/>
                  </a:lnTo>
                  <a:lnTo>
                    <a:pt x="1954" y="40"/>
                  </a:lnTo>
                  <a:lnTo>
                    <a:pt x="1956" y="38"/>
                  </a:lnTo>
                  <a:lnTo>
                    <a:pt x="1960" y="38"/>
                  </a:lnTo>
                  <a:lnTo>
                    <a:pt x="1960" y="38"/>
                  </a:lnTo>
                  <a:lnTo>
                    <a:pt x="1960" y="38"/>
                  </a:lnTo>
                  <a:lnTo>
                    <a:pt x="1962" y="38"/>
                  </a:lnTo>
                  <a:lnTo>
                    <a:pt x="1962" y="38"/>
                  </a:lnTo>
                  <a:lnTo>
                    <a:pt x="1962" y="36"/>
                  </a:lnTo>
                  <a:lnTo>
                    <a:pt x="1964" y="36"/>
                  </a:lnTo>
                  <a:lnTo>
                    <a:pt x="1964" y="36"/>
                  </a:lnTo>
                  <a:lnTo>
                    <a:pt x="1964" y="36"/>
                  </a:lnTo>
                  <a:lnTo>
                    <a:pt x="1966" y="34"/>
                  </a:lnTo>
                  <a:lnTo>
                    <a:pt x="1966" y="34"/>
                  </a:lnTo>
                  <a:lnTo>
                    <a:pt x="1966" y="32"/>
                  </a:lnTo>
                  <a:lnTo>
                    <a:pt x="1968" y="30"/>
                  </a:lnTo>
                  <a:lnTo>
                    <a:pt x="1968" y="30"/>
                  </a:lnTo>
                  <a:lnTo>
                    <a:pt x="1968" y="28"/>
                  </a:lnTo>
                  <a:lnTo>
                    <a:pt x="1968" y="28"/>
                  </a:lnTo>
                  <a:lnTo>
                    <a:pt x="1968" y="26"/>
                  </a:lnTo>
                  <a:lnTo>
                    <a:pt x="1964" y="24"/>
                  </a:lnTo>
                  <a:lnTo>
                    <a:pt x="1964" y="24"/>
                  </a:lnTo>
                  <a:lnTo>
                    <a:pt x="1962" y="24"/>
                  </a:lnTo>
                  <a:lnTo>
                    <a:pt x="1958" y="24"/>
                  </a:lnTo>
                  <a:lnTo>
                    <a:pt x="1958" y="24"/>
                  </a:lnTo>
                  <a:lnTo>
                    <a:pt x="1958" y="24"/>
                  </a:lnTo>
                  <a:lnTo>
                    <a:pt x="1954" y="24"/>
                  </a:lnTo>
                  <a:lnTo>
                    <a:pt x="1954" y="24"/>
                  </a:lnTo>
                  <a:lnTo>
                    <a:pt x="1954" y="24"/>
                  </a:lnTo>
                  <a:lnTo>
                    <a:pt x="1950" y="24"/>
                  </a:lnTo>
                  <a:lnTo>
                    <a:pt x="1950" y="24"/>
                  </a:lnTo>
                  <a:lnTo>
                    <a:pt x="1950" y="24"/>
                  </a:lnTo>
                  <a:lnTo>
                    <a:pt x="1946" y="26"/>
                  </a:lnTo>
                  <a:lnTo>
                    <a:pt x="1946" y="26"/>
                  </a:lnTo>
                  <a:lnTo>
                    <a:pt x="1946" y="26"/>
                  </a:lnTo>
                  <a:lnTo>
                    <a:pt x="1944" y="30"/>
                  </a:lnTo>
                  <a:lnTo>
                    <a:pt x="1944" y="30"/>
                  </a:lnTo>
                  <a:lnTo>
                    <a:pt x="1944" y="30"/>
                  </a:lnTo>
                  <a:lnTo>
                    <a:pt x="1942" y="32"/>
                  </a:lnTo>
                  <a:lnTo>
                    <a:pt x="1942" y="32"/>
                  </a:lnTo>
                  <a:lnTo>
                    <a:pt x="1942" y="32"/>
                  </a:lnTo>
                  <a:lnTo>
                    <a:pt x="1942" y="34"/>
                  </a:lnTo>
                  <a:lnTo>
                    <a:pt x="1942" y="34"/>
                  </a:lnTo>
                  <a:lnTo>
                    <a:pt x="1942" y="34"/>
                  </a:lnTo>
                  <a:lnTo>
                    <a:pt x="1942" y="36"/>
                  </a:lnTo>
                  <a:lnTo>
                    <a:pt x="1942" y="36"/>
                  </a:lnTo>
                  <a:lnTo>
                    <a:pt x="1942" y="36"/>
                  </a:lnTo>
                  <a:lnTo>
                    <a:pt x="1942" y="36"/>
                  </a:lnTo>
                  <a:close/>
                  <a:moveTo>
                    <a:pt x="1764" y="180"/>
                  </a:moveTo>
                  <a:lnTo>
                    <a:pt x="1762" y="180"/>
                  </a:lnTo>
                  <a:lnTo>
                    <a:pt x="1762" y="180"/>
                  </a:lnTo>
                  <a:lnTo>
                    <a:pt x="1762" y="180"/>
                  </a:lnTo>
                  <a:lnTo>
                    <a:pt x="1760" y="178"/>
                  </a:lnTo>
                  <a:lnTo>
                    <a:pt x="1760" y="178"/>
                  </a:lnTo>
                  <a:lnTo>
                    <a:pt x="1760" y="178"/>
                  </a:lnTo>
                  <a:lnTo>
                    <a:pt x="1758" y="176"/>
                  </a:lnTo>
                  <a:lnTo>
                    <a:pt x="1758" y="176"/>
                  </a:lnTo>
                  <a:lnTo>
                    <a:pt x="1756" y="176"/>
                  </a:lnTo>
                  <a:lnTo>
                    <a:pt x="1754" y="176"/>
                  </a:lnTo>
                  <a:lnTo>
                    <a:pt x="1754" y="176"/>
                  </a:lnTo>
                  <a:lnTo>
                    <a:pt x="1752" y="176"/>
                  </a:lnTo>
                  <a:lnTo>
                    <a:pt x="1748" y="178"/>
                  </a:lnTo>
                  <a:lnTo>
                    <a:pt x="1748" y="178"/>
                  </a:lnTo>
                  <a:lnTo>
                    <a:pt x="1748" y="178"/>
                  </a:lnTo>
                  <a:lnTo>
                    <a:pt x="1748" y="180"/>
                  </a:lnTo>
                  <a:lnTo>
                    <a:pt x="1748" y="180"/>
                  </a:lnTo>
                  <a:lnTo>
                    <a:pt x="1746" y="182"/>
                  </a:lnTo>
                  <a:lnTo>
                    <a:pt x="1746" y="182"/>
                  </a:lnTo>
                  <a:lnTo>
                    <a:pt x="1746" y="182"/>
                  </a:lnTo>
                  <a:lnTo>
                    <a:pt x="1746" y="184"/>
                  </a:lnTo>
                  <a:lnTo>
                    <a:pt x="1746" y="184"/>
                  </a:lnTo>
                  <a:lnTo>
                    <a:pt x="1746" y="184"/>
                  </a:lnTo>
                  <a:lnTo>
                    <a:pt x="1746" y="186"/>
                  </a:lnTo>
                  <a:lnTo>
                    <a:pt x="1748" y="188"/>
                  </a:lnTo>
                  <a:lnTo>
                    <a:pt x="1748" y="188"/>
                  </a:lnTo>
                  <a:lnTo>
                    <a:pt x="1748" y="188"/>
                  </a:lnTo>
                  <a:lnTo>
                    <a:pt x="1748" y="190"/>
                  </a:lnTo>
                  <a:lnTo>
                    <a:pt x="1750" y="192"/>
                  </a:lnTo>
                  <a:lnTo>
                    <a:pt x="1752" y="194"/>
                  </a:lnTo>
                  <a:lnTo>
                    <a:pt x="1752" y="194"/>
                  </a:lnTo>
                  <a:lnTo>
                    <a:pt x="1752" y="194"/>
                  </a:lnTo>
                  <a:lnTo>
                    <a:pt x="1756" y="196"/>
                  </a:lnTo>
                  <a:lnTo>
                    <a:pt x="1760" y="198"/>
                  </a:lnTo>
                  <a:lnTo>
                    <a:pt x="1762" y="198"/>
                  </a:lnTo>
                  <a:lnTo>
                    <a:pt x="1762" y="198"/>
                  </a:lnTo>
                  <a:lnTo>
                    <a:pt x="1762" y="200"/>
                  </a:lnTo>
                  <a:lnTo>
                    <a:pt x="1764" y="200"/>
                  </a:lnTo>
                  <a:lnTo>
                    <a:pt x="1764" y="200"/>
                  </a:lnTo>
                  <a:lnTo>
                    <a:pt x="1766" y="200"/>
                  </a:lnTo>
                  <a:lnTo>
                    <a:pt x="1768" y="198"/>
                  </a:lnTo>
                  <a:lnTo>
                    <a:pt x="1768" y="198"/>
                  </a:lnTo>
                  <a:lnTo>
                    <a:pt x="1768" y="198"/>
                  </a:lnTo>
                  <a:lnTo>
                    <a:pt x="1770" y="196"/>
                  </a:lnTo>
                  <a:lnTo>
                    <a:pt x="1770" y="196"/>
                  </a:lnTo>
                  <a:lnTo>
                    <a:pt x="1770" y="196"/>
                  </a:lnTo>
                  <a:lnTo>
                    <a:pt x="1772" y="194"/>
                  </a:lnTo>
                  <a:lnTo>
                    <a:pt x="1772" y="194"/>
                  </a:lnTo>
                  <a:lnTo>
                    <a:pt x="1772" y="194"/>
                  </a:lnTo>
                  <a:lnTo>
                    <a:pt x="1774" y="190"/>
                  </a:lnTo>
                  <a:lnTo>
                    <a:pt x="1774" y="190"/>
                  </a:lnTo>
                  <a:lnTo>
                    <a:pt x="1774" y="188"/>
                  </a:lnTo>
                  <a:lnTo>
                    <a:pt x="1774" y="188"/>
                  </a:lnTo>
                  <a:lnTo>
                    <a:pt x="1772" y="186"/>
                  </a:lnTo>
                  <a:lnTo>
                    <a:pt x="1768" y="184"/>
                  </a:lnTo>
                  <a:lnTo>
                    <a:pt x="1768" y="184"/>
                  </a:lnTo>
                  <a:lnTo>
                    <a:pt x="1766" y="182"/>
                  </a:lnTo>
                  <a:lnTo>
                    <a:pt x="1764" y="180"/>
                  </a:lnTo>
                  <a:close/>
                  <a:moveTo>
                    <a:pt x="1774" y="106"/>
                  </a:moveTo>
                  <a:lnTo>
                    <a:pt x="1774" y="112"/>
                  </a:lnTo>
                  <a:lnTo>
                    <a:pt x="1774" y="116"/>
                  </a:lnTo>
                  <a:lnTo>
                    <a:pt x="1774" y="118"/>
                  </a:lnTo>
                  <a:lnTo>
                    <a:pt x="1774" y="122"/>
                  </a:lnTo>
                  <a:lnTo>
                    <a:pt x="1774" y="124"/>
                  </a:lnTo>
                  <a:lnTo>
                    <a:pt x="1774" y="128"/>
                  </a:lnTo>
                  <a:lnTo>
                    <a:pt x="1774" y="128"/>
                  </a:lnTo>
                  <a:lnTo>
                    <a:pt x="1774" y="128"/>
                  </a:lnTo>
                  <a:lnTo>
                    <a:pt x="1776" y="132"/>
                  </a:lnTo>
                  <a:lnTo>
                    <a:pt x="1776" y="132"/>
                  </a:lnTo>
                  <a:lnTo>
                    <a:pt x="1776" y="132"/>
                  </a:lnTo>
                  <a:lnTo>
                    <a:pt x="1776" y="134"/>
                  </a:lnTo>
                  <a:lnTo>
                    <a:pt x="1778" y="136"/>
                  </a:lnTo>
                  <a:lnTo>
                    <a:pt x="1778" y="136"/>
                  </a:lnTo>
                  <a:lnTo>
                    <a:pt x="1778" y="136"/>
                  </a:lnTo>
                  <a:lnTo>
                    <a:pt x="1780" y="138"/>
                  </a:lnTo>
                  <a:lnTo>
                    <a:pt x="1780" y="138"/>
                  </a:lnTo>
                  <a:lnTo>
                    <a:pt x="1780" y="138"/>
                  </a:lnTo>
                  <a:lnTo>
                    <a:pt x="1782" y="140"/>
                  </a:lnTo>
                  <a:lnTo>
                    <a:pt x="1784" y="142"/>
                  </a:lnTo>
                  <a:lnTo>
                    <a:pt x="1786" y="144"/>
                  </a:lnTo>
                  <a:lnTo>
                    <a:pt x="1792" y="148"/>
                  </a:lnTo>
                  <a:lnTo>
                    <a:pt x="1796" y="150"/>
                  </a:lnTo>
                  <a:lnTo>
                    <a:pt x="1798" y="152"/>
                  </a:lnTo>
                  <a:lnTo>
                    <a:pt x="1802" y="154"/>
                  </a:lnTo>
                  <a:lnTo>
                    <a:pt x="1804" y="156"/>
                  </a:lnTo>
                  <a:lnTo>
                    <a:pt x="1806" y="156"/>
                  </a:lnTo>
                  <a:lnTo>
                    <a:pt x="1808" y="158"/>
                  </a:lnTo>
                  <a:lnTo>
                    <a:pt x="1808" y="158"/>
                  </a:lnTo>
                  <a:lnTo>
                    <a:pt x="1808" y="158"/>
                  </a:lnTo>
                  <a:lnTo>
                    <a:pt x="1810" y="158"/>
                  </a:lnTo>
                  <a:lnTo>
                    <a:pt x="1810" y="158"/>
                  </a:lnTo>
                  <a:lnTo>
                    <a:pt x="1810" y="158"/>
                  </a:lnTo>
                  <a:lnTo>
                    <a:pt x="1812" y="156"/>
                  </a:lnTo>
                  <a:lnTo>
                    <a:pt x="1812" y="156"/>
                  </a:lnTo>
                  <a:lnTo>
                    <a:pt x="1812" y="156"/>
                  </a:lnTo>
                  <a:lnTo>
                    <a:pt x="1814" y="154"/>
                  </a:lnTo>
                  <a:lnTo>
                    <a:pt x="1814" y="154"/>
                  </a:lnTo>
                  <a:lnTo>
                    <a:pt x="1814" y="154"/>
                  </a:lnTo>
                  <a:lnTo>
                    <a:pt x="1814" y="152"/>
                  </a:lnTo>
                  <a:lnTo>
                    <a:pt x="1814" y="148"/>
                  </a:lnTo>
                  <a:lnTo>
                    <a:pt x="1812" y="146"/>
                  </a:lnTo>
                  <a:lnTo>
                    <a:pt x="1812" y="144"/>
                  </a:lnTo>
                  <a:lnTo>
                    <a:pt x="1812" y="142"/>
                  </a:lnTo>
                  <a:lnTo>
                    <a:pt x="1812" y="142"/>
                  </a:lnTo>
                  <a:lnTo>
                    <a:pt x="1812" y="142"/>
                  </a:lnTo>
                  <a:lnTo>
                    <a:pt x="1814" y="142"/>
                  </a:lnTo>
                  <a:lnTo>
                    <a:pt x="1816" y="142"/>
                  </a:lnTo>
                  <a:lnTo>
                    <a:pt x="1818" y="142"/>
                  </a:lnTo>
                  <a:lnTo>
                    <a:pt x="1824" y="142"/>
                  </a:lnTo>
                  <a:lnTo>
                    <a:pt x="1828" y="144"/>
                  </a:lnTo>
                  <a:lnTo>
                    <a:pt x="1830" y="144"/>
                  </a:lnTo>
                  <a:lnTo>
                    <a:pt x="1830" y="144"/>
                  </a:lnTo>
                  <a:lnTo>
                    <a:pt x="1830" y="144"/>
                  </a:lnTo>
                  <a:lnTo>
                    <a:pt x="1832" y="142"/>
                  </a:lnTo>
                  <a:lnTo>
                    <a:pt x="1832" y="142"/>
                  </a:lnTo>
                  <a:lnTo>
                    <a:pt x="1832" y="142"/>
                  </a:lnTo>
                  <a:lnTo>
                    <a:pt x="1834" y="142"/>
                  </a:lnTo>
                  <a:lnTo>
                    <a:pt x="1838" y="140"/>
                  </a:lnTo>
                  <a:lnTo>
                    <a:pt x="1842" y="140"/>
                  </a:lnTo>
                  <a:lnTo>
                    <a:pt x="1842" y="140"/>
                  </a:lnTo>
                  <a:lnTo>
                    <a:pt x="1844" y="140"/>
                  </a:lnTo>
                  <a:lnTo>
                    <a:pt x="1844" y="140"/>
                  </a:lnTo>
                  <a:lnTo>
                    <a:pt x="1844" y="140"/>
                  </a:lnTo>
                  <a:lnTo>
                    <a:pt x="1846" y="142"/>
                  </a:lnTo>
                  <a:lnTo>
                    <a:pt x="1848" y="144"/>
                  </a:lnTo>
                  <a:lnTo>
                    <a:pt x="1848" y="144"/>
                  </a:lnTo>
                  <a:lnTo>
                    <a:pt x="1848" y="146"/>
                  </a:lnTo>
                  <a:lnTo>
                    <a:pt x="1850" y="146"/>
                  </a:lnTo>
                  <a:lnTo>
                    <a:pt x="1850" y="146"/>
                  </a:lnTo>
                  <a:lnTo>
                    <a:pt x="1850" y="146"/>
                  </a:lnTo>
                  <a:lnTo>
                    <a:pt x="1852" y="148"/>
                  </a:lnTo>
                  <a:lnTo>
                    <a:pt x="1852" y="148"/>
                  </a:lnTo>
                  <a:lnTo>
                    <a:pt x="1852" y="148"/>
                  </a:lnTo>
                  <a:lnTo>
                    <a:pt x="1856" y="150"/>
                  </a:lnTo>
                  <a:lnTo>
                    <a:pt x="1856" y="150"/>
                  </a:lnTo>
                  <a:lnTo>
                    <a:pt x="1856" y="150"/>
                  </a:lnTo>
                  <a:lnTo>
                    <a:pt x="1860" y="150"/>
                  </a:lnTo>
                  <a:lnTo>
                    <a:pt x="1860" y="150"/>
                  </a:lnTo>
                  <a:lnTo>
                    <a:pt x="1860" y="150"/>
                  </a:lnTo>
                  <a:lnTo>
                    <a:pt x="1864" y="150"/>
                  </a:lnTo>
                  <a:lnTo>
                    <a:pt x="1864" y="150"/>
                  </a:lnTo>
                  <a:lnTo>
                    <a:pt x="1864" y="150"/>
                  </a:lnTo>
                  <a:lnTo>
                    <a:pt x="1868" y="148"/>
                  </a:lnTo>
                  <a:lnTo>
                    <a:pt x="1868" y="148"/>
                  </a:lnTo>
                  <a:lnTo>
                    <a:pt x="1868" y="148"/>
                  </a:lnTo>
                  <a:lnTo>
                    <a:pt x="1870" y="146"/>
                  </a:lnTo>
                  <a:lnTo>
                    <a:pt x="1870" y="146"/>
                  </a:lnTo>
                  <a:lnTo>
                    <a:pt x="1870" y="146"/>
                  </a:lnTo>
                  <a:lnTo>
                    <a:pt x="1870" y="144"/>
                  </a:lnTo>
                  <a:lnTo>
                    <a:pt x="1870" y="144"/>
                  </a:lnTo>
                  <a:lnTo>
                    <a:pt x="1870" y="144"/>
                  </a:lnTo>
                  <a:lnTo>
                    <a:pt x="1872" y="140"/>
                  </a:lnTo>
                  <a:lnTo>
                    <a:pt x="1874" y="136"/>
                  </a:lnTo>
                  <a:lnTo>
                    <a:pt x="1874" y="136"/>
                  </a:lnTo>
                  <a:lnTo>
                    <a:pt x="1874" y="136"/>
                  </a:lnTo>
                  <a:lnTo>
                    <a:pt x="1874" y="136"/>
                  </a:lnTo>
                  <a:lnTo>
                    <a:pt x="1876" y="136"/>
                  </a:lnTo>
                  <a:lnTo>
                    <a:pt x="1878" y="136"/>
                  </a:lnTo>
                  <a:lnTo>
                    <a:pt x="1882" y="134"/>
                  </a:lnTo>
                  <a:lnTo>
                    <a:pt x="1882" y="134"/>
                  </a:lnTo>
                  <a:lnTo>
                    <a:pt x="1882" y="134"/>
                  </a:lnTo>
                  <a:lnTo>
                    <a:pt x="1884" y="134"/>
                  </a:lnTo>
                  <a:lnTo>
                    <a:pt x="1884" y="134"/>
                  </a:lnTo>
                  <a:lnTo>
                    <a:pt x="1884" y="134"/>
                  </a:lnTo>
                  <a:lnTo>
                    <a:pt x="1886" y="132"/>
                  </a:lnTo>
                  <a:lnTo>
                    <a:pt x="1886" y="132"/>
                  </a:lnTo>
                  <a:lnTo>
                    <a:pt x="1886" y="132"/>
                  </a:lnTo>
                  <a:lnTo>
                    <a:pt x="1888" y="130"/>
                  </a:lnTo>
                  <a:lnTo>
                    <a:pt x="1890" y="128"/>
                  </a:lnTo>
                  <a:lnTo>
                    <a:pt x="1892" y="124"/>
                  </a:lnTo>
                  <a:lnTo>
                    <a:pt x="1894" y="118"/>
                  </a:lnTo>
                  <a:lnTo>
                    <a:pt x="1894" y="116"/>
                  </a:lnTo>
                  <a:lnTo>
                    <a:pt x="1896" y="114"/>
                  </a:lnTo>
                  <a:lnTo>
                    <a:pt x="1898" y="114"/>
                  </a:lnTo>
                  <a:lnTo>
                    <a:pt x="1898" y="112"/>
                  </a:lnTo>
                  <a:lnTo>
                    <a:pt x="1902" y="110"/>
                  </a:lnTo>
                  <a:lnTo>
                    <a:pt x="1902" y="108"/>
                  </a:lnTo>
                  <a:lnTo>
                    <a:pt x="1904" y="106"/>
                  </a:lnTo>
                  <a:lnTo>
                    <a:pt x="1904" y="106"/>
                  </a:lnTo>
                  <a:lnTo>
                    <a:pt x="1904" y="106"/>
                  </a:lnTo>
                  <a:lnTo>
                    <a:pt x="1906" y="104"/>
                  </a:lnTo>
                  <a:lnTo>
                    <a:pt x="1906" y="104"/>
                  </a:lnTo>
                  <a:lnTo>
                    <a:pt x="1906" y="102"/>
                  </a:lnTo>
                  <a:lnTo>
                    <a:pt x="1906" y="102"/>
                  </a:lnTo>
                  <a:lnTo>
                    <a:pt x="1906" y="102"/>
                  </a:lnTo>
                  <a:lnTo>
                    <a:pt x="1906" y="100"/>
                  </a:lnTo>
                  <a:lnTo>
                    <a:pt x="1904" y="98"/>
                  </a:lnTo>
                  <a:lnTo>
                    <a:pt x="1904" y="98"/>
                  </a:lnTo>
                  <a:lnTo>
                    <a:pt x="1904" y="98"/>
                  </a:lnTo>
                  <a:lnTo>
                    <a:pt x="1902" y="96"/>
                  </a:lnTo>
                  <a:lnTo>
                    <a:pt x="1902" y="96"/>
                  </a:lnTo>
                  <a:lnTo>
                    <a:pt x="1902" y="96"/>
                  </a:lnTo>
                  <a:lnTo>
                    <a:pt x="1900" y="96"/>
                  </a:lnTo>
                  <a:lnTo>
                    <a:pt x="1898" y="94"/>
                  </a:lnTo>
                  <a:lnTo>
                    <a:pt x="1892" y="92"/>
                  </a:lnTo>
                  <a:lnTo>
                    <a:pt x="1890" y="90"/>
                  </a:lnTo>
                  <a:lnTo>
                    <a:pt x="1888" y="90"/>
                  </a:lnTo>
                  <a:lnTo>
                    <a:pt x="1886" y="88"/>
                  </a:lnTo>
                  <a:lnTo>
                    <a:pt x="1884" y="84"/>
                  </a:lnTo>
                  <a:lnTo>
                    <a:pt x="1880" y="82"/>
                  </a:lnTo>
                  <a:lnTo>
                    <a:pt x="1876" y="80"/>
                  </a:lnTo>
                  <a:lnTo>
                    <a:pt x="1876" y="80"/>
                  </a:lnTo>
                  <a:lnTo>
                    <a:pt x="1876" y="80"/>
                  </a:lnTo>
                  <a:lnTo>
                    <a:pt x="1874" y="80"/>
                  </a:lnTo>
                  <a:lnTo>
                    <a:pt x="1874" y="80"/>
                  </a:lnTo>
                  <a:lnTo>
                    <a:pt x="1874" y="78"/>
                  </a:lnTo>
                  <a:lnTo>
                    <a:pt x="1872" y="78"/>
                  </a:lnTo>
                  <a:lnTo>
                    <a:pt x="1868" y="78"/>
                  </a:lnTo>
                  <a:lnTo>
                    <a:pt x="1862" y="78"/>
                  </a:lnTo>
                  <a:lnTo>
                    <a:pt x="1862" y="78"/>
                  </a:lnTo>
                  <a:lnTo>
                    <a:pt x="1860" y="76"/>
                  </a:lnTo>
                  <a:lnTo>
                    <a:pt x="1858" y="76"/>
                  </a:lnTo>
                  <a:lnTo>
                    <a:pt x="1856" y="74"/>
                  </a:lnTo>
                  <a:lnTo>
                    <a:pt x="1854" y="70"/>
                  </a:lnTo>
                  <a:lnTo>
                    <a:pt x="1854" y="70"/>
                  </a:lnTo>
                  <a:lnTo>
                    <a:pt x="1854" y="70"/>
                  </a:lnTo>
                  <a:lnTo>
                    <a:pt x="1852" y="68"/>
                  </a:lnTo>
                  <a:lnTo>
                    <a:pt x="1852" y="68"/>
                  </a:lnTo>
                  <a:lnTo>
                    <a:pt x="1852" y="68"/>
                  </a:lnTo>
                  <a:lnTo>
                    <a:pt x="1850" y="68"/>
                  </a:lnTo>
                  <a:lnTo>
                    <a:pt x="1848" y="66"/>
                  </a:lnTo>
                  <a:lnTo>
                    <a:pt x="1842" y="64"/>
                  </a:lnTo>
                  <a:lnTo>
                    <a:pt x="1842" y="64"/>
                  </a:lnTo>
                  <a:lnTo>
                    <a:pt x="1842" y="64"/>
                  </a:lnTo>
                  <a:lnTo>
                    <a:pt x="1838" y="64"/>
                  </a:lnTo>
                  <a:lnTo>
                    <a:pt x="1838" y="64"/>
                  </a:lnTo>
                  <a:lnTo>
                    <a:pt x="1838" y="64"/>
                  </a:lnTo>
                  <a:lnTo>
                    <a:pt x="1836" y="64"/>
                  </a:lnTo>
                  <a:lnTo>
                    <a:pt x="1836" y="64"/>
                  </a:lnTo>
                  <a:lnTo>
                    <a:pt x="1834" y="64"/>
                  </a:lnTo>
                  <a:lnTo>
                    <a:pt x="1834" y="64"/>
                  </a:lnTo>
                  <a:lnTo>
                    <a:pt x="1834" y="64"/>
                  </a:lnTo>
                  <a:lnTo>
                    <a:pt x="1832" y="66"/>
                  </a:lnTo>
                  <a:lnTo>
                    <a:pt x="1832" y="66"/>
                  </a:lnTo>
                  <a:lnTo>
                    <a:pt x="1832" y="66"/>
                  </a:lnTo>
                  <a:lnTo>
                    <a:pt x="1832" y="66"/>
                  </a:lnTo>
                  <a:lnTo>
                    <a:pt x="1830" y="68"/>
                  </a:lnTo>
                  <a:lnTo>
                    <a:pt x="1830" y="68"/>
                  </a:lnTo>
                  <a:lnTo>
                    <a:pt x="1830" y="68"/>
                  </a:lnTo>
                  <a:lnTo>
                    <a:pt x="1830" y="72"/>
                  </a:lnTo>
                  <a:lnTo>
                    <a:pt x="1830" y="72"/>
                  </a:lnTo>
                  <a:lnTo>
                    <a:pt x="1830" y="72"/>
                  </a:lnTo>
                  <a:lnTo>
                    <a:pt x="1828" y="76"/>
                  </a:lnTo>
                  <a:lnTo>
                    <a:pt x="1828" y="80"/>
                  </a:lnTo>
                  <a:lnTo>
                    <a:pt x="1828" y="82"/>
                  </a:lnTo>
                  <a:lnTo>
                    <a:pt x="1830" y="84"/>
                  </a:lnTo>
                  <a:lnTo>
                    <a:pt x="1830" y="88"/>
                  </a:lnTo>
                  <a:lnTo>
                    <a:pt x="1830" y="86"/>
                  </a:lnTo>
                  <a:lnTo>
                    <a:pt x="1826" y="82"/>
                  </a:lnTo>
                  <a:lnTo>
                    <a:pt x="1824" y="78"/>
                  </a:lnTo>
                  <a:lnTo>
                    <a:pt x="1820" y="74"/>
                  </a:lnTo>
                  <a:lnTo>
                    <a:pt x="1818" y="72"/>
                  </a:lnTo>
                  <a:lnTo>
                    <a:pt x="1814" y="66"/>
                  </a:lnTo>
                  <a:lnTo>
                    <a:pt x="1810" y="62"/>
                  </a:lnTo>
                  <a:lnTo>
                    <a:pt x="1808" y="60"/>
                  </a:lnTo>
                  <a:lnTo>
                    <a:pt x="1806" y="58"/>
                  </a:lnTo>
                  <a:lnTo>
                    <a:pt x="1804" y="58"/>
                  </a:lnTo>
                  <a:lnTo>
                    <a:pt x="1804" y="58"/>
                  </a:lnTo>
                  <a:lnTo>
                    <a:pt x="1804" y="58"/>
                  </a:lnTo>
                  <a:lnTo>
                    <a:pt x="1802" y="56"/>
                  </a:lnTo>
                  <a:lnTo>
                    <a:pt x="1802" y="56"/>
                  </a:lnTo>
                  <a:lnTo>
                    <a:pt x="1800" y="56"/>
                  </a:lnTo>
                  <a:lnTo>
                    <a:pt x="1800" y="58"/>
                  </a:lnTo>
                  <a:lnTo>
                    <a:pt x="1800" y="58"/>
                  </a:lnTo>
                  <a:lnTo>
                    <a:pt x="1798" y="58"/>
                  </a:lnTo>
                  <a:lnTo>
                    <a:pt x="1796" y="58"/>
                  </a:lnTo>
                  <a:lnTo>
                    <a:pt x="1796" y="58"/>
                  </a:lnTo>
                  <a:lnTo>
                    <a:pt x="1796" y="60"/>
                  </a:lnTo>
                  <a:lnTo>
                    <a:pt x="1796" y="60"/>
                  </a:lnTo>
                  <a:lnTo>
                    <a:pt x="1794" y="62"/>
                  </a:lnTo>
                  <a:lnTo>
                    <a:pt x="1792" y="66"/>
                  </a:lnTo>
                  <a:lnTo>
                    <a:pt x="1792" y="68"/>
                  </a:lnTo>
                  <a:lnTo>
                    <a:pt x="1792" y="68"/>
                  </a:lnTo>
                  <a:lnTo>
                    <a:pt x="1788" y="70"/>
                  </a:lnTo>
                  <a:lnTo>
                    <a:pt x="1786" y="72"/>
                  </a:lnTo>
                  <a:lnTo>
                    <a:pt x="1784" y="74"/>
                  </a:lnTo>
                  <a:lnTo>
                    <a:pt x="1784" y="74"/>
                  </a:lnTo>
                  <a:lnTo>
                    <a:pt x="1784" y="74"/>
                  </a:lnTo>
                  <a:lnTo>
                    <a:pt x="1782" y="76"/>
                  </a:lnTo>
                  <a:lnTo>
                    <a:pt x="1782" y="76"/>
                  </a:lnTo>
                  <a:lnTo>
                    <a:pt x="1780" y="76"/>
                  </a:lnTo>
                  <a:lnTo>
                    <a:pt x="1778" y="78"/>
                  </a:lnTo>
                  <a:lnTo>
                    <a:pt x="1778" y="78"/>
                  </a:lnTo>
                  <a:lnTo>
                    <a:pt x="1778" y="78"/>
                  </a:lnTo>
                  <a:lnTo>
                    <a:pt x="1778" y="80"/>
                  </a:lnTo>
                  <a:lnTo>
                    <a:pt x="1778" y="80"/>
                  </a:lnTo>
                  <a:lnTo>
                    <a:pt x="1778" y="80"/>
                  </a:lnTo>
                  <a:lnTo>
                    <a:pt x="1776" y="80"/>
                  </a:lnTo>
                  <a:lnTo>
                    <a:pt x="1776" y="80"/>
                  </a:lnTo>
                  <a:lnTo>
                    <a:pt x="1776" y="82"/>
                  </a:lnTo>
                  <a:lnTo>
                    <a:pt x="1776" y="84"/>
                  </a:lnTo>
                  <a:lnTo>
                    <a:pt x="1776" y="84"/>
                  </a:lnTo>
                  <a:lnTo>
                    <a:pt x="1776" y="84"/>
                  </a:lnTo>
                  <a:lnTo>
                    <a:pt x="1774" y="86"/>
                  </a:lnTo>
                  <a:lnTo>
                    <a:pt x="1774" y="90"/>
                  </a:lnTo>
                  <a:lnTo>
                    <a:pt x="1774" y="94"/>
                  </a:lnTo>
                  <a:lnTo>
                    <a:pt x="1774" y="98"/>
                  </a:lnTo>
                  <a:lnTo>
                    <a:pt x="1774" y="102"/>
                  </a:lnTo>
                  <a:lnTo>
                    <a:pt x="1774" y="106"/>
                  </a:lnTo>
                  <a:close/>
                  <a:moveTo>
                    <a:pt x="1912" y="124"/>
                  </a:moveTo>
                  <a:lnTo>
                    <a:pt x="1912" y="126"/>
                  </a:lnTo>
                  <a:lnTo>
                    <a:pt x="1912" y="126"/>
                  </a:lnTo>
                  <a:lnTo>
                    <a:pt x="1912" y="126"/>
                  </a:lnTo>
                  <a:lnTo>
                    <a:pt x="1914" y="128"/>
                  </a:lnTo>
                  <a:lnTo>
                    <a:pt x="1916" y="130"/>
                  </a:lnTo>
                  <a:lnTo>
                    <a:pt x="1918" y="132"/>
                  </a:lnTo>
                  <a:lnTo>
                    <a:pt x="1922" y="134"/>
                  </a:lnTo>
                  <a:lnTo>
                    <a:pt x="1924" y="136"/>
                  </a:lnTo>
                  <a:lnTo>
                    <a:pt x="1932" y="140"/>
                  </a:lnTo>
                  <a:lnTo>
                    <a:pt x="1934" y="142"/>
                  </a:lnTo>
                  <a:lnTo>
                    <a:pt x="1936" y="144"/>
                  </a:lnTo>
                  <a:lnTo>
                    <a:pt x="1938" y="144"/>
                  </a:lnTo>
                  <a:lnTo>
                    <a:pt x="1938" y="144"/>
                  </a:lnTo>
                  <a:lnTo>
                    <a:pt x="1938" y="144"/>
                  </a:lnTo>
                  <a:lnTo>
                    <a:pt x="1940" y="146"/>
                  </a:lnTo>
                  <a:lnTo>
                    <a:pt x="1940" y="146"/>
                  </a:lnTo>
                  <a:lnTo>
                    <a:pt x="1940" y="146"/>
                  </a:lnTo>
                  <a:lnTo>
                    <a:pt x="1942" y="148"/>
                  </a:lnTo>
                  <a:lnTo>
                    <a:pt x="1942" y="148"/>
                  </a:lnTo>
                  <a:lnTo>
                    <a:pt x="1942" y="148"/>
                  </a:lnTo>
                  <a:lnTo>
                    <a:pt x="1942" y="148"/>
                  </a:lnTo>
                  <a:lnTo>
                    <a:pt x="1942" y="148"/>
                  </a:lnTo>
                  <a:lnTo>
                    <a:pt x="1944" y="150"/>
                  </a:lnTo>
                  <a:lnTo>
                    <a:pt x="1944" y="150"/>
                  </a:lnTo>
                  <a:lnTo>
                    <a:pt x="1948" y="150"/>
                  </a:lnTo>
                  <a:lnTo>
                    <a:pt x="1950" y="150"/>
                  </a:lnTo>
                  <a:lnTo>
                    <a:pt x="1956" y="150"/>
                  </a:lnTo>
                  <a:lnTo>
                    <a:pt x="1960" y="150"/>
                  </a:lnTo>
                  <a:lnTo>
                    <a:pt x="1964" y="150"/>
                  </a:lnTo>
                  <a:lnTo>
                    <a:pt x="1966" y="150"/>
                  </a:lnTo>
                  <a:lnTo>
                    <a:pt x="1966" y="150"/>
                  </a:lnTo>
                  <a:lnTo>
                    <a:pt x="1966" y="150"/>
                  </a:lnTo>
                  <a:lnTo>
                    <a:pt x="1968" y="150"/>
                  </a:lnTo>
                  <a:lnTo>
                    <a:pt x="1968" y="150"/>
                  </a:lnTo>
                  <a:lnTo>
                    <a:pt x="1970" y="148"/>
                  </a:lnTo>
                  <a:lnTo>
                    <a:pt x="1972" y="148"/>
                  </a:lnTo>
                  <a:lnTo>
                    <a:pt x="1972" y="148"/>
                  </a:lnTo>
                  <a:lnTo>
                    <a:pt x="1972" y="148"/>
                  </a:lnTo>
                  <a:lnTo>
                    <a:pt x="1972" y="146"/>
                  </a:lnTo>
                  <a:lnTo>
                    <a:pt x="1972" y="146"/>
                  </a:lnTo>
                  <a:lnTo>
                    <a:pt x="1972" y="144"/>
                  </a:lnTo>
                  <a:lnTo>
                    <a:pt x="1974" y="142"/>
                  </a:lnTo>
                  <a:lnTo>
                    <a:pt x="1974" y="138"/>
                  </a:lnTo>
                  <a:lnTo>
                    <a:pt x="1974" y="138"/>
                  </a:lnTo>
                  <a:lnTo>
                    <a:pt x="1974" y="138"/>
                  </a:lnTo>
                  <a:lnTo>
                    <a:pt x="1974" y="138"/>
                  </a:lnTo>
                  <a:lnTo>
                    <a:pt x="1976" y="136"/>
                  </a:lnTo>
                  <a:lnTo>
                    <a:pt x="1976" y="136"/>
                  </a:lnTo>
                  <a:lnTo>
                    <a:pt x="1982" y="136"/>
                  </a:lnTo>
                  <a:lnTo>
                    <a:pt x="1984" y="138"/>
                  </a:lnTo>
                  <a:lnTo>
                    <a:pt x="1986" y="138"/>
                  </a:lnTo>
                  <a:lnTo>
                    <a:pt x="1988" y="138"/>
                  </a:lnTo>
                  <a:lnTo>
                    <a:pt x="1988" y="138"/>
                  </a:lnTo>
                  <a:lnTo>
                    <a:pt x="1990" y="136"/>
                  </a:lnTo>
                  <a:lnTo>
                    <a:pt x="1990" y="136"/>
                  </a:lnTo>
                  <a:lnTo>
                    <a:pt x="1990" y="136"/>
                  </a:lnTo>
                  <a:lnTo>
                    <a:pt x="1990" y="132"/>
                  </a:lnTo>
                  <a:lnTo>
                    <a:pt x="1990" y="132"/>
                  </a:lnTo>
                  <a:lnTo>
                    <a:pt x="1990" y="132"/>
                  </a:lnTo>
                  <a:lnTo>
                    <a:pt x="1990" y="130"/>
                  </a:lnTo>
                  <a:lnTo>
                    <a:pt x="1988" y="130"/>
                  </a:lnTo>
                  <a:lnTo>
                    <a:pt x="1986" y="128"/>
                  </a:lnTo>
                  <a:lnTo>
                    <a:pt x="1984" y="126"/>
                  </a:lnTo>
                  <a:lnTo>
                    <a:pt x="1978" y="122"/>
                  </a:lnTo>
                  <a:lnTo>
                    <a:pt x="1974" y="120"/>
                  </a:lnTo>
                  <a:lnTo>
                    <a:pt x="1972" y="118"/>
                  </a:lnTo>
                  <a:lnTo>
                    <a:pt x="1972" y="118"/>
                  </a:lnTo>
                  <a:lnTo>
                    <a:pt x="1972" y="118"/>
                  </a:lnTo>
                  <a:lnTo>
                    <a:pt x="1966" y="118"/>
                  </a:lnTo>
                  <a:lnTo>
                    <a:pt x="1962" y="118"/>
                  </a:lnTo>
                  <a:lnTo>
                    <a:pt x="1956" y="116"/>
                  </a:lnTo>
                  <a:lnTo>
                    <a:pt x="1956" y="116"/>
                  </a:lnTo>
                  <a:lnTo>
                    <a:pt x="1954" y="116"/>
                  </a:lnTo>
                  <a:lnTo>
                    <a:pt x="1954" y="116"/>
                  </a:lnTo>
                  <a:lnTo>
                    <a:pt x="1952" y="114"/>
                  </a:lnTo>
                  <a:lnTo>
                    <a:pt x="1952" y="112"/>
                  </a:lnTo>
                  <a:lnTo>
                    <a:pt x="1950" y="108"/>
                  </a:lnTo>
                  <a:lnTo>
                    <a:pt x="1950" y="108"/>
                  </a:lnTo>
                  <a:lnTo>
                    <a:pt x="1950" y="108"/>
                  </a:lnTo>
                  <a:lnTo>
                    <a:pt x="1950" y="108"/>
                  </a:lnTo>
                  <a:lnTo>
                    <a:pt x="1950" y="108"/>
                  </a:lnTo>
                  <a:lnTo>
                    <a:pt x="1948" y="106"/>
                  </a:lnTo>
                  <a:lnTo>
                    <a:pt x="1948" y="106"/>
                  </a:lnTo>
                  <a:lnTo>
                    <a:pt x="1948" y="106"/>
                  </a:lnTo>
                  <a:lnTo>
                    <a:pt x="1946" y="104"/>
                  </a:lnTo>
                  <a:lnTo>
                    <a:pt x="1944" y="104"/>
                  </a:lnTo>
                  <a:lnTo>
                    <a:pt x="1944" y="104"/>
                  </a:lnTo>
                  <a:lnTo>
                    <a:pt x="1944" y="104"/>
                  </a:lnTo>
                  <a:lnTo>
                    <a:pt x="1940" y="104"/>
                  </a:lnTo>
                  <a:lnTo>
                    <a:pt x="1940" y="104"/>
                  </a:lnTo>
                  <a:lnTo>
                    <a:pt x="1936" y="104"/>
                  </a:lnTo>
                  <a:lnTo>
                    <a:pt x="1932" y="104"/>
                  </a:lnTo>
                  <a:lnTo>
                    <a:pt x="1932" y="104"/>
                  </a:lnTo>
                  <a:lnTo>
                    <a:pt x="1932" y="104"/>
                  </a:lnTo>
                  <a:lnTo>
                    <a:pt x="1932" y="106"/>
                  </a:lnTo>
                  <a:lnTo>
                    <a:pt x="1932" y="106"/>
                  </a:lnTo>
                  <a:lnTo>
                    <a:pt x="1930" y="106"/>
                  </a:lnTo>
                  <a:lnTo>
                    <a:pt x="1930" y="106"/>
                  </a:lnTo>
                  <a:lnTo>
                    <a:pt x="1928" y="108"/>
                  </a:lnTo>
                  <a:lnTo>
                    <a:pt x="1926" y="110"/>
                  </a:lnTo>
                  <a:lnTo>
                    <a:pt x="1926" y="110"/>
                  </a:lnTo>
                  <a:lnTo>
                    <a:pt x="1924" y="108"/>
                  </a:lnTo>
                  <a:lnTo>
                    <a:pt x="1924" y="106"/>
                  </a:lnTo>
                  <a:lnTo>
                    <a:pt x="1922" y="104"/>
                  </a:lnTo>
                  <a:lnTo>
                    <a:pt x="1922" y="104"/>
                  </a:lnTo>
                  <a:lnTo>
                    <a:pt x="1922" y="104"/>
                  </a:lnTo>
                  <a:lnTo>
                    <a:pt x="1922" y="102"/>
                  </a:lnTo>
                  <a:lnTo>
                    <a:pt x="1922" y="102"/>
                  </a:lnTo>
                  <a:lnTo>
                    <a:pt x="1920" y="102"/>
                  </a:lnTo>
                  <a:lnTo>
                    <a:pt x="1920" y="100"/>
                  </a:lnTo>
                  <a:lnTo>
                    <a:pt x="1920" y="100"/>
                  </a:lnTo>
                  <a:lnTo>
                    <a:pt x="1918" y="100"/>
                  </a:lnTo>
                  <a:lnTo>
                    <a:pt x="1916" y="102"/>
                  </a:lnTo>
                  <a:lnTo>
                    <a:pt x="1916" y="102"/>
                  </a:lnTo>
                  <a:lnTo>
                    <a:pt x="1916" y="102"/>
                  </a:lnTo>
                  <a:lnTo>
                    <a:pt x="1914" y="104"/>
                  </a:lnTo>
                  <a:lnTo>
                    <a:pt x="1914" y="104"/>
                  </a:lnTo>
                  <a:lnTo>
                    <a:pt x="1914" y="104"/>
                  </a:lnTo>
                  <a:lnTo>
                    <a:pt x="1914" y="106"/>
                  </a:lnTo>
                  <a:lnTo>
                    <a:pt x="1914" y="108"/>
                  </a:lnTo>
                  <a:lnTo>
                    <a:pt x="1912" y="112"/>
                  </a:lnTo>
                  <a:lnTo>
                    <a:pt x="1912" y="114"/>
                  </a:lnTo>
                  <a:lnTo>
                    <a:pt x="1912" y="116"/>
                  </a:lnTo>
                  <a:lnTo>
                    <a:pt x="1912" y="118"/>
                  </a:lnTo>
                  <a:lnTo>
                    <a:pt x="1912" y="120"/>
                  </a:lnTo>
                  <a:lnTo>
                    <a:pt x="1912" y="120"/>
                  </a:lnTo>
                  <a:lnTo>
                    <a:pt x="1912" y="122"/>
                  </a:lnTo>
                  <a:lnTo>
                    <a:pt x="1912" y="122"/>
                  </a:lnTo>
                  <a:lnTo>
                    <a:pt x="1912" y="124"/>
                  </a:lnTo>
                  <a:lnTo>
                    <a:pt x="1912" y="124"/>
                  </a:lnTo>
                  <a:lnTo>
                    <a:pt x="1912" y="124"/>
                  </a:lnTo>
                  <a:lnTo>
                    <a:pt x="1912" y="124"/>
                  </a:lnTo>
                  <a:close/>
                  <a:moveTo>
                    <a:pt x="1880" y="222"/>
                  </a:moveTo>
                  <a:lnTo>
                    <a:pt x="1878" y="218"/>
                  </a:lnTo>
                  <a:lnTo>
                    <a:pt x="1878" y="216"/>
                  </a:lnTo>
                  <a:lnTo>
                    <a:pt x="1874" y="210"/>
                  </a:lnTo>
                  <a:lnTo>
                    <a:pt x="1872" y="206"/>
                  </a:lnTo>
                  <a:lnTo>
                    <a:pt x="1872" y="204"/>
                  </a:lnTo>
                  <a:lnTo>
                    <a:pt x="1870" y="202"/>
                  </a:lnTo>
                  <a:lnTo>
                    <a:pt x="1870" y="202"/>
                  </a:lnTo>
                  <a:lnTo>
                    <a:pt x="1870" y="202"/>
                  </a:lnTo>
                  <a:lnTo>
                    <a:pt x="1868" y="198"/>
                  </a:lnTo>
                  <a:lnTo>
                    <a:pt x="1866" y="196"/>
                  </a:lnTo>
                  <a:lnTo>
                    <a:pt x="1864" y="194"/>
                  </a:lnTo>
                  <a:lnTo>
                    <a:pt x="1862" y="192"/>
                  </a:lnTo>
                  <a:lnTo>
                    <a:pt x="1860" y="190"/>
                  </a:lnTo>
                  <a:lnTo>
                    <a:pt x="1858" y="190"/>
                  </a:lnTo>
                  <a:lnTo>
                    <a:pt x="1858" y="190"/>
                  </a:lnTo>
                  <a:lnTo>
                    <a:pt x="1856" y="188"/>
                  </a:lnTo>
                  <a:lnTo>
                    <a:pt x="1856" y="188"/>
                  </a:lnTo>
                  <a:lnTo>
                    <a:pt x="1856" y="188"/>
                  </a:lnTo>
                  <a:lnTo>
                    <a:pt x="1854" y="188"/>
                  </a:lnTo>
                  <a:lnTo>
                    <a:pt x="1854" y="188"/>
                  </a:lnTo>
                  <a:lnTo>
                    <a:pt x="1854" y="188"/>
                  </a:lnTo>
                  <a:lnTo>
                    <a:pt x="1854" y="188"/>
                  </a:lnTo>
                  <a:lnTo>
                    <a:pt x="1852" y="188"/>
                  </a:lnTo>
                  <a:lnTo>
                    <a:pt x="1850" y="188"/>
                  </a:lnTo>
                  <a:lnTo>
                    <a:pt x="1846" y="190"/>
                  </a:lnTo>
                  <a:lnTo>
                    <a:pt x="1846" y="190"/>
                  </a:lnTo>
                  <a:lnTo>
                    <a:pt x="1844" y="190"/>
                  </a:lnTo>
                  <a:lnTo>
                    <a:pt x="1840" y="192"/>
                  </a:lnTo>
                  <a:lnTo>
                    <a:pt x="1840" y="192"/>
                  </a:lnTo>
                  <a:lnTo>
                    <a:pt x="1840" y="192"/>
                  </a:lnTo>
                  <a:lnTo>
                    <a:pt x="1838" y="192"/>
                  </a:lnTo>
                  <a:lnTo>
                    <a:pt x="1838" y="192"/>
                  </a:lnTo>
                  <a:lnTo>
                    <a:pt x="1838" y="194"/>
                  </a:lnTo>
                  <a:lnTo>
                    <a:pt x="1836" y="194"/>
                  </a:lnTo>
                  <a:lnTo>
                    <a:pt x="1836" y="194"/>
                  </a:lnTo>
                  <a:lnTo>
                    <a:pt x="1836" y="196"/>
                  </a:lnTo>
                  <a:lnTo>
                    <a:pt x="1834" y="198"/>
                  </a:lnTo>
                  <a:lnTo>
                    <a:pt x="1834" y="198"/>
                  </a:lnTo>
                  <a:lnTo>
                    <a:pt x="1834" y="198"/>
                  </a:lnTo>
                  <a:lnTo>
                    <a:pt x="1834" y="200"/>
                  </a:lnTo>
                  <a:lnTo>
                    <a:pt x="1834" y="200"/>
                  </a:lnTo>
                  <a:lnTo>
                    <a:pt x="1834" y="200"/>
                  </a:lnTo>
                  <a:lnTo>
                    <a:pt x="1834" y="206"/>
                  </a:lnTo>
                  <a:lnTo>
                    <a:pt x="1834" y="210"/>
                  </a:lnTo>
                  <a:lnTo>
                    <a:pt x="1834" y="212"/>
                  </a:lnTo>
                  <a:lnTo>
                    <a:pt x="1834" y="212"/>
                  </a:lnTo>
                  <a:lnTo>
                    <a:pt x="1832" y="212"/>
                  </a:lnTo>
                  <a:lnTo>
                    <a:pt x="1830" y="212"/>
                  </a:lnTo>
                  <a:lnTo>
                    <a:pt x="1826" y="214"/>
                  </a:lnTo>
                  <a:lnTo>
                    <a:pt x="1824" y="214"/>
                  </a:lnTo>
                  <a:lnTo>
                    <a:pt x="1822" y="214"/>
                  </a:lnTo>
                  <a:lnTo>
                    <a:pt x="1820" y="214"/>
                  </a:lnTo>
                  <a:lnTo>
                    <a:pt x="1820" y="214"/>
                  </a:lnTo>
                  <a:lnTo>
                    <a:pt x="1818" y="216"/>
                  </a:lnTo>
                  <a:lnTo>
                    <a:pt x="1818" y="216"/>
                  </a:lnTo>
                  <a:lnTo>
                    <a:pt x="1818" y="216"/>
                  </a:lnTo>
                  <a:lnTo>
                    <a:pt x="1818" y="218"/>
                  </a:lnTo>
                  <a:lnTo>
                    <a:pt x="1818" y="218"/>
                  </a:lnTo>
                  <a:lnTo>
                    <a:pt x="1820" y="220"/>
                  </a:lnTo>
                  <a:lnTo>
                    <a:pt x="1820" y="220"/>
                  </a:lnTo>
                  <a:lnTo>
                    <a:pt x="1820" y="220"/>
                  </a:lnTo>
                  <a:lnTo>
                    <a:pt x="1822" y="220"/>
                  </a:lnTo>
                  <a:lnTo>
                    <a:pt x="1824" y="220"/>
                  </a:lnTo>
                  <a:lnTo>
                    <a:pt x="1826" y="220"/>
                  </a:lnTo>
                  <a:lnTo>
                    <a:pt x="1828" y="220"/>
                  </a:lnTo>
                  <a:lnTo>
                    <a:pt x="1834" y="222"/>
                  </a:lnTo>
                  <a:lnTo>
                    <a:pt x="1836" y="222"/>
                  </a:lnTo>
                  <a:lnTo>
                    <a:pt x="1838" y="222"/>
                  </a:lnTo>
                  <a:lnTo>
                    <a:pt x="1840" y="224"/>
                  </a:lnTo>
                  <a:lnTo>
                    <a:pt x="1842" y="224"/>
                  </a:lnTo>
                  <a:lnTo>
                    <a:pt x="1844" y="228"/>
                  </a:lnTo>
                  <a:lnTo>
                    <a:pt x="1848" y="230"/>
                  </a:lnTo>
                  <a:lnTo>
                    <a:pt x="1848" y="230"/>
                  </a:lnTo>
                  <a:lnTo>
                    <a:pt x="1848" y="230"/>
                  </a:lnTo>
                  <a:lnTo>
                    <a:pt x="1850" y="232"/>
                  </a:lnTo>
                  <a:lnTo>
                    <a:pt x="1850" y="232"/>
                  </a:lnTo>
                  <a:lnTo>
                    <a:pt x="1852" y="232"/>
                  </a:lnTo>
                  <a:lnTo>
                    <a:pt x="1854" y="232"/>
                  </a:lnTo>
                  <a:lnTo>
                    <a:pt x="1854" y="232"/>
                  </a:lnTo>
                  <a:lnTo>
                    <a:pt x="1854" y="232"/>
                  </a:lnTo>
                  <a:lnTo>
                    <a:pt x="1856" y="234"/>
                  </a:lnTo>
                  <a:lnTo>
                    <a:pt x="1860" y="234"/>
                  </a:lnTo>
                  <a:lnTo>
                    <a:pt x="1868" y="234"/>
                  </a:lnTo>
                  <a:lnTo>
                    <a:pt x="1872" y="232"/>
                  </a:lnTo>
                  <a:lnTo>
                    <a:pt x="1874" y="232"/>
                  </a:lnTo>
                  <a:lnTo>
                    <a:pt x="1874" y="232"/>
                  </a:lnTo>
                  <a:lnTo>
                    <a:pt x="1876" y="232"/>
                  </a:lnTo>
                  <a:lnTo>
                    <a:pt x="1878" y="232"/>
                  </a:lnTo>
                  <a:lnTo>
                    <a:pt x="1878" y="232"/>
                  </a:lnTo>
                  <a:lnTo>
                    <a:pt x="1878" y="230"/>
                  </a:lnTo>
                  <a:lnTo>
                    <a:pt x="1880" y="230"/>
                  </a:lnTo>
                  <a:lnTo>
                    <a:pt x="1880" y="230"/>
                  </a:lnTo>
                  <a:lnTo>
                    <a:pt x="1880" y="228"/>
                  </a:lnTo>
                  <a:lnTo>
                    <a:pt x="1880" y="226"/>
                  </a:lnTo>
                  <a:lnTo>
                    <a:pt x="1880" y="226"/>
                  </a:lnTo>
                  <a:lnTo>
                    <a:pt x="1880" y="224"/>
                  </a:lnTo>
                  <a:lnTo>
                    <a:pt x="1880" y="222"/>
                  </a:lnTo>
                  <a:lnTo>
                    <a:pt x="1880" y="222"/>
                  </a:lnTo>
                  <a:lnTo>
                    <a:pt x="1880" y="222"/>
                  </a:lnTo>
                  <a:lnTo>
                    <a:pt x="1880" y="222"/>
                  </a:lnTo>
                  <a:close/>
                  <a:moveTo>
                    <a:pt x="2236" y="868"/>
                  </a:moveTo>
                  <a:lnTo>
                    <a:pt x="2236" y="868"/>
                  </a:lnTo>
                  <a:lnTo>
                    <a:pt x="2236" y="868"/>
                  </a:lnTo>
                  <a:lnTo>
                    <a:pt x="2234" y="866"/>
                  </a:lnTo>
                  <a:lnTo>
                    <a:pt x="2234" y="866"/>
                  </a:lnTo>
                  <a:lnTo>
                    <a:pt x="2232" y="864"/>
                  </a:lnTo>
                  <a:lnTo>
                    <a:pt x="2228" y="862"/>
                  </a:lnTo>
                  <a:lnTo>
                    <a:pt x="2226" y="860"/>
                  </a:lnTo>
                  <a:lnTo>
                    <a:pt x="2222" y="860"/>
                  </a:lnTo>
                  <a:lnTo>
                    <a:pt x="2218" y="858"/>
                  </a:lnTo>
                  <a:lnTo>
                    <a:pt x="2214" y="856"/>
                  </a:lnTo>
                  <a:lnTo>
                    <a:pt x="2208" y="856"/>
                  </a:lnTo>
                  <a:lnTo>
                    <a:pt x="2208" y="856"/>
                  </a:lnTo>
                  <a:lnTo>
                    <a:pt x="2206" y="856"/>
                  </a:lnTo>
                  <a:lnTo>
                    <a:pt x="2206" y="856"/>
                  </a:lnTo>
                  <a:lnTo>
                    <a:pt x="2204" y="858"/>
                  </a:lnTo>
                  <a:lnTo>
                    <a:pt x="2204" y="862"/>
                  </a:lnTo>
                  <a:lnTo>
                    <a:pt x="2204" y="864"/>
                  </a:lnTo>
                  <a:lnTo>
                    <a:pt x="2204" y="868"/>
                  </a:lnTo>
                  <a:lnTo>
                    <a:pt x="2204" y="870"/>
                  </a:lnTo>
                  <a:lnTo>
                    <a:pt x="2204" y="872"/>
                  </a:lnTo>
                  <a:lnTo>
                    <a:pt x="2204" y="874"/>
                  </a:lnTo>
                  <a:lnTo>
                    <a:pt x="2204" y="874"/>
                  </a:lnTo>
                  <a:lnTo>
                    <a:pt x="2204" y="876"/>
                  </a:lnTo>
                  <a:lnTo>
                    <a:pt x="2206" y="878"/>
                  </a:lnTo>
                  <a:lnTo>
                    <a:pt x="2206" y="878"/>
                  </a:lnTo>
                  <a:lnTo>
                    <a:pt x="2206" y="878"/>
                  </a:lnTo>
                  <a:lnTo>
                    <a:pt x="2206" y="880"/>
                  </a:lnTo>
                  <a:lnTo>
                    <a:pt x="2208" y="880"/>
                  </a:lnTo>
                  <a:lnTo>
                    <a:pt x="2210" y="882"/>
                  </a:lnTo>
                  <a:lnTo>
                    <a:pt x="2212" y="884"/>
                  </a:lnTo>
                  <a:lnTo>
                    <a:pt x="2212" y="888"/>
                  </a:lnTo>
                  <a:lnTo>
                    <a:pt x="2216" y="892"/>
                  </a:lnTo>
                  <a:lnTo>
                    <a:pt x="2216" y="892"/>
                  </a:lnTo>
                  <a:lnTo>
                    <a:pt x="2218" y="892"/>
                  </a:lnTo>
                  <a:lnTo>
                    <a:pt x="2218" y="892"/>
                  </a:lnTo>
                  <a:lnTo>
                    <a:pt x="2220" y="892"/>
                  </a:lnTo>
                  <a:lnTo>
                    <a:pt x="2224" y="888"/>
                  </a:lnTo>
                  <a:lnTo>
                    <a:pt x="2228" y="886"/>
                  </a:lnTo>
                  <a:lnTo>
                    <a:pt x="2232" y="882"/>
                  </a:lnTo>
                  <a:lnTo>
                    <a:pt x="2234" y="880"/>
                  </a:lnTo>
                  <a:lnTo>
                    <a:pt x="2234" y="880"/>
                  </a:lnTo>
                  <a:lnTo>
                    <a:pt x="2236" y="878"/>
                  </a:lnTo>
                  <a:lnTo>
                    <a:pt x="2236" y="878"/>
                  </a:lnTo>
                  <a:lnTo>
                    <a:pt x="2236" y="876"/>
                  </a:lnTo>
                  <a:lnTo>
                    <a:pt x="2236" y="874"/>
                  </a:lnTo>
                  <a:lnTo>
                    <a:pt x="2236" y="874"/>
                  </a:lnTo>
                  <a:lnTo>
                    <a:pt x="2236" y="874"/>
                  </a:lnTo>
                  <a:lnTo>
                    <a:pt x="2236" y="872"/>
                  </a:lnTo>
                  <a:lnTo>
                    <a:pt x="2236" y="872"/>
                  </a:lnTo>
                  <a:lnTo>
                    <a:pt x="2236" y="870"/>
                  </a:lnTo>
                  <a:lnTo>
                    <a:pt x="2236" y="868"/>
                  </a:lnTo>
                  <a:close/>
                </a:path>
              </a:pathLst>
            </a:custGeom>
            <a:solidFill>
              <a:schemeClr val="accent1"/>
            </a:solidFill>
            <a:ln w="9525" cap="flat" cmpd="sng">
              <a:solidFill>
                <a:schemeClr val="bg1"/>
              </a:solidFill>
              <a:prstDash val="solid"/>
              <a:round/>
              <a:headEnd type="none" w="med" len="med"/>
              <a:tailEnd type="none" w="med" len="med"/>
            </a:ln>
            <a:effectLst/>
            <a:extLst/>
          </p:spPr>
          <p:txBody>
            <a:bodyPr>
              <a:noAutofit/>
            </a:bodyPr>
            <a:lstStyle/>
            <a:p>
              <a:pPr fontAlgn="auto">
                <a:spcBef>
                  <a:spcPts val="0"/>
                </a:spcBef>
                <a:spcAft>
                  <a:spcPts val="0"/>
                </a:spcAft>
                <a:defRPr/>
              </a:pPr>
              <a:endParaRPr lang="en-US" kern="0">
                <a:solidFill>
                  <a:sysClr val="windowText" lastClr="000000"/>
                </a:solidFill>
              </a:endParaRPr>
            </a:p>
          </p:txBody>
        </p:sp>
        <p:sp>
          <p:nvSpPr>
            <p:cNvPr id="509" name="Freeform 171"/>
            <p:cNvSpPr>
              <a:spLocks/>
            </p:cNvSpPr>
            <p:nvPr>
              <p:custDataLst>
                <p:tags r:id="rId179"/>
              </p:custDataLst>
            </p:nvPr>
          </p:nvSpPr>
          <p:spPr bwMode="gray">
            <a:xfrm>
              <a:off x="2309952" y="1866829"/>
              <a:ext cx="166336" cy="156896"/>
            </a:xfrm>
            <a:custGeom>
              <a:avLst/>
              <a:gdLst/>
              <a:ahLst/>
              <a:cxnLst/>
              <a:rect l="l" t="t" r="r" b="b"/>
              <a:pathLst>
                <a:path w="330050" h="323637">
                  <a:moveTo>
                    <a:pt x="318742" y="280797"/>
                  </a:moveTo>
                  <a:cubicBezTo>
                    <a:pt x="322512" y="280018"/>
                    <a:pt x="327275" y="280404"/>
                    <a:pt x="328069" y="281954"/>
                  </a:cubicBezTo>
                  <a:cubicBezTo>
                    <a:pt x="331241" y="292853"/>
                    <a:pt x="329653" y="303747"/>
                    <a:pt x="329653" y="314646"/>
                  </a:cubicBezTo>
                  <a:cubicBezTo>
                    <a:pt x="325154" y="323205"/>
                    <a:pt x="310605" y="326083"/>
                    <a:pt x="308223" y="321408"/>
                  </a:cubicBezTo>
                  <a:cubicBezTo>
                    <a:pt x="330450" y="318299"/>
                    <a:pt x="312195" y="305301"/>
                    <a:pt x="315368" y="286629"/>
                  </a:cubicBezTo>
                  <a:cubicBezTo>
                    <a:pt x="312194" y="283520"/>
                    <a:pt x="314972" y="281576"/>
                    <a:pt x="318742" y="280797"/>
                  </a:cubicBezTo>
                  <a:close/>
                  <a:moveTo>
                    <a:pt x="177056" y="323"/>
                  </a:moveTo>
                  <a:cubicBezTo>
                    <a:pt x="181620" y="-260"/>
                    <a:pt x="185986" y="-260"/>
                    <a:pt x="189954" y="2071"/>
                  </a:cubicBezTo>
                  <a:cubicBezTo>
                    <a:pt x="205829" y="12950"/>
                    <a:pt x="232817" y="44031"/>
                    <a:pt x="243929" y="61126"/>
                  </a:cubicBezTo>
                  <a:cubicBezTo>
                    <a:pt x="264567" y="73559"/>
                    <a:pt x="293142" y="61126"/>
                    <a:pt x="296317" y="81329"/>
                  </a:cubicBezTo>
                  <a:cubicBezTo>
                    <a:pt x="302667" y="89100"/>
                    <a:pt x="283617" y="98424"/>
                    <a:pt x="282029" y="104640"/>
                  </a:cubicBezTo>
                  <a:cubicBezTo>
                    <a:pt x="280442" y="110857"/>
                    <a:pt x="291554" y="112411"/>
                    <a:pt x="285204" y="123289"/>
                  </a:cubicBezTo>
                  <a:cubicBezTo>
                    <a:pt x="270917" y="127952"/>
                    <a:pt x="239167" y="143492"/>
                    <a:pt x="253454" y="160587"/>
                  </a:cubicBezTo>
                  <a:cubicBezTo>
                    <a:pt x="283617" y="177682"/>
                    <a:pt x="275679" y="168358"/>
                    <a:pt x="277267" y="219642"/>
                  </a:cubicBezTo>
                  <a:cubicBezTo>
                    <a:pt x="302667" y="267819"/>
                    <a:pt x="261392" y="256940"/>
                    <a:pt x="215354" y="258494"/>
                  </a:cubicBezTo>
                  <a:cubicBezTo>
                    <a:pt x="199479" y="256940"/>
                    <a:pt x="193129" y="252278"/>
                    <a:pt x="189954" y="267819"/>
                  </a:cubicBezTo>
                  <a:cubicBezTo>
                    <a:pt x="186779" y="275589"/>
                    <a:pt x="182017" y="281806"/>
                    <a:pt x="177254" y="289576"/>
                  </a:cubicBezTo>
                  <a:cubicBezTo>
                    <a:pt x="172492" y="292684"/>
                    <a:pt x="162967" y="289576"/>
                    <a:pt x="158204" y="286468"/>
                  </a:cubicBezTo>
                  <a:cubicBezTo>
                    <a:pt x="153442" y="283360"/>
                    <a:pt x="156617" y="275589"/>
                    <a:pt x="143917" y="272481"/>
                  </a:cubicBezTo>
                  <a:cubicBezTo>
                    <a:pt x="112167" y="270927"/>
                    <a:pt x="105817" y="274035"/>
                    <a:pt x="85179" y="258494"/>
                  </a:cubicBezTo>
                  <a:cubicBezTo>
                    <a:pt x="66129" y="255386"/>
                    <a:pt x="77242" y="230521"/>
                    <a:pt x="77242" y="214980"/>
                  </a:cubicBezTo>
                  <a:cubicBezTo>
                    <a:pt x="86767" y="210318"/>
                    <a:pt x="89942" y="208764"/>
                    <a:pt x="91529" y="197885"/>
                  </a:cubicBezTo>
                  <a:cubicBezTo>
                    <a:pt x="85179" y="188561"/>
                    <a:pt x="77242" y="183898"/>
                    <a:pt x="72479" y="173020"/>
                  </a:cubicBezTo>
                  <a:cubicBezTo>
                    <a:pt x="64542" y="155925"/>
                    <a:pt x="72479" y="138830"/>
                    <a:pt x="56604" y="127952"/>
                  </a:cubicBezTo>
                  <a:cubicBezTo>
                    <a:pt x="45492" y="126397"/>
                    <a:pt x="32792" y="123289"/>
                    <a:pt x="23267" y="117073"/>
                  </a:cubicBezTo>
                  <a:cubicBezTo>
                    <a:pt x="1042" y="112411"/>
                    <a:pt x="-2133" y="107748"/>
                    <a:pt x="1042" y="84437"/>
                  </a:cubicBezTo>
                  <a:cubicBezTo>
                    <a:pt x="31204" y="79775"/>
                    <a:pt x="28029" y="76667"/>
                    <a:pt x="48667" y="90654"/>
                  </a:cubicBezTo>
                  <a:cubicBezTo>
                    <a:pt x="61367" y="87545"/>
                    <a:pt x="70892" y="87545"/>
                    <a:pt x="75654" y="75113"/>
                  </a:cubicBezTo>
                  <a:cubicBezTo>
                    <a:pt x="70892" y="67342"/>
                    <a:pt x="66129" y="62680"/>
                    <a:pt x="56604" y="58018"/>
                  </a:cubicBezTo>
                  <a:cubicBezTo>
                    <a:pt x="45492" y="56464"/>
                    <a:pt x="43507" y="54133"/>
                    <a:pt x="45492" y="51413"/>
                  </a:cubicBezTo>
                  <a:lnTo>
                    <a:pt x="58192" y="42477"/>
                  </a:lnTo>
                  <a:cubicBezTo>
                    <a:pt x="69304" y="48693"/>
                    <a:pt x="75654" y="56464"/>
                    <a:pt x="85179" y="62680"/>
                  </a:cubicBezTo>
                  <a:cubicBezTo>
                    <a:pt x="148679" y="67342"/>
                    <a:pt x="110579" y="72005"/>
                    <a:pt x="129629" y="47139"/>
                  </a:cubicBezTo>
                  <a:cubicBezTo>
                    <a:pt x="155029" y="33153"/>
                    <a:pt x="132804" y="8287"/>
                    <a:pt x="162967" y="2071"/>
                  </a:cubicBezTo>
                  <a:cubicBezTo>
                    <a:pt x="167729" y="2071"/>
                    <a:pt x="172492" y="906"/>
                    <a:pt x="177056" y="323"/>
                  </a:cubicBezTo>
                  <a:close/>
                </a:path>
              </a:pathLst>
            </a:custGeom>
            <a:solidFill>
              <a:schemeClr val="accent1"/>
            </a:solidFill>
            <a:ln w="9525" cap="flat" cmpd="sng">
              <a:solidFill>
                <a:schemeClr val="bg1"/>
              </a:solidFill>
              <a:prstDash val="solid"/>
              <a:round/>
              <a:headEnd type="none" w="med" len="med"/>
              <a:tailEnd type="none" w="med" len="med"/>
            </a:ln>
            <a:effectLst/>
            <a:extLst/>
          </p:spPr>
          <p:txBody>
            <a:bodyPr>
              <a:noAutofit/>
            </a:bodyPr>
            <a:lstStyle/>
            <a:p>
              <a:pPr fontAlgn="auto">
                <a:spcBef>
                  <a:spcPts val="0"/>
                </a:spcBef>
                <a:spcAft>
                  <a:spcPts val="0"/>
                </a:spcAft>
                <a:defRPr/>
              </a:pPr>
              <a:endParaRPr lang="en-CA" kern="0">
                <a:solidFill>
                  <a:sysClr val="windowText" lastClr="000000"/>
                </a:solidFill>
              </a:endParaRPr>
            </a:p>
          </p:txBody>
        </p:sp>
        <p:sp>
          <p:nvSpPr>
            <p:cNvPr id="510" name="Freeform 172"/>
            <p:cNvSpPr>
              <a:spLocks/>
            </p:cNvSpPr>
            <p:nvPr>
              <p:custDataLst>
                <p:tags r:id="rId180"/>
              </p:custDataLst>
            </p:nvPr>
          </p:nvSpPr>
          <p:spPr bwMode="gray">
            <a:xfrm>
              <a:off x="2449376" y="1941117"/>
              <a:ext cx="140143" cy="150778"/>
            </a:xfrm>
            <a:custGeom>
              <a:avLst/>
              <a:gdLst/>
              <a:ahLst/>
              <a:cxnLst/>
              <a:rect l="l" t="t" r="r" b="b"/>
              <a:pathLst>
                <a:path w="278077" h="311019">
                  <a:moveTo>
                    <a:pt x="42763" y="185722"/>
                  </a:moveTo>
                  <a:cubicBezTo>
                    <a:pt x="50272" y="185101"/>
                    <a:pt x="58295" y="185679"/>
                    <a:pt x="61734" y="188662"/>
                  </a:cubicBezTo>
                  <a:cubicBezTo>
                    <a:pt x="68612" y="194629"/>
                    <a:pt x="66025" y="217687"/>
                    <a:pt x="68150" y="225777"/>
                  </a:cubicBezTo>
                  <a:cubicBezTo>
                    <a:pt x="61802" y="233553"/>
                    <a:pt x="58626" y="239786"/>
                    <a:pt x="55450" y="249118"/>
                  </a:cubicBezTo>
                  <a:cubicBezTo>
                    <a:pt x="48441" y="248550"/>
                    <a:pt x="30843" y="232229"/>
                    <a:pt x="26081" y="222364"/>
                  </a:cubicBezTo>
                  <a:cubicBezTo>
                    <a:pt x="21323" y="212524"/>
                    <a:pt x="21980" y="198485"/>
                    <a:pt x="26874" y="189981"/>
                  </a:cubicBezTo>
                  <a:cubicBezTo>
                    <a:pt x="28258" y="188165"/>
                    <a:pt x="35254" y="186344"/>
                    <a:pt x="42763" y="185722"/>
                  </a:cubicBezTo>
                  <a:close/>
                  <a:moveTo>
                    <a:pt x="34737" y="93844"/>
                  </a:moveTo>
                  <a:lnTo>
                    <a:pt x="12511" y="103195"/>
                  </a:lnTo>
                  <a:lnTo>
                    <a:pt x="22869" y="96731"/>
                  </a:lnTo>
                  <a:cubicBezTo>
                    <a:pt x="27546" y="96686"/>
                    <a:pt x="32592" y="93844"/>
                    <a:pt x="34737" y="93844"/>
                  </a:cubicBezTo>
                  <a:close/>
                  <a:moveTo>
                    <a:pt x="104795" y="94"/>
                  </a:moveTo>
                  <a:cubicBezTo>
                    <a:pt x="113330" y="-297"/>
                    <a:pt x="121268" y="477"/>
                    <a:pt x="126817" y="3589"/>
                  </a:cubicBezTo>
                  <a:cubicBezTo>
                    <a:pt x="145868" y="6716"/>
                    <a:pt x="149043" y="26934"/>
                    <a:pt x="141120" y="42509"/>
                  </a:cubicBezTo>
                  <a:cubicBezTo>
                    <a:pt x="118893" y="50280"/>
                    <a:pt x="125244" y="51828"/>
                    <a:pt x="122069" y="79850"/>
                  </a:cubicBezTo>
                  <a:lnTo>
                    <a:pt x="141120" y="107871"/>
                  </a:lnTo>
                  <a:cubicBezTo>
                    <a:pt x="153820" y="115642"/>
                    <a:pt x="161744" y="128089"/>
                    <a:pt x="168094" y="140536"/>
                  </a:cubicBezTo>
                  <a:cubicBezTo>
                    <a:pt x="176046" y="145212"/>
                    <a:pt x="179222" y="151435"/>
                    <a:pt x="183970" y="159207"/>
                  </a:cubicBezTo>
                  <a:cubicBezTo>
                    <a:pt x="183970" y="159207"/>
                    <a:pt x="203021" y="160755"/>
                    <a:pt x="212547" y="163882"/>
                  </a:cubicBezTo>
                  <a:cubicBezTo>
                    <a:pt x="217324" y="165430"/>
                    <a:pt x="217324" y="173233"/>
                    <a:pt x="222072" y="176329"/>
                  </a:cubicBezTo>
                  <a:cubicBezTo>
                    <a:pt x="234773" y="179457"/>
                    <a:pt x="249075" y="188776"/>
                    <a:pt x="255426" y="199675"/>
                  </a:cubicBezTo>
                  <a:cubicBezTo>
                    <a:pt x="255426" y="199675"/>
                    <a:pt x="274477" y="207446"/>
                    <a:pt x="277652" y="215249"/>
                  </a:cubicBezTo>
                  <a:cubicBezTo>
                    <a:pt x="279225" y="218345"/>
                    <a:pt x="276050" y="219893"/>
                    <a:pt x="274477" y="223021"/>
                  </a:cubicBezTo>
                  <a:cubicBezTo>
                    <a:pt x="256999" y="226117"/>
                    <a:pt x="255426" y="227696"/>
                    <a:pt x="250649" y="209026"/>
                  </a:cubicBezTo>
                  <a:cubicBezTo>
                    <a:pt x="241123" y="204350"/>
                    <a:pt x="236375" y="207446"/>
                    <a:pt x="234773" y="218345"/>
                  </a:cubicBezTo>
                  <a:cubicBezTo>
                    <a:pt x="230024" y="229244"/>
                    <a:pt x="237948" y="230792"/>
                    <a:pt x="244298" y="238564"/>
                  </a:cubicBezTo>
                  <a:cubicBezTo>
                    <a:pt x="239550" y="246367"/>
                    <a:pt x="234773" y="252590"/>
                    <a:pt x="230024" y="260362"/>
                  </a:cubicBezTo>
                  <a:cubicBezTo>
                    <a:pt x="206196" y="274356"/>
                    <a:pt x="214148" y="286835"/>
                    <a:pt x="203021" y="308601"/>
                  </a:cubicBezTo>
                  <a:cubicBezTo>
                    <a:pt x="183970" y="311729"/>
                    <a:pt x="182397" y="313277"/>
                    <a:pt x="168094" y="303926"/>
                  </a:cubicBezTo>
                  <a:cubicBezTo>
                    <a:pt x="158569" y="302378"/>
                    <a:pt x="152219" y="299282"/>
                    <a:pt x="144295" y="294606"/>
                  </a:cubicBezTo>
                  <a:cubicBezTo>
                    <a:pt x="129992" y="291479"/>
                    <a:pt x="129992" y="291479"/>
                    <a:pt x="126817" y="275936"/>
                  </a:cubicBezTo>
                  <a:cubicBezTo>
                    <a:pt x="180795" y="271260"/>
                    <a:pt x="209372" y="289931"/>
                    <a:pt x="212547" y="237016"/>
                  </a:cubicBezTo>
                  <a:cubicBezTo>
                    <a:pt x="210973" y="227696"/>
                    <a:pt x="206196" y="223021"/>
                    <a:pt x="201448" y="215249"/>
                  </a:cubicBezTo>
                  <a:cubicBezTo>
                    <a:pt x="190321" y="213670"/>
                    <a:pt x="193496" y="209026"/>
                    <a:pt x="187145" y="199675"/>
                  </a:cubicBezTo>
                  <a:cubicBezTo>
                    <a:pt x="176046" y="193451"/>
                    <a:pt x="174445" y="182552"/>
                    <a:pt x="163346" y="177877"/>
                  </a:cubicBezTo>
                  <a:cubicBezTo>
                    <a:pt x="147470" y="174781"/>
                    <a:pt x="123642" y="159207"/>
                    <a:pt x="117292" y="145212"/>
                  </a:cubicBezTo>
                  <a:cubicBezTo>
                    <a:pt x="107766" y="137409"/>
                    <a:pt x="106193" y="128089"/>
                    <a:pt x="96667" y="121866"/>
                  </a:cubicBezTo>
                  <a:cubicBezTo>
                    <a:pt x="82365" y="118738"/>
                    <a:pt x="83967" y="112515"/>
                    <a:pt x="82365" y="98520"/>
                  </a:cubicBezTo>
                  <a:cubicBezTo>
                    <a:pt x="76015" y="84525"/>
                    <a:pt x="56964" y="89169"/>
                    <a:pt x="44263" y="87621"/>
                  </a:cubicBezTo>
                  <a:cubicBezTo>
                    <a:pt x="35798" y="88653"/>
                    <a:pt x="29454" y="92463"/>
                    <a:pt x="22869" y="96731"/>
                  </a:cubicBezTo>
                  <a:lnTo>
                    <a:pt x="17288" y="96972"/>
                  </a:lnTo>
                  <a:cubicBezTo>
                    <a:pt x="12511" y="93844"/>
                    <a:pt x="4587" y="82946"/>
                    <a:pt x="1412" y="75174"/>
                  </a:cubicBezTo>
                  <a:cubicBezTo>
                    <a:pt x="-1763" y="67403"/>
                    <a:pt x="1412" y="58052"/>
                    <a:pt x="1412" y="50280"/>
                  </a:cubicBezTo>
                  <a:cubicBezTo>
                    <a:pt x="2986" y="42509"/>
                    <a:pt x="6161" y="36285"/>
                    <a:pt x="7763" y="28482"/>
                  </a:cubicBezTo>
                  <a:cubicBezTo>
                    <a:pt x="17288" y="26934"/>
                    <a:pt x="26814" y="28482"/>
                    <a:pt x="34737" y="22259"/>
                  </a:cubicBezTo>
                  <a:cubicBezTo>
                    <a:pt x="45865" y="17583"/>
                    <a:pt x="63314" y="6716"/>
                    <a:pt x="79190" y="3589"/>
                  </a:cubicBezTo>
                  <a:cubicBezTo>
                    <a:pt x="87128" y="2041"/>
                    <a:pt x="96260" y="485"/>
                    <a:pt x="104795" y="94"/>
                  </a:cubicBezTo>
                  <a:close/>
                </a:path>
              </a:pathLst>
            </a:custGeom>
            <a:solidFill>
              <a:schemeClr val="accent1"/>
            </a:solidFill>
            <a:ln w="9525" cap="flat" cmpd="sng">
              <a:solidFill>
                <a:schemeClr val="bg1"/>
              </a:solidFill>
              <a:prstDash val="solid"/>
              <a:round/>
              <a:headEnd type="none" w="med" len="med"/>
              <a:tailEnd type="none" w="med" len="med"/>
            </a:ln>
            <a:effectLst/>
            <a:extLst/>
          </p:spPr>
          <p:txBody>
            <a:bodyPr>
              <a:noAutofit/>
            </a:bodyPr>
            <a:lstStyle/>
            <a:p>
              <a:pPr fontAlgn="auto">
                <a:spcBef>
                  <a:spcPts val="0"/>
                </a:spcBef>
                <a:spcAft>
                  <a:spcPts val="0"/>
                </a:spcAft>
                <a:defRPr/>
              </a:pPr>
              <a:endParaRPr lang="en-CA" kern="0">
                <a:solidFill>
                  <a:sysClr val="windowText" lastClr="000000"/>
                </a:solidFill>
              </a:endParaRPr>
            </a:p>
          </p:txBody>
        </p:sp>
        <p:sp>
          <p:nvSpPr>
            <p:cNvPr id="511" name="Freeform 56"/>
            <p:cNvSpPr>
              <a:spLocks noEditPoints="1"/>
            </p:cNvSpPr>
            <p:nvPr/>
          </p:nvSpPr>
          <p:spPr bwMode="auto">
            <a:xfrm>
              <a:off x="3523230" y="2480589"/>
              <a:ext cx="561638" cy="193940"/>
            </a:xfrm>
            <a:custGeom>
              <a:avLst/>
              <a:gdLst>
                <a:gd name="T0" fmla="*/ 628 w 702"/>
                <a:gd name="T1" fmla="*/ 114 h 252"/>
                <a:gd name="T2" fmla="*/ 576 w 702"/>
                <a:gd name="T3" fmla="*/ 84 h 252"/>
                <a:gd name="T4" fmla="*/ 542 w 702"/>
                <a:gd name="T5" fmla="*/ 106 h 252"/>
                <a:gd name="T6" fmla="*/ 564 w 702"/>
                <a:gd name="T7" fmla="*/ 122 h 252"/>
                <a:gd name="T8" fmla="*/ 574 w 702"/>
                <a:gd name="T9" fmla="*/ 146 h 252"/>
                <a:gd name="T10" fmla="*/ 646 w 702"/>
                <a:gd name="T11" fmla="*/ 212 h 252"/>
                <a:gd name="T12" fmla="*/ 702 w 702"/>
                <a:gd name="T13" fmla="*/ 218 h 252"/>
                <a:gd name="T14" fmla="*/ 32 w 702"/>
                <a:gd name="T15" fmla="*/ 56 h 252"/>
                <a:gd name="T16" fmla="*/ 50 w 702"/>
                <a:gd name="T17" fmla="*/ 80 h 252"/>
                <a:gd name="T18" fmla="*/ 50 w 702"/>
                <a:gd name="T19" fmla="*/ 100 h 252"/>
                <a:gd name="T20" fmla="*/ 74 w 702"/>
                <a:gd name="T21" fmla="*/ 96 h 252"/>
                <a:gd name="T22" fmla="*/ 530 w 702"/>
                <a:gd name="T23" fmla="*/ 222 h 252"/>
                <a:gd name="T24" fmla="*/ 556 w 702"/>
                <a:gd name="T25" fmla="*/ 200 h 252"/>
                <a:gd name="T26" fmla="*/ 274 w 702"/>
                <a:gd name="T27" fmla="*/ 198 h 252"/>
                <a:gd name="T28" fmla="*/ 232 w 702"/>
                <a:gd name="T29" fmla="*/ 182 h 252"/>
                <a:gd name="T30" fmla="*/ 170 w 702"/>
                <a:gd name="T31" fmla="*/ 168 h 252"/>
                <a:gd name="T32" fmla="*/ 196 w 702"/>
                <a:gd name="T33" fmla="*/ 204 h 252"/>
                <a:gd name="T34" fmla="*/ 296 w 702"/>
                <a:gd name="T35" fmla="*/ 208 h 252"/>
                <a:gd name="T36" fmla="*/ 612 w 702"/>
                <a:gd name="T37" fmla="*/ 172 h 252"/>
                <a:gd name="T38" fmla="*/ 206 w 702"/>
                <a:gd name="T39" fmla="*/ 144 h 252"/>
                <a:gd name="T40" fmla="*/ 188 w 702"/>
                <a:gd name="T41" fmla="*/ 122 h 252"/>
                <a:gd name="T42" fmla="*/ 382 w 702"/>
                <a:gd name="T43" fmla="*/ 228 h 252"/>
                <a:gd name="T44" fmla="*/ 388 w 702"/>
                <a:gd name="T45" fmla="*/ 252 h 252"/>
                <a:gd name="T46" fmla="*/ 458 w 702"/>
                <a:gd name="T47" fmla="*/ 208 h 252"/>
                <a:gd name="T48" fmla="*/ 450 w 702"/>
                <a:gd name="T49" fmla="*/ 244 h 252"/>
                <a:gd name="T50" fmla="*/ 224 w 702"/>
                <a:gd name="T51" fmla="*/ 106 h 252"/>
                <a:gd name="T52" fmla="*/ 254 w 702"/>
                <a:gd name="T53" fmla="*/ 138 h 252"/>
                <a:gd name="T54" fmla="*/ 326 w 702"/>
                <a:gd name="T55" fmla="*/ 136 h 252"/>
                <a:gd name="T56" fmla="*/ 352 w 702"/>
                <a:gd name="T57" fmla="*/ 80 h 252"/>
                <a:gd name="T58" fmla="*/ 352 w 702"/>
                <a:gd name="T59" fmla="*/ 54 h 252"/>
                <a:gd name="T60" fmla="*/ 350 w 702"/>
                <a:gd name="T61" fmla="*/ 20 h 252"/>
                <a:gd name="T62" fmla="*/ 262 w 702"/>
                <a:gd name="T63" fmla="*/ 56 h 252"/>
                <a:gd name="T64" fmla="*/ 204 w 702"/>
                <a:gd name="T65" fmla="*/ 66 h 252"/>
                <a:gd name="T66" fmla="*/ 172 w 702"/>
                <a:gd name="T67" fmla="*/ 134 h 252"/>
                <a:gd name="T68" fmla="*/ 182 w 702"/>
                <a:gd name="T69" fmla="*/ 124 h 252"/>
                <a:gd name="T70" fmla="*/ 152 w 702"/>
                <a:gd name="T71" fmla="*/ 114 h 252"/>
                <a:gd name="T72" fmla="*/ 124 w 702"/>
                <a:gd name="T73" fmla="*/ 76 h 252"/>
                <a:gd name="T74" fmla="*/ 34 w 702"/>
                <a:gd name="T75" fmla="*/ 8 h 252"/>
                <a:gd name="T76" fmla="*/ 2 w 702"/>
                <a:gd name="T77" fmla="*/ 14 h 252"/>
                <a:gd name="T78" fmla="*/ 60 w 702"/>
                <a:gd name="T79" fmla="*/ 80 h 252"/>
                <a:gd name="T80" fmla="*/ 158 w 702"/>
                <a:gd name="T81" fmla="*/ 174 h 252"/>
                <a:gd name="T82" fmla="*/ 324 w 702"/>
                <a:gd name="T83" fmla="*/ 208 h 252"/>
                <a:gd name="T84" fmla="*/ 334 w 702"/>
                <a:gd name="T85" fmla="*/ 232 h 252"/>
                <a:gd name="T86" fmla="*/ 442 w 702"/>
                <a:gd name="T87" fmla="*/ 210 h 252"/>
                <a:gd name="T88" fmla="*/ 368 w 702"/>
                <a:gd name="T89" fmla="*/ 138 h 252"/>
                <a:gd name="T90" fmla="*/ 382 w 702"/>
                <a:gd name="T91" fmla="*/ 164 h 252"/>
                <a:gd name="T92" fmla="*/ 388 w 702"/>
                <a:gd name="T93" fmla="*/ 138 h 252"/>
                <a:gd name="T94" fmla="*/ 416 w 702"/>
                <a:gd name="T95" fmla="*/ 172 h 252"/>
                <a:gd name="T96" fmla="*/ 430 w 702"/>
                <a:gd name="T97" fmla="*/ 154 h 252"/>
                <a:gd name="T98" fmla="*/ 404 w 702"/>
                <a:gd name="T99" fmla="*/ 116 h 252"/>
                <a:gd name="T100" fmla="*/ 426 w 702"/>
                <a:gd name="T101" fmla="*/ 96 h 252"/>
                <a:gd name="T102" fmla="*/ 390 w 702"/>
                <a:gd name="T103" fmla="*/ 82 h 252"/>
                <a:gd name="T104" fmla="*/ 454 w 702"/>
                <a:gd name="T105" fmla="*/ 56 h 252"/>
                <a:gd name="T106" fmla="*/ 386 w 702"/>
                <a:gd name="T107" fmla="*/ 76 h 252"/>
                <a:gd name="T108" fmla="*/ 494 w 702"/>
                <a:gd name="T109" fmla="*/ 90 h 252"/>
                <a:gd name="T110" fmla="*/ 508 w 702"/>
                <a:gd name="T111" fmla="*/ 98 h 252"/>
                <a:gd name="T112" fmla="*/ 508 w 702"/>
                <a:gd name="T113" fmla="*/ 58 h 252"/>
                <a:gd name="T114" fmla="*/ 496 w 702"/>
                <a:gd name="T115" fmla="*/ 48 h 252"/>
                <a:gd name="T116" fmla="*/ 494 w 702"/>
                <a:gd name="T117" fmla="*/ 90 h 252"/>
                <a:gd name="T118" fmla="*/ 488 w 702"/>
                <a:gd name="T119" fmla="*/ 156 h 252"/>
                <a:gd name="T120" fmla="*/ 544 w 702"/>
                <a:gd name="T121" fmla="*/ 146 h 252"/>
                <a:gd name="T122" fmla="*/ 528 w 702"/>
                <a:gd name="T123" fmla="*/ 122 h 252"/>
                <a:gd name="T124" fmla="*/ 544 w 702"/>
                <a:gd name="T125" fmla="*/ 146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702" h="252">
                  <a:moveTo>
                    <a:pt x="700" y="124"/>
                  </a:moveTo>
                  <a:lnTo>
                    <a:pt x="698" y="124"/>
                  </a:lnTo>
                  <a:lnTo>
                    <a:pt x="700" y="122"/>
                  </a:lnTo>
                  <a:lnTo>
                    <a:pt x="650" y="104"/>
                  </a:lnTo>
                  <a:lnTo>
                    <a:pt x="650" y="104"/>
                  </a:lnTo>
                  <a:lnTo>
                    <a:pt x="648" y="104"/>
                  </a:lnTo>
                  <a:lnTo>
                    <a:pt x="628" y="114"/>
                  </a:lnTo>
                  <a:lnTo>
                    <a:pt x="628" y="114"/>
                  </a:lnTo>
                  <a:lnTo>
                    <a:pt x="628" y="114"/>
                  </a:lnTo>
                  <a:lnTo>
                    <a:pt x="612" y="130"/>
                  </a:lnTo>
                  <a:lnTo>
                    <a:pt x="594" y="114"/>
                  </a:lnTo>
                  <a:lnTo>
                    <a:pt x="594" y="98"/>
                  </a:lnTo>
                  <a:lnTo>
                    <a:pt x="594" y="98"/>
                  </a:lnTo>
                  <a:lnTo>
                    <a:pt x="594" y="96"/>
                  </a:lnTo>
                  <a:lnTo>
                    <a:pt x="576" y="84"/>
                  </a:lnTo>
                  <a:lnTo>
                    <a:pt x="576" y="84"/>
                  </a:lnTo>
                  <a:lnTo>
                    <a:pt x="574" y="84"/>
                  </a:lnTo>
                  <a:lnTo>
                    <a:pt x="564" y="84"/>
                  </a:lnTo>
                  <a:lnTo>
                    <a:pt x="564" y="84"/>
                  </a:lnTo>
                  <a:lnTo>
                    <a:pt x="562" y="86"/>
                  </a:lnTo>
                  <a:lnTo>
                    <a:pt x="542" y="104"/>
                  </a:lnTo>
                  <a:lnTo>
                    <a:pt x="542" y="104"/>
                  </a:lnTo>
                  <a:lnTo>
                    <a:pt x="542" y="106"/>
                  </a:lnTo>
                  <a:lnTo>
                    <a:pt x="542" y="106"/>
                  </a:lnTo>
                  <a:lnTo>
                    <a:pt x="544" y="108"/>
                  </a:lnTo>
                  <a:lnTo>
                    <a:pt x="550" y="108"/>
                  </a:lnTo>
                  <a:lnTo>
                    <a:pt x="562" y="118"/>
                  </a:lnTo>
                  <a:lnTo>
                    <a:pt x="562" y="118"/>
                  </a:lnTo>
                  <a:lnTo>
                    <a:pt x="564" y="120"/>
                  </a:lnTo>
                  <a:lnTo>
                    <a:pt x="584" y="120"/>
                  </a:lnTo>
                  <a:lnTo>
                    <a:pt x="580" y="122"/>
                  </a:lnTo>
                  <a:lnTo>
                    <a:pt x="564" y="122"/>
                  </a:lnTo>
                  <a:lnTo>
                    <a:pt x="564" y="122"/>
                  </a:lnTo>
                  <a:lnTo>
                    <a:pt x="560" y="124"/>
                  </a:lnTo>
                  <a:lnTo>
                    <a:pt x="560" y="124"/>
                  </a:lnTo>
                  <a:lnTo>
                    <a:pt x="562" y="126"/>
                  </a:lnTo>
                  <a:lnTo>
                    <a:pt x="572" y="136"/>
                  </a:lnTo>
                  <a:lnTo>
                    <a:pt x="572" y="144"/>
                  </a:lnTo>
                  <a:lnTo>
                    <a:pt x="572" y="144"/>
                  </a:lnTo>
                  <a:lnTo>
                    <a:pt x="574" y="146"/>
                  </a:lnTo>
                  <a:lnTo>
                    <a:pt x="574" y="146"/>
                  </a:lnTo>
                  <a:lnTo>
                    <a:pt x="576" y="146"/>
                  </a:lnTo>
                  <a:lnTo>
                    <a:pt x="582" y="138"/>
                  </a:lnTo>
                  <a:lnTo>
                    <a:pt x="646" y="172"/>
                  </a:lnTo>
                  <a:lnTo>
                    <a:pt x="656" y="190"/>
                  </a:lnTo>
                  <a:lnTo>
                    <a:pt x="646" y="210"/>
                  </a:lnTo>
                  <a:lnTo>
                    <a:pt x="646" y="210"/>
                  </a:lnTo>
                  <a:lnTo>
                    <a:pt x="646" y="212"/>
                  </a:lnTo>
                  <a:lnTo>
                    <a:pt x="646" y="212"/>
                  </a:lnTo>
                  <a:lnTo>
                    <a:pt x="650" y="214"/>
                  </a:lnTo>
                  <a:lnTo>
                    <a:pt x="678" y="204"/>
                  </a:lnTo>
                  <a:lnTo>
                    <a:pt x="698" y="220"/>
                  </a:lnTo>
                  <a:lnTo>
                    <a:pt x="698" y="220"/>
                  </a:lnTo>
                  <a:lnTo>
                    <a:pt x="700" y="220"/>
                  </a:lnTo>
                  <a:lnTo>
                    <a:pt x="700" y="220"/>
                  </a:lnTo>
                  <a:lnTo>
                    <a:pt x="702" y="218"/>
                  </a:lnTo>
                  <a:lnTo>
                    <a:pt x="702" y="124"/>
                  </a:lnTo>
                  <a:lnTo>
                    <a:pt x="700" y="124"/>
                  </a:lnTo>
                  <a:close/>
                  <a:moveTo>
                    <a:pt x="54" y="80"/>
                  </a:moveTo>
                  <a:lnTo>
                    <a:pt x="54" y="80"/>
                  </a:lnTo>
                  <a:lnTo>
                    <a:pt x="54" y="78"/>
                  </a:lnTo>
                  <a:lnTo>
                    <a:pt x="52" y="76"/>
                  </a:lnTo>
                  <a:lnTo>
                    <a:pt x="32" y="56"/>
                  </a:lnTo>
                  <a:lnTo>
                    <a:pt x="32" y="56"/>
                  </a:lnTo>
                  <a:lnTo>
                    <a:pt x="30" y="56"/>
                  </a:lnTo>
                  <a:lnTo>
                    <a:pt x="30" y="56"/>
                  </a:lnTo>
                  <a:lnTo>
                    <a:pt x="28" y="58"/>
                  </a:lnTo>
                  <a:lnTo>
                    <a:pt x="28" y="68"/>
                  </a:lnTo>
                  <a:lnTo>
                    <a:pt x="30" y="68"/>
                  </a:lnTo>
                  <a:lnTo>
                    <a:pt x="30" y="68"/>
                  </a:lnTo>
                  <a:lnTo>
                    <a:pt x="30" y="72"/>
                  </a:lnTo>
                  <a:lnTo>
                    <a:pt x="50" y="80"/>
                  </a:lnTo>
                  <a:lnTo>
                    <a:pt x="50" y="80"/>
                  </a:lnTo>
                  <a:lnTo>
                    <a:pt x="52" y="80"/>
                  </a:lnTo>
                  <a:lnTo>
                    <a:pt x="54" y="80"/>
                  </a:lnTo>
                  <a:lnTo>
                    <a:pt x="54" y="80"/>
                  </a:lnTo>
                  <a:close/>
                  <a:moveTo>
                    <a:pt x="72" y="96"/>
                  </a:moveTo>
                  <a:lnTo>
                    <a:pt x="52" y="96"/>
                  </a:lnTo>
                  <a:lnTo>
                    <a:pt x="52" y="98"/>
                  </a:lnTo>
                  <a:lnTo>
                    <a:pt x="50" y="100"/>
                  </a:lnTo>
                  <a:lnTo>
                    <a:pt x="70" y="118"/>
                  </a:lnTo>
                  <a:lnTo>
                    <a:pt x="70" y="118"/>
                  </a:lnTo>
                  <a:lnTo>
                    <a:pt x="74" y="118"/>
                  </a:lnTo>
                  <a:lnTo>
                    <a:pt x="74" y="118"/>
                  </a:lnTo>
                  <a:lnTo>
                    <a:pt x="74" y="114"/>
                  </a:lnTo>
                  <a:lnTo>
                    <a:pt x="74" y="98"/>
                  </a:lnTo>
                  <a:lnTo>
                    <a:pt x="74" y="98"/>
                  </a:lnTo>
                  <a:lnTo>
                    <a:pt x="74" y="96"/>
                  </a:lnTo>
                  <a:lnTo>
                    <a:pt x="72" y="96"/>
                  </a:lnTo>
                  <a:lnTo>
                    <a:pt x="72" y="96"/>
                  </a:lnTo>
                  <a:close/>
                  <a:moveTo>
                    <a:pt x="552" y="200"/>
                  </a:moveTo>
                  <a:lnTo>
                    <a:pt x="534" y="200"/>
                  </a:lnTo>
                  <a:lnTo>
                    <a:pt x="534" y="200"/>
                  </a:lnTo>
                  <a:lnTo>
                    <a:pt x="532" y="200"/>
                  </a:lnTo>
                  <a:lnTo>
                    <a:pt x="530" y="202"/>
                  </a:lnTo>
                  <a:lnTo>
                    <a:pt x="530" y="222"/>
                  </a:lnTo>
                  <a:lnTo>
                    <a:pt x="534" y="222"/>
                  </a:lnTo>
                  <a:lnTo>
                    <a:pt x="534" y="224"/>
                  </a:lnTo>
                  <a:lnTo>
                    <a:pt x="544" y="224"/>
                  </a:lnTo>
                  <a:lnTo>
                    <a:pt x="544" y="224"/>
                  </a:lnTo>
                  <a:lnTo>
                    <a:pt x="546" y="222"/>
                  </a:lnTo>
                  <a:lnTo>
                    <a:pt x="556" y="204"/>
                  </a:lnTo>
                  <a:lnTo>
                    <a:pt x="556" y="204"/>
                  </a:lnTo>
                  <a:lnTo>
                    <a:pt x="556" y="200"/>
                  </a:lnTo>
                  <a:lnTo>
                    <a:pt x="556" y="200"/>
                  </a:lnTo>
                  <a:lnTo>
                    <a:pt x="552" y="200"/>
                  </a:lnTo>
                  <a:lnTo>
                    <a:pt x="552" y="200"/>
                  </a:lnTo>
                  <a:close/>
                  <a:moveTo>
                    <a:pt x="296" y="200"/>
                  </a:moveTo>
                  <a:lnTo>
                    <a:pt x="296" y="200"/>
                  </a:lnTo>
                  <a:lnTo>
                    <a:pt x="296" y="198"/>
                  </a:lnTo>
                  <a:lnTo>
                    <a:pt x="294" y="198"/>
                  </a:lnTo>
                  <a:lnTo>
                    <a:pt x="274" y="198"/>
                  </a:lnTo>
                  <a:lnTo>
                    <a:pt x="266" y="190"/>
                  </a:lnTo>
                  <a:lnTo>
                    <a:pt x="266" y="190"/>
                  </a:lnTo>
                  <a:lnTo>
                    <a:pt x="266" y="188"/>
                  </a:lnTo>
                  <a:lnTo>
                    <a:pt x="236" y="180"/>
                  </a:lnTo>
                  <a:lnTo>
                    <a:pt x="236" y="180"/>
                  </a:lnTo>
                  <a:lnTo>
                    <a:pt x="234" y="180"/>
                  </a:lnTo>
                  <a:lnTo>
                    <a:pt x="234" y="180"/>
                  </a:lnTo>
                  <a:lnTo>
                    <a:pt x="232" y="182"/>
                  </a:lnTo>
                  <a:lnTo>
                    <a:pt x="232" y="186"/>
                  </a:lnTo>
                  <a:lnTo>
                    <a:pt x="218" y="180"/>
                  </a:lnTo>
                  <a:lnTo>
                    <a:pt x="218" y="180"/>
                  </a:lnTo>
                  <a:lnTo>
                    <a:pt x="218" y="180"/>
                  </a:lnTo>
                  <a:lnTo>
                    <a:pt x="188" y="168"/>
                  </a:lnTo>
                  <a:lnTo>
                    <a:pt x="188" y="168"/>
                  </a:lnTo>
                  <a:lnTo>
                    <a:pt x="188" y="168"/>
                  </a:lnTo>
                  <a:lnTo>
                    <a:pt x="170" y="168"/>
                  </a:lnTo>
                  <a:lnTo>
                    <a:pt x="170" y="168"/>
                  </a:lnTo>
                  <a:lnTo>
                    <a:pt x="168" y="170"/>
                  </a:lnTo>
                  <a:lnTo>
                    <a:pt x="156" y="180"/>
                  </a:lnTo>
                  <a:lnTo>
                    <a:pt x="158" y="182"/>
                  </a:lnTo>
                  <a:lnTo>
                    <a:pt x="158" y="184"/>
                  </a:lnTo>
                  <a:lnTo>
                    <a:pt x="196" y="204"/>
                  </a:lnTo>
                  <a:lnTo>
                    <a:pt x="196" y="204"/>
                  </a:lnTo>
                  <a:lnTo>
                    <a:pt x="196" y="204"/>
                  </a:lnTo>
                  <a:lnTo>
                    <a:pt x="294" y="214"/>
                  </a:lnTo>
                  <a:lnTo>
                    <a:pt x="294" y="214"/>
                  </a:lnTo>
                  <a:lnTo>
                    <a:pt x="296" y="214"/>
                  </a:lnTo>
                  <a:lnTo>
                    <a:pt x="296" y="214"/>
                  </a:lnTo>
                  <a:lnTo>
                    <a:pt x="296" y="214"/>
                  </a:lnTo>
                  <a:lnTo>
                    <a:pt x="318" y="214"/>
                  </a:lnTo>
                  <a:lnTo>
                    <a:pt x="318" y="208"/>
                  </a:lnTo>
                  <a:lnTo>
                    <a:pt x="296" y="208"/>
                  </a:lnTo>
                  <a:lnTo>
                    <a:pt x="296" y="200"/>
                  </a:lnTo>
                  <a:close/>
                  <a:moveTo>
                    <a:pt x="612" y="160"/>
                  </a:moveTo>
                  <a:lnTo>
                    <a:pt x="612" y="160"/>
                  </a:lnTo>
                  <a:lnTo>
                    <a:pt x="608" y="162"/>
                  </a:lnTo>
                  <a:lnTo>
                    <a:pt x="590" y="188"/>
                  </a:lnTo>
                  <a:lnTo>
                    <a:pt x="592" y="190"/>
                  </a:lnTo>
                  <a:lnTo>
                    <a:pt x="594" y="192"/>
                  </a:lnTo>
                  <a:lnTo>
                    <a:pt x="612" y="172"/>
                  </a:lnTo>
                  <a:lnTo>
                    <a:pt x="612" y="172"/>
                  </a:lnTo>
                  <a:lnTo>
                    <a:pt x="614" y="170"/>
                  </a:lnTo>
                  <a:lnTo>
                    <a:pt x="614" y="162"/>
                  </a:lnTo>
                  <a:lnTo>
                    <a:pt x="614" y="162"/>
                  </a:lnTo>
                  <a:lnTo>
                    <a:pt x="612" y="160"/>
                  </a:lnTo>
                  <a:lnTo>
                    <a:pt x="612" y="160"/>
                  </a:lnTo>
                  <a:close/>
                  <a:moveTo>
                    <a:pt x="188" y="144"/>
                  </a:moveTo>
                  <a:lnTo>
                    <a:pt x="206" y="144"/>
                  </a:lnTo>
                  <a:lnTo>
                    <a:pt x="206" y="144"/>
                  </a:lnTo>
                  <a:lnTo>
                    <a:pt x="208" y="144"/>
                  </a:lnTo>
                  <a:lnTo>
                    <a:pt x="210" y="142"/>
                  </a:lnTo>
                  <a:lnTo>
                    <a:pt x="210" y="124"/>
                  </a:lnTo>
                  <a:lnTo>
                    <a:pt x="210" y="124"/>
                  </a:lnTo>
                  <a:lnTo>
                    <a:pt x="208" y="122"/>
                  </a:lnTo>
                  <a:lnTo>
                    <a:pt x="206" y="122"/>
                  </a:lnTo>
                  <a:lnTo>
                    <a:pt x="188" y="122"/>
                  </a:lnTo>
                  <a:lnTo>
                    <a:pt x="188" y="122"/>
                  </a:lnTo>
                  <a:lnTo>
                    <a:pt x="186" y="122"/>
                  </a:lnTo>
                  <a:lnTo>
                    <a:pt x="184" y="124"/>
                  </a:lnTo>
                  <a:lnTo>
                    <a:pt x="184" y="142"/>
                  </a:lnTo>
                  <a:lnTo>
                    <a:pt x="188" y="142"/>
                  </a:lnTo>
                  <a:lnTo>
                    <a:pt x="188" y="144"/>
                  </a:lnTo>
                  <a:close/>
                  <a:moveTo>
                    <a:pt x="382" y="228"/>
                  </a:moveTo>
                  <a:lnTo>
                    <a:pt x="382" y="228"/>
                  </a:lnTo>
                  <a:lnTo>
                    <a:pt x="380" y="228"/>
                  </a:lnTo>
                  <a:lnTo>
                    <a:pt x="360" y="228"/>
                  </a:lnTo>
                  <a:lnTo>
                    <a:pt x="360" y="230"/>
                  </a:lnTo>
                  <a:lnTo>
                    <a:pt x="358" y="232"/>
                  </a:lnTo>
                  <a:lnTo>
                    <a:pt x="378" y="252"/>
                  </a:lnTo>
                  <a:lnTo>
                    <a:pt x="378" y="252"/>
                  </a:lnTo>
                  <a:lnTo>
                    <a:pt x="380" y="252"/>
                  </a:lnTo>
                  <a:lnTo>
                    <a:pt x="388" y="252"/>
                  </a:lnTo>
                  <a:lnTo>
                    <a:pt x="388" y="252"/>
                  </a:lnTo>
                  <a:lnTo>
                    <a:pt x="392" y="250"/>
                  </a:lnTo>
                  <a:lnTo>
                    <a:pt x="392" y="250"/>
                  </a:lnTo>
                  <a:lnTo>
                    <a:pt x="392" y="248"/>
                  </a:lnTo>
                  <a:lnTo>
                    <a:pt x="382" y="228"/>
                  </a:lnTo>
                  <a:close/>
                  <a:moveTo>
                    <a:pt x="486" y="208"/>
                  </a:moveTo>
                  <a:lnTo>
                    <a:pt x="458" y="208"/>
                  </a:lnTo>
                  <a:lnTo>
                    <a:pt x="458" y="208"/>
                  </a:lnTo>
                  <a:lnTo>
                    <a:pt x="454" y="208"/>
                  </a:lnTo>
                  <a:lnTo>
                    <a:pt x="436" y="228"/>
                  </a:lnTo>
                  <a:lnTo>
                    <a:pt x="426" y="240"/>
                  </a:lnTo>
                  <a:lnTo>
                    <a:pt x="428" y="242"/>
                  </a:lnTo>
                  <a:lnTo>
                    <a:pt x="428" y="244"/>
                  </a:lnTo>
                  <a:lnTo>
                    <a:pt x="448" y="244"/>
                  </a:lnTo>
                  <a:lnTo>
                    <a:pt x="448" y="244"/>
                  </a:lnTo>
                  <a:lnTo>
                    <a:pt x="450" y="244"/>
                  </a:lnTo>
                  <a:lnTo>
                    <a:pt x="488" y="214"/>
                  </a:lnTo>
                  <a:lnTo>
                    <a:pt x="488" y="214"/>
                  </a:lnTo>
                  <a:lnTo>
                    <a:pt x="490" y="210"/>
                  </a:lnTo>
                  <a:lnTo>
                    <a:pt x="490" y="210"/>
                  </a:lnTo>
                  <a:lnTo>
                    <a:pt x="486" y="208"/>
                  </a:lnTo>
                  <a:lnTo>
                    <a:pt x="486" y="208"/>
                  </a:lnTo>
                  <a:close/>
                  <a:moveTo>
                    <a:pt x="214" y="88"/>
                  </a:moveTo>
                  <a:lnTo>
                    <a:pt x="224" y="106"/>
                  </a:lnTo>
                  <a:lnTo>
                    <a:pt x="232" y="126"/>
                  </a:lnTo>
                  <a:lnTo>
                    <a:pt x="232" y="126"/>
                  </a:lnTo>
                  <a:lnTo>
                    <a:pt x="236" y="126"/>
                  </a:lnTo>
                  <a:lnTo>
                    <a:pt x="252" y="126"/>
                  </a:lnTo>
                  <a:lnTo>
                    <a:pt x="252" y="134"/>
                  </a:lnTo>
                  <a:lnTo>
                    <a:pt x="252" y="134"/>
                  </a:lnTo>
                  <a:lnTo>
                    <a:pt x="252" y="136"/>
                  </a:lnTo>
                  <a:lnTo>
                    <a:pt x="254" y="138"/>
                  </a:lnTo>
                  <a:lnTo>
                    <a:pt x="294" y="138"/>
                  </a:lnTo>
                  <a:lnTo>
                    <a:pt x="300" y="146"/>
                  </a:lnTo>
                  <a:lnTo>
                    <a:pt x="300" y="146"/>
                  </a:lnTo>
                  <a:lnTo>
                    <a:pt x="300" y="146"/>
                  </a:lnTo>
                  <a:lnTo>
                    <a:pt x="302" y="146"/>
                  </a:lnTo>
                  <a:lnTo>
                    <a:pt x="324" y="136"/>
                  </a:lnTo>
                  <a:lnTo>
                    <a:pt x="324" y="136"/>
                  </a:lnTo>
                  <a:lnTo>
                    <a:pt x="326" y="136"/>
                  </a:lnTo>
                  <a:lnTo>
                    <a:pt x="334" y="116"/>
                  </a:lnTo>
                  <a:lnTo>
                    <a:pt x="334" y="116"/>
                  </a:lnTo>
                  <a:lnTo>
                    <a:pt x="334" y="114"/>
                  </a:lnTo>
                  <a:lnTo>
                    <a:pt x="334" y="114"/>
                  </a:lnTo>
                  <a:lnTo>
                    <a:pt x="332" y="112"/>
                  </a:lnTo>
                  <a:lnTo>
                    <a:pt x="328" y="112"/>
                  </a:lnTo>
                  <a:lnTo>
                    <a:pt x="334" y="98"/>
                  </a:lnTo>
                  <a:lnTo>
                    <a:pt x="352" y="80"/>
                  </a:lnTo>
                  <a:lnTo>
                    <a:pt x="362" y="70"/>
                  </a:lnTo>
                  <a:lnTo>
                    <a:pt x="362" y="70"/>
                  </a:lnTo>
                  <a:lnTo>
                    <a:pt x="362" y="68"/>
                  </a:lnTo>
                  <a:lnTo>
                    <a:pt x="362" y="68"/>
                  </a:lnTo>
                  <a:lnTo>
                    <a:pt x="362" y="66"/>
                  </a:lnTo>
                  <a:lnTo>
                    <a:pt x="348" y="58"/>
                  </a:lnTo>
                  <a:lnTo>
                    <a:pt x="352" y="54"/>
                  </a:lnTo>
                  <a:lnTo>
                    <a:pt x="352" y="54"/>
                  </a:lnTo>
                  <a:lnTo>
                    <a:pt x="354" y="52"/>
                  </a:lnTo>
                  <a:lnTo>
                    <a:pt x="352" y="50"/>
                  </a:lnTo>
                  <a:lnTo>
                    <a:pt x="346" y="40"/>
                  </a:lnTo>
                  <a:lnTo>
                    <a:pt x="354" y="24"/>
                  </a:lnTo>
                  <a:lnTo>
                    <a:pt x="354" y="24"/>
                  </a:lnTo>
                  <a:lnTo>
                    <a:pt x="352" y="20"/>
                  </a:lnTo>
                  <a:lnTo>
                    <a:pt x="352" y="20"/>
                  </a:lnTo>
                  <a:lnTo>
                    <a:pt x="350" y="20"/>
                  </a:lnTo>
                  <a:lnTo>
                    <a:pt x="324" y="20"/>
                  </a:lnTo>
                  <a:lnTo>
                    <a:pt x="324" y="20"/>
                  </a:lnTo>
                  <a:lnTo>
                    <a:pt x="320" y="20"/>
                  </a:lnTo>
                  <a:lnTo>
                    <a:pt x="292" y="56"/>
                  </a:lnTo>
                  <a:lnTo>
                    <a:pt x="284" y="64"/>
                  </a:lnTo>
                  <a:lnTo>
                    <a:pt x="266" y="56"/>
                  </a:lnTo>
                  <a:lnTo>
                    <a:pt x="266" y="56"/>
                  </a:lnTo>
                  <a:lnTo>
                    <a:pt x="262" y="56"/>
                  </a:lnTo>
                  <a:lnTo>
                    <a:pt x="252" y="66"/>
                  </a:lnTo>
                  <a:lnTo>
                    <a:pt x="236" y="66"/>
                  </a:lnTo>
                  <a:lnTo>
                    <a:pt x="218" y="56"/>
                  </a:lnTo>
                  <a:lnTo>
                    <a:pt x="218" y="58"/>
                  </a:lnTo>
                  <a:lnTo>
                    <a:pt x="218" y="58"/>
                  </a:lnTo>
                  <a:lnTo>
                    <a:pt x="218" y="58"/>
                  </a:lnTo>
                  <a:lnTo>
                    <a:pt x="216" y="56"/>
                  </a:lnTo>
                  <a:lnTo>
                    <a:pt x="204" y="66"/>
                  </a:lnTo>
                  <a:lnTo>
                    <a:pt x="204" y="66"/>
                  </a:lnTo>
                  <a:lnTo>
                    <a:pt x="204" y="68"/>
                  </a:lnTo>
                  <a:lnTo>
                    <a:pt x="204" y="70"/>
                  </a:lnTo>
                  <a:lnTo>
                    <a:pt x="214" y="88"/>
                  </a:lnTo>
                  <a:close/>
                  <a:moveTo>
                    <a:pt x="160" y="172"/>
                  </a:moveTo>
                  <a:lnTo>
                    <a:pt x="172" y="136"/>
                  </a:lnTo>
                  <a:lnTo>
                    <a:pt x="172" y="136"/>
                  </a:lnTo>
                  <a:lnTo>
                    <a:pt x="172" y="134"/>
                  </a:lnTo>
                  <a:lnTo>
                    <a:pt x="168" y="128"/>
                  </a:lnTo>
                  <a:lnTo>
                    <a:pt x="176" y="136"/>
                  </a:lnTo>
                  <a:lnTo>
                    <a:pt x="176" y="136"/>
                  </a:lnTo>
                  <a:lnTo>
                    <a:pt x="180" y="138"/>
                  </a:lnTo>
                  <a:lnTo>
                    <a:pt x="180" y="138"/>
                  </a:lnTo>
                  <a:lnTo>
                    <a:pt x="182" y="134"/>
                  </a:lnTo>
                  <a:lnTo>
                    <a:pt x="182" y="124"/>
                  </a:lnTo>
                  <a:lnTo>
                    <a:pt x="182" y="124"/>
                  </a:lnTo>
                  <a:lnTo>
                    <a:pt x="182" y="122"/>
                  </a:lnTo>
                  <a:lnTo>
                    <a:pt x="172" y="104"/>
                  </a:lnTo>
                  <a:lnTo>
                    <a:pt x="172" y="104"/>
                  </a:lnTo>
                  <a:lnTo>
                    <a:pt x="168" y="102"/>
                  </a:lnTo>
                  <a:lnTo>
                    <a:pt x="168" y="102"/>
                  </a:lnTo>
                  <a:lnTo>
                    <a:pt x="166" y="104"/>
                  </a:lnTo>
                  <a:lnTo>
                    <a:pt x="156" y="114"/>
                  </a:lnTo>
                  <a:lnTo>
                    <a:pt x="152" y="114"/>
                  </a:lnTo>
                  <a:lnTo>
                    <a:pt x="142" y="96"/>
                  </a:lnTo>
                  <a:lnTo>
                    <a:pt x="142" y="96"/>
                  </a:lnTo>
                  <a:lnTo>
                    <a:pt x="140" y="94"/>
                  </a:lnTo>
                  <a:lnTo>
                    <a:pt x="134" y="94"/>
                  </a:lnTo>
                  <a:lnTo>
                    <a:pt x="134" y="88"/>
                  </a:lnTo>
                  <a:lnTo>
                    <a:pt x="134" y="88"/>
                  </a:lnTo>
                  <a:lnTo>
                    <a:pt x="134" y="84"/>
                  </a:lnTo>
                  <a:lnTo>
                    <a:pt x="124" y="76"/>
                  </a:lnTo>
                  <a:lnTo>
                    <a:pt x="124" y="68"/>
                  </a:lnTo>
                  <a:lnTo>
                    <a:pt x="124" y="68"/>
                  </a:lnTo>
                  <a:lnTo>
                    <a:pt x="122" y="66"/>
                  </a:lnTo>
                  <a:lnTo>
                    <a:pt x="94" y="48"/>
                  </a:lnTo>
                  <a:lnTo>
                    <a:pt x="94" y="48"/>
                  </a:lnTo>
                  <a:lnTo>
                    <a:pt x="92" y="48"/>
                  </a:lnTo>
                  <a:lnTo>
                    <a:pt x="82" y="48"/>
                  </a:lnTo>
                  <a:lnTo>
                    <a:pt x="34" y="8"/>
                  </a:lnTo>
                  <a:lnTo>
                    <a:pt x="34" y="8"/>
                  </a:lnTo>
                  <a:lnTo>
                    <a:pt x="34" y="8"/>
                  </a:lnTo>
                  <a:lnTo>
                    <a:pt x="4" y="0"/>
                  </a:lnTo>
                  <a:lnTo>
                    <a:pt x="4" y="2"/>
                  </a:lnTo>
                  <a:lnTo>
                    <a:pt x="0" y="2"/>
                  </a:lnTo>
                  <a:lnTo>
                    <a:pt x="0" y="12"/>
                  </a:lnTo>
                  <a:lnTo>
                    <a:pt x="0" y="12"/>
                  </a:lnTo>
                  <a:lnTo>
                    <a:pt x="2" y="14"/>
                  </a:lnTo>
                  <a:lnTo>
                    <a:pt x="24" y="32"/>
                  </a:lnTo>
                  <a:lnTo>
                    <a:pt x="40" y="52"/>
                  </a:lnTo>
                  <a:lnTo>
                    <a:pt x="40" y="52"/>
                  </a:lnTo>
                  <a:lnTo>
                    <a:pt x="42" y="54"/>
                  </a:lnTo>
                  <a:lnTo>
                    <a:pt x="52" y="60"/>
                  </a:lnTo>
                  <a:lnTo>
                    <a:pt x="60" y="78"/>
                  </a:lnTo>
                  <a:lnTo>
                    <a:pt x="60" y="78"/>
                  </a:lnTo>
                  <a:lnTo>
                    <a:pt x="60" y="80"/>
                  </a:lnTo>
                  <a:lnTo>
                    <a:pt x="78" y="100"/>
                  </a:lnTo>
                  <a:lnTo>
                    <a:pt x="100" y="136"/>
                  </a:lnTo>
                  <a:lnTo>
                    <a:pt x="100" y="136"/>
                  </a:lnTo>
                  <a:lnTo>
                    <a:pt x="100" y="138"/>
                  </a:lnTo>
                  <a:lnTo>
                    <a:pt x="138" y="174"/>
                  </a:lnTo>
                  <a:lnTo>
                    <a:pt x="138" y="174"/>
                  </a:lnTo>
                  <a:lnTo>
                    <a:pt x="140" y="174"/>
                  </a:lnTo>
                  <a:lnTo>
                    <a:pt x="158" y="174"/>
                  </a:lnTo>
                  <a:lnTo>
                    <a:pt x="158" y="174"/>
                  </a:lnTo>
                  <a:lnTo>
                    <a:pt x="160" y="172"/>
                  </a:lnTo>
                  <a:lnTo>
                    <a:pt x="160" y="172"/>
                  </a:lnTo>
                  <a:close/>
                  <a:moveTo>
                    <a:pt x="442" y="210"/>
                  </a:moveTo>
                  <a:lnTo>
                    <a:pt x="442" y="210"/>
                  </a:lnTo>
                  <a:lnTo>
                    <a:pt x="440" y="208"/>
                  </a:lnTo>
                  <a:lnTo>
                    <a:pt x="324" y="208"/>
                  </a:lnTo>
                  <a:lnTo>
                    <a:pt x="324" y="208"/>
                  </a:lnTo>
                  <a:lnTo>
                    <a:pt x="322" y="208"/>
                  </a:lnTo>
                  <a:lnTo>
                    <a:pt x="320" y="210"/>
                  </a:lnTo>
                  <a:lnTo>
                    <a:pt x="320" y="230"/>
                  </a:lnTo>
                  <a:lnTo>
                    <a:pt x="324" y="230"/>
                  </a:lnTo>
                  <a:lnTo>
                    <a:pt x="324" y="232"/>
                  </a:lnTo>
                  <a:lnTo>
                    <a:pt x="332" y="232"/>
                  </a:lnTo>
                  <a:lnTo>
                    <a:pt x="332" y="232"/>
                  </a:lnTo>
                  <a:lnTo>
                    <a:pt x="334" y="232"/>
                  </a:lnTo>
                  <a:lnTo>
                    <a:pt x="372" y="214"/>
                  </a:lnTo>
                  <a:lnTo>
                    <a:pt x="410" y="232"/>
                  </a:lnTo>
                  <a:lnTo>
                    <a:pt x="410" y="232"/>
                  </a:lnTo>
                  <a:lnTo>
                    <a:pt x="412" y="232"/>
                  </a:lnTo>
                  <a:lnTo>
                    <a:pt x="442" y="214"/>
                  </a:lnTo>
                  <a:lnTo>
                    <a:pt x="442" y="214"/>
                  </a:lnTo>
                  <a:lnTo>
                    <a:pt x="442" y="210"/>
                  </a:lnTo>
                  <a:lnTo>
                    <a:pt x="442" y="210"/>
                  </a:lnTo>
                  <a:close/>
                  <a:moveTo>
                    <a:pt x="360" y="124"/>
                  </a:moveTo>
                  <a:lnTo>
                    <a:pt x="360" y="124"/>
                  </a:lnTo>
                  <a:lnTo>
                    <a:pt x="358" y="124"/>
                  </a:lnTo>
                  <a:lnTo>
                    <a:pt x="358" y="136"/>
                  </a:lnTo>
                  <a:lnTo>
                    <a:pt x="358" y="136"/>
                  </a:lnTo>
                  <a:lnTo>
                    <a:pt x="358" y="138"/>
                  </a:lnTo>
                  <a:lnTo>
                    <a:pt x="360" y="138"/>
                  </a:lnTo>
                  <a:lnTo>
                    <a:pt x="368" y="138"/>
                  </a:lnTo>
                  <a:lnTo>
                    <a:pt x="368" y="172"/>
                  </a:lnTo>
                  <a:lnTo>
                    <a:pt x="368" y="172"/>
                  </a:lnTo>
                  <a:lnTo>
                    <a:pt x="370" y="174"/>
                  </a:lnTo>
                  <a:lnTo>
                    <a:pt x="370" y="174"/>
                  </a:lnTo>
                  <a:lnTo>
                    <a:pt x="374" y="174"/>
                  </a:lnTo>
                  <a:lnTo>
                    <a:pt x="382" y="166"/>
                  </a:lnTo>
                  <a:lnTo>
                    <a:pt x="382" y="166"/>
                  </a:lnTo>
                  <a:lnTo>
                    <a:pt x="382" y="164"/>
                  </a:lnTo>
                  <a:lnTo>
                    <a:pt x="382" y="136"/>
                  </a:lnTo>
                  <a:lnTo>
                    <a:pt x="390" y="128"/>
                  </a:lnTo>
                  <a:lnTo>
                    <a:pt x="392" y="128"/>
                  </a:lnTo>
                  <a:lnTo>
                    <a:pt x="388" y="134"/>
                  </a:lnTo>
                  <a:lnTo>
                    <a:pt x="388" y="134"/>
                  </a:lnTo>
                  <a:lnTo>
                    <a:pt x="386" y="136"/>
                  </a:lnTo>
                  <a:lnTo>
                    <a:pt x="386" y="136"/>
                  </a:lnTo>
                  <a:lnTo>
                    <a:pt x="388" y="138"/>
                  </a:lnTo>
                  <a:lnTo>
                    <a:pt x="398" y="146"/>
                  </a:lnTo>
                  <a:lnTo>
                    <a:pt x="398" y="154"/>
                  </a:lnTo>
                  <a:lnTo>
                    <a:pt x="398" y="154"/>
                  </a:lnTo>
                  <a:lnTo>
                    <a:pt x="398" y="156"/>
                  </a:lnTo>
                  <a:lnTo>
                    <a:pt x="400" y="156"/>
                  </a:lnTo>
                  <a:lnTo>
                    <a:pt x="416" y="156"/>
                  </a:lnTo>
                  <a:lnTo>
                    <a:pt x="416" y="172"/>
                  </a:lnTo>
                  <a:lnTo>
                    <a:pt x="416" y="172"/>
                  </a:lnTo>
                  <a:lnTo>
                    <a:pt x="418" y="174"/>
                  </a:lnTo>
                  <a:lnTo>
                    <a:pt x="418" y="174"/>
                  </a:lnTo>
                  <a:lnTo>
                    <a:pt x="420" y="174"/>
                  </a:lnTo>
                  <a:lnTo>
                    <a:pt x="428" y="166"/>
                  </a:lnTo>
                  <a:lnTo>
                    <a:pt x="428" y="166"/>
                  </a:lnTo>
                  <a:lnTo>
                    <a:pt x="430" y="164"/>
                  </a:lnTo>
                  <a:lnTo>
                    <a:pt x="430" y="154"/>
                  </a:lnTo>
                  <a:lnTo>
                    <a:pt x="430" y="154"/>
                  </a:lnTo>
                  <a:lnTo>
                    <a:pt x="428" y="152"/>
                  </a:lnTo>
                  <a:lnTo>
                    <a:pt x="416" y="138"/>
                  </a:lnTo>
                  <a:lnTo>
                    <a:pt x="418" y="138"/>
                  </a:lnTo>
                  <a:lnTo>
                    <a:pt x="418" y="138"/>
                  </a:lnTo>
                  <a:lnTo>
                    <a:pt x="422" y="136"/>
                  </a:lnTo>
                  <a:lnTo>
                    <a:pt x="422" y="136"/>
                  </a:lnTo>
                  <a:lnTo>
                    <a:pt x="420" y="134"/>
                  </a:lnTo>
                  <a:lnTo>
                    <a:pt x="404" y="116"/>
                  </a:lnTo>
                  <a:lnTo>
                    <a:pt x="418" y="102"/>
                  </a:lnTo>
                  <a:lnTo>
                    <a:pt x="428" y="100"/>
                  </a:lnTo>
                  <a:lnTo>
                    <a:pt x="428" y="100"/>
                  </a:lnTo>
                  <a:lnTo>
                    <a:pt x="430" y="100"/>
                  </a:lnTo>
                  <a:lnTo>
                    <a:pt x="430" y="98"/>
                  </a:lnTo>
                  <a:lnTo>
                    <a:pt x="430" y="98"/>
                  </a:lnTo>
                  <a:lnTo>
                    <a:pt x="428" y="96"/>
                  </a:lnTo>
                  <a:lnTo>
                    <a:pt x="426" y="96"/>
                  </a:lnTo>
                  <a:lnTo>
                    <a:pt x="418" y="96"/>
                  </a:lnTo>
                  <a:lnTo>
                    <a:pt x="418" y="96"/>
                  </a:lnTo>
                  <a:lnTo>
                    <a:pt x="416" y="96"/>
                  </a:lnTo>
                  <a:lnTo>
                    <a:pt x="414" y="98"/>
                  </a:lnTo>
                  <a:lnTo>
                    <a:pt x="390" y="104"/>
                  </a:lnTo>
                  <a:lnTo>
                    <a:pt x="382" y="96"/>
                  </a:lnTo>
                  <a:lnTo>
                    <a:pt x="382" y="88"/>
                  </a:lnTo>
                  <a:lnTo>
                    <a:pt x="390" y="82"/>
                  </a:lnTo>
                  <a:lnTo>
                    <a:pt x="448" y="82"/>
                  </a:lnTo>
                  <a:lnTo>
                    <a:pt x="448" y="82"/>
                  </a:lnTo>
                  <a:lnTo>
                    <a:pt x="450" y="80"/>
                  </a:lnTo>
                  <a:lnTo>
                    <a:pt x="458" y="60"/>
                  </a:lnTo>
                  <a:lnTo>
                    <a:pt x="458" y="60"/>
                  </a:lnTo>
                  <a:lnTo>
                    <a:pt x="458" y="56"/>
                  </a:lnTo>
                  <a:lnTo>
                    <a:pt x="458" y="56"/>
                  </a:lnTo>
                  <a:lnTo>
                    <a:pt x="454" y="56"/>
                  </a:lnTo>
                  <a:lnTo>
                    <a:pt x="436" y="66"/>
                  </a:lnTo>
                  <a:lnTo>
                    <a:pt x="418" y="76"/>
                  </a:lnTo>
                  <a:lnTo>
                    <a:pt x="390" y="66"/>
                  </a:lnTo>
                  <a:lnTo>
                    <a:pt x="390" y="66"/>
                  </a:lnTo>
                  <a:lnTo>
                    <a:pt x="388" y="66"/>
                  </a:lnTo>
                  <a:lnTo>
                    <a:pt x="388" y="66"/>
                  </a:lnTo>
                  <a:lnTo>
                    <a:pt x="386" y="68"/>
                  </a:lnTo>
                  <a:lnTo>
                    <a:pt x="386" y="76"/>
                  </a:lnTo>
                  <a:lnTo>
                    <a:pt x="380" y="76"/>
                  </a:lnTo>
                  <a:lnTo>
                    <a:pt x="380" y="76"/>
                  </a:lnTo>
                  <a:lnTo>
                    <a:pt x="378" y="76"/>
                  </a:lnTo>
                  <a:lnTo>
                    <a:pt x="378" y="78"/>
                  </a:lnTo>
                  <a:lnTo>
                    <a:pt x="378" y="98"/>
                  </a:lnTo>
                  <a:lnTo>
                    <a:pt x="358" y="124"/>
                  </a:lnTo>
                  <a:lnTo>
                    <a:pt x="360" y="124"/>
                  </a:lnTo>
                  <a:close/>
                  <a:moveTo>
                    <a:pt x="494" y="90"/>
                  </a:moveTo>
                  <a:lnTo>
                    <a:pt x="494" y="90"/>
                  </a:lnTo>
                  <a:lnTo>
                    <a:pt x="494" y="90"/>
                  </a:lnTo>
                  <a:lnTo>
                    <a:pt x="504" y="100"/>
                  </a:lnTo>
                  <a:lnTo>
                    <a:pt x="504" y="100"/>
                  </a:lnTo>
                  <a:lnTo>
                    <a:pt x="506" y="102"/>
                  </a:lnTo>
                  <a:lnTo>
                    <a:pt x="508" y="100"/>
                  </a:lnTo>
                  <a:lnTo>
                    <a:pt x="508" y="100"/>
                  </a:lnTo>
                  <a:lnTo>
                    <a:pt x="508" y="98"/>
                  </a:lnTo>
                  <a:lnTo>
                    <a:pt x="508" y="96"/>
                  </a:lnTo>
                  <a:lnTo>
                    <a:pt x="500" y="86"/>
                  </a:lnTo>
                  <a:lnTo>
                    <a:pt x="500" y="82"/>
                  </a:lnTo>
                  <a:lnTo>
                    <a:pt x="506" y="82"/>
                  </a:lnTo>
                  <a:lnTo>
                    <a:pt x="506" y="82"/>
                  </a:lnTo>
                  <a:lnTo>
                    <a:pt x="508" y="80"/>
                  </a:lnTo>
                  <a:lnTo>
                    <a:pt x="508" y="78"/>
                  </a:lnTo>
                  <a:lnTo>
                    <a:pt x="508" y="58"/>
                  </a:lnTo>
                  <a:lnTo>
                    <a:pt x="508" y="58"/>
                  </a:lnTo>
                  <a:lnTo>
                    <a:pt x="508" y="56"/>
                  </a:lnTo>
                  <a:lnTo>
                    <a:pt x="506" y="56"/>
                  </a:lnTo>
                  <a:lnTo>
                    <a:pt x="504" y="56"/>
                  </a:lnTo>
                  <a:lnTo>
                    <a:pt x="504" y="58"/>
                  </a:lnTo>
                  <a:lnTo>
                    <a:pt x="498" y="50"/>
                  </a:lnTo>
                  <a:lnTo>
                    <a:pt x="498" y="50"/>
                  </a:lnTo>
                  <a:lnTo>
                    <a:pt x="496" y="48"/>
                  </a:lnTo>
                  <a:lnTo>
                    <a:pt x="496" y="48"/>
                  </a:lnTo>
                  <a:lnTo>
                    <a:pt x="494" y="50"/>
                  </a:lnTo>
                  <a:lnTo>
                    <a:pt x="484" y="68"/>
                  </a:lnTo>
                  <a:lnTo>
                    <a:pt x="486" y="70"/>
                  </a:lnTo>
                  <a:lnTo>
                    <a:pt x="486" y="70"/>
                  </a:lnTo>
                  <a:lnTo>
                    <a:pt x="486" y="70"/>
                  </a:lnTo>
                  <a:lnTo>
                    <a:pt x="484" y="70"/>
                  </a:lnTo>
                  <a:lnTo>
                    <a:pt x="494" y="90"/>
                  </a:lnTo>
                  <a:close/>
                  <a:moveTo>
                    <a:pt x="486" y="132"/>
                  </a:moveTo>
                  <a:lnTo>
                    <a:pt x="468" y="132"/>
                  </a:lnTo>
                  <a:lnTo>
                    <a:pt x="468" y="136"/>
                  </a:lnTo>
                  <a:lnTo>
                    <a:pt x="466" y="138"/>
                  </a:lnTo>
                  <a:lnTo>
                    <a:pt x="484" y="156"/>
                  </a:lnTo>
                  <a:lnTo>
                    <a:pt x="484" y="156"/>
                  </a:lnTo>
                  <a:lnTo>
                    <a:pt x="488" y="156"/>
                  </a:lnTo>
                  <a:lnTo>
                    <a:pt x="488" y="156"/>
                  </a:lnTo>
                  <a:lnTo>
                    <a:pt x="490" y="154"/>
                  </a:lnTo>
                  <a:lnTo>
                    <a:pt x="490" y="136"/>
                  </a:lnTo>
                  <a:lnTo>
                    <a:pt x="490" y="136"/>
                  </a:lnTo>
                  <a:lnTo>
                    <a:pt x="488" y="134"/>
                  </a:lnTo>
                  <a:lnTo>
                    <a:pt x="486" y="132"/>
                  </a:lnTo>
                  <a:lnTo>
                    <a:pt x="486" y="132"/>
                  </a:lnTo>
                  <a:close/>
                  <a:moveTo>
                    <a:pt x="544" y="146"/>
                  </a:moveTo>
                  <a:lnTo>
                    <a:pt x="544" y="146"/>
                  </a:lnTo>
                  <a:lnTo>
                    <a:pt x="546" y="146"/>
                  </a:lnTo>
                  <a:lnTo>
                    <a:pt x="546" y="144"/>
                  </a:lnTo>
                  <a:lnTo>
                    <a:pt x="546" y="144"/>
                  </a:lnTo>
                  <a:lnTo>
                    <a:pt x="548" y="142"/>
                  </a:lnTo>
                  <a:lnTo>
                    <a:pt x="546" y="142"/>
                  </a:lnTo>
                  <a:lnTo>
                    <a:pt x="536" y="132"/>
                  </a:lnTo>
                  <a:lnTo>
                    <a:pt x="528" y="122"/>
                  </a:lnTo>
                  <a:lnTo>
                    <a:pt x="528" y="122"/>
                  </a:lnTo>
                  <a:lnTo>
                    <a:pt x="524" y="122"/>
                  </a:lnTo>
                  <a:lnTo>
                    <a:pt x="504" y="122"/>
                  </a:lnTo>
                  <a:lnTo>
                    <a:pt x="504" y="122"/>
                  </a:lnTo>
                  <a:lnTo>
                    <a:pt x="500" y="122"/>
                  </a:lnTo>
                  <a:lnTo>
                    <a:pt x="492" y="132"/>
                  </a:lnTo>
                  <a:lnTo>
                    <a:pt x="494" y="134"/>
                  </a:lnTo>
                  <a:lnTo>
                    <a:pt x="494" y="138"/>
                  </a:lnTo>
                  <a:lnTo>
                    <a:pt x="544" y="146"/>
                  </a:lnTo>
                  <a:close/>
                </a:path>
              </a:pathLst>
            </a:custGeom>
            <a:solidFill>
              <a:schemeClr val="accent1"/>
            </a:solidFill>
            <a:ln w="9525" cap="flat" cmpd="sng">
              <a:solidFill>
                <a:schemeClr val="bg1"/>
              </a:solidFill>
              <a:prstDash val="solid"/>
              <a:round/>
              <a:headEnd type="none" w="med" len="med"/>
              <a:tailEnd type="none" w="med" len="med"/>
            </a:ln>
            <a:effectLst/>
            <a:extLst/>
          </p:spPr>
          <p:txBody>
            <a:bodyPr>
              <a:noAutofit/>
            </a:bodyPr>
            <a:lstStyle/>
            <a:p>
              <a:pPr fontAlgn="auto">
                <a:spcBef>
                  <a:spcPts val="0"/>
                </a:spcBef>
                <a:spcAft>
                  <a:spcPts val="0"/>
                </a:spcAft>
                <a:defRPr/>
              </a:pPr>
              <a:endParaRPr lang="en-US" kern="0">
                <a:solidFill>
                  <a:sysClr val="windowText" lastClr="000000"/>
                </a:solidFill>
              </a:endParaRPr>
            </a:p>
          </p:txBody>
        </p:sp>
        <p:sp>
          <p:nvSpPr>
            <p:cNvPr id="512" name="Freeform 511"/>
            <p:cNvSpPr/>
            <p:nvPr/>
          </p:nvSpPr>
          <p:spPr>
            <a:xfrm>
              <a:off x="2277939" y="1627871"/>
              <a:ext cx="15609" cy="23984"/>
            </a:xfrm>
            <a:custGeom>
              <a:avLst/>
              <a:gdLst>
                <a:gd name="connsiteX0" fmla="*/ 0 w 45244"/>
                <a:gd name="connsiteY0" fmla="*/ 23812 h 23812"/>
                <a:gd name="connsiteX1" fmla="*/ 45244 w 45244"/>
                <a:gd name="connsiteY1" fmla="*/ 0 h 23812"/>
                <a:gd name="connsiteX2" fmla="*/ 0 w 45244"/>
                <a:gd name="connsiteY2" fmla="*/ 23812 h 23812"/>
                <a:gd name="connsiteX0" fmla="*/ 0 w 23813"/>
                <a:gd name="connsiteY0" fmla="*/ 0 h 33338"/>
                <a:gd name="connsiteX1" fmla="*/ 23813 w 23813"/>
                <a:gd name="connsiteY1" fmla="*/ 33338 h 33338"/>
                <a:gd name="connsiteX2" fmla="*/ 0 w 23813"/>
                <a:gd name="connsiteY2" fmla="*/ 0 h 33338"/>
                <a:gd name="connsiteX0" fmla="*/ 0 w 35942"/>
                <a:gd name="connsiteY0" fmla="*/ 1209 h 55714"/>
                <a:gd name="connsiteX1" fmla="*/ 23813 w 35942"/>
                <a:gd name="connsiteY1" fmla="*/ 34547 h 55714"/>
                <a:gd name="connsiteX2" fmla="*/ 0 w 35942"/>
                <a:gd name="connsiteY2" fmla="*/ 1209 h 55714"/>
                <a:gd name="connsiteX0" fmla="*/ 262 w 24331"/>
                <a:gd name="connsiteY0" fmla="*/ 11 h 35874"/>
                <a:gd name="connsiteX1" fmla="*/ 24075 w 24331"/>
                <a:gd name="connsiteY1" fmla="*/ 33349 h 35874"/>
                <a:gd name="connsiteX2" fmla="*/ 12116 w 24331"/>
                <a:gd name="connsiteY2" fmla="*/ 29784 h 35874"/>
                <a:gd name="connsiteX3" fmla="*/ 262 w 24331"/>
                <a:gd name="connsiteY3" fmla="*/ 11 h 35874"/>
                <a:gd name="connsiteX0" fmla="*/ 639 w 34065"/>
                <a:gd name="connsiteY0" fmla="*/ 1389 h 36767"/>
                <a:gd name="connsiteX1" fmla="*/ 33087 w 34065"/>
                <a:gd name="connsiteY1" fmla="*/ 7946 h 36767"/>
                <a:gd name="connsiteX2" fmla="*/ 24452 w 34065"/>
                <a:gd name="connsiteY2" fmla="*/ 34727 h 36767"/>
                <a:gd name="connsiteX3" fmla="*/ 12493 w 34065"/>
                <a:gd name="connsiteY3" fmla="*/ 31162 h 36767"/>
                <a:gd name="connsiteX4" fmla="*/ 639 w 34065"/>
                <a:gd name="connsiteY4" fmla="*/ 1389 h 36767"/>
                <a:gd name="connsiteX0" fmla="*/ 639 w 35387"/>
                <a:gd name="connsiteY0" fmla="*/ 1389 h 44263"/>
                <a:gd name="connsiteX1" fmla="*/ 33087 w 35387"/>
                <a:gd name="connsiteY1" fmla="*/ 7946 h 44263"/>
                <a:gd name="connsiteX2" fmla="*/ 31940 w 35387"/>
                <a:gd name="connsiteY2" fmla="*/ 43432 h 44263"/>
                <a:gd name="connsiteX3" fmla="*/ 12493 w 35387"/>
                <a:gd name="connsiteY3" fmla="*/ 31162 h 44263"/>
                <a:gd name="connsiteX4" fmla="*/ 639 w 35387"/>
                <a:gd name="connsiteY4" fmla="*/ 1389 h 44263"/>
                <a:gd name="connsiteX0" fmla="*/ 639 w 35118"/>
                <a:gd name="connsiteY0" fmla="*/ 1389 h 60290"/>
                <a:gd name="connsiteX1" fmla="*/ 33087 w 35118"/>
                <a:gd name="connsiteY1" fmla="*/ 7946 h 60290"/>
                <a:gd name="connsiteX2" fmla="*/ 31940 w 35118"/>
                <a:gd name="connsiteY2" fmla="*/ 43432 h 60290"/>
                <a:gd name="connsiteX3" fmla="*/ 18293 w 35118"/>
                <a:gd name="connsiteY3" fmla="*/ 60021 h 60290"/>
                <a:gd name="connsiteX4" fmla="*/ 12493 w 35118"/>
                <a:gd name="connsiteY4" fmla="*/ 31162 h 60290"/>
                <a:gd name="connsiteX5" fmla="*/ 639 w 35118"/>
                <a:gd name="connsiteY5" fmla="*/ 1389 h 60290"/>
                <a:gd name="connsiteX0" fmla="*/ 6372 w 24002"/>
                <a:gd name="connsiteY0" fmla="*/ 12252 h 53744"/>
                <a:gd name="connsiteX1" fmla="*/ 21971 w 24002"/>
                <a:gd name="connsiteY1" fmla="*/ 1398 h 53744"/>
                <a:gd name="connsiteX2" fmla="*/ 20824 w 24002"/>
                <a:gd name="connsiteY2" fmla="*/ 36884 h 53744"/>
                <a:gd name="connsiteX3" fmla="*/ 7177 w 24002"/>
                <a:gd name="connsiteY3" fmla="*/ 53473 h 53744"/>
                <a:gd name="connsiteX4" fmla="*/ 1377 w 24002"/>
                <a:gd name="connsiteY4" fmla="*/ 24614 h 53744"/>
                <a:gd name="connsiteX5" fmla="*/ 6372 w 24002"/>
                <a:gd name="connsiteY5" fmla="*/ 12252 h 53744"/>
                <a:gd name="connsiteX0" fmla="*/ 4848 w 24350"/>
                <a:gd name="connsiteY0" fmla="*/ 1388 h 60289"/>
                <a:gd name="connsiteX1" fmla="*/ 22319 w 24350"/>
                <a:gd name="connsiteY1" fmla="*/ 7944 h 60289"/>
                <a:gd name="connsiteX2" fmla="*/ 21172 w 24350"/>
                <a:gd name="connsiteY2" fmla="*/ 43430 h 60289"/>
                <a:gd name="connsiteX3" fmla="*/ 7525 w 24350"/>
                <a:gd name="connsiteY3" fmla="*/ 60019 h 60289"/>
                <a:gd name="connsiteX4" fmla="*/ 1725 w 24350"/>
                <a:gd name="connsiteY4" fmla="*/ 31160 h 60289"/>
                <a:gd name="connsiteX5" fmla="*/ 4848 w 24350"/>
                <a:gd name="connsiteY5" fmla="*/ 1388 h 60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350" h="60289">
                  <a:moveTo>
                    <a:pt x="4848" y="1388"/>
                  </a:moveTo>
                  <a:cubicBezTo>
                    <a:pt x="8280" y="-2481"/>
                    <a:pt x="18350" y="2388"/>
                    <a:pt x="22319" y="7944"/>
                  </a:cubicBezTo>
                  <a:cubicBezTo>
                    <a:pt x="26288" y="13500"/>
                    <a:pt x="23638" y="34751"/>
                    <a:pt x="21172" y="43430"/>
                  </a:cubicBezTo>
                  <a:cubicBezTo>
                    <a:pt x="18706" y="52109"/>
                    <a:pt x="10766" y="62064"/>
                    <a:pt x="7525" y="60019"/>
                  </a:cubicBezTo>
                  <a:cubicBezTo>
                    <a:pt x="4284" y="57974"/>
                    <a:pt x="4667" y="38030"/>
                    <a:pt x="1725" y="31160"/>
                  </a:cubicBezTo>
                  <a:cubicBezTo>
                    <a:pt x="-2244" y="25604"/>
                    <a:pt x="1416" y="5257"/>
                    <a:pt x="4848" y="1388"/>
                  </a:cubicBezTo>
                  <a:close/>
                </a:path>
              </a:pathLst>
            </a:custGeom>
            <a:solidFill>
              <a:schemeClr val="bg1">
                <a:lumMod val="85000"/>
              </a:schemeClr>
            </a:solidFill>
            <a:ln w="9525" cap="flat" cmpd="sng">
              <a:solidFill>
                <a:schemeClr val="bg1"/>
              </a:solidFill>
              <a:prstDash val="solid"/>
              <a:round/>
              <a:headEnd type="none" w="med" len="med"/>
              <a:tailEnd type="none" w="med" len="med"/>
            </a:ln>
            <a:effectLst/>
            <a:extLst/>
          </p:spPr>
          <p:txBody>
            <a:bodyPr>
              <a:noAutofit/>
            </a:bodyPr>
            <a:lstStyle/>
            <a:p>
              <a:pPr fontAlgn="auto">
                <a:spcBef>
                  <a:spcPts val="0"/>
                </a:spcBef>
                <a:spcAft>
                  <a:spcPts val="0"/>
                </a:spcAft>
                <a:defRPr/>
              </a:pPr>
              <a:endParaRPr lang="en-US" kern="0">
                <a:solidFill>
                  <a:srgbClr val="000000"/>
                </a:solidFill>
              </a:endParaRPr>
            </a:p>
          </p:txBody>
        </p:sp>
        <p:sp>
          <p:nvSpPr>
            <p:cNvPr id="513" name="Freeform 244"/>
            <p:cNvSpPr>
              <a:spLocks/>
            </p:cNvSpPr>
            <p:nvPr>
              <p:custDataLst>
                <p:tags r:id="rId181"/>
              </p:custDataLst>
            </p:nvPr>
          </p:nvSpPr>
          <p:spPr bwMode="gray">
            <a:xfrm>
              <a:off x="2257543" y="1664295"/>
              <a:ext cx="124809" cy="221187"/>
            </a:xfrm>
            <a:custGeom>
              <a:avLst/>
              <a:gdLst>
                <a:gd name="connsiteX0" fmla="*/ 23812 w 247650"/>
                <a:gd name="connsiteY0" fmla="*/ 317472 h 526236"/>
                <a:gd name="connsiteX1" fmla="*/ 60325 w 247650"/>
                <a:gd name="connsiteY1" fmla="*/ 336156 h 526236"/>
                <a:gd name="connsiteX2" fmla="*/ 66675 w 247650"/>
                <a:gd name="connsiteY2" fmla="*/ 350169 h 526236"/>
                <a:gd name="connsiteX3" fmla="*/ 77787 w 247650"/>
                <a:gd name="connsiteY3" fmla="*/ 384422 h 526236"/>
                <a:gd name="connsiteX4" fmla="*/ 52387 w 247650"/>
                <a:gd name="connsiteY4" fmla="*/ 395321 h 526236"/>
                <a:gd name="connsiteX5" fmla="*/ 20637 w 247650"/>
                <a:gd name="connsiteY5" fmla="*/ 389093 h 526236"/>
                <a:gd name="connsiteX6" fmla="*/ 0 w 247650"/>
                <a:gd name="connsiteY6" fmla="*/ 370409 h 526236"/>
                <a:gd name="connsiteX7" fmla="*/ 4762 w 247650"/>
                <a:gd name="connsiteY7" fmla="*/ 351726 h 526236"/>
                <a:gd name="connsiteX8" fmla="*/ 23812 w 247650"/>
                <a:gd name="connsiteY8" fmla="*/ 317472 h 526236"/>
                <a:gd name="connsiteX9" fmla="*/ 147637 w 247650"/>
                <a:gd name="connsiteY9" fmla="*/ 143069 h 526236"/>
                <a:gd name="connsiteX10" fmla="*/ 150812 w 247650"/>
                <a:gd name="connsiteY10" fmla="*/ 181947 h 526236"/>
                <a:gd name="connsiteX11" fmla="*/ 122237 w 247650"/>
                <a:gd name="connsiteY11" fmla="*/ 219269 h 526236"/>
                <a:gd name="connsiteX12" fmla="*/ 174625 w 247650"/>
                <a:gd name="connsiteY12" fmla="*/ 228600 h 526236"/>
                <a:gd name="connsiteX13" fmla="*/ 152400 w 247650"/>
                <a:gd name="connsiteY13" fmla="*/ 275253 h 526236"/>
                <a:gd name="connsiteX14" fmla="*/ 161925 w 247650"/>
                <a:gd name="connsiteY14" fmla="*/ 298580 h 526236"/>
                <a:gd name="connsiteX15" fmla="*/ 174625 w 247650"/>
                <a:gd name="connsiteY15" fmla="*/ 320351 h 526236"/>
                <a:gd name="connsiteX16" fmla="*/ 185738 w 247650"/>
                <a:gd name="connsiteY16" fmla="*/ 345233 h 526236"/>
                <a:gd name="connsiteX17" fmla="*/ 214313 w 247650"/>
                <a:gd name="connsiteY17" fmla="*/ 377890 h 526236"/>
                <a:gd name="connsiteX18" fmla="*/ 223838 w 247650"/>
                <a:gd name="connsiteY18" fmla="*/ 405882 h 526236"/>
                <a:gd name="connsiteX19" fmla="*/ 247650 w 247650"/>
                <a:gd name="connsiteY19" fmla="*/ 450980 h 526236"/>
                <a:gd name="connsiteX20" fmla="*/ 219075 w 247650"/>
                <a:gd name="connsiteY20" fmla="*/ 469641 h 526236"/>
                <a:gd name="connsiteX21" fmla="*/ 236538 w 247650"/>
                <a:gd name="connsiteY21" fmla="*/ 492968 h 526236"/>
                <a:gd name="connsiteX22" fmla="*/ 204788 w 247650"/>
                <a:gd name="connsiteY22" fmla="*/ 499188 h 526236"/>
                <a:gd name="connsiteX23" fmla="*/ 150812 w 247650"/>
                <a:gd name="connsiteY23" fmla="*/ 502298 h 526236"/>
                <a:gd name="connsiteX24" fmla="*/ 127000 w 247650"/>
                <a:gd name="connsiteY24" fmla="*/ 513184 h 526236"/>
                <a:gd name="connsiteX25" fmla="*/ 98425 w 247650"/>
                <a:gd name="connsiteY25" fmla="*/ 520959 h 526236"/>
                <a:gd name="connsiteX26" fmla="*/ 76200 w 247650"/>
                <a:gd name="connsiteY26" fmla="*/ 522515 h 526236"/>
                <a:gd name="connsiteX27" fmla="*/ 61912 w 247650"/>
                <a:gd name="connsiteY27" fmla="*/ 520959 h 526236"/>
                <a:gd name="connsiteX28" fmla="*/ 69850 w 247650"/>
                <a:gd name="connsiteY28" fmla="*/ 517849 h 526236"/>
                <a:gd name="connsiteX29" fmla="*/ 98425 w 247650"/>
                <a:gd name="connsiteY29" fmla="*/ 494523 h 526236"/>
                <a:gd name="connsiteX30" fmla="*/ 112712 w 247650"/>
                <a:gd name="connsiteY30" fmla="*/ 466531 h 526236"/>
                <a:gd name="connsiteX31" fmla="*/ 93662 w 247650"/>
                <a:gd name="connsiteY31" fmla="*/ 446314 h 526236"/>
                <a:gd name="connsiteX32" fmla="*/ 107950 w 247650"/>
                <a:gd name="connsiteY32" fmla="*/ 413657 h 526236"/>
                <a:gd name="connsiteX33" fmla="*/ 104824 w 247650"/>
                <a:gd name="connsiteY33" fmla="*/ 405857 h 526236"/>
                <a:gd name="connsiteX34" fmla="*/ 136525 w 247650"/>
                <a:gd name="connsiteY34" fmla="*/ 404327 h 526236"/>
                <a:gd name="connsiteX35" fmla="*/ 138112 w 247650"/>
                <a:gd name="connsiteY35" fmla="*/ 371669 h 526236"/>
                <a:gd name="connsiteX36" fmla="*/ 127000 w 247650"/>
                <a:gd name="connsiteY36" fmla="*/ 348343 h 526236"/>
                <a:gd name="connsiteX37" fmla="*/ 128587 w 247650"/>
                <a:gd name="connsiteY37" fmla="*/ 335902 h 526236"/>
                <a:gd name="connsiteX38" fmla="*/ 90487 w 247650"/>
                <a:gd name="connsiteY38" fmla="*/ 329682 h 526236"/>
                <a:gd name="connsiteX39" fmla="*/ 60325 w 247650"/>
                <a:gd name="connsiteY39" fmla="*/ 284584 h 526236"/>
                <a:gd name="connsiteX40" fmla="*/ 61912 w 247650"/>
                <a:gd name="connsiteY40" fmla="*/ 259702 h 526236"/>
                <a:gd name="connsiteX41" fmla="*/ 36512 w 247650"/>
                <a:gd name="connsiteY41" fmla="*/ 241041 h 526236"/>
                <a:gd name="connsiteX42" fmla="*/ 38100 w 247650"/>
                <a:gd name="connsiteY42" fmla="*/ 200608 h 526236"/>
                <a:gd name="connsiteX43" fmla="*/ 61912 w 247650"/>
                <a:gd name="connsiteY43" fmla="*/ 186612 h 526236"/>
                <a:gd name="connsiteX44" fmla="*/ 74191 w 247650"/>
                <a:gd name="connsiteY44" fmla="*/ 210230 h 526236"/>
                <a:gd name="connsiteX45" fmla="*/ 76200 w 247650"/>
                <a:gd name="connsiteY45" fmla="*/ 203718 h 526236"/>
                <a:gd name="connsiteX46" fmla="*/ 104775 w 247650"/>
                <a:gd name="connsiteY46" fmla="*/ 180392 h 526236"/>
                <a:gd name="connsiteX47" fmla="*/ 128587 w 247650"/>
                <a:gd name="connsiteY47" fmla="*/ 161730 h 526236"/>
                <a:gd name="connsiteX48" fmla="*/ 147637 w 247650"/>
                <a:gd name="connsiteY48" fmla="*/ 143069 h 526236"/>
                <a:gd name="connsiteX49" fmla="*/ 195263 w 247650"/>
                <a:gd name="connsiteY49" fmla="*/ 69980 h 526236"/>
                <a:gd name="connsiteX50" fmla="*/ 204788 w 247650"/>
                <a:gd name="connsiteY50" fmla="*/ 88641 h 526236"/>
                <a:gd name="connsiteX51" fmla="*/ 193676 w 247650"/>
                <a:gd name="connsiteY51" fmla="*/ 119743 h 526236"/>
                <a:gd name="connsiteX52" fmla="*/ 179388 w 247650"/>
                <a:gd name="connsiteY52" fmla="*/ 139960 h 526236"/>
                <a:gd name="connsiteX53" fmla="*/ 174625 w 247650"/>
                <a:gd name="connsiteY53" fmla="*/ 147735 h 526236"/>
                <a:gd name="connsiteX54" fmla="*/ 176213 w 247650"/>
                <a:gd name="connsiteY54" fmla="*/ 138404 h 526236"/>
                <a:gd name="connsiteX55" fmla="*/ 179388 w 247650"/>
                <a:gd name="connsiteY55" fmla="*/ 111968 h 526236"/>
                <a:gd name="connsiteX56" fmla="*/ 176213 w 247650"/>
                <a:gd name="connsiteY56" fmla="*/ 83976 h 526236"/>
                <a:gd name="connsiteX57" fmla="*/ 195263 w 247650"/>
                <a:gd name="connsiteY57" fmla="*/ 69980 h 526236"/>
                <a:gd name="connsiteX58" fmla="*/ 46038 w 247650"/>
                <a:gd name="connsiteY58" fmla="*/ 0 h 526236"/>
                <a:gd name="connsiteX59" fmla="*/ 50800 w 247650"/>
                <a:gd name="connsiteY59" fmla="*/ 51318 h 526236"/>
                <a:gd name="connsiteX60" fmla="*/ 44798 w 247650"/>
                <a:gd name="connsiteY60" fmla="*/ 49350 h 526236"/>
                <a:gd name="connsiteX61" fmla="*/ 52388 w 247650"/>
                <a:gd name="connsiteY61" fmla="*/ 37322 h 526236"/>
                <a:gd name="connsiteX62" fmla="*/ 36513 w 247650"/>
                <a:gd name="connsiteY62" fmla="*/ 23326 h 526236"/>
                <a:gd name="connsiteX63" fmla="*/ 46038 w 247650"/>
                <a:gd name="connsiteY63" fmla="*/ 0 h 526236"/>
                <a:gd name="connsiteX0" fmla="*/ 23812 w 247650"/>
                <a:gd name="connsiteY0" fmla="*/ 317472 h 526236"/>
                <a:gd name="connsiteX1" fmla="*/ 60325 w 247650"/>
                <a:gd name="connsiteY1" fmla="*/ 336156 h 526236"/>
                <a:gd name="connsiteX2" fmla="*/ 66675 w 247650"/>
                <a:gd name="connsiteY2" fmla="*/ 350169 h 526236"/>
                <a:gd name="connsiteX3" fmla="*/ 77787 w 247650"/>
                <a:gd name="connsiteY3" fmla="*/ 384422 h 526236"/>
                <a:gd name="connsiteX4" fmla="*/ 52387 w 247650"/>
                <a:gd name="connsiteY4" fmla="*/ 395321 h 526236"/>
                <a:gd name="connsiteX5" fmla="*/ 20637 w 247650"/>
                <a:gd name="connsiteY5" fmla="*/ 389093 h 526236"/>
                <a:gd name="connsiteX6" fmla="*/ 0 w 247650"/>
                <a:gd name="connsiteY6" fmla="*/ 370409 h 526236"/>
                <a:gd name="connsiteX7" fmla="*/ 4762 w 247650"/>
                <a:gd name="connsiteY7" fmla="*/ 351726 h 526236"/>
                <a:gd name="connsiteX8" fmla="*/ 23812 w 247650"/>
                <a:gd name="connsiteY8" fmla="*/ 317472 h 526236"/>
                <a:gd name="connsiteX9" fmla="*/ 147637 w 247650"/>
                <a:gd name="connsiteY9" fmla="*/ 143069 h 526236"/>
                <a:gd name="connsiteX10" fmla="*/ 150812 w 247650"/>
                <a:gd name="connsiteY10" fmla="*/ 181947 h 526236"/>
                <a:gd name="connsiteX11" fmla="*/ 122237 w 247650"/>
                <a:gd name="connsiteY11" fmla="*/ 219269 h 526236"/>
                <a:gd name="connsiteX12" fmla="*/ 174625 w 247650"/>
                <a:gd name="connsiteY12" fmla="*/ 228600 h 526236"/>
                <a:gd name="connsiteX13" fmla="*/ 152400 w 247650"/>
                <a:gd name="connsiteY13" fmla="*/ 275253 h 526236"/>
                <a:gd name="connsiteX14" fmla="*/ 161925 w 247650"/>
                <a:gd name="connsiteY14" fmla="*/ 298580 h 526236"/>
                <a:gd name="connsiteX15" fmla="*/ 174625 w 247650"/>
                <a:gd name="connsiteY15" fmla="*/ 320351 h 526236"/>
                <a:gd name="connsiteX16" fmla="*/ 185738 w 247650"/>
                <a:gd name="connsiteY16" fmla="*/ 345233 h 526236"/>
                <a:gd name="connsiteX17" fmla="*/ 214313 w 247650"/>
                <a:gd name="connsiteY17" fmla="*/ 377890 h 526236"/>
                <a:gd name="connsiteX18" fmla="*/ 223838 w 247650"/>
                <a:gd name="connsiteY18" fmla="*/ 405882 h 526236"/>
                <a:gd name="connsiteX19" fmla="*/ 247650 w 247650"/>
                <a:gd name="connsiteY19" fmla="*/ 450980 h 526236"/>
                <a:gd name="connsiteX20" fmla="*/ 219075 w 247650"/>
                <a:gd name="connsiteY20" fmla="*/ 469641 h 526236"/>
                <a:gd name="connsiteX21" fmla="*/ 236538 w 247650"/>
                <a:gd name="connsiteY21" fmla="*/ 492968 h 526236"/>
                <a:gd name="connsiteX22" fmla="*/ 204788 w 247650"/>
                <a:gd name="connsiteY22" fmla="*/ 499188 h 526236"/>
                <a:gd name="connsiteX23" fmla="*/ 150812 w 247650"/>
                <a:gd name="connsiteY23" fmla="*/ 502298 h 526236"/>
                <a:gd name="connsiteX24" fmla="*/ 127000 w 247650"/>
                <a:gd name="connsiteY24" fmla="*/ 513184 h 526236"/>
                <a:gd name="connsiteX25" fmla="*/ 98425 w 247650"/>
                <a:gd name="connsiteY25" fmla="*/ 520959 h 526236"/>
                <a:gd name="connsiteX26" fmla="*/ 76200 w 247650"/>
                <a:gd name="connsiteY26" fmla="*/ 522515 h 526236"/>
                <a:gd name="connsiteX27" fmla="*/ 61912 w 247650"/>
                <a:gd name="connsiteY27" fmla="*/ 520959 h 526236"/>
                <a:gd name="connsiteX28" fmla="*/ 69850 w 247650"/>
                <a:gd name="connsiteY28" fmla="*/ 517849 h 526236"/>
                <a:gd name="connsiteX29" fmla="*/ 98425 w 247650"/>
                <a:gd name="connsiteY29" fmla="*/ 494523 h 526236"/>
                <a:gd name="connsiteX30" fmla="*/ 112712 w 247650"/>
                <a:gd name="connsiteY30" fmla="*/ 466531 h 526236"/>
                <a:gd name="connsiteX31" fmla="*/ 93662 w 247650"/>
                <a:gd name="connsiteY31" fmla="*/ 446314 h 526236"/>
                <a:gd name="connsiteX32" fmla="*/ 107950 w 247650"/>
                <a:gd name="connsiteY32" fmla="*/ 413657 h 526236"/>
                <a:gd name="connsiteX33" fmla="*/ 104824 w 247650"/>
                <a:gd name="connsiteY33" fmla="*/ 405857 h 526236"/>
                <a:gd name="connsiteX34" fmla="*/ 136525 w 247650"/>
                <a:gd name="connsiteY34" fmla="*/ 404327 h 526236"/>
                <a:gd name="connsiteX35" fmla="*/ 138112 w 247650"/>
                <a:gd name="connsiteY35" fmla="*/ 371669 h 526236"/>
                <a:gd name="connsiteX36" fmla="*/ 127000 w 247650"/>
                <a:gd name="connsiteY36" fmla="*/ 348343 h 526236"/>
                <a:gd name="connsiteX37" fmla="*/ 128587 w 247650"/>
                <a:gd name="connsiteY37" fmla="*/ 335902 h 526236"/>
                <a:gd name="connsiteX38" fmla="*/ 90487 w 247650"/>
                <a:gd name="connsiteY38" fmla="*/ 329682 h 526236"/>
                <a:gd name="connsiteX39" fmla="*/ 60325 w 247650"/>
                <a:gd name="connsiteY39" fmla="*/ 284584 h 526236"/>
                <a:gd name="connsiteX40" fmla="*/ 61912 w 247650"/>
                <a:gd name="connsiteY40" fmla="*/ 259702 h 526236"/>
                <a:gd name="connsiteX41" fmla="*/ 36512 w 247650"/>
                <a:gd name="connsiteY41" fmla="*/ 241041 h 526236"/>
                <a:gd name="connsiteX42" fmla="*/ 38100 w 247650"/>
                <a:gd name="connsiteY42" fmla="*/ 200608 h 526236"/>
                <a:gd name="connsiteX43" fmla="*/ 61912 w 247650"/>
                <a:gd name="connsiteY43" fmla="*/ 186612 h 526236"/>
                <a:gd name="connsiteX44" fmla="*/ 74191 w 247650"/>
                <a:gd name="connsiteY44" fmla="*/ 210230 h 526236"/>
                <a:gd name="connsiteX45" fmla="*/ 76200 w 247650"/>
                <a:gd name="connsiteY45" fmla="*/ 203718 h 526236"/>
                <a:gd name="connsiteX46" fmla="*/ 104775 w 247650"/>
                <a:gd name="connsiteY46" fmla="*/ 180392 h 526236"/>
                <a:gd name="connsiteX47" fmla="*/ 128587 w 247650"/>
                <a:gd name="connsiteY47" fmla="*/ 161730 h 526236"/>
                <a:gd name="connsiteX48" fmla="*/ 147637 w 247650"/>
                <a:gd name="connsiteY48" fmla="*/ 143069 h 526236"/>
                <a:gd name="connsiteX49" fmla="*/ 195263 w 247650"/>
                <a:gd name="connsiteY49" fmla="*/ 69980 h 526236"/>
                <a:gd name="connsiteX50" fmla="*/ 204788 w 247650"/>
                <a:gd name="connsiteY50" fmla="*/ 88641 h 526236"/>
                <a:gd name="connsiteX51" fmla="*/ 193676 w 247650"/>
                <a:gd name="connsiteY51" fmla="*/ 119743 h 526236"/>
                <a:gd name="connsiteX52" fmla="*/ 179388 w 247650"/>
                <a:gd name="connsiteY52" fmla="*/ 139960 h 526236"/>
                <a:gd name="connsiteX53" fmla="*/ 174625 w 247650"/>
                <a:gd name="connsiteY53" fmla="*/ 147735 h 526236"/>
                <a:gd name="connsiteX54" fmla="*/ 176213 w 247650"/>
                <a:gd name="connsiteY54" fmla="*/ 138404 h 526236"/>
                <a:gd name="connsiteX55" fmla="*/ 179388 w 247650"/>
                <a:gd name="connsiteY55" fmla="*/ 111968 h 526236"/>
                <a:gd name="connsiteX56" fmla="*/ 176213 w 247650"/>
                <a:gd name="connsiteY56" fmla="*/ 83976 h 526236"/>
                <a:gd name="connsiteX57" fmla="*/ 195263 w 247650"/>
                <a:gd name="connsiteY57" fmla="*/ 69980 h 526236"/>
                <a:gd name="connsiteX58" fmla="*/ 46038 w 247650"/>
                <a:gd name="connsiteY58" fmla="*/ 0 h 526236"/>
                <a:gd name="connsiteX59" fmla="*/ 50800 w 247650"/>
                <a:gd name="connsiteY59" fmla="*/ 51318 h 526236"/>
                <a:gd name="connsiteX60" fmla="*/ 44798 w 247650"/>
                <a:gd name="connsiteY60" fmla="*/ 49350 h 526236"/>
                <a:gd name="connsiteX61" fmla="*/ 36513 w 247650"/>
                <a:gd name="connsiteY61" fmla="*/ 23326 h 526236"/>
                <a:gd name="connsiteX62" fmla="*/ 46038 w 247650"/>
                <a:gd name="connsiteY62" fmla="*/ 0 h 526236"/>
                <a:gd name="connsiteX0" fmla="*/ 23812 w 247650"/>
                <a:gd name="connsiteY0" fmla="*/ 294146 h 502910"/>
                <a:gd name="connsiteX1" fmla="*/ 60325 w 247650"/>
                <a:gd name="connsiteY1" fmla="*/ 312830 h 502910"/>
                <a:gd name="connsiteX2" fmla="*/ 66675 w 247650"/>
                <a:gd name="connsiteY2" fmla="*/ 326843 h 502910"/>
                <a:gd name="connsiteX3" fmla="*/ 77787 w 247650"/>
                <a:gd name="connsiteY3" fmla="*/ 361096 h 502910"/>
                <a:gd name="connsiteX4" fmla="*/ 52387 w 247650"/>
                <a:gd name="connsiteY4" fmla="*/ 371995 h 502910"/>
                <a:gd name="connsiteX5" fmla="*/ 20637 w 247650"/>
                <a:gd name="connsiteY5" fmla="*/ 365767 h 502910"/>
                <a:gd name="connsiteX6" fmla="*/ 0 w 247650"/>
                <a:gd name="connsiteY6" fmla="*/ 347083 h 502910"/>
                <a:gd name="connsiteX7" fmla="*/ 4762 w 247650"/>
                <a:gd name="connsiteY7" fmla="*/ 328400 h 502910"/>
                <a:gd name="connsiteX8" fmla="*/ 23812 w 247650"/>
                <a:gd name="connsiteY8" fmla="*/ 294146 h 502910"/>
                <a:gd name="connsiteX9" fmla="*/ 147637 w 247650"/>
                <a:gd name="connsiteY9" fmla="*/ 119743 h 502910"/>
                <a:gd name="connsiteX10" fmla="*/ 150812 w 247650"/>
                <a:gd name="connsiteY10" fmla="*/ 158621 h 502910"/>
                <a:gd name="connsiteX11" fmla="*/ 122237 w 247650"/>
                <a:gd name="connsiteY11" fmla="*/ 195943 h 502910"/>
                <a:gd name="connsiteX12" fmla="*/ 174625 w 247650"/>
                <a:gd name="connsiteY12" fmla="*/ 205274 h 502910"/>
                <a:gd name="connsiteX13" fmla="*/ 152400 w 247650"/>
                <a:gd name="connsiteY13" fmla="*/ 251927 h 502910"/>
                <a:gd name="connsiteX14" fmla="*/ 161925 w 247650"/>
                <a:gd name="connsiteY14" fmla="*/ 275254 h 502910"/>
                <a:gd name="connsiteX15" fmla="*/ 174625 w 247650"/>
                <a:gd name="connsiteY15" fmla="*/ 297025 h 502910"/>
                <a:gd name="connsiteX16" fmla="*/ 185738 w 247650"/>
                <a:gd name="connsiteY16" fmla="*/ 321907 h 502910"/>
                <a:gd name="connsiteX17" fmla="*/ 214313 w 247650"/>
                <a:gd name="connsiteY17" fmla="*/ 354564 h 502910"/>
                <a:gd name="connsiteX18" fmla="*/ 223838 w 247650"/>
                <a:gd name="connsiteY18" fmla="*/ 382556 h 502910"/>
                <a:gd name="connsiteX19" fmla="*/ 247650 w 247650"/>
                <a:gd name="connsiteY19" fmla="*/ 427654 h 502910"/>
                <a:gd name="connsiteX20" fmla="*/ 219075 w 247650"/>
                <a:gd name="connsiteY20" fmla="*/ 446315 h 502910"/>
                <a:gd name="connsiteX21" fmla="*/ 236538 w 247650"/>
                <a:gd name="connsiteY21" fmla="*/ 469642 h 502910"/>
                <a:gd name="connsiteX22" fmla="*/ 204788 w 247650"/>
                <a:gd name="connsiteY22" fmla="*/ 475862 h 502910"/>
                <a:gd name="connsiteX23" fmla="*/ 150812 w 247650"/>
                <a:gd name="connsiteY23" fmla="*/ 478972 h 502910"/>
                <a:gd name="connsiteX24" fmla="*/ 127000 w 247650"/>
                <a:gd name="connsiteY24" fmla="*/ 489858 h 502910"/>
                <a:gd name="connsiteX25" fmla="*/ 98425 w 247650"/>
                <a:gd name="connsiteY25" fmla="*/ 497633 h 502910"/>
                <a:gd name="connsiteX26" fmla="*/ 76200 w 247650"/>
                <a:gd name="connsiteY26" fmla="*/ 499189 h 502910"/>
                <a:gd name="connsiteX27" fmla="*/ 61912 w 247650"/>
                <a:gd name="connsiteY27" fmla="*/ 497633 h 502910"/>
                <a:gd name="connsiteX28" fmla="*/ 69850 w 247650"/>
                <a:gd name="connsiteY28" fmla="*/ 494523 h 502910"/>
                <a:gd name="connsiteX29" fmla="*/ 98425 w 247650"/>
                <a:gd name="connsiteY29" fmla="*/ 471197 h 502910"/>
                <a:gd name="connsiteX30" fmla="*/ 112712 w 247650"/>
                <a:gd name="connsiteY30" fmla="*/ 443205 h 502910"/>
                <a:gd name="connsiteX31" fmla="*/ 93662 w 247650"/>
                <a:gd name="connsiteY31" fmla="*/ 422988 h 502910"/>
                <a:gd name="connsiteX32" fmla="*/ 107950 w 247650"/>
                <a:gd name="connsiteY32" fmla="*/ 390331 h 502910"/>
                <a:gd name="connsiteX33" fmla="*/ 104824 w 247650"/>
                <a:gd name="connsiteY33" fmla="*/ 382531 h 502910"/>
                <a:gd name="connsiteX34" fmla="*/ 136525 w 247650"/>
                <a:gd name="connsiteY34" fmla="*/ 381001 h 502910"/>
                <a:gd name="connsiteX35" fmla="*/ 138112 w 247650"/>
                <a:gd name="connsiteY35" fmla="*/ 348343 h 502910"/>
                <a:gd name="connsiteX36" fmla="*/ 127000 w 247650"/>
                <a:gd name="connsiteY36" fmla="*/ 325017 h 502910"/>
                <a:gd name="connsiteX37" fmla="*/ 128587 w 247650"/>
                <a:gd name="connsiteY37" fmla="*/ 312576 h 502910"/>
                <a:gd name="connsiteX38" fmla="*/ 90487 w 247650"/>
                <a:gd name="connsiteY38" fmla="*/ 306356 h 502910"/>
                <a:gd name="connsiteX39" fmla="*/ 60325 w 247650"/>
                <a:gd name="connsiteY39" fmla="*/ 261258 h 502910"/>
                <a:gd name="connsiteX40" fmla="*/ 61912 w 247650"/>
                <a:gd name="connsiteY40" fmla="*/ 236376 h 502910"/>
                <a:gd name="connsiteX41" fmla="*/ 36512 w 247650"/>
                <a:gd name="connsiteY41" fmla="*/ 217715 h 502910"/>
                <a:gd name="connsiteX42" fmla="*/ 38100 w 247650"/>
                <a:gd name="connsiteY42" fmla="*/ 177282 h 502910"/>
                <a:gd name="connsiteX43" fmla="*/ 61912 w 247650"/>
                <a:gd name="connsiteY43" fmla="*/ 163286 h 502910"/>
                <a:gd name="connsiteX44" fmla="*/ 74191 w 247650"/>
                <a:gd name="connsiteY44" fmla="*/ 186904 h 502910"/>
                <a:gd name="connsiteX45" fmla="*/ 76200 w 247650"/>
                <a:gd name="connsiteY45" fmla="*/ 180392 h 502910"/>
                <a:gd name="connsiteX46" fmla="*/ 104775 w 247650"/>
                <a:gd name="connsiteY46" fmla="*/ 157066 h 502910"/>
                <a:gd name="connsiteX47" fmla="*/ 128587 w 247650"/>
                <a:gd name="connsiteY47" fmla="*/ 138404 h 502910"/>
                <a:gd name="connsiteX48" fmla="*/ 147637 w 247650"/>
                <a:gd name="connsiteY48" fmla="*/ 119743 h 502910"/>
                <a:gd name="connsiteX49" fmla="*/ 195263 w 247650"/>
                <a:gd name="connsiteY49" fmla="*/ 46654 h 502910"/>
                <a:gd name="connsiteX50" fmla="*/ 204788 w 247650"/>
                <a:gd name="connsiteY50" fmla="*/ 65315 h 502910"/>
                <a:gd name="connsiteX51" fmla="*/ 193676 w 247650"/>
                <a:gd name="connsiteY51" fmla="*/ 96417 h 502910"/>
                <a:gd name="connsiteX52" fmla="*/ 179388 w 247650"/>
                <a:gd name="connsiteY52" fmla="*/ 116634 h 502910"/>
                <a:gd name="connsiteX53" fmla="*/ 174625 w 247650"/>
                <a:gd name="connsiteY53" fmla="*/ 124409 h 502910"/>
                <a:gd name="connsiteX54" fmla="*/ 176213 w 247650"/>
                <a:gd name="connsiteY54" fmla="*/ 115078 h 502910"/>
                <a:gd name="connsiteX55" fmla="*/ 179388 w 247650"/>
                <a:gd name="connsiteY55" fmla="*/ 88642 h 502910"/>
                <a:gd name="connsiteX56" fmla="*/ 176213 w 247650"/>
                <a:gd name="connsiteY56" fmla="*/ 60650 h 502910"/>
                <a:gd name="connsiteX57" fmla="*/ 195263 w 247650"/>
                <a:gd name="connsiteY57" fmla="*/ 46654 h 502910"/>
                <a:gd name="connsiteX58" fmla="*/ 36513 w 247650"/>
                <a:gd name="connsiteY58" fmla="*/ 0 h 502910"/>
                <a:gd name="connsiteX59" fmla="*/ 50800 w 247650"/>
                <a:gd name="connsiteY59" fmla="*/ 27992 h 502910"/>
                <a:gd name="connsiteX60" fmla="*/ 44798 w 247650"/>
                <a:gd name="connsiteY60" fmla="*/ 26024 h 502910"/>
                <a:gd name="connsiteX61" fmla="*/ 36513 w 247650"/>
                <a:gd name="connsiteY61" fmla="*/ 0 h 502910"/>
                <a:gd name="connsiteX0" fmla="*/ 23812 w 247650"/>
                <a:gd name="connsiteY0" fmla="*/ 294146 h 502910"/>
                <a:gd name="connsiteX1" fmla="*/ 60325 w 247650"/>
                <a:gd name="connsiteY1" fmla="*/ 312830 h 502910"/>
                <a:gd name="connsiteX2" fmla="*/ 66675 w 247650"/>
                <a:gd name="connsiteY2" fmla="*/ 326843 h 502910"/>
                <a:gd name="connsiteX3" fmla="*/ 77787 w 247650"/>
                <a:gd name="connsiteY3" fmla="*/ 361096 h 502910"/>
                <a:gd name="connsiteX4" fmla="*/ 52387 w 247650"/>
                <a:gd name="connsiteY4" fmla="*/ 371995 h 502910"/>
                <a:gd name="connsiteX5" fmla="*/ 20637 w 247650"/>
                <a:gd name="connsiteY5" fmla="*/ 365767 h 502910"/>
                <a:gd name="connsiteX6" fmla="*/ 0 w 247650"/>
                <a:gd name="connsiteY6" fmla="*/ 347083 h 502910"/>
                <a:gd name="connsiteX7" fmla="*/ 4762 w 247650"/>
                <a:gd name="connsiteY7" fmla="*/ 328400 h 502910"/>
                <a:gd name="connsiteX8" fmla="*/ 23812 w 247650"/>
                <a:gd name="connsiteY8" fmla="*/ 294146 h 502910"/>
                <a:gd name="connsiteX9" fmla="*/ 147637 w 247650"/>
                <a:gd name="connsiteY9" fmla="*/ 119743 h 502910"/>
                <a:gd name="connsiteX10" fmla="*/ 150812 w 247650"/>
                <a:gd name="connsiteY10" fmla="*/ 158621 h 502910"/>
                <a:gd name="connsiteX11" fmla="*/ 122237 w 247650"/>
                <a:gd name="connsiteY11" fmla="*/ 195943 h 502910"/>
                <a:gd name="connsiteX12" fmla="*/ 174625 w 247650"/>
                <a:gd name="connsiteY12" fmla="*/ 205274 h 502910"/>
                <a:gd name="connsiteX13" fmla="*/ 152400 w 247650"/>
                <a:gd name="connsiteY13" fmla="*/ 251927 h 502910"/>
                <a:gd name="connsiteX14" fmla="*/ 161925 w 247650"/>
                <a:gd name="connsiteY14" fmla="*/ 275254 h 502910"/>
                <a:gd name="connsiteX15" fmla="*/ 174625 w 247650"/>
                <a:gd name="connsiteY15" fmla="*/ 297025 h 502910"/>
                <a:gd name="connsiteX16" fmla="*/ 185738 w 247650"/>
                <a:gd name="connsiteY16" fmla="*/ 321907 h 502910"/>
                <a:gd name="connsiteX17" fmla="*/ 214313 w 247650"/>
                <a:gd name="connsiteY17" fmla="*/ 354564 h 502910"/>
                <a:gd name="connsiteX18" fmla="*/ 223838 w 247650"/>
                <a:gd name="connsiteY18" fmla="*/ 382556 h 502910"/>
                <a:gd name="connsiteX19" fmla="*/ 247650 w 247650"/>
                <a:gd name="connsiteY19" fmla="*/ 427654 h 502910"/>
                <a:gd name="connsiteX20" fmla="*/ 219075 w 247650"/>
                <a:gd name="connsiteY20" fmla="*/ 446315 h 502910"/>
                <a:gd name="connsiteX21" fmla="*/ 236538 w 247650"/>
                <a:gd name="connsiteY21" fmla="*/ 469642 h 502910"/>
                <a:gd name="connsiteX22" fmla="*/ 204788 w 247650"/>
                <a:gd name="connsiteY22" fmla="*/ 475862 h 502910"/>
                <a:gd name="connsiteX23" fmla="*/ 150812 w 247650"/>
                <a:gd name="connsiteY23" fmla="*/ 478972 h 502910"/>
                <a:gd name="connsiteX24" fmla="*/ 127000 w 247650"/>
                <a:gd name="connsiteY24" fmla="*/ 489858 h 502910"/>
                <a:gd name="connsiteX25" fmla="*/ 98425 w 247650"/>
                <a:gd name="connsiteY25" fmla="*/ 497633 h 502910"/>
                <a:gd name="connsiteX26" fmla="*/ 76200 w 247650"/>
                <a:gd name="connsiteY26" fmla="*/ 499189 h 502910"/>
                <a:gd name="connsiteX27" fmla="*/ 61912 w 247650"/>
                <a:gd name="connsiteY27" fmla="*/ 497633 h 502910"/>
                <a:gd name="connsiteX28" fmla="*/ 69850 w 247650"/>
                <a:gd name="connsiteY28" fmla="*/ 494523 h 502910"/>
                <a:gd name="connsiteX29" fmla="*/ 98425 w 247650"/>
                <a:gd name="connsiteY29" fmla="*/ 471197 h 502910"/>
                <a:gd name="connsiteX30" fmla="*/ 112712 w 247650"/>
                <a:gd name="connsiteY30" fmla="*/ 443205 h 502910"/>
                <a:gd name="connsiteX31" fmla="*/ 93662 w 247650"/>
                <a:gd name="connsiteY31" fmla="*/ 422988 h 502910"/>
                <a:gd name="connsiteX32" fmla="*/ 107950 w 247650"/>
                <a:gd name="connsiteY32" fmla="*/ 390331 h 502910"/>
                <a:gd name="connsiteX33" fmla="*/ 104824 w 247650"/>
                <a:gd name="connsiteY33" fmla="*/ 382531 h 502910"/>
                <a:gd name="connsiteX34" fmla="*/ 136525 w 247650"/>
                <a:gd name="connsiteY34" fmla="*/ 381001 h 502910"/>
                <a:gd name="connsiteX35" fmla="*/ 138112 w 247650"/>
                <a:gd name="connsiteY35" fmla="*/ 348343 h 502910"/>
                <a:gd name="connsiteX36" fmla="*/ 127000 w 247650"/>
                <a:gd name="connsiteY36" fmla="*/ 325017 h 502910"/>
                <a:gd name="connsiteX37" fmla="*/ 128587 w 247650"/>
                <a:gd name="connsiteY37" fmla="*/ 312576 h 502910"/>
                <a:gd name="connsiteX38" fmla="*/ 90487 w 247650"/>
                <a:gd name="connsiteY38" fmla="*/ 306356 h 502910"/>
                <a:gd name="connsiteX39" fmla="*/ 60325 w 247650"/>
                <a:gd name="connsiteY39" fmla="*/ 261258 h 502910"/>
                <a:gd name="connsiteX40" fmla="*/ 61912 w 247650"/>
                <a:gd name="connsiteY40" fmla="*/ 236376 h 502910"/>
                <a:gd name="connsiteX41" fmla="*/ 36512 w 247650"/>
                <a:gd name="connsiteY41" fmla="*/ 217715 h 502910"/>
                <a:gd name="connsiteX42" fmla="*/ 38100 w 247650"/>
                <a:gd name="connsiteY42" fmla="*/ 177282 h 502910"/>
                <a:gd name="connsiteX43" fmla="*/ 61912 w 247650"/>
                <a:gd name="connsiteY43" fmla="*/ 163286 h 502910"/>
                <a:gd name="connsiteX44" fmla="*/ 74191 w 247650"/>
                <a:gd name="connsiteY44" fmla="*/ 186904 h 502910"/>
                <a:gd name="connsiteX45" fmla="*/ 76200 w 247650"/>
                <a:gd name="connsiteY45" fmla="*/ 180392 h 502910"/>
                <a:gd name="connsiteX46" fmla="*/ 104775 w 247650"/>
                <a:gd name="connsiteY46" fmla="*/ 157066 h 502910"/>
                <a:gd name="connsiteX47" fmla="*/ 128587 w 247650"/>
                <a:gd name="connsiteY47" fmla="*/ 138404 h 502910"/>
                <a:gd name="connsiteX48" fmla="*/ 147637 w 247650"/>
                <a:gd name="connsiteY48" fmla="*/ 119743 h 502910"/>
                <a:gd name="connsiteX49" fmla="*/ 195263 w 247650"/>
                <a:gd name="connsiteY49" fmla="*/ 46654 h 502910"/>
                <a:gd name="connsiteX50" fmla="*/ 204788 w 247650"/>
                <a:gd name="connsiteY50" fmla="*/ 65315 h 502910"/>
                <a:gd name="connsiteX51" fmla="*/ 193676 w 247650"/>
                <a:gd name="connsiteY51" fmla="*/ 96417 h 502910"/>
                <a:gd name="connsiteX52" fmla="*/ 179388 w 247650"/>
                <a:gd name="connsiteY52" fmla="*/ 116634 h 502910"/>
                <a:gd name="connsiteX53" fmla="*/ 174625 w 247650"/>
                <a:gd name="connsiteY53" fmla="*/ 124409 h 502910"/>
                <a:gd name="connsiteX54" fmla="*/ 176213 w 247650"/>
                <a:gd name="connsiteY54" fmla="*/ 115078 h 502910"/>
                <a:gd name="connsiteX55" fmla="*/ 179388 w 247650"/>
                <a:gd name="connsiteY55" fmla="*/ 88642 h 502910"/>
                <a:gd name="connsiteX56" fmla="*/ 176213 w 247650"/>
                <a:gd name="connsiteY56" fmla="*/ 60650 h 502910"/>
                <a:gd name="connsiteX57" fmla="*/ 195263 w 247650"/>
                <a:gd name="connsiteY57" fmla="*/ 46654 h 502910"/>
                <a:gd name="connsiteX58" fmla="*/ 36513 w 247650"/>
                <a:gd name="connsiteY58" fmla="*/ 0 h 502910"/>
                <a:gd name="connsiteX59" fmla="*/ 50800 w 247650"/>
                <a:gd name="connsiteY59" fmla="*/ 27992 h 502910"/>
                <a:gd name="connsiteX60" fmla="*/ 36513 w 247650"/>
                <a:gd name="connsiteY60" fmla="*/ 0 h 502910"/>
                <a:gd name="connsiteX0" fmla="*/ 23812 w 247650"/>
                <a:gd name="connsiteY0" fmla="*/ 247492 h 456256"/>
                <a:gd name="connsiteX1" fmla="*/ 60325 w 247650"/>
                <a:gd name="connsiteY1" fmla="*/ 266176 h 456256"/>
                <a:gd name="connsiteX2" fmla="*/ 66675 w 247650"/>
                <a:gd name="connsiteY2" fmla="*/ 280189 h 456256"/>
                <a:gd name="connsiteX3" fmla="*/ 77787 w 247650"/>
                <a:gd name="connsiteY3" fmla="*/ 314442 h 456256"/>
                <a:gd name="connsiteX4" fmla="*/ 52387 w 247650"/>
                <a:gd name="connsiteY4" fmla="*/ 325341 h 456256"/>
                <a:gd name="connsiteX5" fmla="*/ 20637 w 247650"/>
                <a:gd name="connsiteY5" fmla="*/ 319113 h 456256"/>
                <a:gd name="connsiteX6" fmla="*/ 0 w 247650"/>
                <a:gd name="connsiteY6" fmla="*/ 300429 h 456256"/>
                <a:gd name="connsiteX7" fmla="*/ 4762 w 247650"/>
                <a:gd name="connsiteY7" fmla="*/ 281746 h 456256"/>
                <a:gd name="connsiteX8" fmla="*/ 23812 w 247650"/>
                <a:gd name="connsiteY8" fmla="*/ 247492 h 456256"/>
                <a:gd name="connsiteX9" fmla="*/ 147637 w 247650"/>
                <a:gd name="connsiteY9" fmla="*/ 73089 h 456256"/>
                <a:gd name="connsiteX10" fmla="*/ 150812 w 247650"/>
                <a:gd name="connsiteY10" fmla="*/ 111967 h 456256"/>
                <a:gd name="connsiteX11" fmla="*/ 122237 w 247650"/>
                <a:gd name="connsiteY11" fmla="*/ 149289 h 456256"/>
                <a:gd name="connsiteX12" fmla="*/ 174625 w 247650"/>
                <a:gd name="connsiteY12" fmla="*/ 158620 h 456256"/>
                <a:gd name="connsiteX13" fmla="*/ 152400 w 247650"/>
                <a:gd name="connsiteY13" fmla="*/ 205273 h 456256"/>
                <a:gd name="connsiteX14" fmla="*/ 161925 w 247650"/>
                <a:gd name="connsiteY14" fmla="*/ 228600 h 456256"/>
                <a:gd name="connsiteX15" fmla="*/ 174625 w 247650"/>
                <a:gd name="connsiteY15" fmla="*/ 250371 h 456256"/>
                <a:gd name="connsiteX16" fmla="*/ 185738 w 247650"/>
                <a:gd name="connsiteY16" fmla="*/ 275253 h 456256"/>
                <a:gd name="connsiteX17" fmla="*/ 214313 w 247650"/>
                <a:gd name="connsiteY17" fmla="*/ 307910 h 456256"/>
                <a:gd name="connsiteX18" fmla="*/ 223838 w 247650"/>
                <a:gd name="connsiteY18" fmla="*/ 335902 h 456256"/>
                <a:gd name="connsiteX19" fmla="*/ 247650 w 247650"/>
                <a:gd name="connsiteY19" fmla="*/ 381000 h 456256"/>
                <a:gd name="connsiteX20" fmla="*/ 219075 w 247650"/>
                <a:gd name="connsiteY20" fmla="*/ 399661 h 456256"/>
                <a:gd name="connsiteX21" fmla="*/ 236538 w 247650"/>
                <a:gd name="connsiteY21" fmla="*/ 422988 h 456256"/>
                <a:gd name="connsiteX22" fmla="*/ 204788 w 247650"/>
                <a:gd name="connsiteY22" fmla="*/ 429208 h 456256"/>
                <a:gd name="connsiteX23" fmla="*/ 150812 w 247650"/>
                <a:gd name="connsiteY23" fmla="*/ 432318 h 456256"/>
                <a:gd name="connsiteX24" fmla="*/ 127000 w 247650"/>
                <a:gd name="connsiteY24" fmla="*/ 443204 h 456256"/>
                <a:gd name="connsiteX25" fmla="*/ 98425 w 247650"/>
                <a:gd name="connsiteY25" fmla="*/ 450979 h 456256"/>
                <a:gd name="connsiteX26" fmla="*/ 76200 w 247650"/>
                <a:gd name="connsiteY26" fmla="*/ 452535 h 456256"/>
                <a:gd name="connsiteX27" fmla="*/ 61912 w 247650"/>
                <a:gd name="connsiteY27" fmla="*/ 450979 h 456256"/>
                <a:gd name="connsiteX28" fmla="*/ 69850 w 247650"/>
                <a:gd name="connsiteY28" fmla="*/ 447869 h 456256"/>
                <a:gd name="connsiteX29" fmla="*/ 98425 w 247650"/>
                <a:gd name="connsiteY29" fmla="*/ 424543 h 456256"/>
                <a:gd name="connsiteX30" fmla="*/ 112712 w 247650"/>
                <a:gd name="connsiteY30" fmla="*/ 396551 h 456256"/>
                <a:gd name="connsiteX31" fmla="*/ 93662 w 247650"/>
                <a:gd name="connsiteY31" fmla="*/ 376334 h 456256"/>
                <a:gd name="connsiteX32" fmla="*/ 107950 w 247650"/>
                <a:gd name="connsiteY32" fmla="*/ 343677 h 456256"/>
                <a:gd name="connsiteX33" fmla="*/ 104824 w 247650"/>
                <a:gd name="connsiteY33" fmla="*/ 335877 h 456256"/>
                <a:gd name="connsiteX34" fmla="*/ 136525 w 247650"/>
                <a:gd name="connsiteY34" fmla="*/ 334347 h 456256"/>
                <a:gd name="connsiteX35" fmla="*/ 138112 w 247650"/>
                <a:gd name="connsiteY35" fmla="*/ 301689 h 456256"/>
                <a:gd name="connsiteX36" fmla="*/ 127000 w 247650"/>
                <a:gd name="connsiteY36" fmla="*/ 278363 h 456256"/>
                <a:gd name="connsiteX37" fmla="*/ 128587 w 247650"/>
                <a:gd name="connsiteY37" fmla="*/ 265922 h 456256"/>
                <a:gd name="connsiteX38" fmla="*/ 90487 w 247650"/>
                <a:gd name="connsiteY38" fmla="*/ 259702 h 456256"/>
                <a:gd name="connsiteX39" fmla="*/ 60325 w 247650"/>
                <a:gd name="connsiteY39" fmla="*/ 214604 h 456256"/>
                <a:gd name="connsiteX40" fmla="*/ 61912 w 247650"/>
                <a:gd name="connsiteY40" fmla="*/ 189722 h 456256"/>
                <a:gd name="connsiteX41" fmla="*/ 36512 w 247650"/>
                <a:gd name="connsiteY41" fmla="*/ 171061 h 456256"/>
                <a:gd name="connsiteX42" fmla="*/ 38100 w 247650"/>
                <a:gd name="connsiteY42" fmla="*/ 130628 h 456256"/>
                <a:gd name="connsiteX43" fmla="*/ 61912 w 247650"/>
                <a:gd name="connsiteY43" fmla="*/ 116632 h 456256"/>
                <a:gd name="connsiteX44" fmla="*/ 74191 w 247650"/>
                <a:gd name="connsiteY44" fmla="*/ 140250 h 456256"/>
                <a:gd name="connsiteX45" fmla="*/ 76200 w 247650"/>
                <a:gd name="connsiteY45" fmla="*/ 133738 h 456256"/>
                <a:gd name="connsiteX46" fmla="*/ 104775 w 247650"/>
                <a:gd name="connsiteY46" fmla="*/ 110412 h 456256"/>
                <a:gd name="connsiteX47" fmla="*/ 128587 w 247650"/>
                <a:gd name="connsiteY47" fmla="*/ 91750 h 456256"/>
                <a:gd name="connsiteX48" fmla="*/ 147637 w 247650"/>
                <a:gd name="connsiteY48" fmla="*/ 73089 h 456256"/>
                <a:gd name="connsiteX49" fmla="*/ 195263 w 247650"/>
                <a:gd name="connsiteY49" fmla="*/ 0 h 456256"/>
                <a:gd name="connsiteX50" fmla="*/ 204788 w 247650"/>
                <a:gd name="connsiteY50" fmla="*/ 18661 h 456256"/>
                <a:gd name="connsiteX51" fmla="*/ 193676 w 247650"/>
                <a:gd name="connsiteY51" fmla="*/ 49763 h 456256"/>
                <a:gd name="connsiteX52" fmla="*/ 179388 w 247650"/>
                <a:gd name="connsiteY52" fmla="*/ 69980 h 456256"/>
                <a:gd name="connsiteX53" fmla="*/ 174625 w 247650"/>
                <a:gd name="connsiteY53" fmla="*/ 77755 h 456256"/>
                <a:gd name="connsiteX54" fmla="*/ 176213 w 247650"/>
                <a:gd name="connsiteY54" fmla="*/ 68424 h 456256"/>
                <a:gd name="connsiteX55" fmla="*/ 179388 w 247650"/>
                <a:gd name="connsiteY55" fmla="*/ 41988 h 456256"/>
                <a:gd name="connsiteX56" fmla="*/ 176213 w 247650"/>
                <a:gd name="connsiteY56" fmla="*/ 13996 h 456256"/>
                <a:gd name="connsiteX57" fmla="*/ 195263 w 247650"/>
                <a:gd name="connsiteY57" fmla="*/ 0 h 4562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247650" h="456256">
                  <a:moveTo>
                    <a:pt x="23812" y="247492"/>
                  </a:moveTo>
                  <a:cubicBezTo>
                    <a:pt x="33337" y="244378"/>
                    <a:pt x="53975" y="261505"/>
                    <a:pt x="60325" y="266176"/>
                  </a:cubicBezTo>
                  <a:cubicBezTo>
                    <a:pt x="66675" y="270847"/>
                    <a:pt x="61912" y="272404"/>
                    <a:pt x="66675" y="280189"/>
                  </a:cubicBezTo>
                  <a:cubicBezTo>
                    <a:pt x="69850" y="287974"/>
                    <a:pt x="79375" y="306657"/>
                    <a:pt x="77787" y="314442"/>
                  </a:cubicBezTo>
                  <a:lnTo>
                    <a:pt x="52387" y="325341"/>
                  </a:lnTo>
                  <a:lnTo>
                    <a:pt x="20637" y="319113"/>
                  </a:lnTo>
                  <a:lnTo>
                    <a:pt x="0" y="300429"/>
                  </a:lnTo>
                  <a:lnTo>
                    <a:pt x="4762" y="281746"/>
                  </a:lnTo>
                  <a:lnTo>
                    <a:pt x="23812" y="247492"/>
                  </a:lnTo>
                  <a:close/>
                  <a:moveTo>
                    <a:pt x="147637" y="73089"/>
                  </a:moveTo>
                  <a:cubicBezTo>
                    <a:pt x="161925" y="90195"/>
                    <a:pt x="155575" y="77754"/>
                    <a:pt x="150812" y="111967"/>
                  </a:cubicBezTo>
                  <a:cubicBezTo>
                    <a:pt x="133350" y="122852"/>
                    <a:pt x="133350" y="135293"/>
                    <a:pt x="122237" y="149289"/>
                  </a:cubicBezTo>
                  <a:cubicBezTo>
                    <a:pt x="139700" y="153955"/>
                    <a:pt x="158750" y="149289"/>
                    <a:pt x="174625" y="158620"/>
                  </a:cubicBezTo>
                  <a:cubicBezTo>
                    <a:pt x="169862" y="172616"/>
                    <a:pt x="160337" y="194387"/>
                    <a:pt x="152400" y="205273"/>
                  </a:cubicBezTo>
                  <a:cubicBezTo>
                    <a:pt x="157162" y="214604"/>
                    <a:pt x="160337" y="219269"/>
                    <a:pt x="161925" y="228600"/>
                  </a:cubicBezTo>
                  <a:cubicBezTo>
                    <a:pt x="165100" y="236375"/>
                    <a:pt x="169862" y="242595"/>
                    <a:pt x="174625" y="250371"/>
                  </a:cubicBezTo>
                  <a:cubicBezTo>
                    <a:pt x="187325" y="259702"/>
                    <a:pt x="177800" y="264367"/>
                    <a:pt x="185738" y="275253"/>
                  </a:cubicBezTo>
                  <a:cubicBezTo>
                    <a:pt x="203200" y="284583"/>
                    <a:pt x="211138" y="287693"/>
                    <a:pt x="214313" y="307910"/>
                  </a:cubicBezTo>
                  <a:cubicBezTo>
                    <a:pt x="219075" y="320351"/>
                    <a:pt x="222250" y="321906"/>
                    <a:pt x="223838" y="335902"/>
                  </a:cubicBezTo>
                  <a:cubicBezTo>
                    <a:pt x="228600" y="348343"/>
                    <a:pt x="247650" y="370114"/>
                    <a:pt x="247650" y="381000"/>
                  </a:cubicBezTo>
                  <a:cubicBezTo>
                    <a:pt x="247650" y="391885"/>
                    <a:pt x="219075" y="390330"/>
                    <a:pt x="219075" y="399661"/>
                  </a:cubicBezTo>
                  <a:cubicBezTo>
                    <a:pt x="207963" y="405881"/>
                    <a:pt x="242888" y="413657"/>
                    <a:pt x="236538" y="422988"/>
                  </a:cubicBezTo>
                  <a:cubicBezTo>
                    <a:pt x="222250" y="424543"/>
                    <a:pt x="217488" y="426098"/>
                    <a:pt x="204788" y="429208"/>
                  </a:cubicBezTo>
                  <a:cubicBezTo>
                    <a:pt x="187325" y="427653"/>
                    <a:pt x="168275" y="424543"/>
                    <a:pt x="150812" y="432318"/>
                  </a:cubicBezTo>
                  <a:cubicBezTo>
                    <a:pt x="138112" y="433873"/>
                    <a:pt x="134937" y="433873"/>
                    <a:pt x="127000" y="443204"/>
                  </a:cubicBezTo>
                  <a:cubicBezTo>
                    <a:pt x="117475" y="446314"/>
                    <a:pt x="107950" y="447869"/>
                    <a:pt x="98425" y="450979"/>
                  </a:cubicBezTo>
                  <a:cubicBezTo>
                    <a:pt x="90487" y="450979"/>
                    <a:pt x="84137" y="450979"/>
                    <a:pt x="76200" y="452535"/>
                  </a:cubicBezTo>
                  <a:cubicBezTo>
                    <a:pt x="74612" y="452535"/>
                    <a:pt x="61912" y="461865"/>
                    <a:pt x="61912" y="450979"/>
                  </a:cubicBezTo>
                  <a:cubicBezTo>
                    <a:pt x="61912" y="447869"/>
                    <a:pt x="66675" y="449424"/>
                    <a:pt x="69850" y="447869"/>
                  </a:cubicBezTo>
                  <a:cubicBezTo>
                    <a:pt x="90487" y="446314"/>
                    <a:pt x="93662" y="443204"/>
                    <a:pt x="98425" y="424543"/>
                  </a:cubicBezTo>
                  <a:cubicBezTo>
                    <a:pt x="107950" y="412102"/>
                    <a:pt x="109537" y="416767"/>
                    <a:pt x="112712" y="396551"/>
                  </a:cubicBezTo>
                  <a:cubicBezTo>
                    <a:pt x="96837" y="394996"/>
                    <a:pt x="84137" y="394996"/>
                    <a:pt x="93662" y="376334"/>
                  </a:cubicBezTo>
                  <a:cubicBezTo>
                    <a:pt x="115887" y="368559"/>
                    <a:pt x="111125" y="362338"/>
                    <a:pt x="107950" y="343677"/>
                  </a:cubicBezTo>
                  <a:lnTo>
                    <a:pt x="104824" y="335877"/>
                  </a:lnTo>
                  <a:cubicBezTo>
                    <a:pt x="105569" y="335804"/>
                    <a:pt x="117475" y="353008"/>
                    <a:pt x="136525" y="334347"/>
                  </a:cubicBezTo>
                  <a:cubicBezTo>
                    <a:pt x="144462" y="326571"/>
                    <a:pt x="138112" y="312575"/>
                    <a:pt x="138112" y="301689"/>
                  </a:cubicBezTo>
                  <a:cubicBezTo>
                    <a:pt x="136525" y="289249"/>
                    <a:pt x="128587" y="290804"/>
                    <a:pt x="127000" y="278363"/>
                  </a:cubicBezTo>
                  <a:cubicBezTo>
                    <a:pt x="125412" y="272142"/>
                    <a:pt x="134937" y="269032"/>
                    <a:pt x="128587" y="265922"/>
                  </a:cubicBezTo>
                  <a:cubicBezTo>
                    <a:pt x="122717" y="260789"/>
                    <a:pt x="81223" y="253219"/>
                    <a:pt x="90487" y="259702"/>
                  </a:cubicBezTo>
                  <a:cubicBezTo>
                    <a:pt x="109537" y="256591"/>
                    <a:pt x="58737" y="228600"/>
                    <a:pt x="60325" y="214604"/>
                  </a:cubicBezTo>
                  <a:cubicBezTo>
                    <a:pt x="46037" y="211493"/>
                    <a:pt x="57150" y="202163"/>
                    <a:pt x="61912" y="189722"/>
                  </a:cubicBezTo>
                  <a:cubicBezTo>
                    <a:pt x="53975" y="178836"/>
                    <a:pt x="38100" y="186612"/>
                    <a:pt x="36512" y="171061"/>
                  </a:cubicBezTo>
                  <a:cubicBezTo>
                    <a:pt x="38100" y="158620"/>
                    <a:pt x="34925" y="143069"/>
                    <a:pt x="38100" y="130628"/>
                  </a:cubicBezTo>
                  <a:cubicBezTo>
                    <a:pt x="49212" y="124408"/>
                    <a:pt x="49212" y="119742"/>
                    <a:pt x="61912" y="116632"/>
                  </a:cubicBezTo>
                  <a:cubicBezTo>
                    <a:pt x="70247" y="120131"/>
                    <a:pt x="72330" y="139376"/>
                    <a:pt x="74191" y="140250"/>
                  </a:cubicBezTo>
                  <a:lnTo>
                    <a:pt x="76200" y="133738"/>
                  </a:lnTo>
                  <a:cubicBezTo>
                    <a:pt x="90487" y="125963"/>
                    <a:pt x="84137" y="113522"/>
                    <a:pt x="104775" y="110412"/>
                  </a:cubicBezTo>
                  <a:cubicBezTo>
                    <a:pt x="125412" y="111967"/>
                    <a:pt x="127000" y="111967"/>
                    <a:pt x="128587" y="91750"/>
                  </a:cubicBezTo>
                  <a:cubicBezTo>
                    <a:pt x="133350" y="82420"/>
                    <a:pt x="139700" y="80865"/>
                    <a:pt x="147637" y="73089"/>
                  </a:cubicBezTo>
                  <a:close/>
                  <a:moveTo>
                    <a:pt x="195263" y="0"/>
                  </a:moveTo>
                  <a:cubicBezTo>
                    <a:pt x="195263" y="13996"/>
                    <a:pt x="201613" y="3110"/>
                    <a:pt x="204788" y="18661"/>
                  </a:cubicBezTo>
                  <a:cubicBezTo>
                    <a:pt x="201613" y="34212"/>
                    <a:pt x="195263" y="29547"/>
                    <a:pt x="193676" y="49763"/>
                  </a:cubicBezTo>
                  <a:cubicBezTo>
                    <a:pt x="182563" y="55984"/>
                    <a:pt x="180975" y="57539"/>
                    <a:pt x="179388" y="69980"/>
                  </a:cubicBezTo>
                  <a:cubicBezTo>
                    <a:pt x="177800" y="73090"/>
                    <a:pt x="177800" y="79310"/>
                    <a:pt x="174625" y="77755"/>
                  </a:cubicBezTo>
                  <a:cubicBezTo>
                    <a:pt x="171450" y="76200"/>
                    <a:pt x="176213" y="71535"/>
                    <a:pt x="176213" y="68424"/>
                  </a:cubicBezTo>
                  <a:cubicBezTo>
                    <a:pt x="177800" y="59094"/>
                    <a:pt x="177800" y="51318"/>
                    <a:pt x="179388" y="41988"/>
                  </a:cubicBezTo>
                  <a:cubicBezTo>
                    <a:pt x="174625" y="32657"/>
                    <a:pt x="174625" y="24882"/>
                    <a:pt x="176213" y="13996"/>
                  </a:cubicBezTo>
                  <a:cubicBezTo>
                    <a:pt x="188913" y="12441"/>
                    <a:pt x="185738" y="7776"/>
                    <a:pt x="195263" y="0"/>
                  </a:cubicBezTo>
                  <a:close/>
                </a:path>
              </a:pathLst>
            </a:custGeom>
            <a:solidFill>
              <a:schemeClr val="accent1"/>
            </a:solidFill>
            <a:ln w="9525" cap="flat" cmpd="sng">
              <a:solidFill>
                <a:schemeClr val="bg1"/>
              </a:solidFill>
              <a:prstDash val="solid"/>
              <a:round/>
              <a:headEnd type="none" w="med" len="med"/>
              <a:tailEnd type="none" w="med" len="med"/>
            </a:ln>
            <a:effectLst/>
            <a:extLst/>
          </p:spPr>
          <p:txBody>
            <a:bodyPr>
              <a:noAutofit/>
            </a:bodyPr>
            <a:lstStyle/>
            <a:p>
              <a:pPr fontAlgn="auto">
                <a:spcBef>
                  <a:spcPts val="0"/>
                </a:spcBef>
                <a:spcAft>
                  <a:spcPts val="0"/>
                </a:spcAft>
                <a:defRPr/>
              </a:pPr>
              <a:endParaRPr lang="en-CA" kern="0">
                <a:solidFill>
                  <a:sysClr val="windowText" lastClr="000000"/>
                </a:solidFill>
              </a:endParaRPr>
            </a:p>
          </p:txBody>
        </p:sp>
      </p:grpSp>
      <p:sp>
        <p:nvSpPr>
          <p:cNvPr id="25" name="TextBox 24">
            <a:extLst>
              <a:ext uri="{FF2B5EF4-FFF2-40B4-BE49-F238E27FC236}">
                <a16:creationId xmlns:a16="http://schemas.microsoft.com/office/drawing/2014/main" id="{375E1965-DCCE-4C62-A6EA-917AD6BA7EA1}"/>
              </a:ext>
            </a:extLst>
          </p:cNvPr>
          <p:cNvSpPr txBox="1">
            <a:spLocks/>
          </p:cNvSpPr>
          <p:nvPr/>
        </p:nvSpPr>
        <p:spPr>
          <a:xfrm>
            <a:off x="329788" y="4886889"/>
            <a:ext cx="4459466" cy="1206484"/>
          </a:xfrm>
          <a:prstGeom prst="rect">
            <a:avLst/>
          </a:prstGeom>
        </p:spPr>
        <p:txBody>
          <a:bodyPr vert="horz" wrap="square" lIns="0" tIns="0" rIns="0" bIns="0" rtlCol="0" anchor="t" anchorCtr="0">
            <a:sp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spcBef>
                <a:spcPct val="60000"/>
              </a:spcBef>
            </a:pPr>
            <a:r>
              <a:rPr lang="en-US" sz="1600" b="1" dirty="0">
                <a:solidFill>
                  <a:schemeClr val="accent4"/>
                </a:solidFill>
              </a:rPr>
              <a:t>Since 2011 …</a:t>
            </a:r>
          </a:p>
          <a:p>
            <a:pPr lvl="1">
              <a:spcBef>
                <a:spcPct val="30000"/>
              </a:spcBef>
            </a:pPr>
            <a:r>
              <a:rPr lang="en-US" sz="1600" dirty="0"/>
              <a:t>379 clients</a:t>
            </a:r>
          </a:p>
          <a:p>
            <a:pPr lvl="1">
              <a:spcBef>
                <a:spcPct val="30000"/>
              </a:spcBef>
            </a:pPr>
            <a:r>
              <a:rPr lang="en-US" sz="1600" dirty="0"/>
              <a:t>$100b+ in CFO-certified impact</a:t>
            </a:r>
          </a:p>
          <a:p>
            <a:pPr lvl="1">
              <a:spcBef>
                <a:spcPct val="30000"/>
              </a:spcBef>
            </a:pPr>
            <a:r>
              <a:rPr lang="en-US" sz="1600" dirty="0"/>
              <a:t>400 RTS professionals globally</a:t>
            </a:r>
          </a:p>
        </p:txBody>
      </p:sp>
      <p:grpSp>
        <p:nvGrpSpPr>
          <p:cNvPr id="23" name="CustomIcon"/>
          <p:cNvGrpSpPr>
            <a:grpSpLocks noChangeAspect="1"/>
          </p:cNvGrpSpPr>
          <p:nvPr>
            <p:custDataLst>
              <p:tags r:id="rId3"/>
            </p:custDataLst>
          </p:nvPr>
        </p:nvGrpSpPr>
        <p:grpSpPr>
          <a:xfrm>
            <a:off x="5014036" y="1463842"/>
            <a:ext cx="322173" cy="283280"/>
            <a:chOff x="-9525" y="3175"/>
            <a:chExt cx="7658101" cy="6719888"/>
          </a:xfrm>
          <a:solidFill>
            <a:schemeClr val="accent4"/>
          </a:solidFill>
        </p:grpSpPr>
        <p:sp>
          <p:nvSpPr>
            <p:cNvPr id="12" name="Freeform 12"/>
            <p:cNvSpPr>
              <a:spLocks noEditPoints="1"/>
            </p:cNvSpPr>
            <p:nvPr/>
          </p:nvSpPr>
          <p:spPr bwMode="auto">
            <a:xfrm>
              <a:off x="-9525" y="1827213"/>
              <a:ext cx="2182813" cy="1246188"/>
            </a:xfrm>
            <a:custGeom>
              <a:avLst/>
              <a:gdLst>
                <a:gd name="T0" fmla="*/ 75 w 913"/>
                <a:gd name="T1" fmla="*/ 521 h 521"/>
                <a:gd name="T2" fmla="*/ 838 w 913"/>
                <a:gd name="T3" fmla="*/ 521 h 521"/>
                <a:gd name="T4" fmla="*/ 902 w 913"/>
                <a:gd name="T5" fmla="*/ 478 h 521"/>
                <a:gd name="T6" fmla="*/ 887 w 913"/>
                <a:gd name="T7" fmla="*/ 402 h 521"/>
                <a:gd name="T8" fmla="*/ 506 w 913"/>
                <a:gd name="T9" fmla="*/ 21 h 521"/>
                <a:gd name="T10" fmla="*/ 456 w 913"/>
                <a:gd name="T11" fmla="*/ 0 h 521"/>
                <a:gd name="T12" fmla="*/ 407 w 913"/>
                <a:gd name="T13" fmla="*/ 21 h 521"/>
                <a:gd name="T14" fmla="*/ 26 w 913"/>
                <a:gd name="T15" fmla="*/ 402 h 521"/>
                <a:gd name="T16" fmla="*/ 10 w 913"/>
                <a:gd name="T17" fmla="*/ 478 h 521"/>
                <a:gd name="T18" fmla="*/ 75 w 913"/>
                <a:gd name="T19" fmla="*/ 521 h 521"/>
                <a:gd name="T20" fmla="*/ 456 w 913"/>
                <a:gd name="T21" fmla="*/ 168 h 521"/>
                <a:gd name="T22" fmla="*/ 670 w 913"/>
                <a:gd name="T23" fmla="*/ 382 h 521"/>
                <a:gd name="T24" fmla="*/ 243 w 913"/>
                <a:gd name="T25" fmla="*/ 382 h 521"/>
                <a:gd name="T26" fmla="*/ 456 w 913"/>
                <a:gd name="T27" fmla="*/ 168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13" h="521">
                  <a:moveTo>
                    <a:pt x="75" y="521"/>
                  </a:moveTo>
                  <a:cubicBezTo>
                    <a:pt x="838" y="521"/>
                    <a:pt x="838" y="521"/>
                    <a:pt x="838" y="521"/>
                  </a:cubicBezTo>
                  <a:cubicBezTo>
                    <a:pt x="866" y="521"/>
                    <a:pt x="892" y="504"/>
                    <a:pt x="902" y="478"/>
                  </a:cubicBezTo>
                  <a:cubicBezTo>
                    <a:pt x="913" y="452"/>
                    <a:pt x="907" y="422"/>
                    <a:pt x="887" y="402"/>
                  </a:cubicBezTo>
                  <a:cubicBezTo>
                    <a:pt x="506" y="21"/>
                    <a:pt x="506" y="21"/>
                    <a:pt x="506" y="21"/>
                  </a:cubicBezTo>
                  <a:cubicBezTo>
                    <a:pt x="493" y="8"/>
                    <a:pt x="475" y="0"/>
                    <a:pt x="456" y="0"/>
                  </a:cubicBezTo>
                  <a:cubicBezTo>
                    <a:pt x="438" y="0"/>
                    <a:pt x="420" y="8"/>
                    <a:pt x="407" y="21"/>
                  </a:cubicBezTo>
                  <a:cubicBezTo>
                    <a:pt x="26" y="402"/>
                    <a:pt x="26" y="402"/>
                    <a:pt x="26" y="402"/>
                  </a:cubicBezTo>
                  <a:cubicBezTo>
                    <a:pt x="6" y="422"/>
                    <a:pt x="0" y="452"/>
                    <a:pt x="10" y="478"/>
                  </a:cubicBezTo>
                  <a:cubicBezTo>
                    <a:pt x="21" y="504"/>
                    <a:pt x="47" y="521"/>
                    <a:pt x="75" y="521"/>
                  </a:cubicBezTo>
                  <a:close/>
                  <a:moveTo>
                    <a:pt x="456" y="168"/>
                  </a:moveTo>
                  <a:cubicBezTo>
                    <a:pt x="670" y="382"/>
                    <a:pt x="670" y="382"/>
                    <a:pt x="670" y="382"/>
                  </a:cubicBezTo>
                  <a:cubicBezTo>
                    <a:pt x="243" y="382"/>
                    <a:pt x="243" y="382"/>
                    <a:pt x="243" y="382"/>
                  </a:cubicBezTo>
                  <a:lnTo>
                    <a:pt x="456" y="168"/>
                  </a:lnTo>
                  <a:close/>
                </a:path>
              </a:pathLst>
            </a:custGeom>
            <a:grpFill/>
            <a:ln>
              <a:noFill/>
            </a:ln>
            <a:extLst>
              <a:ext uri="{91240B29-F687-4F45-9708-019B960494DF}">
                <a14:hiddenLine xmlns:a14="http://schemas.microsoft.com/office/drawing/2010/main" w="0" cap="flat" cmpd="sng" algn="ctr">
                  <a:solidFill>
                    <a:srgbClr val="FFFFFF">
                      <a:alpha val="0"/>
                    </a:srgbClr>
                  </a:solidFill>
                  <a:prstDash val="solid"/>
                  <a:round/>
                  <a:headEnd type="none" w="med" len="med"/>
                  <a:tailEnd type="none" w="med" len="me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13"/>
            <p:cNvSpPr>
              <a:spLocks noEditPoints="1"/>
            </p:cNvSpPr>
            <p:nvPr/>
          </p:nvSpPr>
          <p:spPr bwMode="auto">
            <a:xfrm>
              <a:off x="2727325" y="1827213"/>
              <a:ext cx="2182813" cy="1246188"/>
            </a:xfrm>
            <a:custGeom>
              <a:avLst/>
              <a:gdLst>
                <a:gd name="T0" fmla="*/ 456 w 913"/>
                <a:gd name="T1" fmla="*/ 0 h 521"/>
                <a:gd name="T2" fmla="*/ 407 w 913"/>
                <a:gd name="T3" fmla="*/ 21 h 521"/>
                <a:gd name="T4" fmla="*/ 25 w 913"/>
                <a:gd name="T5" fmla="*/ 402 h 521"/>
                <a:gd name="T6" fmla="*/ 10 w 913"/>
                <a:gd name="T7" fmla="*/ 478 h 521"/>
                <a:gd name="T8" fmla="*/ 75 w 913"/>
                <a:gd name="T9" fmla="*/ 521 h 521"/>
                <a:gd name="T10" fmla="*/ 838 w 913"/>
                <a:gd name="T11" fmla="*/ 521 h 521"/>
                <a:gd name="T12" fmla="*/ 902 w 913"/>
                <a:gd name="T13" fmla="*/ 478 h 521"/>
                <a:gd name="T14" fmla="*/ 887 w 913"/>
                <a:gd name="T15" fmla="*/ 402 h 521"/>
                <a:gd name="T16" fmla="*/ 505 w 913"/>
                <a:gd name="T17" fmla="*/ 21 h 521"/>
                <a:gd name="T18" fmla="*/ 456 w 913"/>
                <a:gd name="T19" fmla="*/ 0 h 521"/>
                <a:gd name="T20" fmla="*/ 243 w 913"/>
                <a:gd name="T21" fmla="*/ 382 h 521"/>
                <a:gd name="T22" fmla="*/ 456 w 913"/>
                <a:gd name="T23" fmla="*/ 168 h 521"/>
                <a:gd name="T24" fmla="*/ 670 w 913"/>
                <a:gd name="T25" fmla="*/ 382 h 521"/>
                <a:gd name="T26" fmla="*/ 243 w 913"/>
                <a:gd name="T27" fmla="*/ 382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13" h="521">
                  <a:moveTo>
                    <a:pt x="456" y="0"/>
                  </a:moveTo>
                  <a:cubicBezTo>
                    <a:pt x="438" y="0"/>
                    <a:pt x="420" y="8"/>
                    <a:pt x="407" y="21"/>
                  </a:cubicBezTo>
                  <a:cubicBezTo>
                    <a:pt x="25" y="402"/>
                    <a:pt x="25" y="402"/>
                    <a:pt x="25" y="402"/>
                  </a:cubicBezTo>
                  <a:cubicBezTo>
                    <a:pt x="5" y="422"/>
                    <a:pt x="0" y="452"/>
                    <a:pt x="10" y="478"/>
                  </a:cubicBezTo>
                  <a:cubicBezTo>
                    <a:pt x="21" y="504"/>
                    <a:pt x="46" y="521"/>
                    <a:pt x="75" y="521"/>
                  </a:cubicBezTo>
                  <a:cubicBezTo>
                    <a:pt x="838" y="521"/>
                    <a:pt x="838" y="521"/>
                    <a:pt x="838" y="521"/>
                  </a:cubicBezTo>
                  <a:cubicBezTo>
                    <a:pt x="866" y="521"/>
                    <a:pt x="891" y="504"/>
                    <a:pt x="902" y="478"/>
                  </a:cubicBezTo>
                  <a:cubicBezTo>
                    <a:pt x="913" y="452"/>
                    <a:pt x="907" y="422"/>
                    <a:pt x="887" y="402"/>
                  </a:cubicBezTo>
                  <a:cubicBezTo>
                    <a:pt x="505" y="21"/>
                    <a:pt x="505" y="21"/>
                    <a:pt x="505" y="21"/>
                  </a:cubicBezTo>
                  <a:cubicBezTo>
                    <a:pt x="492" y="8"/>
                    <a:pt x="475" y="0"/>
                    <a:pt x="456" y="0"/>
                  </a:cubicBezTo>
                  <a:close/>
                  <a:moveTo>
                    <a:pt x="243" y="382"/>
                  </a:moveTo>
                  <a:cubicBezTo>
                    <a:pt x="456" y="168"/>
                    <a:pt x="456" y="168"/>
                    <a:pt x="456" y="168"/>
                  </a:cubicBezTo>
                  <a:cubicBezTo>
                    <a:pt x="670" y="382"/>
                    <a:pt x="670" y="382"/>
                    <a:pt x="670" y="382"/>
                  </a:cubicBezTo>
                  <a:lnTo>
                    <a:pt x="243" y="382"/>
                  </a:lnTo>
                  <a:close/>
                </a:path>
              </a:pathLst>
            </a:custGeom>
            <a:grpFill/>
            <a:ln>
              <a:noFill/>
            </a:ln>
            <a:extLst>
              <a:ext uri="{91240B29-F687-4F45-9708-019B960494DF}">
                <a14:hiddenLine xmlns:a14="http://schemas.microsoft.com/office/drawing/2010/main" w="0" cap="flat" cmpd="sng" algn="ctr">
                  <a:solidFill>
                    <a:srgbClr val="FFFFFF">
                      <a:alpha val="0"/>
                    </a:srgbClr>
                  </a:solidFill>
                  <a:prstDash val="solid"/>
                  <a:round/>
                  <a:headEnd type="none" w="med" len="med"/>
                  <a:tailEnd type="none" w="med" len="me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Freeform 14"/>
            <p:cNvSpPr>
              <a:spLocks noEditPoints="1"/>
            </p:cNvSpPr>
            <p:nvPr/>
          </p:nvSpPr>
          <p:spPr bwMode="auto">
            <a:xfrm>
              <a:off x="2727325" y="3175"/>
              <a:ext cx="2182813" cy="1244600"/>
            </a:xfrm>
            <a:custGeom>
              <a:avLst/>
              <a:gdLst>
                <a:gd name="T0" fmla="*/ 75 w 913"/>
                <a:gd name="T1" fmla="*/ 521 h 521"/>
                <a:gd name="T2" fmla="*/ 838 w 913"/>
                <a:gd name="T3" fmla="*/ 521 h 521"/>
                <a:gd name="T4" fmla="*/ 902 w 913"/>
                <a:gd name="T5" fmla="*/ 478 h 521"/>
                <a:gd name="T6" fmla="*/ 887 w 913"/>
                <a:gd name="T7" fmla="*/ 402 h 521"/>
                <a:gd name="T8" fmla="*/ 505 w 913"/>
                <a:gd name="T9" fmla="*/ 20 h 521"/>
                <a:gd name="T10" fmla="*/ 456 w 913"/>
                <a:gd name="T11" fmla="*/ 0 h 521"/>
                <a:gd name="T12" fmla="*/ 407 w 913"/>
                <a:gd name="T13" fmla="*/ 20 h 521"/>
                <a:gd name="T14" fmla="*/ 25 w 913"/>
                <a:gd name="T15" fmla="*/ 402 h 521"/>
                <a:gd name="T16" fmla="*/ 10 w 913"/>
                <a:gd name="T17" fmla="*/ 478 h 521"/>
                <a:gd name="T18" fmla="*/ 75 w 913"/>
                <a:gd name="T19" fmla="*/ 521 h 521"/>
                <a:gd name="T20" fmla="*/ 456 w 913"/>
                <a:gd name="T21" fmla="*/ 168 h 521"/>
                <a:gd name="T22" fmla="*/ 670 w 913"/>
                <a:gd name="T23" fmla="*/ 382 h 521"/>
                <a:gd name="T24" fmla="*/ 243 w 913"/>
                <a:gd name="T25" fmla="*/ 382 h 521"/>
                <a:gd name="T26" fmla="*/ 456 w 913"/>
                <a:gd name="T27" fmla="*/ 168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13" h="521">
                  <a:moveTo>
                    <a:pt x="75" y="521"/>
                  </a:moveTo>
                  <a:cubicBezTo>
                    <a:pt x="838" y="521"/>
                    <a:pt x="838" y="521"/>
                    <a:pt x="838" y="521"/>
                  </a:cubicBezTo>
                  <a:cubicBezTo>
                    <a:pt x="866" y="521"/>
                    <a:pt x="891" y="504"/>
                    <a:pt x="902" y="478"/>
                  </a:cubicBezTo>
                  <a:cubicBezTo>
                    <a:pt x="913" y="452"/>
                    <a:pt x="907" y="422"/>
                    <a:pt x="887" y="402"/>
                  </a:cubicBezTo>
                  <a:cubicBezTo>
                    <a:pt x="505" y="20"/>
                    <a:pt x="505" y="20"/>
                    <a:pt x="505" y="20"/>
                  </a:cubicBezTo>
                  <a:cubicBezTo>
                    <a:pt x="492" y="7"/>
                    <a:pt x="475" y="0"/>
                    <a:pt x="456" y="0"/>
                  </a:cubicBezTo>
                  <a:cubicBezTo>
                    <a:pt x="438" y="0"/>
                    <a:pt x="420" y="7"/>
                    <a:pt x="407" y="20"/>
                  </a:cubicBezTo>
                  <a:cubicBezTo>
                    <a:pt x="25" y="402"/>
                    <a:pt x="25" y="402"/>
                    <a:pt x="25" y="402"/>
                  </a:cubicBezTo>
                  <a:cubicBezTo>
                    <a:pt x="5" y="422"/>
                    <a:pt x="0" y="452"/>
                    <a:pt x="10" y="478"/>
                  </a:cubicBezTo>
                  <a:cubicBezTo>
                    <a:pt x="21" y="504"/>
                    <a:pt x="46" y="521"/>
                    <a:pt x="75" y="521"/>
                  </a:cubicBezTo>
                  <a:close/>
                  <a:moveTo>
                    <a:pt x="456" y="168"/>
                  </a:moveTo>
                  <a:cubicBezTo>
                    <a:pt x="670" y="382"/>
                    <a:pt x="670" y="382"/>
                    <a:pt x="670" y="382"/>
                  </a:cubicBezTo>
                  <a:cubicBezTo>
                    <a:pt x="243" y="382"/>
                    <a:pt x="243" y="382"/>
                    <a:pt x="243" y="382"/>
                  </a:cubicBezTo>
                  <a:lnTo>
                    <a:pt x="456" y="168"/>
                  </a:lnTo>
                  <a:close/>
                </a:path>
              </a:pathLst>
            </a:custGeom>
            <a:grpFill/>
            <a:ln>
              <a:noFill/>
            </a:ln>
            <a:extLst>
              <a:ext uri="{91240B29-F687-4F45-9708-019B960494DF}">
                <a14:hiddenLine xmlns:a14="http://schemas.microsoft.com/office/drawing/2010/main" w="0" cap="flat" cmpd="sng" algn="ctr">
                  <a:solidFill>
                    <a:srgbClr val="FFFFFF">
                      <a:alpha val="0"/>
                    </a:srgbClr>
                  </a:solidFill>
                  <a:prstDash val="solid"/>
                  <a:round/>
                  <a:headEnd type="none" w="med" len="med"/>
                  <a:tailEnd type="none" w="med" len="med"/>
                </a14:hiddenLine>
              </a:ext>
            </a:extLst>
          </p:spPr>
          <p:txBody>
            <a:bodyPr vert="horz" wrap="square" lIns="91440" tIns="45720" rIns="91440" bIns="45720" numCol="1" anchor="t" anchorCtr="0" compatLnSpc="1">
              <a:prstTxWarp prst="textNoShape">
                <a:avLst/>
              </a:prstTxWarp>
            </a:bodyPr>
            <a:lstStyle/>
            <a:p>
              <a:endParaRPr lang="en-US"/>
            </a:p>
          </p:txBody>
        </p:sp>
        <p:sp>
          <p:nvSpPr>
            <p:cNvPr id="16" name="Freeform 15"/>
            <p:cNvSpPr>
              <a:spLocks noEditPoints="1"/>
            </p:cNvSpPr>
            <p:nvPr/>
          </p:nvSpPr>
          <p:spPr bwMode="auto">
            <a:xfrm>
              <a:off x="1357313" y="1370013"/>
              <a:ext cx="2185988" cy="1246188"/>
            </a:xfrm>
            <a:custGeom>
              <a:avLst/>
              <a:gdLst>
                <a:gd name="T0" fmla="*/ 408 w 914"/>
                <a:gd name="T1" fmla="*/ 501 h 521"/>
                <a:gd name="T2" fmla="*/ 457 w 914"/>
                <a:gd name="T3" fmla="*/ 521 h 521"/>
                <a:gd name="T4" fmla="*/ 506 w 914"/>
                <a:gd name="T5" fmla="*/ 501 h 521"/>
                <a:gd name="T6" fmla="*/ 888 w 914"/>
                <a:gd name="T7" fmla="*/ 119 h 521"/>
                <a:gd name="T8" fmla="*/ 903 w 914"/>
                <a:gd name="T9" fmla="*/ 43 h 521"/>
                <a:gd name="T10" fmla="*/ 838 w 914"/>
                <a:gd name="T11" fmla="*/ 0 h 521"/>
                <a:gd name="T12" fmla="*/ 75 w 914"/>
                <a:gd name="T13" fmla="*/ 0 h 521"/>
                <a:gd name="T14" fmla="*/ 11 w 914"/>
                <a:gd name="T15" fmla="*/ 43 h 521"/>
                <a:gd name="T16" fmla="*/ 26 w 914"/>
                <a:gd name="T17" fmla="*/ 119 h 521"/>
                <a:gd name="T18" fmla="*/ 408 w 914"/>
                <a:gd name="T19" fmla="*/ 501 h 521"/>
                <a:gd name="T20" fmla="*/ 670 w 914"/>
                <a:gd name="T21" fmla="*/ 140 h 521"/>
                <a:gd name="T22" fmla="*/ 457 w 914"/>
                <a:gd name="T23" fmla="*/ 353 h 521"/>
                <a:gd name="T24" fmla="*/ 243 w 914"/>
                <a:gd name="T25" fmla="*/ 140 h 521"/>
                <a:gd name="T26" fmla="*/ 670 w 914"/>
                <a:gd name="T27" fmla="*/ 140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14" h="521">
                  <a:moveTo>
                    <a:pt x="408" y="501"/>
                  </a:moveTo>
                  <a:cubicBezTo>
                    <a:pt x="421" y="515"/>
                    <a:pt x="439" y="521"/>
                    <a:pt x="457" y="521"/>
                  </a:cubicBezTo>
                  <a:cubicBezTo>
                    <a:pt x="475" y="521"/>
                    <a:pt x="492" y="515"/>
                    <a:pt x="506" y="501"/>
                  </a:cubicBezTo>
                  <a:cubicBezTo>
                    <a:pt x="888" y="119"/>
                    <a:pt x="888" y="119"/>
                    <a:pt x="888" y="119"/>
                  </a:cubicBezTo>
                  <a:cubicBezTo>
                    <a:pt x="908" y="99"/>
                    <a:pt x="914" y="69"/>
                    <a:pt x="903" y="43"/>
                  </a:cubicBezTo>
                  <a:cubicBezTo>
                    <a:pt x="892" y="17"/>
                    <a:pt x="867" y="0"/>
                    <a:pt x="838" y="0"/>
                  </a:cubicBezTo>
                  <a:cubicBezTo>
                    <a:pt x="75" y="0"/>
                    <a:pt x="75" y="0"/>
                    <a:pt x="75" y="0"/>
                  </a:cubicBezTo>
                  <a:cubicBezTo>
                    <a:pt x="47" y="0"/>
                    <a:pt x="22" y="17"/>
                    <a:pt x="11" y="43"/>
                  </a:cubicBezTo>
                  <a:cubicBezTo>
                    <a:pt x="0" y="69"/>
                    <a:pt x="6" y="99"/>
                    <a:pt x="26" y="119"/>
                  </a:cubicBezTo>
                  <a:lnTo>
                    <a:pt x="408" y="501"/>
                  </a:lnTo>
                  <a:close/>
                  <a:moveTo>
                    <a:pt x="670" y="140"/>
                  </a:moveTo>
                  <a:cubicBezTo>
                    <a:pt x="457" y="353"/>
                    <a:pt x="457" y="353"/>
                    <a:pt x="457" y="353"/>
                  </a:cubicBezTo>
                  <a:cubicBezTo>
                    <a:pt x="243" y="140"/>
                    <a:pt x="243" y="140"/>
                    <a:pt x="243" y="140"/>
                  </a:cubicBezTo>
                  <a:lnTo>
                    <a:pt x="670" y="140"/>
                  </a:lnTo>
                  <a:close/>
                </a:path>
              </a:pathLst>
            </a:custGeom>
            <a:grpFill/>
            <a:ln>
              <a:noFill/>
            </a:ln>
            <a:extLst>
              <a:ext uri="{91240B29-F687-4F45-9708-019B960494DF}">
                <a14:hiddenLine xmlns:a14="http://schemas.microsoft.com/office/drawing/2010/main" w="0" cap="flat" cmpd="sng" algn="ctr">
                  <a:solidFill>
                    <a:srgbClr val="FFFFFF">
                      <a:alpha val="0"/>
                    </a:srgbClr>
                  </a:solidFill>
                  <a:prstDash val="solid"/>
                  <a:round/>
                  <a:headEnd type="none" w="med" len="med"/>
                  <a:tailEnd type="none" w="med" len="me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Freeform 16"/>
            <p:cNvSpPr>
              <a:spLocks noEditPoints="1"/>
            </p:cNvSpPr>
            <p:nvPr/>
          </p:nvSpPr>
          <p:spPr bwMode="auto">
            <a:xfrm>
              <a:off x="4095750" y="1370013"/>
              <a:ext cx="2182813" cy="1246188"/>
            </a:xfrm>
            <a:custGeom>
              <a:avLst/>
              <a:gdLst>
                <a:gd name="T0" fmla="*/ 11 w 913"/>
                <a:gd name="T1" fmla="*/ 43 h 521"/>
                <a:gd name="T2" fmla="*/ 26 w 913"/>
                <a:gd name="T3" fmla="*/ 119 h 521"/>
                <a:gd name="T4" fmla="*/ 407 w 913"/>
                <a:gd name="T5" fmla="*/ 501 h 521"/>
                <a:gd name="T6" fmla="*/ 457 w 913"/>
                <a:gd name="T7" fmla="*/ 521 h 521"/>
                <a:gd name="T8" fmla="*/ 506 w 913"/>
                <a:gd name="T9" fmla="*/ 501 h 521"/>
                <a:gd name="T10" fmla="*/ 888 w 913"/>
                <a:gd name="T11" fmla="*/ 119 h 521"/>
                <a:gd name="T12" fmla="*/ 903 w 913"/>
                <a:gd name="T13" fmla="*/ 43 h 521"/>
                <a:gd name="T14" fmla="*/ 838 w 913"/>
                <a:gd name="T15" fmla="*/ 0 h 521"/>
                <a:gd name="T16" fmla="*/ 75 w 913"/>
                <a:gd name="T17" fmla="*/ 0 h 521"/>
                <a:gd name="T18" fmla="*/ 11 w 913"/>
                <a:gd name="T19" fmla="*/ 43 h 521"/>
                <a:gd name="T20" fmla="*/ 670 w 913"/>
                <a:gd name="T21" fmla="*/ 140 h 521"/>
                <a:gd name="T22" fmla="*/ 457 w 913"/>
                <a:gd name="T23" fmla="*/ 353 h 521"/>
                <a:gd name="T24" fmla="*/ 243 w 913"/>
                <a:gd name="T25" fmla="*/ 140 h 521"/>
                <a:gd name="T26" fmla="*/ 670 w 913"/>
                <a:gd name="T27" fmla="*/ 140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13" h="521">
                  <a:moveTo>
                    <a:pt x="11" y="43"/>
                  </a:moveTo>
                  <a:cubicBezTo>
                    <a:pt x="0" y="69"/>
                    <a:pt x="6" y="99"/>
                    <a:pt x="26" y="119"/>
                  </a:cubicBezTo>
                  <a:cubicBezTo>
                    <a:pt x="407" y="501"/>
                    <a:pt x="407" y="501"/>
                    <a:pt x="407" y="501"/>
                  </a:cubicBezTo>
                  <a:cubicBezTo>
                    <a:pt x="421" y="515"/>
                    <a:pt x="439" y="521"/>
                    <a:pt x="457" y="521"/>
                  </a:cubicBezTo>
                  <a:cubicBezTo>
                    <a:pt x="474" y="521"/>
                    <a:pt x="492" y="515"/>
                    <a:pt x="506" y="501"/>
                  </a:cubicBezTo>
                  <a:cubicBezTo>
                    <a:pt x="888" y="119"/>
                    <a:pt x="888" y="119"/>
                    <a:pt x="888" y="119"/>
                  </a:cubicBezTo>
                  <a:cubicBezTo>
                    <a:pt x="907" y="99"/>
                    <a:pt x="913" y="69"/>
                    <a:pt x="903" y="43"/>
                  </a:cubicBezTo>
                  <a:cubicBezTo>
                    <a:pt x="892" y="17"/>
                    <a:pt x="866" y="0"/>
                    <a:pt x="838" y="0"/>
                  </a:cubicBezTo>
                  <a:cubicBezTo>
                    <a:pt x="75" y="0"/>
                    <a:pt x="75" y="0"/>
                    <a:pt x="75" y="0"/>
                  </a:cubicBezTo>
                  <a:cubicBezTo>
                    <a:pt x="47" y="0"/>
                    <a:pt x="21" y="17"/>
                    <a:pt x="11" y="43"/>
                  </a:cubicBezTo>
                  <a:close/>
                  <a:moveTo>
                    <a:pt x="670" y="140"/>
                  </a:moveTo>
                  <a:cubicBezTo>
                    <a:pt x="457" y="353"/>
                    <a:pt x="457" y="353"/>
                    <a:pt x="457" y="353"/>
                  </a:cubicBezTo>
                  <a:cubicBezTo>
                    <a:pt x="243" y="140"/>
                    <a:pt x="243" y="140"/>
                    <a:pt x="243" y="140"/>
                  </a:cubicBezTo>
                  <a:lnTo>
                    <a:pt x="670" y="140"/>
                  </a:lnTo>
                  <a:close/>
                </a:path>
              </a:pathLst>
            </a:custGeom>
            <a:grpFill/>
            <a:ln>
              <a:noFill/>
            </a:ln>
            <a:extLst>
              <a:ext uri="{91240B29-F687-4F45-9708-019B960494DF}">
                <a14:hiddenLine xmlns:a14="http://schemas.microsoft.com/office/drawing/2010/main" w="0" cap="flat" cmpd="sng" algn="ctr">
                  <a:solidFill>
                    <a:srgbClr val="FFFFFF">
                      <a:alpha val="0"/>
                    </a:srgbClr>
                  </a:solidFill>
                  <a:prstDash val="solid"/>
                  <a:round/>
                  <a:headEnd type="none" w="med" len="med"/>
                  <a:tailEnd type="none" w="med" len="me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Freeform 17"/>
            <p:cNvSpPr>
              <a:spLocks noEditPoints="1"/>
            </p:cNvSpPr>
            <p:nvPr/>
          </p:nvSpPr>
          <p:spPr bwMode="auto">
            <a:xfrm>
              <a:off x="5462588" y="1827213"/>
              <a:ext cx="2185988" cy="1246188"/>
            </a:xfrm>
            <a:custGeom>
              <a:avLst/>
              <a:gdLst>
                <a:gd name="T0" fmla="*/ 11 w 914"/>
                <a:gd name="T1" fmla="*/ 478 h 521"/>
                <a:gd name="T2" fmla="*/ 75 w 914"/>
                <a:gd name="T3" fmla="*/ 521 h 521"/>
                <a:gd name="T4" fmla="*/ 839 w 914"/>
                <a:gd name="T5" fmla="*/ 521 h 521"/>
                <a:gd name="T6" fmla="*/ 903 w 914"/>
                <a:gd name="T7" fmla="*/ 478 h 521"/>
                <a:gd name="T8" fmla="*/ 888 w 914"/>
                <a:gd name="T9" fmla="*/ 402 h 521"/>
                <a:gd name="T10" fmla="*/ 506 w 914"/>
                <a:gd name="T11" fmla="*/ 21 h 521"/>
                <a:gd name="T12" fmla="*/ 457 w 914"/>
                <a:gd name="T13" fmla="*/ 0 h 521"/>
                <a:gd name="T14" fmla="*/ 408 w 914"/>
                <a:gd name="T15" fmla="*/ 21 h 521"/>
                <a:gd name="T16" fmla="*/ 26 w 914"/>
                <a:gd name="T17" fmla="*/ 402 h 521"/>
                <a:gd name="T18" fmla="*/ 11 w 914"/>
                <a:gd name="T19" fmla="*/ 478 h 521"/>
                <a:gd name="T20" fmla="*/ 457 w 914"/>
                <a:gd name="T21" fmla="*/ 168 h 521"/>
                <a:gd name="T22" fmla="*/ 671 w 914"/>
                <a:gd name="T23" fmla="*/ 382 h 521"/>
                <a:gd name="T24" fmla="*/ 244 w 914"/>
                <a:gd name="T25" fmla="*/ 382 h 521"/>
                <a:gd name="T26" fmla="*/ 457 w 914"/>
                <a:gd name="T27" fmla="*/ 168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14" h="521">
                  <a:moveTo>
                    <a:pt x="11" y="478"/>
                  </a:moveTo>
                  <a:cubicBezTo>
                    <a:pt x="22" y="504"/>
                    <a:pt x="47" y="521"/>
                    <a:pt x="75" y="521"/>
                  </a:cubicBezTo>
                  <a:cubicBezTo>
                    <a:pt x="839" y="521"/>
                    <a:pt x="839" y="521"/>
                    <a:pt x="839" y="521"/>
                  </a:cubicBezTo>
                  <a:cubicBezTo>
                    <a:pt x="867" y="521"/>
                    <a:pt x="892" y="504"/>
                    <a:pt x="903" y="478"/>
                  </a:cubicBezTo>
                  <a:cubicBezTo>
                    <a:pt x="914" y="452"/>
                    <a:pt x="908" y="422"/>
                    <a:pt x="888" y="402"/>
                  </a:cubicBezTo>
                  <a:cubicBezTo>
                    <a:pt x="506" y="21"/>
                    <a:pt x="506" y="21"/>
                    <a:pt x="506" y="21"/>
                  </a:cubicBezTo>
                  <a:cubicBezTo>
                    <a:pt x="493" y="8"/>
                    <a:pt x="476" y="0"/>
                    <a:pt x="457" y="0"/>
                  </a:cubicBezTo>
                  <a:cubicBezTo>
                    <a:pt x="439" y="0"/>
                    <a:pt x="421" y="8"/>
                    <a:pt x="408" y="21"/>
                  </a:cubicBezTo>
                  <a:cubicBezTo>
                    <a:pt x="26" y="402"/>
                    <a:pt x="26" y="402"/>
                    <a:pt x="26" y="402"/>
                  </a:cubicBezTo>
                  <a:cubicBezTo>
                    <a:pt x="6" y="422"/>
                    <a:pt x="0" y="452"/>
                    <a:pt x="11" y="478"/>
                  </a:cubicBezTo>
                  <a:close/>
                  <a:moveTo>
                    <a:pt x="457" y="168"/>
                  </a:moveTo>
                  <a:cubicBezTo>
                    <a:pt x="671" y="382"/>
                    <a:pt x="671" y="382"/>
                    <a:pt x="671" y="382"/>
                  </a:cubicBezTo>
                  <a:cubicBezTo>
                    <a:pt x="244" y="382"/>
                    <a:pt x="244" y="382"/>
                    <a:pt x="244" y="382"/>
                  </a:cubicBezTo>
                  <a:lnTo>
                    <a:pt x="457" y="168"/>
                  </a:lnTo>
                  <a:close/>
                </a:path>
              </a:pathLst>
            </a:custGeom>
            <a:grpFill/>
            <a:ln>
              <a:noFill/>
            </a:ln>
            <a:extLst>
              <a:ext uri="{91240B29-F687-4F45-9708-019B960494DF}">
                <a14:hiddenLine xmlns:a14="http://schemas.microsoft.com/office/drawing/2010/main" w="0" cap="flat" cmpd="sng" algn="ctr">
                  <a:solidFill>
                    <a:srgbClr val="FFFFFF">
                      <a:alpha val="0"/>
                    </a:srgbClr>
                  </a:solidFill>
                  <a:prstDash val="solid"/>
                  <a:round/>
                  <a:headEnd type="none" w="med" len="med"/>
                  <a:tailEnd type="none" w="med" len="me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Freeform 18"/>
            <p:cNvSpPr>
              <a:spLocks noEditPoints="1"/>
            </p:cNvSpPr>
            <p:nvPr/>
          </p:nvSpPr>
          <p:spPr bwMode="auto">
            <a:xfrm>
              <a:off x="-6350" y="3197225"/>
              <a:ext cx="7650163" cy="3525838"/>
            </a:xfrm>
            <a:custGeom>
              <a:avLst/>
              <a:gdLst>
                <a:gd name="T0" fmla="*/ 3188 w 3200"/>
                <a:gd name="T1" fmla="*/ 36 h 1475"/>
                <a:gd name="T2" fmla="*/ 3127 w 3200"/>
                <a:gd name="T3" fmla="*/ 0 h 1475"/>
                <a:gd name="T4" fmla="*/ 74 w 3200"/>
                <a:gd name="T5" fmla="*/ 0 h 1475"/>
                <a:gd name="T6" fmla="*/ 12 w 3200"/>
                <a:gd name="T7" fmla="*/ 36 h 1475"/>
                <a:gd name="T8" fmla="*/ 16 w 3200"/>
                <a:gd name="T9" fmla="*/ 108 h 1475"/>
                <a:gd name="T10" fmla="*/ 639 w 3200"/>
                <a:gd name="T11" fmla="*/ 1042 h 1475"/>
                <a:gd name="T12" fmla="*/ 577 w 3200"/>
                <a:gd name="T13" fmla="*/ 1211 h 1475"/>
                <a:gd name="T14" fmla="*/ 837 w 3200"/>
                <a:gd name="T15" fmla="*/ 1471 h 1475"/>
                <a:gd name="T16" fmla="*/ 1087 w 3200"/>
                <a:gd name="T17" fmla="*/ 1284 h 1475"/>
                <a:gd name="T18" fmla="*/ 2113 w 3200"/>
                <a:gd name="T19" fmla="*/ 1284 h 1475"/>
                <a:gd name="T20" fmla="*/ 2363 w 3200"/>
                <a:gd name="T21" fmla="*/ 1475 h 1475"/>
                <a:gd name="T22" fmla="*/ 2624 w 3200"/>
                <a:gd name="T23" fmla="*/ 1214 h 1475"/>
                <a:gd name="T24" fmla="*/ 2560 w 3200"/>
                <a:gd name="T25" fmla="*/ 1044 h 1475"/>
                <a:gd name="T26" fmla="*/ 3185 w 3200"/>
                <a:gd name="T27" fmla="*/ 108 h 1475"/>
                <a:gd name="T28" fmla="*/ 3188 w 3200"/>
                <a:gd name="T29" fmla="*/ 36 h 1475"/>
                <a:gd name="T30" fmla="*/ 837 w 3200"/>
                <a:gd name="T31" fmla="*/ 1332 h 1475"/>
                <a:gd name="T32" fmla="*/ 716 w 3200"/>
                <a:gd name="T33" fmla="*/ 1211 h 1475"/>
                <a:gd name="T34" fmla="*/ 837 w 3200"/>
                <a:gd name="T35" fmla="*/ 1090 h 1475"/>
                <a:gd name="T36" fmla="*/ 958 w 3200"/>
                <a:gd name="T37" fmla="*/ 1211 h 1475"/>
                <a:gd name="T38" fmla="*/ 837 w 3200"/>
                <a:gd name="T39" fmla="*/ 1332 h 1475"/>
                <a:gd name="T40" fmla="*/ 2363 w 3200"/>
                <a:gd name="T41" fmla="*/ 1335 h 1475"/>
                <a:gd name="T42" fmla="*/ 2242 w 3200"/>
                <a:gd name="T43" fmla="*/ 1214 h 1475"/>
                <a:gd name="T44" fmla="*/ 2363 w 3200"/>
                <a:gd name="T45" fmla="*/ 1093 h 1475"/>
                <a:gd name="T46" fmla="*/ 2485 w 3200"/>
                <a:gd name="T47" fmla="*/ 1214 h 1475"/>
                <a:gd name="T48" fmla="*/ 2363 w 3200"/>
                <a:gd name="T49" fmla="*/ 1335 h 1475"/>
                <a:gd name="T50" fmla="*/ 2445 w 3200"/>
                <a:gd name="T51" fmla="*/ 967 h 1475"/>
                <a:gd name="T52" fmla="*/ 2363 w 3200"/>
                <a:gd name="T53" fmla="*/ 954 h 1475"/>
                <a:gd name="T54" fmla="*/ 2113 w 3200"/>
                <a:gd name="T55" fmla="*/ 1145 h 1475"/>
                <a:gd name="T56" fmla="*/ 1089 w 3200"/>
                <a:gd name="T57" fmla="*/ 1145 h 1475"/>
                <a:gd name="T58" fmla="*/ 837 w 3200"/>
                <a:gd name="T59" fmla="*/ 950 h 1475"/>
                <a:gd name="T60" fmla="*/ 754 w 3200"/>
                <a:gd name="T61" fmla="*/ 964 h 1475"/>
                <a:gd name="T62" fmla="*/ 204 w 3200"/>
                <a:gd name="T63" fmla="*/ 139 h 1475"/>
                <a:gd name="T64" fmla="*/ 2997 w 3200"/>
                <a:gd name="T65" fmla="*/ 139 h 1475"/>
                <a:gd name="T66" fmla="*/ 2445 w 3200"/>
                <a:gd name="T67" fmla="*/ 967 h 14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00" h="1475">
                  <a:moveTo>
                    <a:pt x="3188" y="36"/>
                  </a:moveTo>
                  <a:cubicBezTo>
                    <a:pt x="3176" y="14"/>
                    <a:pt x="3152" y="0"/>
                    <a:pt x="3127" y="0"/>
                  </a:cubicBezTo>
                  <a:cubicBezTo>
                    <a:pt x="74" y="0"/>
                    <a:pt x="74" y="0"/>
                    <a:pt x="74" y="0"/>
                  </a:cubicBezTo>
                  <a:cubicBezTo>
                    <a:pt x="48" y="0"/>
                    <a:pt x="24" y="14"/>
                    <a:pt x="12" y="36"/>
                  </a:cubicBezTo>
                  <a:cubicBezTo>
                    <a:pt x="0" y="59"/>
                    <a:pt x="2" y="87"/>
                    <a:pt x="16" y="108"/>
                  </a:cubicBezTo>
                  <a:cubicBezTo>
                    <a:pt x="639" y="1042"/>
                    <a:pt x="639" y="1042"/>
                    <a:pt x="639" y="1042"/>
                  </a:cubicBezTo>
                  <a:cubicBezTo>
                    <a:pt x="600" y="1088"/>
                    <a:pt x="577" y="1147"/>
                    <a:pt x="577" y="1211"/>
                  </a:cubicBezTo>
                  <a:cubicBezTo>
                    <a:pt x="577" y="1354"/>
                    <a:pt x="693" y="1471"/>
                    <a:pt x="837" y="1471"/>
                  </a:cubicBezTo>
                  <a:cubicBezTo>
                    <a:pt x="955" y="1471"/>
                    <a:pt x="1055" y="1392"/>
                    <a:pt x="1087" y="1284"/>
                  </a:cubicBezTo>
                  <a:cubicBezTo>
                    <a:pt x="2113" y="1284"/>
                    <a:pt x="2113" y="1284"/>
                    <a:pt x="2113" y="1284"/>
                  </a:cubicBezTo>
                  <a:cubicBezTo>
                    <a:pt x="2143" y="1394"/>
                    <a:pt x="2244" y="1475"/>
                    <a:pt x="2363" y="1475"/>
                  </a:cubicBezTo>
                  <a:cubicBezTo>
                    <a:pt x="2507" y="1475"/>
                    <a:pt x="2624" y="1358"/>
                    <a:pt x="2624" y="1214"/>
                  </a:cubicBezTo>
                  <a:cubicBezTo>
                    <a:pt x="2624" y="1149"/>
                    <a:pt x="2600" y="1090"/>
                    <a:pt x="2560" y="1044"/>
                  </a:cubicBezTo>
                  <a:cubicBezTo>
                    <a:pt x="3185" y="108"/>
                    <a:pt x="3185" y="108"/>
                    <a:pt x="3185" y="108"/>
                  </a:cubicBezTo>
                  <a:cubicBezTo>
                    <a:pt x="3199" y="87"/>
                    <a:pt x="3200" y="59"/>
                    <a:pt x="3188" y="36"/>
                  </a:cubicBezTo>
                  <a:close/>
                  <a:moveTo>
                    <a:pt x="837" y="1332"/>
                  </a:moveTo>
                  <a:cubicBezTo>
                    <a:pt x="770" y="1332"/>
                    <a:pt x="716" y="1278"/>
                    <a:pt x="716" y="1211"/>
                  </a:cubicBezTo>
                  <a:cubicBezTo>
                    <a:pt x="716" y="1144"/>
                    <a:pt x="770" y="1090"/>
                    <a:pt x="837" y="1090"/>
                  </a:cubicBezTo>
                  <a:cubicBezTo>
                    <a:pt x="904" y="1090"/>
                    <a:pt x="958" y="1144"/>
                    <a:pt x="958" y="1211"/>
                  </a:cubicBezTo>
                  <a:cubicBezTo>
                    <a:pt x="958" y="1278"/>
                    <a:pt x="904" y="1332"/>
                    <a:pt x="837" y="1332"/>
                  </a:cubicBezTo>
                  <a:close/>
                  <a:moveTo>
                    <a:pt x="2363" y="1335"/>
                  </a:moveTo>
                  <a:cubicBezTo>
                    <a:pt x="2297" y="1335"/>
                    <a:pt x="2242" y="1281"/>
                    <a:pt x="2242" y="1214"/>
                  </a:cubicBezTo>
                  <a:cubicBezTo>
                    <a:pt x="2242" y="1147"/>
                    <a:pt x="2297" y="1093"/>
                    <a:pt x="2363" y="1093"/>
                  </a:cubicBezTo>
                  <a:cubicBezTo>
                    <a:pt x="2430" y="1093"/>
                    <a:pt x="2485" y="1147"/>
                    <a:pt x="2485" y="1214"/>
                  </a:cubicBezTo>
                  <a:cubicBezTo>
                    <a:pt x="2485" y="1281"/>
                    <a:pt x="2430" y="1335"/>
                    <a:pt x="2363" y="1335"/>
                  </a:cubicBezTo>
                  <a:close/>
                  <a:moveTo>
                    <a:pt x="2445" y="967"/>
                  </a:moveTo>
                  <a:cubicBezTo>
                    <a:pt x="2419" y="958"/>
                    <a:pt x="2392" y="954"/>
                    <a:pt x="2363" y="954"/>
                  </a:cubicBezTo>
                  <a:cubicBezTo>
                    <a:pt x="2244" y="954"/>
                    <a:pt x="2143" y="1035"/>
                    <a:pt x="2113" y="1145"/>
                  </a:cubicBezTo>
                  <a:cubicBezTo>
                    <a:pt x="1089" y="1145"/>
                    <a:pt x="1089" y="1145"/>
                    <a:pt x="1089" y="1145"/>
                  </a:cubicBezTo>
                  <a:cubicBezTo>
                    <a:pt x="1059" y="1033"/>
                    <a:pt x="958" y="950"/>
                    <a:pt x="837" y="950"/>
                  </a:cubicBezTo>
                  <a:cubicBezTo>
                    <a:pt x="808" y="950"/>
                    <a:pt x="780" y="955"/>
                    <a:pt x="754" y="964"/>
                  </a:cubicBezTo>
                  <a:cubicBezTo>
                    <a:pt x="204" y="139"/>
                    <a:pt x="204" y="139"/>
                    <a:pt x="204" y="139"/>
                  </a:cubicBezTo>
                  <a:cubicBezTo>
                    <a:pt x="2997" y="139"/>
                    <a:pt x="2997" y="139"/>
                    <a:pt x="2997" y="139"/>
                  </a:cubicBezTo>
                  <a:lnTo>
                    <a:pt x="2445" y="967"/>
                  </a:lnTo>
                  <a:close/>
                </a:path>
              </a:pathLst>
            </a:custGeom>
            <a:grpFill/>
            <a:ln>
              <a:noFill/>
            </a:ln>
            <a:extLst>
              <a:ext uri="{91240B29-F687-4F45-9708-019B960494DF}">
                <a14:hiddenLine xmlns:a14="http://schemas.microsoft.com/office/drawing/2010/main" w="0" cap="flat" cmpd="sng" algn="ctr">
                  <a:solidFill>
                    <a:srgbClr val="FFFFFF">
                      <a:alpha val="0"/>
                    </a:srgbClr>
                  </a:solidFill>
                  <a:prstDash val="solid"/>
                  <a:round/>
                  <a:headEnd type="none" w="med" len="med"/>
                  <a:tailEnd type="none" w="med" len="me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547" name="TextBox 546"/>
          <p:cNvSpPr txBox="1"/>
          <p:nvPr/>
        </p:nvSpPr>
        <p:spPr>
          <a:xfrm>
            <a:off x="5449743" y="1463842"/>
            <a:ext cx="341440" cy="24622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b="1" dirty="0">
                <a:solidFill>
                  <a:schemeClr val="accent4"/>
                </a:solidFill>
              </a:rPr>
              <a:t>133</a:t>
            </a:r>
          </a:p>
        </p:txBody>
      </p:sp>
      <p:grpSp>
        <p:nvGrpSpPr>
          <p:cNvPr id="62" name="CustomIcon"/>
          <p:cNvGrpSpPr>
            <a:grpSpLocks noChangeAspect="1"/>
          </p:cNvGrpSpPr>
          <p:nvPr>
            <p:custDataLst>
              <p:tags r:id="rId4"/>
            </p:custDataLst>
          </p:nvPr>
        </p:nvGrpSpPr>
        <p:grpSpPr>
          <a:xfrm>
            <a:off x="6903096" y="1641333"/>
            <a:ext cx="302002" cy="358978"/>
            <a:chOff x="1588" y="-14288"/>
            <a:chExt cx="5676900" cy="6734176"/>
          </a:xfrm>
          <a:solidFill>
            <a:schemeClr val="accent4"/>
          </a:solidFill>
        </p:grpSpPr>
        <p:sp>
          <p:nvSpPr>
            <p:cNvPr id="55" name="Freeform 50"/>
            <p:cNvSpPr>
              <a:spLocks/>
            </p:cNvSpPr>
            <p:nvPr/>
          </p:nvSpPr>
          <p:spPr bwMode="auto">
            <a:xfrm>
              <a:off x="1370013" y="1011238"/>
              <a:ext cx="606425" cy="1336675"/>
            </a:xfrm>
            <a:custGeom>
              <a:avLst/>
              <a:gdLst>
                <a:gd name="T0" fmla="*/ 211 w 287"/>
                <a:gd name="T1" fmla="*/ 633 h 633"/>
                <a:gd name="T2" fmla="*/ 260 w 287"/>
                <a:gd name="T3" fmla="*/ 613 h 633"/>
                <a:gd name="T4" fmla="*/ 260 w 287"/>
                <a:gd name="T5" fmla="*/ 514 h 633"/>
                <a:gd name="T6" fmla="*/ 260 w 287"/>
                <a:gd name="T7" fmla="*/ 126 h 633"/>
                <a:gd name="T8" fmla="*/ 260 w 287"/>
                <a:gd name="T9" fmla="*/ 27 h 633"/>
                <a:gd name="T10" fmla="*/ 161 w 287"/>
                <a:gd name="T11" fmla="*/ 27 h 633"/>
                <a:gd name="T12" fmla="*/ 161 w 287"/>
                <a:gd name="T13" fmla="*/ 613 h 633"/>
                <a:gd name="T14" fmla="*/ 211 w 287"/>
                <a:gd name="T15" fmla="*/ 633 h 6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7" h="633">
                  <a:moveTo>
                    <a:pt x="211" y="633"/>
                  </a:moveTo>
                  <a:cubicBezTo>
                    <a:pt x="229" y="633"/>
                    <a:pt x="246" y="626"/>
                    <a:pt x="260" y="613"/>
                  </a:cubicBezTo>
                  <a:cubicBezTo>
                    <a:pt x="287" y="585"/>
                    <a:pt x="287" y="541"/>
                    <a:pt x="260" y="514"/>
                  </a:cubicBezTo>
                  <a:cubicBezTo>
                    <a:pt x="153" y="407"/>
                    <a:pt x="153" y="233"/>
                    <a:pt x="260" y="126"/>
                  </a:cubicBezTo>
                  <a:cubicBezTo>
                    <a:pt x="287" y="99"/>
                    <a:pt x="287" y="55"/>
                    <a:pt x="260" y="27"/>
                  </a:cubicBezTo>
                  <a:cubicBezTo>
                    <a:pt x="233" y="0"/>
                    <a:pt x="188" y="0"/>
                    <a:pt x="161" y="27"/>
                  </a:cubicBezTo>
                  <a:cubicBezTo>
                    <a:pt x="0" y="189"/>
                    <a:pt x="0" y="451"/>
                    <a:pt x="161" y="613"/>
                  </a:cubicBezTo>
                  <a:cubicBezTo>
                    <a:pt x="175" y="626"/>
                    <a:pt x="193" y="633"/>
                    <a:pt x="211" y="633"/>
                  </a:cubicBezTo>
                  <a:close/>
                </a:path>
              </a:pathLst>
            </a:custGeom>
            <a:grpFill/>
            <a:ln>
              <a:noFill/>
            </a:ln>
            <a:extLst>
              <a:ext uri="{91240B29-F687-4F45-9708-019B960494DF}">
                <a14:hiddenLine xmlns:a14="http://schemas.microsoft.com/office/drawing/2010/main" w="0" cap="flat" cmpd="sng" algn="ctr">
                  <a:solidFill>
                    <a:srgbClr val="FFFFFF">
                      <a:alpha val="0"/>
                    </a:srgbClr>
                  </a:solidFill>
                  <a:prstDash val="solid"/>
                  <a:round/>
                  <a:headEnd type="none" w="med" len="med"/>
                  <a:tailEnd type="none" w="med" len="med"/>
                </a14:hiddenLine>
              </a:ext>
            </a:extLst>
          </p:spPr>
          <p:txBody>
            <a:bodyPr vert="horz" wrap="square" lIns="91440" tIns="45720" rIns="91440" bIns="45720" numCol="1" anchor="t" anchorCtr="0" compatLnSpc="1">
              <a:prstTxWarp prst="textNoShape">
                <a:avLst/>
              </a:prstTxWarp>
            </a:bodyPr>
            <a:lstStyle/>
            <a:p>
              <a:endParaRPr lang="en-US"/>
            </a:p>
          </p:txBody>
        </p:sp>
        <p:sp>
          <p:nvSpPr>
            <p:cNvPr id="56" name="Freeform 51"/>
            <p:cNvSpPr>
              <a:spLocks/>
            </p:cNvSpPr>
            <p:nvPr/>
          </p:nvSpPr>
          <p:spPr bwMode="auto">
            <a:xfrm>
              <a:off x="728663" y="498475"/>
              <a:ext cx="735013" cy="2362200"/>
            </a:xfrm>
            <a:custGeom>
              <a:avLst/>
              <a:gdLst>
                <a:gd name="T0" fmla="*/ 321 w 348"/>
                <a:gd name="T1" fmla="*/ 27 h 1119"/>
                <a:gd name="T2" fmla="*/ 222 w 348"/>
                <a:gd name="T3" fmla="*/ 27 h 1119"/>
                <a:gd name="T4" fmla="*/ 0 w 348"/>
                <a:gd name="T5" fmla="*/ 563 h 1119"/>
                <a:gd name="T6" fmla="*/ 222 w 348"/>
                <a:gd name="T7" fmla="*/ 1099 h 1119"/>
                <a:gd name="T8" fmla="*/ 272 w 348"/>
                <a:gd name="T9" fmla="*/ 1119 h 1119"/>
                <a:gd name="T10" fmla="*/ 321 w 348"/>
                <a:gd name="T11" fmla="*/ 1099 h 1119"/>
                <a:gd name="T12" fmla="*/ 321 w 348"/>
                <a:gd name="T13" fmla="*/ 1000 h 1119"/>
                <a:gd name="T14" fmla="*/ 321 w 348"/>
                <a:gd name="T15" fmla="*/ 126 h 1119"/>
                <a:gd name="T16" fmla="*/ 321 w 348"/>
                <a:gd name="T17" fmla="*/ 27 h 1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8" h="1119">
                  <a:moveTo>
                    <a:pt x="321" y="27"/>
                  </a:moveTo>
                  <a:cubicBezTo>
                    <a:pt x="294" y="0"/>
                    <a:pt x="249" y="0"/>
                    <a:pt x="222" y="27"/>
                  </a:cubicBezTo>
                  <a:cubicBezTo>
                    <a:pt x="79" y="171"/>
                    <a:pt x="0" y="361"/>
                    <a:pt x="0" y="563"/>
                  </a:cubicBezTo>
                  <a:cubicBezTo>
                    <a:pt x="0" y="765"/>
                    <a:pt x="79" y="955"/>
                    <a:pt x="222" y="1099"/>
                  </a:cubicBezTo>
                  <a:cubicBezTo>
                    <a:pt x="236" y="1112"/>
                    <a:pt x="254" y="1119"/>
                    <a:pt x="272" y="1119"/>
                  </a:cubicBezTo>
                  <a:cubicBezTo>
                    <a:pt x="290" y="1119"/>
                    <a:pt x="307" y="1112"/>
                    <a:pt x="321" y="1099"/>
                  </a:cubicBezTo>
                  <a:cubicBezTo>
                    <a:pt x="348" y="1071"/>
                    <a:pt x="348" y="1027"/>
                    <a:pt x="321" y="1000"/>
                  </a:cubicBezTo>
                  <a:cubicBezTo>
                    <a:pt x="80" y="759"/>
                    <a:pt x="80" y="367"/>
                    <a:pt x="321" y="126"/>
                  </a:cubicBezTo>
                  <a:cubicBezTo>
                    <a:pt x="348" y="99"/>
                    <a:pt x="348" y="55"/>
                    <a:pt x="321" y="27"/>
                  </a:cubicBezTo>
                  <a:close/>
                </a:path>
              </a:pathLst>
            </a:custGeom>
            <a:grpFill/>
            <a:ln>
              <a:noFill/>
            </a:ln>
            <a:extLst>
              <a:ext uri="{91240B29-F687-4F45-9708-019B960494DF}">
                <a14:hiddenLine xmlns:a14="http://schemas.microsoft.com/office/drawing/2010/main" w="0" cap="flat" cmpd="sng" algn="ctr">
                  <a:solidFill>
                    <a:srgbClr val="FFFFFF">
                      <a:alpha val="0"/>
                    </a:srgbClr>
                  </a:solidFill>
                  <a:prstDash val="solid"/>
                  <a:round/>
                  <a:headEnd type="none" w="med" len="med"/>
                  <a:tailEnd type="none" w="med" len="med"/>
                </a14:hiddenLine>
              </a:ext>
            </a:extLst>
          </p:spPr>
          <p:txBody>
            <a:bodyPr vert="horz" wrap="square" lIns="91440" tIns="45720" rIns="91440" bIns="45720" numCol="1" anchor="t" anchorCtr="0" compatLnSpc="1">
              <a:prstTxWarp prst="textNoShape">
                <a:avLst/>
              </a:prstTxWarp>
            </a:bodyPr>
            <a:lstStyle/>
            <a:p>
              <a:endParaRPr lang="en-US"/>
            </a:p>
          </p:txBody>
        </p:sp>
        <p:sp>
          <p:nvSpPr>
            <p:cNvPr id="57" name="Freeform 52"/>
            <p:cNvSpPr>
              <a:spLocks/>
            </p:cNvSpPr>
            <p:nvPr/>
          </p:nvSpPr>
          <p:spPr bwMode="auto">
            <a:xfrm>
              <a:off x="1588" y="-14288"/>
              <a:ext cx="949325" cy="3389313"/>
            </a:xfrm>
            <a:custGeom>
              <a:avLst/>
              <a:gdLst>
                <a:gd name="T0" fmla="*/ 422 w 449"/>
                <a:gd name="T1" fmla="*/ 126 h 1605"/>
                <a:gd name="T2" fmla="*/ 422 w 449"/>
                <a:gd name="T3" fmla="*/ 27 h 1605"/>
                <a:gd name="T4" fmla="*/ 323 w 449"/>
                <a:gd name="T5" fmla="*/ 27 h 1605"/>
                <a:gd name="T6" fmla="*/ 0 w 449"/>
                <a:gd name="T7" fmla="*/ 806 h 1605"/>
                <a:gd name="T8" fmla="*/ 323 w 449"/>
                <a:gd name="T9" fmla="*/ 1585 h 1605"/>
                <a:gd name="T10" fmla="*/ 373 w 449"/>
                <a:gd name="T11" fmla="*/ 1605 h 1605"/>
                <a:gd name="T12" fmla="*/ 422 w 449"/>
                <a:gd name="T13" fmla="*/ 1585 h 1605"/>
                <a:gd name="T14" fmla="*/ 422 w 449"/>
                <a:gd name="T15" fmla="*/ 1486 h 1605"/>
                <a:gd name="T16" fmla="*/ 422 w 449"/>
                <a:gd name="T17" fmla="*/ 126 h 16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9" h="1605">
                  <a:moveTo>
                    <a:pt x="422" y="126"/>
                  </a:moveTo>
                  <a:cubicBezTo>
                    <a:pt x="449" y="99"/>
                    <a:pt x="449" y="55"/>
                    <a:pt x="422" y="27"/>
                  </a:cubicBezTo>
                  <a:cubicBezTo>
                    <a:pt x="395" y="0"/>
                    <a:pt x="350" y="0"/>
                    <a:pt x="323" y="27"/>
                  </a:cubicBezTo>
                  <a:cubicBezTo>
                    <a:pt x="115" y="236"/>
                    <a:pt x="0" y="512"/>
                    <a:pt x="0" y="806"/>
                  </a:cubicBezTo>
                  <a:cubicBezTo>
                    <a:pt x="0" y="1100"/>
                    <a:pt x="115" y="1376"/>
                    <a:pt x="323" y="1585"/>
                  </a:cubicBezTo>
                  <a:cubicBezTo>
                    <a:pt x="337" y="1598"/>
                    <a:pt x="355" y="1605"/>
                    <a:pt x="373" y="1605"/>
                  </a:cubicBezTo>
                  <a:cubicBezTo>
                    <a:pt x="390" y="1605"/>
                    <a:pt x="408" y="1598"/>
                    <a:pt x="422" y="1585"/>
                  </a:cubicBezTo>
                  <a:cubicBezTo>
                    <a:pt x="449" y="1557"/>
                    <a:pt x="449" y="1513"/>
                    <a:pt x="422" y="1486"/>
                  </a:cubicBezTo>
                  <a:cubicBezTo>
                    <a:pt x="47" y="1111"/>
                    <a:pt x="47" y="501"/>
                    <a:pt x="422" y="126"/>
                  </a:cubicBezTo>
                  <a:close/>
                </a:path>
              </a:pathLst>
            </a:custGeom>
            <a:grpFill/>
            <a:ln>
              <a:noFill/>
            </a:ln>
            <a:extLst>
              <a:ext uri="{91240B29-F687-4F45-9708-019B960494DF}">
                <a14:hiddenLine xmlns:a14="http://schemas.microsoft.com/office/drawing/2010/main" w="0" cap="flat" cmpd="sng" algn="ctr">
                  <a:solidFill>
                    <a:srgbClr val="FFFFFF">
                      <a:alpha val="0"/>
                    </a:srgbClr>
                  </a:solidFill>
                  <a:prstDash val="solid"/>
                  <a:round/>
                  <a:headEnd type="none" w="med" len="med"/>
                  <a:tailEnd type="none" w="med" len="med"/>
                </a14:hiddenLine>
              </a:ext>
            </a:extLst>
          </p:spPr>
          <p:txBody>
            <a:bodyPr vert="horz" wrap="square" lIns="91440" tIns="45720" rIns="91440" bIns="45720" numCol="1" anchor="t" anchorCtr="0" compatLnSpc="1">
              <a:prstTxWarp prst="textNoShape">
                <a:avLst/>
              </a:prstTxWarp>
            </a:bodyPr>
            <a:lstStyle/>
            <a:p>
              <a:endParaRPr lang="en-US"/>
            </a:p>
          </p:txBody>
        </p:sp>
        <p:sp>
          <p:nvSpPr>
            <p:cNvPr id="58" name="Freeform 53"/>
            <p:cNvSpPr>
              <a:spLocks/>
            </p:cNvSpPr>
            <p:nvPr/>
          </p:nvSpPr>
          <p:spPr bwMode="auto">
            <a:xfrm>
              <a:off x="3705225" y="1011238"/>
              <a:ext cx="520700" cy="1336675"/>
            </a:xfrm>
            <a:custGeom>
              <a:avLst/>
              <a:gdLst>
                <a:gd name="T0" fmla="*/ 27 w 247"/>
                <a:gd name="T1" fmla="*/ 27 h 633"/>
                <a:gd name="T2" fmla="*/ 27 w 247"/>
                <a:gd name="T3" fmla="*/ 126 h 633"/>
                <a:gd name="T4" fmla="*/ 107 w 247"/>
                <a:gd name="T5" fmla="*/ 320 h 633"/>
                <a:gd name="T6" fmla="*/ 27 w 247"/>
                <a:gd name="T7" fmla="*/ 514 h 633"/>
                <a:gd name="T8" fmla="*/ 27 w 247"/>
                <a:gd name="T9" fmla="*/ 613 h 633"/>
                <a:gd name="T10" fmla="*/ 76 w 247"/>
                <a:gd name="T11" fmla="*/ 633 h 633"/>
                <a:gd name="T12" fmla="*/ 126 w 247"/>
                <a:gd name="T13" fmla="*/ 613 h 633"/>
                <a:gd name="T14" fmla="*/ 247 w 247"/>
                <a:gd name="T15" fmla="*/ 320 h 633"/>
                <a:gd name="T16" fmla="*/ 126 w 247"/>
                <a:gd name="T17" fmla="*/ 27 h 633"/>
                <a:gd name="T18" fmla="*/ 27 w 247"/>
                <a:gd name="T19" fmla="*/ 27 h 6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7" h="633">
                  <a:moveTo>
                    <a:pt x="27" y="27"/>
                  </a:moveTo>
                  <a:cubicBezTo>
                    <a:pt x="0" y="55"/>
                    <a:pt x="0" y="99"/>
                    <a:pt x="27" y="126"/>
                  </a:cubicBezTo>
                  <a:cubicBezTo>
                    <a:pt x="79" y="178"/>
                    <a:pt x="107" y="247"/>
                    <a:pt x="107" y="320"/>
                  </a:cubicBezTo>
                  <a:cubicBezTo>
                    <a:pt x="107" y="393"/>
                    <a:pt x="79" y="462"/>
                    <a:pt x="27" y="514"/>
                  </a:cubicBezTo>
                  <a:cubicBezTo>
                    <a:pt x="0" y="541"/>
                    <a:pt x="0" y="585"/>
                    <a:pt x="27" y="613"/>
                  </a:cubicBezTo>
                  <a:cubicBezTo>
                    <a:pt x="41" y="626"/>
                    <a:pt x="58" y="633"/>
                    <a:pt x="76" y="633"/>
                  </a:cubicBezTo>
                  <a:cubicBezTo>
                    <a:pt x="94" y="633"/>
                    <a:pt x="112" y="626"/>
                    <a:pt x="126" y="613"/>
                  </a:cubicBezTo>
                  <a:cubicBezTo>
                    <a:pt x="204" y="534"/>
                    <a:pt x="247" y="430"/>
                    <a:pt x="247" y="320"/>
                  </a:cubicBezTo>
                  <a:cubicBezTo>
                    <a:pt x="247" y="210"/>
                    <a:pt x="204" y="106"/>
                    <a:pt x="126" y="27"/>
                  </a:cubicBezTo>
                  <a:cubicBezTo>
                    <a:pt x="99" y="0"/>
                    <a:pt x="54" y="0"/>
                    <a:pt x="27" y="27"/>
                  </a:cubicBezTo>
                  <a:close/>
                </a:path>
              </a:pathLst>
            </a:custGeom>
            <a:grpFill/>
            <a:ln>
              <a:noFill/>
            </a:ln>
            <a:extLst>
              <a:ext uri="{91240B29-F687-4F45-9708-019B960494DF}">
                <a14:hiddenLine xmlns:a14="http://schemas.microsoft.com/office/drawing/2010/main" w="0" cap="flat" cmpd="sng" algn="ctr">
                  <a:solidFill>
                    <a:srgbClr val="FFFFFF">
                      <a:alpha val="0"/>
                    </a:srgbClr>
                  </a:solidFill>
                  <a:prstDash val="solid"/>
                  <a:round/>
                  <a:headEnd type="none" w="med" len="med"/>
                  <a:tailEnd type="none" w="med" len="med"/>
                </a14:hiddenLine>
              </a:ext>
            </a:extLst>
          </p:spPr>
          <p:txBody>
            <a:bodyPr vert="horz" wrap="square" lIns="91440" tIns="45720" rIns="91440" bIns="45720" numCol="1" anchor="t" anchorCtr="0" compatLnSpc="1">
              <a:prstTxWarp prst="textNoShape">
                <a:avLst/>
              </a:prstTxWarp>
            </a:bodyPr>
            <a:lstStyle/>
            <a:p>
              <a:endParaRPr lang="en-US"/>
            </a:p>
          </p:txBody>
        </p:sp>
        <p:sp>
          <p:nvSpPr>
            <p:cNvPr id="59" name="Freeform 54"/>
            <p:cNvSpPr>
              <a:spLocks/>
            </p:cNvSpPr>
            <p:nvPr/>
          </p:nvSpPr>
          <p:spPr bwMode="auto">
            <a:xfrm>
              <a:off x="4217988" y="498475"/>
              <a:ext cx="735013" cy="2362200"/>
            </a:xfrm>
            <a:custGeom>
              <a:avLst/>
              <a:gdLst>
                <a:gd name="T0" fmla="*/ 126 w 348"/>
                <a:gd name="T1" fmla="*/ 27 h 1119"/>
                <a:gd name="T2" fmla="*/ 27 w 348"/>
                <a:gd name="T3" fmla="*/ 27 h 1119"/>
                <a:gd name="T4" fmla="*/ 27 w 348"/>
                <a:gd name="T5" fmla="*/ 126 h 1119"/>
                <a:gd name="T6" fmla="*/ 27 w 348"/>
                <a:gd name="T7" fmla="*/ 1000 h 1119"/>
                <a:gd name="T8" fmla="*/ 27 w 348"/>
                <a:gd name="T9" fmla="*/ 1099 h 1119"/>
                <a:gd name="T10" fmla="*/ 76 w 348"/>
                <a:gd name="T11" fmla="*/ 1119 h 1119"/>
                <a:gd name="T12" fmla="*/ 126 w 348"/>
                <a:gd name="T13" fmla="*/ 1099 h 1119"/>
                <a:gd name="T14" fmla="*/ 348 w 348"/>
                <a:gd name="T15" fmla="*/ 563 h 1119"/>
                <a:gd name="T16" fmla="*/ 126 w 348"/>
                <a:gd name="T17" fmla="*/ 27 h 1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8" h="1119">
                  <a:moveTo>
                    <a:pt x="126" y="27"/>
                  </a:moveTo>
                  <a:cubicBezTo>
                    <a:pt x="99" y="0"/>
                    <a:pt x="54" y="0"/>
                    <a:pt x="27" y="27"/>
                  </a:cubicBezTo>
                  <a:cubicBezTo>
                    <a:pt x="0" y="55"/>
                    <a:pt x="0" y="99"/>
                    <a:pt x="27" y="126"/>
                  </a:cubicBezTo>
                  <a:cubicBezTo>
                    <a:pt x="268" y="367"/>
                    <a:pt x="268" y="759"/>
                    <a:pt x="27" y="1000"/>
                  </a:cubicBezTo>
                  <a:cubicBezTo>
                    <a:pt x="0" y="1027"/>
                    <a:pt x="0" y="1071"/>
                    <a:pt x="27" y="1099"/>
                  </a:cubicBezTo>
                  <a:cubicBezTo>
                    <a:pt x="41" y="1112"/>
                    <a:pt x="58" y="1119"/>
                    <a:pt x="76" y="1119"/>
                  </a:cubicBezTo>
                  <a:cubicBezTo>
                    <a:pt x="94" y="1119"/>
                    <a:pt x="112" y="1112"/>
                    <a:pt x="126" y="1099"/>
                  </a:cubicBezTo>
                  <a:cubicBezTo>
                    <a:pt x="269" y="955"/>
                    <a:pt x="348" y="765"/>
                    <a:pt x="348" y="563"/>
                  </a:cubicBezTo>
                  <a:cubicBezTo>
                    <a:pt x="348" y="361"/>
                    <a:pt x="269" y="171"/>
                    <a:pt x="126" y="27"/>
                  </a:cubicBezTo>
                  <a:close/>
                </a:path>
              </a:pathLst>
            </a:custGeom>
            <a:grpFill/>
            <a:ln>
              <a:noFill/>
            </a:ln>
            <a:extLst>
              <a:ext uri="{91240B29-F687-4F45-9708-019B960494DF}">
                <a14:hiddenLine xmlns:a14="http://schemas.microsoft.com/office/drawing/2010/main" w="0" cap="flat" cmpd="sng" algn="ctr">
                  <a:solidFill>
                    <a:srgbClr val="FFFFFF">
                      <a:alpha val="0"/>
                    </a:srgbClr>
                  </a:solidFill>
                  <a:prstDash val="solid"/>
                  <a:round/>
                  <a:headEnd type="none" w="med" len="med"/>
                  <a:tailEnd type="none" w="med" len="med"/>
                </a14:hiddenLine>
              </a:ext>
            </a:extLst>
          </p:spPr>
          <p:txBody>
            <a:bodyPr vert="horz" wrap="square" lIns="91440" tIns="45720" rIns="91440" bIns="45720" numCol="1" anchor="t" anchorCtr="0" compatLnSpc="1">
              <a:prstTxWarp prst="textNoShape">
                <a:avLst/>
              </a:prstTxWarp>
            </a:bodyPr>
            <a:lstStyle/>
            <a:p>
              <a:endParaRPr lang="en-US"/>
            </a:p>
          </p:txBody>
        </p:sp>
        <p:sp>
          <p:nvSpPr>
            <p:cNvPr id="60" name="Freeform 55"/>
            <p:cNvSpPr>
              <a:spLocks/>
            </p:cNvSpPr>
            <p:nvPr/>
          </p:nvSpPr>
          <p:spPr bwMode="auto">
            <a:xfrm>
              <a:off x="4730750" y="-14288"/>
              <a:ext cx="947738" cy="3389313"/>
            </a:xfrm>
            <a:custGeom>
              <a:avLst/>
              <a:gdLst>
                <a:gd name="T0" fmla="*/ 126 w 449"/>
                <a:gd name="T1" fmla="*/ 27 h 1605"/>
                <a:gd name="T2" fmla="*/ 27 w 449"/>
                <a:gd name="T3" fmla="*/ 27 h 1605"/>
                <a:gd name="T4" fmla="*/ 27 w 449"/>
                <a:gd name="T5" fmla="*/ 126 h 1605"/>
                <a:gd name="T6" fmla="*/ 309 w 449"/>
                <a:gd name="T7" fmla="*/ 806 h 1605"/>
                <a:gd name="T8" fmla="*/ 27 w 449"/>
                <a:gd name="T9" fmla="*/ 1486 h 1605"/>
                <a:gd name="T10" fmla="*/ 27 w 449"/>
                <a:gd name="T11" fmla="*/ 1585 h 1605"/>
                <a:gd name="T12" fmla="*/ 76 w 449"/>
                <a:gd name="T13" fmla="*/ 1605 h 1605"/>
                <a:gd name="T14" fmla="*/ 126 w 449"/>
                <a:gd name="T15" fmla="*/ 1585 h 1605"/>
                <a:gd name="T16" fmla="*/ 449 w 449"/>
                <a:gd name="T17" fmla="*/ 806 h 1605"/>
                <a:gd name="T18" fmla="*/ 126 w 449"/>
                <a:gd name="T19" fmla="*/ 27 h 16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9" h="1605">
                  <a:moveTo>
                    <a:pt x="126" y="27"/>
                  </a:moveTo>
                  <a:cubicBezTo>
                    <a:pt x="99" y="0"/>
                    <a:pt x="54" y="0"/>
                    <a:pt x="27" y="27"/>
                  </a:cubicBezTo>
                  <a:cubicBezTo>
                    <a:pt x="0" y="55"/>
                    <a:pt x="0" y="99"/>
                    <a:pt x="27" y="126"/>
                  </a:cubicBezTo>
                  <a:cubicBezTo>
                    <a:pt x="209" y="308"/>
                    <a:pt x="309" y="549"/>
                    <a:pt x="309" y="806"/>
                  </a:cubicBezTo>
                  <a:cubicBezTo>
                    <a:pt x="309" y="1063"/>
                    <a:pt x="209" y="1304"/>
                    <a:pt x="27" y="1486"/>
                  </a:cubicBezTo>
                  <a:cubicBezTo>
                    <a:pt x="0" y="1513"/>
                    <a:pt x="0" y="1557"/>
                    <a:pt x="27" y="1585"/>
                  </a:cubicBezTo>
                  <a:cubicBezTo>
                    <a:pt x="41" y="1598"/>
                    <a:pt x="59" y="1605"/>
                    <a:pt x="76" y="1605"/>
                  </a:cubicBezTo>
                  <a:cubicBezTo>
                    <a:pt x="94" y="1605"/>
                    <a:pt x="112" y="1598"/>
                    <a:pt x="126" y="1585"/>
                  </a:cubicBezTo>
                  <a:cubicBezTo>
                    <a:pt x="334" y="1376"/>
                    <a:pt x="449" y="1100"/>
                    <a:pt x="449" y="806"/>
                  </a:cubicBezTo>
                  <a:cubicBezTo>
                    <a:pt x="449" y="512"/>
                    <a:pt x="334" y="236"/>
                    <a:pt x="126" y="27"/>
                  </a:cubicBezTo>
                  <a:close/>
                </a:path>
              </a:pathLst>
            </a:custGeom>
            <a:grpFill/>
            <a:ln>
              <a:noFill/>
            </a:ln>
            <a:extLst>
              <a:ext uri="{91240B29-F687-4F45-9708-019B960494DF}">
                <a14:hiddenLine xmlns:a14="http://schemas.microsoft.com/office/drawing/2010/main" w="0" cap="flat" cmpd="sng" algn="ctr">
                  <a:solidFill>
                    <a:srgbClr val="FFFFFF">
                      <a:alpha val="0"/>
                    </a:srgbClr>
                  </a:solidFill>
                  <a:prstDash val="solid"/>
                  <a:round/>
                  <a:headEnd type="none" w="med" len="med"/>
                  <a:tailEnd type="none" w="med" len="med"/>
                </a14:hiddenLine>
              </a:ext>
            </a:extLst>
          </p:spPr>
          <p:txBody>
            <a:bodyPr vert="horz" wrap="square" lIns="91440" tIns="45720" rIns="91440" bIns="45720" numCol="1" anchor="t" anchorCtr="0" compatLnSpc="1">
              <a:prstTxWarp prst="textNoShape">
                <a:avLst/>
              </a:prstTxWarp>
            </a:bodyPr>
            <a:lstStyle/>
            <a:p>
              <a:endParaRPr lang="en-US"/>
            </a:p>
          </p:txBody>
        </p:sp>
        <p:sp>
          <p:nvSpPr>
            <p:cNvPr id="61" name="Freeform 56"/>
            <p:cNvSpPr>
              <a:spLocks noEditPoints="1"/>
            </p:cNvSpPr>
            <p:nvPr/>
          </p:nvSpPr>
          <p:spPr bwMode="auto">
            <a:xfrm>
              <a:off x="1533525" y="1231900"/>
              <a:ext cx="2614613" cy="5487988"/>
            </a:xfrm>
            <a:custGeom>
              <a:avLst/>
              <a:gdLst>
                <a:gd name="T0" fmla="*/ 689 w 1238"/>
                <a:gd name="T1" fmla="*/ 1076 h 2599"/>
                <a:gd name="T2" fmla="*/ 689 w 1238"/>
                <a:gd name="T3" fmla="*/ 420 h 2599"/>
                <a:gd name="T4" fmla="*/ 835 w 1238"/>
                <a:gd name="T5" fmla="*/ 216 h 2599"/>
                <a:gd name="T6" fmla="*/ 619 w 1238"/>
                <a:gd name="T7" fmla="*/ 0 h 2599"/>
                <a:gd name="T8" fmla="*/ 403 w 1238"/>
                <a:gd name="T9" fmla="*/ 216 h 2599"/>
                <a:gd name="T10" fmla="*/ 549 w 1238"/>
                <a:gd name="T11" fmla="*/ 420 h 2599"/>
                <a:gd name="T12" fmla="*/ 549 w 1238"/>
                <a:gd name="T13" fmla="*/ 1076 h 2599"/>
                <a:gd name="T14" fmla="*/ 13 w 1238"/>
                <a:gd name="T15" fmla="*/ 2505 h 2599"/>
                <a:gd name="T16" fmla="*/ 54 w 1238"/>
                <a:gd name="T17" fmla="*/ 2595 h 2599"/>
                <a:gd name="T18" fmla="*/ 79 w 1238"/>
                <a:gd name="T19" fmla="*/ 2599 h 2599"/>
                <a:gd name="T20" fmla="*/ 145 w 1238"/>
                <a:gd name="T21" fmla="*/ 2554 h 2599"/>
                <a:gd name="T22" fmla="*/ 276 w 1238"/>
                <a:gd name="T23" fmla="*/ 2203 h 2599"/>
                <a:gd name="T24" fmla="*/ 962 w 1238"/>
                <a:gd name="T25" fmla="*/ 2203 h 2599"/>
                <a:gd name="T26" fmla="*/ 1093 w 1238"/>
                <a:gd name="T27" fmla="*/ 2554 h 2599"/>
                <a:gd name="T28" fmla="*/ 1159 w 1238"/>
                <a:gd name="T29" fmla="*/ 2599 h 2599"/>
                <a:gd name="T30" fmla="*/ 1184 w 1238"/>
                <a:gd name="T31" fmla="*/ 2595 h 2599"/>
                <a:gd name="T32" fmla="*/ 1225 w 1238"/>
                <a:gd name="T33" fmla="*/ 2505 h 2599"/>
                <a:gd name="T34" fmla="*/ 689 w 1238"/>
                <a:gd name="T35" fmla="*/ 1076 h 2599"/>
                <a:gd name="T36" fmla="*/ 619 w 1238"/>
                <a:gd name="T37" fmla="*/ 1288 h 2599"/>
                <a:gd name="T38" fmla="*/ 761 w 1238"/>
                <a:gd name="T39" fmla="*/ 1667 h 2599"/>
                <a:gd name="T40" fmla="*/ 477 w 1238"/>
                <a:gd name="T41" fmla="*/ 1667 h 2599"/>
                <a:gd name="T42" fmla="*/ 619 w 1238"/>
                <a:gd name="T43" fmla="*/ 1288 h 2599"/>
                <a:gd name="T44" fmla="*/ 329 w 1238"/>
                <a:gd name="T45" fmla="*/ 2063 h 2599"/>
                <a:gd name="T46" fmla="*/ 425 w 1238"/>
                <a:gd name="T47" fmla="*/ 1807 h 2599"/>
                <a:gd name="T48" fmla="*/ 813 w 1238"/>
                <a:gd name="T49" fmla="*/ 1807 h 2599"/>
                <a:gd name="T50" fmla="*/ 909 w 1238"/>
                <a:gd name="T51" fmla="*/ 2063 h 2599"/>
                <a:gd name="T52" fmla="*/ 329 w 1238"/>
                <a:gd name="T53" fmla="*/ 2063 h 25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38" h="2599">
                  <a:moveTo>
                    <a:pt x="689" y="1076"/>
                  </a:moveTo>
                  <a:cubicBezTo>
                    <a:pt x="689" y="420"/>
                    <a:pt x="689" y="420"/>
                    <a:pt x="689" y="420"/>
                  </a:cubicBezTo>
                  <a:cubicBezTo>
                    <a:pt x="774" y="391"/>
                    <a:pt x="835" y="311"/>
                    <a:pt x="835" y="216"/>
                  </a:cubicBezTo>
                  <a:cubicBezTo>
                    <a:pt x="835" y="97"/>
                    <a:pt x="738" y="0"/>
                    <a:pt x="619" y="0"/>
                  </a:cubicBezTo>
                  <a:cubicBezTo>
                    <a:pt x="500" y="0"/>
                    <a:pt x="403" y="97"/>
                    <a:pt x="403" y="216"/>
                  </a:cubicBezTo>
                  <a:cubicBezTo>
                    <a:pt x="403" y="311"/>
                    <a:pt x="464" y="391"/>
                    <a:pt x="549" y="420"/>
                  </a:cubicBezTo>
                  <a:cubicBezTo>
                    <a:pt x="549" y="1076"/>
                    <a:pt x="549" y="1076"/>
                    <a:pt x="549" y="1076"/>
                  </a:cubicBezTo>
                  <a:cubicBezTo>
                    <a:pt x="13" y="2505"/>
                    <a:pt x="13" y="2505"/>
                    <a:pt x="13" y="2505"/>
                  </a:cubicBezTo>
                  <a:cubicBezTo>
                    <a:pt x="0" y="2541"/>
                    <a:pt x="18" y="2581"/>
                    <a:pt x="54" y="2595"/>
                  </a:cubicBezTo>
                  <a:cubicBezTo>
                    <a:pt x="63" y="2598"/>
                    <a:pt x="71" y="2599"/>
                    <a:pt x="79" y="2599"/>
                  </a:cubicBezTo>
                  <a:cubicBezTo>
                    <a:pt x="107" y="2599"/>
                    <a:pt x="134" y="2582"/>
                    <a:pt x="145" y="2554"/>
                  </a:cubicBezTo>
                  <a:cubicBezTo>
                    <a:pt x="276" y="2203"/>
                    <a:pt x="276" y="2203"/>
                    <a:pt x="276" y="2203"/>
                  </a:cubicBezTo>
                  <a:cubicBezTo>
                    <a:pt x="962" y="2203"/>
                    <a:pt x="962" y="2203"/>
                    <a:pt x="962" y="2203"/>
                  </a:cubicBezTo>
                  <a:cubicBezTo>
                    <a:pt x="1093" y="2554"/>
                    <a:pt x="1093" y="2554"/>
                    <a:pt x="1093" y="2554"/>
                  </a:cubicBezTo>
                  <a:cubicBezTo>
                    <a:pt x="1104" y="2582"/>
                    <a:pt x="1131" y="2599"/>
                    <a:pt x="1159" y="2599"/>
                  </a:cubicBezTo>
                  <a:cubicBezTo>
                    <a:pt x="1167" y="2599"/>
                    <a:pt x="1175" y="2598"/>
                    <a:pt x="1184" y="2595"/>
                  </a:cubicBezTo>
                  <a:cubicBezTo>
                    <a:pt x="1220" y="2581"/>
                    <a:pt x="1238" y="2541"/>
                    <a:pt x="1225" y="2505"/>
                  </a:cubicBezTo>
                  <a:lnTo>
                    <a:pt x="689" y="1076"/>
                  </a:lnTo>
                  <a:close/>
                  <a:moveTo>
                    <a:pt x="619" y="1288"/>
                  </a:moveTo>
                  <a:cubicBezTo>
                    <a:pt x="761" y="1667"/>
                    <a:pt x="761" y="1667"/>
                    <a:pt x="761" y="1667"/>
                  </a:cubicBezTo>
                  <a:cubicBezTo>
                    <a:pt x="477" y="1667"/>
                    <a:pt x="477" y="1667"/>
                    <a:pt x="477" y="1667"/>
                  </a:cubicBezTo>
                  <a:lnTo>
                    <a:pt x="619" y="1288"/>
                  </a:lnTo>
                  <a:close/>
                  <a:moveTo>
                    <a:pt x="329" y="2063"/>
                  </a:moveTo>
                  <a:cubicBezTo>
                    <a:pt x="425" y="1807"/>
                    <a:pt x="425" y="1807"/>
                    <a:pt x="425" y="1807"/>
                  </a:cubicBezTo>
                  <a:cubicBezTo>
                    <a:pt x="813" y="1807"/>
                    <a:pt x="813" y="1807"/>
                    <a:pt x="813" y="1807"/>
                  </a:cubicBezTo>
                  <a:cubicBezTo>
                    <a:pt x="909" y="2063"/>
                    <a:pt x="909" y="2063"/>
                    <a:pt x="909" y="2063"/>
                  </a:cubicBezTo>
                  <a:lnTo>
                    <a:pt x="329" y="2063"/>
                  </a:lnTo>
                  <a:close/>
                </a:path>
              </a:pathLst>
            </a:custGeom>
            <a:grpFill/>
            <a:ln>
              <a:noFill/>
            </a:ln>
            <a:extLst>
              <a:ext uri="{91240B29-F687-4F45-9708-019B960494DF}">
                <a14:hiddenLine xmlns:a14="http://schemas.microsoft.com/office/drawing/2010/main" w="0" cap="flat" cmpd="sng" algn="ctr">
                  <a:solidFill>
                    <a:srgbClr val="FFFFFF">
                      <a:alpha val="0"/>
                    </a:srgbClr>
                  </a:solidFill>
                  <a:prstDash val="solid"/>
                  <a:round/>
                  <a:headEnd type="none" w="med" len="med"/>
                  <a:tailEnd type="none" w="med" len="me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17" name="TextBox 316"/>
          <p:cNvSpPr txBox="1"/>
          <p:nvPr/>
        </p:nvSpPr>
        <p:spPr>
          <a:xfrm>
            <a:off x="7384767" y="1641333"/>
            <a:ext cx="227626" cy="24622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b="1" dirty="0">
                <a:solidFill>
                  <a:schemeClr val="accent4"/>
                </a:solidFill>
              </a:rPr>
              <a:t>58</a:t>
            </a:r>
          </a:p>
        </p:txBody>
      </p:sp>
      <p:sp>
        <p:nvSpPr>
          <p:cNvPr id="27" name="TextBox 26">
            <a:extLst>
              <a:ext uri="{FF2B5EF4-FFF2-40B4-BE49-F238E27FC236}">
                <a16:creationId xmlns:a16="http://schemas.microsoft.com/office/drawing/2014/main" id="{F8942F8C-70A0-4085-AFE5-11B72BD7C584}"/>
              </a:ext>
            </a:extLst>
          </p:cNvPr>
          <p:cNvSpPr txBox="1">
            <a:spLocks/>
          </p:cNvSpPr>
          <p:nvPr/>
        </p:nvSpPr>
        <p:spPr>
          <a:xfrm>
            <a:off x="5014037" y="1089904"/>
            <a:ext cx="2119231" cy="246221"/>
          </a:xfrm>
          <a:prstGeom prst="rect">
            <a:avLst/>
          </a:prstGeom>
        </p:spPr>
        <p:txBody>
          <a:bodyPr vert="horz" wrap="square" lIns="0" tIns="0" rIns="0" bIns="0" rtlCol="0">
            <a:sp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fontAlgn="auto">
              <a:spcBef>
                <a:spcPts val="0"/>
              </a:spcBef>
              <a:spcAft>
                <a:spcPts val="0"/>
              </a:spcAft>
              <a:defRPr/>
            </a:pPr>
            <a:r>
              <a:rPr kumimoji="1" lang="en-IN" altLang="ja-JP" sz="1600" b="1" kern="0" dirty="0">
                <a:solidFill>
                  <a:schemeClr val="accent4"/>
                </a:solidFill>
              </a:rPr>
              <a:t>Energy &amp; materials</a:t>
            </a:r>
            <a:endParaRPr kumimoji="1" lang="ja-JP" altLang="en-US" sz="1600" b="1" kern="0" dirty="0" err="1">
              <a:solidFill>
                <a:schemeClr val="accent4"/>
              </a:solidFill>
            </a:endParaRPr>
          </a:p>
        </p:txBody>
      </p:sp>
      <p:sp>
        <p:nvSpPr>
          <p:cNvPr id="42" name="TextBox 41">
            <a:extLst>
              <a:ext uri="{FF2B5EF4-FFF2-40B4-BE49-F238E27FC236}">
                <a16:creationId xmlns:a16="http://schemas.microsoft.com/office/drawing/2014/main" id="{0C456FFF-1B3C-4BC1-9FD8-1C8FC3BA5829}"/>
              </a:ext>
            </a:extLst>
          </p:cNvPr>
          <p:cNvSpPr txBox="1">
            <a:spLocks/>
          </p:cNvSpPr>
          <p:nvPr/>
        </p:nvSpPr>
        <p:spPr>
          <a:xfrm>
            <a:off x="6903096" y="1101243"/>
            <a:ext cx="1728555" cy="492443"/>
          </a:xfrm>
          <a:prstGeom prst="rect">
            <a:avLst/>
          </a:prstGeom>
        </p:spPr>
        <p:txBody>
          <a:bodyPr vert="horz" wrap="square" lIns="0" tIns="0" rIns="0" bIns="0" rtlCol="0">
            <a:sp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fontAlgn="auto">
              <a:spcBef>
                <a:spcPts val="0"/>
              </a:spcBef>
              <a:spcAft>
                <a:spcPts val="0"/>
              </a:spcAft>
              <a:defRPr/>
            </a:pPr>
            <a:r>
              <a:rPr kumimoji="1" lang="en-US" altLang="ja-JP" sz="1600" b="1" kern="0" dirty="0">
                <a:solidFill>
                  <a:schemeClr val="accent4"/>
                </a:solidFill>
              </a:rPr>
              <a:t>Telecom, Media, Tech</a:t>
            </a:r>
            <a:endParaRPr kumimoji="1" lang="ja-JP" altLang="en-US" sz="1600" b="1" kern="0" dirty="0" err="1">
              <a:solidFill>
                <a:schemeClr val="accent4"/>
              </a:solidFill>
            </a:endParaRPr>
          </a:p>
        </p:txBody>
      </p:sp>
      <p:grpSp>
        <p:nvGrpSpPr>
          <p:cNvPr id="531" name="CustomIcon"/>
          <p:cNvGrpSpPr>
            <a:grpSpLocks noChangeAspect="1"/>
          </p:cNvGrpSpPr>
          <p:nvPr>
            <p:custDataLst>
              <p:tags r:id="rId5"/>
            </p:custDataLst>
          </p:nvPr>
        </p:nvGrpSpPr>
        <p:grpSpPr>
          <a:xfrm>
            <a:off x="6903096" y="2751455"/>
            <a:ext cx="380224" cy="372379"/>
            <a:chOff x="0" y="0"/>
            <a:chExt cx="6875463" cy="6719888"/>
          </a:xfrm>
          <a:solidFill>
            <a:schemeClr val="accent4"/>
          </a:solidFill>
        </p:grpSpPr>
        <p:sp>
          <p:nvSpPr>
            <p:cNvPr id="527" name="Freeform 61"/>
            <p:cNvSpPr>
              <a:spLocks noEditPoints="1"/>
            </p:cNvSpPr>
            <p:nvPr/>
          </p:nvSpPr>
          <p:spPr bwMode="auto">
            <a:xfrm>
              <a:off x="3441700" y="0"/>
              <a:ext cx="3433763" cy="2808288"/>
            </a:xfrm>
            <a:custGeom>
              <a:avLst/>
              <a:gdLst>
                <a:gd name="T0" fmla="*/ 1524 w 1595"/>
                <a:gd name="T1" fmla="*/ 0 h 1305"/>
                <a:gd name="T2" fmla="*/ 71 w 1595"/>
                <a:gd name="T3" fmla="*/ 0 h 1305"/>
                <a:gd name="T4" fmla="*/ 0 w 1595"/>
                <a:gd name="T5" fmla="*/ 71 h 1305"/>
                <a:gd name="T6" fmla="*/ 0 w 1595"/>
                <a:gd name="T7" fmla="*/ 943 h 1305"/>
                <a:gd name="T8" fmla="*/ 71 w 1595"/>
                <a:gd name="T9" fmla="*/ 1014 h 1305"/>
                <a:gd name="T10" fmla="*/ 727 w 1595"/>
                <a:gd name="T11" fmla="*/ 1014 h 1305"/>
                <a:gd name="T12" fmla="*/ 727 w 1595"/>
                <a:gd name="T13" fmla="*/ 1163 h 1305"/>
                <a:gd name="T14" fmla="*/ 507 w 1595"/>
                <a:gd name="T15" fmla="*/ 1163 h 1305"/>
                <a:gd name="T16" fmla="*/ 436 w 1595"/>
                <a:gd name="T17" fmla="*/ 1234 h 1305"/>
                <a:gd name="T18" fmla="*/ 507 w 1595"/>
                <a:gd name="T19" fmla="*/ 1305 h 1305"/>
                <a:gd name="T20" fmla="*/ 1088 w 1595"/>
                <a:gd name="T21" fmla="*/ 1305 h 1305"/>
                <a:gd name="T22" fmla="*/ 1159 w 1595"/>
                <a:gd name="T23" fmla="*/ 1234 h 1305"/>
                <a:gd name="T24" fmla="*/ 1088 w 1595"/>
                <a:gd name="T25" fmla="*/ 1163 h 1305"/>
                <a:gd name="T26" fmla="*/ 868 w 1595"/>
                <a:gd name="T27" fmla="*/ 1163 h 1305"/>
                <a:gd name="T28" fmla="*/ 868 w 1595"/>
                <a:gd name="T29" fmla="*/ 1014 h 1305"/>
                <a:gd name="T30" fmla="*/ 1524 w 1595"/>
                <a:gd name="T31" fmla="*/ 1014 h 1305"/>
                <a:gd name="T32" fmla="*/ 1595 w 1595"/>
                <a:gd name="T33" fmla="*/ 943 h 1305"/>
                <a:gd name="T34" fmla="*/ 1595 w 1595"/>
                <a:gd name="T35" fmla="*/ 71 h 1305"/>
                <a:gd name="T36" fmla="*/ 1524 w 1595"/>
                <a:gd name="T37" fmla="*/ 0 h 1305"/>
                <a:gd name="T38" fmla="*/ 1454 w 1595"/>
                <a:gd name="T39" fmla="*/ 873 h 1305"/>
                <a:gd name="T40" fmla="*/ 141 w 1595"/>
                <a:gd name="T41" fmla="*/ 873 h 1305"/>
                <a:gd name="T42" fmla="*/ 141 w 1595"/>
                <a:gd name="T43" fmla="*/ 142 h 1305"/>
                <a:gd name="T44" fmla="*/ 1454 w 1595"/>
                <a:gd name="T45" fmla="*/ 142 h 1305"/>
                <a:gd name="T46" fmla="*/ 1454 w 1595"/>
                <a:gd name="T47" fmla="*/ 873 h 1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595" h="1305">
                  <a:moveTo>
                    <a:pt x="1524" y="0"/>
                  </a:moveTo>
                  <a:cubicBezTo>
                    <a:pt x="71" y="0"/>
                    <a:pt x="71" y="0"/>
                    <a:pt x="71" y="0"/>
                  </a:cubicBezTo>
                  <a:cubicBezTo>
                    <a:pt x="32" y="0"/>
                    <a:pt x="0" y="32"/>
                    <a:pt x="0" y="71"/>
                  </a:cubicBezTo>
                  <a:cubicBezTo>
                    <a:pt x="0" y="943"/>
                    <a:pt x="0" y="943"/>
                    <a:pt x="0" y="943"/>
                  </a:cubicBezTo>
                  <a:cubicBezTo>
                    <a:pt x="0" y="982"/>
                    <a:pt x="32" y="1014"/>
                    <a:pt x="71" y="1014"/>
                  </a:cubicBezTo>
                  <a:cubicBezTo>
                    <a:pt x="727" y="1014"/>
                    <a:pt x="727" y="1014"/>
                    <a:pt x="727" y="1014"/>
                  </a:cubicBezTo>
                  <a:cubicBezTo>
                    <a:pt x="727" y="1163"/>
                    <a:pt x="727" y="1163"/>
                    <a:pt x="727" y="1163"/>
                  </a:cubicBezTo>
                  <a:cubicBezTo>
                    <a:pt x="507" y="1163"/>
                    <a:pt x="507" y="1163"/>
                    <a:pt x="507" y="1163"/>
                  </a:cubicBezTo>
                  <a:cubicBezTo>
                    <a:pt x="468" y="1163"/>
                    <a:pt x="436" y="1195"/>
                    <a:pt x="436" y="1234"/>
                  </a:cubicBezTo>
                  <a:cubicBezTo>
                    <a:pt x="436" y="1273"/>
                    <a:pt x="468" y="1305"/>
                    <a:pt x="507" y="1305"/>
                  </a:cubicBezTo>
                  <a:cubicBezTo>
                    <a:pt x="1088" y="1305"/>
                    <a:pt x="1088" y="1305"/>
                    <a:pt x="1088" y="1305"/>
                  </a:cubicBezTo>
                  <a:cubicBezTo>
                    <a:pt x="1127" y="1305"/>
                    <a:pt x="1159" y="1273"/>
                    <a:pt x="1159" y="1234"/>
                  </a:cubicBezTo>
                  <a:cubicBezTo>
                    <a:pt x="1159" y="1195"/>
                    <a:pt x="1127" y="1163"/>
                    <a:pt x="1088" y="1163"/>
                  </a:cubicBezTo>
                  <a:cubicBezTo>
                    <a:pt x="868" y="1163"/>
                    <a:pt x="868" y="1163"/>
                    <a:pt x="868" y="1163"/>
                  </a:cubicBezTo>
                  <a:cubicBezTo>
                    <a:pt x="868" y="1014"/>
                    <a:pt x="868" y="1014"/>
                    <a:pt x="868" y="1014"/>
                  </a:cubicBezTo>
                  <a:cubicBezTo>
                    <a:pt x="1524" y="1014"/>
                    <a:pt x="1524" y="1014"/>
                    <a:pt x="1524" y="1014"/>
                  </a:cubicBezTo>
                  <a:cubicBezTo>
                    <a:pt x="1563" y="1014"/>
                    <a:pt x="1595" y="982"/>
                    <a:pt x="1595" y="943"/>
                  </a:cubicBezTo>
                  <a:cubicBezTo>
                    <a:pt x="1595" y="71"/>
                    <a:pt x="1595" y="71"/>
                    <a:pt x="1595" y="71"/>
                  </a:cubicBezTo>
                  <a:cubicBezTo>
                    <a:pt x="1595" y="32"/>
                    <a:pt x="1563" y="0"/>
                    <a:pt x="1524" y="0"/>
                  </a:cubicBezTo>
                  <a:close/>
                  <a:moveTo>
                    <a:pt x="1454" y="873"/>
                  </a:moveTo>
                  <a:cubicBezTo>
                    <a:pt x="141" y="873"/>
                    <a:pt x="141" y="873"/>
                    <a:pt x="141" y="873"/>
                  </a:cubicBezTo>
                  <a:cubicBezTo>
                    <a:pt x="141" y="142"/>
                    <a:pt x="141" y="142"/>
                    <a:pt x="141" y="142"/>
                  </a:cubicBezTo>
                  <a:cubicBezTo>
                    <a:pt x="1454" y="142"/>
                    <a:pt x="1454" y="142"/>
                    <a:pt x="1454" y="142"/>
                  </a:cubicBezTo>
                  <a:lnTo>
                    <a:pt x="1454" y="873"/>
                  </a:lnTo>
                  <a:close/>
                </a:path>
              </a:pathLst>
            </a:custGeom>
            <a:grpFill/>
            <a:ln>
              <a:noFill/>
            </a:ln>
            <a:extLst>
              <a:ext uri="{91240B29-F687-4F45-9708-019B960494DF}">
                <a14:hiddenLine xmlns:a14="http://schemas.microsoft.com/office/drawing/2010/main" w="0" cap="flat" cmpd="sng" algn="ctr">
                  <a:solidFill>
                    <a:srgbClr val="FFFFFF">
                      <a:alpha val="0"/>
                    </a:srgbClr>
                  </a:solidFill>
                  <a:prstDash val="solid"/>
                  <a:round/>
                  <a:headEnd type="none" w="med" len="med"/>
                  <a:tailEnd type="none" w="med" len="med"/>
                </a14:hiddenLine>
              </a:ext>
            </a:extLst>
          </p:spPr>
          <p:txBody>
            <a:bodyPr vert="horz" wrap="square" lIns="91440" tIns="45720" rIns="91440" bIns="45720" numCol="1" anchor="t" anchorCtr="0" compatLnSpc="1">
              <a:prstTxWarp prst="textNoShape">
                <a:avLst/>
              </a:prstTxWarp>
            </a:bodyPr>
            <a:lstStyle/>
            <a:p>
              <a:endParaRPr lang="en-US"/>
            </a:p>
          </p:txBody>
        </p:sp>
        <p:sp>
          <p:nvSpPr>
            <p:cNvPr id="528" name="Freeform 62"/>
            <p:cNvSpPr>
              <a:spLocks noEditPoints="1"/>
            </p:cNvSpPr>
            <p:nvPr/>
          </p:nvSpPr>
          <p:spPr bwMode="auto">
            <a:xfrm>
              <a:off x="0" y="3910013"/>
              <a:ext cx="3433763" cy="2809875"/>
            </a:xfrm>
            <a:custGeom>
              <a:avLst/>
              <a:gdLst>
                <a:gd name="T0" fmla="*/ 1524 w 1595"/>
                <a:gd name="T1" fmla="*/ 0 h 1305"/>
                <a:gd name="T2" fmla="*/ 71 w 1595"/>
                <a:gd name="T3" fmla="*/ 0 h 1305"/>
                <a:gd name="T4" fmla="*/ 0 w 1595"/>
                <a:gd name="T5" fmla="*/ 71 h 1305"/>
                <a:gd name="T6" fmla="*/ 0 w 1595"/>
                <a:gd name="T7" fmla="*/ 943 h 1305"/>
                <a:gd name="T8" fmla="*/ 71 w 1595"/>
                <a:gd name="T9" fmla="*/ 1014 h 1305"/>
                <a:gd name="T10" fmla="*/ 727 w 1595"/>
                <a:gd name="T11" fmla="*/ 1014 h 1305"/>
                <a:gd name="T12" fmla="*/ 727 w 1595"/>
                <a:gd name="T13" fmla="*/ 1163 h 1305"/>
                <a:gd name="T14" fmla="*/ 543 w 1595"/>
                <a:gd name="T15" fmla="*/ 1163 h 1305"/>
                <a:gd name="T16" fmla="*/ 472 w 1595"/>
                <a:gd name="T17" fmla="*/ 1234 h 1305"/>
                <a:gd name="T18" fmla="*/ 543 w 1595"/>
                <a:gd name="T19" fmla="*/ 1305 h 1305"/>
                <a:gd name="T20" fmla="*/ 1125 w 1595"/>
                <a:gd name="T21" fmla="*/ 1305 h 1305"/>
                <a:gd name="T22" fmla="*/ 1195 w 1595"/>
                <a:gd name="T23" fmla="*/ 1234 h 1305"/>
                <a:gd name="T24" fmla="*/ 1125 w 1595"/>
                <a:gd name="T25" fmla="*/ 1163 h 1305"/>
                <a:gd name="T26" fmla="*/ 868 w 1595"/>
                <a:gd name="T27" fmla="*/ 1163 h 1305"/>
                <a:gd name="T28" fmla="*/ 868 w 1595"/>
                <a:gd name="T29" fmla="*/ 1014 h 1305"/>
                <a:gd name="T30" fmla="*/ 1524 w 1595"/>
                <a:gd name="T31" fmla="*/ 1014 h 1305"/>
                <a:gd name="T32" fmla="*/ 1595 w 1595"/>
                <a:gd name="T33" fmla="*/ 943 h 1305"/>
                <a:gd name="T34" fmla="*/ 1595 w 1595"/>
                <a:gd name="T35" fmla="*/ 71 h 1305"/>
                <a:gd name="T36" fmla="*/ 1524 w 1595"/>
                <a:gd name="T37" fmla="*/ 0 h 1305"/>
                <a:gd name="T38" fmla="*/ 1454 w 1595"/>
                <a:gd name="T39" fmla="*/ 873 h 1305"/>
                <a:gd name="T40" fmla="*/ 141 w 1595"/>
                <a:gd name="T41" fmla="*/ 873 h 1305"/>
                <a:gd name="T42" fmla="*/ 141 w 1595"/>
                <a:gd name="T43" fmla="*/ 142 h 1305"/>
                <a:gd name="T44" fmla="*/ 1454 w 1595"/>
                <a:gd name="T45" fmla="*/ 142 h 1305"/>
                <a:gd name="T46" fmla="*/ 1454 w 1595"/>
                <a:gd name="T47" fmla="*/ 873 h 1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595" h="1305">
                  <a:moveTo>
                    <a:pt x="1524" y="0"/>
                  </a:moveTo>
                  <a:cubicBezTo>
                    <a:pt x="71" y="0"/>
                    <a:pt x="71" y="0"/>
                    <a:pt x="71" y="0"/>
                  </a:cubicBezTo>
                  <a:cubicBezTo>
                    <a:pt x="32" y="0"/>
                    <a:pt x="0" y="32"/>
                    <a:pt x="0" y="71"/>
                  </a:cubicBezTo>
                  <a:cubicBezTo>
                    <a:pt x="0" y="943"/>
                    <a:pt x="0" y="943"/>
                    <a:pt x="0" y="943"/>
                  </a:cubicBezTo>
                  <a:cubicBezTo>
                    <a:pt x="0" y="982"/>
                    <a:pt x="32" y="1014"/>
                    <a:pt x="71" y="1014"/>
                  </a:cubicBezTo>
                  <a:cubicBezTo>
                    <a:pt x="727" y="1014"/>
                    <a:pt x="727" y="1014"/>
                    <a:pt x="727" y="1014"/>
                  </a:cubicBezTo>
                  <a:cubicBezTo>
                    <a:pt x="727" y="1163"/>
                    <a:pt x="727" y="1163"/>
                    <a:pt x="727" y="1163"/>
                  </a:cubicBezTo>
                  <a:cubicBezTo>
                    <a:pt x="543" y="1163"/>
                    <a:pt x="543" y="1163"/>
                    <a:pt x="543" y="1163"/>
                  </a:cubicBezTo>
                  <a:cubicBezTo>
                    <a:pt x="504" y="1163"/>
                    <a:pt x="472" y="1195"/>
                    <a:pt x="472" y="1234"/>
                  </a:cubicBezTo>
                  <a:cubicBezTo>
                    <a:pt x="472" y="1273"/>
                    <a:pt x="504" y="1305"/>
                    <a:pt x="543" y="1305"/>
                  </a:cubicBezTo>
                  <a:cubicBezTo>
                    <a:pt x="1125" y="1305"/>
                    <a:pt x="1125" y="1305"/>
                    <a:pt x="1125" y="1305"/>
                  </a:cubicBezTo>
                  <a:cubicBezTo>
                    <a:pt x="1164" y="1305"/>
                    <a:pt x="1195" y="1273"/>
                    <a:pt x="1195" y="1234"/>
                  </a:cubicBezTo>
                  <a:cubicBezTo>
                    <a:pt x="1195" y="1195"/>
                    <a:pt x="1164" y="1163"/>
                    <a:pt x="1125" y="1163"/>
                  </a:cubicBezTo>
                  <a:cubicBezTo>
                    <a:pt x="868" y="1163"/>
                    <a:pt x="868" y="1163"/>
                    <a:pt x="868" y="1163"/>
                  </a:cubicBezTo>
                  <a:cubicBezTo>
                    <a:pt x="868" y="1014"/>
                    <a:pt x="868" y="1014"/>
                    <a:pt x="868" y="1014"/>
                  </a:cubicBezTo>
                  <a:cubicBezTo>
                    <a:pt x="1524" y="1014"/>
                    <a:pt x="1524" y="1014"/>
                    <a:pt x="1524" y="1014"/>
                  </a:cubicBezTo>
                  <a:cubicBezTo>
                    <a:pt x="1563" y="1014"/>
                    <a:pt x="1595" y="982"/>
                    <a:pt x="1595" y="943"/>
                  </a:cubicBezTo>
                  <a:cubicBezTo>
                    <a:pt x="1595" y="71"/>
                    <a:pt x="1595" y="71"/>
                    <a:pt x="1595" y="71"/>
                  </a:cubicBezTo>
                  <a:cubicBezTo>
                    <a:pt x="1595" y="32"/>
                    <a:pt x="1563" y="0"/>
                    <a:pt x="1524" y="0"/>
                  </a:cubicBezTo>
                  <a:close/>
                  <a:moveTo>
                    <a:pt x="1454" y="873"/>
                  </a:moveTo>
                  <a:cubicBezTo>
                    <a:pt x="141" y="873"/>
                    <a:pt x="141" y="873"/>
                    <a:pt x="141" y="873"/>
                  </a:cubicBezTo>
                  <a:cubicBezTo>
                    <a:pt x="141" y="142"/>
                    <a:pt x="141" y="142"/>
                    <a:pt x="141" y="142"/>
                  </a:cubicBezTo>
                  <a:cubicBezTo>
                    <a:pt x="1454" y="142"/>
                    <a:pt x="1454" y="142"/>
                    <a:pt x="1454" y="142"/>
                  </a:cubicBezTo>
                  <a:lnTo>
                    <a:pt x="1454" y="873"/>
                  </a:lnTo>
                  <a:close/>
                </a:path>
              </a:pathLst>
            </a:custGeom>
            <a:grpFill/>
            <a:ln>
              <a:noFill/>
            </a:ln>
            <a:extLst>
              <a:ext uri="{91240B29-F687-4F45-9708-019B960494DF}">
                <a14:hiddenLine xmlns:a14="http://schemas.microsoft.com/office/drawing/2010/main" w="0" cap="flat" cmpd="sng" algn="ctr">
                  <a:solidFill>
                    <a:srgbClr val="FFFFFF">
                      <a:alpha val="0"/>
                    </a:srgbClr>
                  </a:solidFill>
                  <a:prstDash val="solid"/>
                  <a:round/>
                  <a:headEnd type="none" w="med" len="med"/>
                  <a:tailEnd type="none" w="med" len="med"/>
                </a14:hiddenLine>
              </a:ext>
            </a:extLst>
          </p:spPr>
          <p:txBody>
            <a:bodyPr vert="horz" wrap="square" lIns="91440" tIns="45720" rIns="91440" bIns="45720" numCol="1" anchor="t" anchorCtr="0" compatLnSpc="1">
              <a:prstTxWarp prst="textNoShape">
                <a:avLst/>
              </a:prstTxWarp>
            </a:bodyPr>
            <a:lstStyle/>
            <a:p>
              <a:endParaRPr lang="en-US"/>
            </a:p>
          </p:txBody>
        </p:sp>
        <p:sp>
          <p:nvSpPr>
            <p:cNvPr id="529" name="Freeform 63"/>
            <p:cNvSpPr>
              <a:spLocks/>
            </p:cNvSpPr>
            <p:nvPr/>
          </p:nvSpPr>
          <p:spPr bwMode="auto">
            <a:xfrm>
              <a:off x="3754438" y="3441700"/>
              <a:ext cx="1555750" cy="1555750"/>
            </a:xfrm>
            <a:custGeom>
              <a:avLst/>
              <a:gdLst>
                <a:gd name="T0" fmla="*/ 653 w 723"/>
                <a:gd name="T1" fmla="*/ 0 h 723"/>
                <a:gd name="T2" fmla="*/ 582 w 723"/>
                <a:gd name="T3" fmla="*/ 71 h 723"/>
                <a:gd name="T4" fmla="*/ 71 w 723"/>
                <a:gd name="T5" fmla="*/ 582 h 723"/>
                <a:gd name="T6" fmla="*/ 0 w 723"/>
                <a:gd name="T7" fmla="*/ 652 h 723"/>
                <a:gd name="T8" fmla="*/ 71 w 723"/>
                <a:gd name="T9" fmla="*/ 723 h 723"/>
                <a:gd name="T10" fmla="*/ 532 w 723"/>
                <a:gd name="T11" fmla="*/ 532 h 723"/>
                <a:gd name="T12" fmla="*/ 723 w 723"/>
                <a:gd name="T13" fmla="*/ 71 h 723"/>
                <a:gd name="T14" fmla="*/ 653 w 723"/>
                <a:gd name="T15" fmla="*/ 0 h 7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23" h="723">
                  <a:moveTo>
                    <a:pt x="653" y="0"/>
                  </a:moveTo>
                  <a:cubicBezTo>
                    <a:pt x="613" y="0"/>
                    <a:pt x="582" y="32"/>
                    <a:pt x="582" y="71"/>
                  </a:cubicBezTo>
                  <a:cubicBezTo>
                    <a:pt x="582" y="353"/>
                    <a:pt x="353" y="582"/>
                    <a:pt x="71" y="582"/>
                  </a:cubicBezTo>
                  <a:cubicBezTo>
                    <a:pt x="32" y="582"/>
                    <a:pt x="0" y="613"/>
                    <a:pt x="0" y="652"/>
                  </a:cubicBezTo>
                  <a:cubicBezTo>
                    <a:pt x="0" y="692"/>
                    <a:pt x="32" y="723"/>
                    <a:pt x="71" y="723"/>
                  </a:cubicBezTo>
                  <a:cubicBezTo>
                    <a:pt x="245" y="723"/>
                    <a:pt x="409" y="655"/>
                    <a:pt x="532" y="532"/>
                  </a:cubicBezTo>
                  <a:cubicBezTo>
                    <a:pt x="655" y="409"/>
                    <a:pt x="723" y="245"/>
                    <a:pt x="723" y="71"/>
                  </a:cubicBezTo>
                  <a:cubicBezTo>
                    <a:pt x="723" y="32"/>
                    <a:pt x="692" y="0"/>
                    <a:pt x="653" y="0"/>
                  </a:cubicBezTo>
                  <a:close/>
                </a:path>
              </a:pathLst>
            </a:custGeom>
            <a:grpFill/>
            <a:ln>
              <a:noFill/>
            </a:ln>
            <a:extLst>
              <a:ext uri="{91240B29-F687-4F45-9708-019B960494DF}">
                <a14:hiddenLine xmlns:a14="http://schemas.microsoft.com/office/drawing/2010/main" w="0" cap="flat" cmpd="sng" algn="ctr">
                  <a:solidFill>
                    <a:srgbClr val="FFFFFF">
                      <a:alpha val="0"/>
                    </a:srgbClr>
                  </a:solidFill>
                  <a:prstDash val="solid"/>
                  <a:round/>
                  <a:headEnd type="none" w="med" len="med"/>
                  <a:tailEnd type="none" w="med" len="med"/>
                </a14:hiddenLine>
              </a:ext>
            </a:extLst>
          </p:spPr>
          <p:txBody>
            <a:bodyPr vert="horz" wrap="square" lIns="91440" tIns="45720" rIns="91440" bIns="45720" numCol="1" anchor="t" anchorCtr="0" compatLnSpc="1">
              <a:prstTxWarp prst="textNoShape">
                <a:avLst/>
              </a:prstTxWarp>
            </a:bodyPr>
            <a:lstStyle/>
            <a:p>
              <a:endParaRPr lang="en-US"/>
            </a:p>
          </p:txBody>
        </p:sp>
        <p:sp>
          <p:nvSpPr>
            <p:cNvPr id="530" name="Freeform 64"/>
            <p:cNvSpPr>
              <a:spLocks/>
            </p:cNvSpPr>
            <p:nvPr/>
          </p:nvSpPr>
          <p:spPr bwMode="auto">
            <a:xfrm>
              <a:off x="1565275" y="1879600"/>
              <a:ext cx="1555750" cy="1552575"/>
            </a:xfrm>
            <a:custGeom>
              <a:avLst/>
              <a:gdLst>
                <a:gd name="T0" fmla="*/ 70 w 723"/>
                <a:gd name="T1" fmla="*/ 722 h 722"/>
                <a:gd name="T2" fmla="*/ 141 w 723"/>
                <a:gd name="T3" fmla="*/ 652 h 722"/>
                <a:gd name="T4" fmla="*/ 652 w 723"/>
                <a:gd name="T5" fmla="*/ 141 h 722"/>
                <a:gd name="T6" fmla="*/ 723 w 723"/>
                <a:gd name="T7" fmla="*/ 70 h 722"/>
                <a:gd name="T8" fmla="*/ 652 w 723"/>
                <a:gd name="T9" fmla="*/ 0 h 722"/>
                <a:gd name="T10" fmla="*/ 191 w 723"/>
                <a:gd name="T11" fmla="*/ 190 h 722"/>
                <a:gd name="T12" fmla="*/ 0 w 723"/>
                <a:gd name="T13" fmla="*/ 652 h 722"/>
                <a:gd name="T14" fmla="*/ 70 w 723"/>
                <a:gd name="T15" fmla="*/ 722 h 7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23" h="722">
                  <a:moveTo>
                    <a:pt x="70" y="722"/>
                  </a:moveTo>
                  <a:cubicBezTo>
                    <a:pt x="110" y="722"/>
                    <a:pt x="141" y="691"/>
                    <a:pt x="141" y="652"/>
                  </a:cubicBezTo>
                  <a:cubicBezTo>
                    <a:pt x="141" y="370"/>
                    <a:pt x="370" y="141"/>
                    <a:pt x="652" y="141"/>
                  </a:cubicBezTo>
                  <a:cubicBezTo>
                    <a:pt x="691" y="141"/>
                    <a:pt x="723" y="109"/>
                    <a:pt x="723" y="70"/>
                  </a:cubicBezTo>
                  <a:cubicBezTo>
                    <a:pt x="723" y="31"/>
                    <a:pt x="691" y="0"/>
                    <a:pt x="652" y="0"/>
                  </a:cubicBezTo>
                  <a:cubicBezTo>
                    <a:pt x="478" y="0"/>
                    <a:pt x="314" y="67"/>
                    <a:pt x="191" y="190"/>
                  </a:cubicBezTo>
                  <a:cubicBezTo>
                    <a:pt x="68" y="314"/>
                    <a:pt x="0" y="477"/>
                    <a:pt x="0" y="652"/>
                  </a:cubicBezTo>
                  <a:cubicBezTo>
                    <a:pt x="0" y="691"/>
                    <a:pt x="31" y="722"/>
                    <a:pt x="70" y="722"/>
                  </a:cubicBezTo>
                  <a:close/>
                </a:path>
              </a:pathLst>
            </a:custGeom>
            <a:grpFill/>
            <a:ln>
              <a:noFill/>
            </a:ln>
            <a:extLst>
              <a:ext uri="{91240B29-F687-4F45-9708-019B960494DF}">
                <a14:hiddenLine xmlns:a14="http://schemas.microsoft.com/office/drawing/2010/main" w="0" cap="flat" cmpd="sng" algn="ctr">
                  <a:solidFill>
                    <a:srgbClr val="FFFFFF">
                      <a:alpha val="0"/>
                    </a:srgbClr>
                  </a:solidFill>
                  <a:prstDash val="solid"/>
                  <a:round/>
                  <a:headEnd type="none" w="med" len="med"/>
                  <a:tailEnd type="none" w="med" len="me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18" name="TextBox 317"/>
          <p:cNvSpPr txBox="1"/>
          <p:nvPr/>
        </p:nvSpPr>
        <p:spPr>
          <a:xfrm>
            <a:off x="7384767" y="2751455"/>
            <a:ext cx="227626" cy="24622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b="1" dirty="0">
                <a:solidFill>
                  <a:schemeClr val="accent4"/>
                </a:solidFill>
              </a:rPr>
              <a:t>47</a:t>
            </a:r>
          </a:p>
        </p:txBody>
      </p:sp>
      <p:sp>
        <p:nvSpPr>
          <p:cNvPr id="43" name="TextBox 42">
            <a:extLst>
              <a:ext uri="{FF2B5EF4-FFF2-40B4-BE49-F238E27FC236}">
                <a16:creationId xmlns:a16="http://schemas.microsoft.com/office/drawing/2014/main" id="{A6D84148-35DD-4E32-9E9B-4EC6DEFBA6BA}"/>
              </a:ext>
            </a:extLst>
          </p:cNvPr>
          <p:cNvSpPr txBox="1">
            <a:spLocks/>
          </p:cNvSpPr>
          <p:nvPr/>
        </p:nvSpPr>
        <p:spPr>
          <a:xfrm>
            <a:off x="6903096" y="2203169"/>
            <a:ext cx="1728555" cy="492443"/>
          </a:xfrm>
          <a:prstGeom prst="rect">
            <a:avLst/>
          </a:prstGeom>
        </p:spPr>
        <p:txBody>
          <a:bodyPr vert="horz" lIns="0" tIns="0" rIns="0" bIns="0" rtlCol="0">
            <a:sp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fontAlgn="auto">
              <a:spcBef>
                <a:spcPts val="0"/>
              </a:spcBef>
              <a:spcAft>
                <a:spcPts val="0"/>
              </a:spcAft>
              <a:defRPr/>
            </a:pPr>
            <a:r>
              <a:rPr kumimoji="1" lang="en-US" altLang="ja-JP" sz="1600" b="1" kern="0" dirty="0">
                <a:solidFill>
                  <a:schemeClr val="accent4"/>
                </a:solidFill>
              </a:rPr>
              <a:t>Advanced Industries</a:t>
            </a:r>
            <a:endParaRPr kumimoji="1" lang="ja-JP" altLang="en-US" sz="1600" b="1" kern="0" dirty="0" err="1">
              <a:solidFill>
                <a:schemeClr val="accent4"/>
              </a:solidFill>
            </a:endParaRPr>
          </a:p>
        </p:txBody>
      </p:sp>
      <p:grpSp>
        <p:nvGrpSpPr>
          <p:cNvPr id="35" name="CustomIcon"/>
          <p:cNvGrpSpPr>
            <a:grpSpLocks noChangeAspect="1"/>
          </p:cNvGrpSpPr>
          <p:nvPr>
            <p:custDataLst>
              <p:tags r:id="rId6"/>
            </p:custDataLst>
          </p:nvPr>
        </p:nvGrpSpPr>
        <p:grpSpPr>
          <a:xfrm>
            <a:off x="5014036" y="2384877"/>
            <a:ext cx="368839" cy="312676"/>
            <a:chOff x="-3175" y="3175"/>
            <a:chExt cx="1608138" cy="1360488"/>
          </a:xfrm>
          <a:solidFill>
            <a:schemeClr val="accent4"/>
          </a:solidFill>
        </p:grpSpPr>
        <p:sp>
          <p:nvSpPr>
            <p:cNvPr id="31" name="Freeform 28"/>
            <p:cNvSpPr>
              <a:spLocks noEditPoints="1"/>
            </p:cNvSpPr>
            <p:nvPr/>
          </p:nvSpPr>
          <p:spPr bwMode="auto">
            <a:xfrm>
              <a:off x="-3175" y="3175"/>
              <a:ext cx="1608138" cy="911225"/>
            </a:xfrm>
            <a:custGeom>
              <a:avLst/>
              <a:gdLst>
                <a:gd name="T0" fmla="*/ 423 w 426"/>
                <a:gd name="T1" fmla="*/ 59 h 241"/>
                <a:gd name="T2" fmla="*/ 416 w 426"/>
                <a:gd name="T3" fmla="*/ 56 h 241"/>
                <a:gd name="T4" fmla="*/ 84 w 426"/>
                <a:gd name="T5" fmla="*/ 56 h 241"/>
                <a:gd name="T6" fmla="*/ 76 w 426"/>
                <a:gd name="T7" fmla="*/ 8 h 241"/>
                <a:gd name="T8" fmla="*/ 67 w 426"/>
                <a:gd name="T9" fmla="*/ 0 h 241"/>
                <a:gd name="T10" fmla="*/ 9 w 426"/>
                <a:gd name="T11" fmla="*/ 0 h 241"/>
                <a:gd name="T12" fmla="*/ 0 w 426"/>
                <a:gd name="T13" fmla="*/ 9 h 241"/>
                <a:gd name="T14" fmla="*/ 9 w 426"/>
                <a:gd name="T15" fmla="*/ 18 h 241"/>
                <a:gd name="T16" fmla="*/ 59 w 426"/>
                <a:gd name="T17" fmla="*/ 18 h 241"/>
                <a:gd name="T18" fmla="*/ 67 w 426"/>
                <a:gd name="T19" fmla="*/ 66 h 241"/>
                <a:gd name="T20" fmla="*/ 67 w 426"/>
                <a:gd name="T21" fmla="*/ 67 h 241"/>
                <a:gd name="T22" fmla="*/ 96 w 426"/>
                <a:gd name="T23" fmla="*/ 233 h 241"/>
                <a:gd name="T24" fmla="*/ 105 w 426"/>
                <a:gd name="T25" fmla="*/ 241 h 241"/>
                <a:gd name="T26" fmla="*/ 382 w 426"/>
                <a:gd name="T27" fmla="*/ 241 h 241"/>
                <a:gd name="T28" fmla="*/ 391 w 426"/>
                <a:gd name="T29" fmla="*/ 233 h 241"/>
                <a:gd name="T30" fmla="*/ 425 w 426"/>
                <a:gd name="T31" fmla="*/ 67 h 241"/>
                <a:gd name="T32" fmla="*/ 423 w 426"/>
                <a:gd name="T33" fmla="*/ 59 h 241"/>
                <a:gd name="T34" fmla="*/ 375 w 426"/>
                <a:gd name="T35" fmla="*/ 223 h 241"/>
                <a:gd name="T36" fmla="*/ 113 w 426"/>
                <a:gd name="T37" fmla="*/ 223 h 241"/>
                <a:gd name="T38" fmla="*/ 87 w 426"/>
                <a:gd name="T39" fmla="*/ 74 h 241"/>
                <a:gd name="T40" fmla="*/ 405 w 426"/>
                <a:gd name="T41" fmla="*/ 74 h 241"/>
                <a:gd name="T42" fmla="*/ 375 w 426"/>
                <a:gd name="T43" fmla="*/ 223 h 241"/>
                <a:gd name="T44" fmla="*/ 375 w 426"/>
                <a:gd name="T45" fmla="*/ 223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26" h="241">
                  <a:moveTo>
                    <a:pt x="423" y="59"/>
                  </a:moveTo>
                  <a:cubicBezTo>
                    <a:pt x="422" y="57"/>
                    <a:pt x="419" y="56"/>
                    <a:pt x="416" y="56"/>
                  </a:cubicBezTo>
                  <a:cubicBezTo>
                    <a:pt x="84" y="56"/>
                    <a:pt x="84" y="56"/>
                    <a:pt x="84" y="56"/>
                  </a:cubicBezTo>
                  <a:cubicBezTo>
                    <a:pt x="76" y="8"/>
                    <a:pt x="76" y="8"/>
                    <a:pt x="76" y="8"/>
                  </a:cubicBezTo>
                  <a:cubicBezTo>
                    <a:pt x="75" y="3"/>
                    <a:pt x="71" y="0"/>
                    <a:pt x="67" y="0"/>
                  </a:cubicBezTo>
                  <a:cubicBezTo>
                    <a:pt x="9" y="0"/>
                    <a:pt x="9" y="0"/>
                    <a:pt x="9" y="0"/>
                  </a:cubicBezTo>
                  <a:cubicBezTo>
                    <a:pt x="4" y="0"/>
                    <a:pt x="0" y="4"/>
                    <a:pt x="0" y="9"/>
                  </a:cubicBezTo>
                  <a:cubicBezTo>
                    <a:pt x="0" y="15"/>
                    <a:pt x="4" y="18"/>
                    <a:pt x="9" y="18"/>
                  </a:cubicBezTo>
                  <a:cubicBezTo>
                    <a:pt x="59" y="18"/>
                    <a:pt x="59" y="18"/>
                    <a:pt x="59" y="18"/>
                  </a:cubicBezTo>
                  <a:cubicBezTo>
                    <a:pt x="67" y="66"/>
                    <a:pt x="67" y="66"/>
                    <a:pt x="67" y="66"/>
                  </a:cubicBezTo>
                  <a:cubicBezTo>
                    <a:pt x="67" y="67"/>
                    <a:pt x="67" y="67"/>
                    <a:pt x="67" y="67"/>
                  </a:cubicBezTo>
                  <a:cubicBezTo>
                    <a:pt x="96" y="233"/>
                    <a:pt x="96" y="233"/>
                    <a:pt x="96" y="233"/>
                  </a:cubicBezTo>
                  <a:cubicBezTo>
                    <a:pt x="97" y="237"/>
                    <a:pt x="101" y="241"/>
                    <a:pt x="105" y="241"/>
                  </a:cubicBezTo>
                  <a:cubicBezTo>
                    <a:pt x="382" y="241"/>
                    <a:pt x="382" y="241"/>
                    <a:pt x="382" y="241"/>
                  </a:cubicBezTo>
                  <a:cubicBezTo>
                    <a:pt x="386" y="241"/>
                    <a:pt x="390" y="237"/>
                    <a:pt x="391" y="233"/>
                  </a:cubicBezTo>
                  <a:cubicBezTo>
                    <a:pt x="425" y="67"/>
                    <a:pt x="425" y="67"/>
                    <a:pt x="425" y="67"/>
                  </a:cubicBezTo>
                  <a:cubicBezTo>
                    <a:pt x="426" y="64"/>
                    <a:pt x="425" y="61"/>
                    <a:pt x="423" y="59"/>
                  </a:cubicBezTo>
                  <a:close/>
                  <a:moveTo>
                    <a:pt x="375" y="223"/>
                  </a:moveTo>
                  <a:cubicBezTo>
                    <a:pt x="113" y="223"/>
                    <a:pt x="113" y="223"/>
                    <a:pt x="113" y="223"/>
                  </a:cubicBezTo>
                  <a:cubicBezTo>
                    <a:pt x="87" y="74"/>
                    <a:pt x="87" y="74"/>
                    <a:pt x="87" y="74"/>
                  </a:cubicBezTo>
                  <a:cubicBezTo>
                    <a:pt x="405" y="74"/>
                    <a:pt x="405" y="74"/>
                    <a:pt x="405" y="74"/>
                  </a:cubicBezTo>
                  <a:cubicBezTo>
                    <a:pt x="375" y="223"/>
                    <a:pt x="375" y="223"/>
                    <a:pt x="375" y="223"/>
                  </a:cubicBezTo>
                  <a:cubicBezTo>
                    <a:pt x="375" y="223"/>
                    <a:pt x="375" y="223"/>
                    <a:pt x="375" y="223"/>
                  </a:cubicBezTo>
                  <a:close/>
                </a:path>
              </a:pathLst>
            </a:custGeom>
            <a:grpFill/>
            <a:ln>
              <a:noFill/>
            </a:ln>
            <a:extLst>
              <a:ext uri="{91240B29-F687-4F45-9708-019B960494DF}">
                <a14:hiddenLine xmlns:a14="http://schemas.microsoft.com/office/drawing/2010/main" w="0" cap="flat" cmpd="sng" algn="ctr">
                  <a:solidFill>
                    <a:srgbClr val="FFFFFF">
                      <a:alpha val="0"/>
                    </a:srgbClr>
                  </a:solidFill>
                  <a:prstDash val="solid"/>
                  <a:round/>
                  <a:headEnd type="none" w="med" len="med"/>
                  <a:tailEnd type="none" w="med" len="me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Freeform 29"/>
            <p:cNvSpPr>
              <a:spLocks noEditPoints="1"/>
            </p:cNvSpPr>
            <p:nvPr/>
          </p:nvSpPr>
          <p:spPr bwMode="auto">
            <a:xfrm>
              <a:off x="374650" y="933450"/>
              <a:ext cx="425450" cy="430213"/>
            </a:xfrm>
            <a:custGeom>
              <a:avLst/>
              <a:gdLst>
                <a:gd name="T0" fmla="*/ 57 w 113"/>
                <a:gd name="T1" fmla="*/ 0 h 114"/>
                <a:gd name="T2" fmla="*/ 0 w 113"/>
                <a:gd name="T3" fmla="*/ 57 h 114"/>
                <a:gd name="T4" fmla="*/ 57 w 113"/>
                <a:gd name="T5" fmla="*/ 114 h 114"/>
                <a:gd name="T6" fmla="*/ 113 w 113"/>
                <a:gd name="T7" fmla="*/ 57 h 114"/>
                <a:gd name="T8" fmla="*/ 57 w 113"/>
                <a:gd name="T9" fmla="*/ 0 h 114"/>
                <a:gd name="T10" fmla="*/ 57 w 113"/>
                <a:gd name="T11" fmla="*/ 96 h 114"/>
                <a:gd name="T12" fmla="*/ 18 w 113"/>
                <a:gd name="T13" fmla="*/ 57 h 114"/>
                <a:gd name="T14" fmla="*/ 57 w 113"/>
                <a:gd name="T15" fmla="*/ 18 h 114"/>
                <a:gd name="T16" fmla="*/ 95 w 113"/>
                <a:gd name="T17" fmla="*/ 57 h 114"/>
                <a:gd name="T18" fmla="*/ 57 w 113"/>
                <a:gd name="T19" fmla="*/ 96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3" h="114">
                  <a:moveTo>
                    <a:pt x="57" y="0"/>
                  </a:moveTo>
                  <a:cubicBezTo>
                    <a:pt x="25" y="0"/>
                    <a:pt x="0" y="26"/>
                    <a:pt x="0" y="57"/>
                  </a:cubicBezTo>
                  <a:cubicBezTo>
                    <a:pt x="0" y="88"/>
                    <a:pt x="25" y="114"/>
                    <a:pt x="57" y="114"/>
                  </a:cubicBezTo>
                  <a:cubicBezTo>
                    <a:pt x="88" y="114"/>
                    <a:pt x="113" y="88"/>
                    <a:pt x="113" y="57"/>
                  </a:cubicBezTo>
                  <a:cubicBezTo>
                    <a:pt x="113" y="26"/>
                    <a:pt x="88" y="0"/>
                    <a:pt x="57" y="0"/>
                  </a:cubicBezTo>
                  <a:close/>
                  <a:moveTo>
                    <a:pt x="57" y="96"/>
                  </a:moveTo>
                  <a:cubicBezTo>
                    <a:pt x="35" y="96"/>
                    <a:pt x="18" y="78"/>
                    <a:pt x="18" y="57"/>
                  </a:cubicBezTo>
                  <a:cubicBezTo>
                    <a:pt x="18" y="35"/>
                    <a:pt x="35" y="18"/>
                    <a:pt x="57" y="18"/>
                  </a:cubicBezTo>
                  <a:cubicBezTo>
                    <a:pt x="78" y="18"/>
                    <a:pt x="95" y="35"/>
                    <a:pt x="95" y="57"/>
                  </a:cubicBezTo>
                  <a:cubicBezTo>
                    <a:pt x="95" y="78"/>
                    <a:pt x="78" y="96"/>
                    <a:pt x="57" y="96"/>
                  </a:cubicBezTo>
                  <a:close/>
                </a:path>
              </a:pathLst>
            </a:custGeom>
            <a:grpFill/>
            <a:ln>
              <a:noFill/>
            </a:ln>
            <a:extLst>
              <a:ext uri="{91240B29-F687-4F45-9708-019B960494DF}">
                <a14:hiddenLine xmlns:a14="http://schemas.microsoft.com/office/drawing/2010/main" w="0" cap="flat" cmpd="sng" algn="ctr">
                  <a:solidFill>
                    <a:srgbClr val="FFFFFF">
                      <a:alpha val="0"/>
                    </a:srgbClr>
                  </a:solidFill>
                  <a:prstDash val="solid"/>
                  <a:round/>
                  <a:headEnd type="none" w="med" len="med"/>
                  <a:tailEnd type="none" w="med" len="me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Freeform 30"/>
            <p:cNvSpPr>
              <a:spLocks noEditPoints="1"/>
            </p:cNvSpPr>
            <p:nvPr/>
          </p:nvSpPr>
          <p:spPr bwMode="auto">
            <a:xfrm>
              <a:off x="1060450" y="933450"/>
              <a:ext cx="427038" cy="430213"/>
            </a:xfrm>
            <a:custGeom>
              <a:avLst/>
              <a:gdLst>
                <a:gd name="T0" fmla="*/ 57 w 113"/>
                <a:gd name="T1" fmla="*/ 0 h 114"/>
                <a:gd name="T2" fmla="*/ 0 w 113"/>
                <a:gd name="T3" fmla="*/ 57 h 114"/>
                <a:gd name="T4" fmla="*/ 57 w 113"/>
                <a:gd name="T5" fmla="*/ 114 h 114"/>
                <a:gd name="T6" fmla="*/ 113 w 113"/>
                <a:gd name="T7" fmla="*/ 57 h 114"/>
                <a:gd name="T8" fmla="*/ 57 w 113"/>
                <a:gd name="T9" fmla="*/ 0 h 114"/>
                <a:gd name="T10" fmla="*/ 57 w 113"/>
                <a:gd name="T11" fmla="*/ 96 h 114"/>
                <a:gd name="T12" fmla="*/ 18 w 113"/>
                <a:gd name="T13" fmla="*/ 57 h 114"/>
                <a:gd name="T14" fmla="*/ 57 w 113"/>
                <a:gd name="T15" fmla="*/ 18 h 114"/>
                <a:gd name="T16" fmla="*/ 96 w 113"/>
                <a:gd name="T17" fmla="*/ 57 h 114"/>
                <a:gd name="T18" fmla="*/ 57 w 113"/>
                <a:gd name="T19" fmla="*/ 96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3" h="114">
                  <a:moveTo>
                    <a:pt x="57" y="0"/>
                  </a:moveTo>
                  <a:cubicBezTo>
                    <a:pt x="26" y="0"/>
                    <a:pt x="0" y="26"/>
                    <a:pt x="0" y="57"/>
                  </a:cubicBezTo>
                  <a:cubicBezTo>
                    <a:pt x="0" y="88"/>
                    <a:pt x="26" y="114"/>
                    <a:pt x="57" y="114"/>
                  </a:cubicBezTo>
                  <a:cubicBezTo>
                    <a:pt x="88" y="114"/>
                    <a:pt x="113" y="88"/>
                    <a:pt x="113" y="57"/>
                  </a:cubicBezTo>
                  <a:cubicBezTo>
                    <a:pt x="113" y="26"/>
                    <a:pt x="88" y="0"/>
                    <a:pt x="57" y="0"/>
                  </a:cubicBezTo>
                  <a:close/>
                  <a:moveTo>
                    <a:pt x="57" y="96"/>
                  </a:moveTo>
                  <a:cubicBezTo>
                    <a:pt x="36" y="96"/>
                    <a:pt x="18" y="78"/>
                    <a:pt x="18" y="57"/>
                  </a:cubicBezTo>
                  <a:cubicBezTo>
                    <a:pt x="18" y="35"/>
                    <a:pt x="36" y="18"/>
                    <a:pt x="57" y="18"/>
                  </a:cubicBezTo>
                  <a:cubicBezTo>
                    <a:pt x="79" y="18"/>
                    <a:pt x="96" y="35"/>
                    <a:pt x="96" y="57"/>
                  </a:cubicBezTo>
                  <a:cubicBezTo>
                    <a:pt x="96" y="78"/>
                    <a:pt x="79" y="96"/>
                    <a:pt x="57" y="96"/>
                  </a:cubicBezTo>
                  <a:close/>
                </a:path>
              </a:pathLst>
            </a:custGeom>
            <a:grpFill/>
            <a:ln>
              <a:noFill/>
            </a:ln>
            <a:extLst>
              <a:ext uri="{91240B29-F687-4F45-9708-019B960494DF}">
                <a14:hiddenLine xmlns:a14="http://schemas.microsoft.com/office/drawing/2010/main" w="0" cap="flat" cmpd="sng" algn="ctr">
                  <a:solidFill>
                    <a:srgbClr val="FFFFFF">
                      <a:alpha val="0"/>
                    </a:srgbClr>
                  </a:solidFill>
                  <a:prstDash val="solid"/>
                  <a:round/>
                  <a:headEnd type="none" w="med" len="med"/>
                  <a:tailEnd type="none" w="med" len="me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549" name="TextBox 548"/>
          <p:cNvSpPr txBox="1"/>
          <p:nvPr/>
        </p:nvSpPr>
        <p:spPr>
          <a:xfrm>
            <a:off x="5563557" y="2384877"/>
            <a:ext cx="227626" cy="24622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b="1" dirty="0">
                <a:solidFill>
                  <a:schemeClr val="accent4"/>
                </a:solidFill>
              </a:rPr>
              <a:t>70</a:t>
            </a:r>
          </a:p>
        </p:txBody>
      </p:sp>
      <p:sp>
        <p:nvSpPr>
          <p:cNvPr id="44" name="TextBox 43">
            <a:extLst>
              <a:ext uri="{FF2B5EF4-FFF2-40B4-BE49-F238E27FC236}">
                <a16:creationId xmlns:a16="http://schemas.microsoft.com/office/drawing/2014/main" id="{9E6E52A5-3DB2-42C5-8CCB-52E7A53147CC}"/>
              </a:ext>
            </a:extLst>
          </p:cNvPr>
          <p:cNvSpPr txBox="1">
            <a:spLocks/>
          </p:cNvSpPr>
          <p:nvPr/>
        </p:nvSpPr>
        <p:spPr>
          <a:xfrm>
            <a:off x="5014037" y="2047760"/>
            <a:ext cx="1478767" cy="246221"/>
          </a:xfrm>
          <a:prstGeom prst="rect">
            <a:avLst/>
          </a:prstGeom>
        </p:spPr>
        <p:txBody>
          <a:bodyPr vert="horz" lIns="0" tIns="0" rIns="0" bIns="0" rtlCol="0">
            <a:sp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fontAlgn="auto">
              <a:spcBef>
                <a:spcPts val="0"/>
              </a:spcBef>
              <a:spcAft>
                <a:spcPts val="0"/>
              </a:spcAft>
              <a:defRPr/>
            </a:pPr>
            <a:r>
              <a:rPr kumimoji="1" lang="en-US" altLang="ja-JP" sz="1600" b="1" kern="0" dirty="0">
                <a:solidFill>
                  <a:schemeClr val="accent4"/>
                </a:solidFill>
              </a:rPr>
              <a:t>Consumer</a:t>
            </a:r>
            <a:endParaRPr kumimoji="1" lang="ja-JP" altLang="en-US" sz="1600" b="1" kern="0" dirty="0" err="1">
              <a:solidFill>
                <a:schemeClr val="accent4"/>
              </a:solidFill>
            </a:endParaRPr>
          </a:p>
        </p:txBody>
      </p:sp>
      <p:grpSp>
        <p:nvGrpSpPr>
          <p:cNvPr id="47" name="CustomIcon"/>
          <p:cNvGrpSpPr>
            <a:grpSpLocks noChangeAspect="1"/>
          </p:cNvGrpSpPr>
          <p:nvPr>
            <p:custDataLst>
              <p:tags r:id="rId7"/>
            </p:custDataLst>
          </p:nvPr>
        </p:nvGrpSpPr>
        <p:grpSpPr>
          <a:xfrm>
            <a:off x="5014036" y="3570434"/>
            <a:ext cx="294429" cy="295890"/>
            <a:chOff x="-33338" y="0"/>
            <a:chExt cx="1635125" cy="1639888"/>
          </a:xfrm>
          <a:solidFill>
            <a:schemeClr val="accent4"/>
          </a:solidFill>
        </p:grpSpPr>
        <p:sp>
          <p:nvSpPr>
            <p:cNvPr id="45" name="Freeform 39"/>
            <p:cNvSpPr>
              <a:spLocks noEditPoints="1"/>
            </p:cNvSpPr>
            <p:nvPr/>
          </p:nvSpPr>
          <p:spPr bwMode="auto">
            <a:xfrm>
              <a:off x="-33338" y="0"/>
              <a:ext cx="1635125" cy="1639888"/>
            </a:xfrm>
            <a:custGeom>
              <a:avLst/>
              <a:gdLst>
                <a:gd name="T0" fmla="*/ 424 w 433"/>
                <a:gd name="T1" fmla="*/ 265 h 434"/>
                <a:gd name="T2" fmla="*/ 340 w 433"/>
                <a:gd name="T3" fmla="*/ 125 h 434"/>
                <a:gd name="T4" fmla="*/ 271 w 433"/>
                <a:gd name="T5" fmla="*/ 101 h 434"/>
                <a:gd name="T6" fmla="*/ 327 w 433"/>
                <a:gd name="T7" fmla="*/ 14 h 434"/>
                <a:gd name="T8" fmla="*/ 327 w 433"/>
                <a:gd name="T9" fmla="*/ 5 h 434"/>
                <a:gd name="T10" fmla="*/ 320 w 433"/>
                <a:gd name="T11" fmla="*/ 0 h 434"/>
                <a:gd name="T12" fmla="*/ 113 w 433"/>
                <a:gd name="T13" fmla="*/ 0 h 434"/>
                <a:gd name="T14" fmla="*/ 105 w 433"/>
                <a:gd name="T15" fmla="*/ 5 h 434"/>
                <a:gd name="T16" fmla="*/ 106 w 433"/>
                <a:gd name="T17" fmla="*/ 14 h 434"/>
                <a:gd name="T18" fmla="*/ 162 w 433"/>
                <a:gd name="T19" fmla="*/ 101 h 434"/>
                <a:gd name="T20" fmla="*/ 93 w 433"/>
                <a:gd name="T21" fmla="*/ 125 h 434"/>
                <a:gd name="T22" fmla="*/ 9 w 433"/>
                <a:gd name="T23" fmla="*/ 265 h 434"/>
                <a:gd name="T24" fmla="*/ 39 w 433"/>
                <a:gd name="T25" fmla="*/ 401 h 434"/>
                <a:gd name="T26" fmla="*/ 113 w 433"/>
                <a:gd name="T27" fmla="*/ 434 h 434"/>
                <a:gd name="T28" fmla="*/ 320 w 433"/>
                <a:gd name="T29" fmla="*/ 434 h 434"/>
                <a:gd name="T30" fmla="*/ 394 w 433"/>
                <a:gd name="T31" fmla="*/ 401 h 434"/>
                <a:gd name="T32" fmla="*/ 424 w 433"/>
                <a:gd name="T33" fmla="*/ 265 h 434"/>
                <a:gd name="T34" fmla="*/ 381 w 433"/>
                <a:gd name="T35" fmla="*/ 389 h 434"/>
                <a:gd name="T36" fmla="*/ 320 w 433"/>
                <a:gd name="T37" fmla="*/ 415 h 434"/>
                <a:gd name="T38" fmla="*/ 113 w 433"/>
                <a:gd name="T39" fmla="*/ 415 h 434"/>
                <a:gd name="T40" fmla="*/ 52 w 433"/>
                <a:gd name="T41" fmla="*/ 389 h 434"/>
                <a:gd name="T42" fmla="*/ 26 w 433"/>
                <a:gd name="T43" fmla="*/ 267 h 434"/>
                <a:gd name="T44" fmla="*/ 27 w 433"/>
                <a:gd name="T45" fmla="*/ 265 h 434"/>
                <a:gd name="T46" fmla="*/ 101 w 433"/>
                <a:gd name="T47" fmla="*/ 142 h 434"/>
                <a:gd name="T48" fmla="*/ 178 w 433"/>
                <a:gd name="T49" fmla="*/ 117 h 434"/>
                <a:gd name="T50" fmla="*/ 184 w 433"/>
                <a:gd name="T51" fmla="*/ 112 h 434"/>
                <a:gd name="T52" fmla="*/ 184 w 433"/>
                <a:gd name="T53" fmla="*/ 102 h 434"/>
                <a:gd name="T54" fmla="*/ 129 w 433"/>
                <a:gd name="T55" fmla="*/ 19 h 434"/>
                <a:gd name="T56" fmla="*/ 303 w 433"/>
                <a:gd name="T57" fmla="*/ 19 h 434"/>
                <a:gd name="T58" fmla="*/ 249 w 433"/>
                <a:gd name="T59" fmla="*/ 102 h 434"/>
                <a:gd name="T60" fmla="*/ 248 w 433"/>
                <a:gd name="T61" fmla="*/ 112 h 434"/>
                <a:gd name="T62" fmla="*/ 255 w 433"/>
                <a:gd name="T63" fmla="*/ 117 h 434"/>
                <a:gd name="T64" fmla="*/ 332 w 433"/>
                <a:gd name="T65" fmla="*/ 141 h 434"/>
                <a:gd name="T66" fmla="*/ 406 w 433"/>
                <a:gd name="T67" fmla="*/ 265 h 434"/>
                <a:gd name="T68" fmla="*/ 406 w 433"/>
                <a:gd name="T69" fmla="*/ 267 h 434"/>
                <a:gd name="T70" fmla="*/ 381 w 433"/>
                <a:gd name="T71" fmla="*/ 389 h 4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33" h="434">
                  <a:moveTo>
                    <a:pt x="424" y="265"/>
                  </a:moveTo>
                  <a:cubicBezTo>
                    <a:pt x="424" y="203"/>
                    <a:pt x="395" y="155"/>
                    <a:pt x="340" y="125"/>
                  </a:cubicBezTo>
                  <a:cubicBezTo>
                    <a:pt x="313" y="110"/>
                    <a:pt x="287" y="104"/>
                    <a:pt x="271" y="101"/>
                  </a:cubicBezTo>
                  <a:cubicBezTo>
                    <a:pt x="327" y="14"/>
                    <a:pt x="327" y="14"/>
                    <a:pt x="327" y="14"/>
                  </a:cubicBezTo>
                  <a:cubicBezTo>
                    <a:pt x="329" y="12"/>
                    <a:pt x="329" y="9"/>
                    <a:pt x="327" y="5"/>
                  </a:cubicBezTo>
                  <a:cubicBezTo>
                    <a:pt x="326" y="2"/>
                    <a:pt x="323" y="0"/>
                    <a:pt x="320" y="0"/>
                  </a:cubicBezTo>
                  <a:cubicBezTo>
                    <a:pt x="113" y="0"/>
                    <a:pt x="113" y="0"/>
                    <a:pt x="113" y="0"/>
                  </a:cubicBezTo>
                  <a:cubicBezTo>
                    <a:pt x="110" y="0"/>
                    <a:pt x="107" y="2"/>
                    <a:pt x="105" y="5"/>
                  </a:cubicBezTo>
                  <a:cubicBezTo>
                    <a:pt x="103" y="9"/>
                    <a:pt x="104" y="12"/>
                    <a:pt x="106" y="14"/>
                  </a:cubicBezTo>
                  <a:cubicBezTo>
                    <a:pt x="162" y="101"/>
                    <a:pt x="162" y="101"/>
                    <a:pt x="162" y="101"/>
                  </a:cubicBezTo>
                  <a:cubicBezTo>
                    <a:pt x="146" y="104"/>
                    <a:pt x="120" y="110"/>
                    <a:pt x="93" y="125"/>
                  </a:cubicBezTo>
                  <a:cubicBezTo>
                    <a:pt x="38" y="155"/>
                    <a:pt x="9" y="203"/>
                    <a:pt x="9" y="265"/>
                  </a:cubicBezTo>
                  <a:cubicBezTo>
                    <a:pt x="8" y="273"/>
                    <a:pt x="0" y="355"/>
                    <a:pt x="39" y="401"/>
                  </a:cubicBezTo>
                  <a:cubicBezTo>
                    <a:pt x="57" y="423"/>
                    <a:pt x="82" y="434"/>
                    <a:pt x="113" y="434"/>
                  </a:cubicBezTo>
                  <a:cubicBezTo>
                    <a:pt x="320" y="434"/>
                    <a:pt x="320" y="434"/>
                    <a:pt x="320" y="434"/>
                  </a:cubicBezTo>
                  <a:cubicBezTo>
                    <a:pt x="351" y="434"/>
                    <a:pt x="376" y="423"/>
                    <a:pt x="394" y="401"/>
                  </a:cubicBezTo>
                  <a:cubicBezTo>
                    <a:pt x="433" y="355"/>
                    <a:pt x="425" y="273"/>
                    <a:pt x="424" y="265"/>
                  </a:cubicBezTo>
                  <a:close/>
                  <a:moveTo>
                    <a:pt x="381" y="389"/>
                  </a:moveTo>
                  <a:cubicBezTo>
                    <a:pt x="366" y="407"/>
                    <a:pt x="346" y="415"/>
                    <a:pt x="320" y="415"/>
                  </a:cubicBezTo>
                  <a:cubicBezTo>
                    <a:pt x="113" y="415"/>
                    <a:pt x="113" y="415"/>
                    <a:pt x="113" y="415"/>
                  </a:cubicBezTo>
                  <a:cubicBezTo>
                    <a:pt x="87" y="415"/>
                    <a:pt x="67" y="407"/>
                    <a:pt x="52" y="389"/>
                  </a:cubicBezTo>
                  <a:cubicBezTo>
                    <a:pt x="17" y="347"/>
                    <a:pt x="26" y="267"/>
                    <a:pt x="26" y="267"/>
                  </a:cubicBezTo>
                  <a:cubicBezTo>
                    <a:pt x="27" y="266"/>
                    <a:pt x="27" y="266"/>
                    <a:pt x="27" y="265"/>
                  </a:cubicBezTo>
                  <a:cubicBezTo>
                    <a:pt x="27" y="210"/>
                    <a:pt x="52" y="169"/>
                    <a:pt x="101" y="142"/>
                  </a:cubicBezTo>
                  <a:cubicBezTo>
                    <a:pt x="139" y="121"/>
                    <a:pt x="177" y="117"/>
                    <a:pt x="178" y="117"/>
                  </a:cubicBezTo>
                  <a:cubicBezTo>
                    <a:pt x="181" y="116"/>
                    <a:pt x="183" y="115"/>
                    <a:pt x="184" y="112"/>
                  </a:cubicBezTo>
                  <a:cubicBezTo>
                    <a:pt x="186" y="109"/>
                    <a:pt x="185" y="105"/>
                    <a:pt x="184" y="102"/>
                  </a:cubicBezTo>
                  <a:cubicBezTo>
                    <a:pt x="129" y="19"/>
                    <a:pt x="129" y="19"/>
                    <a:pt x="129" y="19"/>
                  </a:cubicBezTo>
                  <a:cubicBezTo>
                    <a:pt x="303" y="19"/>
                    <a:pt x="303" y="19"/>
                    <a:pt x="303" y="19"/>
                  </a:cubicBezTo>
                  <a:cubicBezTo>
                    <a:pt x="249" y="102"/>
                    <a:pt x="249" y="102"/>
                    <a:pt x="249" y="102"/>
                  </a:cubicBezTo>
                  <a:cubicBezTo>
                    <a:pt x="247" y="105"/>
                    <a:pt x="247" y="109"/>
                    <a:pt x="248" y="112"/>
                  </a:cubicBezTo>
                  <a:cubicBezTo>
                    <a:pt x="250" y="115"/>
                    <a:pt x="252" y="116"/>
                    <a:pt x="255" y="117"/>
                  </a:cubicBezTo>
                  <a:cubicBezTo>
                    <a:pt x="256" y="117"/>
                    <a:pt x="294" y="121"/>
                    <a:pt x="332" y="141"/>
                  </a:cubicBezTo>
                  <a:cubicBezTo>
                    <a:pt x="381" y="169"/>
                    <a:pt x="406" y="210"/>
                    <a:pt x="406" y="265"/>
                  </a:cubicBezTo>
                  <a:cubicBezTo>
                    <a:pt x="406" y="266"/>
                    <a:pt x="406" y="266"/>
                    <a:pt x="406" y="267"/>
                  </a:cubicBezTo>
                  <a:cubicBezTo>
                    <a:pt x="406" y="267"/>
                    <a:pt x="416" y="347"/>
                    <a:pt x="381" y="389"/>
                  </a:cubicBezTo>
                  <a:close/>
                </a:path>
              </a:pathLst>
            </a:custGeom>
            <a:grpFill/>
            <a:ln>
              <a:noFill/>
            </a:ln>
            <a:extLst>
              <a:ext uri="{91240B29-F687-4F45-9708-019B960494DF}">
                <a14:hiddenLine xmlns:a14="http://schemas.microsoft.com/office/drawing/2010/main" w="0" cap="flat" cmpd="sng" algn="ctr">
                  <a:solidFill>
                    <a:srgbClr val="FFFFFF">
                      <a:alpha val="0"/>
                    </a:srgbClr>
                  </a:solidFill>
                  <a:prstDash val="solid"/>
                  <a:round/>
                  <a:headEnd type="none" w="med" len="med"/>
                  <a:tailEnd type="none" w="med" len="med"/>
                </a14:hiddenLine>
              </a:ext>
            </a:extLst>
          </p:spPr>
          <p:txBody>
            <a:bodyPr vert="horz" wrap="square" lIns="91440" tIns="45720" rIns="91440" bIns="45720" numCol="1" anchor="t" anchorCtr="0" compatLnSpc="1">
              <a:prstTxWarp prst="textNoShape">
                <a:avLst/>
              </a:prstTxWarp>
            </a:bodyPr>
            <a:lstStyle/>
            <a:p>
              <a:endParaRPr lang="en-US"/>
            </a:p>
          </p:txBody>
        </p:sp>
        <p:sp>
          <p:nvSpPr>
            <p:cNvPr id="46" name="Freeform 40"/>
            <p:cNvSpPr>
              <a:spLocks/>
            </p:cNvSpPr>
            <p:nvPr/>
          </p:nvSpPr>
          <p:spPr bwMode="auto">
            <a:xfrm>
              <a:off x="588963" y="619125"/>
              <a:ext cx="388938" cy="808038"/>
            </a:xfrm>
            <a:custGeom>
              <a:avLst/>
              <a:gdLst>
                <a:gd name="T0" fmla="*/ 75 w 103"/>
                <a:gd name="T1" fmla="*/ 108 h 214"/>
                <a:gd name="T2" fmla="*/ 37 w 103"/>
                <a:gd name="T3" fmla="*/ 91 h 214"/>
                <a:gd name="T4" fmla="*/ 36 w 103"/>
                <a:gd name="T5" fmla="*/ 91 h 214"/>
                <a:gd name="T6" fmla="*/ 18 w 103"/>
                <a:gd name="T7" fmla="*/ 72 h 214"/>
                <a:gd name="T8" fmla="*/ 50 w 103"/>
                <a:gd name="T9" fmla="*/ 48 h 214"/>
                <a:gd name="T10" fmla="*/ 79 w 103"/>
                <a:gd name="T11" fmla="*/ 58 h 214"/>
                <a:gd name="T12" fmla="*/ 82 w 103"/>
                <a:gd name="T13" fmla="*/ 76 h 214"/>
                <a:gd name="T14" fmla="*/ 88 w 103"/>
                <a:gd name="T15" fmla="*/ 87 h 214"/>
                <a:gd name="T16" fmla="*/ 99 w 103"/>
                <a:gd name="T17" fmla="*/ 80 h 214"/>
                <a:gd name="T18" fmla="*/ 93 w 103"/>
                <a:gd name="T19" fmla="*/ 47 h 214"/>
                <a:gd name="T20" fmla="*/ 59 w 103"/>
                <a:gd name="T21" fmla="*/ 31 h 214"/>
                <a:gd name="T22" fmla="*/ 59 w 103"/>
                <a:gd name="T23" fmla="*/ 9 h 214"/>
                <a:gd name="T24" fmla="*/ 50 w 103"/>
                <a:gd name="T25" fmla="*/ 0 h 214"/>
                <a:gd name="T26" fmla="*/ 41 w 103"/>
                <a:gd name="T27" fmla="*/ 9 h 214"/>
                <a:gd name="T28" fmla="*/ 41 w 103"/>
                <a:gd name="T29" fmla="*/ 31 h 214"/>
                <a:gd name="T30" fmla="*/ 0 w 103"/>
                <a:gd name="T31" fmla="*/ 72 h 214"/>
                <a:gd name="T32" fmla="*/ 30 w 103"/>
                <a:gd name="T33" fmla="*/ 108 h 214"/>
                <a:gd name="T34" fmla="*/ 68 w 103"/>
                <a:gd name="T35" fmla="*/ 125 h 214"/>
                <a:gd name="T36" fmla="*/ 82 w 103"/>
                <a:gd name="T37" fmla="*/ 144 h 214"/>
                <a:gd name="T38" fmla="*/ 50 w 103"/>
                <a:gd name="T39" fmla="*/ 166 h 214"/>
                <a:gd name="T40" fmla="*/ 50 w 103"/>
                <a:gd name="T41" fmla="*/ 166 h 214"/>
                <a:gd name="T42" fmla="*/ 24 w 103"/>
                <a:gd name="T43" fmla="*/ 157 h 214"/>
                <a:gd name="T44" fmla="*/ 18 w 103"/>
                <a:gd name="T45" fmla="*/ 140 h 214"/>
                <a:gd name="T46" fmla="*/ 9 w 103"/>
                <a:gd name="T47" fmla="*/ 130 h 214"/>
                <a:gd name="T48" fmla="*/ 0 w 103"/>
                <a:gd name="T49" fmla="*/ 140 h 214"/>
                <a:gd name="T50" fmla="*/ 12 w 103"/>
                <a:gd name="T51" fmla="*/ 170 h 214"/>
                <a:gd name="T52" fmla="*/ 41 w 103"/>
                <a:gd name="T53" fmla="*/ 184 h 214"/>
                <a:gd name="T54" fmla="*/ 41 w 103"/>
                <a:gd name="T55" fmla="*/ 205 h 214"/>
                <a:gd name="T56" fmla="*/ 50 w 103"/>
                <a:gd name="T57" fmla="*/ 214 h 214"/>
                <a:gd name="T58" fmla="*/ 59 w 103"/>
                <a:gd name="T59" fmla="*/ 205 h 214"/>
                <a:gd name="T60" fmla="*/ 59 w 103"/>
                <a:gd name="T61" fmla="*/ 184 h 214"/>
                <a:gd name="T62" fmla="*/ 100 w 103"/>
                <a:gd name="T63" fmla="*/ 148 h 214"/>
                <a:gd name="T64" fmla="*/ 100 w 103"/>
                <a:gd name="T65" fmla="*/ 146 h 214"/>
                <a:gd name="T66" fmla="*/ 75 w 103"/>
                <a:gd name="T67" fmla="*/ 108 h 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3" h="214">
                  <a:moveTo>
                    <a:pt x="75" y="108"/>
                  </a:moveTo>
                  <a:cubicBezTo>
                    <a:pt x="37" y="91"/>
                    <a:pt x="37" y="91"/>
                    <a:pt x="37" y="91"/>
                  </a:cubicBezTo>
                  <a:cubicBezTo>
                    <a:pt x="36" y="91"/>
                    <a:pt x="36" y="91"/>
                    <a:pt x="36" y="91"/>
                  </a:cubicBezTo>
                  <a:cubicBezTo>
                    <a:pt x="19" y="85"/>
                    <a:pt x="18" y="74"/>
                    <a:pt x="18" y="72"/>
                  </a:cubicBezTo>
                  <a:cubicBezTo>
                    <a:pt x="18" y="49"/>
                    <a:pt x="49" y="48"/>
                    <a:pt x="50" y="48"/>
                  </a:cubicBezTo>
                  <a:cubicBezTo>
                    <a:pt x="64" y="48"/>
                    <a:pt x="74" y="52"/>
                    <a:pt x="79" y="58"/>
                  </a:cubicBezTo>
                  <a:cubicBezTo>
                    <a:pt x="84" y="66"/>
                    <a:pt x="82" y="76"/>
                    <a:pt x="82" y="76"/>
                  </a:cubicBezTo>
                  <a:cubicBezTo>
                    <a:pt x="81" y="81"/>
                    <a:pt x="84" y="86"/>
                    <a:pt x="88" y="87"/>
                  </a:cubicBezTo>
                  <a:cubicBezTo>
                    <a:pt x="93" y="89"/>
                    <a:pt x="98" y="85"/>
                    <a:pt x="99" y="80"/>
                  </a:cubicBezTo>
                  <a:cubicBezTo>
                    <a:pt x="99" y="80"/>
                    <a:pt x="103" y="61"/>
                    <a:pt x="93" y="47"/>
                  </a:cubicBezTo>
                  <a:cubicBezTo>
                    <a:pt x="85" y="38"/>
                    <a:pt x="74" y="32"/>
                    <a:pt x="59" y="31"/>
                  </a:cubicBezTo>
                  <a:cubicBezTo>
                    <a:pt x="59" y="9"/>
                    <a:pt x="59" y="9"/>
                    <a:pt x="59" y="9"/>
                  </a:cubicBezTo>
                  <a:cubicBezTo>
                    <a:pt x="59" y="3"/>
                    <a:pt x="55" y="0"/>
                    <a:pt x="50" y="0"/>
                  </a:cubicBezTo>
                  <a:cubicBezTo>
                    <a:pt x="45" y="0"/>
                    <a:pt x="41" y="3"/>
                    <a:pt x="41" y="9"/>
                  </a:cubicBezTo>
                  <a:cubicBezTo>
                    <a:pt x="41" y="31"/>
                    <a:pt x="41" y="31"/>
                    <a:pt x="41" y="31"/>
                  </a:cubicBezTo>
                  <a:cubicBezTo>
                    <a:pt x="24" y="33"/>
                    <a:pt x="0" y="44"/>
                    <a:pt x="0" y="72"/>
                  </a:cubicBezTo>
                  <a:cubicBezTo>
                    <a:pt x="0" y="73"/>
                    <a:pt x="0" y="99"/>
                    <a:pt x="30" y="108"/>
                  </a:cubicBezTo>
                  <a:cubicBezTo>
                    <a:pt x="68" y="125"/>
                    <a:pt x="68" y="125"/>
                    <a:pt x="68" y="125"/>
                  </a:cubicBezTo>
                  <a:cubicBezTo>
                    <a:pt x="69" y="125"/>
                    <a:pt x="82" y="131"/>
                    <a:pt x="82" y="144"/>
                  </a:cubicBezTo>
                  <a:cubicBezTo>
                    <a:pt x="81" y="149"/>
                    <a:pt x="74" y="166"/>
                    <a:pt x="50" y="166"/>
                  </a:cubicBezTo>
                  <a:cubicBezTo>
                    <a:pt x="50" y="166"/>
                    <a:pt x="50" y="166"/>
                    <a:pt x="50" y="166"/>
                  </a:cubicBezTo>
                  <a:cubicBezTo>
                    <a:pt x="50" y="166"/>
                    <a:pt x="34" y="166"/>
                    <a:pt x="24" y="157"/>
                  </a:cubicBezTo>
                  <a:cubicBezTo>
                    <a:pt x="20" y="153"/>
                    <a:pt x="18" y="147"/>
                    <a:pt x="18" y="140"/>
                  </a:cubicBezTo>
                  <a:cubicBezTo>
                    <a:pt x="18" y="134"/>
                    <a:pt x="14" y="130"/>
                    <a:pt x="9" y="130"/>
                  </a:cubicBezTo>
                  <a:cubicBezTo>
                    <a:pt x="4" y="130"/>
                    <a:pt x="0" y="134"/>
                    <a:pt x="0" y="140"/>
                  </a:cubicBezTo>
                  <a:cubicBezTo>
                    <a:pt x="0" y="152"/>
                    <a:pt x="4" y="162"/>
                    <a:pt x="12" y="170"/>
                  </a:cubicBezTo>
                  <a:cubicBezTo>
                    <a:pt x="21" y="179"/>
                    <a:pt x="33" y="182"/>
                    <a:pt x="41" y="184"/>
                  </a:cubicBezTo>
                  <a:cubicBezTo>
                    <a:pt x="41" y="205"/>
                    <a:pt x="41" y="205"/>
                    <a:pt x="41" y="205"/>
                  </a:cubicBezTo>
                  <a:cubicBezTo>
                    <a:pt x="41" y="210"/>
                    <a:pt x="45" y="214"/>
                    <a:pt x="50" y="214"/>
                  </a:cubicBezTo>
                  <a:cubicBezTo>
                    <a:pt x="55" y="214"/>
                    <a:pt x="59" y="210"/>
                    <a:pt x="59" y="205"/>
                  </a:cubicBezTo>
                  <a:cubicBezTo>
                    <a:pt x="59" y="184"/>
                    <a:pt x="59" y="184"/>
                    <a:pt x="59" y="184"/>
                  </a:cubicBezTo>
                  <a:cubicBezTo>
                    <a:pt x="86" y="180"/>
                    <a:pt x="97" y="159"/>
                    <a:pt x="100" y="148"/>
                  </a:cubicBezTo>
                  <a:cubicBezTo>
                    <a:pt x="100" y="147"/>
                    <a:pt x="100" y="146"/>
                    <a:pt x="100" y="146"/>
                  </a:cubicBezTo>
                  <a:cubicBezTo>
                    <a:pt x="100" y="119"/>
                    <a:pt x="76" y="109"/>
                    <a:pt x="75" y="108"/>
                  </a:cubicBezTo>
                  <a:close/>
                </a:path>
              </a:pathLst>
            </a:custGeom>
            <a:grpFill/>
            <a:ln>
              <a:noFill/>
            </a:ln>
            <a:extLst>
              <a:ext uri="{91240B29-F687-4F45-9708-019B960494DF}">
                <a14:hiddenLine xmlns:a14="http://schemas.microsoft.com/office/drawing/2010/main" w="0" cap="flat" cmpd="sng" algn="ctr">
                  <a:solidFill>
                    <a:srgbClr val="FFFFFF">
                      <a:alpha val="0"/>
                    </a:srgbClr>
                  </a:solidFill>
                  <a:prstDash val="solid"/>
                  <a:round/>
                  <a:headEnd type="none" w="med" len="med"/>
                  <a:tailEnd type="none" w="med" len="me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552" name="TextBox 551"/>
          <p:cNvSpPr txBox="1"/>
          <p:nvPr/>
        </p:nvSpPr>
        <p:spPr>
          <a:xfrm>
            <a:off x="5563556" y="3570434"/>
            <a:ext cx="227626" cy="24622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b="1" dirty="0">
                <a:solidFill>
                  <a:schemeClr val="accent4"/>
                </a:solidFill>
              </a:rPr>
              <a:t>39</a:t>
            </a:r>
          </a:p>
        </p:txBody>
      </p:sp>
      <p:sp>
        <p:nvSpPr>
          <p:cNvPr id="48" name="TextBox 47">
            <a:extLst>
              <a:ext uri="{FF2B5EF4-FFF2-40B4-BE49-F238E27FC236}">
                <a16:creationId xmlns:a16="http://schemas.microsoft.com/office/drawing/2014/main" id="{4D5EB9D2-681E-4BC0-AFE5-96D5C5B19011}"/>
              </a:ext>
            </a:extLst>
          </p:cNvPr>
          <p:cNvSpPr txBox="1">
            <a:spLocks/>
          </p:cNvSpPr>
          <p:nvPr/>
        </p:nvSpPr>
        <p:spPr>
          <a:xfrm>
            <a:off x="5014036" y="2998191"/>
            <a:ext cx="1478768" cy="492443"/>
          </a:xfrm>
          <a:prstGeom prst="rect">
            <a:avLst/>
          </a:prstGeom>
        </p:spPr>
        <p:txBody>
          <a:bodyPr vert="horz" lIns="0" tIns="0" rIns="0" bIns="0" rtlCol="0">
            <a:sp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fontAlgn="auto">
              <a:spcBef>
                <a:spcPts val="0"/>
              </a:spcBef>
              <a:spcAft>
                <a:spcPts val="0"/>
              </a:spcAft>
              <a:defRPr/>
            </a:pPr>
            <a:r>
              <a:rPr kumimoji="1" lang="en-US" altLang="ja-JP" sz="1600" b="1" kern="0" dirty="0">
                <a:solidFill>
                  <a:schemeClr val="accent4"/>
                </a:solidFill>
              </a:rPr>
              <a:t>Financial Services</a:t>
            </a:r>
            <a:endParaRPr kumimoji="1" lang="ja-JP" altLang="en-US" sz="1600" b="1" kern="0" dirty="0" err="1">
              <a:solidFill>
                <a:schemeClr val="accent4"/>
              </a:solidFill>
            </a:endParaRPr>
          </a:p>
        </p:txBody>
      </p:sp>
      <p:grpSp>
        <p:nvGrpSpPr>
          <p:cNvPr id="540" name="CustomIcon"/>
          <p:cNvGrpSpPr>
            <a:grpSpLocks noChangeAspect="1"/>
          </p:cNvGrpSpPr>
          <p:nvPr>
            <p:custDataLst>
              <p:tags r:id="rId8"/>
            </p:custDataLst>
          </p:nvPr>
        </p:nvGrpSpPr>
        <p:grpSpPr>
          <a:xfrm>
            <a:off x="6903096" y="3927979"/>
            <a:ext cx="310409" cy="310456"/>
            <a:chOff x="-14288" y="1588"/>
            <a:chExt cx="6731000" cy="6718300"/>
          </a:xfrm>
          <a:solidFill>
            <a:schemeClr val="accent4"/>
          </a:solidFill>
        </p:grpSpPr>
        <p:sp>
          <p:nvSpPr>
            <p:cNvPr id="535" name="Freeform 68"/>
            <p:cNvSpPr>
              <a:spLocks noEditPoints="1"/>
            </p:cNvSpPr>
            <p:nvPr/>
          </p:nvSpPr>
          <p:spPr bwMode="auto">
            <a:xfrm>
              <a:off x="-7938" y="1588"/>
              <a:ext cx="6724650" cy="6718300"/>
            </a:xfrm>
            <a:custGeom>
              <a:avLst/>
              <a:gdLst>
                <a:gd name="T0" fmla="*/ 2602 w 3200"/>
                <a:gd name="T1" fmla="*/ 177 h 3196"/>
                <a:gd name="T2" fmla="*/ 2010 w 3200"/>
                <a:gd name="T3" fmla="*/ 766 h 3196"/>
                <a:gd name="T4" fmla="*/ 424 w 3200"/>
                <a:gd name="T5" fmla="*/ 390 h 3196"/>
                <a:gd name="T6" fmla="*/ 4 w 3200"/>
                <a:gd name="T7" fmla="*/ 639 h 3196"/>
                <a:gd name="T8" fmla="*/ 1377 w 3200"/>
                <a:gd name="T9" fmla="*/ 1465 h 3196"/>
                <a:gd name="T10" fmla="*/ 807 w 3200"/>
                <a:gd name="T11" fmla="*/ 2098 h 3196"/>
                <a:gd name="T12" fmla="*/ 222 w 3200"/>
                <a:gd name="T13" fmla="*/ 2118 h 3196"/>
                <a:gd name="T14" fmla="*/ 6 w 3200"/>
                <a:gd name="T15" fmla="*/ 2379 h 3196"/>
                <a:gd name="T16" fmla="*/ 592 w 3200"/>
                <a:gd name="T17" fmla="*/ 2608 h 3196"/>
                <a:gd name="T18" fmla="*/ 821 w 3200"/>
                <a:gd name="T19" fmla="*/ 3194 h 3196"/>
                <a:gd name="T20" fmla="*/ 884 w 3200"/>
                <a:gd name="T21" fmla="*/ 3176 h 3196"/>
                <a:gd name="T22" fmla="*/ 1102 w 3200"/>
                <a:gd name="T23" fmla="*/ 2931 h 3196"/>
                <a:gd name="T24" fmla="*/ 1735 w 3200"/>
                <a:gd name="T25" fmla="*/ 1822 h 3196"/>
                <a:gd name="T26" fmla="*/ 2501 w 3200"/>
                <a:gd name="T27" fmla="*/ 3162 h 3196"/>
                <a:gd name="T28" fmla="*/ 2561 w 3200"/>
                <a:gd name="T29" fmla="*/ 3196 h 3196"/>
                <a:gd name="T30" fmla="*/ 2810 w 3200"/>
                <a:gd name="T31" fmla="*/ 2776 h 3196"/>
                <a:gd name="T32" fmla="*/ 2434 w 3200"/>
                <a:gd name="T33" fmla="*/ 1190 h 3196"/>
                <a:gd name="T34" fmla="*/ 3023 w 3200"/>
                <a:gd name="T35" fmla="*/ 598 h 3196"/>
                <a:gd name="T36" fmla="*/ 3133 w 3200"/>
                <a:gd name="T37" fmla="*/ 0 h 3196"/>
                <a:gd name="T38" fmla="*/ 213 w 3200"/>
                <a:gd name="T39" fmla="*/ 645 h 3196"/>
                <a:gd name="T40" fmla="*/ 1908 w 3200"/>
                <a:gd name="T41" fmla="*/ 879 h 3196"/>
                <a:gd name="T42" fmla="*/ 1444 w 3200"/>
                <a:gd name="T43" fmla="*/ 1349 h 3196"/>
                <a:gd name="T44" fmla="*/ 2555 w 3200"/>
                <a:gd name="T45" fmla="*/ 2987 h 3196"/>
                <a:gd name="T46" fmla="*/ 1831 w 3200"/>
                <a:gd name="T47" fmla="*/ 1735 h 3196"/>
                <a:gd name="T48" fmla="*/ 2679 w 3200"/>
                <a:gd name="T49" fmla="*/ 2739 h 3196"/>
                <a:gd name="T50" fmla="*/ 990 w 3200"/>
                <a:gd name="T51" fmla="*/ 2314 h 3196"/>
                <a:gd name="T52" fmla="*/ 968 w 3200"/>
                <a:gd name="T53" fmla="*/ 2903 h 3196"/>
                <a:gd name="T54" fmla="*/ 708 w 3200"/>
                <a:gd name="T55" fmla="*/ 2534 h 3196"/>
                <a:gd name="T56" fmla="*/ 195 w 3200"/>
                <a:gd name="T57" fmla="*/ 2334 h 3196"/>
                <a:gd name="T58" fmla="*/ 836 w 3200"/>
                <a:gd name="T59" fmla="*/ 2232 h 3196"/>
                <a:gd name="T60" fmla="*/ 855 w 3200"/>
                <a:gd name="T61" fmla="*/ 2229 h 3196"/>
                <a:gd name="T62" fmla="*/ 2363 w 3200"/>
                <a:gd name="T63" fmla="*/ 575 h 3196"/>
                <a:gd name="T64" fmla="*/ 2625 w 3200"/>
                <a:gd name="T65" fmla="*/ 837 h 3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200" h="3196">
                  <a:moveTo>
                    <a:pt x="3133" y="0"/>
                  </a:moveTo>
                  <a:cubicBezTo>
                    <a:pt x="2952" y="0"/>
                    <a:pt x="2774" y="60"/>
                    <a:pt x="2602" y="177"/>
                  </a:cubicBezTo>
                  <a:cubicBezTo>
                    <a:pt x="2465" y="270"/>
                    <a:pt x="2354" y="385"/>
                    <a:pt x="2264" y="485"/>
                  </a:cubicBezTo>
                  <a:cubicBezTo>
                    <a:pt x="2010" y="766"/>
                    <a:pt x="2010" y="766"/>
                    <a:pt x="2010" y="766"/>
                  </a:cubicBezTo>
                  <a:cubicBezTo>
                    <a:pt x="470" y="385"/>
                    <a:pt x="470" y="385"/>
                    <a:pt x="470" y="385"/>
                  </a:cubicBezTo>
                  <a:cubicBezTo>
                    <a:pt x="454" y="381"/>
                    <a:pt x="438" y="383"/>
                    <a:pt x="424" y="390"/>
                  </a:cubicBezTo>
                  <a:cubicBezTo>
                    <a:pt x="41" y="582"/>
                    <a:pt x="41" y="582"/>
                    <a:pt x="41" y="582"/>
                  </a:cubicBezTo>
                  <a:cubicBezTo>
                    <a:pt x="19" y="593"/>
                    <a:pt x="5" y="615"/>
                    <a:pt x="4" y="639"/>
                  </a:cubicBezTo>
                  <a:cubicBezTo>
                    <a:pt x="3" y="664"/>
                    <a:pt x="16" y="687"/>
                    <a:pt x="38" y="699"/>
                  </a:cubicBezTo>
                  <a:cubicBezTo>
                    <a:pt x="1377" y="1465"/>
                    <a:pt x="1377" y="1465"/>
                    <a:pt x="1377" y="1465"/>
                  </a:cubicBezTo>
                  <a:cubicBezTo>
                    <a:pt x="1378" y="1465"/>
                    <a:pt x="1378" y="1465"/>
                    <a:pt x="1378" y="1465"/>
                  </a:cubicBezTo>
                  <a:cubicBezTo>
                    <a:pt x="807" y="2098"/>
                    <a:pt x="807" y="2098"/>
                    <a:pt x="807" y="2098"/>
                  </a:cubicBezTo>
                  <a:cubicBezTo>
                    <a:pt x="269" y="2098"/>
                    <a:pt x="269" y="2098"/>
                    <a:pt x="269" y="2098"/>
                  </a:cubicBezTo>
                  <a:cubicBezTo>
                    <a:pt x="252" y="2098"/>
                    <a:pt x="235" y="2105"/>
                    <a:pt x="222" y="2118"/>
                  </a:cubicBezTo>
                  <a:cubicBezTo>
                    <a:pt x="24" y="2316"/>
                    <a:pt x="24" y="2316"/>
                    <a:pt x="24" y="2316"/>
                  </a:cubicBezTo>
                  <a:cubicBezTo>
                    <a:pt x="7" y="2333"/>
                    <a:pt x="0" y="2356"/>
                    <a:pt x="6" y="2379"/>
                  </a:cubicBezTo>
                  <a:cubicBezTo>
                    <a:pt x="11" y="2402"/>
                    <a:pt x="28" y="2420"/>
                    <a:pt x="50" y="2427"/>
                  </a:cubicBezTo>
                  <a:cubicBezTo>
                    <a:pt x="592" y="2608"/>
                    <a:pt x="592" y="2608"/>
                    <a:pt x="592" y="2608"/>
                  </a:cubicBezTo>
                  <a:cubicBezTo>
                    <a:pt x="773" y="3150"/>
                    <a:pt x="773" y="3150"/>
                    <a:pt x="773" y="3150"/>
                  </a:cubicBezTo>
                  <a:cubicBezTo>
                    <a:pt x="780" y="3172"/>
                    <a:pt x="798" y="3189"/>
                    <a:pt x="821" y="3194"/>
                  </a:cubicBezTo>
                  <a:cubicBezTo>
                    <a:pt x="826" y="3195"/>
                    <a:pt x="831" y="3196"/>
                    <a:pt x="836" y="3196"/>
                  </a:cubicBezTo>
                  <a:cubicBezTo>
                    <a:pt x="854" y="3196"/>
                    <a:pt x="871" y="3189"/>
                    <a:pt x="884" y="3176"/>
                  </a:cubicBezTo>
                  <a:cubicBezTo>
                    <a:pt x="1082" y="2978"/>
                    <a:pt x="1082" y="2978"/>
                    <a:pt x="1082" y="2978"/>
                  </a:cubicBezTo>
                  <a:cubicBezTo>
                    <a:pt x="1095" y="2965"/>
                    <a:pt x="1102" y="2948"/>
                    <a:pt x="1102" y="2931"/>
                  </a:cubicBezTo>
                  <a:cubicBezTo>
                    <a:pt x="1102" y="2393"/>
                    <a:pt x="1102" y="2393"/>
                    <a:pt x="1102" y="2393"/>
                  </a:cubicBezTo>
                  <a:cubicBezTo>
                    <a:pt x="1735" y="1822"/>
                    <a:pt x="1735" y="1822"/>
                    <a:pt x="1735" y="1822"/>
                  </a:cubicBezTo>
                  <a:cubicBezTo>
                    <a:pt x="1735" y="1822"/>
                    <a:pt x="1735" y="1822"/>
                    <a:pt x="1735" y="1823"/>
                  </a:cubicBezTo>
                  <a:cubicBezTo>
                    <a:pt x="2501" y="3162"/>
                    <a:pt x="2501" y="3162"/>
                    <a:pt x="2501" y="3162"/>
                  </a:cubicBezTo>
                  <a:cubicBezTo>
                    <a:pt x="2513" y="3183"/>
                    <a:pt x="2535" y="3196"/>
                    <a:pt x="2559" y="3196"/>
                  </a:cubicBezTo>
                  <a:cubicBezTo>
                    <a:pt x="2559" y="3196"/>
                    <a:pt x="2560" y="3196"/>
                    <a:pt x="2561" y="3196"/>
                  </a:cubicBezTo>
                  <a:cubicBezTo>
                    <a:pt x="2585" y="3195"/>
                    <a:pt x="2607" y="3181"/>
                    <a:pt x="2618" y="3159"/>
                  </a:cubicBezTo>
                  <a:cubicBezTo>
                    <a:pt x="2810" y="2776"/>
                    <a:pt x="2810" y="2776"/>
                    <a:pt x="2810" y="2776"/>
                  </a:cubicBezTo>
                  <a:cubicBezTo>
                    <a:pt x="2817" y="2762"/>
                    <a:pt x="2819" y="2746"/>
                    <a:pt x="2815" y="2730"/>
                  </a:cubicBezTo>
                  <a:cubicBezTo>
                    <a:pt x="2434" y="1190"/>
                    <a:pt x="2434" y="1190"/>
                    <a:pt x="2434" y="1190"/>
                  </a:cubicBezTo>
                  <a:cubicBezTo>
                    <a:pt x="2715" y="936"/>
                    <a:pt x="2715" y="936"/>
                    <a:pt x="2715" y="936"/>
                  </a:cubicBezTo>
                  <a:cubicBezTo>
                    <a:pt x="2815" y="846"/>
                    <a:pt x="2930" y="735"/>
                    <a:pt x="3023" y="598"/>
                  </a:cubicBezTo>
                  <a:cubicBezTo>
                    <a:pt x="3140" y="426"/>
                    <a:pt x="3200" y="248"/>
                    <a:pt x="3200" y="67"/>
                  </a:cubicBezTo>
                  <a:cubicBezTo>
                    <a:pt x="3200" y="30"/>
                    <a:pt x="3170" y="0"/>
                    <a:pt x="3133" y="0"/>
                  </a:cubicBezTo>
                  <a:close/>
                  <a:moveTo>
                    <a:pt x="1444" y="1349"/>
                  </a:moveTo>
                  <a:cubicBezTo>
                    <a:pt x="213" y="645"/>
                    <a:pt x="213" y="645"/>
                    <a:pt x="213" y="645"/>
                  </a:cubicBezTo>
                  <a:cubicBezTo>
                    <a:pt x="461" y="521"/>
                    <a:pt x="461" y="521"/>
                    <a:pt x="461" y="521"/>
                  </a:cubicBezTo>
                  <a:cubicBezTo>
                    <a:pt x="1908" y="879"/>
                    <a:pt x="1908" y="879"/>
                    <a:pt x="1908" y="879"/>
                  </a:cubicBezTo>
                  <a:cubicBezTo>
                    <a:pt x="1465" y="1369"/>
                    <a:pt x="1465" y="1369"/>
                    <a:pt x="1465" y="1369"/>
                  </a:cubicBezTo>
                  <a:cubicBezTo>
                    <a:pt x="1460" y="1361"/>
                    <a:pt x="1453" y="1354"/>
                    <a:pt x="1444" y="1349"/>
                  </a:cubicBezTo>
                  <a:close/>
                  <a:moveTo>
                    <a:pt x="2679" y="2739"/>
                  </a:moveTo>
                  <a:cubicBezTo>
                    <a:pt x="2555" y="2987"/>
                    <a:pt x="2555" y="2987"/>
                    <a:pt x="2555" y="2987"/>
                  </a:cubicBezTo>
                  <a:cubicBezTo>
                    <a:pt x="1851" y="1756"/>
                    <a:pt x="1851" y="1756"/>
                    <a:pt x="1851" y="1756"/>
                  </a:cubicBezTo>
                  <a:cubicBezTo>
                    <a:pt x="1846" y="1747"/>
                    <a:pt x="1839" y="1740"/>
                    <a:pt x="1831" y="1735"/>
                  </a:cubicBezTo>
                  <a:cubicBezTo>
                    <a:pt x="2321" y="1292"/>
                    <a:pt x="2321" y="1292"/>
                    <a:pt x="2321" y="1292"/>
                  </a:cubicBezTo>
                  <a:lnTo>
                    <a:pt x="2679" y="2739"/>
                  </a:lnTo>
                  <a:close/>
                  <a:moveTo>
                    <a:pt x="2625" y="837"/>
                  </a:moveTo>
                  <a:cubicBezTo>
                    <a:pt x="990" y="2314"/>
                    <a:pt x="990" y="2314"/>
                    <a:pt x="990" y="2314"/>
                  </a:cubicBezTo>
                  <a:cubicBezTo>
                    <a:pt x="976" y="2327"/>
                    <a:pt x="968" y="2345"/>
                    <a:pt x="968" y="2364"/>
                  </a:cubicBezTo>
                  <a:cubicBezTo>
                    <a:pt x="968" y="2903"/>
                    <a:pt x="968" y="2903"/>
                    <a:pt x="968" y="2903"/>
                  </a:cubicBezTo>
                  <a:cubicBezTo>
                    <a:pt x="866" y="3005"/>
                    <a:pt x="866" y="3005"/>
                    <a:pt x="866" y="3005"/>
                  </a:cubicBezTo>
                  <a:cubicBezTo>
                    <a:pt x="708" y="2534"/>
                    <a:pt x="708" y="2534"/>
                    <a:pt x="708" y="2534"/>
                  </a:cubicBezTo>
                  <a:cubicBezTo>
                    <a:pt x="702" y="2514"/>
                    <a:pt x="686" y="2498"/>
                    <a:pt x="666" y="2492"/>
                  </a:cubicBezTo>
                  <a:cubicBezTo>
                    <a:pt x="195" y="2334"/>
                    <a:pt x="195" y="2334"/>
                    <a:pt x="195" y="2334"/>
                  </a:cubicBezTo>
                  <a:cubicBezTo>
                    <a:pt x="297" y="2232"/>
                    <a:pt x="297" y="2232"/>
                    <a:pt x="297" y="2232"/>
                  </a:cubicBezTo>
                  <a:cubicBezTo>
                    <a:pt x="836" y="2232"/>
                    <a:pt x="836" y="2232"/>
                    <a:pt x="836" y="2232"/>
                  </a:cubicBezTo>
                  <a:cubicBezTo>
                    <a:pt x="838" y="2232"/>
                    <a:pt x="841" y="2232"/>
                    <a:pt x="844" y="2231"/>
                  </a:cubicBezTo>
                  <a:cubicBezTo>
                    <a:pt x="848" y="2231"/>
                    <a:pt x="852" y="2230"/>
                    <a:pt x="855" y="2229"/>
                  </a:cubicBezTo>
                  <a:cubicBezTo>
                    <a:pt x="867" y="2226"/>
                    <a:pt x="877" y="2219"/>
                    <a:pt x="886" y="2210"/>
                  </a:cubicBezTo>
                  <a:cubicBezTo>
                    <a:pt x="2363" y="575"/>
                    <a:pt x="2363" y="575"/>
                    <a:pt x="2363" y="575"/>
                  </a:cubicBezTo>
                  <a:cubicBezTo>
                    <a:pt x="2546" y="373"/>
                    <a:pt x="2770" y="167"/>
                    <a:pt x="3062" y="138"/>
                  </a:cubicBezTo>
                  <a:cubicBezTo>
                    <a:pt x="3033" y="430"/>
                    <a:pt x="2827" y="654"/>
                    <a:pt x="2625" y="837"/>
                  </a:cubicBezTo>
                  <a:close/>
                </a:path>
              </a:pathLst>
            </a:custGeom>
            <a:grpFill/>
            <a:ln>
              <a:noFill/>
            </a:ln>
            <a:extLst>
              <a:ext uri="{91240B29-F687-4F45-9708-019B960494DF}">
                <a14:hiddenLine xmlns:a14="http://schemas.microsoft.com/office/drawing/2010/main" w="0" cap="flat" cmpd="sng" algn="ctr">
                  <a:solidFill>
                    <a:srgbClr val="FFFFFF">
                      <a:alpha val="0"/>
                    </a:srgbClr>
                  </a:solidFill>
                  <a:prstDash val="solid"/>
                  <a:round/>
                  <a:headEnd type="none" w="med" len="med"/>
                  <a:tailEnd type="none" w="med" len="med"/>
                </a14:hiddenLine>
              </a:ext>
            </a:extLst>
          </p:spPr>
          <p:txBody>
            <a:bodyPr vert="horz" wrap="square" lIns="91440" tIns="45720" rIns="91440" bIns="45720" numCol="1" anchor="t" anchorCtr="0" compatLnSpc="1">
              <a:prstTxWarp prst="textNoShape">
                <a:avLst/>
              </a:prstTxWarp>
            </a:bodyPr>
            <a:lstStyle/>
            <a:p>
              <a:endParaRPr lang="en-US"/>
            </a:p>
          </p:txBody>
        </p:sp>
        <p:sp>
          <p:nvSpPr>
            <p:cNvPr id="536" name="Freeform 69"/>
            <p:cNvSpPr>
              <a:spLocks/>
            </p:cNvSpPr>
            <p:nvPr/>
          </p:nvSpPr>
          <p:spPr bwMode="auto">
            <a:xfrm>
              <a:off x="-14288" y="2401888"/>
              <a:ext cx="1112838" cy="1100138"/>
            </a:xfrm>
            <a:custGeom>
              <a:avLst/>
              <a:gdLst>
                <a:gd name="T0" fmla="*/ 409 w 530"/>
                <a:gd name="T1" fmla="*/ 26 h 523"/>
                <a:gd name="T2" fmla="*/ 27 w 530"/>
                <a:gd name="T3" fmla="*/ 409 h 523"/>
                <a:gd name="T4" fmla="*/ 27 w 530"/>
                <a:gd name="T5" fmla="*/ 503 h 523"/>
                <a:gd name="T6" fmla="*/ 74 w 530"/>
                <a:gd name="T7" fmla="*/ 523 h 523"/>
                <a:gd name="T8" fmla="*/ 121 w 530"/>
                <a:gd name="T9" fmla="*/ 503 h 523"/>
                <a:gd name="T10" fmla="*/ 504 w 530"/>
                <a:gd name="T11" fmla="*/ 121 h 523"/>
                <a:gd name="T12" fmla="*/ 504 w 530"/>
                <a:gd name="T13" fmla="*/ 26 h 523"/>
                <a:gd name="T14" fmla="*/ 409 w 530"/>
                <a:gd name="T15" fmla="*/ 26 h 5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30" h="523">
                  <a:moveTo>
                    <a:pt x="409" y="26"/>
                  </a:moveTo>
                  <a:cubicBezTo>
                    <a:pt x="27" y="409"/>
                    <a:pt x="27" y="409"/>
                    <a:pt x="27" y="409"/>
                  </a:cubicBezTo>
                  <a:cubicBezTo>
                    <a:pt x="0" y="435"/>
                    <a:pt x="0" y="477"/>
                    <a:pt x="27" y="503"/>
                  </a:cubicBezTo>
                  <a:cubicBezTo>
                    <a:pt x="40" y="517"/>
                    <a:pt x="57" y="523"/>
                    <a:pt x="74" y="523"/>
                  </a:cubicBezTo>
                  <a:cubicBezTo>
                    <a:pt x="91" y="523"/>
                    <a:pt x="108" y="517"/>
                    <a:pt x="121" y="503"/>
                  </a:cubicBezTo>
                  <a:cubicBezTo>
                    <a:pt x="504" y="121"/>
                    <a:pt x="504" y="121"/>
                    <a:pt x="504" y="121"/>
                  </a:cubicBezTo>
                  <a:cubicBezTo>
                    <a:pt x="530" y="95"/>
                    <a:pt x="530" y="52"/>
                    <a:pt x="504" y="26"/>
                  </a:cubicBezTo>
                  <a:cubicBezTo>
                    <a:pt x="478" y="0"/>
                    <a:pt x="435" y="0"/>
                    <a:pt x="409" y="26"/>
                  </a:cubicBezTo>
                  <a:close/>
                </a:path>
              </a:pathLst>
            </a:custGeom>
            <a:grpFill/>
            <a:ln>
              <a:noFill/>
            </a:ln>
            <a:extLst>
              <a:ext uri="{91240B29-F687-4F45-9708-019B960494DF}">
                <a14:hiddenLine xmlns:a14="http://schemas.microsoft.com/office/drawing/2010/main" w="0" cap="flat" cmpd="sng" algn="ctr">
                  <a:solidFill>
                    <a:srgbClr val="FFFFFF">
                      <a:alpha val="0"/>
                    </a:srgbClr>
                  </a:solidFill>
                  <a:prstDash val="solid"/>
                  <a:round/>
                  <a:headEnd type="none" w="med" len="med"/>
                  <a:tailEnd type="none" w="med" len="med"/>
                </a14:hiddenLine>
              </a:ext>
            </a:extLst>
          </p:spPr>
          <p:txBody>
            <a:bodyPr vert="horz" wrap="square" lIns="91440" tIns="45720" rIns="91440" bIns="45720" numCol="1" anchor="t" anchorCtr="0" compatLnSpc="1">
              <a:prstTxWarp prst="textNoShape">
                <a:avLst/>
              </a:prstTxWarp>
            </a:bodyPr>
            <a:lstStyle/>
            <a:p>
              <a:endParaRPr lang="en-US"/>
            </a:p>
          </p:txBody>
        </p:sp>
        <p:sp>
          <p:nvSpPr>
            <p:cNvPr id="537" name="Freeform 70"/>
            <p:cNvSpPr>
              <a:spLocks/>
            </p:cNvSpPr>
            <p:nvPr/>
          </p:nvSpPr>
          <p:spPr bwMode="auto">
            <a:xfrm>
              <a:off x="790575" y="2803525"/>
              <a:ext cx="1114425" cy="1100138"/>
            </a:xfrm>
            <a:custGeom>
              <a:avLst/>
              <a:gdLst>
                <a:gd name="T0" fmla="*/ 26 w 530"/>
                <a:gd name="T1" fmla="*/ 504 h 523"/>
                <a:gd name="T2" fmla="*/ 74 w 530"/>
                <a:gd name="T3" fmla="*/ 523 h 523"/>
                <a:gd name="T4" fmla="*/ 121 w 530"/>
                <a:gd name="T5" fmla="*/ 504 h 523"/>
                <a:gd name="T6" fmla="*/ 504 w 530"/>
                <a:gd name="T7" fmla="*/ 121 h 523"/>
                <a:gd name="T8" fmla="*/ 504 w 530"/>
                <a:gd name="T9" fmla="*/ 27 h 523"/>
                <a:gd name="T10" fmla="*/ 409 w 530"/>
                <a:gd name="T11" fmla="*/ 27 h 523"/>
                <a:gd name="T12" fmla="*/ 26 w 530"/>
                <a:gd name="T13" fmla="*/ 409 h 523"/>
                <a:gd name="T14" fmla="*/ 26 w 530"/>
                <a:gd name="T15" fmla="*/ 504 h 5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30" h="523">
                  <a:moveTo>
                    <a:pt x="26" y="504"/>
                  </a:moveTo>
                  <a:cubicBezTo>
                    <a:pt x="39" y="517"/>
                    <a:pt x="57" y="523"/>
                    <a:pt x="74" y="523"/>
                  </a:cubicBezTo>
                  <a:cubicBezTo>
                    <a:pt x="91" y="523"/>
                    <a:pt x="108" y="517"/>
                    <a:pt x="121" y="504"/>
                  </a:cubicBezTo>
                  <a:cubicBezTo>
                    <a:pt x="504" y="121"/>
                    <a:pt x="504" y="121"/>
                    <a:pt x="504" y="121"/>
                  </a:cubicBezTo>
                  <a:cubicBezTo>
                    <a:pt x="530" y="95"/>
                    <a:pt x="530" y="53"/>
                    <a:pt x="504" y="27"/>
                  </a:cubicBezTo>
                  <a:cubicBezTo>
                    <a:pt x="478" y="0"/>
                    <a:pt x="435" y="0"/>
                    <a:pt x="409" y="27"/>
                  </a:cubicBezTo>
                  <a:cubicBezTo>
                    <a:pt x="26" y="409"/>
                    <a:pt x="26" y="409"/>
                    <a:pt x="26" y="409"/>
                  </a:cubicBezTo>
                  <a:cubicBezTo>
                    <a:pt x="0" y="435"/>
                    <a:pt x="0" y="478"/>
                    <a:pt x="26" y="504"/>
                  </a:cubicBezTo>
                  <a:close/>
                </a:path>
              </a:pathLst>
            </a:custGeom>
            <a:grpFill/>
            <a:ln>
              <a:noFill/>
            </a:ln>
            <a:extLst>
              <a:ext uri="{91240B29-F687-4F45-9708-019B960494DF}">
                <a14:hiddenLine xmlns:a14="http://schemas.microsoft.com/office/drawing/2010/main" w="0" cap="flat" cmpd="sng" algn="ctr">
                  <a:solidFill>
                    <a:srgbClr val="FFFFFF">
                      <a:alpha val="0"/>
                    </a:srgbClr>
                  </a:solidFill>
                  <a:prstDash val="solid"/>
                  <a:round/>
                  <a:headEnd type="none" w="med" len="med"/>
                  <a:tailEnd type="none" w="med" len="med"/>
                </a14:hiddenLine>
              </a:ext>
            </a:extLst>
          </p:spPr>
          <p:txBody>
            <a:bodyPr vert="horz" wrap="square" lIns="91440" tIns="45720" rIns="91440" bIns="45720" numCol="1" anchor="t" anchorCtr="0" compatLnSpc="1">
              <a:prstTxWarp prst="textNoShape">
                <a:avLst/>
              </a:prstTxWarp>
            </a:bodyPr>
            <a:lstStyle/>
            <a:p>
              <a:endParaRPr lang="en-US"/>
            </a:p>
          </p:txBody>
        </p:sp>
        <p:sp>
          <p:nvSpPr>
            <p:cNvPr id="538" name="Freeform 71"/>
            <p:cNvSpPr>
              <a:spLocks/>
            </p:cNvSpPr>
            <p:nvPr/>
          </p:nvSpPr>
          <p:spPr bwMode="auto">
            <a:xfrm>
              <a:off x="3203575" y="5619750"/>
              <a:ext cx="1112838" cy="1100138"/>
            </a:xfrm>
            <a:custGeom>
              <a:avLst/>
              <a:gdLst>
                <a:gd name="T0" fmla="*/ 409 w 530"/>
                <a:gd name="T1" fmla="*/ 26 h 523"/>
                <a:gd name="T2" fmla="*/ 27 w 530"/>
                <a:gd name="T3" fmla="*/ 409 h 523"/>
                <a:gd name="T4" fmla="*/ 27 w 530"/>
                <a:gd name="T5" fmla="*/ 503 h 523"/>
                <a:gd name="T6" fmla="*/ 74 w 530"/>
                <a:gd name="T7" fmla="*/ 523 h 523"/>
                <a:gd name="T8" fmla="*/ 121 w 530"/>
                <a:gd name="T9" fmla="*/ 503 h 523"/>
                <a:gd name="T10" fmla="*/ 504 w 530"/>
                <a:gd name="T11" fmla="*/ 121 h 523"/>
                <a:gd name="T12" fmla="*/ 504 w 530"/>
                <a:gd name="T13" fmla="*/ 26 h 523"/>
                <a:gd name="T14" fmla="*/ 409 w 530"/>
                <a:gd name="T15" fmla="*/ 26 h 5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30" h="523">
                  <a:moveTo>
                    <a:pt x="409" y="26"/>
                  </a:moveTo>
                  <a:cubicBezTo>
                    <a:pt x="27" y="409"/>
                    <a:pt x="27" y="409"/>
                    <a:pt x="27" y="409"/>
                  </a:cubicBezTo>
                  <a:cubicBezTo>
                    <a:pt x="0" y="435"/>
                    <a:pt x="0" y="477"/>
                    <a:pt x="27" y="503"/>
                  </a:cubicBezTo>
                  <a:cubicBezTo>
                    <a:pt x="40" y="516"/>
                    <a:pt x="57" y="523"/>
                    <a:pt x="74" y="523"/>
                  </a:cubicBezTo>
                  <a:cubicBezTo>
                    <a:pt x="91" y="523"/>
                    <a:pt x="108" y="516"/>
                    <a:pt x="121" y="503"/>
                  </a:cubicBezTo>
                  <a:cubicBezTo>
                    <a:pt x="504" y="121"/>
                    <a:pt x="504" y="121"/>
                    <a:pt x="504" y="121"/>
                  </a:cubicBezTo>
                  <a:cubicBezTo>
                    <a:pt x="530" y="95"/>
                    <a:pt x="530" y="52"/>
                    <a:pt x="504" y="26"/>
                  </a:cubicBezTo>
                  <a:cubicBezTo>
                    <a:pt x="478" y="0"/>
                    <a:pt x="435" y="0"/>
                    <a:pt x="409" y="26"/>
                  </a:cubicBezTo>
                  <a:close/>
                </a:path>
              </a:pathLst>
            </a:custGeom>
            <a:grpFill/>
            <a:ln>
              <a:noFill/>
            </a:ln>
            <a:extLst>
              <a:ext uri="{91240B29-F687-4F45-9708-019B960494DF}">
                <a14:hiddenLine xmlns:a14="http://schemas.microsoft.com/office/drawing/2010/main" w="0" cap="flat" cmpd="sng" algn="ctr">
                  <a:solidFill>
                    <a:srgbClr val="FFFFFF">
                      <a:alpha val="0"/>
                    </a:srgbClr>
                  </a:solidFill>
                  <a:prstDash val="solid"/>
                  <a:round/>
                  <a:headEnd type="none" w="med" len="med"/>
                  <a:tailEnd type="none" w="med" len="med"/>
                </a14:hiddenLine>
              </a:ext>
            </a:extLst>
          </p:spPr>
          <p:txBody>
            <a:bodyPr vert="horz" wrap="square" lIns="91440" tIns="45720" rIns="91440" bIns="45720" numCol="1" anchor="t" anchorCtr="0" compatLnSpc="1">
              <a:prstTxWarp prst="textNoShape">
                <a:avLst/>
              </a:prstTxWarp>
            </a:bodyPr>
            <a:lstStyle/>
            <a:p>
              <a:endParaRPr lang="en-US"/>
            </a:p>
          </p:txBody>
        </p:sp>
        <p:sp>
          <p:nvSpPr>
            <p:cNvPr id="539" name="Freeform 72"/>
            <p:cNvSpPr>
              <a:spLocks/>
            </p:cNvSpPr>
            <p:nvPr/>
          </p:nvSpPr>
          <p:spPr bwMode="auto">
            <a:xfrm>
              <a:off x="2801938" y="4814888"/>
              <a:ext cx="1114425" cy="1100138"/>
            </a:xfrm>
            <a:custGeom>
              <a:avLst/>
              <a:gdLst>
                <a:gd name="T0" fmla="*/ 503 w 530"/>
                <a:gd name="T1" fmla="*/ 26 h 523"/>
                <a:gd name="T2" fmla="*/ 409 w 530"/>
                <a:gd name="T3" fmla="*/ 26 h 523"/>
                <a:gd name="T4" fmla="*/ 26 w 530"/>
                <a:gd name="T5" fmla="*/ 409 h 523"/>
                <a:gd name="T6" fmla="*/ 26 w 530"/>
                <a:gd name="T7" fmla="*/ 504 h 523"/>
                <a:gd name="T8" fmla="*/ 73 w 530"/>
                <a:gd name="T9" fmla="*/ 523 h 523"/>
                <a:gd name="T10" fmla="*/ 121 w 530"/>
                <a:gd name="T11" fmla="*/ 504 h 523"/>
                <a:gd name="T12" fmla="*/ 503 w 530"/>
                <a:gd name="T13" fmla="*/ 121 h 523"/>
                <a:gd name="T14" fmla="*/ 503 w 530"/>
                <a:gd name="T15" fmla="*/ 26 h 5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30" h="523">
                  <a:moveTo>
                    <a:pt x="503" y="26"/>
                  </a:moveTo>
                  <a:cubicBezTo>
                    <a:pt x="477" y="0"/>
                    <a:pt x="435" y="0"/>
                    <a:pt x="409" y="26"/>
                  </a:cubicBezTo>
                  <a:cubicBezTo>
                    <a:pt x="26" y="409"/>
                    <a:pt x="26" y="409"/>
                    <a:pt x="26" y="409"/>
                  </a:cubicBezTo>
                  <a:cubicBezTo>
                    <a:pt x="0" y="435"/>
                    <a:pt x="0" y="478"/>
                    <a:pt x="26" y="504"/>
                  </a:cubicBezTo>
                  <a:cubicBezTo>
                    <a:pt x="39" y="517"/>
                    <a:pt x="56" y="523"/>
                    <a:pt x="73" y="523"/>
                  </a:cubicBezTo>
                  <a:cubicBezTo>
                    <a:pt x="91" y="523"/>
                    <a:pt x="108" y="517"/>
                    <a:pt x="121" y="504"/>
                  </a:cubicBezTo>
                  <a:cubicBezTo>
                    <a:pt x="503" y="121"/>
                    <a:pt x="503" y="121"/>
                    <a:pt x="503" y="121"/>
                  </a:cubicBezTo>
                  <a:cubicBezTo>
                    <a:pt x="530" y="95"/>
                    <a:pt x="530" y="52"/>
                    <a:pt x="503" y="26"/>
                  </a:cubicBezTo>
                  <a:close/>
                </a:path>
              </a:pathLst>
            </a:custGeom>
            <a:grpFill/>
            <a:ln>
              <a:noFill/>
            </a:ln>
            <a:extLst>
              <a:ext uri="{91240B29-F687-4F45-9708-019B960494DF}">
                <a14:hiddenLine xmlns:a14="http://schemas.microsoft.com/office/drawing/2010/main" w="0" cap="flat" cmpd="sng" algn="ctr">
                  <a:solidFill>
                    <a:srgbClr val="FFFFFF">
                      <a:alpha val="0"/>
                    </a:srgbClr>
                  </a:solidFill>
                  <a:prstDash val="solid"/>
                  <a:round/>
                  <a:headEnd type="none" w="med" len="med"/>
                  <a:tailEnd type="none" w="med" len="me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19" name="TextBox 318"/>
          <p:cNvSpPr txBox="1"/>
          <p:nvPr/>
        </p:nvSpPr>
        <p:spPr>
          <a:xfrm>
            <a:off x="7384767" y="3927979"/>
            <a:ext cx="227626" cy="24622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b="1" dirty="0">
                <a:solidFill>
                  <a:schemeClr val="accent4"/>
                </a:solidFill>
              </a:rPr>
              <a:t>34</a:t>
            </a:r>
          </a:p>
        </p:txBody>
      </p:sp>
      <p:sp>
        <p:nvSpPr>
          <p:cNvPr id="49" name="TextBox 48">
            <a:extLst>
              <a:ext uri="{FF2B5EF4-FFF2-40B4-BE49-F238E27FC236}">
                <a16:creationId xmlns:a16="http://schemas.microsoft.com/office/drawing/2014/main" id="{04CCBCB4-BFAE-4F25-B193-BE2FF855E9FE}"/>
              </a:ext>
            </a:extLst>
          </p:cNvPr>
          <p:cNvSpPr txBox="1">
            <a:spLocks/>
          </p:cNvSpPr>
          <p:nvPr/>
        </p:nvSpPr>
        <p:spPr>
          <a:xfrm>
            <a:off x="6903096" y="3326693"/>
            <a:ext cx="1728555" cy="492443"/>
          </a:xfrm>
          <a:prstGeom prst="rect">
            <a:avLst/>
          </a:prstGeom>
        </p:spPr>
        <p:txBody>
          <a:bodyPr vert="horz" lIns="0" tIns="0" rIns="0" bIns="0" rtlCol="0">
            <a:sp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fontAlgn="auto">
              <a:spcBef>
                <a:spcPts val="0"/>
              </a:spcBef>
              <a:spcAft>
                <a:spcPts val="0"/>
              </a:spcAft>
              <a:defRPr/>
            </a:pPr>
            <a:r>
              <a:rPr kumimoji="1" lang="en-US" altLang="ja-JP" sz="1600" b="1" kern="0" dirty="0">
                <a:solidFill>
                  <a:schemeClr val="accent4"/>
                </a:solidFill>
              </a:rPr>
              <a:t>Travel, Transport </a:t>
            </a:r>
            <a:br>
              <a:rPr kumimoji="1" lang="en-US" altLang="ja-JP" sz="1600" b="1" kern="0" dirty="0">
                <a:solidFill>
                  <a:schemeClr val="accent4"/>
                </a:solidFill>
              </a:rPr>
            </a:br>
            <a:r>
              <a:rPr kumimoji="1" lang="en-US" altLang="ja-JP" sz="1600" b="1" kern="0" dirty="0">
                <a:solidFill>
                  <a:schemeClr val="accent4"/>
                </a:solidFill>
              </a:rPr>
              <a:t>&amp; Logistics</a:t>
            </a:r>
            <a:endParaRPr kumimoji="1" lang="ja-JP" altLang="en-US" sz="1600" b="1" kern="0" dirty="0" err="1">
              <a:solidFill>
                <a:schemeClr val="accent4"/>
              </a:solidFill>
            </a:endParaRPr>
          </a:p>
        </p:txBody>
      </p:sp>
      <p:sp>
        <p:nvSpPr>
          <p:cNvPr id="51" name="CustomIcon"/>
          <p:cNvSpPr>
            <a:spLocks noChangeAspect="1" noEditPoints="1"/>
          </p:cNvSpPr>
          <p:nvPr>
            <p:custDataLst>
              <p:tags r:id="rId9"/>
            </p:custDataLst>
          </p:nvPr>
        </p:nvSpPr>
        <p:spPr bwMode="auto">
          <a:xfrm>
            <a:off x="5014036" y="4692118"/>
            <a:ext cx="261508" cy="281898"/>
          </a:xfrm>
          <a:custGeom>
            <a:avLst/>
            <a:gdLst>
              <a:gd name="T0" fmla="*/ 308 w 394"/>
              <a:gd name="T1" fmla="*/ 211 h 424"/>
              <a:gd name="T2" fmla="*/ 339 w 394"/>
              <a:gd name="T3" fmla="*/ 179 h 424"/>
              <a:gd name="T4" fmla="*/ 339 w 394"/>
              <a:gd name="T5" fmla="*/ 43 h 424"/>
              <a:gd name="T6" fmla="*/ 325 w 394"/>
              <a:gd name="T7" fmla="*/ 28 h 424"/>
              <a:gd name="T8" fmla="*/ 257 w 394"/>
              <a:gd name="T9" fmla="*/ 0 h 424"/>
              <a:gd name="T10" fmla="*/ 189 w 394"/>
              <a:gd name="T11" fmla="*/ 28 h 424"/>
              <a:gd name="T12" fmla="*/ 28 w 394"/>
              <a:gd name="T13" fmla="*/ 191 h 424"/>
              <a:gd name="T14" fmla="*/ 0 w 394"/>
              <a:gd name="T15" fmla="*/ 259 h 424"/>
              <a:gd name="T16" fmla="*/ 28 w 394"/>
              <a:gd name="T17" fmla="*/ 327 h 424"/>
              <a:gd name="T18" fmla="*/ 42 w 394"/>
              <a:gd name="T19" fmla="*/ 342 h 424"/>
              <a:gd name="T20" fmla="*/ 110 w 394"/>
              <a:gd name="T21" fmla="*/ 370 h 424"/>
              <a:gd name="T22" fmla="*/ 178 w 394"/>
              <a:gd name="T23" fmla="*/ 342 h 424"/>
              <a:gd name="T24" fmla="*/ 182 w 394"/>
              <a:gd name="T25" fmla="*/ 337 h 424"/>
              <a:gd name="T26" fmla="*/ 287 w 394"/>
              <a:gd name="T27" fmla="*/ 424 h 424"/>
              <a:gd name="T28" fmla="*/ 394 w 394"/>
              <a:gd name="T29" fmla="*/ 316 h 424"/>
              <a:gd name="T30" fmla="*/ 308 w 394"/>
              <a:gd name="T31" fmla="*/ 211 h 424"/>
              <a:gd name="T32" fmla="*/ 202 w 394"/>
              <a:gd name="T33" fmla="*/ 41 h 424"/>
              <a:gd name="T34" fmla="*/ 257 w 394"/>
              <a:gd name="T35" fmla="*/ 18 h 424"/>
              <a:gd name="T36" fmla="*/ 313 w 394"/>
              <a:gd name="T37" fmla="*/ 41 h 424"/>
              <a:gd name="T38" fmla="*/ 327 w 394"/>
              <a:gd name="T39" fmla="*/ 55 h 424"/>
              <a:gd name="T40" fmla="*/ 327 w 394"/>
              <a:gd name="T41" fmla="*/ 166 h 424"/>
              <a:gd name="T42" fmla="*/ 285 w 394"/>
              <a:gd name="T43" fmla="*/ 208 h 424"/>
              <a:gd name="T44" fmla="*/ 284 w 394"/>
              <a:gd name="T45" fmla="*/ 209 h 424"/>
              <a:gd name="T46" fmla="*/ 234 w 394"/>
              <a:gd name="T47" fmla="*/ 223 h 424"/>
              <a:gd name="T48" fmla="*/ 233 w 394"/>
              <a:gd name="T49" fmla="*/ 223 h 424"/>
              <a:gd name="T50" fmla="*/ 128 w 394"/>
              <a:gd name="T51" fmla="*/ 116 h 424"/>
              <a:gd name="T52" fmla="*/ 202 w 394"/>
              <a:gd name="T53" fmla="*/ 41 h 424"/>
              <a:gd name="T54" fmla="*/ 202 w 394"/>
              <a:gd name="T55" fmla="*/ 41 h 424"/>
              <a:gd name="T56" fmla="*/ 177 w 394"/>
              <a:gd name="T57" fmla="*/ 316 h 424"/>
              <a:gd name="T58" fmla="*/ 165 w 394"/>
              <a:gd name="T59" fmla="*/ 329 h 424"/>
              <a:gd name="T60" fmla="*/ 110 w 394"/>
              <a:gd name="T61" fmla="*/ 352 h 424"/>
              <a:gd name="T62" fmla="*/ 54 w 394"/>
              <a:gd name="T63" fmla="*/ 329 h 424"/>
              <a:gd name="T64" fmla="*/ 40 w 394"/>
              <a:gd name="T65" fmla="*/ 315 h 424"/>
              <a:gd name="T66" fmla="*/ 17 w 394"/>
              <a:gd name="T67" fmla="*/ 259 h 424"/>
              <a:gd name="T68" fmla="*/ 40 w 394"/>
              <a:gd name="T69" fmla="*/ 204 h 424"/>
              <a:gd name="T70" fmla="*/ 115 w 394"/>
              <a:gd name="T71" fmla="*/ 129 h 424"/>
              <a:gd name="T72" fmla="*/ 219 w 394"/>
              <a:gd name="T73" fmla="*/ 233 h 424"/>
              <a:gd name="T74" fmla="*/ 180 w 394"/>
              <a:gd name="T75" fmla="*/ 315 h 424"/>
              <a:gd name="T76" fmla="*/ 177 w 394"/>
              <a:gd name="T77" fmla="*/ 316 h 424"/>
              <a:gd name="T78" fmla="*/ 287 w 394"/>
              <a:gd name="T79" fmla="*/ 406 h 424"/>
              <a:gd name="T80" fmla="*/ 198 w 394"/>
              <a:gd name="T81" fmla="*/ 325 h 424"/>
              <a:gd name="T82" fmla="*/ 350 w 394"/>
              <a:gd name="T83" fmla="*/ 325 h 424"/>
              <a:gd name="T84" fmla="*/ 359 w 394"/>
              <a:gd name="T85" fmla="*/ 316 h 424"/>
              <a:gd name="T86" fmla="*/ 350 w 394"/>
              <a:gd name="T87" fmla="*/ 307 h 424"/>
              <a:gd name="T88" fmla="*/ 198 w 394"/>
              <a:gd name="T89" fmla="*/ 307 h 424"/>
              <a:gd name="T90" fmla="*/ 287 w 394"/>
              <a:gd name="T91" fmla="*/ 227 h 424"/>
              <a:gd name="T92" fmla="*/ 376 w 394"/>
              <a:gd name="T93" fmla="*/ 316 h 424"/>
              <a:gd name="T94" fmla="*/ 287 w 394"/>
              <a:gd name="T95" fmla="*/ 406 h 4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94" h="424">
                <a:moveTo>
                  <a:pt x="308" y="211"/>
                </a:moveTo>
                <a:cubicBezTo>
                  <a:pt x="339" y="179"/>
                  <a:pt x="339" y="179"/>
                  <a:pt x="339" y="179"/>
                </a:cubicBezTo>
                <a:cubicBezTo>
                  <a:pt x="377" y="141"/>
                  <a:pt x="377" y="80"/>
                  <a:pt x="339" y="43"/>
                </a:cubicBezTo>
                <a:cubicBezTo>
                  <a:pt x="325" y="28"/>
                  <a:pt x="325" y="28"/>
                  <a:pt x="325" y="28"/>
                </a:cubicBezTo>
                <a:cubicBezTo>
                  <a:pt x="307" y="10"/>
                  <a:pt x="283" y="0"/>
                  <a:pt x="257" y="0"/>
                </a:cubicBezTo>
                <a:cubicBezTo>
                  <a:pt x="232" y="0"/>
                  <a:pt x="208" y="10"/>
                  <a:pt x="189" y="28"/>
                </a:cubicBezTo>
                <a:cubicBezTo>
                  <a:pt x="28" y="191"/>
                  <a:pt x="28" y="191"/>
                  <a:pt x="28" y="191"/>
                </a:cubicBezTo>
                <a:cubicBezTo>
                  <a:pt x="10" y="209"/>
                  <a:pt x="0" y="233"/>
                  <a:pt x="0" y="259"/>
                </a:cubicBezTo>
                <a:cubicBezTo>
                  <a:pt x="0" y="285"/>
                  <a:pt x="10" y="309"/>
                  <a:pt x="28" y="327"/>
                </a:cubicBezTo>
                <a:cubicBezTo>
                  <a:pt x="42" y="342"/>
                  <a:pt x="42" y="342"/>
                  <a:pt x="42" y="342"/>
                </a:cubicBezTo>
                <a:cubicBezTo>
                  <a:pt x="60" y="360"/>
                  <a:pt x="84" y="370"/>
                  <a:pt x="110" y="370"/>
                </a:cubicBezTo>
                <a:cubicBezTo>
                  <a:pt x="136" y="370"/>
                  <a:pt x="160" y="360"/>
                  <a:pt x="178" y="342"/>
                </a:cubicBezTo>
                <a:cubicBezTo>
                  <a:pt x="182" y="337"/>
                  <a:pt x="182" y="337"/>
                  <a:pt x="182" y="337"/>
                </a:cubicBezTo>
                <a:cubicBezTo>
                  <a:pt x="192" y="386"/>
                  <a:pt x="235" y="424"/>
                  <a:pt x="287" y="424"/>
                </a:cubicBezTo>
                <a:cubicBezTo>
                  <a:pt x="346" y="424"/>
                  <a:pt x="394" y="376"/>
                  <a:pt x="394" y="316"/>
                </a:cubicBezTo>
                <a:cubicBezTo>
                  <a:pt x="394" y="264"/>
                  <a:pt x="357" y="221"/>
                  <a:pt x="308" y="211"/>
                </a:cubicBezTo>
                <a:close/>
                <a:moveTo>
                  <a:pt x="202" y="41"/>
                </a:moveTo>
                <a:cubicBezTo>
                  <a:pt x="217" y="26"/>
                  <a:pt x="237" y="18"/>
                  <a:pt x="257" y="18"/>
                </a:cubicBezTo>
                <a:cubicBezTo>
                  <a:pt x="278" y="18"/>
                  <a:pt x="298" y="26"/>
                  <a:pt x="313" y="41"/>
                </a:cubicBezTo>
                <a:cubicBezTo>
                  <a:pt x="327" y="55"/>
                  <a:pt x="327" y="55"/>
                  <a:pt x="327" y="55"/>
                </a:cubicBezTo>
                <a:cubicBezTo>
                  <a:pt x="357" y="86"/>
                  <a:pt x="357" y="136"/>
                  <a:pt x="327" y="166"/>
                </a:cubicBezTo>
                <a:cubicBezTo>
                  <a:pt x="285" y="208"/>
                  <a:pt x="285" y="208"/>
                  <a:pt x="285" y="208"/>
                </a:cubicBezTo>
                <a:cubicBezTo>
                  <a:pt x="285" y="208"/>
                  <a:pt x="285" y="209"/>
                  <a:pt x="284" y="209"/>
                </a:cubicBezTo>
                <a:cubicBezTo>
                  <a:pt x="266" y="209"/>
                  <a:pt x="249" y="214"/>
                  <a:pt x="234" y="223"/>
                </a:cubicBezTo>
                <a:cubicBezTo>
                  <a:pt x="234" y="223"/>
                  <a:pt x="233" y="223"/>
                  <a:pt x="233" y="223"/>
                </a:cubicBezTo>
                <a:cubicBezTo>
                  <a:pt x="128" y="116"/>
                  <a:pt x="128" y="116"/>
                  <a:pt x="128" y="116"/>
                </a:cubicBezTo>
                <a:cubicBezTo>
                  <a:pt x="202" y="41"/>
                  <a:pt x="202" y="41"/>
                  <a:pt x="202" y="41"/>
                </a:cubicBezTo>
                <a:cubicBezTo>
                  <a:pt x="202" y="41"/>
                  <a:pt x="202" y="41"/>
                  <a:pt x="202" y="41"/>
                </a:cubicBezTo>
                <a:close/>
                <a:moveTo>
                  <a:pt x="177" y="316"/>
                </a:moveTo>
                <a:cubicBezTo>
                  <a:pt x="165" y="329"/>
                  <a:pt x="165" y="329"/>
                  <a:pt x="165" y="329"/>
                </a:cubicBezTo>
                <a:cubicBezTo>
                  <a:pt x="150" y="343"/>
                  <a:pt x="131" y="352"/>
                  <a:pt x="110" y="352"/>
                </a:cubicBezTo>
                <a:cubicBezTo>
                  <a:pt x="89" y="352"/>
                  <a:pt x="69" y="343"/>
                  <a:pt x="54" y="329"/>
                </a:cubicBezTo>
                <a:cubicBezTo>
                  <a:pt x="40" y="315"/>
                  <a:pt x="40" y="315"/>
                  <a:pt x="40" y="315"/>
                </a:cubicBezTo>
                <a:cubicBezTo>
                  <a:pt x="26" y="300"/>
                  <a:pt x="17" y="280"/>
                  <a:pt x="17" y="259"/>
                </a:cubicBezTo>
                <a:cubicBezTo>
                  <a:pt x="17" y="238"/>
                  <a:pt x="26" y="218"/>
                  <a:pt x="40" y="204"/>
                </a:cubicBezTo>
                <a:cubicBezTo>
                  <a:pt x="115" y="129"/>
                  <a:pt x="115" y="129"/>
                  <a:pt x="115" y="129"/>
                </a:cubicBezTo>
                <a:cubicBezTo>
                  <a:pt x="219" y="233"/>
                  <a:pt x="219" y="233"/>
                  <a:pt x="219" y="233"/>
                </a:cubicBezTo>
                <a:cubicBezTo>
                  <a:pt x="196" y="253"/>
                  <a:pt x="180" y="282"/>
                  <a:pt x="180" y="315"/>
                </a:cubicBezTo>
                <a:cubicBezTo>
                  <a:pt x="179" y="315"/>
                  <a:pt x="178" y="316"/>
                  <a:pt x="177" y="316"/>
                </a:cubicBezTo>
                <a:close/>
                <a:moveTo>
                  <a:pt x="287" y="406"/>
                </a:moveTo>
                <a:cubicBezTo>
                  <a:pt x="241" y="406"/>
                  <a:pt x="203" y="370"/>
                  <a:pt x="198" y="325"/>
                </a:cubicBezTo>
                <a:cubicBezTo>
                  <a:pt x="350" y="325"/>
                  <a:pt x="350" y="325"/>
                  <a:pt x="350" y="325"/>
                </a:cubicBezTo>
                <a:cubicBezTo>
                  <a:pt x="355" y="325"/>
                  <a:pt x="359" y="321"/>
                  <a:pt x="359" y="316"/>
                </a:cubicBezTo>
                <a:cubicBezTo>
                  <a:pt x="359" y="312"/>
                  <a:pt x="355" y="307"/>
                  <a:pt x="350" y="307"/>
                </a:cubicBezTo>
                <a:cubicBezTo>
                  <a:pt x="198" y="307"/>
                  <a:pt x="198" y="307"/>
                  <a:pt x="198" y="307"/>
                </a:cubicBezTo>
                <a:cubicBezTo>
                  <a:pt x="203" y="262"/>
                  <a:pt x="241" y="227"/>
                  <a:pt x="287" y="227"/>
                </a:cubicBezTo>
                <a:cubicBezTo>
                  <a:pt x="336" y="227"/>
                  <a:pt x="376" y="267"/>
                  <a:pt x="376" y="316"/>
                </a:cubicBezTo>
                <a:cubicBezTo>
                  <a:pt x="376" y="366"/>
                  <a:pt x="336" y="406"/>
                  <a:pt x="287" y="406"/>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a:p>
        </p:txBody>
      </p:sp>
      <p:sp>
        <p:nvSpPr>
          <p:cNvPr id="554" name="TextBox 553"/>
          <p:cNvSpPr txBox="1"/>
          <p:nvPr/>
        </p:nvSpPr>
        <p:spPr>
          <a:xfrm>
            <a:off x="5563557" y="4692118"/>
            <a:ext cx="227626" cy="24622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b="1" dirty="0">
                <a:solidFill>
                  <a:schemeClr val="accent4"/>
                </a:solidFill>
              </a:rPr>
              <a:t>26</a:t>
            </a:r>
          </a:p>
        </p:txBody>
      </p:sp>
      <p:sp>
        <p:nvSpPr>
          <p:cNvPr id="50" name="TextBox 49">
            <a:extLst>
              <a:ext uri="{FF2B5EF4-FFF2-40B4-BE49-F238E27FC236}">
                <a16:creationId xmlns:a16="http://schemas.microsoft.com/office/drawing/2014/main" id="{5CA9DD81-0350-4F33-ACC7-B7D0115E704B}"/>
              </a:ext>
            </a:extLst>
          </p:cNvPr>
          <p:cNvSpPr txBox="1">
            <a:spLocks/>
          </p:cNvSpPr>
          <p:nvPr/>
        </p:nvSpPr>
        <p:spPr>
          <a:xfrm>
            <a:off x="5014037" y="4166962"/>
            <a:ext cx="1478767" cy="492443"/>
          </a:xfrm>
          <a:prstGeom prst="rect">
            <a:avLst/>
          </a:prstGeom>
        </p:spPr>
        <p:txBody>
          <a:bodyPr vert="horz" lIns="0" tIns="0" rIns="0" bIns="0" rtlCol="0">
            <a:sp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fontAlgn="auto">
              <a:spcBef>
                <a:spcPts val="0"/>
              </a:spcBef>
              <a:spcAft>
                <a:spcPts val="0"/>
              </a:spcAft>
              <a:defRPr/>
            </a:pPr>
            <a:r>
              <a:rPr kumimoji="1" lang="en-US" altLang="ja-JP" sz="1600" b="1" kern="0" dirty="0">
                <a:solidFill>
                  <a:schemeClr val="accent4"/>
                </a:solidFill>
              </a:rPr>
              <a:t>Healthcare &amp; Pharma</a:t>
            </a:r>
            <a:endParaRPr kumimoji="1" lang="ja-JP" altLang="en-US" sz="1600" b="1" kern="0" dirty="0" err="1">
              <a:solidFill>
                <a:schemeClr val="accent4"/>
              </a:solidFill>
            </a:endParaRPr>
          </a:p>
        </p:txBody>
      </p:sp>
      <p:sp>
        <p:nvSpPr>
          <p:cNvPr id="14" name="CustomIcon"/>
          <p:cNvSpPr>
            <a:spLocks noChangeAspect="1" noEditPoints="1"/>
          </p:cNvSpPr>
          <p:nvPr>
            <p:custDataLst>
              <p:tags r:id="rId10"/>
            </p:custDataLst>
          </p:nvPr>
        </p:nvSpPr>
        <p:spPr bwMode="auto">
          <a:xfrm>
            <a:off x="6903096" y="4776667"/>
            <a:ext cx="380224" cy="304286"/>
          </a:xfrm>
          <a:custGeom>
            <a:avLst/>
            <a:gdLst>
              <a:gd name="T0" fmla="*/ 396 w 436"/>
              <a:gd name="T1" fmla="*/ 272 h 348"/>
              <a:gd name="T2" fmla="*/ 396 w 436"/>
              <a:gd name="T3" fmla="*/ 231 h 348"/>
              <a:gd name="T4" fmla="*/ 396 w 436"/>
              <a:gd name="T5" fmla="*/ 70 h 348"/>
              <a:gd name="T6" fmla="*/ 436 w 436"/>
              <a:gd name="T7" fmla="*/ 60 h 348"/>
              <a:gd name="T8" fmla="*/ 387 w 436"/>
              <a:gd name="T9" fmla="*/ 51 h 348"/>
              <a:gd name="T10" fmla="*/ 378 w 436"/>
              <a:gd name="T11" fmla="*/ 115 h 348"/>
              <a:gd name="T12" fmla="*/ 256 w 436"/>
              <a:gd name="T13" fmla="*/ 10 h 348"/>
              <a:gd name="T14" fmla="*/ 256 w 436"/>
              <a:gd name="T15" fmla="*/ 10 h 348"/>
              <a:gd name="T16" fmla="*/ 256 w 436"/>
              <a:gd name="T17" fmla="*/ 10 h 348"/>
              <a:gd name="T18" fmla="*/ 209 w 436"/>
              <a:gd name="T19" fmla="*/ 8 h 348"/>
              <a:gd name="T20" fmla="*/ 186 w 436"/>
              <a:gd name="T21" fmla="*/ 29 h 348"/>
              <a:gd name="T22" fmla="*/ 143 w 436"/>
              <a:gd name="T23" fmla="*/ 26 h 348"/>
              <a:gd name="T24" fmla="*/ 60 w 436"/>
              <a:gd name="T25" fmla="*/ 44 h 348"/>
              <a:gd name="T26" fmla="*/ 9 w 436"/>
              <a:gd name="T27" fmla="*/ 34 h 348"/>
              <a:gd name="T28" fmla="*/ 9 w 436"/>
              <a:gd name="T29" fmla="*/ 53 h 348"/>
              <a:gd name="T30" fmla="*/ 41 w 436"/>
              <a:gd name="T31" fmla="*/ 85 h 348"/>
              <a:gd name="T32" fmla="*/ 41 w 436"/>
              <a:gd name="T33" fmla="*/ 256 h 348"/>
              <a:gd name="T34" fmla="*/ 0 w 436"/>
              <a:gd name="T35" fmla="*/ 266 h 348"/>
              <a:gd name="T36" fmla="*/ 50 w 436"/>
              <a:gd name="T37" fmla="*/ 275 h 348"/>
              <a:gd name="T38" fmla="*/ 60 w 436"/>
              <a:gd name="T39" fmla="*/ 236 h 348"/>
              <a:gd name="T40" fmla="*/ 125 w 436"/>
              <a:gd name="T41" fmla="*/ 331 h 348"/>
              <a:gd name="T42" fmla="*/ 156 w 436"/>
              <a:gd name="T43" fmla="*/ 348 h 348"/>
              <a:gd name="T44" fmla="*/ 208 w 436"/>
              <a:gd name="T45" fmla="*/ 331 h 348"/>
              <a:gd name="T46" fmla="*/ 259 w 436"/>
              <a:gd name="T47" fmla="*/ 310 h 348"/>
              <a:gd name="T48" fmla="*/ 297 w 436"/>
              <a:gd name="T49" fmla="*/ 280 h 348"/>
              <a:gd name="T50" fmla="*/ 337 w 436"/>
              <a:gd name="T51" fmla="*/ 262 h 348"/>
              <a:gd name="T52" fmla="*/ 378 w 436"/>
              <a:gd name="T53" fmla="*/ 281 h 348"/>
              <a:gd name="T54" fmla="*/ 426 w 436"/>
              <a:gd name="T55" fmla="*/ 291 h 348"/>
              <a:gd name="T56" fmla="*/ 426 w 436"/>
              <a:gd name="T57" fmla="*/ 272 h 348"/>
              <a:gd name="T58" fmla="*/ 290 w 436"/>
              <a:gd name="T59" fmla="*/ 255 h 348"/>
              <a:gd name="T60" fmla="*/ 275 w 436"/>
              <a:gd name="T61" fmla="*/ 266 h 348"/>
              <a:gd name="T62" fmla="*/ 278 w 436"/>
              <a:gd name="T63" fmla="*/ 272 h 348"/>
              <a:gd name="T64" fmla="*/ 259 w 436"/>
              <a:gd name="T65" fmla="*/ 291 h 348"/>
              <a:gd name="T66" fmla="*/ 243 w 436"/>
              <a:gd name="T67" fmla="*/ 279 h 348"/>
              <a:gd name="T68" fmla="*/ 227 w 436"/>
              <a:gd name="T69" fmla="*/ 276 h 348"/>
              <a:gd name="T70" fmla="*/ 227 w 436"/>
              <a:gd name="T71" fmla="*/ 290 h 348"/>
              <a:gd name="T72" fmla="*/ 208 w 436"/>
              <a:gd name="T73" fmla="*/ 312 h 348"/>
              <a:gd name="T74" fmla="*/ 180 w 436"/>
              <a:gd name="T75" fmla="*/ 298 h 348"/>
              <a:gd name="T76" fmla="*/ 175 w 436"/>
              <a:gd name="T77" fmla="*/ 311 h 348"/>
              <a:gd name="T78" fmla="*/ 141 w 436"/>
              <a:gd name="T79" fmla="*/ 321 h 348"/>
              <a:gd name="T80" fmla="*/ 141 w 436"/>
              <a:gd name="T81" fmla="*/ 321 h 348"/>
              <a:gd name="T82" fmla="*/ 60 w 436"/>
              <a:gd name="T83" fmla="*/ 90 h 348"/>
              <a:gd name="T84" fmla="*/ 169 w 436"/>
              <a:gd name="T85" fmla="*/ 46 h 348"/>
              <a:gd name="T86" fmla="*/ 112 w 436"/>
              <a:gd name="T87" fmla="*/ 101 h 348"/>
              <a:gd name="T88" fmla="*/ 137 w 436"/>
              <a:gd name="T89" fmla="*/ 166 h 348"/>
              <a:gd name="T90" fmla="*/ 161 w 436"/>
              <a:gd name="T91" fmla="*/ 158 h 348"/>
              <a:gd name="T92" fmla="*/ 322 w 436"/>
              <a:gd name="T93" fmla="*/ 249 h 348"/>
              <a:gd name="T94" fmla="*/ 342 w 436"/>
              <a:gd name="T95" fmla="*/ 243 h 348"/>
              <a:gd name="T96" fmla="*/ 339 w 436"/>
              <a:gd name="T97" fmla="*/ 240 h 348"/>
              <a:gd name="T98" fmla="*/ 215 w 436"/>
              <a:gd name="T99" fmla="*/ 108 h 348"/>
              <a:gd name="T100" fmla="*/ 150 w 436"/>
              <a:gd name="T101" fmla="*/ 142 h 348"/>
              <a:gd name="T102" fmla="*/ 137 w 436"/>
              <a:gd name="T103" fmla="*/ 147 h 348"/>
              <a:gd name="T104" fmla="*/ 125 w 436"/>
              <a:gd name="T105" fmla="*/ 115 h 348"/>
              <a:gd name="T106" fmla="*/ 125 w 436"/>
              <a:gd name="T107" fmla="*/ 115 h 348"/>
              <a:gd name="T108" fmla="*/ 219 w 436"/>
              <a:gd name="T109" fmla="*/ 24 h 348"/>
              <a:gd name="T110" fmla="*/ 244 w 436"/>
              <a:gd name="T111" fmla="*/ 24 h 348"/>
              <a:gd name="T112" fmla="*/ 244 w 436"/>
              <a:gd name="T113" fmla="*/ 24 h 348"/>
              <a:gd name="T114" fmla="*/ 372 w 436"/>
              <a:gd name="T115" fmla="*/ 134 h 348"/>
              <a:gd name="T116" fmla="*/ 378 w 436"/>
              <a:gd name="T117" fmla="*/ 231 h 348"/>
              <a:gd name="T118" fmla="*/ 342 w 436"/>
              <a:gd name="T119" fmla="*/ 243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36" h="348">
                <a:moveTo>
                  <a:pt x="426" y="272"/>
                </a:moveTo>
                <a:cubicBezTo>
                  <a:pt x="396" y="272"/>
                  <a:pt x="396" y="272"/>
                  <a:pt x="396" y="272"/>
                </a:cubicBezTo>
                <a:cubicBezTo>
                  <a:pt x="396" y="252"/>
                  <a:pt x="396" y="252"/>
                  <a:pt x="396" y="252"/>
                </a:cubicBezTo>
                <a:cubicBezTo>
                  <a:pt x="396" y="231"/>
                  <a:pt x="396" y="231"/>
                  <a:pt x="396" y="231"/>
                </a:cubicBezTo>
                <a:cubicBezTo>
                  <a:pt x="396" y="124"/>
                  <a:pt x="396" y="124"/>
                  <a:pt x="396" y="124"/>
                </a:cubicBezTo>
                <a:cubicBezTo>
                  <a:pt x="396" y="70"/>
                  <a:pt x="396" y="70"/>
                  <a:pt x="396" y="70"/>
                </a:cubicBezTo>
                <a:cubicBezTo>
                  <a:pt x="426" y="70"/>
                  <a:pt x="426" y="70"/>
                  <a:pt x="426" y="70"/>
                </a:cubicBezTo>
                <a:cubicBezTo>
                  <a:pt x="432" y="70"/>
                  <a:pt x="436" y="65"/>
                  <a:pt x="436" y="60"/>
                </a:cubicBezTo>
                <a:cubicBezTo>
                  <a:pt x="436" y="55"/>
                  <a:pt x="432" y="51"/>
                  <a:pt x="426" y="51"/>
                </a:cubicBezTo>
                <a:cubicBezTo>
                  <a:pt x="387" y="51"/>
                  <a:pt x="387" y="51"/>
                  <a:pt x="387" y="51"/>
                </a:cubicBezTo>
                <a:cubicBezTo>
                  <a:pt x="382" y="51"/>
                  <a:pt x="378" y="55"/>
                  <a:pt x="378" y="60"/>
                </a:cubicBezTo>
                <a:cubicBezTo>
                  <a:pt x="378" y="115"/>
                  <a:pt x="378" y="115"/>
                  <a:pt x="378" y="115"/>
                </a:cubicBezTo>
                <a:cubicBezTo>
                  <a:pt x="376" y="115"/>
                  <a:pt x="376" y="115"/>
                  <a:pt x="376" y="115"/>
                </a:cubicBezTo>
                <a:cubicBezTo>
                  <a:pt x="256" y="10"/>
                  <a:pt x="256" y="10"/>
                  <a:pt x="256" y="10"/>
                </a:cubicBezTo>
                <a:cubicBezTo>
                  <a:pt x="256" y="10"/>
                  <a:pt x="256" y="10"/>
                  <a:pt x="256" y="10"/>
                </a:cubicBezTo>
                <a:cubicBezTo>
                  <a:pt x="256" y="10"/>
                  <a:pt x="256" y="10"/>
                  <a:pt x="256" y="10"/>
                </a:cubicBezTo>
                <a:cubicBezTo>
                  <a:pt x="256" y="10"/>
                  <a:pt x="256" y="10"/>
                  <a:pt x="256" y="10"/>
                </a:cubicBezTo>
                <a:cubicBezTo>
                  <a:pt x="256" y="10"/>
                  <a:pt x="256" y="10"/>
                  <a:pt x="256" y="10"/>
                </a:cubicBezTo>
                <a:cubicBezTo>
                  <a:pt x="249" y="4"/>
                  <a:pt x="240" y="0"/>
                  <a:pt x="232" y="0"/>
                </a:cubicBezTo>
                <a:cubicBezTo>
                  <a:pt x="223" y="0"/>
                  <a:pt x="216" y="3"/>
                  <a:pt x="209" y="8"/>
                </a:cubicBezTo>
                <a:cubicBezTo>
                  <a:pt x="208" y="9"/>
                  <a:pt x="206" y="9"/>
                  <a:pt x="205" y="10"/>
                </a:cubicBezTo>
                <a:cubicBezTo>
                  <a:pt x="186" y="29"/>
                  <a:pt x="186" y="29"/>
                  <a:pt x="186" y="29"/>
                </a:cubicBezTo>
                <a:cubicBezTo>
                  <a:pt x="147" y="25"/>
                  <a:pt x="147" y="25"/>
                  <a:pt x="147" y="25"/>
                </a:cubicBezTo>
                <a:cubicBezTo>
                  <a:pt x="146" y="25"/>
                  <a:pt x="144" y="25"/>
                  <a:pt x="143" y="26"/>
                </a:cubicBezTo>
                <a:cubicBezTo>
                  <a:pt x="60" y="69"/>
                  <a:pt x="60" y="69"/>
                  <a:pt x="60" y="69"/>
                </a:cubicBezTo>
                <a:cubicBezTo>
                  <a:pt x="60" y="44"/>
                  <a:pt x="60" y="44"/>
                  <a:pt x="60" y="44"/>
                </a:cubicBezTo>
                <a:cubicBezTo>
                  <a:pt x="60" y="39"/>
                  <a:pt x="55" y="34"/>
                  <a:pt x="50" y="34"/>
                </a:cubicBezTo>
                <a:cubicBezTo>
                  <a:pt x="9" y="34"/>
                  <a:pt x="9" y="34"/>
                  <a:pt x="9" y="34"/>
                </a:cubicBezTo>
                <a:cubicBezTo>
                  <a:pt x="4" y="34"/>
                  <a:pt x="0" y="39"/>
                  <a:pt x="0" y="44"/>
                </a:cubicBezTo>
                <a:cubicBezTo>
                  <a:pt x="0" y="49"/>
                  <a:pt x="4" y="53"/>
                  <a:pt x="9" y="53"/>
                </a:cubicBezTo>
                <a:cubicBezTo>
                  <a:pt x="41" y="53"/>
                  <a:pt x="41" y="53"/>
                  <a:pt x="41" y="53"/>
                </a:cubicBezTo>
                <a:cubicBezTo>
                  <a:pt x="41" y="85"/>
                  <a:pt x="41" y="85"/>
                  <a:pt x="41" y="85"/>
                </a:cubicBezTo>
                <a:cubicBezTo>
                  <a:pt x="41" y="206"/>
                  <a:pt x="41" y="206"/>
                  <a:pt x="41" y="206"/>
                </a:cubicBezTo>
                <a:cubicBezTo>
                  <a:pt x="41" y="256"/>
                  <a:pt x="41" y="256"/>
                  <a:pt x="41" y="256"/>
                </a:cubicBezTo>
                <a:cubicBezTo>
                  <a:pt x="9" y="256"/>
                  <a:pt x="9" y="256"/>
                  <a:pt x="9" y="256"/>
                </a:cubicBezTo>
                <a:cubicBezTo>
                  <a:pt x="4" y="256"/>
                  <a:pt x="0" y="261"/>
                  <a:pt x="0" y="266"/>
                </a:cubicBezTo>
                <a:cubicBezTo>
                  <a:pt x="0" y="271"/>
                  <a:pt x="4" y="275"/>
                  <a:pt x="9" y="275"/>
                </a:cubicBezTo>
                <a:cubicBezTo>
                  <a:pt x="50" y="275"/>
                  <a:pt x="50" y="275"/>
                  <a:pt x="50" y="275"/>
                </a:cubicBezTo>
                <a:cubicBezTo>
                  <a:pt x="55" y="275"/>
                  <a:pt x="60" y="271"/>
                  <a:pt x="60" y="266"/>
                </a:cubicBezTo>
                <a:cubicBezTo>
                  <a:pt x="60" y="236"/>
                  <a:pt x="60" y="236"/>
                  <a:pt x="60" y="236"/>
                </a:cubicBezTo>
                <a:cubicBezTo>
                  <a:pt x="125" y="331"/>
                  <a:pt x="125" y="331"/>
                  <a:pt x="125" y="331"/>
                </a:cubicBezTo>
                <a:cubicBezTo>
                  <a:pt x="125" y="331"/>
                  <a:pt x="125" y="331"/>
                  <a:pt x="125" y="331"/>
                </a:cubicBezTo>
                <a:cubicBezTo>
                  <a:pt x="125" y="331"/>
                  <a:pt x="125" y="331"/>
                  <a:pt x="125" y="332"/>
                </a:cubicBezTo>
                <a:cubicBezTo>
                  <a:pt x="132" y="342"/>
                  <a:pt x="144" y="348"/>
                  <a:pt x="156" y="348"/>
                </a:cubicBezTo>
                <a:cubicBezTo>
                  <a:pt x="171" y="348"/>
                  <a:pt x="184" y="339"/>
                  <a:pt x="190" y="326"/>
                </a:cubicBezTo>
                <a:cubicBezTo>
                  <a:pt x="196" y="329"/>
                  <a:pt x="202" y="331"/>
                  <a:pt x="208" y="331"/>
                </a:cubicBezTo>
                <a:cubicBezTo>
                  <a:pt x="225" y="331"/>
                  <a:pt x="238" y="321"/>
                  <a:pt x="244" y="306"/>
                </a:cubicBezTo>
                <a:cubicBezTo>
                  <a:pt x="248" y="308"/>
                  <a:pt x="254" y="310"/>
                  <a:pt x="259" y="310"/>
                </a:cubicBezTo>
                <a:cubicBezTo>
                  <a:pt x="271" y="310"/>
                  <a:pt x="284" y="303"/>
                  <a:pt x="291" y="292"/>
                </a:cubicBezTo>
                <a:cubicBezTo>
                  <a:pt x="294" y="289"/>
                  <a:pt x="296" y="285"/>
                  <a:pt x="297" y="280"/>
                </a:cubicBezTo>
                <a:cubicBezTo>
                  <a:pt x="299" y="281"/>
                  <a:pt x="302" y="281"/>
                  <a:pt x="305" y="281"/>
                </a:cubicBezTo>
                <a:cubicBezTo>
                  <a:pt x="318" y="281"/>
                  <a:pt x="331" y="274"/>
                  <a:pt x="337" y="262"/>
                </a:cubicBezTo>
                <a:cubicBezTo>
                  <a:pt x="378" y="262"/>
                  <a:pt x="378" y="262"/>
                  <a:pt x="378" y="262"/>
                </a:cubicBezTo>
                <a:cubicBezTo>
                  <a:pt x="378" y="281"/>
                  <a:pt x="378" y="281"/>
                  <a:pt x="378" y="281"/>
                </a:cubicBezTo>
                <a:cubicBezTo>
                  <a:pt x="378" y="287"/>
                  <a:pt x="382" y="291"/>
                  <a:pt x="387" y="291"/>
                </a:cubicBezTo>
                <a:cubicBezTo>
                  <a:pt x="426" y="291"/>
                  <a:pt x="426" y="291"/>
                  <a:pt x="426" y="291"/>
                </a:cubicBezTo>
                <a:cubicBezTo>
                  <a:pt x="432" y="291"/>
                  <a:pt x="436" y="287"/>
                  <a:pt x="436" y="281"/>
                </a:cubicBezTo>
                <a:cubicBezTo>
                  <a:pt x="436" y="276"/>
                  <a:pt x="432" y="272"/>
                  <a:pt x="426" y="272"/>
                </a:cubicBezTo>
                <a:close/>
                <a:moveTo>
                  <a:pt x="305" y="262"/>
                </a:moveTo>
                <a:cubicBezTo>
                  <a:pt x="298" y="262"/>
                  <a:pt x="293" y="260"/>
                  <a:pt x="290" y="255"/>
                </a:cubicBezTo>
                <a:cubicBezTo>
                  <a:pt x="286" y="251"/>
                  <a:pt x="281" y="250"/>
                  <a:pt x="276" y="253"/>
                </a:cubicBezTo>
                <a:cubicBezTo>
                  <a:pt x="272" y="256"/>
                  <a:pt x="271" y="262"/>
                  <a:pt x="275" y="266"/>
                </a:cubicBezTo>
                <a:cubicBezTo>
                  <a:pt x="275" y="267"/>
                  <a:pt x="277" y="269"/>
                  <a:pt x="278" y="270"/>
                </a:cubicBezTo>
                <a:cubicBezTo>
                  <a:pt x="278" y="271"/>
                  <a:pt x="278" y="271"/>
                  <a:pt x="278" y="272"/>
                </a:cubicBezTo>
                <a:cubicBezTo>
                  <a:pt x="280" y="275"/>
                  <a:pt x="277" y="279"/>
                  <a:pt x="276" y="281"/>
                </a:cubicBezTo>
                <a:cubicBezTo>
                  <a:pt x="272" y="287"/>
                  <a:pt x="265" y="291"/>
                  <a:pt x="259" y="291"/>
                </a:cubicBezTo>
                <a:cubicBezTo>
                  <a:pt x="253" y="291"/>
                  <a:pt x="248" y="287"/>
                  <a:pt x="244" y="282"/>
                </a:cubicBezTo>
                <a:cubicBezTo>
                  <a:pt x="244" y="281"/>
                  <a:pt x="243" y="280"/>
                  <a:pt x="243" y="279"/>
                </a:cubicBezTo>
                <a:cubicBezTo>
                  <a:pt x="241" y="274"/>
                  <a:pt x="235" y="272"/>
                  <a:pt x="230" y="274"/>
                </a:cubicBezTo>
                <a:cubicBezTo>
                  <a:pt x="229" y="275"/>
                  <a:pt x="228" y="275"/>
                  <a:pt x="227" y="276"/>
                </a:cubicBezTo>
                <a:cubicBezTo>
                  <a:pt x="224" y="279"/>
                  <a:pt x="223" y="283"/>
                  <a:pt x="225" y="287"/>
                </a:cubicBezTo>
                <a:cubicBezTo>
                  <a:pt x="225" y="288"/>
                  <a:pt x="226" y="289"/>
                  <a:pt x="227" y="290"/>
                </a:cubicBezTo>
                <a:cubicBezTo>
                  <a:pt x="227" y="291"/>
                  <a:pt x="227" y="292"/>
                  <a:pt x="227" y="294"/>
                </a:cubicBezTo>
                <a:cubicBezTo>
                  <a:pt x="227" y="304"/>
                  <a:pt x="219" y="312"/>
                  <a:pt x="208" y="312"/>
                </a:cubicBezTo>
                <a:cubicBezTo>
                  <a:pt x="202" y="312"/>
                  <a:pt x="196" y="308"/>
                  <a:pt x="192" y="302"/>
                </a:cubicBezTo>
                <a:cubicBezTo>
                  <a:pt x="190" y="297"/>
                  <a:pt x="184" y="296"/>
                  <a:pt x="180" y="298"/>
                </a:cubicBezTo>
                <a:cubicBezTo>
                  <a:pt x="176" y="300"/>
                  <a:pt x="174" y="305"/>
                  <a:pt x="175" y="308"/>
                </a:cubicBezTo>
                <a:cubicBezTo>
                  <a:pt x="175" y="309"/>
                  <a:pt x="175" y="310"/>
                  <a:pt x="175" y="311"/>
                </a:cubicBezTo>
                <a:cubicBezTo>
                  <a:pt x="175" y="321"/>
                  <a:pt x="166" y="329"/>
                  <a:pt x="156" y="329"/>
                </a:cubicBezTo>
                <a:cubicBezTo>
                  <a:pt x="150" y="329"/>
                  <a:pt x="144" y="326"/>
                  <a:pt x="141" y="321"/>
                </a:cubicBezTo>
                <a:cubicBezTo>
                  <a:pt x="141" y="321"/>
                  <a:pt x="141" y="321"/>
                  <a:pt x="141" y="321"/>
                </a:cubicBezTo>
                <a:cubicBezTo>
                  <a:pt x="141" y="321"/>
                  <a:pt x="141" y="321"/>
                  <a:pt x="141" y="321"/>
                </a:cubicBezTo>
                <a:cubicBezTo>
                  <a:pt x="60" y="204"/>
                  <a:pt x="60" y="204"/>
                  <a:pt x="60" y="204"/>
                </a:cubicBezTo>
                <a:cubicBezTo>
                  <a:pt x="60" y="90"/>
                  <a:pt x="60" y="90"/>
                  <a:pt x="60" y="90"/>
                </a:cubicBezTo>
                <a:cubicBezTo>
                  <a:pt x="149" y="44"/>
                  <a:pt x="149" y="44"/>
                  <a:pt x="149" y="44"/>
                </a:cubicBezTo>
                <a:cubicBezTo>
                  <a:pt x="169" y="46"/>
                  <a:pt x="169" y="46"/>
                  <a:pt x="169" y="46"/>
                </a:cubicBezTo>
                <a:cubicBezTo>
                  <a:pt x="112" y="101"/>
                  <a:pt x="112" y="101"/>
                  <a:pt x="112" y="101"/>
                </a:cubicBezTo>
                <a:cubicBezTo>
                  <a:pt x="112" y="101"/>
                  <a:pt x="112" y="101"/>
                  <a:pt x="112" y="101"/>
                </a:cubicBezTo>
                <a:cubicBezTo>
                  <a:pt x="104" y="108"/>
                  <a:pt x="100" y="118"/>
                  <a:pt x="100" y="129"/>
                </a:cubicBezTo>
                <a:cubicBezTo>
                  <a:pt x="100" y="149"/>
                  <a:pt x="117" y="166"/>
                  <a:pt x="137" y="166"/>
                </a:cubicBezTo>
                <a:cubicBezTo>
                  <a:pt x="145" y="166"/>
                  <a:pt x="154" y="163"/>
                  <a:pt x="160" y="158"/>
                </a:cubicBezTo>
                <a:cubicBezTo>
                  <a:pt x="160" y="158"/>
                  <a:pt x="160" y="158"/>
                  <a:pt x="161" y="158"/>
                </a:cubicBezTo>
                <a:cubicBezTo>
                  <a:pt x="218" y="128"/>
                  <a:pt x="218" y="128"/>
                  <a:pt x="218" y="128"/>
                </a:cubicBezTo>
                <a:cubicBezTo>
                  <a:pt x="322" y="249"/>
                  <a:pt x="322" y="249"/>
                  <a:pt x="322" y="249"/>
                </a:cubicBezTo>
                <a:cubicBezTo>
                  <a:pt x="319" y="257"/>
                  <a:pt x="313" y="262"/>
                  <a:pt x="305" y="262"/>
                </a:cubicBezTo>
                <a:close/>
                <a:moveTo>
                  <a:pt x="342" y="243"/>
                </a:moveTo>
                <a:cubicBezTo>
                  <a:pt x="339" y="240"/>
                  <a:pt x="339" y="240"/>
                  <a:pt x="339" y="240"/>
                </a:cubicBezTo>
                <a:cubicBezTo>
                  <a:pt x="339" y="240"/>
                  <a:pt x="339" y="240"/>
                  <a:pt x="339" y="240"/>
                </a:cubicBezTo>
                <a:cubicBezTo>
                  <a:pt x="227" y="110"/>
                  <a:pt x="227" y="110"/>
                  <a:pt x="227" y="110"/>
                </a:cubicBezTo>
                <a:cubicBezTo>
                  <a:pt x="224" y="106"/>
                  <a:pt x="219" y="106"/>
                  <a:pt x="215" y="108"/>
                </a:cubicBezTo>
                <a:cubicBezTo>
                  <a:pt x="152" y="141"/>
                  <a:pt x="152" y="141"/>
                  <a:pt x="152" y="141"/>
                </a:cubicBezTo>
                <a:cubicBezTo>
                  <a:pt x="151" y="142"/>
                  <a:pt x="151" y="142"/>
                  <a:pt x="150" y="142"/>
                </a:cubicBezTo>
                <a:cubicBezTo>
                  <a:pt x="150" y="143"/>
                  <a:pt x="149" y="143"/>
                  <a:pt x="149" y="143"/>
                </a:cubicBezTo>
                <a:cubicBezTo>
                  <a:pt x="145" y="146"/>
                  <a:pt x="141" y="147"/>
                  <a:pt x="137" y="147"/>
                </a:cubicBezTo>
                <a:cubicBezTo>
                  <a:pt x="127" y="147"/>
                  <a:pt x="119" y="139"/>
                  <a:pt x="119" y="129"/>
                </a:cubicBezTo>
                <a:cubicBezTo>
                  <a:pt x="119" y="123"/>
                  <a:pt x="121" y="118"/>
                  <a:pt x="125" y="115"/>
                </a:cubicBezTo>
                <a:cubicBezTo>
                  <a:pt x="125" y="115"/>
                  <a:pt x="125" y="115"/>
                  <a:pt x="125" y="115"/>
                </a:cubicBezTo>
                <a:cubicBezTo>
                  <a:pt x="125" y="115"/>
                  <a:pt x="125" y="115"/>
                  <a:pt x="125" y="115"/>
                </a:cubicBezTo>
                <a:cubicBezTo>
                  <a:pt x="217" y="25"/>
                  <a:pt x="217" y="25"/>
                  <a:pt x="217" y="25"/>
                </a:cubicBezTo>
                <a:cubicBezTo>
                  <a:pt x="218" y="25"/>
                  <a:pt x="219" y="24"/>
                  <a:pt x="219" y="24"/>
                </a:cubicBezTo>
                <a:cubicBezTo>
                  <a:pt x="223" y="21"/>
                  <a:pt x="227" y="19"/>
                  <a:pt x="232" y="19"/>
                </a:cubicBezTo>
                <a:cubicBezTo>
                  <a:pt x="236" y="19"/>
                  <a:pt x="240" y="21"/>
                  <a:pt x="244" y="24"/>
                </a:cubicBezTo>
                <a:cubicBezTo>
                  <a:pt x="244" y="24"/>
                  <a:pt x="244" y="24"/>
                  <a:pt x="244" y="24"/>
                </a:cubicBezTo>
                <a:cubicBezTo>
                  <a:pt x="244" y="24"/>
                  <a:pt x="244" y="24"/>
                  <a:pt x="244" y="24"/>
                </a:cubicBezTo>
                <a:cubicBezTo>
                  <a:pt x="366" y="132"/>
                  <a:pt x="366" y="132"/>
                  <a:pt x="366" y="132"/>
                </a:cubicBezTo>
                <a:cubicBezTo>
                  <a:pt x="368" y="133"/>
                  <a:pt x="370" y="134"/>
                  <a:pt x="372" y="134"/>
                </a:cubicBezTo>
                <a:cubicBezTo>
                  <a:pt x="378" y="134"/>
                  <a:pt x="378" y="134"/>
                  <a:pt x="378" y="134"/>
                </a:cubicBezTo>
                <a:cubicBezTo>
                  <a:pt x="378" y="231"/>
                  <a:pt x="378" y="231"/>
                  <a:pt x="378" y="231"/>
                </a:cubicBezTo>
                <a:cubicBezTo>
                  <a:pt x="378" y="243"/>
                  <a:pt x="378" y="243"/>
                  <a:pt x="378" y="243"/>
                </a:cubicBezTo>
                <a:cubicBezTo>
                  <a:pt x="342" y="243"/>
                  <a:pt x="342" y="243"/>
                  <a:pt x="342" y="243"/>
                </a:cubicBezTo>
                <a:cubicBezTo>
                  <a:pt x="342" y="243"/>
                  <a:pt x="342" y="243"/>
                  <a:pt x="342" y="243"/>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a:p>
        </p:txBody>
      </p:sp>
      <p:sp>
        <p:nvSpPr>
          <p:cNvPr id="320" name="TextBox 319"/>
          <p:cNvSpPr txBox="1"/>
          <p:nvPr/>
        </p:nvSpPr>
        <p:spPr>
          <a:xfrm>
            <a:off x="7384767" y="4776667"/>
            <a:ext cx="227626" cy="24622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b="1" dirty="0">
                <a:solidFill>
                  <a:schemeClr val="accent4"/>
                </a:solidFill>
              </a:rPr>
              <a:t>13</a:t>
            </a:r>
          </a:p>
        </p:txBody>
      </p:sp>
      <p:sp>
        <p:nvSpPr>
          <p:cNvPr id="52" name="TextBox 51">
            <a:extLst>
              <a:ext uri="{FF2B5EF4-FFF2-40B4-BE49-F238E27FC236}">
                <a16:creationId xmlns:a16="http://schemas.microsoft.com/office/drawing/2014/main" id="{A17FDED0-1DE4-4720-AD92-3C1495A4284B}"/>
              </a:ext>
            </a:extLst>
          </p:cNvPr>
          <p:cNvSpPr txBox="1">
            <a:spLocks/>
          </p:cNvSpPr>
          <p:nvPr/>
        </p:nvSpPr>
        <p:spPr>
          <a:xfrm>
            <a:off x="6903096" y="4441294"/>
            <a:ext cx="1728555" cy="246221"/>
          </a:xfrm>
          <a:prstGeom prst="rect">
            <a:avLst/>
          </a:prstGeom>
        </p:spPr>
        <p:txBody>
          <a:bodyPr vert="horz" lIns="0" tIns="0" rIns="0" bIns="0" rtlCol="0">
            <a:sp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fontAlgn="auto">
              <a:spcBef>
                <a:spcPts val="0"/>
              </a:spcBef>
              <a:spcAft>
                <a:spcPts val="0"/>
              </a:spcAft>
              <a:defRPr/>
            </a:pPr>
            <a:r>
              <a:rPr kumimoji="1" lang="en-US" altLang="ja-JP" sz="1600" b="1" kern="0" dirty="0">
                <a:solidFill>
                  <a:schemeClr val="accent4"/>
                </a:solidFill>
              </a:rPr>
              <a:t>PE/PI</a:t>
            </a:r>
            <a:endParaRPr kumimoji="1" lang="ja-JP" altLang="en-US" sz="1600" b="1" kern="0" dirty="0" err="1">
              <a:solidFill>
                <a:schemeClr val="accent4"/>
              </a:solidFill>
            </a:endParaRPr>
          </a:p>
        </p:txBody>
      </p:sp>
      <p:sp>
        <p:nvSpPr>
          <p:cNvPr id="264" name="TextBox 263"/>
          <p:cNvSpPr txBox="1"/>
          <p:nvPr/>
        </p:nvSpPr>
        <p:spPr>
          <a:xfrm>
            <a:off x="5563556" y="5844977"/>
            <a:ext cx="227626" cy="24622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b="1" dirty="0">
                <a:solidFill>
                  <a:schemeClr val="accent4"/>
                </a:solidFill>
              </a:rPr>
              <a:t>10</a:t>
            </a:r>
          </a:p>
        </p:txBody>
      </p:sp>
      <p:sp>
        <p:nvSpPr>
          <p:cNvPr id="7" name="CustomIcon"/>
          <p:cNvSpPr>
            <a:spLocks noChangeAspect="1" noEditPoints="1"/>
          </p:cNvSpPr>
          <p:nvPr>
            <p:custDataLst>
              <p:tags r:id="rId11"/>
            </p:custDataLst>
          </p:nvPr>
        </p:nvSpPr>
        <p:spPr bwMode="auto">
          <a:xfrm>
            <a:off x="5033700" y="5844977"/>
            <a:ext cx="421087" cy="248396"/>
          </a:xfrm>
          <a:custGeom>
            <a:avLst/>
            <a:gdLst>
              <a:gd name="T0" fmla="*/ 425 w 431"/>
              <a:gd name="T1" fmla="*/ 74 h 253"/>
              <a:gd name="T2" fmla="*/ 218 w 431"/>
              <a:gd name="T3" fmla="*/ 1 h 253"/>
              <a:gd name="T4" fmla="*/ 212 w 431"/>
              <a:gd name="T5" fmla="*/ 1 h 253"/>
              <a:gd name="T6" fmla="*/ 6 w 431"/>
              <a:gd name="T7" fmla="*/ 76 h 253"/>
              <a:gd name="T8" fmla="*/ 0 w 431"/>
              <a:gd name="T9" fmla="*/ 85 h 253"/>
              <a:gd name="T10" fmla="*/ 7 w 431"/>
              <a:gd name="T11" fmla="*/ 94 h 253"/>
              <a:gd name="T12" fmla="*/ 19 w 431"/>
              <a:gd name="T13" fmla="*/ 98 h 253"/>
              <a:gd name="T14" fmla="*/ 19 w 431"/>
              <a:gd name="T15" fmla="*/ 186 h 253"/>
              <a:gd name="T16" fmla="*/ 29 w 431"/>
              <a:gd name="T17" fmla="*/ 197 h 253"/>
              <a:gd name="T18" fmla="*/ 38 w 431"/>
              <a:gd name="T19" fmla="*/ 186 h 253"/>
              <a:gd name="T20" fmla="*/ 38 w 431"/>
              <a:gd name="T21" fmla="*/ 105 h 253"/>
              <a:gd name="T22" fmla="*/ 79 w 431"/>
              <a:gd name="T23" fmla="*/ 118 h 253"/>
              <a:gd name="T24" fmla="*/ 79 w 431"/>
              <a:gd name="T25" fmla="*/ 243 h 253"/>
              <a:gd name="T26" fmla="*/ 89 w 431"/>
              <a:gd name="T27" fmla="*/ 253 h 253"/>
              <a:gd name="T28" fmla="*/ 342 w 431"/>
              <a:gd name="T29" fmla="*/ 253 h 253"/>
              <a:gd name="T30" fmla="*/ 351 w 431"/>
              <a:gd name="T31" fmla="*/ 243 h 253"/>
              <a:gd name="T32" fmla="*/ 351 w 431"/>
              <a:gd name="T33" fmla="*/ 118 h 253"/>
              <a:gd name="T34" fmla="*/ 424 w 431"/>
              <a:gd name="T35" fmla="*/ 93 h 253"/>
              <a:gd name="T36" fmla="*/ 431 w 431"/>
              <a:gd name="T37" fmla="*/ 84 h 253"/>
              <a:gd name="T38" fmla="*/ 425 w 431"/>
              <a:gd name="T39" fmla="*/ 74 h 253"/>
              <a:gd name="T40" fmla="*/ 332 w 431"/>
              <a:gd name="T41" fmla="*/ 233 h 253"/>
              <a:gd name="T42" fmla="*/ 99 w 431"/>
              <a:gd name="T43" fmla="*/ 233 h 253"/>
              <a:gd name="T44" fmla="*/ 99 w 431"/>
              <a:gd name="T45" fmla="*/ 125 h 253"/>
              <a:gd name="T46" fmla="*/ 212 w 431"/>
              <a:gd name="T47" fmla="*/ 163 h 253"/>
              <a:gd name="T48" fmla="*/ 216 w 431"/>
              <a:gd name="T49" fmla="*/ 163 h 253"/>
              <a:gd name="T50" fmla="*/ 218 w 431"/>
              <a:gd name="T51" fmla="*/ 163 h 253"/>
              <a:gd name="T52" fmla="*/ 332 w 431"/>
              <a:gd name="T53" fmla="*/ 124 h 253"/>
              <a:gd name="T54" fmla="*/ 332 w 431"/>
              <a:gd name="T55" fmla="*/ 233 h 253"/>
              <a:gd name="T56" fmla="*/ 332 w 431"/>
              <a:gd name="T57" fmla="*/ 233 h 253"/>
              <a:gd name="T58" fmla="*/ 216 w 431"/>
              <a:gd name="T59" fmla="*/ 143 h 253"/>
              <a:gd name="T60" fmla="*/ 40 w 431"/>
              <a:gd name="T61" fmla="*/ 84 h 253"/>
              <a:gd name="T62" fmla="*/ 215 w 431"/>
              <a:gd name="T63" fmla="*/ 20 h 253"/>
              <a:gd name="T64" fmla="*/ 392 w 431"/>
              <a:gd name="T65" fmla="*/ 83 h 253"/>
              <a:gd name="T66" fmla="*/ 216 w 431"/>
              <a:gd name="T67" fmla="*/ 143 h 253"/>
              <a:gd name="T68" fmla="*/ 216 w 431"/>
              <a:gd name="T69" fmla="*/ 143 h 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31" h="253">
                <a:moveTo>
                  <a:pt x="425" y="74"/>
                </a:moveTo>
                <a:cubicBezTo>
                  <a:pt x="218" y="1"/>
                  <a:pt x="218" y="1"/>
                  <a:pt x="218" y="1"/>
                </a:cubicBezTo>
                <a:cubicBezTo>
                  <a:pt x="216" y="0"/>
                  <a:pt x="214" y="0"/>
                  <a:pt x="212" y="1"/>
                </a:cubicBezTo>
                <a:cubicBezTo>
                  <a:pt x="6" y="76"/>
                  <a:pt x="6" y="76"/>
                  <a:pt x="6" y="76"/>
                </a:cubicBezTo>
                <a:cubicBezTo>
                  <a:pt x="2" y="77"/>
                  <a:pt x="0" y="80"/>
                  <a:pt x="0" y="85"/>
                </a:cubicBezTo>
                <a:cubicBezTo>
                  <a:pt x="0" y="89"/>
                  <a:pt x="3" y="93"/>
                  <a:pt x="7" y="94"/>
                </a:cubicBezTo>
                <a:cubicBezTo>
                  <a:pt x="19" y="98"/>
                  <a:pt x="19" y="98"/>
                  <a:pt x="19" y="98"/>
                </a:cubicBezTo>
                <a:cubicBezTo>
                  <a:pt x="19" y="186"/>
                  <a:pt x="19" y="186"/>
                  <a:pt x="19" y="186"/>
                </a:cubicBezTo>
                <a:cubicBezTo>
                  <a:pt x="19" y="192"/>
                  <a:pt x="23" y="197"/>
                  <a:pt x="29" y="197"/>
                </a:cubicBezTo>
                <a:cubicBezTo>
                  <a:pt x="34" y="197"/>
                  <a:pt x="38" y="192"/>
                  <a:pt x="38" y="186"/>
                </a:cubicBezTo>
                <a:cubicBezTo>
                  <a:pt x="38" y="105"/>
                  <a:pt x="38" y="105"/>
                  <a:pt x="38" y="105"/>
                </a:cubicBezTo>
                <a:cubicBezTo>
                  <a:pt x="79" y="118"/>
                  <a:pt x="79" y="118"/>
                  <a:pt x="79" y="118"/>
                </a:cubicBezTo>
                <a:cubicBezTo>
                  <a:pt x="79" y="243"/>
                  <a:pt x="79" y="243"/>
                  <a:pt x="79" y="243"/>
                </a:cubicBezTo>
                <a:cubicBezTo>
                  <a:pt x="79" y="248"/>
                  <a:pt x="84" y="253"/>
                  <a:pt x="89" y="253"/>
                </a:cubicBezTo>
                <a:cubicBezTo>
                  <a:pt x="342" y="253"/>
                  <a:pt x="342" y="253"/>
                  <a:pt x="342" y="253"/>
                </a:cubicBezTo>
                <a:cubicBezTo>
                  <a:pt x="347" y="253"/>
                  <a:pt x="351" y="248"/>
                  <a:pt x="351" y="243"/>
                </a:cubicBezTo>
                <a:cubicBezTo>
                  <a:pt x="351" y="118"/>
                  <a:pt x="351" y="118"/>
                  <a:pt x="351" y="118"/>
                </a:cubicBezTo>
                <a:cubicBezTo>
                  <a:pt x="424" y="93"/>
                  <a:pt x="424" y="93"/>
                  <a:pt x="424" y="93"/>
                </a:cubicBezTo>
                <a:cubicBezTo>
                  <a:pt x="428" y="91"/>
                  <a:pt x="431" y="88"/>
                  <a:pt x="431" y="84"/>
                </a:cubicBezTo>
                <a:cubicBezTo>
                  <a:pt x="431" y="79"/>
                  <a:pt x="428" y="76"/>
                  <a:pt x="425" y="74"/>
                </a:cubicBezTo>
                <a:close/>
                <a:moveTo>
                  <a:pt x="332" y="233"/>
                </a:moveTo>
                <a:cubicBezTo>
                  <a:pt x="99" y="233"/>
                  <a:pt x="99" y="233"/>
                  <a:pt x="99" y="233"/>
                </a:cubicBezTo>
                <a:cubicBezTo>
                  <a:pt x="99" y="125"/>
                  <a:pt x="99" y="125"/>
                  <a:pt x="99" y="125"/>
                </a:cubicBezTo>
                <a:cubicBezTo>
                  <a:pt x="212" y="163"/>
                  <a:pt x="212" y="163"/>
                  <a:pt x="212" y="163"/>
                </a:cubicBezTo>
                <a:cubicBezTo>
                  <a:pt x="213" y="163"/>
                  <a:pt x="215" y="163"/>
                  <a:pt x="216" y="163"/>
                </a:cubicBezTo>
                <a:cubicBezTo>
                  <a:pt x="217" y="163"/>
                  <a:pt x="218" y="163"/>
                  <a:pt x="218" y="163"/>
                </a:cubicBezTo>
                <a:cubicBezTo>
                  <a:pt x="332" y="124"/>
                  <a:pt x="332" y="124"/>
                  <a:pt x="332" y="124"/>
                </a:cubicBezTo>
                <a:cubicBezTo>
                  <a:pt x="332" y="233"/>
                  <a:pt x="332" y="233"/>
                  <a:pt x="332" y="233"/>
                </a:cubicBezTo>
                <a:cubicBezTo>
                  <a:pt x="332" y="233"/>
                  <a:pt x="332" y="233"/>
                  <a:pt x="332" y="233"/>
                </a:cubicBezTo>
                <a:close/>
                <a:moveTo>
                  <a:pt x="216" y="143"/>
                </a:moveTo>
                <a:cubicBezTo>
                  <a:pt x="40" y="84"/>
                  <a:pt x="40" y="84"/>
                  <a:pt x="40" y="84"/>
                </a:cubicBezTo>
                <a:cubicBezTo>
                  <a:pt x="215" y="20"/>
                  <a:pt x="215" y="20"/>
                  <a:pt x="215" y="20"/>
                </a:cubicBezTo>
                <a:cubicBezTo>
                  <a:pt x="392" y="83"/>
                  <a:pt x="392" y="83"/>
                  <a:pt x="392" y="83"/>
                </a:cubicBezTo>
                <a:cubicBezTo>
                  <a:pt x="216" y="143"/>
                  <a:pt x="216" y="143"/>
                  <a:pt x="216" y="143"/>
                </a:cubicBezTo>
                <a:cubicBezTo>
                  <a:pt x="216" y="143"/>
                  <a:pt x="216" y="143"/>
                  <a:pt x="216" y="143"/>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a:p>
        </p:txBody>
      </p:sp>
      <p:sp>
        <p:nvSpPr>
          <p:cNvPr id="53" name="TextBox 52">
            <a:extLst>
              <a:ext uri="{FF2B5EF4-FFF2-40B4-BE49-F238E27FC236}">
                <a16:creationId xmlns:a16="http://schemas.microsoft.com/office/drawing/2014/main" id="{A4E9C6D9-6D1F-41E9-BC91-056E4355F30F}"/>
              </a:ext>
            </a:extLst>
          </p:cNvPr>
          <p:cNvSpPr txBox="1">
            <a:spLocks/>
          </p:cNvSpPr>
          <p:nvPr/>
        </p:nvSpPr>
        <p:spPr>
          <a:xfrm>
            <a:off x="5014036" y="5274656"/>
            <a:ext cx="1478768" cy="492443"/>
          </a:xfrm>
          <a:prstGeom prst="rect">
            <a:avLst/>
          </a:prstGeom>
        </p:spPr>
        <p:txBody>
          <a:bodyPr vert="horz" wrap="square" lIns="0" tIns="0" rIns="0" bIns="0" rtlCol="0">
            <a:sp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fontAlgn="auto">
              <a:spcBef>
                <a:spcPts val="0"/>
              </a:spcBef>
              <a:spcAft>
                <a:spcPts val="0"/>
              </a:spcAft>
              <a:defRPr/>
            </a:pPr>
            <a:r>
              <a:rPr kumimoji="1" lang="en-US" altLang="ja-JP" sz="1600" b="1" kern="0" dirty="0">
                <a:solidFill>
                  <a:schemeClr val="accent4"/>
                </a:solidFill>
              </a:rPr>
              <a:t>Social &amp; Public Sector </a:t>
            </a:r>
            <a:endParaRPr kumimoji="1" lang="ja-JP" altLang="en-US" sz="1600" b="1" kern="0" dirty="0" err="1">
              <a:solidFill>
                <a:schemeClr val="accent4"/>
              </a:solidFill>
            </a:endParaRPr>
          </a:p>
        </p:txBody>
      </p:sp>
      <p:grpSp>
        <p:nvGrpSpPr>
          <p:cNvPr id="36" name="CustomIcon"/>
          <p:cNvGrpSpPr>
            <a:grpSpLocks noChangeAspect="1"/>
          </p:cNvGrpSpPr>
          <p:nvPr>
            <p:custDataLst>
              <p:tags r:id="rId12"/>
            </p:custDataLst>
          </p:nvPr>
        </p:nvGrpSpPr>
        <p:grpSpPr>
          <a:xfrm>
            <a:off x="6903096" y="5782331"/>
            <a:ext cx="309495" cy="311042"/>
            <a:chOff x="-3175" y="0"/>
            <a:chExt cx="1611313" cy="1616075"/>
          </a:xfrm>
          <a:solidFill>
            <a:schemeClr val="accent4"/>
          </a:solidFill>
        </p:grpSpPr>
        <p:sp>
          <p:nvSpPr>
            <p:cNvPr id="28" name="Freeform 113"/>
            <p:cNvSpPr>
              <a:spLocks noEditPoints="1"/>
            </p:cNvSpPr>
            <p:nvPr/>
          </p:nvSpPr>
          <p:spPr bwMode="auto">
            <a:xfrm>
              <a:off x="615950" y="0"/>
              <a:ext cx="373063" cy="373063"/>
            </a:xfrm>
            <a:custGeom>
              <a:avLst/>
              <a:gdLst>
                <a:gd name="T0" fmla="*/ 50 w 99"/>
                <a:gd name="T1" fmla="*/ 99 h 99"/>
                <a:gd name="T2" fmla="*/ 99 w 99"/>
                <a:gd name="T3" fmla="*/ 49 h 99"/>
                <a:gd name="T4" fmla="*/ 50 w 99"/>
                <a:gd name="T5" fmla="*/ 0 h 99"/>
                <a:gd name="T6" fmla="*/ 0 w 99"/>
                <a:gd name="T7" fmla="*/ 49 h 99"/>
                <a:gd name="T8" fmla="*/ 50 w 99"/>
                <a:gd name="T9" fmla="*/ 99 h 99"/>
                <a:gd name="T10" fmla="*/ 50 w 99"/>
                <a:gd name="T11" fmla="*/ 19 h 99"/>
                <a:gd name="T12" fmla="*/ 80 w 99"/>
                <a:gd name="T13" fmla="*/ 49 h 99"/>
                <a:gd name="T14" fmla="*/ 50 w 99"/>
                <a:gd name="T15" fmla="*/ 80 h 99"/>
                <a:gd name="T16" fmla="*/ 19 w 99"/>
                <a:gd name="T17" fmla="*/ 49 h 99"/>
                <a:gd name="T18" fmla="*/ 50 w 99"/>
                <a:gd name="T19" fmla="*/ 19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9" h="99">
                  <a:moveTo>
                    <a:pt x="50" y="99"/>
                  </a:moveTo>
                  <a:cubicBezTo>
                    <a:pt x="77" y="99"/>
                    <a:pt x="99" y="77"/>
                    <a:pt x="99" y="49"/>
                  </a:cubicBezTo>
                  <a:cubicBezTo>
                    <a:pt x="99" y="22"/>
                    <a:pt x="77" y="0"/>
                    <a:pt x="50" y="0"/>
                  </a:cubicBezTo>
                  <a:cubicBezTo>
                    <a:pt x="22" y="0"/>
                    <a:pt x="0" y="22"/>
                    <a:pt x="0" y="49"/>
                  </a:cubicBezTo>
                  <a:cubicBezTo>
                    <a:pt x="0" y="77"/>
                    <a:pt x="22" y="99"/>
                    <a:pt x="50" y="99"/>
                  </a:cubicBezTo>
                  <a:close/>
                  <a:moveTo>
                    <a:pt x="50" y="19"/>
                  </a:moveTo>
                  <a:cubicBezTo>
                    <a:pt x="66" y="19"/>
                    <a:pt x="80" y="33"/>
                    <a:pt x="80" y="49"/>
                  </a:cubicBezTo>
                  <a:cubicBezTo>
                    <a:pt x="80" y="66"/>
                    <a:pt x="66" y="80"/>
                    <a:pt x="50" y="80"/>
                  </a:cubicBezTo>
                  <a:cubicBezTo>
                    <a:pt x="33" y="80"/>
                    <a:pt x="19" y="66"/>
                    <a:pt x="19" y="49"/>
                  </a:cubicBezTo>
                  <a:cubicBezTo>
                    <a:pt x="19" y="33"/>
                    <a:pt x="33" y="19"/>
                    <a:pt x="50" y="19"/>
                  </a:cubicBezTo>
                  <a:close/>
                </a:path>
              </a:pathLst>
            </a:custGeom>
            <a:grpFill/>
            <a:ln>
              <a:noFill/>
            </a:ln>
            <a:extLst>
              <a:ext uri="{91240B29-F687-4F45-9708-019B960494DF}">
                <a14:hiddenLine xmlns:a14="http://schemas.microsoft.com/office/drawing/2010/main" w="0" cap="flat" cmpd="sng" algn="ctr">
                  <a:solidFill>
                    <a:srgbClr val="FFFFFF">
                      <a:alpha val="0"/>
                    </a:srgbClr>
                  </a:solidFill>
                  <a:prstDash val="solid"/>
                  <a:round/>
                  <a:headEnd type="none" w="med" len="med"/>
                  <a:tailEnd type="none" w="med" len="me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Freeform 114"/>
            <p:cNvSpPr>
              <a:spLocks noEditPoints="1"/>
            </p:cNvSpPr>
            <p:nvPr/>
          </p:nvSpPr>
          <p:spPr bwMode="auto">
            <a:xfrm>
              <a:off x="123825" y="90488"/>
              <a:ext cx="322263" cy="320675"/>
            </a:xfrm>
            <a:custGeom>
              <a:avLst/>
              <a:gdLst>
                <a:gd name="T0" fmla="*/ 42 w 85"/>
                <a:gd name="T1" fmla="*/ 85 h 85"/>
                <a:gd name="T2" fmla="*/ 85 w 85"/>
                <a:gd name="T3" fmla="*/ 43 h 85"/>
                <a:gd name="T4" fmla="*/ 42 w 85"/>
                <a:gd name="T5" fmla="*/ 0 h 85"/>
                <a:gd name="T6" fmla="*/ 0 w 85"/>
                <a:gd name="T7" fmla="*/ 43 h 85"/>
                <a:gd name="T8" fmla="*/ 42 w 85"/>
                <a:gd name="T9" fmla="*/ 85 h 85"/>
                <a:gd name="T10" fmla="*/ 42 w 85"/>
                <a:gd name="T11" fmla="*/ 16 h 85"/>
                <a:gd name="T12" fmla="*/ 69 w 85"/>
                <a:gd name="T13" fmla="*/ 43 h 85"/>
                <a:gd name="T14" fmla="*/ 42 w 85"/>
                <a:gd name="T15" fmla="*/ 69 h 85"/>
                <a:gd name="T16" fmla="*/ 16 w 85"/>
                <a:gd name="T17" fmla="*/ 43 h 85"/>
                <a:gd name="T18" fmla="*/ 42 w 85"/>
                <a:gd name="T19" fmla="*/ 16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5" h="85">
                  <a:moveTo>
                    <a:pt x="42" y="85"/>
                  </a:moveTo>
                  <a:cubicBezTo>
                    <a:pt x="66" y="85"/>
                    <a:pt x="85" y="67"/>
                    <a:pt x="85" y="43"/>
                  </a:cubicBezTo>
                  <a:cubicBezTo>
                    <a:pt x="85" y="19"/>
                    <a:pt x="66" y="0"/>
                    <a:pt x="42" y="0"/>
                  </a:cubicBezTo>
                  <a:cubicBezTo>
                    <a:pt x="19" y="0"/>
                    <a:pt x="0" y="19"/>
                    <a:pt x="0" y="43"/>
                  </a:cubicBezTo>
                  <a:cubicBezTo>
                    <a:pt x="0" y="67"/>
                    <a:pt x="19" y="85"/>
                    <a:pt x="42" y="85"/>
                  </a:cubicBezTo>
                  <a:close/>
                  <a:moveTo>
                    <a:pt x="42" y="16"/>
                  </a:moveTo>
                  <a:cubicBezTo>
                    <a:pt x="57" y="16"/>
                    <a:pt x="69" y="28"/>
                    <a:pt x="69" y="43"/>
                  </a:cubicBezTo>
                  <a:cubicBezTo>
                    <a:pt x="69" y="57"/>
                    <a:pt x="57" y="69"/>
                    <a:pt x="42" y="69"/>
                  </a:cubicBezTo>
                  <a:cubicBezTo>
                    <a:pt x="28" y="69"/>
                    <a:pt x="16" y="57"/>
                    <a:pt x="16" y="43"/>
                  </a:cubicBezTo>
                  <a:cubicBezTo>
                    <a:pt x="16" y="28"/>
                    <a:pt x="28" y="16"/>
                    <a:pt x="42" y="16"/>
                  </a:cubicBezTo>
                  <a:close/>
                </a:path>
              </a:pathLst>
            </a:custGeom>
            <a:grpFill/>
            <a:ln>
              <a:noFill/>
            </a:ln>
            <a:extLst>
              <a:ext uri="{91240B29-F687-4F45-9708-019B960494DF}">
                <a14:hiddenLine xmlns:a14="http://schemas.microsoft.com/office/drawing/2010/main" w="0" cap="flat" cmpd="sng" algn="ctr">
                  <a:solidFill>
                    <a:srgbClr val="FFFFFF">
                      <a:alpha val="0"/>
                    </a:srgbClr>
                  </a:solidFill>
                  <a:prstDash val="solid"/>
                  <a:round/>
                  <a:headEnd type="none" w="med" len="med"/>
                  <a:tailEnd type="none" w="med" len="me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Freeform 115"/>
            <p:cNvSpPr>
              <a:spLocks noEditPoints="1"/>
            </p:cNvSpPr>
            <p:nvPr/>
          </p:nvSpPr>
          <p:spPr bwMode="auto">
            <a:xfrm>
              <a:off x="-3175" y="377825"/>
              <a:ext cx="1611313" cy="1238250"/>
            </a:xfrm>
            <a:custGeom>
              <a:avLst/>
              <a:gdLst>
                <a:gd name="T0" fmla="*/ 292 w 427"/>
                <a:gd name="T1" fmla="*/ 18 h 328"/>
                <a:gd name="T2" fmla="*/ 135 w 427"/>
                <a:gd name="T3" fmla="*/ 18 h 328"/>
                <a:gd name="T4" fmla="*/ 0 w 427"/>
                <a:gd name="T5" fmla="*/ 52 h 328"/>
                <a:gd name="T6" fmla="*/ 31 w 427"/>
                <a:gd name="T7" fmla="*/ 185 h 328"/>
                <a:gd name="T8" fmla="*/ 43 w 427"/>
                <a:gd name="T9" fmla="*/ 293 h 328"/>
                <a:gd name="T10" fmla="*/ 121 w 427"/>
                <a:gd name="T11" fmla="*/ 190 h 328"/>
                <a:gd name="T12" fmla="*/ 129 w 427"/>
                <a:gd name="T13" fmla="*/ 183 h 328"/>
                <a:gd name="T14" fmla="*/ 161 w 427"/>
                <a:gd name="T15" fmla="*/ 315 h 328"/>
                <a:gd name="T16" fmla="*/ 266 w 427"/>
                <a:gd name="T17" fmla="*/ 315 h 328"/>
                <a:gd name="T18" fmla="*/ 266 w 427"/>
                <a:gd name="T19" fmla="*/ 203 h 328"/>
                <a:gd name="T20" fmla="*/ 306 w 427"/>
                <a:gd name="T21" fmla="*/ 185 h 328"/>
                <a:gd name="T22" fmla="*/ 306 w 427"/>
                <a:gd name="T23" fmla="*/ 282 h 328"/>
                <a:gd name="T24" fmla="*/ 396 w 427"/>
                <a:gd name="T25" fmla="*/ 282 h 328"/>
                <a:gd name="T26" fmla="*/ 424 w 427"/>
                <a:gd name="T27" fmla="*/ 168 h 328"/>
                <a:gd name="T28" fmla="*/ 385 w 427"/>
                <a:gd name="T29" fmla="*/ 10 h 328"/>
                <a:gd name="T30" fmla="*/ 104 w 427"/>
                <a:gd name="T31" fmla="*/ 180 h 328"/>
                <a:gd name="T32" fmla="*/ 85 w 427"/>
                <a:gd name="T33" fmla="*/ 276 h 328"/>
                <a:gd name="T34" fmla="*/ 68 w 427"/>
                <a:gd name="T35" fmla="*/ 178 h 328"/>
                <a:gd name="T36" fmla="*/ 48 w 427"/>
                <a:gd name="T37" fmla="*/ 190 h 328"/>
                <a:gd name="T38" fmla="*/ 40 w 427"/>
                <a:gd name="T39" fmla="*/ 55 h 328"/>
                <a:gd name="T40" fmla="*/ 18 w 427"/>
                <a:gd name="T41" fmla="*/ 158 h 328"/>
                <a:gd name="T42" fmla="*/ 43 w 427"/>
                <a:gd name="T43" fmla="*/ 27 h 328"/>
                <a:gd name="T44" fmla="*/ 127 w 427"/>
                <a:gd name="T45" fmla="*/ 33 h 328"/>
                <a:gd name="T46" fmla="*/ 121 w 427"/>
                <a:gd name="T47" fmla="*/ 167 h 328"/>
                <a:gd name="T48" fmla="*/ 282 w 427"/>
                <a:gd name="T49" fmla="*/ 169 h 328"/>
                <a:gd name="T50" fmla="*/ 266 w 427"/>
                <a:gd name="T51" fmla="*/ 61 h 328"/>
                <a:gd name="T52" fmla="*/ 246 w 427"/>
                <a:gd name="T53" fmla="*/ 197 h 328"/>
                <a:gd name="T54" fmla="*/ 223 w 427"/>
                <a:gd name="T55" fmla="*/ 308 h 328"/>
                <a:gd name="T56" fmla="*/ 204 w 427"/>
                <a:gd name="T57" fmla="*/ 195 h 328"/>
                <a:gd name="T58" fmla="*/ 181 w 427"/>
                <a:gd name="T59" fmla="*/ 209 h 328"/>
                <a:gd name="T60" fmla="*/ 171 w 427"/>
                <a:gd name="T61" fmla="*/ 52 h 328"/>
                <a:gd name="T62" fmla="*/ 145 w 427"/>
                <a:gd name="T63" fmla="*/ 171 h 328"/>
                <a:gd name="T64" fmla="*/ 174 w 427"/>
                <a:gd name="T65" fmla="*/ 19 h 328"/>
                <a:gd name="T66" fmla="*/ 282 w 427"/>
                <a:gd name="T67" fmla="*/ 169 h 328"/>
                <a:gd name="T68" fmla="*/ 410 w 427"/>
                <a:gd name="T69" fmla="*/ 158 h 328"/>
                <a:gd name="T70" fmla="*/ 388 w 427"/>
                <a:gd name="T71" fmla="*/ 55 h 328"/>
                <a:gd name="T72" fmla="*/ 379 w 427"/>
                <a:gd name="T73" fmla="*/ 190 h 328"/>
                <a:gd name="T74" fmla="*/ 360 w 427"/>
                <a:gd name="T75" fmla="*/ 178 h 328"/>
                <a:gd name="T76" fmla="*/ 342 w 427"/>
                <a:gd name="T77" fmla="*/ 276 h 328"/>
                <a:gd name="T78" fmla="*/ 323 w 427"/>
                <a:gd name="T79" fmla="*/ 180 h 328"/>
                <a:gd name="T80" fmla="*/ 306 w 427"/>
                <a:gd name="T81" fmla="*/ 63 h 328"/>
                <a:gd name="T82" fmla="*/ 302 w 427"/>
                <a:gd name="T83" fmla="*/ 49 h 328"/>
                <a:gd name="T84" fmla="*/ 317 w 427"/>
                <a:gd name="T85" fmla="*/ 27 h 328"/>
                <a:gd name="T86" fmla="*/ 411 w 427"/>
                <a:gd name="T87" fmla="*/ 156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427" h="328">
                  <a:moveTo>
                    <a:pt x="385" y="10"/>
                  </a:moveTo>
                  <a:cubicBezTo>
                    <a:pt x="317" y="10"/>
                    <a:pt x="317" y="10"/>
                    <a:pt x="317" y="10"/>
                  </a:cubicBezTo>
                  <a:cubicBezTo>
                    <a:pt x="308" y="10"/>
                    <a:pt x="299" y="13"/>
                    <a:pt x="292" y="18"/>
                  </a:cubicBezTo>
                  <a:cubicBezTo>
                    <a:pt x="283" y="7"/>
                    <a:pt x="269" y="0"/>
                    <a:pt x="253" y="0"/>
                  </a:cubicBezTo>
                  <a:cubicBezTo>
                    <a:pt x="174" y="0"/>
                    <a:pt x="174" y="0"/>
                    <a:pt x="174" y="0"/>
                  </a:cubicBezTo>
                  <a:cubicBezTo>
                    <a:pt x="158" y="0"/>
                    <a:pt x="144" y="7"/>
                    <a:pt x="135" y="18"/>
                  </a:cubicBezTo>
                  <a:cubicBezTo>
                    <a:pt x="128" y="13"/>
                    <a:pt x="119" y="10"/>
                    <a:pt x="110" y="10"/>
                  </a:cubicBezTo>
                  <a:cubicBezTo>
                    <a:pt x="43" y="10"/>
                    <a:pt x="43" y="10"/>
                    <a:pt x="43" y="10"/>
                  </a:cubicBezTo>
                  <a:cubicBezTo>
                    <a:pt x="19" y="10"/>
                    <a:pt x="0" y="29"/>
                    <a:pt x="0" y="52"/>
                  </a:cubicBezTo>
                  <a:cubicBezTo>
                    <a:pt x="0" y="156"/>
                    <a:pt x="0" y="156"/>
                    <a:pt x="0" y="156"/>
                  </a:cubicBezTo>
                  <a:cubicBezTo>
                    <a:pt x="0" y="160"/>
                    <a:pt x="1" y="164"/>
                    <a:pt x="4" y="168"/>
                  </a:cubicBezTo>
                  <a:cubicBezTo>
                    <a:pt x="8" y="173"/>
                    <a:pt x="17" y="182"/>
                    <a:pt x="31" y="185"/>
                  </a:cubicBezTo>
                  <a:cubicBezTo>
                    <a:pt x="31" y="190"/>
                    <a:pt x="31" y="190"/>
                    <a:pt x="31" y="190"/>
                  </a:cubicBezTo>
                  <a:cubicBezTo>
                    <a:pt x="31" y="282"/>
                    <a:pt x="31" y="282"/>
                    <a:pt x="31" y="282"/>
                  </a:cubicBezTo>
                  <a:cubicBezTo>
                    <a:pt x="31" y="288"/>
                    <a:pt x="37" y="293"/>
                    <a:pt x="43" y="293"/>
                  </a:cubicBezTo>
                  <a:cubicBezTo>
                    <a:pt x="110" y="293"/>
                    <a:pt x="110" y="293"/>
                    <a:pt x="110" y="293"/>
                  </a:cubicBezTo>
                  <a:cubicBezTo>
                    <a:pt x="116" y="293"/>
                    <a:pt x="121" y="288"/>
                    <a:pt x="121" y="282"/>
                  </a:cubicBezTo>
                  <a:cubicBezTo>
                    <a:pt x="121" y="190"/>
                    <a:pt x="121" y="190"/>
                    <a:pt x="121" y="190"/>
                  </a:cubicBezTo>
                  <a:cubicBezTo>
                    <a:pt x="121" y="190"/>
                    <a:pt x="121" y="190"/>
                    <a:pt x="121" y="190"/>
                  </a:cubicBezTo>
                  <a:cubicBezTo>
                    <a:pt x="121" y="185"/>
                    <a:pt x="121" y="185"/>
                    <a:pt x="121" y="185"/>
                  </a:cubicBezTo>
                  <a:cubicBezTo>
                    <a:pt x="124" y="185"/>
                    <a:pt x="127" y="184"/>
                    <a:pt x="129" y="183"/>
                  </a:cubicBezTo>
                  <a:cubicBezTo>
                    <a:pt x="129" y="183"/>
                    <a:pt x="129" y="183"/>
                    <a:pt x="129" y="183"/>
                  </a:cubicBezTo>
                  <a:cubicBezTo>
                    <a:pt x="134" y="189"/>
                    <a:pt x="144" y="200"/>
                    <a:pt x="161" y="203"/>
                  </a:cubicBezTo>
                  <a:cubicBezTo>
                    <a:pt x="161" y="315"/>
                    <a:pt x="161" y="315"/>
                    <a:pt x="161" y="315"/>
                  </a:cubicBezTo>
                  <a:cubicBezTo>
                    <a:pt x="161" y="322"/>
                    <a:pt x="167" y="328"/>
                    <a:pt x="174" y="328"/>
                  </a:cubicBezTo>
                  <a:cubicBezTo>
                    <a:pt x="253" y="328"/>
                    <a:pt x="253" y="328"/>
                    <a:pt x="253" y="328"/>
                  </a:cubicBezTo>
                  <a:cubicBezTo>
                    <a:pt x="260" y="328"/>
                    <a:pt x="266" y="322"/>
                    <a:pt x="266" y="315"/>
                  </a:cubicBezTo>
                  <a:cubicBezTo>
                    <a:pt x="266" y="210"/>
                    <a:pt x="266" y="210"/>
                    <a:pt x="266" y="210"/>
                  </a:cubicBezTo>
                  <a:cubicBezTo>
                    <a:pt x="266" y="209"/>
                    <a:pt x="266" y="209"/>
                    <a:pt x="266" y="209"/>
                  </a:cubicBezTo>
                  <a:cubicBezTo>
                    <a:pt x="266" y="203"/>
                    <a:pt x="266" y="203"/>
                    <a:pt x="266" y="203"/>
                  </a:cubicBezTo>
                  <a:cubicBezTo>
                    <a:pt x="282" y="200"/>
                    <a:pt x="293" y="190"/>
                    <a:pt x="297" y="183"/>
                  </a:cubicBezTo>
                  <a:cubicBezTo>
                    <a:pt x="298" y="183"/>
                    <a:pt x="298" y="183"/>
                    <a:pt x="298" y="183"/>
                  </a:cubicBezTo>
                  <a:cubicBezTo>
                    <a:pt x="301" y="183"/>
                    <a:pt x="303" y="185"/>
                    <a:pt x="306" y="185"/>
                  </a:cubicBezTo>
                  <a:cubicBezTo>
                    <a:pt x="306" y="190"/>
                    <a:pt x="306" y="190"/>
                    <a:pt x="306" y="190"/>
                  </a:cubicBezTo>
                  <a:cubicBezTo>
                    <a:pt x="306" y="190"/>
                    <a:pt x="306" y="190"/>
                    <a:pt x="306" y="190"/>
                  </a:cubicBezTo>
                  <a:cubicBezTo>
                    <a:pt x="306" y="282"/>
                    <a:pt x="306" y="282"/>
                    <a:pt x="306" y="282"/>
                  </a:cubicBezTo>
                  <a:cubicBezTo>
                    <a:pt x="306" y="288"/>
                    <a:pt x="311" y="293"/>
                    <a:pt x="317" y="293"/>
                  </a:cubicBezTo>
                  <a:cubicBezTo>
                    <a:pt x="385" y="293"/>
                    <a:pt x="385" y="293"/>
                    <a:pt x="385" y="293"/>
                  </a:cubicBezTo>
                  <a:cubicBezTo>
                    <a:pt x="391" y="293"/>
                    <a:pt x="396" y="288"/>
                    <a:pt x="396" y="282"/>
                  </a:cubicBezTo>
                  <a:cubicBezTo>
                    <a:pt x="396" y="190"/>
                    <a:pt x="396" y="190"/>
                    <a:pt x="396" y="190"/>
                  </a:cubicBezTo>
                  <a:cubicBezTo>
                    <a:pt x="396" y="185"/>
                    <a:pt x="396" y="185"/>
                    <a:pt x="396" y="185"/>
                  </a:cubicBezTo>
                  <a:cubicBezTo>
                    <a:pt x="411" y="182"/>
                    <a:pt x="419" y="173"/>
                    <a:pt x="424" y="168"/>
                  </a:cubicBezTo>
                  <a:cubicBezTo>
                    <a:pt x="426" y="164"/>
                    <a:pt x="427" y="160"/>
                    <a:pt x="427" y="156"/>
                  </a:cubicBezTo>
                  <a:cubicBezTo>
                    <a:pt x="427" y="52"/>
                    <a:pt x="427" y="52"/>
                    <a:pt x="427" y="52"/>
                  </a:cubicBezTo>
                  <a:cubicBezTo>
                    <a:pt x="427" y="29"/>
                    <a:pt x="408" y="10"/>
                    <a:pt x="385" y="10"/>
                  </a:cubicBezTo>
                  <a:close/>
                  <a:moveTo>
                    <a:pt x="113" y="55"/>
                  </a:moveTo>
                  <a:cubicBezTo>
                    <a:pt x="108" y="55"/>
                    <a:pt x="104" y="59"/>
                    <a:pt x="104" y="63"/>
                  </a:cubicBezTo>
                  <a:cubicBezTo>
                    <a:pt x="104" y="180"/>
                    <a:pt x="104" y="180"/>
                    <a:pt x="104" y="180"/>
                  </a:cubicBezTo>
                  <a:cubicBezTo>
                    <a:pt x="104" y="180"/>
                    <a:pt x="104" y="180"/>
                    <a:pt x="104" y="180"/>
                  </a:cubicBezTo>
                  <a:cubicBezTo>
                    <a:pt x="104" y="276"/>
                    <a:pt x="104" y="276"/>
                    <a:pt x="104" y="276"/>
                  </a:cubicBezTo>
                  <a:cubicBezTo>
                    <a:pt x="85" y="276"/>
                    <a:pt x="85" y="276"/>
                    <a:pt x="85" y="276"/>
                  </a:cubicBezTo>
                  <a:cubicBezTo>
                    <a:pt x="85" y="178"/>
                    <a:pt x="85" y="178"/>
                    <a:pt x="85" y="178"/>
                  </a:cubicBezTo>
                  <a:cubicBezTo>
                    <a:pt x="85" y="173"/>
                    <a:pt x="81" y="170"/>
                    <a:pt x="76" y="170"/>
                  </a:cubicBezTo>
                  <a:cubicBezTo>
                    <a:pt x="72" y="170"/>
                    <a:pt x="68" y="173"/>
                    <a:pt x="68" y="178"/>
                  </a:cubicBezTo>
                  <a:cubicBezTo>
                    <a:pt x="68" y="276"/>
                    <a:pt x="68" y="276"/>
                    <a:pt x="68" y="276"/>
                  </a:cubicBezTo>
                  <a:cubicBezTo>
                    <a:pt x="48" y="276"/>
                    <a:pt x="48" y="276"/>
                    <a:pt x="48" y="276"/>
                  </a:cubicBezTo>
                  <a:cubicBezTo>
                    <a:pt x="48" y="190"/>
                    <a:pt x="48" y="190"/>
                    <a:pt x="48" y="190"/>
                  </a:cubicBezTo>
                  <a:cubicBezTo>
                    <a:pt x="48" y="180"/>
                    <a:pt x="48" y="180"/>
                    <a:pt x="48" y="180"/>
                  </a:cubicBezTo>
                  <a:cubicBezTo>
                    <a:pt x="48" y="63"/>
                    <a:pt x="48" y="63"/>
                    <a:pt x="48" y="63"/>
                  </a:cubicBezTo>
                  <a:cubicBezTo>
                    <a:pt x="48" y="59"/>
                    <a:pt x="45" y="55"/>
                    <a:pt x="40" y="55"/>
                  </a:cubicBezTo>
                  <a:cubicBezTo>
                    <a:pt x="35" y="55"/>
                    <a:pt x="31" y="59"/>
                    <a:pt x="31" y="63"/>
                  </a:cubicBezTo>
                  <a:cubicBezTo>
                    <a:pt x="31" y="167"/>
                    <a:pt x="31" y="167"/>
                    <a:pt x="31" y="167"/>
                  </a:cubicBezTo>
                  <a:cubicBezTo>
                    <a:pt x="24" y="165"/>
                    <a:pt x="20" y="160"/>
                    <a:pt x="18" y="158"/>
                  </a:cubicBezTo>
                  <a:cubicBezTo>
                    <a:pt x="17" y="157"/>
                    <a:pt x="17" y="157"/>
                    <a:pt x="17" y="156"/>
                  </a:cubicBezTo>
                  <a:cubicBezTo>
                    <a:pt x="17" y="52"/>
                    <a:pt x="17" y="52"/>
                    <a:pt x="17" y="52"/>
                  </a:cubicBezTo>
                  <a:cubicBezTo>
                    <a:pt x="17" y="38"/>
                    <a:pt x="29" y="27"/>
                    <a:pt x="43" y="27"/>
                  </a:cubicBezTo>
                  <a:cubicBezTo>
                    <a:pt x="110" y="27"/>
                    <a:pt x="110" y="27"/>
                    <a:pt x="110" y="27"/>
                  </a:cubicBezTo>
                  <a:cubicBezTo>
                    <a:pt x="116" y="27"/>
                    <a:pt x="121" y="29"/>
                    <a:pt x="126" y="32"/>
                  </a:cubicBezTo>
                  <a:cubicBezTo>
                    <a:pt x="126" y="33"/>
                    <a:pt x="127" y="33"/>
                    <a:pt x="127" y="33"/>
                  </a:cubicBezTo>
                  <a:cubicBezTo>
                    <a:pt x="126" y="38"/>
                    <a:pt x="125" y="44"/>
                    <a:pt x="125" y="49"/>
                  </a:cubicBezTo>
                  <a:cubicBezTo>
                    <a:pt x="125" y="166"/>
                    <a:pt x="125" y="166"/>
                    <a:pt x="125" y="166"/>
                  </a:cubicBezTo>
                  <a:cubicBezTo>
                    <a:pt x="124" y="167"/>
                    <a:pt x="123" y="167"/>
                    <a:pt x="121" y="167"/>
                  </a:cubicBezTo>
                  <a:cubicBezTo>
                    <a:pt x="121" y="63"/>
                    <a:pt x="121" y="63"/>
                    <a:pt x="121" y="63"/>
                  </a:cubicBezTo>
                  <a:cubicBezTo>
                    <a:pt x="121" y="59"/>
                    <a:pt x="118" y="55"/>
                    <a:pt x="113" y="55"/>
                  </a:cubicBezTo>
                  <a:close/>
                  <a:moveTo>
                    <a:pt x="282" y="169"/>
                  </a:moveTo>
                  <a:cubicBezTo>
                    <a:pt x="282" y="170"/>
                    <a:pt x="282" y="171"/>
                    <a:pt x="281" y="172"/>
                  </a:cubicBezTo>
                  <a:cubicBezTo>
                    <a:pt x="279" y="176"/>
                    <a:pt x="273" y="180"/>
                    <a:pt x="266" y="183"/>
                  </a:cubicBezTo>
                  <a:cubicBezTo>
                    <a:pt x="266" y="61"/>
                    <a:pt x="266" y="61"/>
                    <a:pt x="266" y="61"/>
                  </a:cubicBezTo>
                  <a:cubicBezTo>
                    <a:pt x="266" y="56"/>
                    <a:pt x="261" y="52"/>
                    <a:pt x="256" y="52"/>
                  </a:cubicBezTo>
                  <a:cubicBezTo>
                    <a:pt x="250" y="52"/>
                    <a:pt x="246" y="56"/>
                    <a:pt x="246" y="61"/>
                  </a:cubicBezTo>
                  <a:cubicBezTo>
                    <a:pt x="246" y="197"/>
                    <a:pt x="246" y="197"/>
                    <a:pt x="246" y="197"/>
                  </a:cubicBezTo>
                  <a:cubicBezTo>
                    <a:pt x="246" y="197"/>
                    <a:pt x="246" y="197"/>
                    <a:pt x="246" y="197"/>
                  </a:cubicBezTo>
                  <a:cubicBezTo>
                    <a:pt x="246" y="308"/>
                    <a:pt x="246" y="308"/>
                    <a:pt x="246" y="308"/>
                  </a:cubicBezTo>
                  <a:cubicBezTo>
                    <a:pt x="223" y="308"/>
                    <a:pt x="223" y="308"/>
                    <a:pt x="223" y="308"/>
                  </a:cubicBezTo>
                  <a:cubicBezTo>
                    <a:pt x="223" y="195"/>
                    <a:pt x="223" y="195"/>
                    <a:pt x="223" y="195"/>
                  </a:cubicBezTo>
                  <a:cubicBezTo>
                    <a:pt x="223" y="189"/>
                    <a:pt x="219" y="185"/>
                    <a:pt x="214" y="185"/>
                  </a:cubicBezTo>
                  <a:cubicBezTo>
                    <a:pt x="208" y="185"/>
                    <a:pt x="204" y="189"/>
                    <a:pt x="204" y="195"/>
                  </a:cubicBezTo>
                  <a:cubicBezTo>
                    <a:pt x="204" y="308"/>
                    <a:pt x="204" y="308"/>
                    <a:pt x="204" y="308"/>
                  </a:cubicBezTo>
                  <a:cubicBezTo>
                    <a:pt x="181" y="308"/>
                    <a:pt x="181" y="308"/>
                    <a:pt x="181" y="308"/>
                  </a:cubicBezTo>
                  <a:cubicBezTo>
                    <a:pt x="181" y="209"/>
                    <a:pt x="181" y="209"/>
                    <a:pt x="181" y="209"/>
                  </a:cubicBezTo>
                  <a:cubicBezTo>
                    <a:pt x="181" y="209"/>
                    <a:pt x="181" y="209"/>
                    <a:pt x="181" y="209"/>
                  </a:cubicBezTo>
                  <a:cubicBezTo>
                    <a:pt x="181" y="61"/>
                    <a:pt x="181" y="61"/>
                    <a:pt x="181" y="61"/>
                  </a:cubicBezTo>
                  <a:cubicBezTo>
                    <a:pt x="181" y="56"/>
                    <a:pt x="177" y="52"/>
                    <a:pt x="171" y="52"/>
                  </a:cubicBezTo>
                  <a:cubicBezTo>
                    <a:pt x="165" y="52"/>
                    <a:pt x="161" y="56"/>
                    <a:pt x="161" y="61"/>
                  </a:cubicBezTo>
                  <a:cubicBezTo>
                    <a:pt x="161" y="183"/>
                    <a:pt x="161" y="183"/>
                    <a:pt x="161" y="183"/>
                  </a:cubicBezTo>
                  <a:cubicBezTo>
                    <a:pt x="153" y="180"/>
                    <a:pt x="148" y="175"/>
                    <a:pt x="145" y="171"/>
                  </a:cubicBezTo>
                  <a:cubicBezTo>
                    <a:pt x="144" y="171"/>
                    <a:pt x="144" y="170"/>
                    <a:pt x="144" y="169"/>
                  </a:cubicBezTo>
                  <a:cubicBezTo>
                    <a:pt x="144" y="49"/>
                    <a:pt x="144" y="49"/>
                    <a:pt x="144" y="49"/>
                  </a:cubicBezTo>
                  <a:cubicBezTo>
                    <a:pt x="144" y="33"/>
                    <a:pt x="158" y="19"/>
                    <a:pt x="174" y="19"/>
                  </a:cubicBezTo>
                  <a:cubicBezTo>
                    <a:pt x="253" y="19"/>
                    <a:pt x="253" y="19"/>
                    <a:pt x="253" y="19"/>
                  </a:cubicBezTo>
                  <a:cubicBezTo>
                    <a:pt x="270" y="19"/>
                    <a:pt x="282" y="33"/>
                    <a:pt x="282" y="49"/>
                  </a:cubicBezTo>
                  <a:cubicBezTo>
                    <a:pt x="282" y="169"/>
                    <a:pt x="282" y="169"/>
                    <a:pt x="282" y="169"/>
                  </a:cubicBezTo>
                  <a:cubicBezTo>
                    <a:pt x="282" y="169"/>
                    <a:pt x="282" y="169"/>
                    <a:pt x="282" y="169"/>
                  </a:cubicBezTo>
                  <a:close/>
                  <a:moveTo>
                    <a:pt x="411" y="156"/>
                  </a:moveTo>
                  <a:cubicBezTo>
                    <a:pt x="411" y="157"/>
                    <a:pt x="410" y="157"/>
                    <a:pt x="410" y="158"/>
                  </a:cubicBezTo>
                  <a:cubicBezTo>
                    <a:pt x="407" y="160"/>
                    <a:pt x="403" y="165"/>
                    <a:pt x="396" y="167"/>
                  </a:cubicBezTo>
                  <a:cubicBezTo>
                    <a:pt x="396" y="63"/>
                    <a:pt x="396" y="63"/>
                    <a:pt x="396" y="63"/>
                  </a:cubicBezTo>
                  <a:cubicBezTo>
                    <a:pt x="396" y="59"/>
                    <a:pt x="392" y="55"/>
                    <a:pt x="388" y="55"/>
                  </a:cubicBezTo>
                  <a:cubicBezTo>
                    <a:pt x="383" y="55"/>
                    <a:pt x="379" y="59"/>
                    <a:pt x="379" y="63"/>
                  </a:cubicBezTo>
                  <a:cubicBezTo>
                    <a:pt x="379" y="180"/>
                    <a:pt x="379" y="180"/>
                    <a:pt x="379" y="180"/>
                  </a:cubicBezTo>
                  <a:cubicBezTo>
                    <a:pt x="379" y="190"/>
                    <a:pt x="379" y="190"/>
                    <a:pt x="379" y="190"/>
                  </a:cubicBezTo>
                  <a:cubicBezTo>
                    <a:pt x="379" y="276"/>
                    <a:pt x="379" y="276"/>
                    <a:pt x="379" y="276"/>
                  </a:cubicBezTo>
                  <a:cubicBezTo>
                    <a:pt x="360" y="276"/>
                    <a:pt x="360" y="276"/>
                    <a:pt x="360" y="276"/>
                  </a:cubicBezTo>
                  <a:cubicBezTo>
                    <a:pt x="360" y="178"/>
                    <a:pt x="360" y="178"/>
                    <a:pt x="360" y="178"/>
                  </a:cubicBezTo>
                  <a:cubicBezTo>
                    <a:pt x="360" y="173"/>
                    <a:pt x="356" y="170"/>
                    <a:pt x="351" y="170"/>
                  </a:cubicBezTo>
                  <a:cubicBezTo>
                    <a:pt x="346" y="170"/>
                    <a:pt x="342" y="173"/>
                    <a:pt x="342" y="178"/>
                  </a:cubicBezTo>
                  <a:cubicBezTo>
                    <a:pt x="342" y="276"/>
                    <a:pt x="342" y="276"/>
                    <a:pt x="342" y="276"/>
                  </a:cubicBezTo>
                  <a:cubicBezTo>
                    <a:pt x="323" y="276"/>
                    <a:pt x="323" y="276"/>
                    <a:pt x="323" y="276"/>
                  </a:cubicBezTo>
                  <a:cubicBezTo>
                    <a:pt x="323" y="180"/>
                    <a:pt x="323" y="180"/>
                    <a:pt x="323" y="180"/>
                  </a:cubicBezTo>
                  <a:cubicBezTo>
                    <a:pt x="323" y="180"/>
                    <a:pt x="323" y="180"/>
                    <a:pt x="323" y="180"/>
                  </a:cubicBezTo>
                  <a:cubicBezTo>
                    <a:pt x="323" y="63"/>
                    <a:pt x="323" y="63"/>
                    <a:pt x="323" y="63"/>
                  </a:cubicBezTo>
                  <a:cubicBezTo>
                    <a:pt x="323" y="59"/>
                    <a:pt x="319" y="55"/>
                    <a:pt x="315" y="55"/>
                  </a:cubicBezTo>
                  <a:cubicBezTo>
                    <a:pt x="310" y="55"/>
                    <a:pt x="306" y="59"/>
                    <a:pt x="306" y="63"/>
                  </a:cubicBezTo>
                  <a:cubicBezTo>
                    <a:pt x="306" y="167"/>
                    <a:pt x="306" y="167"/>
                    <a:pt x="306" y="167"/>
                  </a:cubicBezTo>
                  <a:cubicBezTo>
                    <a:pt x="305" y="167"/>
                    <a:pt x="303" y="166"/>
                    <a:pt x="302" y="166"/>
                  </a:cubicBezTo>
                  <a:cubicBezTo>
                    <a:pt x="302" y="49"/>
                    <a:pt x="302" y="49"/>
                    <a:pt x="302" y="49"/>
                  </a:cubicBezTo>
                  <a:cubicBezTo>
                    <a:pt x="302" y="44"/>
                    <a:pt x="302" y="38"/>
                    <a:pt x="300" y="33"/>
                  </a:cubicBezTo>
                  <a:cubicBezTo>
                    <a:pt x="301" y="33"/>
                    <a:pt x="301" y="33"/>
                    <a:pt x="302" y="32"/>
                  </a:cubicBezTo>
                  <a:cubicBezTo>
                    <a:pt x="306" y="29"/>
                    <a:pt x="311" y="27"/>
                    <a:pt x="317" y="27"/>
                  </a:cubicBezTo>
                  <a:cubicBezTo>
                    <a:pt x="385" y="27"/>
                    <a:pt x="385" y="27"/>
                    <a:pt x="385" y="27"/>
                  </a:cubicBezTo>
                  <a:cubicBezTo>
                    <a:pt x="399" y="27"/>
                    <a:pt x="411" y="38"/>
                    <a:pt x="411" y="52"/>
                  </a:cubicBezTo>
                  <a:cubicBezTo>
                    <a:pt x="411" y="156"/>
                    <a:pt x="411" y="156"/>
                    <a:pt x="411" y="156"/>
                  </a:cubicBezTo>
                  <a:cubicBezTo>
                    <a:pt x="411" y="156"/>
                    <a:pt x="411" y="156"/>
                    <a:pt x="411" y="156"/>
                  </a:cubicBezTo>
                  <a:close/>
                </a:path>
              </a:pathLst>
            </a:custGeom>
            <a:grpFill/>
            <a:ln>
              <a:noFill/>
            </a:ln>
            <a:extLst>
              <a:ext uri="{91240B29-F687-4F45-9708-019B960494DF}">
                <a14:hiddenLine xmlns:a14="http://schemas.microsoft.com/office/drawing/2010/main" w="0" cap="flat" cmpd="sng" algn="ctr">
                  <a:solidFill>
                    <a:srgbClr val="FFFFFF">
                      <a:alpha val="0"/>
                    </a:srgbClr>
                  </a:solidFill>
                  <a:prstDash val="solid"/>
                  <a:round/>
                  <a:headEnd type="none" w="med" len="med"/>
                  <a:tailEnd type="none" w="med" len="me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116"/>
            <p:cNvSpPr>
              <a:spLocks noEditPoints="1"/>
            </p:cNvSpPr>
            <p:nvPr/>
          </p:nvSpPr>
          <p:spPr bwMode="auto">
            <a:xfrm>
              <a:off x="1162050" y="90488"/>
              <a:ext cx="317500" cy="320675"/>
            </a:xfrm>
            <a:custGeom>
              <a:avLst/>
              <a:gdLst>
                <a:gd name="T0" fmla="*/ 42 w 84"/>
                <a:gd name="T1" fmla="*/ 85 h 85"/>
                <a:gd name="T2" fmla="*/ 84 w 84"/>
                <a:gd name="T3" fmla="*/ 43 h 85"/>
                <a:gd name="T4" fmla="*/ 42 w 84"/>
                <a:gd name="T5" fmla="*/ 0 h 85"/>
                <a:gd name="T6" fmla="*/ 0 w 84"/>
                <a:gd name="T7" fmla="*/ 43 h 85"/>
                <a:gd name="T8" fmla="*/ 42 w 84"/>
                <a:gd name="T9" fmla="*/ 85 h 85"/>
                <a:gd name="T10" fmla="*/ 42 w 84"/>
                <a:gd name="T11" fmla="*/ 16 h 85"/>
                <a:gd name="T12" fmla="*/ 68 w 84"/>
                <a:gd name="T13" fmla="*/ 43 h 85"/>
                <a:gd name="T14" fmla="*/ 42 w 84"/>
                <a:gd name="T15" fmla="*/ 69 h 85"/>
                <a:gd name="T16" fmla="*/ 16 w 84"/>
                <a:gd name="T17" fmla="*/ 43 h 85"/>
                <a:gd name="T18" fmla="*/ 42 w 84"/>
                <a:gd name="T19" fmla="*/ 16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5">
                  <a:moveTo>
                    <a:pt x="42" y="85"/>
                  </a:moveTo>
                  <a:cubicBezTo>
                    <a:pt x="66" y="85"/>
                    <a:pt x="84" y="67"/>
                    <a:pt x="84" y="43"/>
                  </a:cubicBezTo>
                  <a:cubicBezTo>
                    <a:pt x="84" y="19"/>
                    <a:pt x="66" y="0"/>
                    <a:pt x="42" y="0"/>
                  </a:cubicBezTo>
                  <a:cubicBezTo>
                    <a:pt x="18" y="0"/>
                    <a:pt x="0" y="19"/>
                    <a:pt x="0" y="43"/>
                  </a:cubicBezTo>
                  <a:cubicBezTo>
                    <a:pt x="0" y="67"/>
                    <a:pt x="18" y="85"/>
                    <a:pt x="42" y="85"/>
                  </a:cubicBezTo>
                  <a:close/>
                  <a:moveTo>
                    <a:pt x="42" y="16"/>
                  </a:moveTo>
                  <a:cubicBezTo>
                    <a:pt x="57" y="16"/>
                    <a:pt x="68" y="28"/>
                    <a:pt x="68" y="43"/>
                  </a:cubicBezTo>
                  <a:cubicBezTo>
                    <a:pt x="68" y="57"/>
                    <a:pt x="57" y="69"/>
                    <a:pt x="42" y="69"/>
                  </a:cubicBezTo>
                  <a:cubicBezTo>
                    <a:pt x="28" y="69"/>
                    <a:pt x="16" y="57"/>
                    <a:pt x="16" y="43"/>
                  </a:cubicBezTo>
                  <a:cubicBezTo>
                    <a:pt x="16" y="28"/>
                    <a:pt x="28" y="16"/>
                    <a:pt x="42" y="16"/>
                  </a:cubicBezTo>
                  <a:close/>
                </a:path>
              </a:pathLst>
            </a:custGeom>
            <a:grpFill/>
            <a:ln>
              <a:noFill/>
            </a:ln>
            <a:extLst>
              <a:ext uri="{91240B29-F687-4F45-9708-019B960494DF}">
                <a14:hiddenLine xmlns:a14="http://schemas.microsoft.com/office/drawing/2010/main" w="0" cap="flat" cmpd="sng" algn="ctr">
                  <a:solidFill>
                    <a:srgbClr val="FFFFFF">
                      <a:alpha val="0"/>
                    </a:srgbClr>
                  </a:solidFill>
                  <a:prstDash val="solid"/>
                  <a:round/>
                  <a:headEnd type="none" w="med" len="med"/>
                  <a:tailEnd type="none" w="med" len="me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21" name="TextBox 320"/>
          <p:cNvSpPr txBox="1"/>
          <p:nvPr/>
        </p:nvSpPr>
        <p:spPr>
          <a:xfrm>
            <a:off x="7441674" y="5847152"/>
            <a:ext cx="113813" cy="24622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b="1" dirty="0">
                <a:solidFill>
                  <a:schemeClr val="accent4"/>
                </a:solidFill>
              </a:rPr>
              <a:t>3</a:t>
            </a:r>
          </a:p>
        </p:txBody>
      </p:sp>
      <p:sp>
        <p:nvSpPr>
          <p:cNvPr id="54" name="TextBox 53">
            <a:extLst>
              <a:ext uri="{FF2B5EF4-FFF2-40B4-BE49-F238E27FC236}">
                <a16:creationId xmlns:a16="http://schemas.microsoft.com/office/drawing/2014/main" id="{38E93504-6B9F-4A92-8986-272F51AB3F2E}"/>
              </a:ext>
            </a:extLst>
          </p:cNvPr>
          <p:cNvSpPr txBox="1">
            <a:spLocks/>
          </p:cNvSpPr>
          <p:nvPr/>
        </p:nvSpPr>
        <p:spPr>
          <a:xfrm>
            <a:off x="6903096" y="5283813"/>
            <a:ext cx="1728555" cy="492443"/>
          </a:xfrm>
          <a:prstGeom prst="rect">
            <a:avLst/>
          </a:prstGeom>
        </p:spPr>
        <p:txBody>
          <a:bodyPr vert="horz" lIns="0" tIns="0" rIns="0" bIns="0" rtlCol="0">
            <a:sp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fontAlgn="auto">
              <a:spcBef>
                <a:spcPts val="0"/>
              </a:spcBef>
              <a:spcAft>
                <a:spcPts val="0"/>
              </a:spcAft>
              <a:defRPr/>
            </a:pPr>
            <a:r>
              <a:rPr kumimoji="1" lang="en-US" altLang="ja-JP" sz="1600" b="1" kern="0" dirty="0">
                <a:solidFill>
                  <a:schemeClr val="accent4"/>
                </a:solidFill>
              </a:rPr>
              <a:t>Professional Services</a:t>
            </a:r>
            <a:endParaRPr kumimoji="1" lang="ja-JP" altLang="en-US" sz="1600" b="1" kern="0" dirty="0" err="1">
              <a:solidFill>
                <a:schemeClr val="accent4"/>
              </a:solidFill>
            </a:endParaRPr>
          </a:p>
        </p:txBody>
      </p:sp>
      <p:cxnSp>
        <p:nvCxnSpPr>
          <p:cNvPr id="522" name="Straight Connector 521">
            <a:extLst>
              <a:ext uri="{FF2B5EF4-FFF2-40B4-BE49-F238E27FC236}">
                <a16:creationId xmlns:a16="http://schemas.microsoft.com/office/drawing/2014/main" id="{7506F1E9-E18B-4CCC-ADB1-B60EB9241BF6}"/>
              </a:ext>
            </a:extLst>
          </p:cNvPr>
          <p:cNvCxnSpPr>
            <a:cxnSpLocks/>
          </p:cNvCxnSpPr>
          <p:nvPr/>
        </p:nvCxnSpPr>
        <p:spPr>
          <a:xfrm>
            <a:off x="4901646" y="1101243"/>
            <a:ext cx="0" cy="4992130"/>
          </a:xfrm>
          <a:prstGeom prst="line">
            <a:avLst/>
          </a:prstGeom>
          <a:ln w="9525">
            <a:solidFill>
              <a:schemeClr val="accent6"/>
            </a:solidFill>
            <a:prstDash val="sysDot"/>
          </a:ln>
        </p:spPr>
        <p:style>
          <a:lnRef idx="1">
            <a:schemeClr val="accent1"/>
          </a:lnRef>
          <a:fillRef idx="0">
            <a:schemeClr val="accent1"/>
          </a:fillRef>
          <a:effectRef idx="0">
            <a:schemeClr val="accent1"/>
          </a:effectRef>
          <a:fontRef idx="minor">
            <a:schemeClr val="tx1"/>
          </a:fontRef>
        </p:style>
      </p:cxnSp>
      <p:cxnSp>
        <p:nvCxnSpPr>
          <p:cNvPr id="532" name="Straight Connector 531">
            <a:extLst>
              <a:ext uri="{FF2B5EF4-FFF2-40B4-BE49-F238E27FC236}">
                <a16:creationId xmlns:a16="http://schemas.microsoft.com/office/drawing/2014/main" id="{41EF81F1-4AD2-4332-A02F-7BBBCB7D2835}"/>
              </a:ext>
            </a:extLst>
          </p:cNvPr>
          <p:cNvCxnSpPr>
            <a:cxnSpLocks/>
          </p:cNvCxnSpPr>
          <p:nvPr/>
        </p:nvCxnSpPr>
        <p:spPr>
          <a:xfrm>
            <a:off x="5014036" y="2847872"/>
            <a:ext cx="1478768" cy="0"/>
          </a:xfrm>
          <a:prstGeom prst="line">
            <a:avLst/>
          </a:prstGeom>
          <a:ln w="9525">
            <a:solidFill>
              <a:schemeClr val="accent6"/>
            </a:solidFill>
            <a:prstDash val="dash"/>
          </a:ln>
        </p:spPr>
        <p:style>
          <a:lnRef idx="1">
            <a:schemeClr val="accent1"/>
          </a:lnRef>
          <a:fillRef idx="0">
            <a:schemeClr val="accent1"/>
          </a:fillRef>
          <a:effectRef idx="0">
            <a:schemeClr val="accent1"/>
          </a:effectRef>
          <a:fontRef idx="minor">
            <a:schemeClr val="tx1"/>
          </a:fontRef>
        </p:style>
      </p:cxnSp>
      <p:cxnSp>
        <p:nvCxnSpPr>
          <p:cNvPr id="322" name="Straight Connector 321">
            <a:extLst>
              <a:ext uri="{FF2B5EF4-FFF2-40B4-BE49-F238E27FC236}">
                <a16:creationId xmlns:a16="http://schemas.microsoft.com/office/drawing/2014/main" id="{596E6FFD-65C6-4D56-B203-0AB15E1A58D2}"/>
              </a:ext>
            </a:extLst>
          </p:cNvPr>
          <p:cNvCxnSpPr>
            <a:cxnSpLocks/>
          </p:cNvCxnSpPr>
          <p:nvPr/>
        </p:nvCxnSpPr>
        <p:spPr>
          <a:xfrm>
            <a:off x="5014036" y="1897441"/>
            <a:ext cx="1478768" cy="0"/>
          </a:xfrm>
          <a:prstGeom prst="line">
            <a:avLst/>
          </a:prstGeom>
          <a:ln w="9525">
            <a:solidFill>
              <a:schemeClr val="accent6"/>
            </a:solidFill>
            <a:prstDash val="dash"/>
          </a:ln>
        </p:spPr>
        <p:style>
          <a:lnRef idx="1">
            <a:schemeClr val="accent1"/>
          </a:lnRef>
          <a:fillRef idx="0">
            <a:schemeClr val="accent1"/>
          </a:fillRef>
          <a:effectRef idx="0">
            <a:schemeClr val="accent1"/>
          </a:effectRef>
          <a:fontRef idx="minor">
            <a:schemeClr val="tx1"/>
          </a:fontRef>
        </p:style>
      </p:cxnSp>
      <p:cxnSp>
        <p:nvCxnSpPr>
          <p:cNvPr id="328" name="Straight Connector 327">
            <a:extLst>
              <a:ext uri="{FF2B5EF4-FFF2-40B4-BE49-F238E27FC236}">
                <a16:creationId xmlns:a16="http://schemas.microsoft.com/office/drawing/2014/main" id="{60DB893F-B9F3-4563-A47A-369EBFF59B78}"/>
              </a:ext>
            </a:extLst>
          </p:cNvPr>
          <p:cNvCxnSpPr>
            <a:cxnSpLocks/>
          </p:cNvCxnSpPr>
          <p:nvPr/>
        </p:nvCxnSpPr>
        <p:spPr>
          <a:xfrm>
            <a:off x="5014036" y="4016643"/>
            <a:ext cx="1478768" cy="0"/>
          </a:xfrm>
          <a:prstGeom prst="line">
            <a:avLst/>
          </a:prstGeom>
          <a:ln w="9525">
            <a:solidFill>
              <a:schemeClr val="accent6"/>
            </a:solidFill>
            <a:prstDash val="dash"/>
          </a:ln>
        </p:spPr>
        <p:style>
          <a:lnRef idx="1">
            <a:schemeClr val="accent1"/>
          </a:lnRef>
          <a:fillRef idx="0">
            <a:schemeClr val="accent1"/>
          </a:fillRef>
          <a:effectRef idx="0">
            <a:schemeClr val="accent1"/>
          </a:effectRef>
          <a:fontRef idx="minor">
            <a:schemeClr val="tx1"/>
          </a:fontRef>
        </p:style>
      </p:cxnSp>
      <p:cxnSp>
        <p:nvCxnSpPr>
          <p:cNvPr id="329" name="Straight Connector 328">
            <a:extLst>
              <a:ext uri="{FF2B5EF4-FFF2-40B4-BE49-F238E27FC236}">
                <a16:creationId xmlns:a16="http://schemas.microsoft.com/office/drawing/2014/main" id="{58675D25-2668-46B8-A6A1-7966F8BF08FE}"/>
              </a:ext>
            </a:extLst>
          </p:cNvPr>
          <p:cNvCxnSpPr>
            <a:cxnSpLocks/>
          </p:cNvCxnSpPr>
          <p:nvPr/>
        </p:nvCxnSpPr>
        <p:spPr>
          <a:xfrm>
            <a:off x="5014036" y="5124335"/>
            <a:ext cx="1478768" cy="0"/>
          </a:xfrm>
          <a:prstGeom prst="line">
            <a:avLst/>
          </a:prstGeom>
          <a:ln w="9525">
            <a:solidFill>
              <a:schemeClr val="accent6"/>
            </a:solidFill>
            <a:prstDash val="dash"/>
          </a:ln>
        </p:spPr>
        <p:style>
          <a:lnRef idx="1">
            <a:schemeClr val="accent1"/>
          </a:lnRef>
          <a:fillRef idx="0">
            <a:schemeClr val="accent1"/>
          </a:fillRef>
          <a:effectRef idx="0">
            <a:schemeClr val="accent1"/>
          </a:effectRef>
          <a:fontRef idx="minor">
            <a:schemeClr val="tx1"/>
          </a:fontRef>
        </p:style>
      </p:cxnSp>
      <p:cxnSp>
        <p:nvCxnSpPr>
          <p:cNvPr id="333" name="Straight Connector 332">
            <a:extLst>
              <a:ext uri="{FF2B5EF4-FFF2-40B4-BE49-F238E27FC236}">
                <a16:creationId xmlns:a16="http://schemas.microsoft.com/office/drawing/2014/main" id="{949EED73-5B22-4C8B-B5E3-B9BA6C9F20B7}"/>
              </a:ext>
            </a:extLst>
          </p:cNvPr>
          <p:cNvCxnSpPr>
            <a:cxnSpLocks/>
          </p:cNvCxnSpPr>
          <p:nvPr/>
        </p:nvCxnSpPr>
        <p:spPr>
          <a:xfrm>
            <a:off x="6903096" y="5182383"/>
            <a:ext cx="1728555" cy="0"/>
          </a:xfrm>
          <a:prstGeom prst="line">
            <a:avLst/>
          </a:prstGeom>
          <a:ln w="9525">
            <a:solidFill>
              <a:schemeClr val="accent6"/>
            </a:solidFill>
            <a:prstDash val="dash"/>
          </a:ln>
        </p:spPr>
        <p:style>
          <a:lnRef idx="1">
            <a:schemeClr val="accent1"/>
          </a:lnRef>
          <a:fillRef idx="0">
            <a:schemeClr val="accent1"/>
          </a:fillRef>
          <a:effectRef idx="0">
            <a:schemeClr val="accent1"/>
          </a:effectRef>
          <a:fontRef idx="minor">
            <a:schemeClr val="tx1"/>
          </a:fontRef>
        </p:style>
      </p:cxnSp>
      <p:cxnSp>
        <p:nvCxnSpPr>
          <p:cNvPr id="397" name="Straight Connector 396">
            <a:extLst>
              <a:ext uri="{FF2B5EF4-FFF2-40B4-BE49-F238E27FC236}">
                <a16:creationId xmlns:a16="http://schemas.microsoft.com/office/drawing/2014/main" id="{2F385FBD-A276-4F7C-BFA3-788E38E5FAA6}"/>
              </a:ext>
            </a:extLst>
          </p:cNvPr>
          <p:cNvCxnSpPr>
            <a:cxnSpLocks/>
          </p:cNvCxnSpPr>
          <p:nvPr/>
        </p:nvCxnSpPr>
        <p:spPr>
          <a:xfrm>
            <a:off x="6903096" y="4339865"/>
            <a:ext cx="1728555" cy="0"/>
          </a:xfrm>
          <a:prstGeom prst="line">
            <a:avLst/>
          </a:prstGeom>
          <a:ln w="9525">
            <a:solidFill>
              <a:schemeClr val="accent6"/>
            </a:solidFill>
            <a:prstDash val="dash"/>
          </a:ln>
        </p:spPr>
        <p:style>
          <a:lnRef idx="1">
            <a:schemeClr val="accent1"/>
          </a:lnRef>
          <a:fillRef idx="0">
            <a:schemeClr val="accent1"/>
          </a:fillRef>
          <a:effectRef idx="0">
            <a:schemeClr val="accent1"/>
          </a:effectRef>
          <a:fontRef idx="minor">
            <a:schemeClr val="tx1"/>
          </a:fontRef>
        </p:style>
      </p:cxnSp>
      <p:cxnSp>
        <p:nvCxnSpPr>
          <p:cNvPr id="553" name="Straight Connector 552">
            <a:extLst>
              <a:ext uri="{FF2B5EF4-FFF2-40B4-BE49-F238E27FC236}">
                <a16:creationId xmlns:a16="http://schemas.microsoft.com/office/drawing/2014/main" id="{E8D4D102-0A3F-4ED4-A9F4-5E248FA3D8BD}"/>
              </a:ext>
            </a:extLst>
          </p:cNvPr>
          <p:cNvCxnSpPr>
            <a:cxnSpLocks/>
          </p:cNvCxnSpPr>
          <p:nvPr/>
        </p:nvCxnSpPr>
        <p:spPr>
          <a:xfrm>
            <a:off x="6903096" y="3225264"/>
            <a:ext cx="1728555" cy="0"/>
          </a:xfrm>
          <a:prstGeom prst="line">
            <a:avLst/>
          </a:prstGeom>
          <a:ln w="9525">
            <a:solidFill>
              <a:schemeClr val="accent6"/>
            </a:solidFill>
            <a:prstDash val="dash"/>
          </a:ln>
        </p:spPr>
        <p:style>
          <a:lnRef idx="1">
            <a:schemeClr val="accent1"/>
          </a:lnRef>
          <a:fillRef idx="0">
            <a:schemeClr val="accent1"/>
          </a:fillRef>
          <a:effectRef idx="0">
            <a:schemeClr val="accent1"/>
          </a:effectRef>
          <a:fontRef idx="minor">
            <a:schemeClr val="tx1"/>
          </a:fontRef>
        </p:style>
      </p:cxnSp>
      <p:cxnSp>
        <p:nvCxnSpPr>
          <p:cNvPr id="555" name="Straight Connector 554">
            <a:extLst>
              <a:ext uri="{FF2B5EF4-FFF2-40B4-BE49-F238E27FC236}">
                <a16:creationId xmlns:a16="http://schemas.microsoft.com/office/drawing/2014/main" id="{84AB7096-D9CC-44E9-853B-20839BB0759D}"/>
              </a:ext>
            </a:extLst>
          </p:cNvPr>
          <p:cNvCxnSpPr>
            <a:cxnSpLocks/>
          </p:cNvCxnSpPr>
          <p:nvPr/>
        </p:nvCxnSpPr>
        <p:spPr>
          <a:xfrm>
            <a:off x="6903096" y="2101740"/>
            <a:ext cx="1728555" cy="0"/>
          </a:xfrm>
          <a:prstGeom prst="line">
            <a:avLst/>
          </a:prstGeom>
          <a:ln w="9525">
            <a:solidFill>
              <a:schemeClr val="accent6"/>
            </a:solidFill>
            <a:prstDash val="dash"/>
          </a:ln>
        </p:spPr>
        <p:style>
          <a:lnRef idx="1">
            <a:schemeClr val="accent1"/>
          </a:lnRef>
          <a:fillRef idx="0">
            <a:schemeClr val="accent1"/>
          </a:fillRef>
          <a:effectRef idx="0">
            <a:schemeClr val="accent1"/>
          </a:effectRef>
          <a:fontRef idx="minor">
            <a:schemeClr val="tx1"/>
          </a:fontRef>
        </p:style>
      </p:cxnSp>
      <p:sp>
        <p:nvSpPr>
          <p:cNvPr id="268" name="TextBox 267"/>
          <p:cNvSpPr txBox="1">
            <a:spLocks/>
          </p:cNvSpPr>
          <p:nvPr/>
        </p:nvSpPr>
        <p:spPr>
          <a:xfrm>
            <a:off x="1838411" y="4243168"/>
            <a:ext cx="227626" cy="24622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r>
              <a:rPr lang="en-US" b="1" dirty="0">
                <a:solidFill>
                  <a:schemeClr val="accent4"/>
                </a:solidFill>
              </a:rPr>
              <a:t>34</a:t>
            </a:r>
          </a:p>
        </p:txBody>
      </p:sp>
      <p:sp>
        <p:nvSpPr>
          <p:cNvPr id="270" name="TextBox 269"/>
          <p:cNvSpPr txBox="1">
            <a:spLocks/>
          </p:cNvSpPr>
          <p:nvPr/>
        </p:nvSpPr>
        <p:spPr>
          <a:xfrm>
            <a:off x="4189157" y="4243168"/>
            <a:ext cx="227626" cy="24622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r>
              <a:rPr lang="en-US" b="1" dirty="0">
                <a:solidFill>
                  <a:schemeClr val="accent4"/>
                </a:solidFill>
              </a:rPr>
              <a:t>63</a:t>
            </a:r>
          </a:p>
        </p:txBody>
      </p:sp>
      <p:sp>
        <p:nvSpPr>
          <p:cNvPr id="9" name="TextBox 8">
            <a:extLst>
              <a:ext uri="{FF2B5EF4-FFF2-40B4-BE49-F238E27FC236}">
                <a16:creationId xmlns:a16="http://schemas.microsoft.com/office/drawing/2014/main" id="{08C94570-5C19-4980-8980-7B58A30436E5}"/>
              </a:ext>
            </a:extLst>
          </p:cNvPr>
          <p:cNvSpPr txBox="1">
            <a:spLocks/>
          </p:cNvSpPr>
          <p:nvPr/>
        </p:nvSpPr>
        <p:spPr>
          <a:xfrm>
            <a:off x="2664780" y="4243168"/>
            <a:ext cx="905475" cy="246221"/>
          </a:xfrm>
          <a:prstGeom prst="rect">
            <a:avLst/>
          </a:prstGeom>
        </p:spPr>
        <p:txBody>
          <a:bodyPr vert="horz" lIns="0" tIns="0" rIns="0" bIns="0" rtlCol="0">
            <a:sp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r>
              <a:rPr lang="en-US" sz="1600" b="1" dirty="0">
                <a:solidFill>
                  <a:schemeClr val="accent4"/>
                </a:solidFill>
              </a:rPr>
              <a:t>221</a:t>
            </a:r>
          </a:p>
        </p:txBody>
      </p:sp>
      <p:sp>
        <p:nvSpPr>
          <p:cNvPr id="267" name="TextBox 266"/>
          <p:cNvSpPr txBox="1">
            <a:spLocks/>
          </p:cNvSpPr>
          <p:nvPr/>
        </p:nvSpPr>
        <p:spPr>
          <a:xfrm>
            <a:off x="614008" y="4243168"/>
            <a:ext cx="341440" cy="24622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r>
              <a:rPr lang="en-US" b="1" dirty="0">
                <a:solidFill>
                  <a:schemeClr val="accent4"/>
                </a:solidFill>
              </a:rPr>
              <a:t>107</a:t>
            </a:r>
          </a:p>
        </p:txBody>
      </p:sp>
      <p:sp>
        <p:nvSpPr>
          <p:cNvPr id="6" name="TextBox 5">
            <a:extLst>
              <a:ext uri="{FF2B5EF4-FFF2-40B4-BE49-F238E27FC236}">
                <a16:creationId xmlns:a16="http://schemas.microsoft.com/office/drawing/2014/main" id="{00DEEDAD-57E1-42D5-B664-609AE481A6C3}"/>
              </a:ext>
            </a:extLst>
          </p:cNvPr>
          <p:cNvSpPr txBox="1">
            <a:spLocks/>
          </p:cNvSpPr>
          <p:nvPr/>
        </p:nvSpPr>
        <p:spPr>
          <a:xfrm>
            <a:off x="329788" y="3689800"/>
            <a:ext cx="909880" cy="246221"/>
          </a:xfrm>
          <a:prstGeom prst="rect">
            <a:avLst/>
          </a:prstGeom>
        </p:spPr>
        <p:txBody>
          <a:bodyPr vert="horz" lIns="0" tIns="0" rIns="0" bIns="0" rtlCol="0">
            <a:sp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fontAlgn="auto">
              <a:spcBef>
                <a:spcPts val="0"/>
              </a:spcBef>
              <a:spcAft>
                <a:spcPts val="0"/>
              </a:spcAft>
              <a:defRPr/>
            </a:pPr>
            <a:r>
              <a:rPr kumimoji="1" lang="en-US" altLang="ja-JP" sz="1600" b="1" kern="0" dirty="0">
                <a:solidFill>
                  <a:schemeClr val="accent4"/>
                </a:solidFill>
              </a:rPr>
              <a:t>NA</a:t>
            </a:r>
            <a:endParaRPr kumimoji="1" lang="ja-JP" altLang="en-US" sz="1600" b="1" kern="0" dirty="0" err="1">
              <a:solidFill>
                <a:schemeClr val="accent4"/>
              </a:solidFill>
            </a:endParaRPr>
          </a:p>
        </p:txBody>
      </p:sp>
      <p:sp>
        <p:nvSpPr>
          <p:cNvPr id="8" name="TextBox 7">
            <a:extLst>
              <a:ext uri="{FF2B5EF4-FFF2-40B4-BE49-F238E27FC236}">
                <a16:creationId xmlns:a16="http://schemas.microsoft.com/office/drawing/2014/main" id="{9275C883-EF5F-45EB-83BF-9755B50ED4D1}"/>
              </a:ext>
            </a:extLst>
          </p:cNvPr>
          <p:cNvSpPr txBox="1">
            <a:spLocks/>
          </p:cNvSpPr>
          <p:nvPr/>
        </p:nvSpPr>
        <p:spPr>
          <a:xfrm>
            <a:off x="1486100" y="3689800"/>
            <a:ext cx="932246" cy="246221"/>
          </a:xfrm>
          <a:prstGeom prst="rect">
            <a:avLst/>
          </a:prstGeom>
        </p:spPr>
        <p:txBody>
          <a:bodyPr vert="horz" lIns="0" tIns="0" rIns="0" bIns="0" rtlCol="0">
            <a:sp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fontAlgn="auto">
              <a:spcBef>
                <a:spcPts val="0"/>
              </a:spcBef>
              <a:spcAft>
                <a:spcPts val="0"/>
              </a:spcAft>
              <a:defRPr/>
            </a:pPr>
            <a:r>
              <a:rPr kumimoji="1" lang="en-US" altLang="ja-JP" sz="1600" b="1" kern="0" dirty="0">
                <a:solidFill>
                  <a:schemeClr val="accent4"/>
                </a:solidFill>
              </a:rPr>
              <a:t>LATAM</a:t>
            </a:r>
            <a:endParaRPr kumimoji="1" lang="ja-JP" altLang="en-US" sz="1600" b="1" kern="0" dirty="0" err="1">
              <a:solidFill>
                <a:schemeClr val="accent4"/>
              </a:solidFill>
            </a:endParaRPr>
          </a:p>
        </p:txBody>
      </p:sp>
      <p:sp>
        <p:nvSpPr>
          <p:cNvPr id="11" name="TextBox 10">
            <a:extLst>
              <a:ext uri="{FF2B5EF4-FFF2-40B4-BE49-F238E27FC236}">
                <a16:creationId xmlns:a16="http://schemas.microsoft.com/office/drawing/2014/main" id="{23455F14-5CFA-4ACE-BFF3-2B7317A733CB}"/>
              </a:ext>
            </a:extLst>
          </p:cNvPr>
          <p:cNvSpPr txBox="1">
            <a:spLocks/>
          </p:cNvSpPr>
          <p:nvPr/>
        </p:nvSpPr>
        <p:spPr>
          <a:xfrm>
            <a:off x="3816687" y="3689800"/>
            <a:ext cx="972567" cy="246221"/>
          </a:xfrm>
          <a:prstGeom prst="rect">
            <a:avLst/>
          </a:prstGeom>
        </p:spPr>
        <p:txBody>
          <a:bodyPr vert="horz" lIns="0" tIns="0" rIns="0" bIns="0" rtlCol="0">
            <a:sp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fontAlgn="auto">
              <a:spcBef>
                <a:spcPts val="0"/>
              </a:spcBef>
              <a:spcAft>
                <a:spcPts val="0"/>
              </a:spcAft>
              <a:defRPr/>
            </a:pPr>
            <a:r>
              <a:rPr kumimoji="1" lang="en-US" altLang="ja-JP" sz="1600" b="1" kern="0" dirty="0">
                <a:solidFill>
                  <a:schemeClr val="accent4"/>
                </a:solidFill>
              </a:rPr>
              <a:t>APAC</a:t>
            </a:r>
            <a:endParaRPr kumimoji="1" lang="ja-JP" altLang="en-US" sz="1600" b="1" kern="0" dirty="0" err="1">
              <a:solidFill>
                <a:schemeClr val="accent4"/>
              </a:solidFill>
            </a:endParaRPr>
          </a:p>
        </p:txBody>
      </p:sp>
      <p:sp>
        <p:nvSpPr>
          <p:cNvPr id="18" name="TextBox 17">
            <a:extLst>
              <a:ext uri="{FF2B5EF4-FFF2-40B4-BE49-F238E27FC236}">
                <a16:creationId xmlns:a16="http://schemas.microsoft.com/office/drawing/2014/main" id="{4298175F-F4E8-4707-B770-2CA621EA7829}"/>
              </a:ext>
            </a:extLst>
          </p:cNvPr>
          <p:cNvSpPr txBox="1">
            <a:spLocks/>
          </p:cNvSpPr>
          <p:nvPr/>
        </p:nvSpPr>
        <p:spPr>
          <a:xfrm>
            <a:off x="2664778" y="3689800"/>
            <a:ext cx="905475" cy="246221"/>
          </a:xfrm>
          <a:prstGeom prst="rect">
            <a:avLst/>
          </a:prstGeom>
        </p:spPr>
        <p:txBody>
          <a:bodyPr vert="horz" lIns="0" tIns="0" rIns="0" bIns="0" rtlCol="0">
            <a:sp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fontAlgn="auto">
              <a:spcBef>
                <a:spcPts val="0"/>
              </a:spcBef>
              <a:spcAft>
                <a:spcPts val="0"/>
              </a:spcAft>
              <a:defRPr/>
            </a:pPr>
            <a:r>
              <a:rPr kumimoji="1" lang="en-US" altLang="ja-JP" sz="1600" b="1" kern="0" dirty="0">
                <a:solidFill>
                  <a:schemeClr val="accent4"/>
                </a:solidFill>
              </a:rPr>
              <a:t>EMEA</a:t>
            </a:r>
            <a:endParaRPr kumimoji="1" lang="ja-JP" altLang="en-US" sz="1600" b="1" kern="0" dirty="0" err="1">
              <a:solidFill>
                <a:schemeClr val="accent4"/>
              </a:solidFill>
            </a:endParaRPr>
          </a:p>
        </p:txBody>
      </p:sp>
      <p:cxnSp>
        <p:nvCxnSpPr>
          <p:cNvPr id="556" name="Straight Connector 555">
            <a:extLst>
              <a:ext uri="{FF2B5EF4-FFF2-40B4-BE49-F238E27FC236}">
                <a16:creationId xmlns:a16="http://schemas.microsoft.com/office/drawing/2014/main" id="{6BEB8D53-840B-4301-B3FB-EFF113AE01EA}"/>
              </a:ext>
            </a:extLst>
          </p:cNvPr>
          <p:cNvCxnSpPr>
            <a:cxnSpLocks/>
          </p:cNvCxnSpPr>
          <p:nvPr/>
        </p:nvCxnSpPr>
        <p:spPr>
          <a:xfrm>
            <a:off x="1362884" y="3689800"/>
            <a:ext cx="0" cy="799589"/>
          </a:xfrm>
          <a:prstGeom prst="line">
            <a:avLst/>
          </a:prstGeom>
          <a:ln w="9525">
            <a:solidFill>
              <a:schemeClr val="accent6"/>
            </a:solidFill>
            <a:prstDash val="dash"/>
          </a:ln>
        </p:spPr>
        <p:style>
          <a:lnRef idx="1">
            <a:schemeClr val="accent1"/>
          </a:lnRef>
          <a:fillRef idx="0">
            <a:schemeClr val="accent1"/>
          </a:fillRef>
          <a:effectRef idx="0">
            <a:schemeClr val="accent1"/>
          </a:effectRef>
          <a:fontRef idx="minor">
            <a:schemeClr val="tx1"/>
          </a:fontRef>
        </p:style>
      </p:cxnSp>
      <p:cxnSp>
        <p:nvCxnSpPr>
          <p:cNvPr id="558" name="Straight Connector 557">
            <a:extLst>
              <a:ext uri="{FF2B5EF4-FFF2-40B4-BE49-F238E27FC236}">
                <a16:creationId xmlns:a16="http://schemas.microsoft.com/office/drawing/2014/main" id="{19BC25F4-C041-40F0-967E-6714A7DA1289}"/>
              </a:ext>
            </a:extLst>
          </p:cNvPr>
          <p:cNvCxnSpPr>
            <a:cxnSpLocks/>
          </p:cNvCxnSpPr>
          <p:nvPr/>
        </p:nvCxnSpPr>
        <p:spPr>
          <a:xfrm>
            <a:off x="2541562" y="3689800"/>
            <a:ext cx="0" cy="799589"/>
          </a:xfrm>
          <a:prstGeom prst="line">
            <a:avLst/>
          </a:prstGeom>
          <a:ln w="9525">
            <a:solidFill>
              <a:schemeClr val="accent6"/>
            </a:solidFill>
            <a:prstDash val="dash"/>
          </a:ln>
        </p:spPr>
        <p:style>
          <a:lnRef idx="1">
            <a:schemeClr val="accent1"/>
          </a:lnRef>
          <a:fillRef idx="0">
            <a:schemeClr val="accent1"/>
          </a:fillRef>
          <a:effectRef idx="0">
            <a:schemeClr val="accent1"/>
          </a:effectRef>
          <a:fontRef idx="minor">
            <a:schemeClr val="tx1"/>
          </a:fontRef>
        </p:style>
      </p:cxnSp>
      <p:cxnSp>
        <p:nvCxnSpPr>
          <p:cNvPr id="559" name="Straight Connector 558">
            <a:extLst>
              <a:ext uri="{FF2B5EF4-FFF2-40B4-BE49-F238E27FC236}">
                <a16:creationId xmlns:a16="http://schemas.microsoft.com/office/drawing/2014/main" id="{97782E6E-B9F4-4F82-BA75-071D8A5E6B5F}"/>
              </a:ext>
            </a:extLst>
          </p:cNvPr>
          <p:cNvCxnSpPr>
            <a:cxnSpLocks/>
          </p:cNvCxnSpPr>
          <p:nvPr/>
        </p:nvCxnSpPr>
        <p:spPr>
          <a:xfrm>
            <a:off x="3693469" y="3689800"/>
            <a:ext cx="0" cy="799589"/>
          </a:xfrm>
          <a:prstGeom prst="line">
            <a:avLst/>
          </a:prstGeom>
          <a:ln w="9525">
            <a:solidFill>
              <a:schemeClr val="accent6"/>
            </a:solidFill>
            <a:prstDash val="dash"/>
          </a:ln>
        </p:spPr>
        <p:style>
          <a:lnRef idx="1">
            <a:schemeClr val="accent1"/>
          </a:lnRef>
          <a:fillRef idx="0">
            <a:schemeClr val="accent1"/>
          </a:fillRef>
          <a:effectRef idx="0">
            <a:schemeClr val="accent1"/>
          </a:effectRef>
          <a:fontRef idx="minor">
            <a:schemeClr val="tx1"/>
          </a:fontRef>
        </p:style>
      </p:cxnSp>
      <p:cxnSp>
        <p:nvCxnSpPr>
          <p:cNvPr id="286" name="Straight Connector 285">
            <a:extLst>
              <a:ext uri="{FF2B5EF4-FFF2-40B4-BE49-F238E27FC236}">
                <a16:creationId xmlns:a16="http://schemas.microsoft.com/office/drawing/2014/main" id="{B9AF9863-072B-484E-998B-AEF17FE0FAEA}"/>
              </a:ext>
            </a:extLst>
          </p:cNvPr>
          <p:cNvCxnSpPr>
            <a:cxnSpLocks/>
          </p:cNvCxnSpPr>
          <p:nvPr/>
        </p:nvCxnSpPr>
        <p:spPr>
          <a:xfrm>
            <a:off x="5014037" y="1015225"/>
            <a:ext cx="3617614" cy="0"/>
          </a:xfrm>
          <a:prstGeom prst="line">
            <a:avLst/>
          </a:prstGeom>
          <a:ln w="9525" cmpd="sng">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87" name="Straight Connector 286">
            <a:extLst>
              <a:ext uri="{FF2B5EF4-FFF2-40B4-BE49-F238E27FC236}">
                <a16:creationId xmlns:a16="http://schemas.microsoft.com/office/drawing/2014/main" id="{BEDA9556-08C1-41BF-BB45-DCB9A4AA608F}"/>
              </a:ext>
            </a:extLst>
          </p:cNvPr>
          <p:cNvCxnSpPr>
            <a:cxnSpLocks/>
          </p:cNvCxnSpPr>
          <p:nvPr/>
        </p:nvCxnSpPr>
        <p:spPr>
          <a:xfrm>
            <a:off x="329788" y="1015225"/>
            <a:ext cx="4459466" cy="0"/>
          </a:xfrm>
          <a:prstGeom prst="line">
            <a:avLst/>
          </a:prstGeom>
          <a:ln w="9525" cmpd="sng">
            <a:solidFill>
              <a:schemeClr val="tx2"/>
            </a:solidFill>
          </a:ln>
        </p:spPr>
        <p:style>
          <a:lnRef idx="1">
            <a:schemeClr val="accent1"/>
          </a:lnRef>
          <a:fillRef idx="0">
            <a:schemeClr val="accent1"/>
          </a:fillRef>
          <a:effectRef idx="0">
            <a:schemeClr val="accent1"/>
          </a:effectRef>
          <a:fontRef idx="minor">
            <a:schemeClr val="tx1"/>
          </a:fontRef>
        </p:style>
      </p:cxnSp>
      <p:sp>
        <p:nvSpPr>
          <p:cNvPr id="278" name="5. Source">
            <a:extLst>
              <a:ext uri="{FF2B5EF4-FFF2-40B4-BE49-F238E27FC236}">
                <a16:creationId xmlns:a16="http://schemas.microsoft.com/office/drawing/2014/main" id="{8424CDF6-FB66-4A41-9A68-817BE5BAE434}"/>
              </a:ext>
            </a:extLst>
          </p:cNvPr>
          <p:cNvSpPr>
            <a:spLocks noChangeArrowheads="1"/>
          </p:cNvSpPr>
          <p:nvPr/>
        </p:nvSpPr>
        <p:spPr bwMode="gray">
          <a:xfrm>
            <a:off x="119063" y="6507558"/>
            <a:ext cx="7200000" cy="123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marL="609600" indent="-609600" defTabSz="895350">
              <a:tabLst>
                <a:tab pos="612775" algn="l"/>
              </a:tabLst>
            </a:pPr>
            <a:r>
              <a:rPr lang="en-US" sz="800" baseline="0" dirty="0">
                <a:solidFill>
                  <a:schemeClr val="accent6"/>
                </a:solidFill>
                <a:latin typeface="+mn-lt"/>
                <a:ea typeface="+mn-ea"/>
              </a:rPr>
              <a:t>SOURCE: McKinsey Recovery &amp; Transformation Services</a:t>
            </a:r>
          </a:p>
        </p:txBody>
      </p:sp>
      <p:sp>
        <p:nvSpPr>
          <p:cNvPr id="281" name="Title 5">
            <a:extLst>
              <a:ext uri="{FF2B5EF4-FFF2-40B4-BE49-F238E27FC236}">
                <a16:creationId xmlns:a16="http://schemas.microsoft.com/office/drawing/2014/main" id="{A9C16D47-6D71-4851-96F3-40D2864BD965}"/>
              </a:ext>
            </a:extLst>
          </p:cNvPr>
          <p:cNvSpPr txBox="1">
            <a:spLocks/>
          </p:cNvSpPr>
          <p:nvPr/>
        </p:nvSpPr>
        <p:spPr bwMode="auto">
          <a:xfrm>
            <a:off x="-289141" y="218849"/>
            <a:ext cx="8618537"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eaLnBrk="1" fontAlgn="base" hangingPunct="1">
              <a:spcBef>
                <a:spcPct val="0"/>
              </a:spcBef>
              <a:spcAft>
                <a:spcPct val="0"/>
              </a:spcAft>
              <a:tabLst>
                <a:tab pos="269875" algn="l"/>
              </a:tabLst>
              <a:defRPr sz="2000" b="0" baseline="0">
                <a:solidFill>
                  <a:schemeClr val="tx2"/>
                </a:solidFill>
                <a:latin typeface="+mj-lt"/>
                <a:ea typeface="+mj-ea"/>
                <a:cs typeface="+mj-cs"/>
              </a:defRPr>
            </a:lvl1pPr>
            <a:lvl2pPr algn="l" defTabSz="895350" rtl="0" eaLnBrk="1" fontAlgn="base" hangingPunct="1">
              <a:spcBef>
                <a:spcPct val="0"/>
              </a:spcBef>
              <a:spcAft>
                <a:spcPct val="0"/>
              </a:spcAft>
              <a:defRPr sz="1900" b="1">
                <a:solidFill>
                  <a:schemeClr val="tx2"/>
                </a:solidFill>
                <a:latin typeface="Arial" charset="0"/>
              </a:defRPr>
            </a:lvl2pPr>
            <a:lvl3pPr algn="l" defTabSz="895350" rtl="0" eaLnBrk="1" fontAlgn="base" hangingPunct="1">
              <a:spcBef>
                <a:spcPct val="0"/>
              </a:spcBef>
              <a:spcAft>
                <a:spcPct val="0"/>
              </a:spcAft>
              <a:defRPr sz="1900" b="1">
                <a:solidFill>
                  <a:schemeClr val="tx2"/>
                </a:solidFill>
                <a:latin typeface="Arial" charset="0"/>
              </a:defRPr>
            </a:lvl3pPr>
            <a:lvl4pPr algn="l" defTabSz="895350" rtl="0" eaLnBrk="1" fontAlgn="base" hangingPunct="1">
              <a:spcBef>
                <a:spcPct val="0"/>
              </a:spcBef>
              <a:spcAft>
                <a:spcPct val="0"/>
              </a:spcAft>
              <a:defRPr sz="1900" b="1">
                <a:solidFill>
                  <a:schemeClr val="tx2"/>
                </a:solidFill>
                <a:latin typeface="Arial" charset="0"/>
              </a:defRPr>
            </a:lvl4pPr>
            <a:lvl5pPr algn="l" defTabSz="895350" rtl="0" eaLnBrk="1" fontAlgn="base" hangingPunct="1">
              <a:spcBef>
                <a:spcPct val="0"/>
              </a:spcBef>
              <a:spcAft>
                <a:spcPct val="0"/>
              </a:spcAft>
              <a:defRPr sz="1900" b="1">
                <a:solidFill>
                  <a:schemeClr val="tx2"/>
                </a:solidFill>
                <a:latin typeface="Arial" charset="0"/>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a:lstStyle>
          <a:p>
            <a:pPr marL="465138"/>
            <a:r>
              <a:rPr lang="en-US" dirty="0"/>
              <a:t>Our RTS Global Track Record</a:t>
            </a:r>
            <a:endParaRPr lang="en-GB" kern="0" dirty="0"/>
          </a:p>
        </p:txBody>
      </p:sp>
    </p:spTree>
    <p:extLst>
      <p:ext uri="{BB962C8B-B14F-4D97-AF65-F5344CB8AC3E}">
        <p14:creationId xmlns:p14="http://schemas.microsoft.com/office/powerpoint/2010/main" val="2028096605"/>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nvPr>
        </p:nvGraphicFramePr>
        <p:xfrm>
          <a:off x="1120329" y="840296"/>
          <a:ext cx="119057" cy="119057"/>
        </p:xfrm>
        <a:graphic>
          <a:graphicData uri="http://schemas.openxmlformats.org/presentationml/2006/ole">
            <mc:AlternateContent xmlns:mc="http://schemas.openxmlformats.org/markup-compatibility/2006">
              <mc:Choice xmlns:v="urn:schemas-microsoft-com:vml" Requires="v">
                <p:oleObj spid="_x0000_s306196" name="think-cell Slide" r:id="rId18" imgW="270" imgH="270" progId="TCLayout.ActiveDocument.1">
                  <p:embed/>
                </p:oleObj>
              </mc:Choice>
              <mc:Fallback>
                <p:oleObj name="think-cell Slide" r:id="rId18" imgW="270" imgH="270" progId="TCLayout.ActiveDocument.1">
                  <p:embed/>
                  <p:pic>
                    <p:nvPicPr>
                      <p:cNvPr id="7" name="Object 6" hidden="1"/>
                      <p:cNvPicPr/>
                      <p:nvPr/>
                    </p:nvPicPr>
                    <p:blipFill>
                      <a:blip r:embed="rId19"/>
                      <a:stretch>
                        <a:fillRect/>
                      </a:stretch>
                    </p:blipFill>
                    <p:spPr>
                      <a:xfrm>
                        <a:off x="1120329" y="840296"/>
                        <a:ext cx="119057" cy="119057"/>
                      </a:xfrm>
                      <a:prstGeom prst="rect">
                        <a:avLst/>
                      </a:prstGeom>
                    </p:spPr>
                  </p:pic>
                </p:oleObj>
              </mc:Fallback>
            </mc:AlternateContent>
          </a:graphicData>
        </a:graphic>
      </p:graphicFrame>
      <p:sp>
        <p:nvSpPr>
          <p:cNvPr id="5" name="Title 4"/>
          <p:cNvSpPr>
            <a:spLocks noGrp="1"/>
          </p:cNvSpPr>
          <p:nvPr>
            <p:ph type="title"/>
          </p:nvPr>
        </p:nvSpPr>
        <p:spPr>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r>
              <a:rPr lang="en-US" dirty="0"/>
              <a:t>We apply a “proven recipe” that is focused on how to turnaround</a:t>
            </a:r>
          </a:p>
        </p:txBody>
      </p:sp>
      <p:sp>
        <p:nvSpPr>
          <p:cNvPr id="42" name="Rectangle 41">
            <a:extLst>
              <a:ext uri="{FF2B5EF4-FFF2-40B4-BE49-F238E27FC236}">
                <a16:creationId xmlns:a16="http://schemas.microsoft.com/office/drawing/2014/main" id="{384B756D-56F2-4DE8-B044-8D6A2FC40E7F}"/>
              </a:ext>
            </a:extLst>
          </p:cNvPr>
          <p:cNvSpPr>
            <a:spLocks/>
          </p:cNvSpPr>
          <p:nvPr/>
        </p:nvSpPr>
        <p:spPr>
          <a:xfrm>
            <a:off x="793867" y="4301114"/>
            <a:ext cx="7943733" cy="2128261"/>
          </a:xfrm>
          <a:prstGeom prst="rect">
            <a:avLst/>
          </a:prstGeom>
          <a:solidFill>
            <a:schemeClr val="bg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chemeClr val="tx1"/>
              </a:solidFill>
            </a:endParaRPr>
          </a:p>
        </p:txBody>
      </p:sp>
      <p:sp>
        <p:nvSpPr>
          <p:cNvPr id="40" name="Rectangle 39">
            <a:extLst>
              <a:ext uri="{FF2B5EF4-FFF2-40B4-BE49-F238E27FC236}">
                <a16:creationId xmlns:a16="http://schemas.microsoft.com/office/drawing/2014/main" id="{3CD976D2-70EB-49E4-A092-06E3421D7ECA}"/>
              </a:ext>
            </a:extLst>
          </p:cNvPr>
          <p:cNvSpPr>
            <a:spLocks/>
          </p:cNvSpPr>
          <p:nvPr/>
        </p:nvSpPr>
        <p:spPr>
          <a:xfrm>
            <a:off x="793867" y="754636"/>
            <a:ext cx="2680132" cy="2653198"/>
          </a:xfrm>
          <a:prstGeom prst="rect">
            <a:avLst/>
          </a:prstGeom>
          <a:solidFill>
            <a:schemeClr val="bg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chemeClr val="tx1"/>
              </a:solidFill>
            </a:endParaRPr>
          </a:p>
        </p:txBody>
      </p:sp>
      <p:sp>
        <p:nvSpPr>
          <p:cNvPr id="11" name="Rectangle 10">
            <a:extLst>
              <a:ext uri="{FF2B5EF4-FFF2-40B4-BE49-F238E27FC236}">
                <a16:creationId xmlns:a16="http://schemas.microsoft.com/office/drawing/2014/main" id="{FDBEC4EE-88D6-4346-A51E-768EE5A9D1FE}"/>
              </a:ext>
            </a:extLst>
          </p:cNvPr>
          <p:cNvSpPr>
            <a:spLocks/>
          </p:cNvSpPr>
          <p:nvPr/>
        </p:nvSpPr>
        <p:spPr>
          <a:xfrm>
            <a:off x="3525351" y="754636"/>
            <a:ext cx="5212249" cy="2653198"/>
          </a:xfrm>
          <a:prstGeom prst="rect">
            <a:avLst/>
          </a:prstGeom>
          <a:solidFill>
            <a:schemeClr val="bg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chemeClr val="tx1"/>
              </a:solidFill>
            </a:endParaRPr>
          </a:p>
        </p:txBody>
      </p:sp>
      <p:sp>
        <p:nvSpPr>
          <p:cNvPr id="66" name="TextBox 4">
            <a:extLst>
              <a:ext uri="{FF2B5EF4-FFF2-40B4-BE49-F238E27FC236}">
                <a16:creationId xmlns:a16="http://schemas.microsoft.com/office/drawing/2014/main" id="{DBC2FCC2-40DA-43B3-B757-AB3915B71710}"/>
              </a:ext>
            </a:extLst>
          </p:cNvPr>
          <p:cNvSpPr txBox="1">
            <a:spLocks noChangeArrowheads="1"/>
          </p:cNvSpPr>
          <p:nvPr>
            <p:custDataLst>
              <p:tags r:id="rId3"/>
            </p:custDataLst>
          </p:nvPr>
        </p:nvSpPr>
        <p:spPr bwMode="auto">
          <a:xfrm>
            <a:off x="5559424" y="656913"/>
            <a:ext cx="1144103" cy="215444"/>
          </a:xfrm>
          <a:prstGeom prst="rect">
            <a:avLst/>
          </a:prstGeom>
          <a:solidFill>
            <a:schemeClr val="bg1"/>
          </a:solidFill>
          <a:ln w="9525">
            <a:noFill/>
            <a:miter lim="800000"/>
            <a:headEnd/>
            <a:tailEnd/>
          </a:ln>
        </p:spPr>
        <p:txBody>
          <a:bodyPr wrap="square" lIns="0" tIns="0" rIns="0" bIns="0" anchor="ctr">
            <a:spAutoFit/>
          </a:bodyPr>
          <a:lstStyle>
            <a:defPPr>
              <a:defRPr lang="en-US"/>
            </a:defPPr>
            <a:lvl1pPr algn="ctr" defTabSz="913526">
              <a:buClr>
                <a:schemeClr val="tx2"/>
              </a:buClr>
              <a:defRPr sz="1800" i="1">
                <a:latin typeface="Georgia" pitchFamily="18" charset="0"/>
              </a:defRPr>
            </a:lvl1pPr>
          </a:lstStyle>
          <a:p>
            <a:pPr fontAlgn="auto">
              <a:spcBef>
                <a:spcPts val="0"/>
              </a:spcBef>
              <a:spcAft>
                <a:spcPts val="0"/>
              </a:spcAft>
              <a:buClr>
                <a:srgbClr val="01395A"/>
              </a:buClr>
              <a:defRPr/>
            </a:pPr>
            <a:r>
              <a:rPr lang="en-US" sz="1400" b="1" i="0" kern="0" dirty="0">
                <a:solidFill>
                  <a:schemeClr val="accent4"/>
                </a:solidFill>
                <a:latin typeface="+mn-lt"/>
              </a:rPr>
              <a:t>Execution</a:t>
            </a:r>
          </a:p>
        </p:txBody>
      </p:sp>
      <p:sp>
        <p:nvSpPr>
          <p:cNvPr id="97" name="Rectangle 4"/>
          <p:cNvSpPr>
            <a:spLocks noChangeArrowheads="1"/>
          </p:cNvSpPr>
          <p:nvPr/>
        </p:nvSpPr>
        <p:spPr bwMode="auto">
          <a:xfrm>
            <a:off x="119063" y="4301114"/>
            <a:ext cx="612847" cy="2128261"/>
          </a:xfrm>
          <a:prstGeom prst="rect">
            <a:avLst/>
          </a:prstGeom>
          <a:solidFill>
            <a:schemeClr val="accent2"/>
          </a:solidFill>
          <a:ln w="19050">
            <a:solidFill>
              <a:schemeClr val="bg1"/>
            </a:solidFill>
            <a:miter lim="800000"/>
            <a:headEnd/>
            <a:tailEnd/>
          </a:ln>
          <a:effectLst/>
          <a:extLst/>
        </p:spPr>
        <p:txBody>
          <a:bodyPr wrap="square" lIns="72009" tIns="72009" rIns="72009" bIns="72009" anchor="ctr" anchorCtr="0">
            <a:noAutofit/>
          </a:bodyPr>
          <a:lstStyle/>
          <a:p>
            <a:pPr defTabSz="671510">
              <a:buClr>
                <a:schemeClr val="bg1"/>
              </a:buClr>
            </a:pPr>
            <a:r>
              <a:rPr lang="en-US" sz="1400" b="1" dirty="0">
                <a:solidFill>
                  <a:schemeClr val="bg1"/>
                </a:solidFill>
                <a:latin typeface="+mn-lt"/>
              </a:rPr>
              <a:t>How</a:t>
            </a:r>
          </a:p>
        </p:txBody>
      </p:sp>
      <p:sp>
        <p:nvSpPr>
          <p:cNvPr id="85" name="Rectangle 286"/>
          <p:cNvSpPr txBox="1">
            <a:spLocks noChangeArrowheads="1"/>
          </p:cNvSpPr>
          <p:nvPr/>
        </p:nvSpPr>
        <p:spPr bwMode="auto">
          <a:xfrm>
            <a:off x="3411122" y="4586503"/>
            <a:ext cx="5284431" cy="430887"/>
          </a:xfrm>
          <a:prstGeom prst="rect">
            <a:avLst/>
          </a:prstGeom>
          <a:noFill/>
          <a:ln w="9525">
            <a:noFill/>
            <a:miter lim="800000"/>
            <a:headEnd/>
            <a:tailEnd/>
          </a:ln>
        </p:spPr>
        <p:txBody>
          <a:bodyPr wrap="square" lIns="0" tIns="0" rIns="0" bIns="0">
            <a:spAutoFit/>
          </a:bodyPr>
          <a:lstStyle/>
          <a:p>
            <a:pPr defTabSz="685142" fontAlgn="auto">
              <a:spcBef>
                <a:spcPts val="459"/>
              </a:spcBef>
              <a:spcAft>
                <a:spcPts val="0"/>
              </a:spcAft>
              <a:buClr>
                <a:srgbClr val="01395A"/>
              </a:buClr>
              <a:buSzPct val="125000"/>
              <a:defRPr/>
            </a:pPr>
            <a:r>
              <a:rPr lang="en-US" sz="1400" kern="0" dirty="0">
                <a:latin typeface="+mn-lt"/>
              </a:rPr>
              <a:t>Taking tactical action to </a:t>
            </a:r>
            <a:r>
              <a:rPr lang="en-US" sz="1400" b="1" kern="0" dirty="0">
                <a:solidFill>
                  <a:schemeClr val="accent4"/>
                </a:solidFill>
                <a:latin typeface="+mn-lt"/>
              </a:rPr>
              <a:t>change the necessary mindsets and behaviours </a:t>
            </a:r>
            <a:r>
              <a:rPr lang="en-US" sz="1400" kern="0" dirty="0">
                <a:latin typeface="+mn-lt"/>
              </a:rPr>
              <a:t>to sustain the transformation</a:t>
            </a:r>
          </a:p>
        </p:txBody>
      </p:sp>
      <p:sp>
        <p:nvSpPr>
          <p:cNvPr id="84" name="TextBox 4"/>
          <p:cNvSpPr txBox="1">
            <a:spLocks noChangeArrowheads="1"/>
          </p:cNvSpPr>
          <p:nvPr>
            <p:custDataLst>
              <p:tags r:id="rId4"/>
            </p:custDataLst>
          </p:nvPr>
        </p:nvSpPr>
        <p:spPr bwMode="auto">
          <a:xfrm>
            <a:off x="1163934" y="4464697"/>
            <a:ext cx="1241796" cy="660180"/>
          </a:xfrm>
          <a:prstGeom prst="rect">
            <a:avLst/>
          </a:prstGeom>
          <a:noFill/>
          <a:ln w="9525">
            <a:noFill/>
            <a:miter lim="800000"/>
            <a:headEnd/>
            <a:tailEnd/>
          </a:ln>
        </p:spPr>
        <p:txBody>
          <a:bodyPr wrap="square" lIns="0" tIns="0" rIns="0" bIns="13715" anchor="ctr">
            <a:spAutoFit/>
          </a:bodyPr>
          <a:lstStyle>
            <a:defPPr>
              <a:defRPr lang="en-US"/>
            </a:defPPr>
            <a:lvl1pPr defTabSz="854600" fontAlgn="auto">
              <a:spcBef>
                <a:spcPts val="0"/>
              </a:spcBef>
              <a:spcAft>
                <a:spcPts val="0"/>
              </a:spcAft>
              <a:buClr>
                <a:srgbClr val="01395A"/>
              </a:buClr>
              <a:defRPr sz="1400" b="1" i="0" kern="0">
                <a:solidFill>
                  <a:schemeClr val="tx2"/>
                </a:solidFill>
                <a:latin typeface="+mn-lt"/>
              </a:defRPr>
            </a:lvl1pPr>
          </a:lstStyle>
          <a:p>
            <a:r>
              <a:rPr lang="en-US" dirty="0">
                <a:solidFill>
                  <a:schemeClr val="accent4"/>
                </a:solidFill>
              </a:rPr>
              <a:t>Mindset &amp; behavior change</a:t>
            </a:r>
          </a:p>
        </p:txBody>
      </p:sp>
      <p:sp>
        <p:nvSpPr>
          <p:cNvPr id="67" name="Rectangle 15">
            <a:extLst>
              <a:ext uri="{FF2B5EF4-FFF2-40B4-BE49-F238E27FC236}">
                <a16:creationId xmlns:a16="http://schemas.microsoft.com/office/drawing/2014/main" id="{B1EC716F-599B-498D-AC0A-5C5773764EBA}"/>
              </a:ext>
            </a:extLst>
          </p:cNvPr>
          <p:cNvSpPr>
            <a:spLocks noChangeArrowheads="1"/>
          </p:cNvSpPr>
          <p:nvPr/>
        </p:nvSpPr>
        <p:spPr bwMode="gray">
          <a:xfrm>
            <a:off x="907898" y="4625510"/>
            <a:ext cx="164538" cy="338554"/>
          </a:xfrm>
          <a:prstGeom prst="rect">
            <a:avLst/>
          </a:prstGeom>
          <a:noFill/>
          <a:ln w="9525">
            <a:noFill/>
            <a:miter lim="800000"/>
            <a:headEnd/>
            <a:tailEnd/>
          </a:ln>
        </p:spPr>
        <p:txBody>
          <a:bodyPr wrap="square" lIns="0" tIns="0" rIns="0" bIns="0">
            <a:spAutoFit/>
          </a:bodyPr>
          <a:lstStyle/>
          <a:p>
            <a:pPr algn="ctr" defTabSz="641564" fontAlgn="auto">
              <a:spcBef>
                <a:spcPts val="0"/>
              </a:spcBef>
              <a:spcAft>
                <a:spcPts val="0"/>
              </a:spcAft>
              <a:defRPr/>
            </a:pPr>
            <a:r>
              <a:rPr lang="en-US" sz="2200" kern="0" dirty="0">
                <a:solidFill>
                  <a:schemeClr val="tx2"/>
                </a:solidFill>
                <a:latin typeface="+mn-lt"/>
              </a:rPr>
              <a:t>4</a:t>
            </a:r>
          </a:p>
        </p:txBody>
      </p:sp>
      <p:sp>
        <p:nvSpPr>
          <p:cNvPr id="88" name="Rectangle 286"/>
          <p:cNvSpPr txBox="1">
            <a:spLocks noChangeArrowheads="1"/>
          </p:cNvSpPr>
          <p:nvPr/>
        </p:nvSpPr>
        <p:spPr bwMode="auto">
          <a:xfrm>
            <a:off x="3348641" y="5302637"/>
            <a:ext cx="5346912" cy="430887"/>
          </a:xfrm>
          <a:prstGeom prst="rect">
            <a:avLst/>
          </a:prstGeom>
          <a:noFill/>
          <a:ln w="9525">
            <a:noFill/>
            <a:miter lim="800000"/>
            <a:headEnd/>
            <a:tailEnd/>
          </a:ln>
        </p:spPr>
        <p:txBody>
          <a:bodyPr wrap="square" lIns="0" tIns="0" rIns="0" bIns="0">
            <a:spAutoFit/>
          </a:bodyPr>
          <a:lstStyle/>
          <a:p>
            <a:pPr defTabSz="685142" fontAlgn="auto">
              <a:spcBef>
                <a:spcPts val="459"/>
              </a:spcBef>
              <a:spcAft>
                <a:spcPts val="0"/>
              </a:spcAft>
              <a:buClr>
                <a:srgbClr val="01395A"/>
              </a:buClr>
              <a:buSzPct val="125000"/>
              <a:defRPr/>
            </a:pPr>
            <a:r>
              <a:rPr lang="en-US" sz="1400" kern="0" dirty="0">
                <a:latin typeface="+mn-lt"/>
              </a:rPr>
              <a:t>Using a relentless cadence </a:t>
            </a:r>
            <a:r>
              <a:rPr lang="en-US" sz="1400" b="1" kern="0" dirty="0">
                <a:solidFill>
                  <a:schemeClr val="accent4"/>
                </a:solidFill>
                <a:latin typeface="+mn-lt"/>
              </a:rPr>
              <a:t>to ensure superior execution and value delivery to the bottom line</a:t>
            </a:r>
          </a:p>
        </p:txBody>
      </p:sp>
      <p:sp>
        <p:nvSpPr>
          <p:cNvPr id="87" name="TextBox 4"/>
          <p:cNvSpPr txBox="1">
            <a:spLocks noChangeArrowheads="1"/>
          </p:cNvSpPr>
          <p:nvPr>
            <p:custDataLst>
              <p:tags r:id="rId5"/>
            </p:custDataLst>
          </p:nvPr>
        </p:nvSpPr>
        <p:spPr bwMode="auto">
          <a:xfrm>
            <a:off x="1163934" y="5289539"/>
            <a:ext cx="1241796" cy="444736"/>
          </a:xfrm>
          <a:prstGeom prst="rect">
            <a:avLst/>
          </a:prstGeom>
          <a:noFill/>
          <a:ln w="9525">
            <a:noFill/>
            <a:miter lim="800000"/>
            <a:headEnd/>
            <a:tailEnd/>
          </a:ln>
        </p:spPr>
        <p:txBody>
          <a:bodyPr wrap="square" lIns="0" tIns="0" rIns="0" bIns="13715" anchor="ctr">
            <a:spAutoFit/>
          </a:bodyPr>
          <a:lstStyle>
            <a:defPPr>
              <a:defRPr lang="en-US"/>
            </a:defPPr>
            <a:lvl1pPr defTabSz="854600" fontAlgn="auto">
              <a:spcBef>
                <a:spcPts val="0"/>
              </a:spcBef>
              <a:spcAft>
                <a:spcPts val="0"/>
              </a:spcAft>
              <a:buClr>
                <a:srgbClr val="01395A"/>
              </a:buClr>
              <a:defRPr sz="1400" b="1" i="0" kern="0">
                <a:solidFill>
                  <a:schemeClr val="tx2"/>
                </a:solidFill>
                <a:latin typeface="+mn-lt"/>
              </a:defRPr>
            </a:lvl1pPr>
          </a:lstStyle>
          <a:p>
            <a:r>
              <a:rPr lang="en-US" dirty="0">
                <a:solidFill>
                  <a:schemeClr val="accent4"/>
                </a:solidFill>
              </a:rPr>
              <a:t>Performance infrastructure</a:t>
            </a:r>
          </a:p>
        </p:txBody>
      </p:sp>
      <p:sp>
        <p:nvSpPr>
          <p:cNvPr id="71" name="Rectangle 15">
            <a:extLst>
              <a:ext uri="{FF2B5EF4-FFF2-40B4-BE49-F238E27FC236}">
                <a16:creationId xmlns:a16="http://schemas.microsoft.com/office/drawing/2014/main" id="{74FC780D-964F-4866-AD81-2ED26080C5D3}"/>
              </a:ext>
            </a:extLst>
          </p:cNvPr>
          <p:cNvSpPr>
            <a:spLocks noChangeArrowheads="1"/>
          </p:cNvSpPr>
          <p:nvPr/>
        </p:nvSpPr>
        <p:spPr bwMode="gray">
          <a:xfrm>
            <a:off x="907898" y="5342630"/>
            <a:ext cx="164538" cy="338554"/>
          </a:xfrm>
          <a:prstGeom prst="rect">
            <a:avLst/>
          </a:prstGeom>
          <a:noFill/>
          <a:ln w="9525">
            <a:noFill/>
            <a:miter lim="800000"/>
            <a:headEnd/>
            <a:tailEnd/>
          </a:ln>
        </p:spPr>
        <p:txBody>
          <a:bodyPr wrap="square" lIns="0" tIns="0" rIns="0" bIns="0">
            <a:spAutoFit/>
          </a:bodyPr>
          <a:lstStyle/>
          <a:p>
            <a:pPr algn="ctr" defTabSz="641564" fontAlgn="auto">
              <a:spcBef>
                <a:spcPts val="0"/>
              </a:spcBef>
              <a:spcAft>
                <a:spcPts val="0"/>
              </a:spcAft>
              <a:defRPr/>
            </a:pPr>
            <a:r>
              <a:rPr lang="en-US" sz="2200" kern="0" dirty="0">
                <a:solidFill>
                  <a:schemeClr val="tx2"/>
                </a:solidFill>
                <a:latin typeface="+mn-lt"/>
              </a:rPr>
              <a:t>5</a:t>
            </a:r>
          </a:p>
        </p:txBody>
      </p:sp>
      <p:sp>
        <p:nvSpPr>
          <p:cNvPr id="63" name="Rectangle 286"/>
          <p:cNvSpPr txBox="1">
            <a:spLocks noChangeArrowheads="1"/>
          </p:cNvSpPr>
          <p:nvPr/>
        </p:nvSpPr>
        <p:spPr bwMode="auto">
          <a:xfrm>
            <a:off x="3348641" y="5911282"/>
            <a:ext cx="5346912" cy="430887"/>
          </a:xfrm>
          <a:prstGeom prst="rect">
            <a:avLst/>
          </a:prstGeom>
          <a:noFill/>
          <a:ln w="9525">
            <a:noFill/>
            <a:miter lim="800000"/>
            <a:headEnd/>
            <a:tailEnd/>
          </a:ln>
        </p:spPr>
        <p:txBody>
          <a:bodyPr wrap="square" lIns="0" tIns="0" rIns="0" bIns="0">
            <a:spAutoFit/>
          </a:bodyPr>
          <a:lstStyle/>
          <a:p>
            <a:r>
              <a:rPr lang="en-US" sz="1400" b="1" dirty="0">
                <a:solidFill>
                  <a:schemeClr val="accent4"/>
                </a:solidFill>
                <a:latin typeface="+mn-lt"/>
              </a:rPr>
              <a:t>Strengthening and up-skilling </a:t>
            </a:r>
            <a:r>
              <a:rPr lang="en-US" sz="1400" dirty="0">
                <a:latin typeface="+mn-lt"/>
              </a:rPr>
              <a:t>the entire organisation through </a:t>
            </a:r>
            <a:r>
              <a:rPr lang="en-US" sz="1400" b="1" dirty="0">
                <a:solidFill>
                  <a:schemeClr val="accent4"/>
                </a:solidFill>
                <a:latin typeface="+mn-lt"/>
              </a:rPr>
              <a:t>soft &amp; hard capabilities, </a:t>
            </a:r>
            <a:r>
              <a:rPr lang="en-US" sz="1400" dirty="0">
                <a:latin typeface="+mn-lt"/>
              </a:rPr>
              <a:t>and </a:t>
            </a:r>
            <a:r>
              <a:rPr lang="en-US" sz="1400" b="1" dirty="0">
                <a:solidFill>
                  <a:schemeClr val="accent4"/>
                </a:solidFill>
                <a:latin typeface="+mn-lt"/>
              </a:rPr>
              <a:t>hiring new capabilities required</a:t>
            </a:r>
          </a:p>
        </p:txBody>
      </p:sp>
      <p:sp>
        <p:nvSpPr>
          <p:cNvPr id="62" name="TextBox 4"/>
          <p:cNvSpPr txBox="1">
            <a:spLocks noChangeArrowheads="1"/>
          </p:cNvSpPr>
          <p:nvPr>
            <p:custDataLst>
              <p:tags r:id="rId6"/>
            </p:custDataLst>
          </p:nvPr>
        </p:nvSpPr>
        <p:spPr bwMode="auto">
          <a:xfrm>
            <a:off x="1163934" y="5898937"/>
            <a:ext cx="1241796" cy="444736"/>
          </a:xfrm>
          <a:prstGeom prst="rect">
            <a:avLst/>
          </a:prstGeom>
          <a:noFill/>
          <a:ln w="9525">
            <a:noFill/>
            <a:miter lim="800000"/>
            <a:headEnd/>
            <a:tailEnd/>
          </a:ln>
        </p:spPr>
        <p:txBody>
          <a:bodyPr wrap="square" lIns="0" tIns="0" rIns="0" bIns="13715" anchor="ctr">
            <a:spAutoFit/>
          </a:bodyPr>
          <a:lstStyle>
            <a:defPPr>
              <a:defRPr lang="en-US"/>
            </a:defPPr>
            <a:lvl1pPr defTabSz="854600" fontAlgn="auto">
              <a:spcBef>
                <a:spcPts val="0"/>
              </a:spcBef>
              <a:spcAft>
                <a:spcPts val="0"/>
              </a:spcAft>
              <a:buClr>
                <a:srgbClr val="01395A"/>
              </a:buClr>
              <a:defRPr sz="1400" b="1" i="0" kern="0">
                <a:solidFill>
                  <a:schemeClr val="tx2"/>
                </a:solidFill>
                <a:latin typeface="+mn-lt"/>
              </a:defRPr>
            </a:lvl1pPr>
          </a:lstStyle>
          <a:p>
            <a:r>
              <a:rPr lang="en-US" dirty="0">
                <a:solidFill>
                  <a:schemeClr val="accent4"/>
                </a:solidFill>
              </a:rPr>
              <a:t>Capability building</a:t>
            </a:r>
          </a:p>
        </p:txBody>
      </p:sp>
      <p:sp>
        <p:nvSpPr>
          <p:cNvPr id="74" name="Rectangle 15">
            <a:extLst>
              <a:ext uri="{FF2B5EF4-FFF2-40B4-BE49-F238E27FC236}">
                <a16:creationId xmlns:a16="http://schemas.microsoft.com/office/drawing/2014/main" id="{3EEDAADC-F422-4515-B9BF-76E30936DF24}"/>
              </a:ext>
            </a:extLst>
          </p:cNvPr>
          <p:cNvSpPr>
            <a:spLocks noChangeArrowheads="1"/>
          </p:cNvSpPr>
          <p:nvPr/>
        </p:nvSpPr>
        <p:spPr bwMode="gray">
          <a:xfrm>
            <a:off x="907898" y="5952028"/>
            <a:ext cx="164538" cy="338554"/>
          </a:xfrm>
          <a:prstGeom prst="rect">
            <a:avLst/>
          </a:prstGeom>
          <a:noFill/>
          <a:ln w="9525">
            <a:noFill/>
            <a:miter lim="800000"/>
            <a:headEnd/>
            <a:tailEnd/>
          </a:ln>
        </p:spPr>
        <p:txBody>
          <a:bodyPr wrap="square" lIns="0" tIns="0" rIns="0" bIns="0">
            <a:spAutoFit/>
          </a:bodyPr>
          <a:lstStyle/>
          <a:p>
            <a:pPr algn="ctr" defTabSz="641564" fontAlgn="auto">
              <a:spcBef>
                <a:spcPts val="0"/>
              </a:spcBef>
              <a:spcAft>
                <a:spcPts val="0"/>
              </a:spcAft>
              <a:defRPr/>
            </a:pPr>
            <a:r>
              <a:rPr lang="en-US" sz="2200" kern="0" dirty="0">
                <a:solidFill>
                  <a:schemeClr val="tx2"/>
                </a:solidFill>
                <a:latin typeface="+mn-lt"/>
              </a:rPr>
              <a:t>6</a:t>
            </a:r>
          </a:p>
        </p:txBody>
      </p:sp>
      <p:sp>
        <p:nvSpPr>
          <p:cNvPr id="95" name="Rectangle 4"/>
          <p:cNvSpPr>
            <a:spLocks noChangeArrowheads="1"/>
          </p:cNvSpPr>
          <p:nvPr/>
        </p:nvSpPr>
        <p:spPr bwMode="auto">
          <a:xfrm>
            <a:off x="119063" y="754636"/>
            <a:ext cx="612847" cy="2653198"/>
          </a:xfrm>
          <a:prstGeom prst="rect">
            <a:avLst/>
          </a:prstGeom>
          <a:solidFill>
            <a:schemeClr val="accent2"/>
          </a:solidFill>
          <a:ln w="19050">
            <a:solidFill>
              <a:schemeClr val="bg1"/>
            </a:solidFill>
            <a:miter lim="800000"/>
            <a:headEnd/>
            <a:tailEnd/>
          </a:ln>
          <a:effectLst/>
          <a:extLst/>
        </p:spPr>
        <p:txBody>
          <a:bodyPr wrap="square" lIns="72009" tIns="72009" rIns="72009" bIns="72009" anchor="ctr" anchorCtr="0">
            <a:noAutofit/>
          </a:bodyPr>
          <a:lstStyle/>
          <a:p>
            <a:pPr defTabSz="671510">
              <a:buClr>
                <a:schemeClr val="bg1"/>
              </a:buClr>
            </a:pPr>
            <a:r>
              <a:rPr lang="en-US" sz="1400" b="1" dirty="0">
                <a:solidFill>
                  <a:schemeClr val="bg1"/>
                </a:solidFill>
                <a:latin typeface="+mn-lt"/>
              </a:rPr>
              <a:t>What</a:t>
            </a:r>
          </a:p>
        </p:txBody>
      </p:sp>
      <p:sp>
        <p:nvSpPr>
          <p:cNvPr id="2" name="TextBox 1">
            <a:extLst>
              <a:ext uri="{FF2B5EF4-FFF2-40B4-BE49-F238E27FC236}">
                <a16:creationId xmlns:a16="http://schemas.microsoft.com/office/drawing/2014/main" id="{9C08A0D8-A744-4805-8D56-A1A40C15F105}"/>
              </a:ext>
            </a:extLst>
          </p:cNvPr>
          <p:cNvSpPr txBox="1">
            <a:spLocks/>
          </p:cNvSpPr>
          <p:nvPr/>
        </p:nvSpPr>
        <p:spPr>
          <a:xfrm>
            <a:off x="907898" y="1512834"/>
            <a:ext cx="2440743" cy="1446550"/>
          </a:xfrm>
          <a:prstGeom prst="rect">
            <a:avLst/>
          </a:prstGeom>
        </p:spPr>
        <p:txBody>
          <a:bodyPr vert="horz" wrap="square" lIns="0" tIns="0" rIns="0" bIns="0" rtlCol="0" anchor="t" anchorCtr="0">
            <a:spAutoFit/>
          </a:bodyPr>
          <a:lstStyle>
            <a:lvl1pPr marL="0" lvl="0" indent="0" defTabSz="1193860" eaLnBrk="1" latinLnBrk="0" hangingPunct="1">
              <a:spcBef>
                <a:spcPts val="600"/>
              </a:spcBef>
              <a:spcAft>
                <a:spcPts val="600"/>
              </a:spcAft>
              <a:buClr>
                <a:schemeClr val="tx2"/>
              </a:buClr>
              <a:buSzPct val="100000"/>
              <a:defRPr lang="x-none" b="1" baseline="0">
                <a:solidFill>
                  <a:schemeClr val="accent2"/>
                </a:solidFill>
                <a:latin typeface="+mn-lt"/>
              </a:defRPr>
            </a:lvl1pPr>
            <a:lvl2pPr marL="2116" lvl="1" indent="0" defTabSz="1193860" eaLnBrk="1" latinLnBrk="0" hangingPunct="1">
              <a:spcBef>
                <a:spcPts val="600"/>
              </a:spcBef>
              <a:spcAft>
                <a:spcPts val="600"/>
              </a:spcAft>
              <a:buClr>
                <a:schemeClr val="tx2"/>
              </a:buClr>
              <a:buSzPct val="125000"/>
              <a:buFontTx/>
              <a:buNone/>
              <a:defRPr lang="x-none" b="0" baseline="0">
                <a:solidFill>
                  <a:schemeClr val="accent6"/>
                </a:solidFill>
                <a:latin typeface="+mn-lt"/>
              </a:defRPr>
            </a:lvl2pPr>
            <a:lvl3pPr marL="168275" lvl="2" indent="-168275" defTabSz="1193860" eaLnBrk="1" latinLnBrk="0" hangingPunct="1">
              <a:spcAft>
                <a:spcPts val="600"/>
              </a:spcAft>
              <a:buClr>
                <a:schemeClr val="accent6"/>
              </a:buClr>
              <a:buSzPct val="100000"/>
              <a:buFont typeface="Wingdings" panose="05000000000000000000" pitchFamily="2" charset="2"/>
              <a:buChar char="§"/>
              <a:defRPr lang="x-none" baseline="0">
                <a:solidFill>
                  <a:schemeClr val="accent6"/>
                </a:solidFill>
                <a:latin typeface="+mn-lt"/>
              </a:defRPr>
            </a:lvl3pPr>
            <a:lvl4pPr marL="350838" lvl="3" indent="-182563" defTabSz="1193860" eaLnBrk="1" latinLnBrk="0" hangingPunct="1">
              <a:spcAft>
                <a:spcPts val="600"/>
              </a:spcAft>
              <a:buClr>
                <a:schemeClr val="accent6"/>
              </a:buClr>
              <a:buSzPct val="100000"/>
              <a:buFont typeface="Arial" panose="020B0604020202020204" pitchFamily="34" charset="0"/>
              <a:buChar char="•"/>
              <a:defRPr lang="x-none" baseline="0">
                <a:solidFill>
                  <a:schemeClr val="accent6"/>
                </a:solidFill>
                <a:latin typeface="+mn-lt"/>
              </a:defRPr>
            </a:lvl4pPr>
            <a:lvl5pPr marL="579438" lvl="4" indent="-228600" defTabSz="1193860" eaLnBrk="1" latinLnBrk="0" hangingPunct="1">
              <a:spcAft>
                <a:spcPts val="600"/>
              </a:spcAft>
              <a:buClr>
                <a:schemeClr val="accent6"/>
              </a:buClr>
              <a:buSzPct val="100000"/>
              <a:buFont typeface="Times New Roman" panose="02020603050405020304" pitchFamily="18" charset="0"/>
              <a:buChar char="─"/>
              <a:defRPr lang="x-none" baseline="0">
                <a:solidFill>
                  <a:schemeClr val="accent6"/>
                </a:solidFill>
                <a:latin typeface="+mn-lt"/>
              </a:defRPr>
            </a:lvl5pPr>
            <a:lvl6pPr marL="999794" indent="-173575" defTabSz="1193860" fontAlgn="base">
              <a:spcBef>
                <a:spcPct val="0"/>
              </a:spcBef>
              <a:spcAft>
                <a:spcPct val="0"/>
              </a:spcAft>
              <a:buClr>
                <a:schemeClr val="tx2"/>
              </a:buClr>
              <a:buSzPct val="89000"/>
              <a:buFont typeface="Arial" charset="0"/>
              <a:buChar char="-"/>
              <a:defRPr lang="x-none" sz="2133" baseline="0">
                <a:latin typeface="+mn-lt"/>
              </a:defRPr>
            </a:lvl6pPr>
            <a:lvl7pPr marL="999794" indent="-173575" defTabSz="1193860" fontAlgn="base">
              <a:spcBef>
                <a:spcPct val="0"/>
              </a:spcBef>
              <a:spcAft>
                <a:spcPct val="0"/>
              </a:spcAft>
              <a:buClr>
                <a:schemeClr val="tx2"/>
              </a:buClr>
              <a:buSzPct val="89000"/>
              <a:buFont typeface="Arial" charset="0"/>
              <a:buChar char="-"/>
              <a:defRPr lang="x-none" sz="2133" baseline="0">
                <a:latin typeface="+mn-lt"/>
              </a:defRPr>
            </a:lvl7pPr>
            <a:lvl8pPr marL="999794" indent="-173575" defTabSz="1193860" fontAlgn="base">
              <a:spcBef>
                <a:spcPct val="0"/>
              </a:spcBef>
              <a:spcAft>
                <a:spcPct val="0"/>
              </a:spcAft>
              <a:buClr>
                <a:schemeClr val="tx2"/>
              </a:buClr>
              <a:buSzPct val="89000"/>
              <a:buFont typeface="Arial" charset="0"/>
              <a:buChar char="-"/>
              <a:defRPr lang="x-none" sz="2133" baseline="0">
                <a:latin typeface="+mn-lt"/>
              </a:defRPr>
            </a:lvl8pPr>
            <a:lvl9pPr marL="999794" indent="-173575" defTabSz="1193860" fontAlgn="base">
              <a:spcBef>
                <a:spcPct val="0"/>
              </a:spcBef>
              <a:spcAft>
                <a:spcPct val="0"/>
              </a:spcAft>
              <a:buClr>
                <a:schemeClr val="tx2"/>
              </a:buClr>
              <a:buSzPct val="89000"/>
              <a:buFont typeface="Arial" charset="0"/>
              <a:buChar char="-"/>
              <a:defRPr lang="x-none" sz="2133" baseline="0">
                <a:latin typeface="+mn-lt"/>
              </a:defRPr>
            </a:lvl9pPr>
          </a:lstStyle>
          <a:p>
            <a:r>
              <a:rPr lang="en-US" sz="1400" dirty="0">
                <a:solidFill>
                  <a:schemeClr val="accent4"/>
                </a:solidFill>
              </a:rPr>
              <a:t>Confirm </a:t>
            </a:r>
            <a:r>
              <a:rPr lang="en-US" sz="1400" i="1" dirty="0">
                <a:solidFill>
                  <a:schemeClr val="accent4"/>
                </a:solidFill>
              </a:rPr>
              <a:t>realistic, achievable potential </a:t>
            </a:r>
            <a:r>
              <a:rPr lang="en-US" sz="1400" b="0" dirty="0">
                <a:solidFill>
                  <a:schemeClr val="tx1"/>
                </a:solidFill>
              </a:rPr>
              <a:t>through a </a:t>
            </a:r>
            <a:r>
              <a:rPr lang="en-US" sz="1400" dirty="0">
                <a:solidFill>
                  <a:schemeClr val="accent4"/>
                </a:solidFill>
              </a:rPr>
              <a:t>diligence </a:t>
            </a:r>
            <a:r>
              <a:rPr lang="en-US" sz="1400" b="0" dirty="0">
                <a:solidFill>
                  <a:schemeClr val="tx1"/>
                </a:solidFill>
              </a:rPr>
              <a:t>process</a:t>
            </a:r>
          </a:p>
          <a:p>
            <a:r>
              <a:rPr lang="en-US" sz="1400" b="0" dirty="0">
                <a:solidFill>
                  <a:schemeClr val="tx1"/>
                </a:solidFill>
              </a:rPr>
              <a:t>Align leadership on the </a:t>
            </a:r>
            <a:r>
              <a:rPr lang="en-US" sz="1400" dirty="0">
                <a:solidFill>
                  <a:schemeClr val="accent4"/>
                </a:solidFill>
              </a:rPr>
              <a:t>aspiration and change narrative</a:t>
            </a:r>
            <a:endParaRPr lang="en-US" sz="1400" b="0" dirty="0">
              <a:solidFill>
                <a:schemeClr val="accent4"/>
              </a:solidFill>
            </a:endParaRPr>
          </a:p>
        </p:txBody>
      </p:sp>
      <p:sp>
        <p:nvSpPr>
          <p:cNvPr id="13" name="TextBox 12">
            <a:extLst>
              <a:ext uri="{FF2B5EF4-FFF2-40B4-BE49-F238E27FC236}">
                <a16:creationId xmlns:a16="http://schemas.microsoft.com/office/drawing/2014/main" id="{2101C8E5-82FE-4FBD-A57B-021EC628A335}"/>
              </a:ext>
            </a:extLst>
          </p:cNvPr>
          <p:cNvSpPr txBox="1">
            <a:spLocks/>
          </p:cNvSpPr>
          <p:nvPr/>
        </p:nvSpPr>
        <p:spPr>
          <a:xfrm>
            <a:off x="3608129" y="1512834"/>
            <a:ext cx="2440743" cy="1292662"/>
          </a:xfrm>
          <a:prstGeom prst="rect">
            <a:avLst/>
          </a:prstGeom>
        </p:spPr>
        <p:txBody>
          <a:bodyPr vert="horz" wrap="square" lIns="0" tIns="0" rIns="0" bIns="0" rtlCol="0" anchor="t" anchorCtr="0">
            <a:spAutoFit/>
          </a:bodyPr>
          <a:lstStyle>
            <a:lvl1pPr marL="0" lvl="0" indent="0" defTabSz="1193860" eaLnBrk="1" latinLnBrk="0" hangingPunct="1">
              <a:spcBef>
                <a:spcPts val="600"/>
              </a:spcBef>
              <a:spcAft>
                <a:spcPts val="600"/>
              </a:spcAft>
              <a:buClr>
                <a:schemeClr val="tx2"/>
              </a:buClr>
              <a:buSzPct val="100000"/>
              <a:defRPr lang="x-none" b="1" baseline="0">
                <a:solidFill>
                  <a:schemeClr val="accent2"/>
                </a:solidFill>
                <a:latin typeface="+mn-lt"/>
              </a:defRPr>
            </a:lvl1pPr>
            <a:lvl2pPr marL="2116" lvl="1" indent="0" defTabSz="1193860" eaLnBrk="1" latinLnBrk="0" hangingPunct="1">
              <a:spcBef>
                <a:spcPts val="600"/>
              </a:spcBef>
              <a:spcAft>
                <a:spcPts val="600"/>
              </a:spcAft>
              <a:buClr>
                <a:schemeClr val="tx2"/>
              </a:buClr>
              <a:buSzPct val="125000"/>
              <a:buFontTx/>
              <a:buNone/>
              <a:defRPr lang="x-none" b="0" baseline="0">
                <a:solidFill>
                  <a:schemeClr val="accent6"/>
                </a:solidFill>
                <a:latin typeface="+mn-lt"/>
              </a:defRPr>
            </a:lvl2pPr>
            <a:lvl3pPr marL="168275" lvl="2" indent="-168275" defTabSz="1193860" eaLnBrk="1" latinLnBrk="0" hangingPunct="1">
              <a:spcAft>
                <a:spcPts val="600"/>
              </a:spcAft>
              <a:buClr>
                <a:schemeClr val="accent6"/>
              </a:buClr>
              <a:buSzPct val="100000"/>
              <a:buFont typeface="Wingdings" panose="05000000000000000000" pitchFamily="2" charset="2"/>
              <a:buChar char="§"/>
              <a:defRPr lang="x-none" baseline="0">
                <a:solidFill>
                  <a:schemeClr val="accent6"/>
                </a:solidFill>
                <a:latin typeface="+mn-lt"/>
              </a:defRPr>
            </a:lvl3pPr>
            <a:lvl4pPr marL="350838" lvl="3" indent="-182563" defTabSz="1193860" eaLnBrk="1" latinLnBrk="0" hangingPunct="1">
              <a:spcAft>
                <a:spcPts val="600"/>
              </a:spcAft>
              <a:buClr>
                <a:schemeClr val="accent6"/>
              </a:buClr>
              <a:buSzPct val="100000"/>
              <a:buFont typeface="Arial" panose="020B0604020202020204" pitchFamily="34" charset="0"/>
              <a:buChar char="•"/>
              <a:defRPr lang="x-none" baseline="0">
                <a:solidFill>
                  <a:schemeClr val="accent6"/>
                </a:solidFill>
                <a:latin typeface="+mn-lt"/>
              </a:defRPr>
            </a:lvl4pPr>
            <a:lvl5pPr marL="579438" lvl="4" indent="-228600" defTabSz="1193860" eaLnBrk="1" latinLnBrk="0" hangingPunct="1">
              <a:spcAft>
                <a:spcPts val="600"/>
              </a:spcAft>
              <a:buClr>
                <a:schemeClr val="accent6"/>
              </a:buClr>
              <a:buSzPct val="100000"/>
              <a:buFont typeface="Times New Roman" panose="02020603050405020304" pitchFamily="18" charset="0"/>
              <a:buChar char="─"/>
              <a:defRPr lang="x-none" baseline="0">
                <a:solidFill>
                  <a:schemeClr val="accent6"/>
                </a:solidFill>
                <a:latin typeface="+mn-lt"/>
              </a:defRPr>
            </a:lvl5pPr>
            <a:lvl6pPr marL="999794" indent="-173575" defTabSz="1193860" fontAlgn="base">
              <a:spcBef>
                <a:spcPct val="0"/>
              </a:spcBef>
              <a:spcAft>
                <a:spcPct val="0"/>
              </a:spcAft>
              <a:buClr>
                <a:schemeClr val="tx2"/>
              </a:buClr>
              <a:buSzPct val="89000"/>
              <a:buFont typeface="Arial" charset="0"/>
              <a:buChar char="-"/>
              <a:defRPr lang="x-none" sz="2133" baseline="0">
                <a:latin typeface="+mn-lt"/>
              </a:defRPr>
            </a:lvl6pPr>
            <a:lvl7pPr marL="999794" indent="-173575" defTabSz="1193860" fontAlgn="base">
              <a:spcBef>
                <a:spcPct val="0"/>
              </a:spcBef>
              <a:spcAft>
                <a:spcPct val="0"/>
              </a:spcAft>
              <a:buClr>
                <a:schemeClr val="tx2"/>
              </a:buClr>
              <a:buSzPct val="89000"/>
              <a:buFont typeface="Arial" charset="0"/>
              <a:buChar char="-"/>
              <a:defRPr lang="x-none" sz="2133" baseline="0">
                <a:latin typeface="+mn-lt"/>
              </a:defRPr>
            </a:lvl7pPr>
            <a:lvl8pPr marL="999794" indent="-173575" defTabSz="1193860" fontAlgn="base">
              <a:spcBef>
                <a:spcPct val="0"/>
              </a:spcBef>
              <a:spcAft>
                <a:spcPct val="0"/>
              </a:spcAft>
              <a:buClr>
                <a:schemeClr val="tx2"/>
              </a:buClr>
              <a:buSzPct val="89000"/>
              <a:buFont typeface="Arial" charset="0"/>
              <a:buChar char="-"/>
              <a:defRPr lang="x-none" sz="2133" baseline="0">
                <a:latin typeface="+mn-lt"/>
              </a:defRPr>
            </a:lvl8pPr>
            <a:lvl9pPr marL="999794" indent="-173575" defTabSz="1193860" fontAlgn="base">
              <a:spcBef>
                <a:spcPct val="0"/>
              </a:spcBef>
              <a:spcAft>
                <a:spcPct val="0"/>
              </a:spcAft>
              <a:buClr>
                <a:schemeClr val="tx2"/>
              </a:buClr>
              <a:buSzPct val="89000"/>
              <a:buFont typeface="Arial" charset="0"/>
              <a:buChar char="-"/>
              <a:defRPr lang="x-none" sz="2133" baseline="0">
                <a:latin typeface="+mn-lt"/>
              </a:defRPr>
            </a:lvl9pPr>
          </a:lstStyle>
          <a:p>
            <a:r>
              <a:rPr lang="en-US" sz="1400" dirty="0">
                <a:solidFill>
                  <a:schemeClr val="accent4"/>
                </a:solidFill>
              </a:rPr>
              <a:t>Developing a granular </a:t>
            </a:r>
            <a:r>
              <a:rPr lang="en-US" sz="1400" i="1" dirty="0">
                <a:solidFill>
                  <a:schemeClr val="accent4"/>
                </a:solidFill>
              </a:rPr>
              <a:t>bottom up transformation plan</a:t>
            </a:r>
            <a:r>
              <a:rPr lang="en-US" sz="1400" dirty="0">
                <a:solidFill>
                  <a:schemeClr val="accent4"/>
                </a:solidFill>
              </a:rPr>
              <a:t> </a:t>
            </a:r>
            <a:r>
              <a:rPr lang="en-US" sz="1400" b="0" dirty="0">
                <a:solidFill>
                  <a:schemeClr val="tx1"/>
                </a:solidFill>
              </a:rPr>
              <a:t>(detailed initiatives and financial projections) which is fully </a:t>
            </a:r>
            <a:r>
              <a:rPr lang="en-US" sz="1400" dirty="0">
                <a:solidFill>
                  <a:schemeClr val="accent4"/>
                </a:solidFill>
              </a:rPr>
              <a:t>owned by the line leaders</a:t>
            </a:r>
          </a:p>
        </p:txBody>
      </p:sp>
      <p:cxnSp>
        <p:nvCxnSpPr>
          <p:cNvPr id="18" name="Straight Connector 17">
            <a:extLst>
              <a:ext uri="{FF2B5EF4-FFF2-40B4-BE49-F238E27FC236}">
                <a16:creationId xmlns:a16="http://schemas.microsoft.com/office/drawing/2014/main" id="{08CD0009-0FE7-47B6-BB7F-2D15FC8A409A}"/>
              </a:ext>
            </a:extLst>
          </p:cNvPr>
          <p:cNvCxnSpPr>
            <a:cxnSpLocks/>
          </p:cNvCxnSpPr>
          <p:nvPr/>
        </p:nvCxnSpPr>
        <p:spPr>
          <a:xfrm>
            <a:off x="907898" y="3145669"/>
            <a:ext cx="2440743" cy="0"/>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FA81DF69-9E77-4A7E-B4BB-36DA2B44A1AA}"/>
              </a:ext>
            </a:extLst>
          </p:cNvPr>
          <p:cNvCxnSpPr>
            <a:cxnSpLocks/>
          </p:cNvCxnSpPr>
          <p:nvPr/>
        </p:nvCxnSpPr>
        <p:spPr>
          <a:xfrm>
            <a:off x="3576701" y="3145669"/>
            <a:ext cx="2440743" cy="0"/>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sp>
        <p:nvSpPr>
          <p:cNvPr id="82" name="TextBox 4"/>
          <p:cNvSpPr txBox="1">
            <a:spLocks noChangeArrowheads="1"/>
          </p:cNvSpPr>
          <p:nvPr>
            <p:custDataLst>
              <p:tags r:id="rId7"/>
            </p:custDataLst>
          </p:nvPr>
        </p:nvSpPr>
        <p:spPr bwMode="auto">
          <a:xfrm>
            <a:off x="1690354" y="3033454"/>
            <a:ext cx="875832" cy="224431"/>
          </a:xfrm>
          <a:prstGeom prst="rect">
            <a:avLst/>
          </a:prstGeom>
          <a:solidFill>
            <a:schemeClr val="bg1"/>
          </a:solidFill>
          <a:ln w="9525">
            <a:noFill/>
            <a:miter lim="800000"/>
            <a:headEnd/>
            <a:tailEnd/>
          </a:ln>
          <a:effectLst/>
        </p:spPr>
        <p:txBody>
          <a:bodyPr wrap="none" lIns="0" tIns="0" rIns="0" bIns="0" anchor="ctr">
            <a:noAutofit/>
          </a:bodyPr>
          <a:lstStyle>
            <a:defPPr>
              <a:defRPr lang="en-US"/>
            </a:defPPr>
            <a:lvl1pPr algn="ctr" defTabSz="913526">
              <a:buClr>
                <a:schemeClr val="tx2"/>
              </a:buClr>
              <a:defRPr sz="1800" i="1">
                <a:latin typeface="Georgia" pitchFamily="18" charset="0"/>
              </a:defRPr>
            </a:lvl1pPr>
          </a:lstStyle>
          <a:p>
            <a:pPr defTabSz="685142" fontAlgn="auto">
              <a:spcBef>
                <a:spcPts val="0"/>
              </a:spcBef>
              <a:spcAft>
                <a:spcPts val="0"/>
              </a:spcAft>
              <a:buClr>
                <a:srgbClr val="01395A"/>
              </a:buClr>
              <a:defRPr/>
            </a:pPr>
            <a:r>
              <a:rPr lang="en-US" sz="1400" i="0" kern="0" dirty="0">
                <a:latin typeface="+mn-lt"/>
              </a:rPr>
              <a:t>8 weeks</a:t>
            </a:r>
          </a:p>
        </p:txBody>
      </p:sp>
      <p:sp>
        <p:nvSpPr>
          <p:cNvPr id="48" name="TextBox 4"/>
          <p:cNvSpPr txBox="1">
            <a:spLocks noChangeArrowheads="1"/>
          </p:cNvSpPr>
          <p:nvPr>
            <p:custDataLst>
              <p:tags r:id="rId8"/>
            </p:custDataLst>
          </p:nvPr>
        </p:nvSpPr>
        <p:spPr bwMode="auto">
          <a:xfrm>
            <a:off x="4359157" y="3033454"/>
            <a:ext cx="875832" cy="224431"/>
          </a:xfrm>
          <a:prstGeom prst="rect">
            <a:avLst/>
          </a:prstGeom>
          <a:solidFill>
            <a:schemeClr val="bg1"/>
          </a:solidFill>
          <a:ln w="9525">
            <a:noFill/>
            <a:miter lim="800000"/>
            <a:headEnd/>
            <a:tailEnd/>
          </a:ln>
          <a:effectLst/>
        </p:spPr>
        <p:txBody>
          <a:bodyPr wrap="none" lIns="0" tIns="0" rIns="0" bIns="0" anchor="ctr">
            <a:noAutofit/>
          </a:bodyPr>
          <a:lstStyle>
            <a:defPPr>
              <a:defRPr lang="en-US"/>
            </a:defPPr>
            <a:lvl1pPr marL="0" marR="0" lvl="0" indent="0" algn="ctr" defTabSz="913526" eaLnBrk="1" fontAlgn="auto" latinLnBrk="0" hangingPunct="1">
              <a:lnSpc>
                <a:spcPct val="100000"/>
              </a:lnSpc>
              <a:spcBef>
                <a:spcPts val="0"/>
              </a:spcBef>
              <a:spcAft>
                <a:spcPts val="0"/>
              </a:spcAft>
              <a:buClr>
                <a:srgbClr val="01395A"/>
              </a:buClr>
              <a:buSzTx/>
              <a:buFontTx/>
              <a:buNone/>
              <a:tabLst/>
              <a:defRPr sz="1400" i="0" kern="0">
                <a:solidFill>
                  <a:schemeClr val="bg1"/>
                </a:solidFill>
                <a:latin typeface="+mj-lt"/>
              </a:defRPr>
            </a:lvl1pPr>
          </a:lstStyle>
          <a:p>
            <a:r>
              <a:rPr lang="en-US" dirty="0">
                <a:solidFill>
                  <a:schemeClr val="tx1"/>
                </a:solidFill>
                <a:latin typeface="+mn-lt"/>
              </a:rPr>
              <a:t>8 weeks</a:t>
            </a:r>
          </a:p>
        </p:txBody>
      </p:sp>
      <p:sp>
        <p:nvSpPr>
          <p:cNvPr id="47" name="TextBox 4">
            <a:extLst>
              <a:ext uri="{FF2B5EF4-FFF2-40B4-BE49-F238E27FC236}">
                <a16:creationId xmlns:a16="http://schemas.microsoft.com/office/drawing/2014/main" id="{D78A65D9-4858-40C3-BDA1-0684604A4A6B}"/>
              </a:ext>
            </a:extLst>
          </p:cNvPr>
          <p:cNvSpPr txBox="1">
            <a:spLocks noChangeArrowheads="1"/>
          </p:cNvSpPr>
          <p:nvPr>
            <p:custDataLst>
              <p:tags r:id="rId9"/>
            </p:custDataLst>
          </p:nvPr>
        </p:nvSpPr>
        <p:spPr bwMode="auto">
          <a:xfrm>
            <a:off x="1185882" y="1057639"/>
            <a:ext cx="2162759" cy="229293"/>
          </a:xfrm>
          <a:prstGeom prst="rect">
            <a:avLst/>
          </a:prstGeom>
          <a:noFill/>
          <a:ln w="9525">
            <a:noFill/>
            <a:miter lim="800000"/>
            <a:headEnd/>
            <a:tailEnd/>
          </a:ln>
        </p:spPr>
        <p:txBody>
          <a:bodyPr wrap="square" lIns="0" tIns="0" rIns="0" bIns="13715" anchor="ctr">
            <a:spAutoFit/>
          </a:bodyPr>
          <a:lstStyle>
            <a:defPPr>
              <a:defRPr lang="en-US"/>
            </a:defPPr>
            <a:lvl1pPr algn="ctr" defTabSz="913526">
              <a:buClr>
                <a:schemeClr val="tx2"/>
              </a:buClr>
              <a:defRPr sz="1800" i="1">
                <a:latin typeface="Georgia" pitchFamily="18" charset="0"/>
              </a:defRPr>
            </a:lvl1pPr>
          </a:lstStyle>
          <a:p>
            <a:pPr algn="l" defTabSz="640950" fontAlgn="auto">
              <a:spcBef>
                <a:spcPts val="0"/>
              </a:spcBef>
              <a:spcAft>
                <a:spcPts val="0"/>
              </a:spcAft>
              <a:buClr>
                <a:srgbClr val="01395A"/>
              </a:buClr>
              <a:defRPr/>
            </a:pPr>
            <a:r>
              <a:rPr lang="en-US" sz="1400" b="1" i="0" kern="0" dirty="0">
                <a:solidFill>
                  <a:schemeClr val="accent4"/>
                </a:solidFill>
                <a:latin typeface="+mn-lt"/>
              </a:rPr>
              <a:t>Independent diligence</a:t>
            </a:r>
          </a:p>
        </p:txBody>
      </p:sp>
      <p:sp>
        <p:nvSpPr>
          <p:cNvPr id="57" name="Rectangle 15"/>
          <p:cNvSpPr>
            <a:spLocks noChangeArrowheads="1"/>
          </p:cNvSpPr>
          <p:nvPr/>
        </p:nvSpPr>
        <p:spPr bwMode="gray">
          <a:xfrm>
            <a:off x="907898" y="1003008"/>
            <a:ext cx="153658" cy="338554"/>
          </a:xfrm>
          <a:prstGeom prst="rect">
            <a:avLst/>
          </a:prstGeom>
          <a:noFill/>
          <a:ln w="9525">
            <a:noFill/>
            <a:miter lim="800000"/>
            <a:headEnd/>
            <a:tailEnd/>
          </a:ln>
        </p:spPr>
        <p:txBody>
          <a:bodyPr wrap="square" lIns="0" tIns="0" rIns="0" bIns="0">
            <a:spAutoFit/>
          </a:bodyPr>
          <a:lstStyle/>
          <a:p>
            <a:pPr algn="ctr" defTabSz="641564" fontAlgn="auto">
              <a:spcBef>
                <a:spcPts val="0"/>
              </a:spcBef>
              <a:spcAft>
                <a:spcPts val="0"/>
              </a:spcAft>
              <a:defRPr/>
            </a:pPr>
            <a:r>
              <a:rPr lang="en-US" sz="2200" kern="0" dirty="0">
                <a:solidFill>
                  <a:schemeClr val="tx2"/>
                </a:solidFill>
                <a:latin typeface="+mn-lt"/>
              </a:rPr>
              <a:t>1</a:t>
            </a:r>
          </a:p>
        </p:txBody>
      </p:sp>
      <p:sp>
        <p:nvSpPr>
          <p:cNvPr id="49" name="TextBox 4">
            <a:extLst>
              <a:ext uri="{FF2B5EF4-FFF2-40B4-BE49-F238E27FC236}">
                <a16:creationId xmlns:a16="http://schemas.microsoft.com/office/drawing/2014/main" id="{A75E76D9-FD3D-4E98-9E8B-B5AA39C69E2F}"/>
              </a:ext>
            </a:extLst>
          </p:cNvPr>
          <p:cNvSpPr txBox="1">
            <a:spLocks noChangeArrowheads="1"/>
          </p:cNvSpPr>
          <p:nvPr>
            <p:custDataLst>
              <p:tags r:id="rId10"/>
            </p:custDataLst>
          </p:nvPr>
        </p:nvSpPr>
        <p:spPr bwMode="auto">
          <a:xfrm>
            <a:off x="3854686" y="1057639"/>
            <a:ext cx="2162759" cy="229293"/>
          </a:xfrm>
          <a:prstGeom prst="rect">
            <a:avLst/>
          </a:prstGeom>
          <a:noFill/>
          <a:ln w="9525">
            <a:noFill/>
            <a:miter lim="800000"/>
            <a:headEnd/>
            <a:tailEnd/>
          </a:ln>
        </p:spPr>
        <p:txBody>
          <a:bodyPr wrap="square" lIns="0" tIns="0" rIns="0" bIns="13715" anchor="ctr">
            <a:spAutoFit/>
          </a:bodyPr>
          <a:lstStyle>
            <a:defPPr>
              <a:defRPr lang="en-US"/>
            </a:defPPr>
            <a:lvl1pPr defTabSz="854604" fontAlgn="auto">
              <a:spcBef>
                <a:spcPts val="0"/>
              </a:spcBef>
              <a:spcAft>
                <a:spcPts val="0"/>
              </a:spcAft>
              <a:buClr>
                <a:srgbClr val="01395A"/>
              </a:buClr>
              <a:defRPr sz="1700" i="0" kern="0">
                <a:solidFill>
                  <a:schemeClr val="bg1"/>
                </a:solidFill>
                <a:latin typeface="+mj-lt"/>
              </a:defRPr>
            </a:lvl1pPr>
          </a:lstStyle>
          <a:p>
            <a:r>
              <a:rPr lang="en-US" sz="1400" b="1" dirty="0">
                <a:solidFill>
                  <a:schemeClr val="accent4"/>
                </a:solidFill>
                <a:latin typeface="+mn-lt"/>
              </a:rPr>
              <a:t>Bottom-up planning</a:t>
            </a:r>
          </a:p>
        </p:txBody>
      </p:sp>
      <p:sp>
        <p:nvSpPr>
          <p:cNvPr id="59" name="Rectangle 15">
            <a:extLst>
              <a:ext uri="{FF2B5EF4-FFF2-40B4-BE49-F238E27FC236}">
                <a16:creationId xmlns:a16="http://schemas.microsoft.com/office/drawing/2014/main" id="{8E0E60FB-B3A2-4E14-9C29-D8E660D7A939}"/>
              </a:ext>
            </a:extLst>
          </p:cNvPr>
          <p:cNvSpPr>
            <a:spLocks noChangeArrowheads="1"/>
          </p:cNvSpPr>
          <p:nvPr/>
        </p:nvSpPr>
        <p:spPr bwMode="gray">
          <a:xfrm>
            <a:off x="3576701" y="1003008"/>
            <a:ext cx="153658" cy="338554"/>
          </a:xfrm>
          <a:prstGeom prst="rect">
            <a:avLst/>
          </a:prstGeom>
          <a:noFill/>
          <a:ln w="9525">
            <a:noFill/>
            <a:miter lim="800000"/>
            <a:headEnd/>
            <a:tailEnd/>
          </a:ln>
        </p:spPr>
        <p:txBody>
          <a:bodyPr wrap="square" lIns="0" tIns="0" rIns="0" bIns="0">
            <a:spAutoFit/>
          </a:bodyPr>
          <a:lstStyle/>
          <a:p>
            <a:pPr algn="ctr" defTabSz="641564" fontAlgn="auto">
              <a:spcBef>
                <a:spcPts val="0"/>
              </a:spcBef>
              <a:spcAft>
                <a:spcPts val="0"/>
              </a:spcAft>
              <a:defRPr/>
            </a:pPr>
            <a:r>
              <a:rPr lang="en-US" sz="2200" kern="0" dirty="0">
                <a:solidFill>
                  <a:schemeClr val="tx2"/>
                </a:solidFill>
                <a:latin typeface="+mn-lt"/>
              </a:rPr>
              <a:t>2</a:t>
            </a:r>
          </a:p>
        </p:txBody>
      </p:sp>
      <p:sp>
        <p:nvSpPr>
          <p:cNvPr id="50" name="TextBox 4">
            <a:extLst>
              <a:ext uri="{FF2B5EF4-FFF2-40B4-BE49-F238E27FC236}">
                <a16:creationId xmlns:a16="http://schemas.microsoft.com/office/drawing/2014/main" id="{26382AA6-34AE-4AB8-9337-4D55056BD1B6}"/>
              </a:ext>
            </a:extLst>
          </p:cNvPr>
          <p:cNvSpPr txBox="1">
            <a:spLocks noChangeArrowheads="1"/>
          </p:cNvSpPr>
          <p:nvPr>
            <p:custDataLst>
              <p:tags r:id="rId11"/>
            </p:custDataLst>
          </p:nvPr>
        </p:nvSpPr>
        <p:spPr bwMode="auto">
          <a:xfrm>
            <a:off x="6523490" y="949917"/>
            <a:ext cx="2162759" cy="444736"/>
          </a:xfrm>
          <a:prstGeom prst="rect">
            <a:avLst/>
          </a:prstGeom>
          <a:noFill/>
          <a:ln w="9525">
            <a:noFill/>
            <a:miter lim="800000"/>
            <a:headEnd/>
            <a:tailEnd/>
          </a:ln>
        </p:spPr>
        <p:txBody>
          <a:bodyPr wrap="square" lIns="0" tIns="0" rIns="0" bIns="13715" anchor="ctr">
            <a:spAutoFit/>
          </a:bodyPr>
          <a:lstStyle>
            <a:defPPr>
              <a:defRPr lang="en-US"/>
            </a:defPPr>
            <a:lvl1pPr defTabSz="854604" fontAlgn="auto">
              <a:spcBef>
                <a:spcPts val="0"/>
              </a:spcBef>
              <a:spcAft>
                <a:spcPts val="0"/>
              </a:spcAft>
              <a:buClr>
                <a:srgbClr val="01395A"/>
              </a:buClr>
              <a:defRPr sz="1700" i="0" kern="0">
                <a:solidFill>
                  <a:schemeClr val="bg1"/>
                </a:solidFill>
                <a:latin typeface="+mj-lt"/>
              </a:defRPr>
            </a:lvl1pPr>
          </a:lstStyle>
          <a:p>
            <a:r>
              <a:rPr lang="en-US" sz="1400" b="1" dirty="0">
                <a:solidFill>
                  <a:schemeClr val="accent4"/>
                </a:solidFill>
                <a:latin typeface="+mn-lt"/>
              </a:rPr>
              <a:t>Transformation Implementation</a:t>
            </a:r>
          </a:p>
        </p:txBody>
      </p:sp>
      <p:sp>
        <p:nvSpPr>
          <p:cNvPr id="64" name="Rectangle 15">
            <a:extLst>
              <a:ext uri="{FF2B5EF4-FFF2-40B4-BE49-F238E27FC236}">
                <a16:creationId xmlns:a16="http://schemas.microsoft.com/office/drawing/2014/main" id="{C082B2EE-1468-4E96-A1E9-3B0A926BBA02}"/>
              </a:ext>
            </a:extLst>
          </p:cNvPr>
          <p:cNvSpPr>
            <a:spLocks noChangeArrowheads="1"/>
          </p:cNvSpPr>
          <p:nvPr/>
        </p:nvSpPr>
        <p:spPr bwMode="gray">
          <a:xfrm>
            <a:off x="6245505" y="1003008"/>
            <a:ext cx="153658" cy="338554"/>
          </a:xfrm>
          <a:prstGeom prst="rect">
            <a:avLst/>
          </a:prstGeom>
          <a:noFill/>
          <a:ln w="9525">
            <a:noFill/>
            <a:miter lim="800000"/>
            <a:headEnd/>
            <a:tailEnd/>
          </a:ln>
        </p:spPr>
        <p:txBody>
          <a:bodyPr wrap="square" lIns="0" tIns="0" rIns="0" bIns="0">
            <a:spAutoFit/>
          </a:bodyPr>
          <a:lstStyle/>
          <a:p>
            <a:pPr algn="ctr" defTabSz="641564" fontAlgn="auto">
              <a:spcBef>
                <a:spcPts val="0"/>
              </a:spcBef>
              <a:spcAft>
                <a:spcPts val="0"/>
              </a:spcAft>
              <a:defRPr/>
            </a:pPr>
            <a:r>
              <a:rPr lang="en-US" sz="2200" kern="0" dirty="0">
                <a:solidFill>
                  <a:schemeClr val="tx2"/>
                </a:solidFill>
                <a:latin typeface="+mn-lt"/>
              </a:rPr>
              <a:t>3</a:t>
            </a:r>
          </a:p>
        </p:txBody>
      </p:sp>
      <p:cxnSp>
        <p:nvCxnSpPr>
          <p:cNvPr id="54" name="Straight Connector 53">
            <a:extLst>
              <a:ext uri="{FF2B5EF4-FFF2-40B4-BE49-F238E27FC236}">
                <a16:creationId xmlns:a16="http://schemas.microsoft.com/office/drawing/2014/main" id="{8939064C-8C16-48F7-97F8-8C5AA26EE1E1}"/>
              </a:ext>
            </a:extLst>
          </p:cNvPr>
          <p:cNvCxnSpPr>
            <a:cxnSpLocks/>
          </p:cNvCxnSpPr>
          <p:nvPr/>
        </p:nvCxnSpPr>
        <p:spPr>
          <a:xfrm>
            <a:off x="6245505" y="3145669"/>
            <a:ext cx="2440743" cy="0"/>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sp>
        <p:nvSpPr>
          <p:cNvPr id="51" name="TextBox 4"/>
          <p:cNvSpPr txBox="1">
            <a:spLocks noChangeArrowheads="1"/>
          </p:cNvSpPr>
          <p:nvPr>
            <p:custDataLst>
              <p:tags r:id="rId12"/>
            </p:custDataLst>
          </p:nvPr>
        </p:nvSpPr>
        <p:spPr bwMode="auto">
          <a:xfrm>
            <a:off x="6935999" y="3033454"/>
            <a:ext cx="1059757" cy="224431"/>
          </a:xfrm>
          <a:prstGeom prst="rect">
            <a:avLst/>
          </a:prstGeom>
          <a:solidFill>
            <a:schemeClr val="bg1"/>
          </a:solidFill>
          <a:ln w="9525">
            <a:noFill/>
            <a:miter lim="800000"/>
            <a:headEnd/>
            <a:tailEnd/>
          </a:ln>
          <a:effectLst/>
        </p:spPr>
        <p:txBody>
          <a:bodyPr wrap="none" lIns="0" tIns="0" rIns="0" bIns="0" anchor="ctr">
            <a:noAutofit/>
          </a:bodyPr>
          <a:lstStyle>
            <a:defPPr>
              <a:defRPr lang="en-US"/>
            </a:defPPr>
            <a:lvl1pPr marL="0" marR="0" lvl="0" indent="0" algn="ctr" defTabSz="913526" eaLnBrk="1" fontAlgn="auto" latinLnBrk="0" hangingPunct="1">
              <a:lnSpc>
                <a:spcPct val="100000"/>
              </a:lnSpc>
              <a:spcBef>
                <a:spcPts val="0"/>
              </a:spcBef>
              <a:spcAft>
                <a:spcPts val="0"/>
              </a:spcAft>
              <a:buClr>
                <a:srgbClr val="01395A"/>
              </a:buClr>
              <a:buSzTx/>
              <a:buFontTx/>
              <a:buNone/>
              <a:tabLst/>
              <a:defRPr sz="1400" i="0" kern="0">
                <a:solidFill>
                  <a:schemeClr val="bg1"/>
                </a:solidFill>
                <a:latin typeface="+mj-lt"/>
              </a:defRPr>
            </a:lvl1pPr>
          </a:lstStyle>
          <a:p>
            <a:r>
              <a:rPr lang="en-US" dirty="0">
                <a:solidFill>
                  <a:schemeClr val="tx1"/>
                </a:solidFill>
                <a:latin typeface="+mn-lt"/>
              </a:rPr>
              <a:t>18 months+</a:t>
            </a:r>
          </a:p>
        </p:txBody>
      </p:sp>
      <p:cxnSp>
        <p:nvCxnSpPr>
          <p:cNvPr id="75" name="Straight Connector 74">
            <a:extLst>
              <a:ext uri="{FF2B5EF4-FFF2-40B4-BE49-F238E27FC236}">
                <a16:creationId xmlns:a16="http://schemas.microsoft.com/office/drawing/2014/main" id="{7FA83E3C-E480-418C-97A2-242C14626C8C}"/>
              </a:ext>
            </a:extLst>
          </p:cNvPr>
          <p:cNvCxnSpPr>
            <a:cxnSpLocks/>
          </p:cNvCxnSpPr>
          <p:nvPr/>
        </p:nvCxnSpPr>
        <p:spPr>
          <a:xfrm>
            <a:off x="1163934" y="5213757"/>
            <a:ext cx="7531619" cy="0"/>
          </a:xfrm>
          <a:prstGeom prst="line">
            <a:avLst/>
          </a:prstGeom>
          <a:ln>
            <a:solidFill>
              <a:schemeClr val="accent6"/>
            </a:solidFill>
            <a:prstDash val="sysDot"/>
          </a:ln>
        </p:spPr>
        <p:style>
          <a:lnRef idx="1">
            <a:schemeClr val="accent1"/>
          </a:lnRef>
          <a:fillRef idx="0">
            <a:schemeClr val="accent1"/>
          </a:fillRef>
          <a:effectRef idx="0">
            <a:schemeClr val="accent1"/>
          </a:effectRef>
          <a:fontRef idx="minor">
            <a:schemeClr val="tx1"/>
          </a:fontRef>
        </p:style>
      </p:cxnSp>
      <p:cxnSp>
        <p:nvCxnSpPr>
          <p:cNvPr id="76" name="Straight Connector 75">
            <a:extLst>
              <a:ext uri="{FF2B5EF4-FFF2-40B4-BE49-F238E27FC236}">
                <a16:creationId xmlns:a16="http://schemas.microsoft.com/office/drawing/2014/main" id="{8F79D719-A606-4E2F-8461-936BFE4A8094}"/>
              </a:ext>
            </a:extLst>
          </p:cNvPr>
          <p:cNvCxnSpPr>
            <a:cxnSpLocks/>
          </p:cNvCxnSpPr>
          <p:nvPr/>
        </p:nvCxnSpPr>
        <p:spPr>
          <a:xfrm>
            <a:off x="1163934" y="5822404"/>
            <a:ext cx="7531619" cy="0"/>
          </a:xfrm>
          <a:prstGeom prst="line">
            <a:avLst/>
          </a:prstGeom>
          <a:ln>
            <a:solidFill>
              <a:schemeClr val="accent6"/>
            </a:solidFill>
            <a:prstDash val="sysDot"/>
          </a:ln>
        </p:spPr>
        <p:style>
          <a:lnRef idx="1">
            <a:schemeClr val="accent1"/>
          </a:lnRef>
          <a:fillRef idx="0">
            <a:schemeClr val="accent1"/>
          </a:fillRef>
          <a:effectRef idx="0">
            <a:schemeClr val="accent1"/>
          </a:effectRef>
          <a:fontRef idx="minor">
            <a:schemeClr val="tx1"/>
          </a:fontRef>
        </p:style>
      </p:cxnSp>
      <p:cxnSp>
        <p:nvCxnSpPr>
          <p:cNvPr id="79" name="Straight Connector 78">
            <a:extLst>
              <a:ext uri="{FF2B5EF4-FFF2-40B4-BE49-F238E27FC236}">
                <a16:creationId xmlns:a16="http://schemas.microsoft.com/office/drawing/2014/main" id="{B51A0F53-AAF2-4D7E-B0ED-2ACE234EDF2B}"/>
              </a:ext>
            </a:extLst>
          </p:cNvPr>
          <p:cNvCxnSpPr>
            <a:cxnSpLocks/>
          </p:cNvCxnSpPr>
          <p:nvPr/>
        </p:nvCxnSpPr>
        <p:spPr>
          <a:xfrm>
            <a:off x="6131474" y="1003989"/>
            <a:ext cx="0" cy="2253897"/>
          </a:xfrm>
          <a:prstGeom prst="line">
            <a:avLst/>
          </a:prstGeom>
          <a:ln>
            <a:solidFill>
              <a:srgbClr val="7F7F7F"/>
            </a:solidFill>
          </a:ln>
          <a:extLst/>
        </p:spPr>
        <p:style>
          <a:lnRef idx="1">
            <a:schemeClr val="accent1"/>
          </a:lnRef>
          <a:fillRef idx="0">
            <a:schemeClr val="accent1"/>
          </a:fillRef>
          <a:effectRef idx="0">
            <a:schemeClr val="accent1"/>
          </a:effectRef>
          <a:fontRef idx="minor">
            <a:schemeClr val="tx1"/>
          </a:fontRef>
        </p:style>
      </p:cxnSp>
      <p:sp>
        <p:nvSpPr>
          <p:cNvPr id="41" name="TextBox 4">
            <a:extLst>
              <a:ext uri="{FF2B5EF4-FFF2-40B4-BE49-F238E27FC236}">
                <a16:creationId xmlns:a16="http://schemas.microsoft.com/office/drawing/2014/main" id="{6EE7D561-2672-4036-888D-A19F5BF73FC8}"/>
              </a:ext>
            </a:extLst>
          </p:cNvPr>
          <p:cNvSpPr txBox="1">
            <a:spLocks noChangeArrowheads="1"/>
          </p:cNvSpPr>
          <p:nvPr>
            <p:custDataLst>
              <p:tags r:id="rId13"/>
            </p:custDataLst>
          </p:nvPr>
        </p:nvSpPr>
        <p:spPr bwMode="auto">
          <a:xfrm>
            <a:off x="1553384" y="656913"/>
            <a:ext cx="1161097" cy="215444"/>
          </a:xfrm>
          <a:prstGeom prst="rect">
            <a:avLst/>
          </a:prstGeom>
          <a:solidFill>
            <a:schemeClr val="bg1"/>
          </a:solidFill>
          <a:ln w="9525">
            <a:noFill/>
            <a:miter lim="800000"/>
            <a:headEnd/>
            <a:tailEnd/>
          </a:ln>
        </p:spPr>
        <p:txBody>
          <a:bodyPr wrap="square" lIns="0" tIns="0" rIns="0" bIns="0" anchor="ctr">
            <a:spAutoFit/>
          </a:bodyPr>
          <a:lstStyle>
            <a:defPPr>
              <a:defRPr lang="en-US"/>
            </a:defPPr>
            <a:lvl1pPr algn="ctr" defTabSz="913526">
              <a:buClr>
                <a:schemeClr val="tx2"/>
              </a:buClr>
              <a:defRPr sz="1800" i="1">
                <a:latin typeface="Georgia" pitchFamily="18" charset="0"/>
              </a:defRPr>
            </a:lvl1pPr>
          </a:lstStyle>
          <a:p>
            <a:pPr fontAlgn="auto">
              <a:spcBef>
                <a:spcPts val="0"/>
              </a:spcBef>
              <a:spcAft>
                <a:spcPts val="0"/>
              </a:spcAft>
              <a:buClr>
                <a:srgbClr val="01395A"/>
              </a:buClr>
              <a:defRPr/>
            </a:pPr>
            <a:r>
              <a:rPr lang="en-US" altLang="ja-JP" sz="1400" b="1" i="0" kern="0" dirty="0">
                <a:solidFill>
                  <a:schemeClr val="accent4"/>
                </a:solidFill>
                <a:latin typeface="+mn-lt"/>
              </a:rPr>
              <a:t>Assessment </a:t>
            </a:r>
            <a:endParaRPr lang="en-US" sz="1400" b="1" i="0" kern="0" dirty="0">
              <a:solidFill>
                <a:schemeClr val="accent4"/>
              </a:solidFill>
              <a:latin typeface="+mn-lt"/>
            </a:endParaRPr>
          </a:p>
        </p:txBody>
      </p:sp>
      <p:sp>
        <p:nvSpPr>
          <p:cNvPr id="43" name="TextBox 4">
            <a:extLst>
              <a:ext uri="{FF2B5EF4-FFF2-40B4-BE49-F238E27FC236}">
                <a16:creationId xmlns:a16="http://schemas.microsoft.com/office/drawing/2014/main" id="{CEC358D9-7517-4AEE-AD47-E4A780438F7F}"/>
              </a:ext>
            </a:extLst>
          </p:cNvPr>
          <p:cNvSpPr txBox="1">
            <a:spLocks noChangeArrowheads="1"/>
          </p:cNvSpPr>
          <p:nvPr>
            <p:custDataLst>
              <p:tags r:id="rId14"/>
            </p:custDataLst>
          </p:nvPr>
        </p:nvSpPr>
        <p:spPr bwMode="auto">
          <a:xfrm>
            <a:off x="4226493" y="4067259"/>
            <a:ext cx="1078480" cy="215444"/>
          </a:xfrm>
          <a:prstGeom prst="rect">
            <a:avLst/>
          </a:prstGeom>
          <a:solidFill>
            <a:schemeClr val="bg1"/>
          </a:solidFill>
          <a:ln w="9525">
            <a:noFill/>
            <a:miter lim="800000"/>
            <a:headEnd/>
            <a:tailEnd/>
          </a:ln>
        </p:spPr>
        <p:txBody>
          <a:bodyPr wrap="square" lIns="0" tIns="0" rIns="0" bIns="0" anchor="ctr">
            <a:spAutoFit/>
          </a:bodyPr>
          <a:lstStyle>
            <a:defPPr>
              <a:defRPr lang="en-US"/>
            </a:defPPr>
            <a:lvl1pPr algn="ctr" defTabSz="913526">
              <a:buClr>
                <a:schemeClr val="tx2"/>
              </a:buClr>
              <a:defRPr sz="1800" i="1">
                <a:latin typeface="Georgia" pitchFamily="18" charset="0"/>
              </a:defRPr>
            </a:lvl1pPr>
          </a:lstStyle>
          <a:p>
            <a:pPr fontAlgn="auto">
              <a:spcBef>
                <a:spcPts val="0"/>
              </a:spcBef>
              <a:spcAft>
                <a:spcPts val="0"/>
              </a:spcAft>
              <a:buClr>
                <a:srgbClr val="01395A"/>
              </a:buClr>
              <a:defRPr/>
            </a:pPr>
            <a:r>
              <a:rPr lang="en-US" altLang="ja-JP" sz="1400" b="1" i="0" kern="0" dirty="0">
                <a:solidFill>
                  <a:schemeClr val="accent4"/>
                </a:solidFill>
                <a:latin typeface="+mn-lt"/>
              </a:rPr>
              <a:t>Enablers</a:t>
            </a:r>
            <a:endParaRPr lang="en-US" sz="1400" b="1" i="0" kern="0" dirty="0">
              <a:solidFill>
                <a:schemeClr val="accent4"/>
              </a:solidFill>
              <a:latin typeface="+mn-lt"/>
            </a:endParaRPr>
          </a:p>
        </p:txBody>
      </p:sp>
      <p:sp>
        <p:nvSpPr>
          <p:cNvPr id="4" name="Isosceles Triangle 3">
            <a:extLst>
              <a:ext uri="{FF2B5EF4-FFF2-40B4-BE49-F238E27FC236}">
                <a16:creationId xmlns:a16="http://schemas.microsoft.com/office/drawing/2014/main" id="{9550673F-A108-409F-B54F-BDEB26B6A239}"/>
              </a:ext>
            </a:extLst>
          </p:cNvPr>
          <p:cNvSpPr/>
          <p:nvPr/>
        </p:nvSpPr>
        <p:spPr>
          <a:xfrm>
            <a:off x="3411122" y="3431767"/>
            <a:ext cx="166583" cy="148498"/>
          </a:xfrm>
          <a:prstGeom prst="triangle">
            <a:avLst/>
          </a:prstGeom>
          <a:solidFill>
            <a:schemeClr val="accent4"/>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dirty="0" err="1">
              <a:solidFill>
                <a:schemeClr val="tx1"/>
              </a:solidFill>
            </a:endParaRPr>
          </a:p>
        </p:txBody>
      </p:sp>
      <p:sp>
        <p:nvSpPr>
          <p:cNvPr id="46" name="TextBox 4">
            <a:extLst>
              <a:ext uri="{FF2B5EF4-FFF2-40B4-BE49-F238E27FC236}">
                <a16:creationId xmlns:a16="http://schemas.microsoft.com/office/drawing/2014/main" id="{6C57684F-2DEA-40AC-B4F0-450553033614}"/>
              </a:ext>
            </a:extLst>
          </p:cNvPr>
          <p:cNvSpPr txBox="1">
            <a:spLocks noChangeArrowheads="1"/>
          </p:cNvSpPr>
          <p:nvPr>
            <p:custDataLst>
              <p:tags r:id="rId15"/>
            </p:custDataLst>
          </p:nvPr>
        </p:nvSpPr>
        <p:spPr bwMode="auto">
          <a:xfrm>
            <a:off x="2047409" y="3581986"/>
            <a:ext cx="2911855" cy="430887"/>
          </a:xfrm>
          <a:prstGeom prst="rect">
            <a:avLst/>
          </a:prstGeom>
          <a:noFill/>
          <a:ln w="9525">
            <a:noFill/>
            <a:miter lim="800000"/>
            <a:headEnd/>
            <a:tailEnd/>
          </a:ln>
        </p:spPr>
        <p:txBody>
          <a:bodyPr wrap="square" lIns="0" tIns="0" rIns="0" bIns="0" anchor="ctr">
            <a:spAutoFit/>
          </a:bodyPr>
          <a:lstStyle>
            <a:defPPr>
              <a:defRPr lang="en-US"/>
            </a:defPPr>
            <a:lvl1pPr algn="ctr" defTabSz="913526">
              <a:buClr>
                <a:schemeClr val="tx2"/>
              </a:buClr>
              <a:defRPr sz="1800" i="1">
                <a:latin typeface="Georgia" pitchFamily="18" charset="0"/>
              </a:defRPr>
            </a:lvl1pPr>
          </a:lstStyle>
          <a:p>
            <a:pPr fontAlgn="auto">
              <a:spcBef>
                <a:spcPts val="0"/>
              </a:spcBef>
              <a:spcAft>
                <a:spcPts val="0"/>
              </a:spcAft>
              <a:buClr>
                <a:srgbClr val="01395A"/>
              </a:buClr>
              <a:defRPr/>
            </a:pPr>
            <a:r>
              <a:rPr lang="en-US" altLang="ja-JP" sz="1400" b="1" i="0" kern="0" dirty="0">
                <a:solidFill>
                  <a:schemeClr val="accent4"/>
                </a:solidFill>
                <a:latin typeface="+mn-lt"/>
              </a:rPr>
              <a:t>Comprehensive understanding </a:t>
            </a:r>
            <a:br>
              <a:rPr lang="en-US" altLang="ja-JP" sz="1400" b="1" i="0" kern="0" dirty="0">
                <a:solidFill>
                  <a:schemeClr val="accent4"/>
                </a:solidFill>
                <a:latin typeface="+mn-lt"/>
              </a:rPr>
            </a:br>
            <a:r>
              <a:rPr lang="en-US" altLang="ja-JP" sz="1400" b="1" i="0" kern="0" dirty="0">
                <a:solidFill>
                  <a:schemeClr val="accent4"/>
                </a:solidFill>
                <a:latin typeface="+mn-lt"/>
              </a:rPr>
              <a:t>of the opportunity</a:t>
            </a:r>
          </a:p>
        </p:txBody>
      </p:sp>
      <p:sp>
        <p:nvSpPr>
          <p:cNvPr id="53" name="Isosceles Triangle 52">
            <a:extLst>
              <a:ext uri="{FF2B5EF4-FFF2-40B4-BE49-F238E27FC236}">
                <a16:creationId xmlns:a16="http://schemas.microsoft.com/office/drawing/2014/main" id="{2BF4B08A-941A-4134-9B40-8655A1FF352A}"/>
              </a:ext>
            </a:extLst>
          </p:cNvPr>
          <p:cNvSpPr/>
          <p:nvPr/>
        </p:nvSpPr>
        <p:spPr>
          <a:xfrm>
            <a:off x="6048183" y="3431767"/>
            <a:ext cx="166583" cy="148498"/>
          </a:xfrm>
          <a:prstGeom prst="triangle">
            <a:avLst/>
          </a:prstGeom>
          <a:solidFill>
            <a:schemeClr val="accent4"/>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dirty="0" err="1">
              <a:solidFill>
                <a:schemeClr val="tx1"/>
              </a:solidFill>
            </a:endParaRPr>
          </a:p>
        </p:txBody>
      </p:sp>
      <p:sp>
        <p:nvSpPr>
          <p:cNvPr id="55" name="TextBox 4">
            <a:extLst>
              <a:ext uri="{FF2B5EF4-FFF2-40B4-BE49-F238E27FC236}">
                <a16:creationId xmlns:a16="http://schemas.microsoft.com/office/drawing/2014/main" id="{D9480D41-1AB8-44DB-99FD-1933D27BD60C}"/>
              </a:ext>
            </a:extLst>
          </p:cNvPr>
          <p:cNvSpPr txBox="1">
            <a:spLocks noChangeArrowheads="1"/>
          </p:cNvSpPr>
          <p:nvPr>
            <p:custDataLst>
              <p:tags r:id="rId16"/>
            </p:custDataLst>
          </p:nvPr>
        </p:nvSpPr>
        <p:spPr bwMode="auto">
          <a:xfrm>
            <a:off x="5195187" y="3575282"/>
            <a:ext cx="2100637" cy="646331"/>
          </a:xfrm>
          <a:prstGeom prst="rect">
            <a:avLst/>
          </a:prstGeom>
          <a:noFill/>
          <a:ln w="9525">
            <a:noFill/>
            <a:miter lim="800000"/>
            <a:headEnd/>
            <a:tailEnd/>
          </a:ln>
        </p:spPr>
        <p:txBody>
          <a:bodyPr wrap="square" lIns="0" tIns="0" rIns="0" bIns="0" anchor="ctr">
            <a:spAutoFit/>
          </a:bodyPr>
          <a:lstStyle>
            <a:defPPr>
              <a:defRPr lang="en-US"/>
            </a:defPPr>
            <a:lvl1pPr algn="ctr" defTabSz="913526">
              <a:buClr>
                <a:schemeClr val="tx2"/>
              </a:buClr>
              <a:defRPr sz="1800" i="1">
                <a:latin typeface="Georgia" pitchFamily="18" charset="0"/>
              </a:defRPr>
            </a:lvl1pPr>
          </a:lstStyle>
          <a:p>
            <a:pPr fontAlgn="auto">
              <a:spcBef>
                <a:spcPts val="0"/>
              </a:spcBef>
              <a:spcAft>
                <a:spcPts val="0"/>
              </a:spcAft>
              <a:buClr>
                <a:srgbClr val="01395A"/>
              </a:buClr>
              <a:defRPr/>
            </a:pPr>
            <a:r>
              <a:rPr lang="en-US" altLang="ja-JP" sz="1400" b="1" i="0" kern="0" dirty="0">
                <a:solidFill>
                  <a:schemeClr val="accent4"/>
                </a:solidFill>
                <a:latin typeface="+mn-lt"/>
              </a:rPr>
              <a:t>The “Bankable Plan” – a </a:t>
            </a:r>
            <a:br>
              <a:rPr lang="en-US" altLang="ja-JP" sz="1400" b="1" i="0" kern="0" dirty="0">
                <a:solidFill>
                  <a:schemeClr val="accent4"/>
                </a:solidFill>
                <a:latin typeface="+mn-lt"/>
              </a:rPr>
            </a:br>
            <a:r>
              <a:rPr lang="en-US" altLang="ja-JP" sz="1400" b="1" i="0" kern="0" dirty="0">
                <a:solidFill>
                  <a:schemeClr val="accent4"/>
                </a:solidFill>
                <a:latin typeface="+mn-lt"/>
              </a:rPr>
              <a:t>fully integrated set of weekly deliverables</a:t>
            </a:r>
          </a:p>
        </p:txBody>
      </p:sp>
      <p:sp>
        <p:nvSpPr>
          <p:cNvPr id="6" name="TextBox 5">
            <a:extLst>
              <a:ext uri="{FF2B5EF4-FFF2-40B4-BE49-F238E27FC236}">
                <a16:creationId xmlns:a16="http://schemas.microsoft.com/office/drawing/2014/main" id="{22CC1769-2517-41DA-B71B-BBE9E90B8D60}"/>
              </a:ext>
            </a:extLst>
          </p:cNvPr>
          <p:cNvSpPr txBox="1"/>
          <p:nvPr/>
        </p:nvSpPr>
        <p:spPr>
          <a:xfrm>
            <a:off x="6245505" y="1512834"/>
            <a:ext cx="2440743" cy="1308050"/>
          </a:xfrm>
          <a:prstGeom prst="rect">
            <a:avLst/>
          </a:prstGeom>
        </p:spPr>
        <p:txBody>
          <a:bodyPr vert="horz" wrap="square" lIns="0" tIns="0" rIns="0" bIns="0" rtlCol="0" anchor="t" anchorCtr="0">
            <a:sp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spcBef>
                <a:spcPts val="600"/>
              </a:spcBef>
            </a:pPr>
            <a:r>
              <a:rPr lang="en-US" dirty="0"/>
              <a:t>Driving a </a:t>
            </a:r>
            <a:r>
              <a:rPr lang="en-US" b="1" dirty="0">
                <a:solidFill>
                  <a:schemeClr val="accent4"/>
                </a:solidFill>
              </a:rPr>
              <a:t>full-scale effort </a:t>
            </a:r>
            <a:r>
              <a:rPr lang="en-US" dirty="0"/>
              <a:t>to </a:t>
            </a:r>
          </a:p>
          <a:p>
            <a:pPr lvl="1">
              <a:spcBef>
                <a:spcPts val="600"/>
              </a:spcBef>
            </a:pPr>
            <a:r>
              <a:rPr lang="en-US" dirty="0"/>
              <a:t>Drive </a:t>
            </a:r>
            <a:r>
              <a:rPr lang="en-US" b="1" dirty="0">
                <a:solidFill>
                  <a:schemeClr val="accent4"/>
                </a:solidFill>
              </a:rPr>
              <a:t>financial impact</a:t>
            </a:r>
          </a:p>
          <a:p>
            <a:pPr lvl="1">
              <a:spcBef>
                <a:spcPts val="600"/>
              </a:spcBef>
            </a:pPr>
            <a:r>
              <a:rPr lang="en-US" dirty="0"/>
              <a:t>Sustainably </a:t>
            </a:r>
            <a:r>
              <a:rPr lang="en-US" b="1" dirty="0">
                <a:solidFill>
                  <a:schemeClr val="accent4"/>
                </a:solidFill>
              </a:rPr>
              <a:t>change the way of working </a:t>
            </a:r>
          </a:p>
          <a:p>
            <a:pPr lvl="1">
              <a:spcBef>
                <a:spcPts val="600"/>
              </a:spcBef>
            </a:pPr>
            <a:r>
              <a:rPr lang="en-US" dirty="0"/>
              <a:t>Build an </a:t>
            </a:r>
            <a:r>
              <a:rPr lang="en-US" b="1" dirty="0">
                <a:solidFill>
                  <a:schemeClr val="accent4"/>
                </a:solidFill>
              </a:rPr>
              <a:t>execution culture</a:t>
            </a:r>
          </a:p>
        </p:txBody>
      </p:sp>
      <p:sp>
        <p:nvSpPr>
          <p:cNvPr id="56" name="TextBox 55">
            <a:extLst>
              <a:ext uri="{FF2B5EF4-FFF2-40B4-BE49-F238E27FC236}">
                <a16:creationId xmlns:a16="http://schemas.microsoft.com/office/drawing/2014/main" id="{912F3586-FEC4-4ADC-A407-81F13B3E5AD7}"/>
              </a:ext>
            </a:extLst>
          </p:cNvPr>
          <p:cNvSpPr txBox="1">
            <a:spLocks/>
          </p:cNvSpPr>
          <p:nvPr/>
        </p:nvSpPr>
        <p:spPr>
          <a:xfrm>
            <a:off x="2497228" y="5360499"/>
            <a:ext cx="736504" cy="215444"/>
          </a:xfrm>
          <a:prstGeom prst="rect">
            <a:avLst/>
          </a:prstGeom>
        </p:spPr>
        <p:txBody>
          <a:bodyPr vert="horz" wrap="square" lIns="0" tIns="0" rIns="0" bIns="0" rtlCol="0">
            <a:spAutoFit/>
          </a:bodyPr>
          <a:lstStyle>
            <a:lvl1pPr marL="0" lvl="0" indent="0" defTabSz="1193860" eaLnBrk="1" latinLnBrk="0" hangingPunct="1">
              <a:spcBef>
                <a:spcPts val="600"/>
              </a:spcBef>
              <a:spcAft>
                <a:spcPts val="600"/>
              </a:spcAft>
              <a:buClr>
                <a:schemeClr val="tx2"/>
              </a:buClr>
              <a:buSzPct val="100000"/>
              <a:defRPr lang="x-none" b="1" baseline="0">
                <a:solidFill>
                  <a:schemeClr val="accent2"/>
                </a:solidFill>
                <a:latin typeface="+mn-lt"/>
              </a:defRPr>
            </a:lvl1pPr>
            <a:lvl2pPr marL="2116" lvl="1" indent="0" defTabSz="1193860" eaLnBrk="1" latinLnBrk="0" hangingPunct="1">
              <a:spcBef>
                <a:spcPts val="600"/>
              </a:spcBef>
              <a:spcAft>
                <a:spcPts val="600"/>
              </a:spcAft>
              <a:buClr>
                <a:schemeClr val="tx2"/>
              </a:buClr>
              <a:buSzPct val="125000"/>
              <a:buFontTx/>
              <a:buNone/>
              <a:defRPr lang="x-none" b="0" baseline="0">
                <a:solidFill>
                  <a:schemeClr val="accent6"/>
                </a:solidFill>
                <a:latin typeface="+mn-lt"/>
              </a:defRPr>
            </a:lvl2pPr>
            <a:lvl3pPr marL="168275" lvl="2" indent="-168275" defTabSz="1193860" eaLnBrk="1" latinLnBrk="0" hangingPunct="1">
              <a:spcAft>
                <a:spcPts val="600"/>
              </a:spcAft>
              <a:buClr>
                <a:schemeClr val="accent6"/>
              </a:buClr>
              <a:buSzPct val="100000"/>
              <a:buFont typeface="Wingdings" panose="05000000000000000000" pitchFamily="2" charset="2"/>
              <a:buChar char="§"/>
              <a:defRPr lang="x-none" baseline="0">
                <a:solidFill>
                  <a:schemeClr val="accent6"/>
                </a:solidFill>
                <a:latin typeface="+mn-lt"/>
              </a:defRPr>
            </a:lvl3pPr>
            <a:lvl4pPr marL="350838" lvl="3" indent="-182563" defTabSz="1193860" eaLnBrk="1" latinLnBrk="0" hangingPunct="1">
              <a:spcAft>
                <a:spcPts val="600"/>
              </a:spcAft>
              <a:buClr>
                <a:schemeClr val="accent6"/>
              </a:buClr>
              <a:buSzPct val="100000"/>
              <a:buFont typeface="Arial" panose="020B0604020202020204" pitchFamily="34" charset="0"/>
              <a:buChar char="•"/>
              <a:defRPr lang="x-none" baseline="0">
                <a:solidFill>
                  <a:schemeClr val="accent6"/>
                </a:solidFill>
                <a:latin typeface="+mn-lt"/>
              </a:defRPr>
            </a:lvl4pPr>
            <a:lvl5pPr marL="579438" lvl="4" indent="-228600" defTabSz="1193860" eaLnBrk="1" latinLnBrk="0" hangingPunct="1">
              <a:spcAft>
                <a:spcPts val="600"/>
              </a:spcAft>
              <a:buClr>
                <a:schemeClr val="accent6"/>
              </a:buClr>
              <a:buSzPct val="100000"/>
              <a:buFont typeface="Times New Roman" panose="02020603050405020304" pitchFamily="18" charset="0"/>
              <a:buChar char="─"/>
              <a:defRPr lang="x-none" baseline="0">
                <a:solidFill>
                  <a:schemeClr val="accent6"/>
                </a:solidFill>
                <a:latin typeface="+mn-lt"/>
              </a:defRPr>
            </a:lvl5pPr>
            <a:lvl6pPr marL="999794" indent="-173575" defTabSz="1193860" fontAlgn="base">
              <a:spcBef>
                <a:spcPct val="0"/>
              </a:spcBef>
              <a:spcAft>
                <a:spcPct val="0"/>
              </a:spcAft>
              <a:buClr>
                <a:schemeClr val="tx2"/>
              </a:buClr>
              <a:buSzPct val="89000"/>
              <a:buFont typeface="Arial" charset="0"/>
              <a:buChar char="-"/>
              <a:defRPr lang="x-none" sz="2133" baseline="0">
                <a:latin typeface="+mn-lt"/>
              </a:defRPr>
            </a:lvl6pPr>
            <a:lvl7pPr marL="999794" indent="-173575" defTabSz="1193860" fontAlgn="base">
              <a:spcBef>
                <a:spcPct val="0"/>
              </a:spcBef>
              <a:spcAft>
                <a:spcPct val="0"/>
              </a:spcAft>
              <a:buClr>
                <a:schemeClr val="tx2"/>
              </a:buClr>
              <a:buSzPct val="89000"/>
              <a:buFont typeface="Arial" charset="0"/>
              <a:buChar char="-"/>
              <a:defRPr lang="x-none" sz="2133" baseline="0">
                <a:latin typeface="+mn-lt"/>
              </a:defRPr>
            </a:lvl7pPr>
            <a:lvl8pPr marL="999794" indent="-173575" defTabSz="1193860" fontAlgn="base">
              <a:spcBef>
                <a:spcPct val="0"/>
              </a:spcBef>
              <a:spcAft>
                <a:spcPct val="0"/>
              </a:spcAft>
              <a:buClr>
                <a:schemeClr val="tx2"/>
              </a:buClr>
              <a:buSzPct val="89000"/>
              <a:buFont typeface="Arial" charset="0"/>
              <a:buChar char="-"/>
              <a:defRPr lang="x-none" sz="2133" baseline="0">
                <a:latin typeface="+mn-lt"/>
              </a:defRPr>
            </a:lvl8pPr>
            <a:lvl9pPr marL="999794" indent="-173575" defTabSz="1193860" fontAlgn="base">
              <a:spcBef>
                <a:spcPct val="0"/>
              </a:spcBef>
              <a:spcAft>
                <a:spcPct val="0"/>
              </a:spcAft>
              <a:buClr>
                <a:schemeClr val="tx2"/>
              </a:buClr>
              <a:buSzPct val="89000"/>
              <a:buFont typeface="Arial" charset="0"/>
              <a:buChar char="-"/>
              <a:defRPr lang="x-none" sz="2133" baseline="0">
                <a:latin typeface="+mn-lt"/>
              </a:defRPr>
            </a:lvl9pPr>
          </a:lstStyle>
          <a:p>
            <a:pPr algn="ctr" defTabSz="895395" fontAlgn="auto">
              <a:spcBef>
                <a:spcPts val="450"/>
              </a:spcBef>
              <a:spcAft>
                <a:spcPts val="450"/>
              </a:spcAft>
              <a:buClr>
                <a:srgbClr val="001E96"/>
              </a:buClr>
              <a:defRPr/>
            </a:pPr>
            <a:r>
              <a:rPr lang="en-US" sz="1400" b="0" i="1" kern="0" dirty="0">
                <a:solidFill>
                  <a:srgbClr val="000000"/>
                </a:solidFill>
              </a:rPr>
              <a:t>Bones</a:t>
            </a:r>
          </a:p>
        </p:txBody>
      </p:sp>
      <p:sp>
        <p:nvSpPr>
          <p:cNvPr id="61" name="TextBox 60">
            <a:extLst>
              <a:ext uri="{FF2B5EF4-FFF2-40B4-BE49-F238E27FC236}">
                <a16:creationId xmlns:a16="http://schemas.microsoft.com/office/drawing/2014/main" id="{95F915EF-00E3-473A-8DF4-6B4D974730CF}"/>
              </a:ext>
            </a:extLst>
          </p:cNvPr>
          <p:cNvSpPr txBox="1">
            <a:spLocks/>
          </p:cNvSpPr>
          <p:nvPr/>
        </p:nvSpPr>
        <p:spPr>
          <a:xfrm>
            <a:off x="2497228" y="4754008"/>
            <a:ext cx="736504" cy="215444"/>
          </a:xfrm>
          <a:prstGeom prst="rect">
            <a:avLst/>
          </a:prstGeom>
        </p:spPr>
        <p:txBody>
          <a:bodyPr vert="horz" wrap="square" lIns="0" tIns="0" rIns="0" bIns="0" rtlCol="0">
            <a:spAutoFit/>
          </a:bodyPr>
          <a:lstStyle>
            <a:lvl1pPr marL="0" lvl="0" indent="0" defTabSz="1193860" eaLnBrk="1" latinLnBrk="0" hangingPunct="1">
              <a:spcBef>
                <a:spcPts val="600"/>
              </a:spcBef>
              <a:spcAft>
                <a:spcPts val="600"/>
              </a:spcAft>
              <a:buClr>
                <a:schemeClr val="tx2"/>
              </a:buClr>
              <a:buSzPct val="100000"/>
              <a:defRPr lang="x-none" b="1" baseline="0">
                <a:solidFill>
                  <a:schemeClr val="accent2"/>
                </a:solidFill>
                <a:latin typeface="+mn-lt"/>
              </a:defRPr>
            </a:lvl1pPr>
            <a:lvl2pPr marL="2116" lvl="1" indent="0" defTabSz="1193860" eaLnBrk="1" latinLnBrk="0" hangingPunct="1">
              <a:spcBef>
                <a:spcPts val="600"/>
              </a:spcBef>
              <a:spcAft>
                <a:spcPts val="600"/>
              </a:spcAft>
              <a:buClr>
                <a:schemeClr val="tx2"/>
              </a:buClr>
              <a:buSzPct val="125000"/>
              <a:buFontTx/>
              <a:buNone/>
              <a:defRPr lang="x-none" b="0" baseline="0">
                <a:solidFill>
                  <a:schemeClr val="accent6"/>
                </a:solidFill>
                <a:latin typeface="+mn-lt"/>
              </a:defRPr>
            </a:lvl2pPr>
            <a:lvl3pPr marL="168275" lvl="2" indent="-168275" defTabSz="1193860" eaLnBrk="1" latinLnBrk="0" hangingPunct="1">
              <a:spcAft>
                <a:spcPts val="600"/>
              </a:spcAft>
              <a:buClr>
                <a:schemeClr val="accent6"/>
              </a:buClr>
              <a:buSzPct val="100000"/>
              <a:buFont typeface="Wingdings" panose="05000000000000000000" pitchFamily="2" charset="2"/>
              <a:buChar char="§"/>
              <a:defRPr lang="x-none" baseline="0">
                <a:solidFill>
                  <a:schemeClr val="accent6"/>
                </a:solidFill>
                <a:latin typeface="+mn-lt"/>
              </a:defRPr>
            </a:lvl3pPr>
            <a:lvl4pPr marL="350838" lvl="3" indent="-182563" defTabSz="1193860" eaLnBrk="1" latinLnBrk="0" hangingPunct="1">
              <a:spcAft>
                <a:spcPts val="600"/>
              </a:spcAft>
              <a:buClr>
                <a:schemeClr val="accent6"/>
              </a:buClr>
              <a:buSzPct val="100000"/>
              <a:buFont typeface="Arial" panose="020B0604020202020204" pitchFamily="34" charset="0"/>
              <a:buChar char="•"/>
              <a:defRPr lang="x-none" baseline="0">
                <a:solidFill>
                  <a:schemeClr val="accent6"/>
                </a:solidFill>
                <a:latin typeface="+mn-lt"/>
              </a:defRPr>
            </a:lvl4pPr>
            <a:lvl5pPr marL="579438" lvl="4" indent="-228600" defTabSz="1193860" eaLnBrk="1" latinLnBrk="0" hangingPunct="1">
              <a:spcAft>
                <a:spcPts val="600"/>
              </a:spcAft>
              <a:buClr>
                <a:schemeClr val="accent6"/>
              </a:buClr>
              <a:buSzPct val="100000"/>
              <a:buFont typeface="Times New Roman" panose="02020603050405020304" pitchFamily="18" charset="0"/>
              <a:buChar char="─"/>
              <a:defRPr lang="x-none" baseline="0">
                <a:solidFill>
                  <a:schemeClr val="accent6"/>
                </a:solidFill>
                <a:latin typeface="+mn-lt"/>
              </a:defRPr>
            </a:lvl5pPr>
            <a:lvl6pPr marL="999794" indent="-173575" defTabSz="1193860" fontAlgn="base">
              <a:spcBef>
                <a:spcPct val="0"/>
              </a:spcBef>
              <a:spcAft>
                <a:spcPct val="0"/>
              </a:spcAft>
              <a:buClr>
                <a:schemeClr val="tx2"/>
              </a:buClr>
              <a:buSzPct val="89000"/>
              <a:buFont typeface="Arial" charset="0"/>
              <a:buChar char="-"/>
              <a:defRPr lang="x-none" sz="2133" baseline="0">
                <a:latin typeface="+mn-lt"/>
              </a:defRPr>
            </a:lvl6pPr>
            <a:lvl7pPr marL="999794" indent="-173575" defTabSz="1193860" fontAlgn="base">
              <a:spcBef>
                <a:spcPct val="0"/>
              </a:spcBef>
              <a:spcAft>
                <a:spcPct val="0"/>
              </a:spcAft>
              <a:buClr>
                <a:schemeClr val="tx2"/>
              </a:buClr>
              <a:buSzPct val="89000"/>
              <a:buFont typeface="Arial" charset="0"/>
              <a:buChar char="-"/>
              <a:defRPr lang="x-none" sz="2133" baseline="0">
                <a:latin typeface="+mn-lt"/>
              </a:defRPr>
            </a:lvl7pPr>
            <a:lvl8pPr marL="999794" indent="-173575" defTabSz="1193860" fontAlgn="base">
              <a:spcBef>
                <a:spcPct val="0"/>
              </a:spcBef>
              <a:spcAft>
                <a:spcPct val="0"/>
              </a:spcAft>
              <a:buClr>
                <a:schemeClr val="tx2"/>
              </a:buClr>
              <a:buSzPct val="89000"/>
              <a:buFont typeface="Arial" charset="0"/>
              <a:buChar char="-"/>
              <a:defRPr lang="x-none" sz="2133" baseline="0">
                <a:latin typeface="+mn-lt"/>
              </a:defRPr>
            </a:lvl8pPr>
            <a:lvl9pPr marL="999794" indent="-173575" defTabSz="1193860" fontAlgn="base">
              <a:spcBef>
                <a:spcPct val="0"/>
              </a:spcBef>
              <a:spcAft>
                <a:spcPct val="0"/>
              </a:spcAft>
              <a:buClr>
                <a:schemeClr val="tx2"/>
              </a:buClr>
              <a:buSzPct val="89000"/>
              <a:buFont typeface="Arial" charset="0"/>
              <a:buChar char="-"/>
              <a:defRPr lang="x-none" sz="2133" baseline="0">
                <a:latin typeface="+mn-lt"/>
              </a:defRPr>
            </a:lvl9pPr>
          </a:lstStyle>
          <a:p>
            <a:pPr algn="ctr" defTabSz="895395" fontAlgn="auto">
              <a:spcBef>
                <a:spcPts val="450"/>
              </a:spcBef>
              <a:spcAft>
                <a:spcPts val="450"/>
              </a:spcAft>
              <a:buClr>
                <a:srgbClr val="001E96"/>
              </a:buClr>
              <a:defRPr/>
            </a:pPr>
            <a:r>
              <a:rPr lang="en-US" sz="1400" b="0" i="1" kern="0" dirty="0">
                <a:solidFill>
                  <a:srgbClr val="000000"/>
                </a:solidFill>
              </a:rPr>
              <a:t>Heart</a:t>
            </a:r>
          </a:p>
        </p:txBody>
      </p:sp>
      <p:sp>
        <p:nvSpPr>
          <p:cNvPr id="65" name="TextBox 64">
            <a:extLst>
              <a:ext uri="{FF2B5EF4-FFF2-40B4-BE49-F238E27FC236}">
                <a16:creationId xmlns:a16="http://schemas.microsoft.com/office/drawing/2014/main" id="{2E2E0CBD-9AE2-48E2-AC8B-8B9D7F11D25A}"/>
              </a:ext>
            </a:extLst>
          </p:cNvPr>
          <p:cNvSpPr txBox="1">
            <a:spLocks/>
          </p:cNvSpPr>
          <p:nvPr/>
        </p:nvSpPr>
        <p:spPr>
          <a:xfrm>
            <a:off x="2497228" y="5960708"/>
            <a:ext cx="736504" cy="215444"/>
          </a:xfrm>
          <a:prstGeom prst="rect">
            <a:avLst/>
          </a:prstGeom>
        </p:spPr>
        <p:txBody>
          <a:bodyPr vert="horz" wrap="square" lIns="0" tIns="0" rIns="0" bIns="0" rtlCol="0">
            <a:spAutoFit/>
          </a:bodyPr>
          <a:lstStyle>
            <a:lvl1pPr marL="0" lvl="0" indent="0" defTabSz="1193860" eaLnBrk="1" latinLnBrk="0" hangingPunct="1">
              <a:spcBef>
                <a:spcPts val="600"/>
              </a:spcBef>
              <a:spcAft>
                <a:spcPts val="600"/>
              </a:spcAft>
              <a:buClr>
                <a:schemeClr val="tx2"/>
              </a:buClr>
              <a:buSzPct val="100000"/>
              <a:defRPr lang="x-none" b="1" baseline="0">
                <a:solidFill>
                  <a:schemeClr val="accent2"/>
                </a:solidFill>
                <a:latin typeface="+mn-lt"/>
              </a:defRPr>
            </a:lvl1pPr>
            <a:lvl2pPr marL="2116" lvl="1" indent="0" defTabSz="1193860" eaLnBrk="1" latinLnBrk="0" hangingPunct="1">
              <a:spcBef>
                <a:spcPts val="600"/>
              </a:spcBef>
              <a:spcAft>
                <a:spcPts val="600"/>
              </a:spcAft>
              <a:buClr>
                <a:schemeClr val="tx2"/>
              </a:buClr>
              <a:buSzPct val="125000"/>
              <a:buFontTx/>
              <a:buNone/>
              <a:defRPr lang="x-none" b="0" baseline="0">
                <a:solidFill>
                  <a:schemeClr val="accent6"/>
                </a:solidFill>
                <a:latin typeface="+mn-lt"/>
              </a:defRPr>
            </a:lvl2pPr>
            <a:lvl3pPr marL="168275" lvl="2" indent="-168275" defTabSz="1193860" eaLnBrk="1" latinLnBrk="0" hangingPunct="1">
              <a:spcAft>
                <a:spcPts val="600"/>
              </a:spcAft>
              <a:buClr>
                <a:schemeClr val="accent6"/>
              </a:buClr>
              <a:buSzPct val="100000"/>
              <a:buFont typeface="Wingdings" panose="05000000000000000000" pitchFamily="2" charset="2"/>
              <a:buChar char="§"/>
              <a:defRPr lang="x-none" baseline="0">
                <a:solidFill>
                  <a:schemeClr val="accent6"/>
                </a:solidFill>
                <a:latin typeface="+mn-lt"/>
              </a:defRPr>
            </a:lvl3pPr>
            <a:lvl4pPr marL="350838" lvl="3" indent="-182563" defTabSz="1193860" eaLnBrk="1" latinLnBrk="0" hangingPunct="1">
              <a:spcAft>
                <a:spcPts val="600"/>
              </a:spcAft>
              <a:buClr>
                <a:schemeClr val="accent6"/>
              </a:buClr>
              <a:buSzPct val="100000"/>
              <a:buFont typeface="Arial" panose="020B0604020202020204" pitchFamily="34" charset="0"/>
              <a:buChar char="•"/>
              <a:defRPr lang="x-none" baseline="0">
                <a:solidFill>
                  <a:schemeClr val="accent6"/>
                </a:solidFill>
                <a:latin typeface="+mn-lt"/>
              </a:defRPr>
            </a:lvl4pPr>
            <a:lvl5pPr marL="579438" lvl="4" indent="-228600" defTabSz="1193860" eaLnBrk="1" latinLnBrk="0" hangingPunct="1">
              <a:spcAft>
                <a:spcPts val="600"/>
              </a:spcAft>
              <a:buClr>
                <a:schemeClr val="accent6"/>
              </a:buClr>
              <a:buSzPct val="100000"/>
              <a:buFont typeface="Times New Roman" panose="02020603050405020304" pitchFamily="18" charset="0"/>
              <a:buChar char="─"/>
              <a:defRPr lang="x-none" baseline="0">
                <a:solidFill>
                  <a:schemeClr val="accent6"/>
                </a:solidFill>
                <a:latin typeface="+mn-lt"/>
              </a:defRPr>
            </a:lvl5pPr>
            <a:lvl6pPr marL="999794" indent="-173575" defTabSz="1193860" fontAlgn="base">
              <a:spcBef>
                <a:spcPct val="0"/>
              </a:spcBef>
              <a:spcAft>
                <a:spcPct val="0"/>
              </a:spcAft>
              <a:buClr>
                <a:schemeClr val="tx2"/>
              </a:buClr>
              <a:buSzPct val="89000"/>
              <a:buFont typeface="Arial" charset="0"/>
              <a:buChar char="-"/>
              <a:defRPr lang="x-none" sz="2133" baseline="0">
                <a:latin typeface="+mn-lt"/>
              </a:defRPr>
            </a:lvl6pPr>
            <a:lvl7pPr marL="999794" indent="-173575" defTabSz="1193860" fontAlgn="base">
              <a:spcBef>
                <a:spcPct val="0"/>
              </a:spcBef>
              <a:spcAft>
                <a:spcPct val="0"/>
              </a:spcAft>
              <a:buClr>
                <a:schemeClr val="tx2"/>
              </a:buClr>
              <a:buSzPct val="89000"/>
              <a:buFont typeface="Arial" charset="0"/>
              <a:buChar char="-"/>
              <a:defRPr lang="x-none" sz="2133" baseline="0">
                <a:latin typeface="+mn-lt"/>
              </a:defRPr>
            </a:lvl7pPr>
            <a:lvl8pPr marL="999794" indent="-173575" defTabSz="1193860" fontAlgn="base">
              <a:spcBef>
                <a:spcPct val="0"/>
              </a:spcBef>
              <a:spcAft>
                <a:spcPct val="0"/>
              </a:spcAft>
              <a:buClr>
                <a:schemeClr val="tx2"/>
              </a:buClr>
              <a:buSzPct val="89000"/>
              <a:buFont typeface="Arial" charset="0"/>
              <a:buChar char="-"/>
              <a:defRPr lang="x-none" sz="2133" baseline="0">
                <a:latin typeface="+mn-lt"/>
              </a:defRPr>
            </a:lvl8pPr>
            <a:lvl9pPr marL="999794" indent="-173575" defTabSz="1193860" fontAlgn="base">
              <a:spcBef>
                <a:spcPct val="0"/>
              </a:spcBef>
              <a:spcAft>
                <a:spcPct val="0"/>
              </a:spcAft>
              <a:buClr>
                <a:schemeClr val="tx2"/>
              </a:buClr>
              <a:buSzPct val="89000"/>
              <a:buFont typeface="Arial" charset="0"/>
              <a:buChar char="-"/>
              <a:defRPr lang="x-none" sz="2133" baseline="0">
                <a:latin typeface="+mn-lt"/>
              </a:defRPr>
            </a:lvl9pPr>
          </a:lstStyle>
          <a:p>
            <a:pPr algn="ctr" defTabSz="895395" fontAlgn="auto">
              <a:spcBef>
                <a:spcPts val="450"/>
              </a:spcBef>
              <a:spcAft>
                <a:spcPts val="450"/>
              </a:spcAft>
              <a:buClr>
                <a:srgbClr val="001E96"/>
              </a:buClr>
              <a:defRPr/>
            </a:pPr>
            <a:r>
              <a:rPr lang="en-US" sz="1400" b="0" i="1" kern="0" dirty="0">
                <a:solidFill>
                  <a:srgbClr val="000000"/>
                </a:solidFill>
              </a:rPr>
              <a:t>Muscle</a:t>
            </a:r>
          </a:p>
        </p:txBody>
      </p:sp>
      <p:sp>
        <p:nvSpPr>
          <p:cNvPr id="58" name="5. Source">
            <a:extLst>
              <a:ext uri="{FF2B5EF4-FFF2-40B4-BE49-F238E27FC236}">
                <a16:creationId xmlns:a16="http://schemas.microsoft.com/office/drawing/2014/main" id="{331EAD17-E38B-4B3A-93A4-F6F9F56B43FE}"/>
              </a:ext>
            </a:extLst>
          </p:cNvPr>
          <p:cNvSpPr>
            <a:spLocks noChangeArrowheads="1"/>
          </p:cNvSpPr>
          <p:nvPr/>
        </p:nvSpPr>
        <p:spPr bwMode="gray">
          <a:xfrm>
            <a:off x="119063" y="6507558"/>
            <a:ext cx="7200000" cy="123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marL="609600" indent="-609600" defTabSz="895350">
              <a:tabLst>
                <a:tab pos="612775" algn="l"/>
              </a:tabLst>
            </a:pPr>
            <a:r>
              <a:rPr lang="en-US" sz="800" baseline="0" dirty="0">
                <a:solidFill>
                  <a:schemeClr val="accent6"/>
                </a:solidFill>
                <a:latin typeface="+mn-lt"/>
                <a:ea typeface="+mn-ea"/>
              </a:rPr>
              <a:t>SOURCE: McKinsey Recovery &amp; Transformation Services</a:t>
            </a:r>
          </a:p>
        </p:txBody>
      </p:sp>
    </p:spTree>
    <p:extLst>
      <p:ext uri="{BB962C8B-B14F-4D97-AF65-F5344CB8AC3E}">
        <p14:creationId xmlns:p14="http://schemas.microsoft.com/office/powerpoint/2010/main" val="865144439"/>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7220" name="think-cell Slide" r:id="rId6" imgW="270" imgH="270" progId="TCLayout.ActiveDocument.1">
                  <p:embed/>
                </p:oleObj>
              </mc:Choice>
              <mc:Fallback>
                <p:oleObj name="think-cell Slide" r:id="rId6" imgW="270" imgH="270" progId="TCLayout.ActiveDocument.1">
                  <p:embed/>
                  <p:pic>
                    <p:nvPicPr>
                      <p:cNvPr id="21" name="Object 20"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29" name="Rectangle 28" hidden="1"/>
          <p:cNvSpPr/>
          <p:nvPr>
            <p:custDataLst>
              <p:tags r:id="rId4"/>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rtlCol="0" anchor="t" anchorCtr="0" compatLnSpc="1">
            <a:prstTxWarp prst="textNoShape">
              <a:avLst/>
            </a:prstTxWarp>
            <a:noAutofit/>
          </a:bodyPr>
          <a:lstStyle/>
          <a:p>
            <a:pPr algn="ctr"/>
            <a:endParaRPr lang="en-CA" sz="1200">
              <a:solidFill>
                <a:srgbClr val="000000"/>
              </a:solidFill>
              <a:latin typeface="Arial"/>
              <a:cs typeface="Arial" charset="0"/>
              <a:sym typeface="Arial"/>
            </a:endParaRPr>
          </a:p>
        </p:txBody>
      </p:sp>
      <p:sp>
        <p:nvSpPr>
          <p:cNvPr id="68" name="AutoShape 22"/>
          <p:cNvSpPr>
            <a:spLocks noChangeArrowheads="1"/>
          </p:cNvSpPr>
          <p:nvPr/>
        </p:nvSpPr>
        <p:spPr bwMode="gray">
          <a:xfrm>
            <a:off x="3045014" y="975258"/>
            <a:ext cx="3591535" cy="5244387"/>
          </a:xfrm>
          <a:prstGeom prst="rect">
            <a:avLst/>
          </a:prstGeom>
          <a:solidFill>
            <a:schemeClr val="bg1"/>
          </a:solidFill>
          <a:ln w="19050">
            <a:solidFill>
              <a:schemeClr val="accent2"/>
            </a:solidFill>
          </a:ln>
          <a:effectLst>
            <a:outerShdw blurRad="50800" dist="38100" dir="2700000" algn="tl" rotWithShape="0">
              <a:prstClr val="black">
                <a:alpha val="40000"/>
              </a:prstClr>
            </a:outerShdw>
          </a:effectLs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sp>
        <p:nvSpPr>
          <p:cNvPr id="7" name="AutoShape 22"/>
          <p:cNvSpPr>
            <a:spLocks noChangeArrowheads="1"/>
          </p:cNvSpPr>
          <p:nvPr/>
        </p:nvSpPr>
        <p:spPr bwMode="gray">
          <a:xfrm flipH="1">
            <a:off x="128228" y="975258"/>
            <a:ext cx="2794049" cy="5244387"/>
          </a:xfrm>
          <a:prstGeom prst="rect">
            <a:avLst/>
          </a:prstGeom>
          <a:solidFill>
            <a:schemeClr val="bg1"/>
          </a:solidFill>
          <a:ln w="19050">
            <a:solidFill>
              <a:schemeClr val="accent1"/>
            </a:solidFill>
          </a:ln>
          <a:effectLst>
            <a:outerShdw blurRad="50800" dist="38100" dir="2700000" algn="tl" rotWithShape="0">
              <a:prstClr val="black">
                <a:alpha val="40000"/>
              </a:prstClr>
            </a:outerShdw>
          </a:effectLs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sp>
        <p:nvSpPr>
          <p:cNvPr id="69" name="Rectangle 3"/>
          <p:cNvSpPr txBox="1">
            <a:spLocks noChangeArrowheads="1"/>
          </p:cNvSpPr>
          <p:nvPr/>
        </p:nvSpPr>
        <p:spPr bwMode="gray">
          <a:xfrm>
            <a:off x="3045014" y="975257"/>
            <a:ext cx="3591535" cy="295205"/>
          </a:xfrm>
          <a:prstGeom prst="rect">
            <a:avLst/>
          </a:prstGeom>
          <a:solidFill>
            <a:schemeClr val="accent2"/>
          </a:solidFill>
          <a:ln w="19050">
            <a:noFill/>
            <a:miter lim="800000"/>
            <a:headEnd/>
            <a:tailEnd/>
          </a:ln>
          <a:extLst/>
        </p:spPr>
        <p:txBody>
          <a:bodyPr wrap="square" lIns="137160" tIns="0" rIns="72009" bIns="0" anchor="ctr" anchorCtr="0">
            <a:noAutofit/>
          </a:bodyPr>
          <a:lstStyle>
            <a:defPPr>
              <a:defRPr lang="en-US"/>
            </a:defPPr>
            <a:lvl1pPr defTabSz="895350">
              <a:buClr>
                <a:schemeClr val="tx2"/>
              </a:buClr>
              <a:defRPr b="1">
                <a:solidFill>
                  <a:schemeClr val="bg1"/>
                </a:solidFill>
                <a:latin typeface="+mn-lt"/>
              </a:defRPr>
            </a:lvl1pPr>
          </a:lstStyle>
          <a:p>
            <a:pPr>
              <a:spcBef>
                <a:spcPts val="0"/>
              </a:spcBef>
              <a:spcAft>
                <a:spcPts val="600"/>
              </a:spcAft>
              <a:buClr>
                <a:srgbClr val="002960"/>
              </a:buClr>
            </a:pPr>
            <a:r>
              <a:rPr lang="en-US" dirty="0">
                <a:latin typeface="+mj-lt"/>
                <a:cs typeface="Arial" charset="0"/>
              </a:rPr>
              <a:t>Plan</a:t>
            </a:r>
          </a:p>
        </p:txBody>
      </p:sp>
      <p:sp>
        <p:nvSpPr>
          <p:cNvPr id="9" name="Rectangle 3"/>
          <p:cNvSpPr txBox="1">
            <a:spLocks noChangeArrowheads="1"/>
          </p:cNvSpPr>
          <p:nvPr/>
        </p:nvSpPr>
        <p:spPr bwMode="gray">
          <a:xfrm>
            <a:off x="128234" y="975257"/>
            <a:ext cx="2794049" cy="295205"/>
          </a:xfrm>
          <a:prstGeom prst="rect">
            <a:avLst/>
          </a:prstGeom>
          <a:solidFill>
            <a:schemeClr val="accent1"/>
          </a:solidFill>
          <a:ln w="19050">
            <a:noFill/>
            <a:miter lim="800000"/>
            <a:headEnd/>
            <a:tailEnd/>
          </a:ln>
          <a:extLst/>
        </p:spPr>
        <p:txBody>
          <a:bodyPr wrap="square" lIns="137160" tIns="0" rIns="72009" bIns="0" anchor="ctr" anchorCtr="0">
            <a:noAutofit/>
          </a:bodyPr>
          <a:lstStyle>
            <a:defPPr>
              <a:defRPr lang="en-US"/>
            </a:defPPr>
            <a:lvl1pPr defTabSz="895350">
              <a:buClr>
                <a:schemeClr val="tx2"/>
              </a:buClr>
              <a:defRPr b="1">
                <a:solidFill>
                  <a:schemeClr val="bg1"/>
                </a:solidFill>
                <a:latin typeface="+mn-lt"/>
              </a:defRPr>
            </a:lvl1pPr>
          </a:lstStyle>
          <a:p>
            <a:pPr>
              <a:spcBef>
                <a:spcPts val="0"/>
              </a:spcBef>
              <a:spcAft>
                <a:spcPts val="600"/>
              </a:spcAft>
              <a:buClr>
                <a:srgbClr val="002960"/>
              </a:buClr>
            </a:pPr>
            <a:r>
              <a:rPr lang="en-US" dirty="0">
                <a:solidFill>
                  <a:srgbClr val="002960"/>
                </a:solidFill>
                <a:latin typeface="+mj-lt"/>
                <a:ea typeface="SimSun" pitchFamily="2" charset="-122"/>
                <a:cs typeface="Arial" charset="0"/>
              </a:rPr>
              <a:t>Client context</a:t>
            </a:r>
          </a:p>
        </p:txBody>
      </p:sp>
      <p:sp>
        <p:nvSpPr>
          <p:cNvPr id="23" name="AutoShape 22"/>
          <p:cNvSpPr>
            <a:spLocks noChangeArrowheads="1"/>
          </p:cNvSpPr>
          <p:nvPr/>
        </p:nvSpPr>
        <p:spPr bwMode="gray">
          <a:xfrm flipH="1">
            <a:off x="6772369" y="975258"/>
            <a:ext cx="2031333" cy="5244387"/>
          </a:xfrm>
          <a:prstGeom prst="rect">
            <a:avLst/>
          </a:prstGeom>
          <a:solidFill>
            <a:schemeClr val="bg1"/>
          </a:solidFill>
          <a:ln w="19050">
            <a:solidFill>
              <a:schemeClr val="accent3"/>
            </a:solidFill>
          </a:ln>
          <a:effectLst>
            <a:outerShdw blurRad="50800" dist="38100" dir="2700000" algn="tl" rotWithShape="0">
              <a:prstClr val="black">
                <a:alpha val="40000"/>
              </a:prstClr>
            </a:outerShdw>
          </a:effectLs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sp>
        <p:nvSpPr>
          <p:cNvPr id="25" name="Rectangle 3"/>
          <p:cNvSpPr txBox="1">
            <a:spLocks noChangeArrowheads="1"/>
          </p:cNvSpPr>
          <p:nvPr/>
        </p:nvSpPr>
        <p:spPr bwMode="gray">
          <a:xfrm>
            <a:off x="6772378" y="975257"/>
            <a:ext cx="2031333" cy="295205"/>
          </a:xfrm>
          <a:prstGeom prst="rect">
            <a:avLst/>
          </a:prstGeom>
          <a:solidFill>
            <a:schemeClr val="accent3"/>
          </a:solidFill>
          <a:ln w="19050">
            <a:noFill/>
            <a:miter lim="800000"/>
            <a:headEnd/>
            <a:tailEnd/>
          </a:ln>
          <a:extLst/>
        </p:spPr>
        <p:txBody>
          <a:bodyPr wrap="square" lIns="137160" tIns="0" rIns="72009" bIns="0" anchor="ctr" anchorCtr="0">
            <a:noAutofit/>
          </a:bodyPr>
          <a:lstStyle>
            <a:defPPr>
              <a:defRPr lang="en-US"/>
            </a:defPPr>
            <a:lvl1pPr defTabSz="895350">
              <a:buClr>
                <a:schemeClr val="tx2"/>
              </a:buClr>
              <a:defRPr b="1">
                <a:solidFill>
                  <a:schemeClr val="bg1"/>
                </a:solidFill>
                <a:latin typeface="+mn-lt"/>
              </a:defRPr>
            </a:lvl1pPr>
          </a:lstStyle>
          <a:p>
            <a:pPr>
              <a:spcBef>
                <a:spcPts val="0"/>
              </a:spcBef>
              <a:spcAft>
                <a:spcPts val="600"/>
              </a:spcAft>
              <a:buClr>
                <a:srgbClr val="002960"/>
              </a:buClr>
            </a:pPr>
            <a:r>
              <a:rPr lang="en-IN" dirty="0">
                <a:latin typeface="+mj-lt"/>
                <a:ea typeface="SimSun" pitchFamily="2" charset="-122"/>
                <a:cs typeface="Arial" charset="0"/>
              </a:rPr>
              <a:t>I</a:t>
            </a:r>
            <a:r>
              <a:rPr lang="en-US" dirty="0" err="1">
                <a:latin typeface="+mj-lt"/>
                <a:ea typeface="SimSun" pitchFamily="2" charset="-122"/>
                <a:cs typeface="Arial" charset="0"/>
              </a:rPr>
              <a:t>mpact</a:t>
            </a:r>
            <a:endParaRPr lang="en-US" dirty="0">
              <a:latin typeface="+mj-lt"/>
              <a:ea typeface="SimSun" pitchFamily="2" charset="-122"/>
              <a:cs typeface="Arial" charset="0"/>
            </a:endParaRPr>
          </a:p>
        </p:txBody>
      </p:sp>
      <p:sp>
        <p:nvSpPr>
          <p:cNvPr id="3" name="TextBox 2"/>
          <p:cNvSpPr txBox="1"/>
          <p:nvPr/>
        </p:nvSpPr>
        <p:spPr>
          <a:xfrm>
            <a:off x="183035" y="1312104"/>
            <a:ext cx="2634645" cy="4732065"/>
          </a:xfrm>
          <a:prstGeom prst="rect">
            <a:avLst/>
          </a:prstGeom>
        </p:spPr>
        <p:txBody>
          <a:bodyPr vert="horz" wrap="square" lIns="0" tIns="0" rIns="0" bIns="0" rtlCol="0" anchor="t" anchorCtr="0">
            <a:sp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1">
              <a:spcBef>
                <a:spcPct val="50000"/>
              </a:spcBef>
            </a:pPr>
            <a:r>
              <a:rPr lang="en-US" sz="1500" b="1" dirty="0">
                <a:solidFill>
                  <a:schemeClr val="accent4"/>
                </a:solidFill>
                <a:ea typeface="SimSun" panose="02010600030101010101" pitchFamily="2" charset="-122"/>
                <a:cs typeface="Arial" panose="020B0604020202020204" pitchFamily="34" charset="0"/>
              </a:rPr>
              <a:t>Strip business </a:t>
            </a:r>
            <a:r>
              <a:rPr lang="en-US" sz="1500" dirty="0">
                <a:ea typeface="SimSun" panose="02010600030101010101" pitchFamily="2" charset="-122"/>
                <a:cs typeface="Arial" panose="020B0604020202020204" pitchFamily="34" charset="0"/>
              </a:rPr>
              <a:t>(upstream and downstream)</a:t>
            </a:r>
          </a:p>
          <a:p>
            <a:pPr lvl="1">
              <a:spcBef>
                <a:spcPct val="50000"/>
              </a:spcBef>
            </a:pPr>
            <a:r>
              <a:rPr lang="en-US" sz="1500" b="1" dirty="0">
                <a:solidFill>
                  <a:schemeClr val="accent4"/>
                </a:solidFill>
                <a:ea typeface="SimSun" panose="02010600030101010101" pitchFamily="2" charset="-122"/>
                <a:cs typeface="Arial" panose="020B0604020202020204" pitchFamily="34" charset="0"/>
              </a:rPr>
              <a:t>~4mt yearly </a:t>
            </a:r>
            <a:r>
              <a:rPr lang="en-US" sz="1500" dirty="0">
                <a:ea typeface="SimSun" panose="02010600030101010101" pitchFamily="2" charset="-122"/>
                <a:cs typeface="Arial" panose="020B0604020202020204" pitchFamily="34" charset="0"/>
              </a:rPr>
              <a:t>production; approx. </a:t>
            </a:r>
            <a:r>
              <a:rPr lang="en-US" sz="1500" b="1" dirty="0">
                <a:solidFill>
                  <a:schemeClr val="accent4"/>
                </a:solidFill>
                <a:ea typeface="SimSun" panose="02010600030101010101" pitchFamily="2" charset="-122"/>
                <a:cs typeface="Arial" panose="020B0604020202020204" pitchFamily="34" charset="0"/>
              </a:rPr>
              <a:t>4.500 employees</a:t>
            </a:r>
          </a:p>
          <a:p>
            <a:pPr lvl="1">
              <a:spcBef>
                <a:spcPct val="25000"/>
              </a:spcBef>
            </a:pPr>
            <a:r>
              <a:rPr lang="en-US" sz="1500" b="1" dirty="0">
                <a:solidFill>
                  <a:schemeClr val="accent4"/>
                </a:solidFill>
                <a:ea typeface="SimSun" panose="02010600030101010101" pitchFamily="2" charset="-122"/>
                <a:cs typeface="Arial" panose="020B0604020202020204" pitchFamily="34" charset="0"/>
              </a:rPr>
              <a:t>Decreasing revenues</a:t>
            </a:r>
            <a:r>
              <a:rPr lang="en-IN" sz="1500" b="1" dirty="0">
                <a:solidFill>
                  <a:schemeClr val="accent4"/>
                </a:solidFill>
                <a:ea typeface="SimSun" panose="02010600030101010101" pitchFamily="2" charset="-122"/>
                <a:cs typeface="Arial" panose="020B0604020202020204" pitchFamily="34" charset="0"/>
              </a:rPr>
              <a:t>, </a:t>
            </a:r>
            <a:r>
              <a:rPr lang="en-US" sz="1500" dirty="0">
                <a:ea typeface="SimSun" panose="02010600030101010101" pitchFamily="2" charset="-122"/>
                <a:cs typeface="Arial" panose="020B0604020202020204" pitchFamily="34" charset="0"/>
              </a:rPr>
              <a:t>significant demand reduction </a:t>
            </a:r>
          </a:p>
          <a:p>
            <a:pPr lvl="1">
              <a:spcBef>
                <a:spcPct val="25000"/>
              </a:spcBef>
            </a:pPr>
            <a:r>
              <a:rPr lang="en-US" sz="1500" dirty="0">
                <a:ea typeface="SimSun" panose="02010600030101010101" pitchFamily="2" charset="-122"/>
                <a:cs typeface="Arial" panose="020B0604020202020204" pitchFamily="34" charset="0"/>
              </a:rPr>
              <a:t>Negative </a:t>
            </a:r>
            <a:r>
              <a:rPr lang="en-US" sz="1500" b="1" dirty="0">
                <a:solidFill>
                  <a:schemeClr val="accent4"/>
                </a:solidFill>
                <a:ea typeface="SimSun" panose="02010600030101010101" pitchFamily="2" charset="-122"/>
                <a:cs typeface="Arial" panose="020B0604020202020204" pitchFamily="34" charset="0"/>
              </a:rPr>
              <a:t>EBITDA</a:t>
            </a:r>
            <a:r>
              <a:rPr lang="en-US" sz="1500" dirty="0">
                <a:ea typeface="SimSun" panose="02010600030101010101" pitchFamily="2" charset="-122"/>
                <a:cs typeface="Arial" panose="020B0604020202020204" pitchFamily="34" charset="0"/>
              </a:rPr>
              <a:t> for the last 3 years, reaching </a:t>
            </a:r>
            <a:r>
              <a:rPr lang="en-US" sz="1500" b="1" dirty="0">
                <a:solidFill>
                  <a:schemeClr val="accent4"/>
                </a:solidFill>
                <a:ea typeface="SimSun" panose="02010600030101010101" pitchFamily="2" charset="-122"/>
                <a:cs typeface="Arial" panose="020B0604020202020204" pitchFamily="34" charset="0"/>
              </a:rPr>
              <a:t>-16% in 2015</a:t>
            </a:r>
            <a:endParaRPr lang="en-US" sz="1500" dirty="0">
              <a:ea typeface="SimSun" panose="02010600030101010101" pitchFamily="2" charset="-122"/>
              <a:cs typeface="Arial" panose="020B0604020202020204" pitchFamily="34" charset="0"/>
            </a:endParaRPr>
          </a:p>
          <a:p>
            <a:pPr lvl="1">
              <a:spcBef>
                <a:spcPct val="25000"/>
              </a:spcBef>
            </a:pPr>
            <a:r>
              <a:rPr lang="en-US" sz="1500" dirty="0">
                <a:ea typeface="SimSun" panose="02010600030101010101" pitchFamily="2" charset="-122"/>
                <a:cs typeface="Arial" panose="020B0604020202020204" pitchFamily="34" charset="0"/>
              </a:rPr>
              <a:t>Yearly </a:t>
            </a:r>
            <a:r>
              <a:rPr lang="en-US" sz="1500" b="1" dirty="0">
                <a:solidFill>
                  <a:schemeClr val="accent4"/>
                </a:solidFill>
                <a:ea typeface="SimSun" panose="02010600030101010101" pitchFamily="2" charset="-122"/>
                <a:cs typeface="Arial" panose="020B0604020202020204" pitchFamily="34" charset="0"/>
              </a:rPr>
              <a:t>capex</a:t>
            </a:r>
            <a:r>
              <a:rPr lang="en-US" sz="1500" dirty="0">
                <a:ea typeface="SimSun" panose="02010600030101010101" pitchFamily="2" charset="-122"/>
                <a:cs typeface="Arial" panose="020B0604020202020204" pitchFamily="34" charset="0"/>
              </a:rPr>
              <a:t> of approx. </a:t>
            </a:r>
            <a:r>
              <a:rPr lang="en-US" sz="1500" b="1" dirty="0">
                <a:solidFill>
                  <a:schemeClr val="accent4"/>
                </a:solidFill>
                <a:ea typeface="SimSun" panose="02010600030101010101" pitchFamily="2" charset="-122"/>
                <a:cs typeface="Arial" panose="020B0604020202020204" pitchFamily="34" charset="0"/>
              </a:rPr>
              <a:t>100 M€</a:t>
            </a:r>
          </a:p>
          <a:p>
            <a:pPr lvl="1">
              <a:spcBef>
                <a:spcPct val="50000"/>
              </a:spcBef>
            </a:pPr>
            <a:r>
              <a:rPr lang="en-GB" sz="1500" dirty="0">
                <a:ea typeface="SimSun" panose="02010600030101010101" pitchFamily="2" charset="-122"/>
                <a:cs typeface="Arial" panose="020B0604020202020204" pitchFamily="34" charset="0"/>
              </a:rPr>
              <a:t>Key challenges</a:t>
            </a:r>
          </a:p>
          <a:p>
            <a:pPr lvl="2">
              <a:spcBef>
                <a:spcPct val="25000"/>
              </a:spcBef>
            </a:pPr>
            <a:r>
              <a:rPr lang="en-US" sz="1500" b="1" dirty="0">
                <a:solidFill>
                  <a:schemeClr val="accent4"/>
                </a:solidFill>
                <a:ea typeface="SimSun" panose="02010600030101010101" pitchFamily="2" charset="-122"/>
                <a:cs typeface="Arial" panose="020B0604020202020204" pitchFamily="34" charset="0"/>
              </a:rPr>
              <a:t>Margin recovery </a:t>
            </a:r>
            <a:r>
              <a:rPr lang="en-US" sz="1500" dirty="0">
                <a:ea typeface="SimSun" panose="02010600030101010101" pitchFamily="2" charset="-122"/>
                <a:cs typeface="Arial" panose="020B0604020202020204" pitchFamily="34" charset="0"/>
              </a:rPr>
              <a:t>in a highly negative market context</a:t>
            </a:r>
          </a:p>
          <a:p>
            <a:pPr lvl="2">
              <a:spcBef>
                <a:spcPct val="25000"/>
              </a:spcBef>
            </a:pPr>
            <a:r>
              <a:rPr lang="en-GB" sz="1500" b="1" dirty="0">
                <a:solidFill>
                  <a:schemeClr val="accent4"/>
                </a:solidFill>
                <a:ea typeface="SimSun" panose="02010600030101010101" pitchFamily="2" charset="-122"/>
                <a:cs typeface="Arial" panose="020B0604020202020204" pitchFamily="34" charset="0"/>
              </a:rPr>
              <a:t>Week operating model</a:t>
            </a:r>
          </a:p>
          <a:p>
            <a:pPr lvl="2">
              <a:spcBef>
                <a:spcPct val="25000"/>
              </a:spcBef>
            </a:pPr>
            <a:r>
              <a:rPr lang="en-IN" sz="1500" b="1" dirty="0">
                <a:solidFill>
                  <a:schemeClr val="accent4"/>
                </a:solidFill>
                <a:ea typeface="SimSun" panose="02010600030101010101" pitchFamily="2" charset="-122"/>
                <a:cs typeface="Arial" panose="020B0604020202020204" pitchFamily="34" charset="0"/>
              </a:rPr>
              <a:t>C</a:t>
            </a:r>
            <a:r>
              <a:rPr lang="en-US" sz="1500" b="1" dirty="0">
                <a:solidFill>
                  <a:schemeClr val="accent4"/>
                </a:solidFill>
                <a:ea typeface="SimSun" panose="02010600030101010101" pitchFamily="2" charset="-122"/>
                <a:cs typeface="Arial" panose="020B0604020202020204" pitchFamily="34" charset="0"/>
              </a:rPr>
              <a:t>apex required </a:t>
            </a:r>
            <a:r>
              <a:rPr lang="en-IN" sz="1500" b="1" dirty="0">
                <a:solidFill>
                  <a:schemeClr val="accent4"/>
                </a:solidFill>
                <a:ea typeface="SimSun" panose="02010600030101010101" pitchFamily="2" charset="-122"/>
                <a:cs typeface="Arial" panose="020B0604020202020204" pitchFamily="34" charset="0"/>
              </a:rPr>
              <a:t>for modernisation</a:t>
            </a:r>
            <a:endParaRPr lang="en-GB" sz="1500" dirty="0">
              <a:ea typeface="SimSun" panose="02010600030101010101" pitchFamily="2" charset="-122"/>
              <a:cs typeface="Arial" panose="020B0604020202020204" pitchFamily="34" charset="0"/>
            </a:endParaRPr>
          </a:p>
        </p:txBody>
      </p:sp>
      <p:sp>
        <p:nvSpPr>
          <p:cNvPr id="5" name="TextBox 4"/>
          <p:cNvSpPr txBox="1"/>
          <p:nvPr/>
        </p:nvSpPr>
        <p:spPr>
          <a:xfrm>
            <a:off x="3089074" y="1312104"/>
            <a:ext cx="3497506" cy="4739759"/>
          </a:xfrm>
          <a:prstGeom prst="rect">
            <a:avLst/>
          </a:prstGeom>
        </p:spPr>
        <p:txBody>
          <a:bodyPr vert="horz" wrap="square" lIns="0" tIns="0" rIns="0" bIns="0" rtlCol="0" anchor="t" anchorCtr="0">
            <a:sp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1">
              <a:spcBef>
                <a:spcPct val="50000"/>
              </a:spcBef>
            </a:pPr>
            <a:r>
              <a:rPr lang="en-US" dirty="0">
                <a:ea typeface="SimSun" panose="02010600030101010101" pitchFamily="2" charset="-122"/>
                <a:cs typeface="Arial" panose="020B0604020202020204" pitchFamily="34" charset="0"/>
              </a:rPr>
              <a:t>Turnaround kicked-off in December 2015</a:t>
            </a:r>
          </a:p>
          <a:p>
            <a:pPr lvl="2">
              <a:spcBef>
                <a:spcPct val="25000"/>
              </a:spcBef>
            </a:pPr>
            <a:r>
              <a:rPr lang="en-IN" b="1" dirty="0">
                <a:solidFill>
                  <a:schemeClr val="accent4"/>
                </a:solidFill>
                <a:ea typeface="SimSun" panose="02010600030101010101" pitchFamily="2" charset="-122"/>
                <a:cs typeface="Arial" panose="020B0604020202020204" pitchFamily="34" charset="0"/>
              </a:rPr>
              <a:t>N</a:t>
            </a:r>
            <a:r>
              <a:rPr lang="en-US" b="1" dirty="0" err="1">
                <a:solidFill>
                  <a:schemeClr val="accent4"/>
                </a:solidFill>
                <a:ea typeface="SimSun" panose="02010600030101010101" pitchFamily="2" charset="-122"/>
                <a:cs typeface="Arial" panose="020B0604020202020204" pitchFamily="34" charset="0"/>
              </a:rPr>
              <a:t>eutral</a:t>
            </a:r>
            <a:r>
              <a:rPr lang="en-US" b="1" dirty="0">
                <a:solidFill>
                  <a:schemeClr val="accent4"/>
                </a:solidFill>
                <a:ea typeface="SimSun" panose="02010600030101010101" pitchFamily="2" charset="-122"/>
                <a:cs typeface="Arial" panose="020B0604020202020204" pitchFamily="34" charset="0"/>
              </a:rPr>
              <a:t> EBITDA </a:t>
            </a:r>
            <a:r>
              <a:rPr lang="en-IN" b="1" dirty="0">
                <a:solidFill>
                  <a:schemeClr val="accent4"/>
                </a:solidFill>
                <a:ea typeface="SimSun" panose="02010600030101010101" pitchFamily="2" charset="-122"/>
                <a:cs typeface="Arial" panose="020B0604020202020204" pitchFamily="34" charset="0"/>
              </a:rPr>
              <a:t>within 9</a:t>
            </a:r>
            <a:r>
              <a:rPr lang="en-US" b="1" dirty="0">
                <a:solidFill>
                  <a:schemeClr val="accent4"/>
                </a:solidFill>
                <a:ea typeface="SimSun" panose="02010600030101010101" pitchFamily="2" charset="-122"/>
                <a:cs typeface="Arial" panose="020B0604020202020204" pitchFamily="34" charset="0"/>
              </a:rPr>
              <a:t> months</a:t>
            </a:r>
          </a:p>
          <a:p>
            <a:pPr lvl="2">
              <a:spcBef>
                <a:spcPct val="25000"/>
              </a:spcBef>
            </a:pPr>
            <a:r>
              <a:rPr lang="en-IN" b="1" dirty="0">
                <a:solidFill>
                  <a:schemeClr val="accent4"/>
                </a:solidFill>
                <a:ea typeface="SimSun" panose="02010600030101010101" pitchFamily="2" charset="-122"/>
                <a:cs typeface="Arial" panose="020B0604020202020204" pitchFamily="34" charset="0"/>
              </a:rPr>
              <a:t>Cash neutrality </a:t>
            </a:r>
            <a:r>
              <a:rPr lang="en-US" b="1" dirty="0">
                <a:solidFill>
                  <a:schemeClr val="accent4"/>
                </a:solidFill>
                <a:ea typeface="SimSun" panose="02010600030101010101" pitchFamily="2" charset="-122"/>
                <a:cs typeface="Arial" panose="020B0604020202020204" pitchFamily="34" charset="0"/>
              </a:rPr>
              <a:t>within 24 months</a:t>
            </a:r>
            <a:endParaRPr lang="en-US" dirty="0">
              <a:ea typeface="SimSun" panose="02010600030101010101" pitchFamily="2" charset="-122"/>
              <a:cs typeface="Arial" panose="020B0604020202020204" pitchFamily="34" charset="0"/>
            </a:endParaRPr>
          </a:p>
          <a:p>
            <a:pPr lvl="2">
              <a:spcBef>
                <a:spcPct val="25000"/>
              </a:spcBef>
            </a:pPr>
            <a:r>
              <a:rPr lang="en-IN" b="1" dirty="0">
                <a:solidFill>
                  <a:schemeClr val="accent4"/>
                </a:solidFill>
                <a:ea typeface="SimSun" panose="02010600030101010101" pitchFamily="2" charset="-122"/>
                <a:cs typeface="Arial" panose="020B0604020202020204" pitchFamily="34" charset="0"/>
              </a:rPr>
              <a:t>Align </a:t>
            </a:r>
            <a:r>
              <a:rPr lang="en-US" b="1" dirty="0">
                <a:solidFill>
                  <a:schemeClr val="accent4"/>
                </a:solidFill>
                <a:ea typeface="SimSun" panose="02010600030101010101" pitchFamily="2" charset="-122"/>
                <a:cs typeface="Arial" panose="020B0604020202020204" pitchFamily="34" charset="0"/>
              </a:rPr>
              <a:t>asset footprint </a:t>
            </a:r>
            <a:r>
              <a:rPr lang="en-US" dirty="0">
                <a:ea typeface="SimSun" panose="02010600030101010101" pitchFamily="2" charset="-122"/>
                <a:cs typeface="Arial" panose="020B0604020202020204" pitchFamily="34" charset="0"/>
              </a:rPr>
              <a:t>and product portfolio</a:t>
            </a:r>
            <a:r>
              <a:rPr lang="en-IN" dirty="0">
                <a:ea typeface="SimSun" panose="02010600030101010101" pitchFamily="2" charset="-122"/>
                <a:cs typeface="Arial" panose="020B0604020202020204" pitchFamily="34" charset="0"/>
              </a:rPr>
              <a:t> to </a:t>
            </a:r>
            <a:r>
              <a:rPr lang="en-US" dirty="0">
                <a:ea typeface="SimSun" panose="02010600030101010101" pitchFamily="2" charset="-122"/>
                <a:cs typeface="Arial" panose="020B0604020202020204" pitchFamily="34" charset="0"/>
              </a:rPr>
              <a:t>market context</a:t>
            </a:r>
          </a:p>
          <a:p>
            <a:pPr lvl="1">
              <a:spcBef>
                <a:spcPct val="50000"/>
              </a:spcBef>
            </a:pPr>
            <a:r>
              <a:rPr lang="en-US" dirty="0">
                <a:ea typeface="SimSun" panose="02010600030101010101" pitchFamily="2" charset="-122"/>
                <a:cs typeface="Arial" panose="020B0604020202020204" pitchFamily="34" charset="0"/>
              </a:rPr>
              <a:t>3 phases </a:t>
            </a:r>
            <a:r>
              <a:rPr lang="en-IN" dirty="0">
                <a:ea typeface="SimSun" panose="02010600030101010101" pitchFamily="2" charset="-122"/>
                <a:cs typeface="Arial" panose="020B0604020202020204" pitchFamily="34" charset="0"/>
              </a:rPr>
              <a:t> for turnaround</a:t>
            </a:r>
            <a:r>
              <a:rPr lang="en-US" dirty="0">
                <a:ea typeface="SimSun" panose="02010600030101010101" pitchFamily="2" charset="-122"/>
                <a:cs typeface="Arial" panose="020B0604020202020204" pitchFamily="34" charset="0"/>
              </a:rPr>
              <a:t>:</a:t>
            </a:r>
          </a:p>
          <a:p>
            <a:pPr lvl="2">
              <a:spcBef>
                <a:spcPct val="25000"/>
              </a:spcBef>
            </a:pPr>
            <a:r>
              <a:rPr lang="en-US" b="1" dirty="0">
                <a:solidFill>
                  <a:schemeClr val="accent4"/>
                </a:solidFill>
                <a:ea typeface="SimSun" panose="02010600030101010101" pitchFamily="2" charset="-122"/>
                <a:cs typeface="Arial" panose="020B0604020202020204" pitchFamily="34" charset="0"/>
              </a:rPr>
              <a:t>Independent Due-Diligence </a:t>
            </a:r>
            <a:r>
              <a:rPr lang="en-US" dirty="0">
                <a:ea typeface="SimSun" panose="02010600030101010101" pitchFamily="2" charset="-122"/>
                <a:cs typeface="Arial" panose="020B0604020202020204" pitchFamily="34" charset="0"/>
              </a:rPr>
              <a:t>(~</a:t>
            </a:r>
            <a:r>
              <a:rPr lang="en-US" b="1" dirty="0">
                <a:solidFill>
                  <a:schemeClr val="accent4"/>
                </a:solidFill>
                <a:ea typeface="SimSun" panose="02010600030101010101" pitchFamily="2" charset="-122"/>
                <a:cs typeface="Arial" panose="020B0604020202020204" pitchFamily="34" charset="0"/>
              </a:rPr>
              <a:t>4 weeks</a:t>
            </a:r>
            <a:r>
              <a:rPr lang="en-US" dirty="0">
                <a:ea typeface="SimSun" panose="02010600030101010101" pitchFamily="2" charset="-122"/>
                <a:cs typeface="Arial" panose="020B0604020202020204" pitchFamily="34" charset="0"/>
              </a:rPr>
              <a:t>)</a:t>
            </a:r>
          </a:p>
          <a:p>
            <a:pPr lvl="2">
              <a:spcBef>
                <a:spcPct val="25000"/>
              </a:spcBef>
            </a:pPr>
            <a:r>
              <a:rPr lang="en-US" b="1" dirty="0">
                <a:solidFill>
                  <a:schemeClr val="accent4"/>
                </a:solidFill>
                <a:ea typeface="SimSun" panose="02010600030101010101" pitchFamily="2" charset="-122"/>
                <a:cs typeface="Arial" panose="020B0604020202020204" pitchFamily="34" charset="0"/>
              </a:rPr>
              <a:t>Bottom-up phase </a:t>
            </a:r>
            <a:r>
              <a:rPr lang="en-US" dirty="0">
                <a:ea typeface="SimSun" panose="02010600030101010101" pitchFamily="2" charset="-122"/>
                <a:cs typeface="Arial" panose="020B0604020202020204" pitchFamily="34" charset="0"/>
              </a:rPr>
              <a:t>(~</a:t>
            </a:r>
            <a:r>
              <a:rPr lang="en-US" b="1" dirty="0">
                <a:solidFill>
                  <a:schemeClr val="accent4"/>
                </a:solidFill>
                <a:ea typeface="SimSun" panose="02010600030101010101" pitchFamily="2" charset="-122"/>
                <a:cs typeface="Arial" panose="020B0604020202020204" pitchFamily="34" charset="0"/>
              </a:rPr>
              <a:t>8 weeks</a:t>
            </a:r>
            <a:r>
              <a:rPr lang="en-US" dirty="0">
                <a:ea typeface="SimSun" panose="02010600030101010101" pitchFamily="2" charset="-122"/>
                <a:cs typeface="Arial" panose="020B0604020202020204" pitchFamily="34" charset="0"/>
              </a:rPr>
              <a:t>) </a:t>
            </a:r>
            <a:r>
              <a:rPr lang="en-IN" dirty="0">
                <a:ea typeface="SimSun" panose="02010600030101010101" pitchFamily="2" charset="-122"/>
                <a:cs typeface="Arial" panose="020B0604020202020204" pitchFamily="34" charset="0"/>
              </a:rPr>
              <a:t>for </a:t>
            </a:r>
            <a:r>
              <a:rPr lang="en-US" dirty="0">
                <a:ea typeface="SimSun" panose="02010600030101010101" pitchFamily="2" charset="-122"/>
                <a:cs typeface="Arial" panose="020B0604020202020204" pitchFamily="34" charset="0"/>
              </a:rPr>
              <a:t>“Bankable Plan”</a:t>
            </a:r>
          </a:p>
          <a:p>
            <a:pPr lvl="2">
              <a:spcBef>
                <a:spcPct val="25000"/>
              </a:spcBef>
            </a:pPr>
            <a:r>
              <a:rPr lang="en-US" b="1" dirty="0">
                <a:solidFill>
                  <a:schemeClr val="accent4"/>
                </a:solidFill>
                <a:ea typeface="SimSun" panose="02010600030101010101" pitchFamily="2" charset="-122"/>
                <a:cs typeface="Arial" panose="020B0604020202020204" pitchFamily="34" charset="0"/>
              </a:rPr>
              <a:t>Implementation</a:t>
            </a:r>
            <a:r>
              <a:rPr lang="en-US" dirty="0">
                <a:ea typeface="SimSun" panose="02010600030101010101" pitchFamily="2" charset="-122"/>
                <a:cs typeface="Arial" panose="020B0604020202020204" pitchFamily="34" charset="0"/>
              </a:rPr>
              <a:t> </a:t>
            </a:r>
            <a:r>
              <a:rPr lang="en-IN" dirty="0">
                <a:ea typeface="SimSun" panose="02010600030101010101" pitchFamily="2" charset="-122"/>
                <a:cs typeface="Arial" panose="020B0604020202020204" pitchFamily="34" charset="0"/>
              </a:rPr>
              <a:t>over</a:t>
            </a:r>
            <a:r>
              <a:rPr lang="en-US" dirty="0">
                <a:ea typeface="SimSun" panose="02010600030101010101" pitchFamily="2" charset="-122"/>
                <a:cs typeface="Arial" panose="020B0604020202020204" pitchFamily="34" charset="0"/>
              </a:rPr>
              <a:t> ~</a:t>
            </a:r>
            <a:r>
              <a:rPr lang="en-US" b="1" dirty="0">
                <a:solidFill>
                  <a:schemeClr val="accent4"/>
                </a:solidFill>
                <a:ea typeface="SimSun" panose="02010600030101010101" pitchFamily="2" charset="-122"/>
                <a:cs typeface="Arial" panose="020B0604020202020204" pitchFamily="34" charset="0"/>
              </a:rPr>
              <a:t>12 months</a:t>
            </a:r>
          </a:p>
          <a:p>
            <a:pPr lvl="1">
              <a:spcBef>
                <a:spcPct val="50000"/>
              </a:spcBef>
            </a:pPr>
            <a:r>
              <a:rPr lang="en-US" dirty="0">
                <a:ea typeface="SimSun" panose="02010600030101010101" pitchFamily="2" charset="-122"/>
                <a:cs typeface="Arial" panose="020B0604020202020204" pitchFamily="34" charset="0"/>
              </a:rPr>
              <a:t>6 key </a:t>
            </a:r>
            <a:r>
              <a:rPr lang="en-US" dirty="0" err="1">
                <a:ea typeface="SimSun" panose="02010600030101010101" pitchFamily="2" charset="-122"/>
                <a:cs typeface="Arial" panose="020B0604020202020204" pitchFamily="34" charset="0"/>
              </a:rPr>
              <a:t>workstreams</a:t>
            </a:r>
            <a:r>
              <a:rPr lang="en-US" dirty="0">
                <a:ea typeface="SimSun" panose="02010600030101010101" pitchFamily="2" charset="-122"/>
                <a:cs typeface="Arial" panose="020B0604020202020204" pitchFamily="34" charset="0"/>
              </a:rPr>
              <a:t>:</a:t>
            </a:r>
          </a:p>
          <a:p>
            <a:pPr lvl="2">
              <a:spcBef>
                <a:spcPct val="25000"/>
              </a:spcBef>
            </a:pPr>
            <a:r>
              <a:rPr lang="en-GB" b="1" dirty="0">
                <a:solidFill>
                  <a:schemeClr val="accent4"/>
                </a:solidFill>
                <a:ea typeface="SimSun" panose="02010600030101010101" pitchFamily="2" charset="-122"/>
                <a:cs typeface="Arial" panose="020B0604020202020204" pitchFamily="34" charset="0"/>
              </a:rPr>
              <a:t>Asset footprint re-configuration</a:t>
            </a:r>
          </a:p>
          <a:p>
            <a:pPr lvl="2">
              <a:spcBef>
                <a:spcPct val="25000"/>
              </a:spcBef>
            </a:pPr>
            <a:r>
              <a:rPr lang="en-US" b="1" dirty="0">
                <a:solidFill>
                  <a:schemeClr val="accent4"/>
                </a:solidFill>
                <a:ea typeface="SimSun" panose="02010600030101010101" pitchFamily="2" charset="-122"/>
                <a:cs typeface="Arial" panose="020B0604020202020204" pitchFamily="34" charset="0"/>
              </a:rPr>
              <a:t>Upstream </a:t>
            </a:r>
            <a:r>
              <a:rPr lang="en-US" dirty="0">
                <a:ea typeface="SimSun" panose="02010600030101010101" pitchFamily="2" charset="-122"/>
                <a:cs typeface="Arial" panose="020B0604020202020204" pitchFamily="34" charset="0"/>
              </a:rPr>
              <a:t>(Heavy End) </a:t>
            </a:r>
            <a:endParaRPr lang="en-IN" dirty="0">
              <a:ea typeface="SimSun" panose="02010600030101010101" pitchFamily="2" charset="-122"/>
              <a:cs typeface="Arial" panose="020B0604020202020204" pitchFamily="34" charset="0"/>
            </a:endParaRPr>
          </a:p>
          <a:p>
            <a:pPr lvl="2">
              <a:spcBef>
                <a:spcPct val="25000"/>
              </a:spcBef>
            </a:pPr>
            <a:r>
              <a:rPr lang="en-IN" b="1" dirty="0">
                <a:solidFill>
                  <a:schemeClr val="accent4"/>
                </a:solidFill>
                <a:ea typeface="SimSun" panose="02010600030101010101" pitchFamily="2" charset="-122"/>
                <a:cs typeface="Arial" panose="020B0604020202020204" pitchFamily="34" charset="0"/>
              </a:rPr>
              <a:t>D</a:t>
            </a:r>
            <a:r>
              <a:rPr lang="en-US" b="1" dirty="0" err="1">
                <a:solidFill>
                  <a:schemeClr val="accent4"/>
                </a:solidFill>
                <a:ea typeface="SimSun" panose="02010600030101010101" pitchFamily="2" charset="-122"/>
                <a:cs typeface="Arial" panose="020B0604020202020204" pitchFamily="34" charset="0"/>
              </a:rPr>
              <a:t>ownstream</a:t>
            </a:r>
            <a:r>
              <a:rPr lang="en-US" b="1" dirty="0">
                <a:solidFill>
                  <a:schemeClr val="accent4"/>
                </a:solidFill>
                <a:ea typeface="SimSun" panose="02010600030101010101" pitchFamily="2" charset="-122"/>
                <a:cs typeface="Arial" panose="020B0604020202020204" pitchFamily="34" charset="0"/>
              </a:rPr>
              <a:t> operations </a:t>
            </a:r>
            <a:r>
              <a:rPr lang="en-US" dirty="0">
                <a:ea typeface="SimSun" panose="02010600030101010101" pitchFamily="2" charset="-122"/>
                <a:cs typeface="Arial" panose="020B0604020202020204" pitchFamily="34" charset="0"/>
              </a:rPr>
              <a:t>(Mills)</a:t>
            </a:r>
          </a:p>
          <a:p>
            <a:pPr lvl="2">
              <a:spcBef>
                <a:spcPct val="25000"/>
              </a:spcBef>
            </a:pPr>
            <a:r>
              <a:rPr lang="en-GB" b="1" dirty="0">
                <a:solidFill>
                  <a:schemeClr val="accent4"/>
                </a:solidFill>
                <a:ea typeface="SimSun" panose="02010600030101010101" pitchFamily="2" charset="-122"/>
                <a:cs typeface="Arial" panose="020B0604020202020204" pitchFamily="34" charset="0"/>
              </a:rPr>
              <a:t>External </a:t>
            </a:r>
            <a:r>
              <a:rPr lang="en-IN" b="1" dirty="0">
                <a:solidFill>
                  <a:schemeClr val="accent4"/>
                </a:solidFill>
                <a:ea typeface="SimSun" panose="02010600030101010101" pitchFamily="2" charset="-122"/>
                <a:cs typeface="Arial" panose="020B0604020202020204" pitchFamily="34" charset="0"/>
              </a:rPr>
              <a:t>s</a:t>
            </a:r>
            <a:r>
              <a:rPr lang="en-GB" b="1" dirty="0">
                <a:solidFill>
                  <a:schemeClr val="accent4"/>
                </a:solidFill>
                <a:ea typeface="SimSun" panose="02010600030101010101" pitchFamily="2" charset="-122"/>
                <a:cs typeface="Arial" panose="020B0604020202020204" pitchFamily="34" charset="0"/>
              </a:rPr>
              <a:t>pend</a:t>
            </a:r>
          </a:p>
          <a:p>
            <a:pPr lvl="2">
              <a:spcBef>
                <a:spcPct val="25000"/>
              </a:spcBef>
            </a:pPr>
            <a:r>
              <a:rPr lang="en-GB" b="1" dirty="0">
                <a:solidFill>
                  <a:schemeClr val="accent4"/>
                </a:solidFill>
                <a:ea typeface="SimSun" panose="02010600030101010101" pitchFamily="2" charset="-122"/>
                <a:cs typeface="Arial" panose="020B0604020202020204" pitchFamily="34" charset="0"/>
              </a:rPr>
              <a:t>Organization and functional costs</a:t>
            </a:r>
          </a:p>
          <a:p>
            <a:pPr lvl="2">
              <a:spcBef>
                <a:spcPct val="25000"/>
              </a:spcBef>
            </a:pPr>
            <a:r>
              <a:rPr lang="en-GB" b="1" dirty="0">
                <a:solidFill>
                  <a:schemeClr val="accent4"/>
                </a:solidFill>
                <a:ea typeface="SimSun" panose="02010600030101010101" pitchFamily="2" charset="-122"/>
                <a:cs typeface="Arial" panose="020B0604020202020204" pitchFamily="34" charset="0"/>
              </a:rPr>
              <a:t>Sales</a:t>
            </a:r>
            <a:r>
              <a:rPr lang="en-GB" dirty="0">
                <a:ea typeface="SimSun" panose="02010600030101010101" pitchFamily="2" charset="-122"/>
                <a:cs typeface="Arial" panose="020B0604020202020204" pitchFamily="34" charset="0"/>
              </a:rPr>
              <a:t> optimization</a:t>
            </a:r>
          </a:p>
        </p:txBody>
      </p:sp>
      <p:sp>
        <p:nvSpPr>
          <p:cNvPr id="8" name="TextBox 7"/>
          <p:cNvSpPr txBox="1"/>
          <p:nvPr/>
        </p:nvSpPr>
        <p:spPr>
          <a:xfrm>
            <a:off x="6833274" y="1289426"/>
            <a:ext cx="1859794" cy="4962897"/>
          </a:xfrm>
          <a:prstGeom prst="rect">
            <a:avLst/>
          </a:prstGeom>
        </p:spPr>
        <p:txBody>
          <a:bodyPr vert="horz" wrap="square" lIns="0" tIns="0" rIns="0" bIns="0" rtlCol="0" anchor="t" anchorCtr="0">
            <a:sp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1">
              <a:spcBef>
                <a:spcPct val="50000"/>
              </a:spcBef>
            </a:pPr>
            <a:r>
              <a:rPr lang="en-US" sz="1500" dirty="0">
                <a:ea typeface="SimSun" panose="02010600030101010101" pitchFamily="2" charset="-122"/>
                <a:cs typeface="Arial" panose="020B0604020202020204" pitchFamily="34" charset="0"/>
              </a:rPr>
              <a:t>Independent Due Diligence</a:t>
            </a:r>
            <a:r>
              <a:rPr lang="en-IN" sz="1500" dirty="0">
                <a:ea typeface="SimSun" panose="02010600030101010101" pitchFamily="2" charset="-122"/>
                <a:cs typeface="Arial" panose="020B0604020202020204" pitchFamily="34" charset="0"/>
              </a:rPr>
              <a:t> - </a:t>
            </a:r>
            <a:r>
              <a:rPr lang="en-US" sz="1500" b="1" dirty="0">
                <a:solidFill>
                  <a:schemeClr val="accent4"/>
                </a:solidFill>
                <a:ea typeface="SimSun" panose="02010600030101010101" pitchFamily="2" charset="-122"/>
                <a:cs typeface="Arial" panose="020B0604020202020204" pitchFamily="34" charset="0"/>
              </a:rPr>
              <a:t>24% EBITDA improvement potential</a:t>
            </a:r>
            <a:r>
              <a:rPr lang="en-IN" sz="1500" b="1" dirty="0">
                <a:solidFill>
                  <a:schemeClr val="accent4"/>
                </a:solidFill>
                <a:ea typeface="SimSun" panose="02010600030101010101" pitchFamily="2" charset="-122"/>
                <a:cs typeface="Arial" panose="020B0604020202020204" pitchFamily="34" charset="0"/>
              </a:rPr>
              <a:t> identified</a:t>
            </a:r>
            <a:r>
              <a:rPr lang="en-US" sz="1500" b="1" dirty="0">
                <a:solidFill>
                  <a:schemeClr val="accent4"/>
                </a:solidFill>
                <a:ea typeface="SimSun" panose="02010600030101010101" pitchFamily="2" charset="-122"/>
                <a:cs typeface="Arial" panose="020B0604020202020204" pitchFamily="34" charset="0"/>
              </a:rPr>
              <a:t> </a:t>
            </a:r>
            <a:endParaRPr lang="en-IN" sz="1500" b="1" dirty="0">
              <a:solidFill>
                <a:schemeClr val="accent4"/>
              </a:solidFill>
              <a:ea typeface="SimSun" panose="02010600030101010101" pitchFamily="2" charset="-122"/>
              <a:cs typeface="Arial" panose="020B0604020202020204" pitchFamily="34" charset="0"/>
            </a:endParaRPr>
          </a:p>
          <a:p>
            <a:pPr lvl="1">
              <a:spcBef>
                <a:spcPct val="50000"/>
              </a:spcBef>
            </a:pPr>
            <a:r>
              <a:rPr lang="en-US" sz="1500" dirty="0">
                <a:ea typeface="SimSun" panose="02010600030101010101" pitchFamily="2" charset="-122"/>
                <a:cs typeface="Arial" panose="020B0604020202020204" pitchFamily="34" charset="0"/>
              </a:rPr>
              <a:t>“Bankable Plan” completed in Feb 2016, setting a </a:t>
            </a:r>
            <a:r>
              <a:rPr lang="en-US" sz="1500" b="1" dirty="0">
                <a:solidFill>
                  <a:schemeClr val="accent4"/>
                </a:solidFill>
                <a:ea typeface="SimSun" panose="02010600030101010101" pitchFamily="2" charset="-122"/>
                <a:cs typeface="Arial" panose="020B0604020202020204" pitchFamily="34" charset="0"/>
              </a:rPr>
              <a:t>target EBITDA of 8% for 2017 </a:t>
            </a:r>
            <a:endParaRPr lang="en-IN" sz="1500" b="1" dirty="0">
              <a:solidFill>
                <a:schemeClr val="accent4"/>
              </a:solidFill>
              <a:ea typeface="SimSun" panose="02010600030101010101" pitchFamily="2" charset="-122"/>
              <a:cs typeface="Arial" panose="020B0604020202020204" pitchFamily="34" charset="0"/>
            </a:endParaRPr>
          </a:p>
          <a:p>
            <a:pPr lvl="1">
              <a:spcBef>
                <a:spcPct val="50000"/>
              </a:spcBef>
            </a:pPr>
            <a:r>
              <a:rPr lang="en-US" sz="1500" b="1" dirty="0">
                <a:solidFill>
                  <a:schemeClr val="accent4"/>
                </a:solidFill>
                <a:ea typeface="SimSun" panose="02010600030101010101" pitchFamily="2" charset="-122"/>
                <a:cs typeface="Arial" panose="020B0604020202020204" pitchFamily="34" charset="0"/>
              </a:rPr>
              <a:t>Whole organization mobilized</a:t>
            </a:r>
            <a:r>
              <a:rPr lang="en-US" sz="1500" dirty="0">
                <a:ea typeface="SimSun" panose="02010600030101010101" pitchFamily="2" charset="-122"/>
                <a:cs typeface="Arial" panose="020B0604020202020204" pitchFamily="34" charset="0"/>
              </a:rPr>
              <a:t> (</a:t>
            </a:r>
            <a:r>
              <a:rPr lang="en-IN" sz="1500" dirty="0">
                <a:ea typeface="SimSun" panose="02010600030101010101" pitchFamily="2" charset="-122"/>
                <a:cs typeface="Arial" panose="020B0604020202020204" pitchFamily="34" charset="0"/>
              </a:rPr>
              <a:t>over </a:t>
            </a:r>
            <a:r>
              <a:rPr lang="en-US" sz="1500" dirty="0">
                <a:ea typeface="SimSun" panose="02010600030101010101" pitchFamily="2" charset="-122"/>
                <a:cs typeface="Arial" panose="020B0604020202020204" pitchFamily="34" charset="0"/>
              </a:rPr>
              <a:t>300 FTEs</a:t>
            </a:r>
            <a:r>
              <a:rPr lang="en-IN" sz="1500" dirty="0">
                <a:ea typeface="SimSun" panose="02010600030101010101" pitchFamily="2" charset="-122"/>
                <a:cs typeface="Arial" panose="020B0604020202020204" pitchFamily="34" charset="0"/>
              </a:rPr>
              <a:t>)</a:t>
            </a:r>
            <a:endParaRPr lang="en-US" sz="1500" dirty="0">
              <a:ea typeface="SimSun" panose="02010600030101010101" pitchFamily="2" charset="-122"/>
              <a:cs typeface="Arial" panose="020B0604020202020204" pitchFamily="34" charset="0"/>
            </a:endParaRPr>
          </a:p>
          <a:p>
            <a:pPr lvl="1">
              <a:spcBef>
                <a:spcPct val="50000"/>
              </a:spcBef>
            </a:pPr>
            <a:r>
              <a:rPr lang="en-IN" sz="1500" b="1" dirty="0">
                <a:solidFill>
                  <a:schemeClr val="accent4"/>
                </a:solidFill>
                <a:ea typeface="SimSun" panose="02010600030101010101" pitchFamily="2" charset="-122"/>
                <a:cs typeface="Arial" panose="020B0604020202020204" pitchFamily="34" charset="0"/>
              </a:rPr>
              <a:t>Turnaround (positive EBITDA) achieved by June 2016 – within 7 months</a:t>
            </a:r>
            <a:endParaRPr lang="en-GB" sz="1500" dirty="0"/>
          </a:p>
        </p:txBody>
      </p:sp>
      <p:sp>
        <p:nvSpPr>
          <p:cNvPr id="17" name="5. Source">
            <a:extLst>
              <a:ext uri="{FF2B5EF4-FFF2-40B4-BE49-F238E27FC236}">
                <a16:creationId xmlns:a16="http://schemas.microsoft.com/office/drawing/2014/main" id="{34FFDE60-EEBC-4CD7-A870-34C0A0CA11B1}"/>
              </a:ext>
            </a:extLst>
          </p:cNvPr>
          <p:cNvSpPr>
            <a:spLocks noChangeArrowheads="1"/>
          </p:cNvSpPr>
          <p:nvPr/>
        </p:nvSpPr>
        <p:spPr bwMode="gray">
          <a:xfrm>
            <a:off x="119063" y="6507558"/>
            <a:ext cx="7200000" cy="123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marL="609600" indent="-609600" defTabSz="895350">
              <a:tabLst>
                <a:tab pos="612775" algn="l"/>
              </a:tabLst>
            </a:pPr>
            <a:r>
              <a:rPr lang="en-US" sz="800" baseline="0" dirty="0">
                <a:solidFill>
                  <a:schemeClr val="accent6"/>
                </a:solidFill>
                <a:latin typeface="+mn-lt"/>
                <a:ea typeface="+mn-ea"/>
              </a:rPr>
              <a:t>SOURCE: McKinsey Recovery &amp; Transformation Services</a:t>
            </a:r>
          </a:p>
        </p:txBody>
      </p:sp>
      <p:sp>
        <p:nvSpPr>
          <p:cNvPr id="10" name="Title 9">
            <a:extLst>
              <a:ext uri="{FF2B5EF4-FFF2-40B4-BE49-F238E27FC236}">
                <a16:creationId xmlns:a16="http://schemas.microsoft.com/office/drawing/2014/main" id="{D07C178A-CC2D-4438-9454-419D3172FEE4}"/>
              </a:ext>
            </a:extLst>
          </p:cNvPr>
          <p:cNvSpPr>
            <a:spLocks noGrp="1"/>
          </p:cNvSpPr>
          <p:nvPr>
            <p:ph type="title"/>
          </p:nvPr>
        </p:nvSpPr>
        <p:spPr>
          <a:xfrm>
            <a:off x="119063" y="230188"/>
            <a:ext cx="8618537" cy="615553"/>
          </a:xfrm>
        </p:spPr>
        <p:txBody>
          <a:bodyPr/>
          <a:lstStyle/>
          <a:p>
            <a:r>
              <a:rPr lang="en-US" altLang="fr-FR" dirty="0"/>
              <a:t>Case study: McKinsey RTS has been successfully deployed at Tata Steel Europe, for the Strip UK business</a:t>
            </a:r>
            <a:endParaRPr lang="en-GB" dirty="0"/>
          </a:p>
        </p:txBody>
      </p:sp>
    </p:spTree>
    <p:custDataLst>
      <p:tags r:id="rId2"/>
    </p:custDataLst>
    <p:extLst>
      <p:ext uri="{BB962C8B-B14F-4D97-AF65-F5344CB8AC3E}">
        <p14:creationId xmlns:p14="http://schemas.microsoft.com/office/powerpoint/2010/main" val="3579063110"/>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8263" name="think-cell Slide" r:id="rId19" imgW="524" imgH="526" progId="TCLayout.ActiveDocument.1">
                  <p:embed/>
                </p:oleObj>
              </mc:Choice>
              <mc:Fallback>
                <p:oleObj name="think-cell Slide" r:id="rId19" imgW="524" imgH="526" progId="TCLayout.ActiveDocument.1">
                  <p:embed/>
                  <p:pic>
                    <p:nvPicPr>
                      <p:cNvPr id="6" name="Object 5" hidden="1"/>
                      <p:cNvPicPr/>
                      <p:nvPr/>
                    </p:nvPicPr>
                    <p:blipFill>
                      <a:blip r:embed="rId20"/>
                      <a:stretch>
                        <a:fillRect/>
                      </a:stretch>
                    </p:blipFill>
                    <p:spPr>
                      <a:xfrm>
                        <a:off x="1588" y="1588"/>
                        <a:ext cx="1587" cy="1587"/>
                      </a:xfrm>
                      <a:prstGeom prst="rect">
                        <a:avLst/>
                      </a:prstGeom>
                    </p:spPr>
                  </p:pic>
                </p:oleObj>
              </mc:Fallback>
            </mc:AlternateContent>
          </a:graphicData>
        </a:graphic>
      </p:graphicFrame>
      <p:sp>
        <p:nvSpPr>
          <p:cNvPr id="22" name="Rectangle 21" hidden="1"/>
          <p:cNvSpPr/>
          <p:nvPr>
            <p:custDataLst>
              <p:tags r:id="rId3"/>
            </p:custDataLst>
          </p:nvPr>
        </p:nvSpPr>
        <p:spPr bwMode="auto">
          <a:xfrm>
            <a:off x="0" y="0"/>
            <a:ext cx="158750" cy="158750"/>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GB" sz="1000" dirty="0" err="1">
              <a:solidFill>
                <a:schemeClr val="tx1"/>
              </a:solidFill>
              <a:sym typeface="+mn-lt"/>
            </a:endParaRPr>
          </a:p>
        </p:txBody>
      </p:sp>
      <p:sp>
        <p:nvSpPr>
          <p:cNvPr id="81" name="AutoShape 22"/>
          <p:cNvSpPr>
            <a:spLocks noChangeArrowheads="1"/>
          </p:cNvSpPr>
          <p:nvPr/>
        </p:nvSpPr>
        <p:spPr bwMode="gray">
          <a:xfrm flipH="1">
            <a:off x="101599" y="804863"/>
            <a:ext cx="8709255" cy="5426120"/>
          </a:xfrm>
          <a:prstGeom prst="rect">
            <a:avLst/>
          </a:prstGeom>
          <a:solidFill>
            <a:schemeClr val="bg1"/>
          </a:solidFill>
          <a:ln w="19050">
            <a:solidFill>
              <a:schemeClr val="accent1"/>
            </a:solidFill>
          </a:ln>
          <a:effectLst>
            <a:outerShdw blurRad="50800" dist="38100" dir="2700000" algn="tl" rotWithShape="0">
              <a:prstClr val="black">
                <a:alpha val="40000"/>
              </a:prstClr>
            </a:outerShdw>
          </a:effectLs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cxnSp>
        <p:nvCxnSpPr>
          <p:cNvPr id="20" name="Straight Connector 19"/>
          <p:cNvCxnSpPr/>
          <p:nvPr/>
        </p:nvCxnSpPr>
        <p:spPr>
          <a:xfrm>
            <a:off x="4929188" y="1228725"/>
            <a:ext cx="1618951"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21" name="TextBox 20"/>
          <p:cNvSpPr txBox="1"/>
          <p:nvPr/>
        </p:nvSpPr>
        <p:spPr>
          <a:xfrm>
            <a:off x="4929188" y="1047750"/>
            <a:ext cx="1330889" cy="153888"/>
          </a:xfrm>
          <a:prstGeom prst="rect">
            <a:avLst/>
          </a:prstGeom>
        </p:spPr>
        <p:txBody>
          <a:bodyPr vert="horz" wrap="square" lIns="0" tIns="0" rIns="0" bIns="0" rtlCol="0">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sz="1000" b="1" dirty="0">
                <a:solidFill>
                  <a:schemeClr val="accent4"/>
                </a:solidFill>
              </a:rPr>
              <a:t>Impact description </a:t>
            </a:r>
          </a:p>
        </p:txBody>
      </p:sp>
      <p:cxnSp>
        <p:nvCxnSpPr>
          <p:cNvPr id="23" name="Straight Connector 22"/>
          <p:cNvCxnSpPr/>
          <p:nvPr>
            <p:custDataLst>
              <p:tags r:id="rId4"/>
            </p:custDataLst>
          </p:nvPr>
        </p:nvCxnSpPr>
        <p:spPr bwMode="gray">
          <a:xfrm>
            <a:off x="6967538" y="1895475"/>
            <a:ext cx="0" cy="195263"/>
          </a:xfrm>
          <a:prstGeom prst="line">
            <a:avLst/>
          </a:prstGeom>
          <a:ln w="3175">
            <a:solidFill>
              <a:srgbClr val="808080"/>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p:custDataLst>
              <p:tags r:id="rId5"/>
            </p:custDataLst>
          </p:nvPr>
        </p:nvCxnSpPr>
        <p:spPr bwMode="gray">
          <a:xfrm>
            <a:off x="8405813" y="5324475"/>
            <a:ext cx="0" cy="195263"/>
          </a:xfrm>
          <a:prstGeom prst="line">
            <a:avLst/>
          </a:prstGeom>
          <a:ln w="3175">
            <a:solidFill>
              <a:srgbClr val="808080"/>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p:custDataLst>
              <p:tags r:id="rId6"/>
            </p:custDataLst>
          </p:nvPr>
        </p:nvCxnSpPr>
        <p:spPr bwMode="gray">
          <a:xfrm>
            <a:off x="7905750" y="3952875"/>
            <a:ext cx="0" cy="195263"/>
          </a:xfrm>
          <a:prstGeom prst="line">
            <a:avLst/>
          </a:prstGeom>
          <a:ln w="3175">
            <a:solidFill>
              <a:srgbClr val="808080"/>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p:custDataLst>
              <p:tags r:id="rId7"/>
            </p:custDataLst>
          </p:nvPr>
        </p:nvCxnSpPr>
        <p:spPr bwMode="gray">
          <a:xfrm>
            <a:off x="7629525" y="3267075"/>
            <a:ext cx="0" cy="195263"/>
          </a:xfrm>
          <a:prstGeom prst="line">
            <a:avLst/>
          </a:prstGeom>
          <a:ln w="3175">
            <a:solidFill>
              <a:srgbClr val="808080"/>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p:cNvCxnSpPr/>
          <p:nvPr>
            <p:custDataLst>
              <p:tags r:id="rId8"/>
            </p:custDataLst>
          </p:nvPr>
        </p:nvCxnSpPr>
        <p:spPr bwMode="gray">
          <a:xfrm>
            <a:off x="8296275" y="4638675"/>
            <a:ext cx="0" cy="195263"/>
          </a:xfrm>
          <a:prstGeom prst="line">
            <a:avLst/>
          </a:prstGeom>
          <a:ln w="3175">
            <a:solidFill>
              <a:srgbClr val="808080"/>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custDataLst>
              <p:tags r:id="rId9"/>
            </p:custDataLst>
          </p:nvPr>
        </p:nvCxnSpPr>
        <p:spPr bwMode="gray">
          <a:xfrm>
            <a:off x="7353300" y="2581275"/>
            <a:ext cx="0" cy="195263"/>
          </a:xfrm>
          <a:prstGeom prst="line">
            <a:avLst/>
          </a:prstGeom>
          <a:ln w="3175">
            <a:solidFill>
              <a:srgbClr val="808080"/>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graphicFrame>
        <p:nvGraphicFramePr>
          <p:cNvPr id="17" name="Object 16"/>
          <p:cNvGraphicFramePr>
            <a:graphicFrameLocks/>
          </p:cNvGraphicFramePr>
          <p:nvPr>
            <p:custDataLst>
              <p:tags r:id="rId10"/>
            </p:custDataLst>
            <p:extLst/>
          </p:nvPr>
        </p:nvGraphicFramePr>
        <p:xfrm>
          <a:off x="6553200" y="1104901"/>
          <a:ext cx="2152736" cy="5157689"/>
        </p:xfrm>
        <a:graphic>
          <a:graphicData uri="http://schemas.openxmlformats.org/presentationml/2006/ole">
            <mc:AlternateContent xmlns:mc="http://schemas.openxmlformats.org/markup-compatibility/2006">
              <mc:Choice xmlns:v="urn:schemas-microsoft-com:vml" Requires="v">
                <p:oleObj spid="_x0000_s308264" name="Chart" r:id="rId21" imgW="2152736" imgH="5157689" progId="MSGraph.Chart.8">
                  <p:embed followColorScheme="full"/>
                </p:oleObj>
              </mc:Choice>
              <mc:Fallback>
                <p:oleObj name="Chart" r:id="rId21" imgW="2152736" imgH="5157689" progId="MSGraph.Chart.8">
                  <p:embed followColorScheme="full"/>
                  <p:pic>
                    <p:nvPicPr>
                      <p:cNvPr id="17" name="Object 16"/>
                      <p:cNvPicPr/>
                      <p:nvPr/>
                    </p:nvPicPr>
                    <p:blipFill>
                      <a:blip r:embed="rId22"/>
                      <a:stretch>
                        <a:fillRect/>
                      </a:stretch>
                    </p:blipFill>
                    <p:spPr>
                      <a:xfrm>
                        <a:off x="6553200" y="1104901"/>
                        <a:ext cx="2152736" cy="5157689"/>
                      </a:xfrm>
                      <a:prstGeom prst="rect">
                        <a:avLst/>
                      </a:prstGeom>
                    </p:spPr>
                  </p:pic>
                </p:oleObj>
              </mc:Fallback>
            </mc:AlternateContent>
          </a:graphicData>
        </a:graphic>
      </p:graphicFrame>
      <p:grpSp>
        <p:nvGrpSpPr>
          <p:cNvPr id="44" name="Group 43"/>
          <p:cNvGrpSpPr/>
          <p:nvPr/>
        </p:nvGrpSpPr>
        <p:grpSpPr>
          <a:xfrm>
            <a:off x="6738938" y="885825"/>
            <a:ext cx="1966778" cy="342900"/>
            <a:chOff x="6720214" y="657225"/>
            <a:chExt cx="1966778" cy="342900"/>
          </a:xfrm>
        </p:grpSpPr>
        <p:cxnSp>
          <p:nvCxnSpPr>
            <p:cNvPr id="42" name="Straight Connector 41"/>
            <p:cNvCxnSpPr/>
            <p:nvPr/>
          </p:nvCxnSpPr>
          <p:spPr>
            <a:xfrm>
              <a:off x="6720214" y="1000125"/>
              <a:ext cx="1966778"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43" name="TextBox 42"/>
            <p:cNvSpPr txBox="1"/>
            <p:nvPr/>
          </p:nvSpPr>
          <p:spPr>
            <a:xfrm>
              <a:off x="6720215" y="657225"/>
              <a:ext cx="1898680" cy="307777"/>
            </a:xfrm>
            <a:prstGeom prst="rect">
              <a:avLst/>
            </a:prstGeom>
          </p:spPr>
          <p:txBody>
            <a:bodyPr vert="horz" wrap="square" lIns="0" tIns="0" rIns="0" bIns="0" rtlCol="0">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sz="1000" b="1" dirty="0">
                  <a:solidFill>
                    <a:schemeClr val="accent4"/>
                  </a:solidFill>
                </a:rPr>
                <a:t>EBITDA margin improvement, </a:t>
              </a:r>
              <a:r>
                <a:rPr lang="en-US" sz="1000" dirty="0"/>
                <a:t>%</a:t>
              </a:r>
              <a:r>
                <a:rPr lang="en-US" sz="1000" b="1" dirty="0">
                  <a:solidFill>
                    <a:schemeClr val="accent4"/>
                  </a:solidFill>
                </a:rPr>
                <a:t> </a:t>
              </a:r>
            </a:p>
          </p:txBody>
        </p:sp>
      </p:grpSp>
      <p:cxnSp>
        <p:nvCxnSpPr>
          <p:cNvPr id="41" name="Straight Connector 40"/>
          <p:cNvCxnSpPr/>
          <p:nvPr/>
        </p:nvCxnSpPr>
        <p:spPr>
          <a:xfrm>
            <a:off x="188896" y="2005013"/>
            <a:ext cx="8498689" cy="0"/>
          </a:xfrm>
          <a:prstGeom prst="line">
            <a:avLst/>
          </a:prstGeom>
          <a:ln w="19050">
            <a:solidFill>
              <a:schemeClr val="bg1">
                <a:lumMod val="5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48" name="Straight Connector 47"/>
          <p:cNvCxnSpPr/>
          <p:nvPr/>
        </p:nvCxnSpPr>
        <p:spPr>
          <a:xfrm>
            <a:off x="188896" y="2708275"/>
            <a:ext cx="8498689" cy="0"/>
          </a:xfrm>
          <a:prstGeom prst="line">
            <a:avLst/>
          </a:prstGeom>
          <a:ln w="19050">
            <a:solidFill>
              <a:schemeClr val="bg1">
                <a:lumMod val="5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49" name="Straight Connector 48"/>
          <p:cNvCxnSpPr/>
          <p:nvPr/>
        </p:nvCxnSpPr>
        <p:spPr>
          <a:xfrm>
            <a:off x="176213" y="3411538"/>
            <a:ext cx="8498689" cy="0"/>
          </a:xfrm>
          <a:prstGeom prst="line">
            <a:avLst/>
          </a:prstGeom>
          <a:ln w="19050">
            <a:solidFill>
              <a:schemeClr val="bg1">
                <a:lumMod val="5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50" name="Straight Connector 49"/>
          <p:cNvCxnSpPr/>
          <p:nvPr/>
        </p:nvCxnSpPr>
        <p:spPr>
          <a:xfrm>
            <a:off x="188896" y="4114800"/>
            <a:ext cx="8498689" cy="0"/>
          </a:xfrm>
          <a:prstGeom prst="line">
            <a:avLst/>
          </a:prstGeom>
          <a:ln w="19050">
            <a:solidFill>
              <a:schemeClr val="bg1">
                <a:lumMod val="5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51" name="Straight Connector 50"/>
          <p:cNvCxnSpPr/>
          <p:nvPr/>
        </p:nvCxnSpPr>
        <p:spPr>
          <a:xfrm>
            <a:off x="188896" y="4792120"/>
            <a:ext cx="8498689" cy="0"/>
          </a:xfrm>
          <a:prstGeom prst="line">
            <a:avLst/>
          </a:prstGeom>
          <a:ln w="19050">
            <a:solidFill>
              <a:schemeClr val="bg1">
                <a:lumMod val="5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4" name="Straight Connector 3"/>
          <p:cNvCxnSpPr>
            <a:cxnSpLocks/>
          </p:cNvCxnSpPr>
          <p:nvPr/>
        </p:nvCxnSpPr>
        <p:spPr>
          <a:xfrm>
            <a:off x="1481138" y="1228725"/>
            <a:ext cx="3289194"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7" name="TextBox 6"/>
          <p:cNvSpPr txBox="1">
            <a:spLocks/>
          </p:cNvSpPr>
          <p:nvPr/>
        </p:nvSpPr>
        <p:spPr>
          <a:xfrm>
            <a:off x="1481138" y="1047750"/>
            <a:ext cx="3289194" cy="153888"/>
          </a:xfrm>
          <a:prstGeom prst="rect">
            <a:avLst/>
          </a:prstGeom>
        </p:spPr>
        <p:txBody>
          <a:bodyPr vert="horz" wrap="square" lIns="0" tIns="0" rIns="0" bIns="0" rtlCol="0">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sz="1000" b="1" dirty="0">
                <a:solidFill>
                  <a:schemeClr val="accent4"/>
                </a:solidFill>
              </a:rPr>
              <a:t>Main levers </a:t>
            </a:r>
          </a:p>
        </p:txBody>
      </p:sp>
      <p:grpSp>
        <p:nvGrpSpPr>
          <p:cNvPr id="18" name="Group 17"/>
          <p:cNvGrpSpPr/>
          <p:nvPr/>
        </p:nvGrpSpPr>
        <p:grpSpPr>
          <a:xfrm>
            <a:off x="188913" y="1295400"/>
            <a:ext cx="6359678" cy="665164"/>
            <a:chOff x="169166" y="1066056"/>
            <a:chExt cx="6359678" cy="665164"/>
          </a:xfrm>
        </p:grpSpPr>
        <p:sp>
          <p:nvSpPr>
            <p:cNvPr id="5" name="Rectangle 4"/>
            <p:cNvSpPr txBox="1">
              <a:spLocks/>
            </p:cNvSpPr>
            <p:nvPr>
              <p:custDataLst>
                <p:tags r:id="rId16"/>
              </p:custDataLst>
            </p:nvPr>
          </p:nvSpPr>
          <p:spPr>
            <a:xfrm>
              <a:off x="169166" y="1066056"/>
              <a:ext cx="1221223" cy="665164"/>
            </a:xfrm>
            <a:prstGeom prst="rect">
              <a:avLst/>
            </a:prstGeom>
            <a:solidFill>
              <a:schemeClr val="accent1"/>
            </a:solidFill>
            <a:ln>
              <a:noFill/>
            </a:ln>
          </p:spPr>
          <p:txBody>
            <a:bodyPr vert="horz" lIns="76200" tIns="76200" rIns="76200" bIns="76200" rtlCol="0" anchor="ctr" anchorCtr="0">
              <a:no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sz="1000" b="1" dirty="0">
                  <a:solidFill>
                    <a:schemeClr val="accent4"/>
                  </a:solidFill>
                </a:rPr>
                <a:t>Asset re-configuration </a:t>
              </a:r>
            </a:p>
          </p:txBody>
        </p:sp>
        <p:sp>
          <p:nvSpPr>
            <p:cNvPr id="46" name="TextBox 45"/>
            <p:cNvSpPr txBox="1">
              <a:spLocks/>
            </p:cNvSpPr>
            <p:nvPr/>
          </p:nvSpPr>
          <p:spPr>
            <a:xfrm>
              <a:off x="4956554" y="1066056"/>
              <a:ext cx="1572290" cy="307777"/>
            </a:xfrm>
            <a:prstGeom prst="rect">
              <a:avLst/>
            </a:prstGeom>
          </p:spPr>
          <p:txBody>
            <a:bodyPr vert="horz" wrap="square" lIns="0" tIns="0" rIns="0" bIns="0" rtlCol="0">
              <a:no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1"/>
              <a:r>
                <a:rPr lang="en-US" sz="1000" b="1" dirty="0">
                  <a:solidFill>
                    <a:schemeClr val="accent4"/>
                  </a:solidFill>
                </a:rPr>
                <a:t>25% mill capacity and sales volume </a:t>
              </a:r>
              <a:r>
                <a:rPr lang="en-US" sz="1000" dirty="0"/>
                <a:t>reduction</a:t>
              </a:r>
            </a:p>
          </p:txBody>
        </p:sp>
        <p:sp>
          <p:nvSpPr>
            <p:cNvPr id="75" name="TextBox 74"/>
            <p:cNvSpPr txBox="1">
              <a:spLocks/>
            </p:cNvSpPr>
            <p:nvPr/>
          </p:nvSpPr>
          <p:spPr>
            <a:xfrm>
              <a:off x="1461891" y="1066056"/>
              <a:ext cx="3289194" cy="307777"/>
            </a:xfrm>
            <a:prstGeom prst="rect">
              <a:avLst/>
            </a:prstGeom>
          </p:spPr>
          <p:txBody>
            <a:bodyPr vert="horz" wrap="square" lIns="0" tIns="0" rIns="0" bIns="0" rtlCol="0">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1"/>
              <a:r>
                <a:rPr lang="en-US" sz="1000" b="1" dirty="0">
                  <a:solidFill>
                    <a:schemeClr val="accent4"/>
                  </a:solidFill>
                </a:rPr>
                <a:t>Overhead cost </a:t>
              </a:r>
              <a:r>
                <a:rPr lang="en-US" sz="1000" dirty="0"/>
                <a:t>reduction</a:t>
              </a:r>
            </a:p>
            <a:p>
              <a:pPr lvl="1"/>
              <a:r>
                <a:rPr lang="en-US" sz="1000" b="1" dirty="0">
                  <a:solidFill>
                    <a:schemeClr val="accent4"/>
                  </a:solidFill>
                </a:rPr>
                <a:t>Low/negative margin sales </a:t>
              </a:r>
              <a:r>
                <a:rPr lang="en-US" sz="1000" dirty="0"/>
                <a:t>cancelation </a:t>
              </a:r>
            </a:p>
          </p:txBody>
        </p:sp>
      </p:grpSp>
      <p:grpSp>
        <p:nvGrpSpPr>
          <p:cNvPr id="24" name="Group 23"/>
          <p:cNvGrpSpPr/>
          <p:nvPr/>
        </p:nvGrpSpPr>
        <p:grpSpPr>
          <a:xfrm>
            <a:off x="188913" y="2049463"/>
            <a:ext cx="6359678" cy="615553"/>
            <a:chOff x="169166" y="1882775"/>
            <a:chExt cx="6359678" cy="615553"/>
          </a:xfrm>
        </p:grpSpPr>
        <p:sp>
          <p:nvSpPr>
            <p:cNvPr id="10" name="Rectangle 4"/>
            <p:cNvSpPr txBox="1">
              <a:spLocks/>
            </p:cNvSpPr>
            <p:nvPr>
              <p:custDataLst>
                <p:tags r:id="rId15"/>
              </p:custDataLst>
            </p:nvPr>
          </p:nvSpPr>
          <p:spPr>
            <a:xfrm>
              <a:off x="169166" y="1882775"/>
              <a:ext cx="1221223" cy="615553"/>
            </a:xfrm>
            <a:prstGeom prst="rect">
              <a:avLst/>
            </a:prstGeom>
            <a:solidFill>
              <a:schemeClr val="accent1"/>
            </a:solidFill>
            <a:ln>
              <a:noFill/>
            </a:ln>
          </p:spPr>
          <p:txBody>
            <a:bodyPr vert="horz" lIns="76200" tIns="76200" rIns="76200" bIns="76200" rtlCol="0" anchor="ctr" anchorCtr="0">
              <a:no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sz="1000" b="1" dirty="0">
                  <a:solidFill>
                    <a:schemeClr val="accent4"/>
                  </a:solidFill>
                </a:rPr>
                <a:t>Heavy end optimization</a:t>
              </a:r>
            </a:p>
          </p:txBody>
        </p:sp>
        <p:grpSp>
          <p:nvGrpSpPr>
            <p:cNvPr id="19" name="Group 18"/>
            <p:cNvGrpSpPr>
              <a:grpSpLocks/>
            </p:cNvGrpSpPr>
            <p:nvPr/>
          </p:nvGrpSpPr>
          <p:grpSpPr>
            <a:xfrm>
              <a:off x="1461891" y="1882775"/>
              <a:ext cx="5066953" cy="615553"/>
              <a:chOff x="1461891" y="1882775"/>
              <a:chExt cx="5066953" cy="615553"/>
            </a:xfrm>
          </p:grpSpPr>
          <p:sp>
            <p:nvSpPr>
              <p:cNvPr id="62" name="TextBox 61"/>
              <p:cNvSpPr txBox="1">
                <a:spLocks/>
              </p:cNvSpPr>
              <p:nvPr/>
            </p:nvSpPr>
            <p:spPr>
              <a:xfrm>
                <a:off x="4956554" y="1882775"/>
                <a:ext cx="1572290" cy="461665"/>
              </a:xfrm>
              <a:prstGeom prst="rect">
                <a:avLst/>
              </a:prstGeom>
            </p:spPr>
            <p:txBody>
              <a:bodyPr vert="horz" wrap="square" lIns="0" tIns="0" rIns="0" bIns="0" rtlCol="0">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1"/>
                <a:r>
                  <a:rPr lang="en-US" sz="1000" b="1" dirty="0">
                    <a:solidFill>
                      <a:schemeClr val="accent4"/>
                    </a:solidFill>
                  </a:rPr>
                  <a:t>26 Euro per ton </a:t>
                </a:r>
                <a:r>
                  <a:rPr lang="en-US" sz="1000" dirty="0"/>
                  <a:t>contribution margin improvement</a:t>
                </a:r>
              </a:p>
            </p:txBody>
          </p:sp>
          <p:sp>
            <p:nvSpPr>
              <p:cNvPr id="76" name="TextBox 75"/>
              <p:cNvSpPr txBox="1">
                <a:spLocks/>
              </p:cNvSpPr>
              <p:nvPr/>
            </p:nvSpPr>
            <p:spPr>
              <a:xfrm>
                <a:off x="1461891" y="1882775"/>
                <a:ext cx="3289194" cy="615553"/>
              </a:xfrm>
              <a:prstGeom prst="rect">
                <a:avLst/>
              </a:prstGeom>
            </p:spPr>
            <p:txBody>
              <a:bodyPr vert="horz" wrap="square" lIns="0" tIns="0" rIns="0" bIns="0" rtlCol="0">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1"/>
                <a:r>
                  <a:rPr lang="en-US" sz="1000" b="1" dirty="0">
                    <a:solidFill>
                      <a:schemeClr val="accent4"/>
                    </a:solidFill>
                  </a:rPr>
                  <a:t>Raw materials </a:t>
                </a:r>
                <a:r>
                  <a:rPr lang="en-US" sz="1000" dirty="0"/>
                  <a:t>cost reduction</a:t>
                </a:r>
              </a:p>
              <a:p>
                <a:pPr lvl="1"/>
                <a:r>
                  <a:rPr lang="en-US" sz="1000" b="1" dirty="0">
                    <a:solidFill>
                      <a:schemeClr val="accent4"/>
                    </a:solidFill>
                  </a:rPr>
                  <a:t>Value in Use </a:t>
                </a:r>
                <a:r>
                  <a:rPr lang="en-US" sz="1000" dirty="0"/>
                  <a:t>optimization</a:t>
                </a:r>
              </a:p>
              <a:p>
                <a:pPr lvl="1"/>
                <a:r>
                  <a:rPr lang="en-US" sz="1000" dirty="0"/>
                  <a:t>Internal vs external </a:t>
                </a:r>
                <a:r>
                  <a:rPr lang="en-US" sz="1000" b="1" dirty="0">
                    <a:solidFill>
                      <a:schemeClr val="accent4"/>
                    </a:solidFill>
                  </a:rPr>
                  <a:t>scrap swap </a:t>
                </a:r>
              </a:p>
              <a:p>
                <a:pPr lvl="1"/>
                <a:r>
                  <a:rPr lang="en-US" sz="1000" dirty="0"/>
                  <a:t>Optimization of </a:t>
                </a:r>
                <a:r>
                  <a:rPr lang="en-US" sz="1000" b="1" dirty="0">
                    <a:solidFill>
                      <a:schemeClr val="accent4"/>
                    </a:solidFill>
                  </a:rPr>
                  <a:t>energy</a:t>
                </a:r>
                <a:r>
                  <a:rPr lang="en-US" sz="1000" dirty="0"/>
                  <a:t> consumption</a:t>
                </a:r>
              </a:p>
            </p:txBody>
          </p:sp>
        </p:grpSp>
      </p:grpSp>
      <p:grpSp>
        <p:nvGrpSpPr>
          <p:cNvPr id="27" name="Group 26"/>
          <p:cNvGrpSpPr/>
          <p:nvPr/>
        </p:nvGrpSpPr>
        <p:grpSpPr>
          <a:xfrm>
            <a:off x="188913" y="2752725"/>
            <a:ext cx="6359678" cy="615553"/>
            <a:chOff x="169166" y="2599953"/>
            <a:chExt cx="6359678" cy="615553"/>
          </a:xfrm>
        </p:grpSpPr>
        <p:sp>
          <p:nvSpPr>
            <p:cNvPr id="11" name="Rectangle 4"/>
            <p:cNvSpPr txBox="1">
              <a:spLocks/>
            </p:cNvSpPr>
            <p:nvPr>
              <p:custDataLst>
                <p:tags r:id="rId14"/>
              </p:custDataLst>
            </p:nvPr>
          </p:nvSpPr>
          <p:spPr>
            <a:xfrm>
              <a:off x="169166" y="2599953"/>
              <a:ext cx="1221223" cy="615553"/>
            </a:xfrm>
            <a:prstGeom prst="rect">
              <a:avLst/>
            </a:prstGeom>
            <a:solidFill>
              <a:schemeClr val="accent1"/>
            </a:solidFill>
            <a:ln>
              <a:noFill/>
            </a:ln>
          </p:spPr>
          <p:txBody>
            <a:bodyPr vert="horz" lIns="76200" tIns="76200" rIns="76200" bIns="76200" rtlCol="0" anchor="ctr" anchorCtr="0">
              <a:no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sz="1000" b="1" dirty="0">
                  <a:solidFill>
                    <a:schemeClr val="accent4"/>
                  </a:solidFill>
                </a:rPr>
                <a:t>Mills improvement </a:t>
              </a:r>
            </a:p>
          </p:txBody>
        </p:sp>
        <p:grpSp>
          <p:nvGrpSpPr>
            <p:cNvPr id="26" name="Group 25"/>
            <p:cNvGrpSpPr>
              <a:grpSpLocks/>
            </p:cNvGrpSpPr>
            <p:nvPr/>
          </p:nvGrpSpPr>
          <p:grpSpPr>
            <a:xfrm>
              <a:off x="1461891" y="2599953"/>
              <a:ext cx="5066953" cy="615553"/>
              <a:chOff x="1461891" y="2599953"/>
              <a:chExt cx="5066953" cy="615553"/>
            </a:xfrm>
          </p:grpSpPr>
          <p:sp>
            <p:nvSpPr>
              <p:cNvPr id="65" name="TextBox 64"/>
              <p:cNvSpPr txBox="1"/>
              <p:nvPr/>
            </p:nvSpPr>
            <p:spPr>
              <a:xfrm>
                <a:off x="4956554" y="2599953"/>
                <a:ext cx="1572290" cy="307777"/>
              </a:xfrm>
              <a:prstGeom prst="rect">
                <a:avLst/>
              </a:prstGeom>
            </p:spPr>
            <p:txBody>
              <a:bodyPr vert="horz" wrap="square" lIns="0" tIns="0" rIns="0" bIns="0" rtlCol="0">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1"/>
                <a:r>
                  <a:rPr lang="en-US" sz="1000" b="1" dirty="0">
                    <a:solidFill>
                      <a:schemeClr val="accent4"/>
                    </a:solidFill>
                  </a:rPr>
                  <a:t>10% production improvement</a:t>
                </a:r>
              </a:p>
            </p:txBody>
          </p:sp>
          <p:sp>
            <p:nvSpPr>
              <p:cNvPr id="77" name="TextBox 76"/>
              <p:cNvSpPr txBox="1">
                <a:spLocks/>
              </p:cNvSpPr>
              <p:nvPr/>
            </p:nvSpPr>
            <p:spPr>
              <a:xfrm>
                <a:off x="1461891" y="2599953"/>
                <a:ext cx="3289194" cy="615553"/>
              </a:xfrm>
              <a:prstGeom prst="rect">
                <a:avLst/>
              </a:prstGeom>
            </p:spPr>
            <p:txBody>
              <a:bodyPr vert="horz" wrap="square" lIns="0" tIns="0" rIns="0" bIns="0" rtlCol="0">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1"/>
                <a:r>
                  <a:rPr lang="en-US" sz="1000" b="1" dirty="0">
                    <a:solidFill>
                      <a:schemeClr val="accent4"/>
                    </a:solidFill>
                  </a:rPr>
                  <a:t>Mills debottlenecking (</a:t>
                </a:r>
                <a:r>
                  <a:rPr lang="en-US" sz="1000" dirty="0"/>
                  <a:t>improving production scheduling, speed of work and rolling hours)</a:t>
                </a:r>
              </a:p>
              <a:p>
                <a:pPr lvl="1"/>
                <a:r>
                  <a:rPr lang="en-US" sz="1000" b="1" dirty="0">
                    <a:solidFill>
                      <a:schemeClr val="accent4"/>
                    </a:solidFill>
                  </a:rPr>
                  <a:t>Product mix </a:t>
                </a:r>
                <a:r>
                  <a:rPr lang="en-US" sz="1000" dirty="0"/>
                  <a:t>optimization</a:t>
                </a:r>
              </a:p>
              <a:p>
                <a:pPr lvl="1"/>
                <a:r>
                  <a:rPr lang="en-US" sz="1000" b="1" dirty="0">
                    <a:solidFill>
                      <a:schemeClr val="accent4"/>
                    </a:solidFill>
                  </a:rPr>
                  <a:t>Yields and downgrades </a:t>
                </a:r>
                <a:r>
                  <a:rPr lang="en-US" sz="1000" dirty="0" err="1"/>
                  <a:t>programme</a:t>
                </a:r>
                <a:endParaRPr lang="en-US" sz="1000" dirty="0"/>
              </a:p>
            </p:txBody>
          </p:sp>
        </p:grpSp>
      </p:grpSp>
      <p:grpSp>
        <p:nvGrpSpPr>
          <p:cNvPr id="31" name="Group 30"/>
          <p:cNvGrpSpPr/>
          <p:nvPr/>
        </p:nvGrpSpPr>
        <p:grpSpPr>
          <a:xfrm>
            <a:off x="188913" y="3455988"/>
            <a:ext cx="6359678" cy="615553"/>
            <a:chOff x="169166" y="3368675"/>
            <a:chExt cx="6359678" cy="615553"/>
          </a:xfrm>
        </p:grpSpPr>
        <p:sp>
          <p:nvSpPr>
            <p:cNvPr id="12" name="Rectangle 4"/>
            <p:cNvSpPr txBox="1">
              <a:spLocks/>
            </p:cNvSpPr>
            <p:nvPr>
              <p:custDataLst>
                <p:tags r:id="rId13"/>
              </p:custDataLst>
            </p:nvPr>
          </p:nvSpPr>
          <p:spPr>
            <a:xfrm>
              <a:off x="169166" y="3368675"/>
              <a:ext cx="1221223" cy="615553"/>
            </a:xfrm>
            <a:prstGeom prst="rect">
              <a:avLst/>
            </a:prstGeom>
            <a:solidFill>
              <a:schemeClr val="accent1"/>
            </a:solidFill>
            <a:ln>
              <a:noFill/>
            </a:ln>
          </p:spPr>
          <p:txBody>
            <a:bodyPr vert="horz" lIns="76200" tIns="76200" rIns="76200" bIns="76200" rtlCol="0" anchor="ctr" anchorCtr="0">
              <a:no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sz="1000" b="1" dirty="0">
                  <a:solidFill>
                    <a:schemeClr val="accent4"/>
                  </a:solidFill>
                </a:rPr>
                <a:t>External spend</a:t>
              </a:r>
            </a:p>
          </p:txBody>
        </p:sp>
        <p:grpSp>
          <p:nvGrpSpPr>
            <p:cNvPr id="30" name="Group 29"/>
            <p:cNvGrpSpPr>
              <a:grpSpLocks/>
            </p:cNvGrpSpPr>
            <p:nvPr/>
          </p:nvGrpSpPr>
          <p:grpSpPr>
            <a:xfrm>
              <a:off x="1461891" y="3368675"/>
              <a:ext cx="5066953" cy="615553"/>
              <a:chOff x="1461891" y="3368675"/>
              <a:chExt cx="5066953" cy="615553"/>
            </a:xfrm>
          </p:grpSpPr>
          <p:sp>
            <p:nvSpPr>
              <p:cNvPr id="66" name="TextBox 65"/>
              <p:cNvSpPr txBox="1"/>
              <p:nvPr/>
            </p:nvSpPr>
            <p:spPr>
              <a:xfrm>
                <a:off x="4956554" y="3368675"/>
                <a:ext cx="1572290" cy="461665"/>
              </a:xfrm>
              <a:prstGeom prst="rect">
                <a:avLst/>
              </a:prstGeom>
            </p:spPr>
            <p:txBody>
              <a:bodyPr vert="horz" wrap="square" lIns="0" tIns="0" rIns="0" bIns="0" rtlCol="0">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1"/>
                <a:r>
                  <a:rPr lang="en-US" sz="1000" b="1" dirty="0">
                    <a:solidFill>
                      <a:schemeClr val="accent4"/>
                    </a:solidFill>
                  </a:rPr>
                  <a:t>Reduction of 15% of total spend </a:t>
                </a:r>
                <a:r>
                  <a:rPr lang="en-US" sz="1000" dirty="0"/>
                  <a:t>excluding raw materials</a:t>
                </a:r>
              </a:p>
            </p:txBody>
          </p:sp>
          <p:sp>
            <p:nvSpPr>
              <p:cNvPr id="78" name="TextBox 77"/>
              <p:cNvSpPr txBox="1">
                <a:spLocks/>
              </p:cNvSpPr>
              <p:nvPr/>
            </p:nvSpPr>
            <p:spPr>
              <a:xfrm>
                <a:off x="1461891" y="3368675"/>
                <a:ext cx="3289194" cy="615553"/>
              </a:xfrm>
              <a:prstGeom prst="rect">
                <a:avLst/>
              </a:prstGeom>
            </p:spPr>
            <p:txBody>
              <a:bodyPr vert="horz" wrap="square" lIns="0" tIns="0" rIns="0" bIns="0" rtlCol="0">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1"/>
                <a:r>
                  <a:rPr lang="en-US" sz="1000" b="1" dirty="0">
                    <a:solidFill>
                      <a:schemeClr val="accent4"/>
                    </a:solidFill>
                  </a:rPr>
                  <a:t>Major contracts </a:t>
                </a:r>
                <a:r>
                  <a:rPr lang="en-US" sz="1000" dirty="0"/>
                  <a:t>renegotiation</a:t>
                </a:r>
              </a:p>
              <a:p>
                <a:pPr lvl="1"/>
                <a:r>
                  <a:rPr lang="en-US" sz="1000" b="1" dirty="0">
                    <a:solidFill>
                      <a:schemeClr val="accent4"/>
                    </a:solidFill>
                  </a:rPr>
                  <a:t>Budgeting process </a:t>
                </a:r>
                <a:r>
                  <a:rPr lang="en-US" sz="1000" dirty="0"/>
                  <a:t>redesign and spend control</a:t>
                </a:r>
              </a:p>
              <a:p>
                <a:pPr lvl="1"/>
                <a:r>
                  <a:rPr lang="en-US" sz="1000" dirty="0"/>
                  <a:t>Long tail </a:t>
                </a:r>
                <a:r>
                  <a:rPr lang="en-US" sz="1000" b="1" dirty="0">
                    <a:solidFill>
                      <a:schemeClr val="accent4"/>
                    </a:solidFill>
                  </a:rPr>
                  <a:t>suppliers rationalization</a:t>
                </a:r>
              </a:p>
              <a:p>
                <a:pPr lvl="1"/>
                <a:r>
                  <a:rPr lang="en-US" sz="1000" b="1" dirty="0">
                    <a:solidFill>
                      <a:schemeClr val="accent4"/>
                    </a:solidFill>
                  </a:rPr>
                  <a:t>Consumables </a:t>
                </a:r>
                <a:r>
                  <a:rPr lang="en-US" sz="1000" dirty="0"/>
                  <a:t>consumption optimization</a:t>
                </a:r>
              </a:p>
            </p:txBody>
          </p:sp>
        </p:grpSp>
      </p:grpSp>
      <p:grpSp>
        <p:nvGrpSpPr>
          <p:cNvPr id="38" name="Group 37"/>
          <p:cNvGrpSpPr/>
          <p:nvPr/>
        </p:nvGrpSpPr>
        <p:grpSpPr>
          <a:xfrm>
            <a:off x="188913" y="4141788"/>
            <a:ext cx="6359678" cy="641201"/>
            <a:chOff x="169166" y="3939987"/>
            <a:chExt cx="6359678" cy="641201"/>
          </a:xfrm>
        </p:grpSpPr>
        <p:sp>
          <p:nvSpPr>
            <p:cNvPr id="13" name="Rectangle 4"/>
            <p:cNvSpPr txBox="1">
              <a:spLocks/>
            </p:cNvSpPr>
            <p:nvPr>
              <p:custDataLst>
                <p:tags r:id="rId12"/>
              </p:custDataLst>
            </p:nvPr>
          </p:nvSpPr>
          <p:spPr>
            <a:xfrm>
              <a:off x="169166" y="3939987"/>
              <a:ext cx="1221223" cy="641201"/>
            </a:xfrm>
            <a:prstGeom prst="rect">
              <a:avLst/>
            </a:prstGeom>
            <a:solidFill>
              <a:schemeClr val="accent1"/>
            </a:solidFill>
            <a:ln>
              <a:noFill/>
            </a:ln>
          </p:spPr>
          <p:txBody>
            <a:bodyPr vert="horz" lIns="76200" tIns="76200" rIns="76200" bIns="76200" rtlCol="0" anchor="ctr" anchorCtr="0">
              <a:no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sz="1000" b="1" dirty="0">
                  <a:solidFill>
                    <a:schemeClr val="accent4"/>
                  </a:solidFill>
                </a:rPr>
                <a:t>Organization &amp; functional costs</a:t>
              </a:r>
            </a:p>
          </p:txBody>
        </p:sp>
        <p:sp>
          <p:nvSpPr>
            <p:cNvPr id="67" name="TextBox 66"/>
            <p:cNvSpPr txBox="1"/>
            <p:nvPr/>
          </p:nvSpPr>
          <p:spPr>
            <a:xfrm>
              <a:off x="4956554" y="3939987"/>
              <a:ext cx="1572290" cy="384721"/>
            </a:xfrm>
            <a:prstGeom prst="rect">
              <a:avLst/>
            </a:prstGeom>
          </p:spPr>
          <p:txBody>
            <a:bodyPr vert="horz" wrap="square" lIns="0" tIns="0" rIns="0" bIns="0" rtlCol="0">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1">
                <a:lnSpc>
                  <a:spcPts val="1000"/>
                </a:lnSpc>
              </a:pPr>
              <a:r>
                <a:rPr lang="en-US" sz="1000" b="1" dirty="0">
                  <a:solidFill>
                    <a:schemeClr val="accent4"/>
                  </a:solidFill>
                </a:rPr>
                <a:t>25% HR </a:t>
              </a:r>
              <a:r>
                <a:rPr lang="en-US" sz="1000" dirty="0"/>
                <a:t>costs reduction</a:t>
              </a:r>
            </a:p>
            <a:p>
              <a:pPr lvl="1">
                <a:lnSpc>
                  <a:spcPts val="1000"/>
                </a:lnSpc>
              </a:pPr>
              <a:r>
                <a:rPr lang="en-US" sz="1000" b="1" dirty="0">
                  <a:solidFill>
                    <a:schemeClr val="accent4"/>
                  </a:solidFill>
                </a:rPr>
                <a:t>25-35% functional cost</a:t>
              </a:r>
              <a:r>
                <a:rPr lang="en-US" sz="1000" dirty="0"/>
                <a:t> reduction </a:t>
              </a:r>
            </a:p>
          </p:txBody>
        </p:sp>
        <p:sp>
          <p:nvSpPr>
            <p:cNvPr id="79" name="TextBox 78"/>
            <p:cNvSpPr txBox="1">
              <a:spLocks/>
            </p:cNvSpPr>
            <p:nvPr/>
          </p:nvSpPr>
          <p:spPr>
            <a:xfrm>
              <a:off x="1461891" y="3939987"/>
              <a:ext cx="3289194" cy="641201"/>
            </a:xfrm>
            <a:prstGeom prst="rect">
              <a:avLst/>
            </a:prstGeom>
          </p:spPr>
          <p:txBody>
            <a:bodyPr vert="horz" wrap="square" lIns="0" tIns="0" rIns="0" bIns="0" rtlCol="0">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1">
                <a:lnSpc>
                  <a:spcPts val="1000"/>
                </a:lnSpc>
              </a:pPr>
              <a:r>
                <a:rPr lang="en-US" sz="1000" b="1" dirty="0">
                  <a:solidFill>
                    <a:schemeClr val="accent4"/>
                  </a:solidFill>
                </a:rPr>
                <a:t>Head count </a:t>
              </a:r>
              <a:r>
                <a:rPr lang="en-US" sz="1000" dirty="0"/>
                <a:t>reduction (-35% white collar and -20% blue collar)</a:t>
              </a:r>
            </a:p>
            <a:p>
              <a:pPr lvl="1">
                <a:lnSpc>
                  <a:spcPts val="1000"/>
                </a:lnSpc>
              </a:pPr>
              <a:r>
                <a:rPr lang="en-US" sz="1000" b="1" dirty="0">
                  <a:solidFill>
                    <a:schemeClr val="accent4"/>
                  </a:solidFill>
                </a:rPr>
                <a:t>Terms and conditions </a:t>
              </a:r>
              <a:r>
                <a:rPr lang="en-US" sz="1000" dirty="0"/>
                <a:t>renegotiation (</a:t>
              </a:r>
              <a:r>
                <a:rPr lang="en-US" sz="1000" dirty="0" err="1"/>
                <a:t>eg</a:t>
              </a:r>
              <a:r>
                <a:rPr lang="en-US" sz="1000" dirty="0"/>
                <a:t>., overtime, benefits and variable compensation schemes review, annualized hours)</a:t>
              </a:r>
            </a:p>
          </p:txBody>
        </p:sp>
      </p:grpSp>
      <p:grpSp>
        <p:nvGrpSpPr>
          <p:cNvPr id="37" name="Group 36"/>
          <p:cNvGrpSpPr/>
          <p:nvPr/>
        </p:nvGrpSpPr>
        <p:grpSpPr>
          <a:xfrm>
            <a:off x="188913" y="4856163"/>
            <a:ext cx="6359678" cy="769441"/>
            <a:chOff x="169166" y="4975225"/>
            <a:chExt cx="6359678" cy="769441"/>
          </a:xfrm>
        </p:grpSpPr>
        <p:sp>
          <p:nvSpPr>
            <p:cNvPr id="14" name="Rectangle 4"/>
            <p:cNvSpPr txBox="1">
              <a:spLocks/>
            </p:cNvSpPr>
            <p:nvPr>
              <p:custDataLst>
                <p:tags r:id="rId11"/>
              </p:custDataLst>
            </p:nvPr>
          </p:nvSpPr>
          <p:spPr>
            <a:xfrm>
              <a:off x="169166" y="4975225"/>
              <a:ext cx="1221223" cy="769441"/>
            </a:xfrm>
            <a:prstGeom prst="rect">
              <a:avLst/>
            </a:prstGeom>
            <a:solidFill>
              <a:schemeClr val="accent1"/>
            </a:solidFill>
            <a:ln>
              <a:noFill/>
            </a:ln>
          </p:spPr>
          <p:txBody>
            <a:bodyPr vert="horz" lIns="76200" tIns="76200" rIns="76200" bIns="76200" rtlCol="0" anchor="ctr" anchorCtr="0">
              <a:no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sz="1000" b="1" dirty="0">
                  <a:solidFill>
                    <a:schemeClr val="accent4"/>
                  </a:solidFill>
                </a:rPr>
                <a:t>Sales optimization</a:t>
              </a:r>
            </a:p>
          </p:txBody>
        </p:sp>
        <p:grpSp>
          <p:nvGrpSpPr>
            <p:cNvPr id="36" name="Group 35"/>
            <p:cNvGrpSpPr>
              <a:grpSpLocks/>
            </p:cNvGrpSpPr>
            <p:nvPr/>
          </p:nvGrpSpPr>
          <p:grpSpPr>
            <a:xfrm>
              <a:off x="1461891" y="4975225"/>
              <a:ext cx="5066953" cy="769441"/>
              <a:chOff x="1461891" y="4975225"/>
              <a:chExt cx="5066953" cy="769441"/>
            </a:xfrm>
          </p:grpSpPr>
          <p:sp>
            <p:nvSpPr>
              <p:cNvPr id="68" name="TextBox 67"/>
              <p:cNvSpPr txBox="1"/>
              <p:nvPr/>
            </p:nvSpPr>
            <p:spPr>
              <a:xfrm>
                <a:off x="4956554" y="4975225"/>
                <a:ext cx="1572290" cy="461665"/>
              </a:xfrm>
              <a:prstGeom prst="rect">
                <a:avLst/>
              </a:prstGeom>
            </p:spPr>
            <p:txBody>
              <a:bodyPr vert="horz" wrap="square" lIns="0" tIns="0" rIns="0" bIns="0" rtlCol="0">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1"/>
                <a:r>
                  <a:rPr lang="en-US" sz="1000" b="1" dirty="0">
                    <a:solidFill>
                      <a:schemeClr val="accent4"/>
                    </a:solidFill>
                  </a:rPr>
                  <a:t>5 Euro per ton </a:t>
                </a:r>
                <a:r>
                  <a:rPr lang="en-US" sz="1000" dirty="0"/>
                  <a:t>contribution margin improvement</a:t>
                </a:r>
              </a:p>
            </p:txBody>
          </p:sp>
          <p:sp>
            <p:nvSpPr>
              <p:cNvPr id="80" name="TextBox 79"/>
              <p:cNvSpPr txBox="1">
                <a:spLocks/>
              </p:cNvSpPr>
              <p:nvPr/>
            </p:nvSpPr>
            <p:spPr>
              <a:xfrm>
                <a:off x="1461891" y="4975225"/>
                <a:ext cx="3289194" cy="769441"/>
              </a:xfrm>
              <a:prstGeom prst="rect">
                <a:avLst/>
              </a:prstGeom>
            </p:spPr>
            <p:txBody>
              <a:bodyPr vert="horz" wrap="square" lIns="0" tIns="0" rIns="0" bIns="0" rtlCol="0">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1"/>
                <a:r>
                  <a:rPr lang="en-US" sz="1000" b="1" dirty="0">
                    <a:solidFill>
                      <a:schemeClr val="accent4"/>
                    </a:solidFill>
                  </a:rPr>
                  <a:t>Pricing</a:t>
                </a:r>
                <a:r>
                  <a:rPr lang="en-US" sz="1000" dirty="0"/>
                  <a:t> (low margin sales minimization; discount policy review; logistic cost charge)</a:t>
                </a:r>
              </a:p>
              <a:p>
                <a:pPr lvl="1"/>
                <a:r>
                  <a:rPr lang="en-US" sz="1000" dirty="0"/>
                  <a:t>High margin products </a:t>
                </a:r>
                <a:r>
                  <a:rPr lang="en-US" sz="1000" b="1" dirty="0">
                    <a:solidFill>
                      <a:schemeClr val="accent4"/>
                    </a:solidFill>
                  </a:rPr>
                  <a:t>volume uplift</a:t>
                </a:r>
              </a:p>
              <a:p>
                <a:pPr lvl="1"/>
                <a:r>
                  <a:rPr lang="en-US" sz="1000" b="1" dirty="0">
                    <a:solidFill>
                      <a:schemeClr val="accent4"/>
                    </a:solidFill>
                  </a:rPr>
                  <a:t>Commercial costs </a:t>
                </a:r>
                <a:r>
                  <a:rPr lang="en-US" sz="1000" dirty="0"/>
                  <a:t>optimization (Freight costs, invoicing and overall commercial complexity)</a:t>
                </a:r>
              </a:p>
            </p:txBody>
          </p:sp>
        </p:grpSp>
      </p:grpSp>
      <p:sp>
        <p:nvSpPr>
          <p:cNvPr id="56" name="5. Source">
            <a:extLst>
              <a:ext uri="{FF2B5EF4-FFF2-40B4-BE49-F238E27FC236}">
                <a16:creationId xmlns:a16="http://schemas.microsoft.com/office/drawing/2014/main" id="{4632C58C-27DC-4CBA-941F-526DA53E7793}"/>
              </a:ext>
            </a:extLst>
          </p:cNvPr>
          <p:cNvSpPr>
            <a:spLocks noChangeArrowheads="1"/>
          </p:cNvSpPr>
          <p:nvPr/>
        </p:nvSpPr>
        <p:spPr bwMode="gray">
          <a:xfrm>
            <a:off x="119063" y="6507558"/>
            <a:ext cx="7200000" cy="123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marL="609600" indent="-609600" defTabSz="895350">
              <a:tabLst>
                <a:tab pos="612775" algn="l"/>
              </a:tabLst>
            </a:pPr>
            <a:r>
              <a:rPr lang="en-US" sz="800" baseline="0" dirty="0">
                <a:solidFill>
                  <a:schemeClr val="accent6"/>
                </a:solidFill>
                <a:latin typeface="+mn-lt"/>
                <a:ea typeface="+mn-ea"/>
              </a:rPr>
              <a:t>SOURCE: McKinsey Recovery &amp; Transformation Services</a:t>
            </a:r>
          </a:p>
        </p:txBody>
      </p:sp>
      <p:sp>
        <p:nvSpPr>
          <p:cNvPr id="3" name="Title 2">
            <a:extLst>
              <a:ext uri="{FF2B5EF4-FFF2-40B4-BE49-F238E27FC236}">
                <a16:creationId xmlns:a16="http://schemas.microsoft.com/office/drawing/2014/main" id="{22438C53-335B-4027-B300-10F796AEF4F5}"/>
              </a:ext>
            </a:extLst>
          </p:cNvPr>
          <p:cNvSpPr>
            <a:spLocks noGrp="1"/>
          </p:cNvSpPr>
          <p:nvPr>
            <p:ph type="title"/>
          </p:nvPr>
        </p:nvSpPr>
        <p:spPr>
          <a:xfrm>
            <a:off x="119063" y="230188"/>
            <a:ext cx="8618537" cy="307777"/>
          </a:xfrm>
        </p:spPr>
        <p:txBody>
          <a:bodyPr/>
          <a:lstStyle/>
          <a:p>
            <a:r>
              <a:rPr lang="en-US" altLang="fr-FR" dirty="0"/>
              <a:t>Case study: Key levers for the Strip UK business</a:t>
            </a:r>
            <a:endParaRPr lang="en-GB" dirty="0"/>
          </a:p>
        </p:txBody>
      </p:sp>
    </p:spTree>
    <p:extLst>
      <p:ext uri="{BB962C8B-B14F-4D97-AF65-F5344CB8AC3E}">
        <p14:creationId xmlns:p14="http://schemas.microsoft.com/office/powerpoint/2010/main" val="1806511360"/>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9268" name="think-cell Slide" r:id="rId7" imgW="353" imgH="353" progId="TCLayout.ActiveDocument.1">
                  <p:embed/>
                </p:oleObj>
              </mc:Choice>
              <mc:Fallback>
                <p:oleObj name="think-cell Slide" r:id="rId7" imgW="353" imgH="353" progId="TCLayout.ActiveDocument.1">
                  <p:embed/>
                  <p:pic>
                    <p:nvPicPr>
                      <p:cNvPr id="4" name="Object 3" hidden="1"/>
                      <p:cNvPicPr/>
                      <p:nvPr/>
                    </p:nvPicPr>
                    <p:blipFill>
                      <a:blip r:embed="rId8"/>
                      <a:stretch>
                        <a:fillRect/>
                      </a:stretch>
                    </p:blipFill>
                    <p:spPr>
                      <a:xfrm>
                        <a:off x="1588" y="1588"/>
                        <a:ext cx="1587" cy="1587"/>
                      </a:xfrm>
                      <a:prstGeom prst="rect">
                        <a:avLst/>
                      </a:prstGeom>
                    </p:spPr>
                  </p:pic>
                </p:oleObj>
              </mc:Fallback>
            </mc:AlternateContent>
          </a:graphicData>
        </a:graphic>
      </p:graphicFrame>
      <p:sp>
        <p:nvSpPr>
          <p:cNvPr id="16" name="Rectangle 2"/>
          <p:cNvSpPr txBox="1">
            <a:spLocks/>
          </p:cNvSpPr>
          <p:nvPr/>
        </p:nvSpPr>
        <p:spPr>
          <a:xfrm>
            <a:off x="154374" y="1278461"/>
            <a:ext cx="2155873" cy="4560364"/>
          </a:xfrm>
          <a:prstGeom prst="rect">
            <a:avLst/>
          </a:prstGeom>
          <a:solidFill>
            <a:schemeClr val="bg1"/>
          </a:solidFill>
          <a:ln w="19050">
            <a:solidFill>
              <a:schemeClr val="accent1"/>
            </a:solidFill>
            <a:miter lim="800000"/>
            <a:headEnd/>
            <a:tailEnd/>
          </a:ln>
          <a:effectLst>
            <a:outerShdw blurRad="50800" dist="38100" dir="2700000" algn="tl" rotWithShape="0">
              <a:prstClr val="black">
                <a:alpha val="40000"/>
              </a:prstClr>
            </a:outerShdw>
          </a:effectLst>
        </p:spPr>
        <p:txBody>
          <a:bodyPr wrap="none" lIns="93286" tIns="46643" rIns="93286" bIns="46643" anchor="ctr"/>
          <a:lstStyle>
            <a:defPPr>
              <a:defRPr lang="en-US"/>
            </a:defPPr>
            <a:lvl1pPr>
              <a:defRPr sz="1200">
                <a:solidFill>
                  <a:srgbClr val="000000"/>
                </a:solidFill>
                <a:latin typeface="+mn-lt"/>
              </a:defRPr>
            </a:lvl1pPr>
          </a:lstStyle>
          <a:p>
            <a:endParaRPr lang="en-US" dirty="0"/>
          </a:p>
        </p:txBody>
      </p:sp>
      <p:sp>
        <p:nvSpPr>
          <p:cNvPr id="8" name="Rectangle 2"/>
          <p:cNvSpPr txBox="1">
            <a:spLocks/>
          </p:cNvSpPr>
          <p:nvPr/>
        </p:nvSpPr>
        <p:spPr>
          <a:xfrm>
            <a:off x="2840819" y="1278461"/>
            <a:ext cx="3193618" cy="4560364"/>
          </a:xfrm>
          <a:prstGeom prst="rect">
            <a:avLst/>
          </a:prstGeom>
          <a:solidFill>
            <a:schemeClr val="bg1"/>
          </a:solidFill>
          <a:ln w="19050">
            <a:solidFill>
              <a:schemeClr val="accent4">
                <a:lumMod val="10000"/>
                <a:lumOff val="90000"/>
              </a:schemeClr>
            </a:solidFill>
            <a:miter lim="800000"/>
            <a:headEnd/>
            <a:tailEnd/>
          </a:ln>
          <a:effectLst>
            <a:outerShdw blurRad="50800" dist="38100" dir="2700000" algn="tl" rotWithShape="0">
              <a:prstClr val="black">
                <a:alpha val="40000"/>
              </a:prstClr>
            </a:outerShdw>
          </a:effectLst>
        </p:spPr>
        <p:txBody>
          <a:bodyPr wrap="none" lIns="93286" tIns="46643" rIns="93286" bIns="46643" anchor="ctr"/>
          <a:lstStyle>
            <a:defPPr>
              <a:defRPr lang="en-US"/>
            </a:defPPr>
            <a:lvl1pPr>
              <a:defRPr sz="1200">
                <a:solidFill>
                  <a:srgbClr val="000000"/>
                </a:solidFill>
                <a:latin typeface="+mn-lt"/>
              </a:defRPr>
            </a:lvl1pPr>
          </a:lstStyle>
          <a:p>
            <a:endParaRPr lang="en-US" dirty="0"/>
          </a:p>
        </p:txBody>
      </p:sp>
      <p:sp>
        <p:nvSpPr>
          <p:cNvPr id="9" name="Rectangle 2"/>
          <p:cNvSpPr txBox="1">
            <a:spLocks/>
          </p:cNvSpPr>
          <p:nvPr/>
        </p:nvSpPr>
        <p:spPr>
          <a:xfrm>
            <a:off x="2840819" y="1278461"/>
            <a:ext cx="3193618" cy="391646"/>
          </a:xfrm>
          <a:prstGeom prst="rect">
            <a:avLst/>
          </a:prstGeom>
          <a:solidFill>
            <a:schemeClr val="accent4">
              <a:lumMod val="10000"/>
              <a:lumOff val="90000"/>
            </a:schemeClr>
          </a:solidFill>
          <a:ln w="19050">
            <a:solidFill>
              <a:schemeClr val="accent4">
                <a:lumMod val="10000"/>
                <a:lumOff val="90000"/>
              </a:schemeClr>
            </a:solidFill>
          </a:ln>
        </p:spPr>
        <p:txBody>
          <a:bodyPr vert="horz" wrap="square" lIns="72009" tIns="72009" rIns="72009" bIns="72009" rtlCol="0" anchor="ctr" anchorCtr="0">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buClr>
                <a:schemeClr val="lt1"/>
              </a:buClr>
            </a:pPr>
            <a:r>
              <a:rPr lang="en-US" b="1" dirty="0">
                <a:solidFill>
                  <a:schemeClr val="tx2"/>
                </a:solidFill>
              </a:rPr>
              <a:t>Approach</a:t>
            </a:r>
          </a:p>
        </p:txBody>
      </p:sp>
      <p:sp>
        <p:nvSpPr>
          <p:cNvPr id="5" name="TextBox 4"/>
          <p:cNvSpPr txBox="1"/>
          <p:nvPr/>
        </p:nvSpPr>
        <p:spPr>
          <a:xfrm>
            <a:off x="2928345" y="1719869"/>
            <a:ext cx="3018566" cy="3644075"/>
          </a:xfrm>
          <a:prstGeom prst="rect">
            <a:avLst/>
          </a:prstGeom>
        </p:spPr>
        <p:txBody>
          <a:bodyPr vert="horz" wrap="square" lIns="0" tIns="0" rIns="0" bIns="0" rtlCol="0">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1">
              <a:spcBef>
                <a:spcPct val="20000"/>
              </a:spcBef>
            </a:pPr>
            <a:r>
              <a:rPr lang="en-US" dirty="0"/>
              <a:t>McKinsey Recovery and Transformation Services (RTS) approach deployed </a:t>
            </a:r>
          </a:p>
          <a:p>
            <a:pPr lvl="1">
              <a:spcBef>
                <a:spcPct val="20000"/>
              </a:spcBef>
            </a:pPr>
            <a:r>
              <a:rPr lang="en-US" dirty="0"/>
              <a:t>Support from RTS experts </a:t>
            </a:r>
            <a:br>
              <a:rPr lang="en-US" dirty="0"/>
            </a:br>
            <a:r>
              <a:rPr lang="en-US" dirty="0"/>
              <a:t>from US and Australia to set-up program</a:t>
            </a:r>
          </a:p>
          <a:p>
            <a:pPr lvl="1">
              <a:spcBef>
                <a:spcPct val="20000"/>
              </a:spcBef>
            </a:pPr>
            <a:r>
              <a:rPr lang="en-US" dirty="0"/>
              <a:t>Full time RTS VP deployed </a:t>
            </a:r>
            <a:br>
              <a:rPr lang="en-US" dirty="0"/>
            </a:br>
            <a:r>
              <a:rPr lang="en-US" dirty="0"/>
              <a:t>as Chief Transformation Officer (CTO)</a:t>
            </a:r>
          </a:p>
          <a:p>
            <a:pPr lvl="1">
              <a:spcBef>
                <a:spcPct val="20000"/>
              </a:spcBef>
            </a:pPr>
            <a:r>
              <a:rPr lang="en-US" dirty="0"/>
              <a:t>Focus on commercial levers to generate quick cash and bring cost down</a:t>
            </a:r>
          </a:p>
          <a:p>
            <a:pPr lvl="1">
              <a:spcBef>
                <a:spcPct val="20000"/>
              </a:spcBef>
            </a:pPr>
            <a:r>
              <a:rPr lang="en-US" dirty="0"/>
              <a:t>Expert negotiators leveraged </a:t>
            </a:r>
            <a:br>
              <a:rPr lang="en-US" dirty="0"/>
            </a:br>
            <a:r>
              <a:rPr lang="en-US" dirty="0"/>
              <a:t>to drive key negotiations</a:t>
            </a:r>
          </a:p>
        </p:txBody>
      </p:sp>
      <p:sp>
        <p:nvSpPr>
          <p:cNvPr id="11" name="Rectangle 2"/>
          <p:cNvSpPr txBox="1">
            <a:spLocks/>
          </p:cNvSpPr>
          <p:nvPr/>
        </p:nvSpPr>
        <p:spPr>
          <a:xfrm>
            <a:off x="6565011" y="1278461"/>
            <a:ext cx="2137278" cy="4560364"/>
          </a:xfrm>
          <a:prstGeom prst="rect">
            <a:avLst/>
          </a:prstGeom>
          <a:solidFill>
            <a:schemeClr val="bg1"/>
          </a:solidFill>
          <a:ln w="19050">
            <a:solidFill>
              <a:schemeClr val="accent4"/>
            </a:solidFill>
            <a:miter lim="800000"/>
            <a:headEnd/>
            <a:tailEnd/>
          </a:ln>
          <a:effectLst>
            <a:outerShdw blurRad="50800" dist="38100" dir="2700000" algn="tl" rotWithShape="0">
              <a:prstClr val="black">
                <a:alpha val="40000"/>
              </a:prstClr>
            </a:outerShdw>
          </a:effectLst>
        </p:spPr>
        <p:txBody>
          <a:bodyPr wrap="none" lIns="93286" tIns="46643" rIns="93286" bIns="46643" anchor="ctr"/>
          <a:lstStyle>
            <a:defPPr>
              <a:defRPr lang="en-US"/>
            </a:defPPr>
            <a:lvl1pPr>
              <a:defRPr sz="1200">
                <a:solidFill>
                  <a:srgbClr val="000000"/>
                </a:solidFill>
                <a:latin typeface="+mn-lt"/>
              </a:defRPr>
            </a:lvl1pPr>
          </a:lstStyle>
          <a:p>
            <a:endParaRPr lang="en-US" dirty="0"/>
          </a:p>
        </p:txBody>
      </p:sp>
      <p:sp>
        <p:nvSpPr>
          <p:cNvPr id="12" name="Rectangle 2"/>
          <p:cNvSpPr txBox="1"/>
          <p:nvPr/>
        </p:nvSpPr>
        <p:spPr>
          <a:xfrm>
            <a:off x="6565011" y="1278461"/>
            <a:ext cx="2137278" cy="391646"/>
          </a:xfrm>
          <a:prstGeom prst="rect">
            <a:avLst/>
          </a:prstGeom>
          <a:solidFill>
            <a:schemeClr val="accent4"/>
          </a:solidFill>
          <a:ln w="19050">
            <a:solidFill>
              <a:schemeClr val="accent4"/>
            </a:solidFill>
          </a:ln>
        </p:spPr>
        <p:txBody>
          <a:bodyPr vert="horz" wrap="square" lIns="72009" tIns="72009" rIns="72009" bIns="72009" rtlCol="0" anchor="ctr" anchorCtr="0">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buClr>
                <a:schemeClr val="lt1"/>
              </a:buClr>
            </a:pPr>
            <a:r>
              <a:rPr lang="en-US" b="1" dirty="0">
                <a:solidFill>
                  <a:schemeClr val="lt1"/>
                </a:solidFill>
              </a:rPr>
              <a:t>Impact</a:t>
            </a:r>
          </a:p>
        </p:txBody>
      </p:sp>
      <p:sp>
        <p:nvSpPr>
          <p:cNvPr id="13" name="TextBox 12"/>
          <p:cNvSpPr txBox="1"/>
          <p:nvPr/>
        </p:nvSpPr>
        <p:spPr>
          <a:xfrm>
            <a:off x="6623587" y="1719869"/>
            <a:ext cx="2020127" cy="3348609"/>
          </a:xfrm>
          <a:prstGeom prst="rect">
            <a:avLst/>
          </a:prstGeom>
        </p:spPr>
        <p:txBody>
          <a:bodyPr vert="horz" wrap="square" lIns="0" tIns="0" rIns="0" bIns="0" rtlCol="0">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1">
              <a:spcBef>
                <a:spcPct val="20000"/>
              </a:spcBef>
            </a:pPr>
            <a:r>
              <a:rPr lang="en-US" dirty="0"/>
              <a:t>Overall opportunity of $400+ </a:t>
            </a:r>
            <a:r>
              <a:rPr lang="en-US" dirty="0" err="1"/>
              <a:t>Mn</a:t>
            </a:r>
            <a:r>
              <a:rPr lang="en-US" dirty="0"/>
              <a:t> identified </a:t>
            </a:r>
            <a:br>
              <a:rPr lang="en-US" dirty="0"/>
            </a:br>
            <a:r>
              <a:rPr lang="en-US" dirty="0"/>
              <a:t>(15-20% over spend base)</a:t>
            </a:r>
          </a:p>
          <a:p>
            <a:pPr lvl="1">
              <a:spcBef>
                <a:spcPct val="20000"/>
              </a:spcBef>
            </a:pPr>
            <a:r>
              <a:rPr lang="en-US" dirty="0"/>
              <a:t>$140+Mn implemented in first 6 months</a:t>
            </a:r>
          </a:p>
          <a:p>
            <a:pPr lvl="1">
              <a:spcBef>
                <a:spcPct val="20000"/>
              </a:spcBef>
            </a:pPr>
            <a:r>
              <a:rPr lang="en-US" dirty="0"/>
              <a:t>300+ initiatives identified</a:t>
            </a:r>
          </a:p>
          <a:p>
            <a:pPr lvl="1">
              <a:spcBef>
                <a:spcPct val="20000"/>
              </a:spcBef>
            </a:pPr>
            <a:r>
              <a:rPr lang="en-US" dirty="0"/>
              <a:t>Focus on generating “quick cash in the bank”</a:t>
            </a:r>
          </a:p>
        </p:txBody>
      </p:sp>
      <p:sp>
        <p:nvSpPr>
          <p:cNvPr id="17" name="DirArrow 13"/>
          <p:cNvSpPr>
            <a:spLocks noChangeArrowheads="1"/>
          </p:cNvSpPr>
          <p:nvPr>
            <p:custDataLst>
              <p:tags r:id="rId3"/>
            </p:custDataLst>
          </p:nvPr>
        </p:nvSpPr>
        <p:spPr bwMode="auto">
          <a:xfrm rot="5400000">
            <a:off x="4754387" y="3386939"/>
            <a:ext cx="3090672" cy="343408"/>
          </a:xfrm>
          <a:prstGeom prst="triangle">
            <a:avLst>
              <a:gd name="adj" fmla="val 50000"/>
            </a:avLst>
          </a:prstGeom>
          <a:solidFill>
            <a:schemeClr val="accent1"/>
          </a:solid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5" name="TextBox 14"/>
          <p:cNvSpPr txBox="1"/>
          <p:nvPr/>
        </p:nvSpPr>
        <p:spPr>
          <a:xfrm>
            <a:off x="205390" y="1719869"/>
            <a:ext cx="2053841" cy="4038029"/>
          </a:xfrm>
          <a:prstGeom prst="rect">
            <a:avLst/>
          </a:prstGeom>
        </p:spPr>
        <p:txBody>
          <a:bodyPr vert="horz" wrap="square" lIns="0" tIns="0" rIns="0" bIns="0" rtlCol="0">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1">
              <a:spcBef>
                <a:spcPct val="20000"/>
              </a:spcBef>
            </a:pPr>
            <a:r>
              <a:rPr lang="en-US" dirty="0"/>
              <a:t>Large mining player with assets spread across India</a:t>
            </a:r>
          </a:p>
          <a:p>
            <a:pPr lvl="1">
              <a:spcBef>
                <a:spcPct val="20000"/>
              </a:spcBef>
            </a:pPr>
            <a:r>
              <a:rPr lang="en-US" dirty="0"/>
              <a:t>Under heavy pressure to cut costs and generate cash because of severe commodity down turn</a:t>
            </a:r>
          </a:p>
          <a:p>
            <a:pPr lvl="1">
              <a:spcBef>
                <a:spcPct val="20000"/>
              </a:spcBef>
            </a:pPr>
            <a:r>
              <a:rPr lang="en-US" dirty="0"/>
              <a:t>Chairman mandated group wide transformation program to significantly bring down cost of production</a:t>
            </a:r>
          </a:p>
        </p:txBody>
      </p:sp>
      <p:sp>
        <p:nvSpPr>
          <p:cNvPr id="18" name="Rectangle 2"/>
          <p:cNvSpPr txBox="1"/>
          <p:nvPr/>
        </p:nvSpPr>
        <p:spPr>
          <a:xfrm>
            <a:off x="154374" y="1278461"/>
            <a:ext cx="2155873" cy="391646"/>
          </a:xfrm>
          <a:prstGeom prst="rect">
            <a:avLst/>
          </a:prstGeom>
          <a:solidFill>
            <a:schemeClr val="accent1"/>
          </a:solidFill>
          <a:ln w="19050">
            <a:solidFill>
              <a:schemeClr val="accent1"/>
            </a:solidFill>
          </a:ln>
        </p:spPr>
        <p:txBody>
          <a:bodyPr vert="horz" wrap="square" lIns="72009" tIns="72009" rIns="72009" bIns="72009" rtlCol="0" anchor="ctr" anchorCtr="0">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b="1" dirty="0">
                <a:solidFill>
                  <a:schemeClr val="tx2"/>
                </a:solidFill>
              </a:rPr>
              <a:t>Context</a:t>
            </a:r>
          </a:p>
        </p:txBody>
      </p:sp>
      <p:sp>
        <p:nvSpPr>
          <p:cNvPr id="19" name="DirArrow 13"/>
          <p:cNvSpPr>
            <a:spLocks noChangeArrowheads="1"/>
          </p:cNvSpPr>
          <p:nvPr>
            <p:custDataLst>
              <p:tags r:id="rId4"/>
            </p:custDataLst>
          </p:nvPr>
        </p:nvSpPr>
        <p:spPr bwMode="auto">
          <a:xfrm rot="5400000">
            <a:off x="1030197" y="3386939"/>
            <a:ext cx="3090672" cy="343408"/>
          </a:xfrm>
          <a:prstGeom prst="triangle">
            <a:avLst>
              <a:gd name="adj" fmla="val 50000"/>
            </a:avLst>
          </a:prstGeom>
          <a:solidFill>
            <a:schemeClr val="accent1"/>
          </a:solid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0" name="5. Source">
            <a:extLst>
              <a:ext uri="{FF2B5EF4-FFF2-40B4-BE49-F238E27FC236}">
                <a16:creationId xmlns:a16="http://schemas.microsoft.com/office/drawing/2014/main" id="{5AD1DC18-9E88-459A-96C5-111DBCE5B28F}"/>
              </a:ext>
            </a:extLst>
          </p:cNvPr>
          <p:cNvSpPr>
            <a:spLocks noChangeArrowheads="1"/>
          </p:cNvSpPr>
          <p:nvPr/>
        </p:nvSpPr>
        <p:spPr bwMode="gray">
          <a:xfrm>
            <a:off x="119063" y="6507558"/>
            <a:ext cx="7200000" cy="123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marL="609600" indent="-609600" defTabSz="895350">
              <a:tabLst>
                <a:tab pos="612775" algn="l"/>
              </a:tabLst>
            </a:pPr>
            <a:r>
              <a:rPr lang="en-US" sz="800" baseline="0" dirty="0">
                <a:solidFill>
                  <a:schemeClr val="accent6"/>
                </a:solidFill>
                <a:latin typeface="+mn-lt"/>
                <a:ea typeface="+mn-ea"/>
              </a:rPr>
              <a:t>SOURCE: McKinsey Recovery &amp; Transformation Services</a:t>
            </a:r>
          </a:p>
        </p:txBody>
      </p:sp>
      <p:sp>
        <p:nvSpPr>
          <p:cNvPr id="6" name="Title 5">
            <a:extLst>
              <a:ext uri="{FF2B5EF4-FFF2-40B4-BE49-F238E27FC236}">
                <a16:creationId xmlns:a16="http://schemas.microsoft.com/office/drawing/2014/main" id="{4D99BB65-15B9-4A2C-8E86-C021FF10C960}"/>
              </a:ext>
            </a:extLst>
          </p:cNvPr>
          <p:cNvSpPr>
            <a:spLocks noGrp="1"/>
          </p:cNvSpPr>
          <p:nvPr>
            <p:ph type="title"/>
          </p:nvPr>
        </p:nvSpPr>
        <p:spPr>
          <a:xfrm>
            <a:off x="119063" y="230188"/>
            <a:ext cx="8618537" cy="307777"/>
          </a:xfrm>
        </p:spPr>
        <p:txBody>
          <a:bodyPr/>
          <a:lstStyle/>
          <a:p>
            <a:r>
              <a:rPr lang="en-US" dirty="0"/>
              <a:t>Case study: RTS program at a large mining client in India </a:t>
            </a:r>
            <a:r>
              <a:rPr lang="en-IN" dirty="0"/>
              <a:t>delivered </a:t>
            </a:r>
            <a:r>
              <a:rPr lang="en-US" dirty="0"/>
              <a:t>$400m</a:t>
            </a:r>
            <a:endParaRPr lang="en-GB" dirty="0"/>
          </a:p>
        </p:txBody>
      </p:sp>
    </p:spTree>
    <p:extLst>
      <p:ext uri="{BB962C8B-B14F-4D97-AF65-F5344CB8AC3E}">
        <p14:creationId xmlns:p14="http://schemas.microsoft.com/office/powerpoint/2010/main" val="5556775"/>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305070348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0292" name="think-cell Slide" r:id="rId12" imgW="353" imgH="353" progId="TCLayout.ActiveDocument.1">
                  <p:embed/>
                </p:oleObj>
              </mc:Choice>
              <mc:Fallback>
                <p:oleObj name="think-cell Slide" r:id="rId12" imgW="353" imgH="353" progId="TCLayout.ActiveDocument.1">
                  <p:embed/>
                  <p:pic>
                    <p:nvPicPr>
                      <p:cNvPr id="5" name="Object 4" hidden="1"/>
                      <p:cNvPicPr/>
                      <p:nvPr/>
                    </p:nvPicPr>
                    <p:blipFill>
                      <a:blip r:embed="rId13"/>
                      <a:stretch>
                        <a:fillRect/>
                      </a:stretch>
                    </p:blipFill>
                    <p:spPr>
                      <a:xfrm>
                        <a:off x="1588" y="1588"/>
                        <a:ext cx="1587" cy="1587"/>
                      </a:xfrm>
                      <a:prstGeom prst="rect">
                        <a:avLst/>
                      </a:prstGeom>
                    </p:spPr>
                  </p:pic>
                </p:oleObj>
              </mc:Fallback>
            </mc:AlternateContent>
          </a:graphicData>
        </a:graphic>
      </p:graphicFrame>
      <p:sp>
        <p:nvSpPr>
          <p:cNvPr id="4" name="Rectangle 3" hidden="1"/>
          <p:cNvSpPr/>
          <p:nvPr>
            <p:custDataLst>
              <p:tags r:id="rId3"/>
            </p:custDataLst>
          </p:nvPr>
        </p:nvSpPr>
        <p:spPr bwMode="auto">
          <a:xfrm>
            <a:off x="0" y="0"/>
            <a:ext cx="158750" cy="158750"/>
          </a:xfrm>
          <a:prstGeom prst="rect">
            <a:avLst/>
          </a:prstGeom>
          <a:solidFill>
            <a:schemeClr val="bg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2800" dirty="0">
              <a:solidFill>
                <a:schemeClr val="tx1"/>
              </a:solidFill>
              <a:latin typeface="Arial" panose="020B0604020202020204" pitchFamily="34" charset="0"/>
              <a:sym typeface="Arial" panose="020B0604020202020204" pitchFamily="34" charset="0"/>
            </a:endParaRPr>
          </a:p>
        </p:txBody>
      </p:sp>
      <p:sp>
        <p:nvSpPr>
          <p:cNvPr id="2" name="Title 1"/>
          <p:cNvSpPr>
            <a:spLocks noGrp="1"/>
          </p:cNvSpPr>
          <p:nvPr>
            <p:ph type="title"/>
          </p:nvPr>
        </p:nvSpPr>
        <p:spPr bwMode="black">
          <a:xfrm>
            <a:off x="119063" y="230188"/>
            <a:ext cx="8618537" cy="307777"/>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r>
              <a:rPr lang="en-US" dirty="0"/>
              <a:t>Contents</a:t>
            </a:r>
          </a:p>
        </p:txBody>
      </p:sp>
      <p:sp>
        <p:nvSpPr>
          <p:cNvPr id="32" name="Text Placeholder 2">
            <a:hlinkClick r:id="rId14" action="ppaction://hlinksldjump"/>
            <a:extLst>
              <a:ext uri="{FF2B5EF4-FFF2-40B4-BE49-F238E27FC236}">
                <a16:creationId xmlns:a16="http://schemas.microsoft.com/office/drawing/2014/main" id="{87623098-5B46-4FB7-8F48-9AA358DE1887}"/>
              </a:ext>
            </a:extLst>
          </p:cNvPr>
          <p:cNvSpPr>
            <a:spLocks noGrp="1"/>
          </p:cNvSpPr>
          <p:nvPr>
            <p:custDataLst>
              <p:tags r:id="rId4"/>
            </p:custDataLst>
          </p:nvPr>
        </p:nvSpPr>
        <p:spPr bwMode="black">
          <a:xfrm>
            <a:off x="125403" y="1225550"/>
            <a:ext cx="6842125" cy="712788"/>
          </a:xfrm>
          <a:prstGeom prst="rect">
            <a:avLst/>
          </a:prstGeom>
          <a:noFill/>
          <a:ln w="9525">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bg2"/>
                </a:solidFill>
              </a14:hiddenLine>
            </a:ext>
          </a:extLst>
        </p:spPr>
        <p:txBody>
          <a:bodyPr vert="horz" wrap="square" lIns="142875" tIns="142875" rIns="0" bIns="142875" numCol="1" spcCol="0" rtlCol="0" anchor="ctr" anchorCtr="0">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buClr>
                <a:schemeClr val="bg1"/>
              </a:buClr>
            </a:pPr>
            <a:r>
              <a:rPr lang="en-US" sz="2800" dirty="0">
                <a:solidFill>
                  <a:schemeClr val="bg1"/>
                </a:solidFill>
                <a:sym typeface="+mn-lt"/>
              </a:rPr>
              <a:t>1. Integration expertise</a:t>
            </a:r>
          </a:p>
        </p:txBody>
      </p:sp>
      <p:sp>
        <p:nvSpPr>
          <p:cNvPr id="12" name="Text Placeholder 2">
            <a:hlinkClick r:id="rId15" action="ppaction://hlinksldjump"/>
            <a:extLst>
              <a:ext uri="{FF2B5EF4-FFF2-40B4-BE49-F238E27FC236}">
                <a16:creationId xmlns:a16="http://schemas.microsoft.com/office/drawing/2014/main" id="{81A036DD-A9A6-437A-A127-6B5408433CA7}"/>
              </a:ext>
            </a:extLst>
          </p:cNvPr>
          <p:cNvSpPr>
            <a:spLocks noGrp="1"/>
          </p:cNvSpPr>
          <p:nvPr>
            <p:custDataLst>
              <p:tags r:id="rId5"/>
            </p:custDataLst>
          </p:nvPr>
        </p:nvSpPr>
        <p:spPr bwMode="black">
          <a:xfrm>
            <a:off x="125413" y="1938338"/>
            <a:ext cx="6842125" cy="711200"/>
          </a:xfrm>
          <a:prstGeom prst="rect">
            <a:avLst/>
          </a:prstGeom>
          <a:noFill/>
          <a:ln w="9525">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bg2"/>
                </a:solidFill>
              </a14:hiddenLine>
            </a:ext>
          </a:extLst>
        </p:spPr>
        <p:txBody>
          <a:bodyPr vert="horz" wrap="square" lIns="142875" tIns="141288" rIns="0" bIns="142875" numCol="1" spcCol="0" rtlCol="0" anchor="ctr" anchorCtr="0">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defTabSz="914400">
              <a:buClr>
                <a:schemeClr val="bg1"/>
              </a:buClr>
            </a:pPr>
            <a:r>
              <a:rPr lang="en-US" altLang="en-US" sz="2800" dirty="0">
                <a:solidFill>
                  <a:schemeClr val="bg1"/>
                </a:solidFill>
              </a:rPr>
              <a:t>2. Lessons &amp; tools</a:t>
            </a:r>
            <a:endParaRPr lang="en-US" sz="2800" dirty="0">
              <a:solidFill>
                <a:schemeClr val="bg1"/>
              </a:solidFill>
              <a:latin typeface="Arial" charset="0"/>
              <a:sym typeface="+mn-lt"/>
            </a:endParaRPr>
          </a:p>
        </p:txBody>
      </p:sp>
      <p:sp>
        <p:nvSpPr>
          <p:cNvPr id="15" name="Text Placeholder 2">
            <a:hlinkClick r:id="rId16" action="ppaction://hlinksldjump"/>
            <a:extLst>
              <a:ext uri="{FF2B5EF4-FFF2-40B4-BE49-F238E27FC236}">
                <a16:creationId xmlns:a16="http://schemas.microsoft.com/office/drawing/2014/main" id="{6DCF1EA3-67B4-4077-895C-FC4592F245F8}"/>
              </a:ext>
            </a:extLst>
          </p:cNvPr>
          <p:cNvSpPr>
            <a:spLocks noGrp="1"/>
          </p:cNvSpPr>
          <p:nvPr>
            <p:custDataLst>
              <p:tags r:id="rId6"/>
            </p:custDataLst>
          </p:nvPr>
        </p:nvSpPr>
        <p:spPr bwMode="black">
          <a:xfrm>
            <a:off x="125413" y="2649538"/>
            <a:ext cx="6842125" cy="711200"/>
          </a:xfrm>
          <a:prstGeom prst="rect">
            <a:avLst/>
          </a:prstGeom>
          <a:noFill/>
          <a:ln w="9525">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bg2"/>
                </a:solidFill>
              </a14:hiddenLine>
            </a:ext>
          </a:extLst>
        </p:spPr>
        <p:txBody>
          <a:bodyPr vert="horz" wrap="square" lIns="142875" tIns="141288" rIns="0" bIns="142875" numCol="1" spcCol="0" rtlCol="0" anchor="ctr" anchorCtr="0">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defTabSz="914400">
              <a:buClr>
                <a:schemeClr val="bg1"/>
              </a:buClr>
            </a:pPr>
            <a:r>
              <a:rPr lang="en-US" altLang="en-US" sz="2800" dirty="0">
                <a:solidFill>
                  <a:schemeClr val="bg1"/>
                </a:solidFill>
              </a:rPr>
              <a:t>3. Distinctive team</a:t>
            </a:r>
            <a:endParaRPr lang="en-US" sz="2800" dirty="0">
              <a:solidFill>
                <a:schemeClr val="bg1"/>
              </a:solidFill>
              <a:latin typeface="Arial" charset="0"/>
              <a:sym typeface="+mn-lt"/>
            </a:endParaRPr>
          </a:p>
        </p:txBody>
      </p:sp>
      <p:sp>
        <p:nvSpPr>
          <p:cNvPr id="14" name="Text Placeholder 2">
            <a:hlinkClick r:id="rId17" action="ppaction://hlinksldjump"/>
            <a:extLst>
              <a:ext uri="{FF2B5EF4-FFF2-40B4-BE49-F238E27FC236}">
                <a16:creationId xmlns:a16="http://schemas.microsoft.com/office/drawing/2014/main" id="{E34DADD2-6581-48EC-966D-4920CA9CF05E}"/>
              </a:ext>
            </a:extLst>
          </p:cNvPr>
          <p:cNvSpPr>
            <a:spLocks noGrp="1"/>
          </p:cNvSpPr>
          <p:nvPr>
            <p:custDataLst>
              <p:tags r:id="rId7"/>
            </p:custDataLst>
          </p:nvPr>
        </p:nvSpPr>
        <p:spPr bwMode="black">
          <a:xfrm>
            <a:off x="125412" y="3360738"/>
            <a:ext cx="6842125" cy="711200"/>
          </a:xfrm>
          <a:prstGeom prst="rect">
            <a:avLst/>
          </a:prstGeom>
          <a:noFill/>
          <a:ln w="9525">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bg2"/>
                </a:solidFill>
              </a14:hiddenLine>
            </a:ext>
          </a:extLst>
        </p:spPr>
        <p:txBody>
          <a:bodyPr vert="horz" wrap="square" lIns="142875" tIns="142875" rIns="0" bIns="141288" numCol="1" spcCol="0" rtlCol="0" anchor="ctr" anchorCtr="0">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defTabSz="914400">
              <a:buClr>
                <a:schemeClr val="bg1"/>
              </a:buClr>
            </a:pPr>
            <a:r>
              <a:rPr lang="en-US" altLang="en-US" sz="2800" dirty="0">
                <a:solidFill>
                  <a:schemeClr val="bg1"/>
                </a:solidFill>
              </a:rPr>
              <a:t>4. Turnaround experience &amp; methodology</a:t>
            </a:r>
            <a:endParaRPr lang="en-US" sz="2800" dirty="0">
              <a:solidFill>
                <a:schemeClr val="bg1"/>
              </a:solidFill>
              <a:latin typeface="Arial" charset="0"/>
              <a:sym typeface="+mn-lt"/>
            </a:endParaRPr>
          </a:p>
        </p:txBody>
      </p:sp>
      <p:sp>
        <p:nvSpPr>
          <p:cNvPr id="21" name="Text Placeholder 2">
            <a:extLst>
              <a:ext uri="{FF2B5EF4-FFF2-40B4-BE49-F238E27FC236}">
                <a16:creationId xmlns:a16="http://schemas.microsoft.com/office/drawing/2014/main" id="{D97252C5-06CE-42D4-9602-ACAA6BE0BBEA}"/>
              </a:ext>
            </a:extLst>
          </p:cNvPr>
          <p:cNvSpPr>
            <a:spLocks noGrp="1"/>
          </p:cNvSpPr>
          <p:nvPr>
            <p:custDataLst>
              <p:tags r:id="rId8"/>
            </p:custDataLst>
          </p:nvPr>
        </p:nvSpPr>
        <p:spPr bwMode="black">
          <a:xfrm>
            <a:off x="125412" y="4071938"/>
            <a:ext cx="6842125" cy="711200"/>
          </a:xfrm>
          <a:prstGeom prst="rect">
            <a:avLst/>
          </a:prstGeom>
          <a:noFill/>
          <a:ln w="9525">
            <a:solidFill>
              <a:schemeClr val="bg2"/>
            </a:solidFill>
          </a:ln>
          <a:extLst>
            <a:ext uri="{909E8E84-426E-40DD-AFC4-6F175D3DCCD1}">
              <a14:hiddenFill xmlns:a14="http://schemas.microsoft.com/office/drawing/2010/main">
                <a:solidFill>
                  <a:schemeClr val="accent1"/>
                </a:solidFill>
              </a14:hiddenFill>
            </a:ext>
          </a:extLst>
        </p:spPr>
        <p:txBody>
          <a:bodyPr vert="horz" wrap="square" lIns="142875" tIns="142875" rIns="0" bIns="141288" numCol="1" spcCol="0" rtlCol="0" anchor="ctr" anchorCtr="0">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defTabSz="914400">
              <a:buClr>
                <a:schemeClr val="bg1"/>
              </a:buClr>
            </a:pPr>
            <a:r>
              <a:rPr lang="en-US" altLang="en-US" sz="2800" dirty="0">
                <a:solidFill>
                  <a:schemeClr val="bg1"/>
                </a:solidFill>
              </a:rPr>
              <a:t>5. Functional depth</a:t>
            </a:r>
            <a:endParaRPr lang="en-US" sz="2800" dirty="0">
              <a:solidFill>
                <a:schemeClr val="bg1"/>
              </a:solidFill>
              <a:latin typeface="Arial" charset="0"/>
              <a:sym typeface="+mn-lt"/>
            </a:endParaRPr>
          </a:p>
        </p:txBody>
      </p:sp>
      <p:sp>
        <p:nvSpPr>
          <p:cNvPr id="23" name="Text Placeholder 2">
            <a:hlinkClick r:id="rId18" action="ppaction://hlinksldjump"/>
            <a:extLst>
              <a:ext uri="{FF2B5EF4-FFF2-40B4-BE49-F238E27FC236}">
                <a16:creationId xmlns:a16="http://schemas.microsoft.com/office/drawing/2014/main" id="{F2249295-37D6-43BC-B701-87710ED448CB}"/>
              </a:ext>
            </a:extLst>
          </p:cNvPr>
          <p:cNvSpPr>
            <a:spLocks noGrp="1"/>
          </p:cNvSpPr>
          <p:nvPr>
            <p:custDataLst>
              <p:tags r:id="rId9"/>
            </p:custDataLst>
          </p:nvPr>
        </p:nvSpPr>
        <p:spPr bwMode="black">
          <a:xfrm>
            <a:off x="125412" y="4783138"/>
            <a:ext cx="6842125" cy="712788"/>
          </a:xfrm>
          <a:prstGeom prst="rect">
            <a:avLst/>
          </a:prstGeom>
          <a:noFill/>
          <a:ln w="9525">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bg2"/>
                </a:solidFill>
              </a14:hiddenLine>
            </a:ext>
          </a:extLst>
        </p:spPr>
        <p:txBody>
          <a:bodyPr vert="horz" wrap="square" lIns="142875" tIns="142875" rIns="0" bIns="142875" numCol="1" spcCol="0" rtlCol="0" anchor="ctr" anchorCtr="0">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defTabSz="914400">
              <a:buClr>
                <a:schemeClr val="bg1"/>
              </a:buClr>
            </a:pPr>
            <a:r>
              <a:rPr lang="en-US" altLang="en-US" sz="2800" dirty="0">
                <a:solidFill>
                  <a:schemeClr val="bg1"/>
                </a:solidFill>
              </a:rPr>
              <a:t>6. Industry expertise</a:t>
            </a:r>
            <a:endParaRPr lang="en-US" sz="2800" dirty="0">
              <a:solidFill>
                <a:schemeClr val="bg1"/>
              </a:solidFill>
              <a:latin typeface="Arial" charset="0"/>
              <a:sym typeface="+mn-lt"/>
            </a:endParaRPr>
          </a:p>
        </p:txBody>
      </p:sp>
    </p:spTree>
    <p:extLst>
      <p:ext uri="{BB962C8B-B14F-4D97-AF65-F5344CB8AC3E}">
        <p14:creationId xmlns:p14="http://schemas.microsoft.com/office/powerpoint/2010/main" val="3448963118"/>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1316" name="think-cell Slide" r:id="rId12" imgW="590" imgH="591" progId="TCLayout.ActiveDocument.1">
                  <p:embed/>
                </p:oleObj>
              </mc:Choice>
              <mc:Fallback>
                <p:oleObj name="think-cell Slide" r:id="rId12" imgW="590" imgH="591" progId="TCLayout.ActiveDocument.1">
                  <p:embed/>
                  <p:pic>
                    <p:nvPicPr>
                      <p:cNvPr id="4" name="Object 3" hidden="1"/>
                      <p:cNvPicPr/>
                      <p:nvPr/>
                    </p:nvPicPr>
                    <p:blipFill>
                      <a:blip r:embed="rId13"/>
                      <a:stretch>
                        <a:fillRect/>
                      </a:stretch>
                    </p:blipFill>
                    <p:spPr>
                      <a:xfrm>
                        <a:off x="1588" y="1588"/>
                        <a:ext cx="1587" cy="1587"/>
                      </a:xfrm>
                      <a:prstGeom prst="rect">
                        <a:avLst/>
                      </a:prstGeom>
                    </p:spPr>
                  </p:pic>
                </p:oleObj>
              </mc:Fallback>
            </mc:AlternateContent>
          </a:graphicData>
        </a:graphic>
      </p:graphicFrame>
      <p:sp>
        <p:nvSpPr>
          <p:cNvPr id="10" name="Title 9"/>
          <p:cNvSpPr>
            <a:spLocks noGrp="1"/>
          </p:cNvSpPr>
          <p:nvPr>
            <p:ph type="title"/>
          </p:nvPr>
        </p:nvSpPr>
        <p:spPr>
          <a:xfrm>
            <a:off x="119063" y="230188"/>
            <a:ext cx="8618537" cy="615553"/>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marL="465138"/>
            <a:r>
              <a:rPr lang="en-US" altLang="ko-KR" dirty="0"/>
              <a:t>Merger management capabilities need to be complemented by functional expertise for value extraction</a:t>
            </a:r>
            <a:endParaRPr lang="en-US" dirty="0"/>
          </a:p>
        </p:txBody>
      </p:sp>
      <p:grpSp>
        <p:nvGrpSpPr>
          <p:cNvPr id="6" name="Group 5"/>
          <p:cNvGrpSpPr/>
          <p:nvPr/>
        </p:nvGrpSpPr>
        <p:grpSpPr>
          <a:xfrm>
            <a:off x="7456075" y="676464"/>
            <a:ext cx="1281525" cy="169277"/>
            <a:chOff x="7449906" y="689670"/>
            <a:chExt cx="1281525" cy="169277"/>
          </a:xfrm>
        </p:grpSpPr>
        <p:sp>
          <p:nvSpPr>
            <p:cNvPr id="57" name="RectangleLegend3"/>
            <p:cNvSpPr>
              <a:spLocks noChangeArrowheads="1"/>
            </p:cNvSpPr>
            <p:nvPr/>
          </p:nvSpPr>
          <p:spPr bwMode="auto">
            <a:xfrm>
              <a:off x="7449906" y="693338"/>
              <a:ext cx="165100" cy="161941"/>
            </a:xfrm>
            <a:prstGeom prst="rect">
              <a:avLst/>
            </a:prstGeom>
            <a:solidFill>
              <a:schemeClr val="accent2"/>
            </a:solid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100" dirty="0">
                <a:solidFill>
                  <a:srgbClr val="000000"/>
                </a:solidFill>
                <a:latin typeface="Arial"/>
              </a:endParaRPr>
            </a:p>
          </p:txBody>
        </p:sp>
        <p:sp>
          <p:nvSpPr>
            <p:cNvPr id="65" name="Legend3"/>
            <p:cNvSpPr>
              <a:spLocks noChangeArrowheads="1"/>
            </p:cNvSpPr>
            <p:nvPr/>
          </p:nvSpPr>
          <p:spPr bwMode="auto">
            <a:xfrm>
              <a:off x="7703906" y="689670"/>
              <a:ext cx="1027525" cy="1692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002960"/>
                </a:buClr>
              </a:pPr>
              <a:r>
                <a:rPr lang="en-US" sz="1100" dirty="0">
                  <a:solidFill>
                    <a:srgbClr val="000000"/>
                  </a:solidFill>
                  <a:latin typeface="Arial"/>
                </a:rPr>
                <a:t>Details to follow </a:t>
              </a:r>
            </a:p>
          </p:txBody>
        </p:sp>
      </p:grpSp>
      <p:sp>
        <p:nvSpPr>
          <p:cNvPr id="82" name="Rectangle 81"/>
          <p:cNvSpPr>
            <a:spLocks/>
          </p:cNvSpPr>
          <p:nvPr/>
        </p:nvSpPr>
        <p:spPr>
          <a:xfrm>
            <a:off x="5518384" y="969818"/>
            <a:ext cx="3179259" cy="5404484"/>
          </a:xfrm>
          <a:prstGeom prst="rect">
            <a:avLst/>
          </a:prstGeom>
          <a:solidFill>
            <a:schemeClr val="bg1"/>
          </a:solidFill>
          <a:ln w="19050">
            <a:solidFill>
              <a:schemeClr val="accent1"/>
            </a:solidFill>
            <a:miter lim="800000"/>
            <a:headEnd/>
            <a:tailEnd/>
          </a:ln>
          <a:effectLst>
            <a:outerShdw blurRad="50800" dist="38100" dir="2700000" algn="tl" rotWithShape="0">
              <a:prstClr val="black">
                <a:alpha val="40000"/>
              </a:prstClr>
            </a:outerShdw>
          </a:effectLst>
        </p:spPr>
        <p:txBody>
          <a:bodyPr>
            <a:noAutofit/>
          </a:bodyPr>
          <a:lstStyle/>
          <a:p>
            <a:endParaRPr lang="en-US" altLang="ko-KR" sz="1300" b="1" dirty="0">
              <a:solidFill>
                <a:schemeClr val="bg1"/>
              </a:solidFill>
              <a:latin typeface="Arial" panose="020B0604020202020204" pitchFamily="34" charset="0"/>
              <a:cs typeface="Arial" panose="020B0604020202020204" pitchFamily="34" charset="0"/>
            </a:endParaRPr>
          </a:p>
        </p:txBody>
      </p:sp>
      <p:sp>
        <p:nvSpPr>
          <p:cNvPr id="53" name="Rectangle 124"/>
          <p:cNvSpPr txBox="1">
            <a:spLocks/>
          </p:cNvSpPr>
          <p:nvPr/>
        </p:nvSpPr>
        <p:spPr>
          <a:xfrm>
            <a:off x="159019" y="1116087"/>
            <a:ext cx="1524000" cy="198074"/>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lvl1pPr marL="0" lvl="0" indent="0" defTabSz="895185" eaLnBrk="1" hangingPunct="1">
              <a:buClr>
                <a:schemeClr val="tx2"/>
              </a:buClr>
              <a:defRPr baseline="0">
                <a:latin typeface="+mj-lt"/>
              </a:defRPr>
            </a:lvl1pPr>
            <a:lvl2pPr marL="193639" lvl="1" indent="-192053" defTabSz="895185" eaLnBrk="1" hangingPunct="1">
              <a:buClr>
                <a:schemeClr val="tx2"/>
              </a:buClr>
              <a:buSzPct val="125000"/>
              <a:buFont typeface="Arial" charset="0"/>
              <a:buChar char="▪"/>
              <a:defRPr baseline="0">
                <a:latin typeface="+mj-lt"/>
              </a:defRPr>
            </a:lvl2pPr>
            <a:lvl3pPr marL="457116" lvl="2" indent="-261890" defTabSz="895185" eaLnBrk="1" hangingPunct="1">
              <a:buClr>
                <a:schemeClr val="tx2"/>
              </a:buClr>
              <a:buSzPct val="120000"/>
              <a:buFont typeface="Arial" charset="0"/>
              <a:buChar char="–"/>
              <a:defRPr baseline="0">
                <a:latin typeface="+mj-lt"/>
              </a:defRPr>
            </a:lvl3pPr>
            <a:lvl4pPr marL="614249" lvl="3" indent="-155546" defTabSz="895185" eaLnBrk="1" hangingPunct="1">
              <a:buClr>
                <a:schemeClr val="tx2"/>
              </a:buClr>
              <a:buSzPct val="120000"/>
              <a:buFont typeface="Arial" charset="0"/>
              <a:buChar char="▫"/>
              <a:defRPr baseline="0">
                <a:latin typeface="+mj-lt"/>
              </a:defRPr>
            </a:lvl4pPr>
            <a:lvl5pPr marL="749670" lvl="4" indent="-130151" defTabSz="895185" eaLnBrk="1" hangingPunct="1">
              <a:buClr>
                <a:schemeClr val="tx2"/>
              </a:buClr>
              <a:buSzPct val="89000"/>
              <a:buFont typeface="Arial" charset="0"/>
              <a:buChar char="-"/>
              <a:defRPr baseline="0">
                <a:latin typeface="+mj-lt"/>
              </a:defRPr>
            </a:lvl5pPr>
            <a:lvl6pPr marL="749670" indent="-130151" defTabSz="895185" fontAlgn="base">
              <a:spcBef>
                <a:spcPct val="0"/>
              </a:spcBef>
              <a:spcAft>
                <a:spcPct val="0"/>
              </a:spcAft>
              <a:buClr>
                <a:schemeClr val="tx2"/>
              </a:buClr>
              <a:buSzPct val="89000"/>
              <a:buFont typeface="Arial" charset="0"/>
              <a:buChar char="-"/>
              <a:defRPr baseline="0">
                <a:latin typeface="+mn-lt"/>
              </a:defRPr>
            </a:lvl6pPr>
            <a:lvl7pPr marL="749670" indent="-130151" defTabSz="895185" fontAlgn="base">
              <a:spcBef>
                <a:spcPct val="0"/>
              </a:spcBef>
              <a:spcAft>
                <a:spcPct val="0"/>
              </a:spcAft>
              <a:buClr>
                <a:schemeClr val="tx2"/>
              </a:buClr>
              <a:buSzPct val="89000"/>
              <a:buFont typeface="Arial" charset="0"/>
              <a:buChar char="-"/>
              <a:defRPr baseline="0">
                <a:latin typeface="+mn-lt"/>
              </a:defRPr>
            </a:lvl7pPr>
            <a:lvl8pPr marL="749670" indent="-130151" defTabSz="895185" fontAlgn="base">
              <a:spcBef>
                <a:spcPct val="0"/>
              </a:spcBef>
              <a:spcAft>
                <a:spcPct val="0"/>
              </a:spcAft>
              <a:buClr>
                <a:schemeClr val="tx2"/>
              </a:buClr>
              <a:buSzPct val="89000"/>
              <a:buFont typeface="Arial" charset="0"/>
              <a:buChar char="-"/>
              <a:defRPr baseline="0">
                <a:latin typeface="+mn-lt"/>
              </a:defRPr>
            </a:lvl8pPr>
            <a:lvl9pPr marL="749670" indent="-130151" defTabSz="895185" fontAlgn="base">
              <a:spcBef>
                <a:spcPct val="0"/>
              </a:spcBef>
              <a:spcAft>
                <a:spcPct val="0"/>
              </a:spcAft>
              <a:buClr>
                <a:schemeClr val="tx2"/>
              </a:buClr>
              <a:buSzPct val="89000"/>
              <a:buFont typeface="Arial" charset="0"/>
              <a:buChar char="-"/>
              <a:defRPr baseline="0">
                <a:latin typeface="+mn-lt"/>
              </a:defRPr>
            </a:lvl9pPr>
          </a:lstStyle>
          <a:p>
            <a:pPr>
              <a:buClr>
                <a:srgbClr val="002960"/>
              </a:buClr>
            </a:pPr>
            <a:r>
              <a:rPr lang="en-US" sz="1300" b="1" dirty="0">
                <a:solidFill>
                  <a:schemeClr val="accent3"/>
                </a:solidFill>
              </a:rPr>
              <a:t>Functions</a:t>
            </a:r>
          </a:p>
        </p:txBody>
      </p:sp>
      <p:sp>
        <p:nvSpPr>
          <p:cNvPr id="5" name="Rectangle 4"/>
          <p:cNvSpPr/>
          <p:nvPr/>
        </p:nvSpPr>
        <p:spPr>
          <a:xfrm>
            <a:off x="1683019" y="969818"/>
            <a:ext cx="3720161" cy="5404484"/>
          </a:xfrm>
          <a:prstGeom prst="rect">
            <a:avLst/>
          </a:prstGeom>
          <a:solidFill>
            <a:schemeClr val="bg1"/>
          </a:solidFill>
          <a:ln w="19050">
            <a:solidFill>
              <a:schemeClr val="accent1"/>
            </a:solidFill>
            <a:miter lim="800000"/>
            <a:headEnd/>
            <a:tailEnd/>
          </a:ln>
          <a:effectLst>
            <a:outerShdw blurRad="50800" dist="38100" dir="2700000" algn="tl" rotWithShape="0">
              <a:prstClr val="black">
                <a:alpha val="40000"/>
              </a:prstClr>
            </a:outerShdw>
          </a:effectLst>
        </p:spPr>
        <p:txBody>
          <a:bodyPr>
            <a:noAutofit/>
          </a:bodyPr>
          <a:lstStyle/>
          <a:p>
            <a:endParaRPr lang="en-US" altLang="ko-KR" sz="1300" b="1" dirty="0">
              <a:solidFill>
                <a:schemeClr val="bg1"/>
              </a:solidFill>
              <a:latin typeface="Arial" panose="020B0604020202020204" pitchFamily="34" charset="0"/>
              <a:cs typeface="Arial" panose="020B0604020202020204" pitchFamily="34" charset="0"/>
            </a:endParaRPr>
          </a:p>
        </p:txBody>
      </p:sp>
      <p:sp>
        <p:nvSpPr>
          <p:cNvPr id="111" name="Rectangle 7"/>
          <p:cNvSpPr txBox="1">
            <a:spLocks/>
          </p:cNvSpPr>
          <p:nvPr/>
        </p:nvSpPr>
        <p:spPr bwMode="gray">
          <a:xfrm>
            <a:off x="5518384" y="969818"/>
            <a:ext cx="3179259" cy="344345"/>
          </a:xfrm>
          <a:prstGeom prst="rect">
            <a:avLst/>
          </a:prstGeom>
          <a:solidFill>
            <a:schemeClr val="accent1"/>
          </a:solidFill>
          <a:ln w="9525">
            <a:noFill/>
          </a:ln>
          <a:effectLst/>
          <a:extLst/>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spAutoFit/>
          </a:bodyPr>
          <a:lstStyle>
            <a:defPPr>
              <a:defRPr lang="en-US"/>
            </a:defPPr>
            <a:lvl1pPr>
              <a:defRPr sz="1500">
                <a:solidFill>
                  <a:schemeClr val="lt1"/>
                </a:solidFill>
                <a:latin typeface="+mn-lt"/>
              </a:defRPr>
            </a:lvl1pPr>
            <a:lvl2pPr>
              <a:defRPr>
                <a:solidFill>
                  <a:schemeClr val="lt1"/>
                </a:solidFill>
                <a:latin typeface="+mn-lt"/>
              </a:defRPr>
            </a:lvl2pPr>
            <a:lvl3pPr>
              <a:defRPr>
                <a:solidFill>
                  <a:schemeClr val="lt1"/>
                </a:solidFill>
                <a:latin typeface="+mn-lt"/>
              </a:defRPr>
            </a:lvl3pPr>
            <a:lvl4pPr>
              <a:defRPr>
                <a:solidFill>
                  <a:schemeClr val="lt1"/>
                </a:solidFill>
                <a:latin typeface="+mn-lt"/>
              </a:defRPr>
            </a:lvl4pPr>
            <a:lvl5pPr>
              <a:defRPr>
                <a:solidFill>
                  <a:schemeClr val="lt1"/>
                </a:solidFill>
                <a:latin typeface="+mn-lt"/>
              </a:defRPr>
            </a:lvl5pPr>
            <a:lvl6pPr>
              <a:defRPr>
                <a:solidFill>
                  <a:schemeClr val="lt1"/>
                </a:solidFill>
                <a:latin typeface="+mn-lt"/>
              </a:defRPr>
            </a:lvl6pPr>
            <a:lvl7pPr>
              <a:defRPr>
                <a:solidFill>
                  <a:schemeClr val="lt1"/>
                </a:solidFill>
                <a:latin typeface="+mn-lt"/>
              </a:defRPr>
            </a:lvl7pPr>
            <a:lvl8pPr>
              <a:defRPr>
                <a:solidFill>
                  <a:schemeClr val="lt1"/>
                </a:solidFill>
                <a:latin typeface="+mn-lt"/>
              </a:defRPr>
            </a:lvl8pPr>
            <a:lvl9pPr>
              <a:defRPr>
                <a:solidFill>
                  <a:schemeClr val="lt1"/>
                </a:solidFill>
                <a:latin typeface="+mn-lt"/>
              </a:defRPr>
            </a:lvl9pPr>
          </a:lstStyle>
          <a:p>
            <a:r>
              <a:rPr lang="en-US" sz="1300" b="1" dirty="0">
                <a:solidFill>
                  <a:schemeClr val="accent3"/>
                </a:solidFill>
              </a:rPr>
              <a:t>Impact examples</a:t>
            </a:r>
          </a:p>
        </p:txBody>
      </p:sp>
      <p:sp>
        <p:nvSpPr>
          <p:cNvPr id="110" name="Rectangle 7"/>
          <p:cNvSpPr txBox="1">
            <a:spLocks/>
          </p:cNvSpPr>
          <p:nvPr/>
        </p:nvSpPr>
        <p:spPr bwMode="gray">
          <a:xfrm>
            <a:off x="1683019" y="969818"/>
            <a:ext cx="3720161" cy="344345"/>
          </a:xfrm>
          <a:prstGeom prst="rect">
            <a:avLst/>
          </a:prstGeom>
          <a:solidFill>
            <a:schemeClr val="accent1"/>
          </a:solidFill>
          <a:ln w="9525">
            <a:noFill/>
          </a:ln>
          <a:effectLst/>
          <a:extLst/>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spAutoFit/>
          </a:bodyPr>
          <a:lstStyle>
            <a:defPPr>
              <a:defRPr lang="en-US"/>
            </a:defPPr>
            <a:lvl1pPr>
              <a:defRPr sz="1500">
                <a:solidFill>
                  <a:schemeClr val="lt1"/>
                </a:solidFill>
                <a:latin typeface="+mn-lt"/>
              </a:defRPr>
            </a:lvl1pPr>
            <a:lvl2pPr>
              <a:defRPr>
                <a:solidFill>
                  <a:schemeClr val="lt1"/>
                </a:solidFill>
                <a:latin typeface="+mn-lt"/>
              </a:defRPr>
            </a:lvl2pPr>
            <a:lvl3pPr>
              <a:defRPr>
                <a:solidFill>
                  <a:schemeClr val="lt1"/>
                </a:solidFill>
                <a:latin typeface="+mn-lt"/>
              </a:defRPr>
            </a:lvl3pPr>
            <a:lvl4pPr>
              <a:defRPr>
                <a:solidFill>
                  <a:schemeClr val="lt1"/>
                </a:solidFill>
                <a:latin typeface="+mn-lt"/>
              </a:defRPr>
            </a:lvl4pPr>
            <a:lvl5pPr>
              <a:defRPr>
                <a:solidFill>
                  <a:schemeClr val="lt1"/>
                </a:solidFill>
                <a:latin typeface="+mn-lt"/>
              </a:defRPr>
            </a:lvl5pPr>
            <a:lvl6pPr>
              <a:defRPr>
                <a:solidFill>
                  <a:schemeClr val="lt1"/>
                </a:solidFill>
                <a:latin typeface="+mn-lt"/>
              </a:defRPr>
            </a:lvl6pPr>
            <a:lvl7pPr>
              <a:defRPr>
                <a:solidFill>
                  <a:schemeClr val="lt1"/>
                </a:solidFill>
                <a:latin typeface="+mn-lt"/>
              </a:defRPr>
            </a:lvl7pPr>
            <a:lvl8pPr>
              <a:defRPr>
                <a:solidFill>
                  <a:schemeClr val="lt1"/>
                </a:solidFill>
                <a:latin typeface="+mn-lt"/>
              </a:defRPr>
            </a:lvl8pPr>
            <a:lvl9pPr>
              <a:defRPr>
                <a:solidFill>
                  <a:schemeClr val="lt1"/>
                </a:solidFill>
                <a:latin typeface="+mn-lt"/>
              </a:defRPr>
            </a:lvl9pPr>
          </a:lstStyle>
          <a:p>
            <a:r>
              <a:rPr lang="en-US" sz="1300" b="1" dirty="0">
                <a:solidFill>
                  <a:schemeClr val="accent3"/>
                </a:solidFill>
              </a:rPr>
              <a:t>Activities examples</a:t>
            </a:r>
          </a:p>
        </p:txBody>
      </p:sp>
      <p:sp>
        <p:nvSpPr>
          <p:cNvPr id="58" name="Rectangle 1"/>
          <p:cNvSpPr txBox="1">
            <a:spLocks/>
          </p:cNvSpPr>
          <p:nvPr>
            <p:custDataLst>
              <p:tags r:id="rId4"/>
            </p:custDataLst>
          </p:nvPr>
        </p:nvSpPr>
        <p:spPr>
          <a:xfrm>
            <a:off x="159019" y="1370944"/>
            <a:ext cx="1524000" cy="853242"/>
          </a:xfrm>
          <a:prstGeom prst="rect">
            <a:avLst/>
          </a:prstGeom>
          <a:solidFill>
            <a:schemeClr val="accent2"/>
          </a:solidFill>
          <a:ln w="19050">
            <a:noFill/>
            <a:miter lim="800000"/>
            <a:headEnd/>
            <a:tailEnd/>
          </a:ln>
          <a:effectLst/>
        </p:spPr>
        <p:txBody>
          <a:bodyPr wrap="square" lIns="73152" tIns="73152" rIns="73152" bIns="73152" anchor="ctr" anchorCtr="0">
            <a:noAutofit/>
          </a:bodyPr>
          <a:lstStyle>
            <a:defPPr>
              <a:defRPr lang="en-US"/>
            </a:defPPr>
            <a:lvl1pPr>
              <a:buClr>
                <a:schemeClr val="lt1"/>
              </a:buClr>
              <a:defRPr sz="900" b="1">
                <a:solidFill>
                  <a:schemeClr val="bg1"/>
                </a:solidFill>
                <a:latin typeface="+mn-lt"/>
              </a:defRPr>
            </a:lvl1pPr>
          </a:lstStyle>
          <a:p>
            <a:r>
              <a:rPr lang="en-US" altLang="ko-KR" sz="1300" dirty="0"/>
              <a:t>Supply chain management</a:t>
            </a:r>
          </a:p>
        </p:txBody>
      </p:sp>
      <p:sp>
        <p:nvSpPr>
          <p:cNvPr id="17" name="TextBox 16"/>
          <p:cNvSpPr txBox="1">
            <a:spLocks/>
          </p:cNvSpPr>
          <p:nvPr/>
        </p:nvSpPr>
        <p:spPr>
          <a:xfrm>
            <a:off x="5595536" y="1370944"/>
            <a:ext cx="3024955" cy="594222"/>
          </a:xfrm>
          <a:prstGeom prst="rect">
            <a:avLst/>
          </a:prstGeom>
        </p:spPr>
        <p:txBody>
          <a:bodyPr vert="horz" wrap="square" lIns="0" tIns="0" rIns="0" bIns="0" rtlCol="0" anchor="t" anchorCtr="0">
            <a:sp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1"/>
            <a:r>
              <a:rPr lang="en-US" sz="1300" dirty="0"/>
              <a:t>Impact of 5 - 10% reduction in non-manufacturing costs</a:t>
            </a:r>
          </a:p>
          <a:p>
            <a:pPr lvl="1"/>
            <a:r>
              <a:rPr lang="en-US" sz="1300" dirty="0"/>
              <a:t>20 - 25% reduction in inventory levels</a:t>
            </a:r>
          </a:p>
        </p:txBody>
      </p:sp>
      <p:sp>
        <p:nvSpPr>
          <p:cNvPr id="14" name="TextBox 13"/>
          <p:cNvSpPr txBox="1">
            <a:spLocks/>
          </p:cNvSpPr>
          <p:nvPr/>
        </p:nvSpPr>
        <p:spPr>
          <a:xfrm>
            <a:off x="1773297" y="1370944"/>
            <a:ext cx="3539605" cy="792296"/>
          </a:xfrm>
          <a:prstGeom prst="rect">
            <a:avLst/>
          </a:prstGeom>
        </p:spPr>
        <p:txBody>
          <a:bodyPr vert="horz" wrap="square" lIns="0" tIns="0" rIns="0" bIns="0" rtlCol="0" anchor="t" anchorCtr="0">
            <a:sp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sz="1300" dirty="0"/>
              <a:t>Global production network and footprint strategies, forecasting, demand and inventory management, logistics, and working capital reduction</a:t>
            </a:r>
          </a:p>
        </p:txBody>
      </p:sp>
      <p:sp>
        <p:nvSpPr>
          <p:cNvPr id="2" name="Rectangle 1"/>
          <p:cNvSpPr txBox="1">
            <a:spLocks/>
          </p:cNvSpPr>
          <p:nvPr>
            <p:custDataLst>
              <p:tags r:id="rId5"/>
            </p:custDataLst>
          </p:nvPr>
        </p:nvSpPr>
        <p:spPr>
          <a:xfrm>
            <a:off x="159019" y="4225816"/>
            <a:ext cx="1524000" cy="617077"/>
          </a:xfrm>
          <a:prstGeom prst="rect">
            <a:avLst/>
          </a:prstGeom>
          <a:solidFill>
            <a:schemeClr val="accent3">
              <a:lumMod val="75000"/>
            </a:schemeClr>
          </a:solidFill>
          <a:ln w="9525">
            <a:noFill/>
            <a:miter lim="800000"/>
            <a:headEnd/>
            <a:tailEnd/>
          </a:ln>
          <a:effectLst/>
        </p:spPr>
        <p:txBody>
          <a:bodyPr wrap="square" lIns="73152" tIns="73152" rIns="73152" bIns="73152" anchor="ctr" anchorCtr="0">
            <a:noAutofit/>
          </a:bodyPr>
          <a:lstStyle>
            <a:defPPr>
              <a:defRPr lang="en-US"/>
            </a:defPPr>
            <a:lvl1pPr>
              <a:buClr>
                <a:schemeClr val="tx2"/>
              </a:buClr>
              <a:defRPr sz="1500" b="1">
                <a:solidFill>
                  <a:schemeClr val="bg1"/>
                </a:solidFill>
              </a:defRPr>
            </a:lvl1pPr>
          </a:lstStyle>
          <a:p>
            <a:r>
              <a:rPr lang="en-US" altLang="ko-KR" sz="1300" dirty="0"/>
              <a:t>Capital productivity</a:t>
            </a:r>
          </a:p>
        </p:txBody>
      </p:sp>
      <p:sp>
        <p:nvSpPr>
          <p:cNvPr id="20" name="TextBox 19"/>
          <p:cNvSpPr txBox="1">
            <a:spLocks/>
          </p:cNvSpPr>
          <p:nvPr/>
        </p:nvSpPr>
        <p:spPr>
          <a:xfrm>
            <a:off x="5595536" y="4225816"/>
            <a:ext cx="3024955" cy="594222"/>
          </a:xfrm>
          <a:prstGeom prst="rect">
            <a:avLst/>
          </a:prstGeom>
        </p:spPr>
        <p:txBody>
          <a:bodyPr vert="horz" wrap="square" lIns="0" tIns="0" rIns="0" bIns="0" rtlCol="0" anchor="t" anchorCtr="0">
            <a:sp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1"/>
            <a:r>
              <a:rPr lang="en-US" sz="1300" dirty="0"/>
              <a:t>Up to 55% reduction of capex portfolio</a:t>
            </a:r>
          </a:p>
          <a:p>
            <a:pPr lvl="1"/>
            <a:r>
              <a:rPr lang="en-US" sz="1300" dirty="0" err="1"/>
              <a:t>NPV</a:t>
            </a:r>
            <a:r>
              <a:rPr lang="en-US" sz="1300" dirty="0"/>
              <a:t> of projects +30%</a:t>
            </a:r>
          </a:p>
          <a:p>
            <a:pPr lvl="1"/>
            <a:r>
              <a:rPr lang="en-US" sz="1300" dirty="0"/>
              <a:t>Reduced construction time by 30-50%</a:t>
            </a:r>
          </a:p>
        </p:txBody>
      </p:sp>
      <p:sp>
        <p:nvSpPr>
          <p:cNvPr id="30" name="TextBox 29"/>
          <p:cNvSpPr txBox="1">
            <a:spLocks/>
          </p:cNvSpPr>
          <p:nvPr/>
        </p:nvSpPr>
        <p:spPr>
          <a:xfrm>
            <a:off x="1773297" y="4225816"/>
            <a:ext cx="3539605" cy="594222"/>
          </a:xfrm>
          <a:prstGeom prst="rect">
            <a:avLst/>
          </a:prstGeom>
        </p:spPr>
        <p:txBody>
          <a:bodyPr vert="horz" wrap="square" lIns="0" tIns="0" rIns="0" bIns="0" rtlCol="0" anchor="t" anchorCtr="0">
            <a:sp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sz="1300" dirty="0"/>
              <a:t>Raising capital productivity, optimizing capital investment allocations and portfolios, and improving tracking/delivery systems</a:t>
            </a:r>
          </a:p>
        </p:txBody>
      </p:sp>
      <p:sp>
        <p:nvSpPr>
          <p:cNvPr id="54" name="Rectangle 1"/>
          <p:cNvSpPr txBox="1">
            <a:spLocks/>
          </p:cNvSpPr>
          <p:nvPr>
            <p:custDataLst>
              <p:tags r:id="rId6"/>
            </p:custDataLst>
          </p:nvPr>
        </p:nvSpPr>
        <p:spPr>
          <a:xfrm>
            <a:off x="159019" y="2335264"/>
            <a:ext cx="1524000" cy="1028461"/>
          </a:xfrm>
          <a:prstGeom prst="rect">
            <a:avLst/>
          </a:prstGeom>
          <a:solidFill>
            <a:schemeClr val="accent2"/>
          </a:solidFill>
          <a:ln w="19050">
            <a:noFill/>
            <a:miter lim="800000"/>
            <a:headEnd/>
            <a:tailEnd/>
          </a:ln>
          <a:effectLst/>
        </p:spPr>
        <p:txBody>
          <a:bodyPr wrap="square" lIns="73152" tIns="73152" rIns="73152" bIns="73152" anchor="ctr" anchorCtr="0">
            <a:noAutofit/>
          </a:bodyPr>
          <a:lstStyle>
            <a:defPPr>
              <a:defRPr lang="en-US"/>
            </a:defPPr>
            <a:lvl1pPr>
              <a:buClr>
                <a:schemeClr val="lt1"/>
              </a:buClr>
              <a:defRPr sz="900" b="1">
                <a:solidFill>
                  <a:schemeClr val="bg1"/>
                </a:solidFill>
                <a:latin typeface="+mn-lt"/>
              </a:defRPr>
            </a:lvl1pPr>
          </a:lstStyle>
          <a:p>
            <a:r>
              <a:rPr lang="en-US" altLang="ko-KR" sz="1300" dirty="0"/>
              <a:t>Procurement</a:t>
            </a:r>
          </a:p>
        </p:txBody>
      </p:sp>
      <p:sp>
        <p:nvSpPr>
          <p:cNvPr id="22" name="TextBox 21"/>
          <p:cNvSpPr txBox="1">
            <a:spLocks/>
          </p:cNvSpPr>
          <p:nvPr/>
        </p:nvSpPr>
        <p:spPr>
          <a:xfrm>
            <a:off x="5595536" y="2335264"/>
            <a:ext cx="3024955" cy="594222"/>
          </a:xfrm>
          <a:prstGeom prst="rect">
            <a:avLst/>
          </a:prstGeom>
        </p:spPr>
        <p:txBody>
          <a:bodyPr vert="horz" wrap="square" lIns="0" tIns="0" rIns="0" bIns="0" rtlCol="0" anchor="t" anchorCtr="0">
            <a:sp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1"/>
            <a:r>
              <a:rPr lang="en-US" sz="1300" dirty="0"/>
              <a:t>15% average savings, with 80% typically captured within 2 years</a:t>
            </a:r>
          </a:p>
          <a:p>
            <a:endParaRPr lang="en-US" sz="1300" dirty="0"/>
          </a:p>
        </p:txBody>
      </p:sp>
      <p:sp>
        <p:nvSpPr>
          <p:cNvPr id="32" name="TextBox 31"/>
          <p:cNvSpPr txBox="1">
            <a:spLocks/>
          </p:cNvSpPr>
          <p:nvPr/>
        </p:nvSpPr>
        <p:spPr>
          <a:xfrm>
            <a:off x="1773297" y="2335264"/>
            <a:ext cx="3539605" cy="990370"/>
          </a:xfrm>
          <a:prstGeom prst="rect">
            <a:avLst/>
          </a:prstGeom>
        </p:spPr>
        <p:txBody>
          <a:bodyPr vert="horz" wrap="square" lIns="0" tIns="0" rIns="0" bIns="0" rtlCol="0" anchor="t" anchorCtr="0">
            <a:sp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sz="1300" dirty="0"/>
              <a:t>End-to-end optimization that focuses on total value capture, including strategic sourcing, global sourcing, supplier collaboration &amp; innovation, procure-to-pay, organization design, and capability building</a:t>
            </a:r>
          </a:p>
        </p:txBody>
      </p:sp>
      <p:sp>
        <p:nvSpPr>
          <p:cNvPr id="55" name="Rectangle 1"/>
          <p:cNvSpPr txBox="1">
            <a:spLocks/>
          </p:cNvSpPr>
          <p:nvPr>
            <p:custDataLst>
              <p:tags r:id="rId7"/>
            </p:custDataLst>
          </p:nvPr>
        </p:nvSpPr>
        <p:spPr>
          <a:xfrm>
            <a:off x="159019" y="5682129"/>
            <a:ext cx="1524000" cy="639932"/>
          </a:xfrm>
          <a:prstGeom prst="rect">
            <a:avLst/>
          </a:prstGeom>
          <a:solidFill>
            <a:schemeClr val="accent3">
              <a:lumMod val="75000"/>
            </a:schemeClr>
          </a:solidFill>
          <a:ln w="9525">
            <a:noFill/>
            <a:miter lim="800000"/>
            <a:headEnd/>
            <a:tailEnd/>
          </a:ln>
          <a:effectLst/>
        </p:spPr>
        <p:txBody>
          <a:bodyPr wrap="square" lIns="73152" tIns="73152" rIns="73152" bIns="73152" anchor="ctr" anchorCtr="0">
            <a:noAutofit/>
          </a:bodyPr>
          <a:lstStyle>
            <a:defPPr>
              <a:defRPr lang="en-US"/>
            </a:defPPr>
            <a:lvl1pPr>
              <a:buClr>
                <a:schemeClr val="tx2"/>
              </a:buClr>
              <a:defRPr sz="1500" b="1">
                <a:solidFill>
                  <a:schemeClr val="bg1"/>
                </a:solidFill>
              </a:defRPr>
            </a:lvl1pPr>
          </a:lstStyle>
          <a:p>
            <a:r>
              <a:rPr lang="en-US" altLang="ko-KR" sz="1300" dirty="0"/>
              <a:t>Service operations</a:t>
            </a:r>
          </a:p>
        </p:txBody>
      </p:sp>
      <p:sp>
        <p:nvSpPr>
          <p:cNvPr id="24" name="TextBox 23"/>
          <p:cNvSpPr txBox="1">
            <a:spLocks/>
          </p:cNvSpPr>
          <p:nvPr/>
        </p:nvSpPr>
        <p:spPr>
          <a:xfrm>
            <a:off x="5595536" y="5682129"/>
            <a:ext cx="3024955" cy="396149"/>
          </a:xfrm>
          <a:prstGeom prst="rect">
            <a:avLst/>
          </a:prstGeom>
        </p:spPr>
        <p:txBody>
          <a:bodyPr vert="horz" wrap="square" lIns="0" tIns="0" rIns="0" bIns="0" rtlCol="0" anchor="t" anchorCtr="0">
            <a:sp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1"/>
            <a:r>
              <a:rPr lang="en-US" sz="1300" dirty="0"/>
              <a:t>Up to 30 - 40% productivity gains </a:t>
            </a:r>
          </a:p>
          <a:p>
            <a:pPr lvl="1"/>
            <a:r>
              <a:rPr lang="en-US" sz="1300" dirty="0"/>
              <a:t>30 - 80% cycle time reduction</a:t>
            </a:r>
          </a:p>
        </p:txBody>
      </p:sp>
      <p:sp>
        <p:nvSpPr>
          <p:cNvPr id="34" name="TextBox 33"/>
          <p:cNvSpPr txBox="1">
            <a:spLocks/>
          </p:cNvSpPr>
          <p:nvPr/>
        </p:nvSpPr>
        <p:spPr>
          <a:xfrm>
            <a:off x="1773297" y="5682129"/>
            <a:ext cx="3539605" cy="594222"/>
          </a:xfrm>
          <a:prstGeom prst="rect">
            <a:avLst/>
          </a:prstGeom>
        </p:spPr>
        <p:txBody>
          <a:bodyPr vert="horz" wrap="square" lIns="0" tIns="0" rIns="0" bIns="0" rtlCol="0" anchor="t" anchorCtr="0">
            <a:sp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sz="1300" dirty="0"/>
              <a:t>Process redesign to improve and drive efficiencies and enhance customer experience while reducing costs</a:t>
            </a:r>
          </a:p>
        </p:txBody>
      </p:sp>
      <p:sp>
        <p:nvSpPr>
          <p:cNvPr id="56" name="Rectangle 1"/>
          <p:cNvSpPr txBox="1">
            <a:spLocks/>
          </p:cNvSpPr>
          <p:nvPr>
            <p:custDataLst>
              <p:tags r:id="rId8"/>
            </p:custDataLst>
          </p:nvPr>
        </p:nvSpPr>
        <p:spPr>
          <a:xfrm>
            <a:off x="159019" y="4953972"/>
            <a:ext cx="1524000" cy="617077"/>
          </a:xfrm>
          <a:prstGeom prst="rect">
            <a:avLst/>
          </a:prstGeom>
          <a:solidFill>
            <a:schemeClr val="accent3">
              <a:lumMod val="75000"/>
            </a:schemeClr>
          </a:solidFill>
          <a:ln w="9525">
            <a:noFill/>
            <a:miter lim="800000"/>
            <a:headEnd/>
            <a:tailEnd/>
          </a:ln>
          <a:effectLst/>
        </p:spPr>
        <p:txBody>
          <a:bodyPr wrap="square" lIns="73152" tIns="73152" rIns="73152" bIns="73152" anchor="ctr" anchorCtr="0">
            <a:noAutofit/>
          </a:bodyPr>
          <a:lstStyle>
            <a:defPPr>
              <a:defRPr lang="en-US"/>
            </a:defPPr>
            <a:lvl1pPr>
              <a:buClr>
                <a:schemeClr val="tx2"/>
              </a:buClr>
              <a:defRPr sz="1500" b="1">
                <a:solidFill>
                  <a:schemeClr val="bg1"/>
                </a:solidFill>
              </a:defRPr>
            </a:lvl1pPr>
          </a:lstStyle>
          <a:p>
            <a:r>
              <a:rPr lang="en-US" altLang="ko-KR" sz="1300" dirty="0"/>
              <a:t>Product development</a:t>
            </a:r>
          </a:p>
        </p:txBody>
      </p:sp>
      <p:sp>
        <p:nvSpPr>
          <p:cNvPr id="26" name="TextBox 25"/>
          <p:cNvSpPr txBox="1">
            <a:spLocks/>
          </p:cNvSpPr>
          <p:nvPr/>
        </p:nvSpPr>
        <p:spPr>
          <a:xfrm>
            <a:off x="5595536" y="4953972"/>
            <a:ext cx="3024955" cy="396149"/>
          </a:xfrm>
          <a:prstGeom prst="rect">
            <a:avLst/>
          </a:prstGeom>
        </p:spPr>
        <p:txBody>
          <a:bodyPr vert="horz" wrap="square" lIns="0" tIns="0" rIns="0" bIns="0" rtlCol="0" anchor="t" anchorCtr="0">
            <a:sp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1"/>
            <a:r>
              <a:rPr lang="en-US" sz="1300" dirty="0"/>
              <a:t>Product margin gains of 5 - 20%+</a:t>
            </a:r>
          </a:p>
          <a:p>
            <a:pPr lvl="1"/>
            <a:r>
              <a:rPr lang="en-US" sz="1300" dirty="0"/>
              <a:t>20 - 40% reduction in time to market</a:t>
            </a:r>
          </a:p>
        </p:txBody>
      </p:sp>
      <p:sp>
        <p:nvSpPr>
          <p:cNvPr id="36" name="TextBox 35"/>
          <p:cNvSpPr txBox="1">
            <a:spLocks/>
          </p:cNvSpPr>
          <p:nvPr/>
        </p:nvSpPr>
        <p:spPr>
          <a:xfrm>
            <a:off x="1773297" y="4953972"/>
            <a:ext cx="3539605" cy="594222"/>
          </a:xfrm>
          <a:prstGeom prst="rect">
            <a:avLst/>
          </a:prstGeom>
        </p:spPr>
        <p:txBody>
          <a:bodyPr vert="horz" wrap="square" lIns="0" tIns="0" rIns="0" bIns="0" rtlCol="0" anchor="t" anchorCtr="0">
            <a:sp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sz="1300" dirty="0"/>
              <a:t>Improving margins and raising efficiency by optimizing R&amp;D and quality control processes of new &amp; current product enhancements</a:t>
            </a:r>
          </a:p>
        </p:txBody>
      </p:sp>
      <p:sp>
        <p:nvSpPr>
          <p:cNvPr id="61" name="Rectangle 1"/>
          <p:cNvSpPr txBox="1">
            <a:spLocks/>
          </p:cNvSpPr>
          <p:nvPr>
            <p:custDataLst>
              <p:tags r:id="rId9"/>
            </p:custDataLst>
          </p:nvPr>
        </p:nvSpPr>
        <p:spPr>
          <a:xfrm>
            <a:off x="159019" y="3474805"/>
            <a:ext cx="1524000" cy="639932"/>
          </a:xfrm>
          <a:prstGeom prst="rect">
            <a:avLst/>
          </a:prstGeom>
          <a:solidFill>
            <a:schemeClr val="accent2"/>
          </a:solidFill>
          <a:ln w="19050">
            <a:noFill/>
            <a:miter lim="800000"/>
            <a:headEnd/>
            <a:tailEnd/>
          </a:ln>
          <a:effectLst/>
        </p:spPr>
        <p:txBody>
          <a:bodyPr wrap="square" lIns="73152" tIns="73152" rIns="73152" bIns="73152" anchor="ctr" anchorCtr="0">
            <a:noAutofit/>
          </a:bodyPr>
          <a:lstStyle>
            <a:defPPr>
              <a:defRPr lang="en-US"/>
            </a:defPPr>
            <a:lvl1pPr>
              <a:buClr>
                <a:schemeClr val="lt1"/>
              </a:buClr>
              <a:defRPr sz="900" b="1">
                <a:solidFill>
                  <a:schemeClr val="bg1"/>
                </a:solidFill>
                <a:latin typeface="+mn-lt"/>
              </a:defRPr>
            </a:lvl1pPr>
          </a:lstStyle>
          <a:p>
            <a:r>
              <a:rPr lang="en-US" altLang="ko-KR" sz="1300" dirty="0"/>
              <a:t>Manufacturing</a:t>
            </a:r>
          </a:p>
        </p:txBody>
      </p:sp>
      <p:sp>
        <p:nvSpPr>
          <p:cNvPr id="28" name="TextBox 27"/>
          <p:cNvSpPr txBox="1">
            <a:spLocks/>
          </p:cNvSpPr>
          <p:nvPr/>
        </p:nvSpPr>
        <p:spPr>
          <a:xfrm>
            <a:off x="5595536" y="3474805"/>
            <a:ext cx="3024955" cy="594222"/>
          </a:xfrm>
          <a:prstGeom prst="rect">
            <a:avLst/>
          </a:prstGeom>
        </p:spPr>
        <p:txBody>
          <a:bodyPr vert="horz" wrap="square" lIns="0" tIns="0" rIns="0" bIns="0" rtlCol="0" anchor="t" anchorCtr="0">
            <a:sp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1"/>
            <a:r>
              <a:rPr lang="en-US" sz="1300" dirty="0"/>
              <a:t>20 - 60% increase in prod. volumes</a:t>
            </a:r>
          </a:p>
          <a:p>
            <a:pPr lvl="1"/>
            <a:r>
              <a:rPr lang="en-US" sz="1300" dirty="0"/>
              <a:t>30 - 70% lead time reduction</a:t>
            </a:r>
          </a:p>
          <a:p>
            <a:pPr lvl="1"/>
            <a:r>
              <a:rPr lang="en-US" sz="1300" dirty="0"/>
              <a:t>20 - 50% labor prod. Improvement</a:t>
            </a:r>
          </a:p>
        </p:txBody>
      </p:sp>
      <p:sp>
        <p:nvSpPr>
          <p:cNvPr id="38" name="TextBox 37"/>
          <p:cNvSpPr txBox="1">
            <a:spLocks/>
          </p:cNvSpPr>
          <p:nvPr/>
        </p:nvSpPr>
        <p:spPr>
          <a:xfrm>
            <a:off x="1773297" y="3474805"/>
            <a:ext cx="3539605" cy="594222"/>
          </a:xfrm>
          <a:prstGeom prst="rect">
            <a:avLst/>
          </a:prstGeom>
        </p:spPr>
        <p:txBody>
          <a:bodyPr vert="horz" wrap="square" lIns="0" tIns="0" rIns="0" bIns="0" rtlCol="0" anchor="t" anchorCtr="0">
            <a:sp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sz="1300" dirty="0"/>
              <a:t>Lean performance transformations,</a:t>
            </a:r>
          </a:p>
          <a:p>
            <a:r>
              <a:rPr lang="en-US" sz="1300" dirty="0"/>
              <a:t>manufacturing strategy, footprint, and maintenance performance</a:t>
            </a:r>
          </a:p>
        </p:txBody>
      </p:sp>
      <p:cxnSp>
        <p:nvCxnSpPr>
          <p:cNvPr id="100" name="Straight Connector 99"/>
          <p:cNvCxnSpPr>
            <a:cxnSpLocks/>
          </p:cNvCxnSpPr>
          <p:nvPr/>
        </p:nvCxnSpPr>
        <p:spPr bwMode="gray">
          <a:xfrm>
            <a:off x="1773297" y="2279725"/>
            <a:ext cx="3539605" cy="0"/>
          </a:xfrm>
          <a:prstGeom prst="line">
            <a:avLst/>
          </a:prstGeom>
          <a:ln w="6350">
            <a:solidFill>
              <a:schemeClr val="accent6">
                <a:lumMod val="60000"/>
                <a:lumOff val="40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105" name="Straight Connector 104"/>
          <p:cNvCxnSpPr>
            <a:cxnSpLocks/>
          </p:cNvCxnSpPr>
          <p:nvPr/>
        </p:nvCxnSpPr>
        <p:spPr bwMode="gray">
          <a:xfrm>
            <a:off x="5595536" y="2279725"/>
            <a:ext cx="3024955" cy="0"/>
          </a:xfrm>
          <a:prstGeom prst="line">
            <a:avLst/>
          </a:prstGeom>
          <a:ln w="6350">
            <a:solidFill>
              <a:schemeClr val="accent6">
                <a:lumMod val="60000"/>
                <a:lumOff val="40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101" name="Straight Connector 100"/>
          <p:cNvCxnSpPr>
            <a:cxnSpLocks/>
          </p:cNvCxnSpPr>
          <p:nvPr/>
        </p:nvCxnSpPr>
        <p:spPr bwMode="gray">
          <a:xfrm>
            <a:off x="1773297" y="3419265"/>
            <a:ext cx="3539605" cy="0"/>
          </a:xfrm>
          <a:prstGeom prst="line">
            <a:avLst/>
          </a:prstGeom>
          <a:ln w="6350">
            <a:solidFill>
              <a:schemeClr val="accent6">
                <a:lumMod val="60000"/>
                <a:lumOff val="40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106" name="Straight Connector 105"/>
          <p:cNvCxnSpPr>
            <a:cxnSpLocks/>
          </p:cNvCxnSpPr>
          <p:nvPr/>
        </p:nvCxnSpPr>
        <p:spPr bwMode="gray">
          <a:xfrm>
            <a:off x="5595536" y="3419265"/>
            <a:ext cx="3024955" cy="0"/>
          </a:xfrm>
          <a:prstGeom prst="line">
            <a:avLst/>
          </a:prstGeom>
          <a:ln w="6350">
            <a:solidFill>
              <a:schemeClr val="accent6">
                <a:lumMod val="60000"/>
                <a:lumOff val="40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102" name="Straight Connector 101"/>
          <p:cNvCxnSpPr>
            <a:cxnSpLocks/>
          </p:cNvCxnSpPr>
          <p:nvPr/>
        </p:nvCxnSpPr>
        <p:spPr bwMode="gray">
          <a:xfrm>
            <a:off x="1773297" y="4170276"/>
            <a:ext cx="3539605" cy="0"/>
          </a:xfrm>
          <a:prstGeom prst="line">
            <a:avLst/>
          </a:prstGeom>
          <a:ln w="6350">
            <a:solidFill>
              <a:schemeClr val="accent6">
                <a:lumMod val="60000"/>
                <a:lumOff val="40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107" name="Straight Connector 106"/>
          <p:cNvCxnSpPr>
            <a:cxnSpLocks/>
          </p:cNvCxnSpPr>
          <p:nvPr/>
        </p:nvCxnSpPr>
        <p:spPr bwMode="gray">
          <a:xfrm>
            <a:off x="5595536" y="4170276"/>
            <a:ext cx="3024955" cy="0"/>
          </a:xfrm>
          <a:prstGeom prst="line">
            <a:avLst/>
          </a:prstGeom>
          <a:ln w="6350">
            <a:solidFill>
              <a:schemeClr val="accent6">
                <a:lumMod val="60000"/>
                <a:lumOff val="40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103" name="Straight Connector 102"/>
          <p:cNvCxnSpPr>
            <a:cxnSpLocks/>
          </p:cNvCxnSpPr>
          <p:nvPr/>
        </p:nvCxnSpPr>
        <p:spPr bwMode="gray">
          <a:xfrm>
            <a:off x="1773297" y="4898433"/>
            <a:ext cx="3539605" cy="0"/>
          </a:xfrm>
          <a:prstGeom prst="line">
            <a:avLst/>
          </a:prstGeom>
          <a:ln w="6350">
            <a:solidFill>
              <a:schemeClr val="accent6">
                <a:lumMod val="60000"/>
                <a:lumOff val="40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108" name="Straight Connector 107"/>
          <p:cNvCxnSpPr>
            <a:cxnSpLocks/>
          </p:cNvCxnSpPr>
          <p:nvPr/>
        </p:nvCxnSpPr>
        <p:spPr bwMode="gray">
          <a:xfrm>
            <a:off x="5595536" y="4898433"/>
            <a:ext cx="3024955" cy="0"/>
          </a:xfrm>
          <a:prstGeom prst="line">
            <a:avLst/>
          </a:prstGeom>
          <a:ln w="6350">
            <a:solidFill>
              <a:schemeClr val="accent6">
                <a:lumMod val="60000"/>
                <a:lumOff val="40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104" name="Straight Connector 103"/>
          <p:cNvCxnSpPr>
            <a:cxnSpLocks/>
          </p:cNvCxnSpPr>
          <p:nvPr/>
        </p:nvCxnSpPr>
        <p:spPr bwMode="gray">
          <a:xfrm>
            <a:off x="1773297" y="5626589"/>
            <a:ext cx="3539605" cy="0"/>
          </a:xfrm>
          <a:prstGeom prst="line">
            <a:avLst/>
          </a:prstGeom>
          <a:ln w="6350">
            <a:solidFill>
              <a:schemeClr val="accent6">
                <a:lumMod val="60000"/>
                <a:lumOff val="40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109" name="Straight Connector 108"/>
          <p:cNvCxnSpPr>
            <a:cxnSpLocks/>
          </p:cNvCxnSpPr>
          <p:nvPr/>
        </p:nvCxnSpPr>
        <p:spPr bwMode="gray">
          <a:xfrm>
            <a:off x="5595536" y="5626589"/>
            <a:ext cx="3024955" cy="0"/>
          </a:xfrm>
          <a:prstGeom prst="line">
            <a:avLst/>
          </a:prstGeom>
          <a:ln w="6350">
            <a:solidFill>
              <a:schemeClr val="accent6">
                <a:lumMod val="60000"/>
                <a:lumOff val="40000"/>
              </a:schemeClr>
            </a:solidFill>
            <a:prstDash val="solid"/>
          </a:ln>
        </p:spPr>
        <p:style>
          <a:lnRef idx="1">
            <a:schemeClr val="accent1"/>
          </a:lnRef>
          <a:fillRef idx="0">
            <a:schemeClr val="accent1"/>
          </a:fillRef>
          <a:effectRef idx="0">
            <a:schemeClr val="accent1"/>
          </a:effectRef>
          <a:fontRef idx="minor">
            <a:schemeClr val="tx1"/>
          </a:fontRef>
        </p:style>
      </p:cxnSp>
      <p:sp>
        <p:nvSpPr>
          <p:cNvPr id="42" name="Title Tracker Circle">
            <a:extLst>
              <a:ext uri="{FF2B5EF4-FFF2-40B4-BE49-F238E27FC236}">
                <a16:creationId xmlns:a16="http://schemas.microsoft.com/office/drawing/2014/main" id="{1B270F68-96F5-482A-AF04-83AB32F471AC}"/>
              </a:ext>
            </a:extLst>
          </p:cNvPr>
          <p:cNvSpPr/>
          <p:nvPr/>
        </p:nvSpPr>
        <p:spPr>
          <a:xfrm>
            <a:off x="119063" y="166736"/>
            <a:ext cx="418798" cy="418798"/>
          </a:xfrm>
          <a:prstGeom prst="ellipse">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p>
            <a:pPr algn="ctr"/>
            <a:r>
              <a:rPr lang="en-US" sz="2000" dirty="0">
                <a:solidFill>
                  <a:schemeClr val="tx2"/>
                </a:solidFill>
                <a:latin typeface="+mj-lt"/>
              </a:rPr>
              <a:t>A</a:t>
            </a:r>
          </a:p>
        </p:txBody>
      </p:sp>
      <p:sp>
        <p:nvSpPr>
          <p:cNvPr id="41" name="5. Source">
            <a:extLst>
              <a:ext uri="{FF2B5EF4-FFF2-40B4-BE49-F238E27FC236}">
                <a16:creationId xmlns:a16="http://schemas.microsoft.com/office/drawing/2014/main" id="{C550B2CF-306C-4A4F-841C-F50BA8E676E9}"/>
              </a:ext>
            </a:extLst>
          </p:cNvPr>
          <p:cNvSpPr>
            <a:spLocks noChangeArrowheads="1"/>
          </p:cNvSpPr>
          <p:nvPr/>
        </p:nvSpPr>
        <p:spPr bwMode="auto">
          <a:xfrm>
            <a:off x="119063" y="6507558"/>
            <a:ext cx="7200000" cy="123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marL="609600" indent="-609600" defTabSz="895350">
              <a:tabLst>
                <a:tab pos="612775" algn="l"/>
              </a:tabLst>
            </a:pPr>
            <a:r>
              <a:rPr lang="en-US" sz="800" dirty="0">
                <a:solidFill>
                  <a:schemeClr val="accent6"/>
                </a:solidFill>
                <a:latin typeface="Arial" panose="020B0604020202020204" pitchFamily="34" charset="0"/>
              </a:rPr>
              <a:t>SOURCE: McKinsey</a:t>
            </a:r>
          </a:p>
        </p:txBody>
      </p:sp>
    </p:spTree>
    <p:custDataLst>
      <p:tags r:id="rId2"/>
    </p:custDataLst>
    <p:extLst>
      <p:ext uri="{BB962C8B-B14F-4D97-AF65-F5344CB8AC3E}">
        <p14:creationId xmlns:p14="http://schemas.microsoft.com/office/powerpoint/2010/main" val="242465604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39042" name="Rectangle 2" hidden="1"/>
          <p:cNvGraphicFramePr>
            <a:graphicFrameLocks/>
          </p:cNvGraphicFramePr>
          <p:nvPr>
            <p:custDataLst>
              <p:tags r:id="rId3"/>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69332" name="think-cell Slide" r:id="rId16" imgW="0" imgH="0" progId="TCLayout.ActiveDocument.1">
                  <p:embed/>
                </p:oleObj>
              </mc:Choice>
              <mc:Fallback>
                <p:oleObj name="think-cell Slide" r:id="rId16" imgW="0" imgH="0" progId="TCLayout.ActiveDocument.1">
                  <p:embed/>
                  <p:pic>
                    <p:nvPicPr>
                      <p:cNvPr id="1239042"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1239046" name="Rectangle 6"/>
          <p:cNvSpPr>
            <a:spLocks noGrp="1" noChangeArrowheads="1"/>
          </p:cNvSpPr>
          <p:nvPr>
            <p:ph type="title"/>
            <p:custDataLst>
              <p:tags r:id="rId4"/>
            </p:custDataLst>
          </p:nvPr>
        </p:nvSpPr>
        <p:spPr>
          <a:xfrm>
            <a:off x="119063" y="230188"/>
            <a:ext cx="8618537" cy="615553"/>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marL="465138"/>
            <a:r>
              <a:rPr lang="en-US" dirty="0"/>
              <a:t>We bring a proprietary set of tools, approaches, and frameworks proven to drive impact throughout the integration</a:t>
            </a:r>
          </a:p>
        </p:txBody>
      </p:sp>
      <p:sp>
        <p:nvSpPr>
          <p:cNvPr id="143" name="5. Source"/>
          <p:cNvSpPr>
            <a:spLocks noChangeArrowheads="1"/>
          </p:cNvSpPr>
          <p:nvPr>
            <p:custDataLst>
              <p:tags r:id="rId5"/>
            </p:custDataLst>
          </p:nvPr>
        </p:nvSpPr>
        <p:spPr bwMode="gray">
          <a:xfrm>
            <a:off x="119063" y="6507558"/>
            <a:ext cx="7200000" cy="123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marL="609600" indent="-609600" defTabSz="895350">
              <a:tabLst>
                <a:tab pos="612775" algn="l"/>
              </a:tabLst>
            </a:pPr>
            <a:r>
              <a:rPr lang="en-US" altLang="zh-CN" sz="800" dirty="0">
                <a:solidFill>
                  <a:schemeClr val="accent6"/>
                </a:solidFill>
                <a:latin typeface="Arial" panose="020B0604020202020204" pitchFamily="34" charset="0"/>
              </a:rPr>
              <a:t>SOURCE: McKinsey Merger Management Practice</a:t>
            </a:r>
          </a:p>
        </p:txBody>
      </p:sp>
      <p:grpSp>
        <p:nvGrpSpPr>
          <p:cNvPr id="11" name="Group 10">
            <a:extLst>
              <a:ext uri="{FF2B5EF4-FFF2-40B4-BE49-F238E27FC236}">
                <a16:creationId xmlns:a16="http://schemas.microsoft.com/office/drawing/2014/main" id="{91AD02CE-6141-4753-9227-8708C06A8E76}"/>
              </a:ext>
            </a:extLst>
          </p:cNvPr>
          <p:cNvGrpSpPr/>
          <p:nvPr/>
        </p:nvGrpSpPr>
        <p:grpSpPr>
          <a:xfrm>
            <a:off x="5776646" y="699505"/>
            <a:ext cx="2960954" cy="146236"/>
            <a:chOff x="5319861" y="701244"/>
            <a:chExt cx="2960954" cy="146236"/>
          </a:xfrm>
        </p:grpSpPr>
        <p:grpSp>
          <p:nvGrpSpPr>
            <p:cNvPr id="23" name="Group 22"/>
            <p:cNvGrpSpPr/>
            <p:nvPr/>
          </p:nvGrpSpPr>
          <p:grpSpPr>
            <a:xfrm>
              <a:off x="5319861" y="701244"/>
              <a:ext cx="670557" cy="137160"/>
              <a:chOff x="1575825" y="818735"/>
              <a:chExt cx="670557" cy="137160"/>
            </a:xfrm>
          </p:grpSpPr>
          <p:sp>
            <p:nvSpPr>
              <p:cNvPr id="204" name="Rectangle 46"/>
              <p:cNvSpPr>
                <a:spLocks noChangeArrowheads="1"/>
              </p:cNvSpPr>
              <p:nvPr/>
            </p:nvSpPr>
            <p:spPr bwMode="auto">
              <a:xfrm>
                <a:off x="1769483" y="833454"/>
                <a:ext cx="476899" cy="1077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spAutoFit/>
              </a:bodyPr>
              <a:lstStyle>
                <a:lvl1pPr>
                  <a:defRPr sz="2400">
                    <a:solidFill>
                      <a:schemeClr val="tx1"/>
                    </a:solidFill>
                    <a:latin typeface="Arial" pitchFamily="34" charset="0"/>
                  </a:defRPr>
                </a:lvl1pPr>
                <a:lvl2pPr marL="742950" indent="-285750">
                  <a:defRPr sz="2400">
                    <a:solidFill>
                      <a:schemeClr val="tx1"/>
                    </a:solidFill>
                    <a:latin typeface="Arial" pitchFamily="34" charset="0"/>
                  </a:defRPr>
                </a:lvl2pPr>
                <a:lvl3pPr marL="1143000" indent="-228600">
                  <a:defRPr sz="2400">
                    <a:solidFill>
                      <a:schemeClr val="tx1"/>
                    </a:solidFill>
                    <a:latin typeface="Arial" pitchFamily="34" charset="0"/>
                  </a:defRPr>
                </a:lvl3pPr>
                <a:lvl4pPr marL="1600200" indent="-228600">
                  <a:defRPr sz="2400">
                    <a:solidFill>
                      <a:schemeClr val="tx1"/>
                    </a:solidFill>
                    <a:latin typeface="Arial" pitchFamily="34" charset="0"/>
                  </a:defRPr>
                </a:lvl4pPr>
                <a:lvl5pPr marL="2057400" indent="-228600">
                  <a:defRPr sz="2400">
                    <a:solidFill>
                      <a:schemeClr val="tx1"/>
                    </a:solidFill>
                    <a:latin typeface="Arial" pitchFamily="34" charset="0"/>
                  </a:defRPr>
                </a:lvl5pPr>
                <a:lvl6pPr marL="2514600" indent="-228600" fontAlgn="base">
                  <a:spcBef>
                    <a:spcPct val="0"/>
                  </a:spcBef>
                  <a:spcAft>
                    <a:spcPct val="0"/>
                  </a:spcAft>
                  <a:defRPr sz="2400">
                    <a:solidFill>
                      <a:schemeClr val="tx1"/>
                    </a:solidFill>
                    <a:latin typeface="Arial" pitchFamily="34" charset="0"/>
                  </a:defRPr>
                </a:lvl6pPr>
                <a:lvl7pPr marL="2971800" indent="-228600" fontAlgn="base">
                  <a:spcBef>
                    <a:spcPct val="0"/>
                  </a:spcBef>
                  <a:spcAft>
                    <a:spcPct val="0"/>
                  </a:spcAft>
                  <a:defRPr sz="2400">
                    <a:solidFill>
                      <a:schemeClr val="tx1"/>
                    </a:solidFill>
                    <a:latin typeface="Arial" pitchFamily="34" charset="0"/>
                  </a:defRPr>
                </a:lvl7pPr>
                <a:lvl8pPr marL="3429000" indent="-228600" fontAlgn="base">
                  <a:spcBef>
                    <a:spcPct val="0"/>
                  </a:spcBef>
                  <a:spcAft>
                    <a:spcPct val="0"/>
                  </a:spcAft>
                  <a:defRPr sz="2400">
                    <a:solidFill>
                      <a:schemeClr val="tx1"/>
                    </a:solidFill>
                    <a:latin typeface="Arial" pitchFamily="34" charset="0"/>
                  </a:defRPr>
                </a:lvl8pPr>
                <a:lvl9pPr marL="3886200" indent="-228600" fontAlgn="base">
                  <a:spcBef>
                    <a:spcPct val="0"/>
                  </a:spcBef>
                  <a:spcAft>
                    <a:spcPct val="0"/>
                  </a:spcAft>
                  <a:defRPr sz="2400">
                    <a:solidFill>
                      <a:schemeClr val="tx1"/>
                    </a:solidFill>
                    <a:latin typeface="Arial" pitchFamily="34" charset="0"/>
                  </a:defRPr>
                </a:lvl9pPr>
              </a:lstStyle>
              <a:p>
                <a:r>
                  <a:rPr lang="en-US" sz="700" dirty="0">
                    <a:solidFill>
                      <a:srgbClr val="000000"/>
                    </a:solidFill>
                  </a:rPr>
                  <a:t>Approach</a:t>
                </a:r>
              </a:p>
            </p:txBody>
          </p:sp>
          <p:sp>
            <p:nvSpPr>
              <p:cNvPr id="219" name="Tracker circle"/>
              <p:cNvSpPr/>
              <p:nvPr/>
            </p:nvSpPr>
            <p:spPr>
              <a:xfrm>
                <a:off x="1575825" y="818735"/>
                <a:ext cx="137160" cy="137160"/>
              </a:xfrm>
              <a:prstGeom prst="ellipse">
                <a:avLst/>
              </a:prstGeom>
              <a:solidFill>
                <a:schemeClr val="bg1"/>
              </a:solid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wrap="none" lIns="76200" tIns="76200" rIns="76200" bIns="76200" rtlCol="0" anchor="ctr" anchorCtr="1"/>
              <a:lstStyle/>
              <a:p>
                <a:pPr algn="ctr"/>
                <a:r>
                  <a:rPr lang="en-US" sz="900" b="1" dirty="0">
                    <a:solidFill>
                      <a:srgbClr val="00ADEF"/>
                    </a:solidFill>
                  </a:rPr>
                  <a:t>A</a:t>
                </a:r>
              </a:p>
            </p:txBody>
          </p:sp>
        </p:grpSp>
        <p:grpSp>
          <p:nvGrpSpPr>
            <p:cNvPr id="22" name="Group 21"/>
            <p:cNvGrpSpPr/>
            <p:nvPr/>
          </p:nvGrpSpPr>
          <p:grpSpPr>
            <a:xfrm>
              <a:off x="6089680" y="701244"/>
              <a:ext cx="1155929" cy="137160"/>
              <a:chOff x="2345644" y="818735"/>
              <a:chExt cx="1155929" cy="137160"/>
            </a:xfrm>
          </p:grpSpPr>
          <p:sp>
            <p:nvSpPr>
              <p:cNvPr id="218" name="Rectangle 46"/>
              <p:cNvSpPr>
                <a:spLocks noChangeArrowheads="1"/>
              </p:cNvSpPr>
              <p:nvPr/>
            </p:nvSpPr>
            <p:spPr bwMode="auto">
              <a:xfrm>
                <a:off x="2523931" y="837947"/>
                <a:ext cx="977642" cy="1077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spAutoFit/>
              </a:bodyPr>
              <a:lstStyle>
                <a:lvl1pPr>
                  <a:defRPr sz="2400">
                    <a:solidFill>
                      <a:schemeClr val="tx1"/>
                    </a:solidFill>
                    <a:latin typeface="Arial" pitchFamily="34" charset="0"/>
                  </a:defRPr>
                </a:lvl1pPr>
                <a:lvl2pPr marL="742950" indent="-285750">
                  <a:defRPr sz="2400">
                    <a:solidFill>
                      <a:schemeClr val="tx1"/>
                    </a:solidFill>
                    <a:latin typeface="Arial" pitchFamily="34" charset="0"/>
                  </a:defRPr>
                </a:lvl2pPr>
                <a:lvl3pPr marL="1143000" indent="-228600">
                  <a:defRPr sz="2400">
                    <a:solidFill>
                      <a:schemeClr val="tx1"/>
                    </a:solidFill>
                    <a:latin typeface="Arial" pitchFamily="34" charset="0"/>
                  </a:defRPr>
                </a:lvl3pPr>
                <a:lvl4pPr marL="1600200" indent="-228600">
                  <a:defRPr sz="2400">
                    <a:solidFill>
                      <a:schemeClr val="tx1"/>
                    </a:solidFill>
                    <a:latin typeface="Arial" pitchFamily="34" charset="0"/>
                  </a:defRPr>
                </a:lvl4pPr>
                <a:lvl5pPr marL="2057400" indent="-228600">
                  <a:defRPr sz="2400">
                    <a:solidFill>
                      <a:schemeClr val="tx1"/>
                    </a:solidFill>
                    <a:latin typeface="Arial" pitchFamily="34" charset="0"/>
                  </a:defRPr>
                </a:lvl5pPr>
                <a:lvl6pPr marL="2514600" indent="-228600" fontAlgn="base">
                  <a:spcBef>
                    <a:spcPct val="0"/>
                  </a:spcBef>
                  <a:spcAft>
                    <a:spcPct val="0"/>
                  </a:spcAft>
                  <a:defRPr sz="2400">
                    <a:solidFill>
                      <a:schemeClr val="tx1"/>
                    </a:solidFill>
                    <a:latin typeface="Arial" pitchFamily="34" charset="0"/>
                  </a:defRPr>
                </a:lvl6pPr>
                <a:lvl7pPr marL="2971800" indent="-228600" fontAlgn="base">
                  <a:spcBef>
                    <a:spcPct val="0"/>
                  </a:spcBef>
                  <a:spcAft>
                    <a:spcPct val="0"/>
                  </a:spcAft>
                  <a:defRPr sz="2400">
                    <a:solidFill>
                      <a:schemeClr val="tx1"/>
                    </a:solidFill>
                    <a:latin typeface="Arial" pitchFamily="34" charset="0"/>
                  </a:defRPr>
                </a:lvl7pPr>
                <a:lvl8pPr marL="3429000" indent="-228600" fontAlgn="base">
                  <a:spcBef>
                    <a:spcPct val="0"/>
                  </a:spcBef>
                  <a:spcAft>
                    <a:spcPct val="0"/>
                  </a:spcAft>
                  <a:defRPr sz="2400">
                    <a:solidFill>
                      <a:schemeClr val="tx1"/>
                    </a:solidFill>
                    <a:latin typeface="Arial" pitchFamily="34" charset="0"/>
                  </a:defRPr>
                </a:lvl8pPr>
                <a:lvl9pPr marL="3886200" indent="-228600" fontAlgn="base">
                  <a:spcBef>
                    <a:spcPct val="0"/>
                  </a:spcBef>
                  <a:spcAft>
                    <a:spcPct val="0"/>
                  </a:spcAft>
                  <a:defRPr sz="2400">
                    <a:solidFill>
                      <a:schemeClr val="tx1"/>
                    </a:solidFill>
                    <a:latin typeface="Arial" pitchFamily="34" charset="0"/>
                  </a:defRPr>
                </a:lvl9pPr>
              </a:lstStyle>
              <a:p>
                <a:r>
                  <a:rPr lang="en-US" sz="700" dirty="0">
                    <a:solidFill>
                      <a:srgbClr val="000000"/>
                    </a:solidFill>
                  </a:rPr>
                  <a:t>Framework / Insights</a:t>
                </a:r>
              </a:p>
            </p:txBody>
          </p:sp>
          <p:sp>
            <p:nvSpPr>
              <p:cNvPr id="224" name="Tracker circle"/>
              <p:cNvSpPr/>
              <p:nvPr/>
            </p:nvSpPr>
            <p:spPr>
              <a:xfrm>
                <a:off x="2345644" y="818735"/>
                <a:ext cx="137160" cy="137160"/>
              </a:xfrm>
              <a:prstGeom prst="ellipse">
                <a:avLst/>
              </a:prstGeom>
              <a:solidFill>
                <a:schemeClr val="bg1"/>
              </a:solidFill>
              <a:ln w="952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wrap="none" lIns="76200" tIns="76200" rIns="76200" bIns="76200" rtlCol="0" anchor="ctr" anchorCtr="1"/>
              <a:lstStyle/>
              <a:p>
                <a:pPr algn="ctr"/>
                <a:r>
                  <a:rPr lang="en-US" sz="900" b="1" dirty="0">
                    <a:solidFill>
                      <a:srgbClr val="002960"/>
                    </a:solidFill>
                  </a:rPr>
                  <a:t>F</a:t>
                </a:r>
              </a:p>
            </p:txBody>
          </p:sp>
        </p:grpSp>
        <p:grpSp>
          <p:nvGrpSpPr>
            <p:cNvPr id="17" name="Group 16"/>
            <p:cNvGrpSpPr/>
            <p:nvPr/>
          </p:nvGrpSpPr>
          <p:grpSpPr>
            <a:xfrm>
              <a:off x="7220831" y="710320"/>
              <a:ext cx="1059984" cy="137160"/>
              <a:chOff x="3222412" y="818735"/>
              <a:chExt cx="1059984" cy="137160"/>
            </a:xfrm>
          </p:grpSpPr>
          <p:sp>
            <p:nvSpPr>
              <p:cNvPr id="205" name="Rectangle 46"/>
              <p:cNvSpPr>
                <a:spLocks noChangeArrowheads="1"/>
              </p:cNvSpPr>
              <p:nvPr/>
            </p:nvSpPr>
            <p:spPr bwMode="auto">
              <a:xfrm>
                <a:off x="3385483" y="833454"/>
                <a:ext cx="896913" cy="1077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spAutoFit/>
              </a:bodyPr>
              <a:lstStyle>
                <a:lvl1pPr>
                  <a:defRPr sz="2400">
                    <a:solidFill>
                      <a:schemeClr val="tx1"/>
                    </a:solidFill>
                    <a:latin typeface="Arial" pitchFamily="34" charset="0"/>
                  </a:defRPr>
                </a:lvl1pPr>
                <a:lvl2pPr marL="742950" indent="-285750">
                  <a:defRPr sz="2400">
                    <a:solidFill>
                      <a:schemeClr val="tx1"/>
                    </a:solidFill>
                    <a:latin typeface="Arial" pitchFamily="34" charset="0"/>
                  </a:defRPr>
                </a:lvl2pPr>
                <a:lvl3pPr marL="1143000" indent="-228600">
                  <a:defRPr sz="2400">
                    <a:solidFill>
                      <a:schemeClr val="tx1"/>
                    </a:solidFill>
                    <a:latin typeface="Arial" pitchFamily="34" charset="0"/>
                  </a:defRPr>
                </a:lvl3pPr>
                <a:lvl4pPr marL="1600200" indent="-228600">
                  <a:defRPr sz="2400">
                    <a:solidFill>
                      <a:schemeClr val="tx1"/>
                    </a:solidFill>
                    <a:latin typeface="Arial" pitchFamily="34" charset="0"/>
                  </a:defRPr>
                </a:lvl4pPr>
                <a:lvl5pPr marL="2057400" indent="-228600">
                  <a:defRPr sz="2400">
                    <a:solidFill>
                      <a:schemeClr val="tx1"/>
                    </a:solidFill>
                    <a:latin typeface="Arial" pitchFamily="34" charset="0"/>
                  </a:defRPr>
                </a:lvl5pPr>
                <a:lvl6pPr marL="2514600" indent="-228600" fontAlgn="base">
                  <a:spcBef>
                    <a:spcPct val="0"/>
                  </a:spcBef>
                  <a:spcAft>
                    <a:spcPct val="0"/>
                  </a:spcAft>
                  <a:defRPr sz="2400">
                    <a:solidFill>
                      <a:schemeClr val="tx1"/>
                    </a:solidFill>
                    <a:latin typeface="Arial" pitchFamily="34" charset="0"/>
                  </a:defRPr>
                </a:lvl6pPr>
                <a:lvl7pPr marL="2971800" indent="-228600" fontAlgn="base">
                  <a:spcBef>
                    <a:spcPct val="0"/>
                  </a:spcBef>
                  <a:spcAft>
                    <a:spcPct val="0"/>
                  </a:spcAft>
                  <a:defRPr sz="2400">
                    <a:solidFill>
                      <a:schemeClr val="tx1"/>
                    </a:solidFill>
                    <a:latin typeface="Arial" pitchFamily="34" charset="0"/>
                  </a:defRPr>
                </a:lvl7pPr>
                <a:lvl8pPr marL="3429000" indent="-228600" fontAlgn="base">
                  <a:spcBef>
                    <a:spcPct val="0"/>
                  </a:spcBef>
                  <a:spcAft>
                    <a:spcPct val="0"/>
                  </a:spcAft>
                  <a:defRPr sz="2400">
                    <a:solidFill>
                      <a:schemeClr val="tx1"/>
                    </a:solidFill>
                    <a:latin typeface="Arial" pitchFamily="34" charset="0"/>
                  </a:defRPr>
                </a:lvl8pPr>
                <a:lvl9pPr marL="3886200" indent="-228600" fontAlgn="base">
                  <a:spcBef>
                    <a:spcPct val="0"/>
                  </a:spcBef>
                  <a:spcAft>
                    <a:spcPct val="0"/>
                  </a:spcAft>
                  <a:defRPr sz="2400">
                    <a:solidFill>
                      <a:schemeClr val="tx1"/>
                    </a:solidFill>
                    <a:latin typeface="Arial" pitchFamily="34" charset="0"/>
                  </a:defRPr>
                </a:lvl9pPr>
              </a:lstStyle>
              <a:p>
                <a:r>
                  <a:rPr lang="en-US" sz="700" dirty="0">
                    <a:solidFill>
                      <a:srgbClr val="000000"/>
                    </a:solidFill>
                  </a:rPr>
                  <a:t>Proprietary tool</a:t>
                </a:r>
              </a:p>
            </p:txBody>
          </p:sp>
          <p:sp>
            <p:nvSpPr>
              <p:cNvPr id="225" name="Tracker circle"/>
              <p:cNvSpPr/>
              <p:nvPr/>
            </p:nvSpPr>
            <p:spPr>
              <a:xfrm>
                <a:off x="3222412" y="818735"/>
                <a:ext cx="137160" cy="137160"/>
              </a:xfrm>
              <a:prstGeom prst="ellipse">
                <a:avLst/>
              </a:prstGeom>
              <a:solidFill>
                <a:schemeClr val="bg1"/>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wrap="none" lIns="76200" tIns="76200" rIns="76200" bIns="76200" rtlCol="0" anchor="ctr" anchorCtr="1"/>
              <a:lstStyle/>
              <a:p>
                <a:pPr algn="ctr"/>
                <a:r>
                  <a:rPr lang="en-US" sz="900" b="1" dirty="0">
                    <a:solidFill>
                      <a:srgbClr val="F27F00"/>
                    </a:solidFill>
                  </a:rPr>
                  <a:t>T</a:t>
                </a:r>
              </a:p>
            </p:txBody>
          </p:sp>
        </p:grpSp>
      </p:grpSp>
      <p:sp>
        <p:nvSpPr>
          <p:cNvPr id="250" name="Rectangle 13"/>
          <p:cNvSpPr txBox="1">
            <a:spLocks/>
          </p:cNvSpPr>
          <p:nvPr>
            <p:custDataLst>
              <p:tags r:id="rId6"/>
            </p:custDataLst>
          </p:nvPr>
        </p:nvSpPr>
        <p:spPr>
          <a:xfrm>
            <a:off x="149226" y="961193"/>
            <a:ext cx="8662987" cy="5430912"/>
          </a:xfrm>
          <a:prstGeom prst="rect">
            <a:avLst/>
          </a:prstGeom>
          <a:solidFill>
            <a:schemeClr val="bg1"/>
          </a:solidFill>
          <a:ln w="19050">
            <a:solidFill>
              <a:schemeClr val="accent1"/>
            </a:solidFill>
            <a:miter lim="800000"/>
            <a:headEnd/>
            <a:tailEnd/>
          </a:ln>
          <a:effectLst>
            <a:outerShdw blurRad="50800" dist="38100" dir="2700000" algn="tl" rotWithShape="0">
              <a:prstClr val="black">
                <a:alpha val="40000"/>
              </a:prstClr>
            </a:outerShdw>
          </a:effectLst>
          <a:extLst/>
        </p:spPr>
        <p:txBody>
          <a:bodyPr wrap="square" lIns="73152" tIns="73152" rIns="73152" bIns="73152" anchor="ctr" anchorCtr="0">
            <a:noAutofit/>
          </a:bodyPr>
          <a:lstStyle>
            <a:defPPr>
              <a:defRPr lang="en-US"/>
            </a:defPPr>
            <a:lvl1pPr>
              <a:buClr>
                <a:schemeClr val="tx2"/>
              </a:buClr>
              <a:defRPr sz="1400" b="0">
                <a:solidFill>
                  <a:schemeClr val="bg1"/>
                </a:solidFill>
              </a:defRPr>
            </a:lvl1pPr>
          </a:lstStyle>
          <a:p>
            <a:endParaRPr lang="en-US" altLang="ko-KR" dirty="0"/>
          </a:p>
        </p:txBody>
      </p:sp>
      <p:sp>
        <p:nvSpPr>
          <p:cNvPr id="1239050" name="AutoShape 20"/>
          <p:cNvSpPr>
            <a:spLocks noChangeArrowheads="1"/>
          </p:cNvSpPr>
          <p:nvPr/>
        </p:nvSpPr>
        <p:spPr bwMode="gray">
          <a:xfrm rot="10800000">
            <a:off x="1375349" y="1071186"/>
            <a:ext cx="125300" cy="107462"/>
          </a:xfrm>
          <a:prstGeom prst="triangle">
            <a:avLst>
              <a:gd name="adj" fmla="val 50000"/>
            </a:avLst>
          </a:prstGeom>
          <a:solidFill>
            <a:schemeClr val="accent3"/>
          </a:solidFill>
          <a:ln>
            <a:noFill/>
          </a:ln>
          <a:extLst/>
        </p:spPr>
        <p:txBody>
          <a:bodyPr wrap="none" anchor="ctr"/>
          <a:lstStyle/>
          <a:p>
            <a:endParaRPr lang="en-US" sz="900" b="1" dirty="0">
              <a:solidFill>
                <a:srgbClr val="FFFFFF"/>
              </a:solidFill>
              <a:latin typeface="Arial"/>
            </a:endParaRPr>
          </a:p>
        </p:txBody>
      </p:sp>
      <p:sp>
        <p:nvSpPr>
          <p:cNvPr id="1239051" name="Rectangle 21"/>
          <p:cNvSpPr>
            <a:spLocks noChangeArrowheads="1"/>
          </p:cNvSpPr>
          <p:nvPr/>
        </p:nvSpPr>
        <p:spPr bwMode="gray">
          <a:xfrm>
            <a:off x="5583348" y="1048880"/>
            <a:ext cx="1115690" cy="12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lvl1pPr defTabSz="787400">
              <a:defRPr sz="2400">
                <a:solidFill>
                  <a:schemeClr val="tx1"/>
                </a:solidFill>
                <a:latin typeface="Arial" pitchFamily="34" charset="0"/>
              </a:defRPr>
            </a:lvl1pPr>
            <a:lvl2pPr marL="742950" indent="-285750" defTabSz="787400">
              <a:defRPr sz="2400">
                <a:solidFill>
                  <a:schemeClr val="tx1"/>
                </a:solidFill>
                <a:latin typeface="Arial" pitchFamily="34" charset="0"/>
              </a:defRPr>
            </a:lvl2pPr>
            <a:lvl3pPr marL="1143000" indent="-228600" defTabSz="787400">
              <a:defRPr sz="2400">
                <a:solidFill>
                  <a:schemeClr val="tx1"/>
                </a:solidFill>
                <a:latin typeface="Arial" pitchFamily="34" charset="0"/>
              </a:defRPr>
            </a:lvl3pPr>
            <a:lvl4pPr marL="1600200" indent="-228600" defTabSz="787400">
              <a:defRPr sz="2400">
                <a:solidFill>
                  <a:schemeClr val="tx1"/>
                </a:solidFill>
                <a:latin typeface="Arial" pitchFamily="34" charset="0"/>
              </a:defRPr>
            </a:lvl4pPr>
            <a:lvl5pPr marL="2057400" indent="-228600" defTabSz="787400">
              <a:defRPr sz="2400">
                <a:solidFill>
                  <a:schemeClr val="tx1"/>
                </a:solidFill>
                <a:latin typeface="Arial" pitchFamily="34" charset="0"/>
              </a:defRPr>
            </a:lvl5pPr>
            <a:lvl6pPr marL="2514600" indent="-228600" defTabSz="787400" fontAlgn="base">
              <a:spcBef>
                <a:spcPct val="0"/>
              </a:spcBef>
              <a:spcAft>
                <a:spcPct val="0"/>
              </a:spcAft>
              <a:defRPr sz="2400">
                <a:solidFill>
                  <a:schemeClr val="tx1"/>
                </a:solidFill>
                <a:latin typeface="Arial" pitchFamily="34" charset="0"/>
              </a:defRPr>
            </a:lvl6pPr>
            <a:lvl7pPr marL="2971800" indent="-228600" defTabSz="787400" fontAlgn="base">
              <a:spcBef>
                <a:spcPct val="0"/>
              </a:spcBef>
              <a:spcAft>
                <a:spcPct val="0"/>
              </a:spcAft>
              <a:defRPr sz="2400">
                <a:solidFill>
                  <a:schemeClr val="tx1"/>
                </a:solidFill>
                <a:latin typeface="Arial" pitchFamily="34" charset="0"/>
              </a:defRPr>
            </a:lvl7pPr>
            <a:lvl8pPr marL="3429000" indent="-228600" defTabSz="787400" fontAlgn="base">
              <a:spcBef>
                <a:spcPct val="0"/>
              </a:spcBef>
              <a:spcAft>
                <a:spcPct val="0"/>
              </a:spcAft>
              <a:defRPr sz="2400">
                <a:solidFill>
                  <a:schemeClr val="tx1"/>
                </a:solidFill>
                <a:latin typeface="Arial" pitchFamily="34" charset="0"/>
              </a:defRPr>
            </a:lvl8pPr>
            <a:lvl9pPr marL="3886200" indent="-228600" defTabSz="787400" fontAlgn="base">
              <a:spcBef>
                <a:spcPct val="0"/>
              </a:spcBef>
              <a:spcAft>
                <a:spcPct val="0"/>
              </a:spcAft>
              <a:defRPr sz="2400">
                <a:solidFill>
                  <a:schemeClr val="tx1"/>
                </a:solidFill>
                <a:latin typeface="Arial" pitchFamily="34" charset="0"/>
              </a:defRPr>
            </a:lvl9pPr>
          </a:lstStyle>
          <a:p>
            <a:pPr>
              <a:lnSpc>
                <a:spcPct val="90000"/>
              </a:lnSpc>
              <a:buClr>
                <a:srgbClr val="002960"/>
              </a:buClr>
            </a:pPr>
            <a:r>
              <a:rPr lang="en-US" sz="900" b="1" dirty="0">
                <a:solidFill>
                  <a:schemeClr val="accent3"/>
                </a:solidFill>
                <a:latin typeface="Arial"/>
              </a:rPr>
              <a:t>Regulatory approval</a:t>
            </a:r>
          </a:p>
        </p:txBody>
      </p:sp>
      <p:sp>
        <p:nvSpPr>
          <p:cNvPr id="1239052" name="AutoShape 22"/>
          <p:cNvSpPr>
            <a:spLocks noChangeArrowheads="1"/>
          </p:cNvSpPr>
          <p:nvPr/>
        </p:nvSpPr>
        <p:spPr bwMode="gray">
          <a:xfrm rot="10800000">
            <a:off x="6693905" y="1071186"/>
            <a:ext cx="125300" cy="107462"/>
          </a:xfrm>
          <a:prstGeom prst="triangle">
            <a:avLst>
              <a:gd name="adj" fmla="val 50000"/>
            </a:avLst>
          </a:prstGeom>
          <a:solidFill>
            <a:schemeClr val="accent3"/>
          </a:solidFill>
          <a:ln>
            <a:noFill/>
          </a:ln>
          <a:extLst/>
        </p:spPr>
        <p:txBody>
          <a:bodyPr wrap="none" anchor="ctr"/>
          <a:lstStyle/>
          <a:p>
            <a:endParaRPr lang="en-US" sz="900" b="1" dirty="0">
              <a:solidFill>
                <a:srgbClr val="FFFFFF"/>
              </a:solidFill>
              <a:latin typeface="Arial"/>
            </a:endParaRPr>
          </a:p>
        </p:txBody>
      </p:sp>
      <p:sp>
        <p:nvSpPr>
          <p:cNvPr id="1239053" name="Rectangle 23"/>
          <p:cNvSpPr>
            <a:spLocks noChangeArrowheads="1"/>
          </p:cNvSpPr>
          <p:nvPr/>
        </p:nvSpPr>
        <p:spPr bwMode="gray">
          <a:xfrm>
            <a:off x="7668294" y="1035030"/>
            <a:ext cx="423193"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lvl1pPr defTabSz="787400">
              <a:defRPr sz="2400">
                <a:solidFill>
                  <a:schemeClr val="tx1"/>
                </a:solidFill>
                <a:latin typeface="Arial" pitchFamily="34" charset="0"/>
              </a:defRPr>
            </a:lvl1pPr>
            <a:lvl2pPr marL="742950" indent="-285750" defTabSz="787400">
              <a:defRPr sz="2400">
                <a:solidFill>
                  <a:schemeClr val="tx1"/>
                </a:solidFill>
                <a:latin typeface="Arial" pitchFamily="34" charset="0"/>
              </a:defRPr>
            </a:lvl2pPr>
            <a:lvl3pPr marL="1143000" indent="-228600" defTabSz="787400">
              <a:defRPr sz="2400">
                <a:solidFill>
                  <a:schemeClr val="tx1"/>
                </a:solidFill>
                <a:latin typeface="Arial" pitchFamily="34" charset="0"/>
              </a:defRPr>
            </a:lvl3pPr>
            <a:lvl4pPr marL="1600200" indent="-228600" defTabSz="787400">
              <a:defRPr sz="2400">
                <a:solidFill>
                  <a:schemeClr val="tx1"/>
                </a:solidFill>
                <a:latin typeface="Arial" pitchFamily="34" charset="0"/>
              </a:defRPr>
            </a:lvl4pPr>
            <a:lvl5pPr marL="2057400" indent="-228600" defTabSz="787400">
              <a:defRPr sz="2400">
                <a:solidFill>
                  <a:schemeClr val="tx1"/>
                </a:solidFill>
                <a:latin typeface="Arial" pitchFamily="34" charset="0"/>
              </a:defRPr>
            </a:lvl5pPr>
            <a:lvl6pPr marL="2514600" indent="-228600" defTabSz="787400" fontAlgn="base">
              <a:spcBef>
                <a:spcPct val="0"/>
              </a:spcBef>
              <a:spcAft>
                <a:spcPct val="0"/>
              </a:spcAft>
              <a:defRPr sz="2400">
                <a:solidFill>
                  <a:schemeClr val="tx1"/>
                </a:solidFill>
                <a:latin typeface="Arial" pitchFamily="34" charset="0"/>
              </a:defRPr>
            </a:lvl6pPr>
            <a:lvl7pPr marL="2971800" indent="-228600" defTabSz="787400" fontAlgn="base">
              <a:spcBef>
                <a:spcPct val="0"/>
              </a:spcBef>
              <a:spcAft>
                <a:spcPct val="0"/>
              </a:spcAft>
              <a:defRPr sz="2400">
                <a:solidFill>
                  <a:schemeClr val="tx1"/>
                </a:solidFill>
                <a:latin typeface="Arial" pitchFamily="34" charset="0"/>
              </a:defRPr>
            </a:lvl7pPr>
            <a:lvl8pPr marL="3429000" indent="-228600" defTabSz="787400" fontAlgn="base">
              <a:spcBef>
                <a:spcPct val="0"/>
              </a:spcBef>
              <a:spcAft>
                <a:spcPct val="0"/>
              </a:spcAft>
              <a:defRPr sz="2400">
                <a:solidFill>
                  <a:schemeClr val="tx1"/>
                </a:solidFill>
                <a:latin typeface="Arial" pitchFamily="34" charset="0"/>
              </a:defRPr>
            </a:lvl8pPr>
            <a:lvl9pPr marL="3886200" indent="-228600" defTabSz="787400" fontAlgn="base">
              <a:spcBef>
                <a:spcPct val="0"/>
              </a:spcBef>
              <a:spcAft>
                <a:spcPct val="0"/>
              </a:spcAft>
              <a:defRPr sz="2400">
                <a:solidFill>
                  <a:schemeClr val="tx1"/>
                </a:solidFill>
                <a:latin typeface="Arial" pitchFamily="34" charset="0"/>
              </a:defRPr>
            </a:lvl9pPr>
          </a:lstStyle>
          <a:p>
            <a:pPr>
              <a:buClr>
                <a:srgbClr val="002960"/>
              </a:buClr>
            </a:pPr>
            <a:r>
              <a:rPr lang="en-US" sz="900" b="1" dirty="0">
                <a:solidFill>
                  <a:schemeClr val="accent3"/>
                </a:solidFill>
                <a:latin typeface="Arial"/>
              </a:rPr>
              <a:t>Closing</a:t>
            </a:r>
          </a:p>
        </p:txBody>
      </p:sp>
      <p:sp>
        <p:nvSpPr>
          <p:cNvPr id="1239054" name="AutoShape 24"/>
          <p:cNvSpPr>
            <a:spLocks noChangeArrowheads="1"/>
          </p:cNvSpPr>
          <p:nvPr/>
        </p:nvSpPr>
        <p:spPr bwMode="gray">
          <a:xfrm rot="10800000">
            <a:off x="7516138" y="1071186"/>
            <a:ext cx="125300" cy="92700"/>
          </a:xfrm>
          <a:prstGeom prst="triangle">
            <a:avLst>
              <a:gd name="adj" fmla="val 50000"/>
            </a:avLst>
          </a:prstGeom>
          <a:solidFill>
            <a:schemeClr val="accent3"/>
          </a:solidFill>
          <a:ln>
            <a:noFill/>
          </a:ln>
          <a:extLst/>
        </p:spPr>
        <p:txBody>
          <a:bodyPr wrap="none" anchor="ctr"/>
          <a:lstStyle/>
          <a:p>
            <a:endParaRPr lang="en-US" sz="900" b="1" dirty="0">
              <a:solidFill>
                <a:srgbClr val="FFFFFF"/>
              </a:solidFill>
              <a:latin typeface="Arial"/>
            </a:endParaRPr>
          </a:p>
        </p:txBody>
      </p:sp>
      <p:sp>
        <p:nvSpPr>
          <p:cNvPr id="1239045" name="Rectangle 5"/>
          <p:cNvSpPr>
            <a:spLocks noChangeArrowheads="1"/>
          </p:cNvSpPr>
          <p:nvPr>
            <p:custDataLst>
              <p:tags r:id="rId7"/>
            </p:custDataLst>
          </p:nvPr>
        </p:nvSpPr>
        <p:spPr bwMode="auto">
          <a:xfrm>
            <a:off x="248972" y="5451751"/>
            <a:ext cx="8503178" cy="882462"/>
          </a:xfrm>
          <a:prstGeom prst="rect">
            <a:avLst/>
          </a:prstGeom>
          <a:solidFill>
            <a:schemeClr val="bg2">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900" dirty="0">
              <a:solidFill>
                <a:srgbClr val="000000"/>
              </a:solidFill>
            </a:endParaRPr>
          </a:p>
        </p:txBody>
      </p:sp>
      <p:sp>
        <p:nvSpPr>
          <p:cNvPr id="152" name="Freeform 10"/>
          <p:cNvSpPr>
            <a:spLocks/>
          </p:cNvSpPr>
          <p:nvPr>
            <p:custDataLst>
              <p:tags r:id="rId8"/>
            </p:custDataLst>
          </p:nvPr>
        </p:nvSpPr>
        <p:spPr bwMode="gray">
          <a:xfrm>
            <a:off x="272044" y="1203318"/>
            <a:ext cx="1182405" cy="284031"/>
          </a:xfrm>
          <a:custGeom>
            <a:avLst/>
            <a:gdLst>
              <a:gd name="T0" fmla="*/ 0 w 1472"/>
              <a:gd name="T1" fmla="*/ 0 h 350"/>
              <a:gd name="T2" fmla="*/ 1409 w 1472"/>
              <a:gd name="T3" fmla="*/ 0 h 350"/>
              <a:gd name="T4" fmla="*/ 1472 w 1472"/>
              <a:gd name="T5" fmla="*/ 175 h 350"/>
              <a:gd name="T6" fmla="*/ 1409 w 1472"/>
              <a:gd name="T7" fmla="*/ 350 h 350"/>
              <a:gd name="T8" fmla="*/ 0 w 1472"/>
              <a:gd name="T9" fmla="*/ 350 h 350"/>
              <a:gd name="T10" fmla="*/ 0 w 1472"/>
              <a:gd name="T11" fmla="*/ 175 h 350"/>
              <a:gd name="T12" fmla="*/ 0 w 1472"/>
              <a:gd name="T13" fmla="*/ 0 h 350"/>
              <a:gd name="connsiteX0" fmla="*/ 0 w 1472"/>
              <a:gd name="connsiteY0" fmla="*/ 0 h 350"/>
              <a:gd name="connsiteX1" fmla="*/ 1409 w 1472"/>
              <a:gd name="connsiteY1" fmla="*/ 0 h 350"/>
              <a:gd name="connsiteX2" fmla="*/ 1472 w 1472"/>
              <a:gd name="connsiteY2" fmla="*/ 175 h 350"/>
              <a:gd name="connsiteX3" fmla="*/ 1409 w 1472"/>
              <a:gd name="connsiteY3" fmla="*/ 350 h 350"/>
              <a:gd name="connsiteX4" fmla="*/ 0 w 1472"/>
              <a:gd name="connsiteY4" fmla="*/ 350 h 350"/>
              <a:gd name="connsiteX5" fmla="*/ 68 w 1472"/>
              <a:gd name="connsiteY5" fmla="*/ 175 h 350"/>
              <a:gd name="connsiteX6" fmla="*/ 0 w 1472"/>
              <a:gd name="connsiteY6" fmla="*/ 0 h 350"/>
              <a:gd name="connsiteX0" fmla="*/ 0 w 1472"/>
              <a:gd name="connsiteY0" fmla="*/ 0 h 350"/>
              <a:gd name="connsiteX1" fmla="*/ 1404 w 1472"/>
              <a:gd name="connsiteY1" fmla="*/ 0 h 350"/>
              <a:gd name="connsiteX2" fmla="*/ 1472 w 1472"/>
              <a:gd name="connsiteY2" fmla="*/ 175 h 350"/>
              <a:gd name="connsiteX3" fmla="*/ 1409 w 1472"/>
              <a:gd name="connsiteY3" fmla="*/ 350 h 350"/>
              <a:gd name="connsiteX4" fmla="*/ 0 w 1472"/>
              <a:gd name="connsiteY4" fmla="*/ 350 h 350"/>
              <a:gd name="connsiteX5" fmla="*/ 68 w 1472"/>
              <a:gd name="connsiteY5" fmla="*/ 175 h 350"/>
              <a:gd name="connsiteX6" fmla="*/ 0 w 1472"/>
              <a:gd name="connsiteY6" fmla="*/ 0 h 350"/>
              <a:gd name="connsiteX0" fmla="*/ 0 w 1472"/>
              <a:gd name="connsiteY0" fmla="*/ 0 h 350"/>
              <a:gd name="connsiteX1" fmla="*/ 1404 w 1472"/>
              <a:gd name="connsiteY1" fmla="*/ 0 h 350"/>
              <a:gd name="connsiteX2" fmla="*/ 1472 w 1472"/>
              <a:gd name="connsiteY2" fmla="*/ 175 h 350"/>
              <a:gd name="connsiteX3" fmla="*/ 1404 w 1472"/>
              <a:gd name="connsiteY3" fmla="*/ 350 h 350"/>
              <a:gd name="connsiteX4" fmla="*/ 0 w 1472"/>
              <a:gd name="connsiteY4" fmla="*/ 350 h 350"/>
              <a:gd name="connsiteX5" fmla="*/ 68 w 1472"/>
              <a:gd name="connsiteY5" fmla="*/ 175 h 350"/>
              <a:gd name="connsiteX6" fmla="*/ 0 w 1472"/>
              <a:gd name="connsiteY6" fmla="*/ 0 h 350"/>
              <a:gd name="connsiteX0" fmla="*/ 0 w 1472"/>
              <a:gd name="connsiteY0" fmla="*/ 0 h 350"/>
              <a:gd name="connsiteX1" fmla="*/ 1404 w 1472"/>
              <a:gd name="connsiteY1" fmla="*/ 0 h 350"/>
              <a:gd name="connsiteX2" fmla="*/ 1472 w 1472"/>
              <a:gd name="connsiteY2" fmla="*/ 175 h 350"/>
              <a:gd name="connsiteX3" fmla="*/ 1404 w 1472"/>
              <a:gd name="connsiteY3" fmla="*/ 350 h 350"/>
              <a:gd name="connsiteX4" fmla="*/ 0 w 1472"/>
              <a:gd name="connsiteY4" fmla="*/ 350 h 350"/>
              <a:gd name="connsiteX5" fmla="*/ 0 w 1472"/>
              <a:gd name="connsiteY5" fmla="*/ 175 h 350"/>
              <a:gd name="connsiteX6" fmla="*/ 0 w 1472"/>
              <a:gd name="connsiteY6" fmla="*/ 0 h 350"/>
              <a:gd name="connsiteX0" fmla="*/ 0 w 1472"/>
              <a:gd name="connsiteY0" fmla="*/ 0 h 350"/>
              <a:gd name="connsiteX1" fmla="*/ 1404 w 1472"/>
              <a:gd name="connsiteY1" fmla="*/ 0 h 350"/>
              <a:gd name="connsiteX2" fmla="*/ 1472 w 1472"/>
              <a:gd name="connsiteY2" fmla="*/ 175 h 350"/>
              <a:gd name="connsiteX3" fmla="*/ 1404 w 1472"/>
              <a:gd name="connsiteY3" fmla="*/ 350 h 350"/>
              <a:gd name="connsiteX4" fmla="*/ 0 w 1472"/>
              <a:gd name="connsiteY4" fmla="*/ 350 h 350"/>
              <a:gd name="connsiteX5" fmla="*/ 0 w 1472"/>
              <a:gd name="connsiteY5" fmla="*/ 175 h 350"/>
              <a:gd name="connsiteX6" fmla="*/ 0 w 1472"/>
              <a:gd name="connsiteY6" fmla="*/ 0 h 350"/>
              <a:gd name="connsiteX0" fmla="*/ 0 w 1472"/>
              <a:gd name="connsiteY0" fmla="*/ 0 h 350"/>
              <a:gd name="connsiteX1" fmla="*/ 1404 w 1472"/>
              <a:gd name="connsiteY1" fmla="*/ 0 h 350"/>
              <a:gd name="connsiteX2" fmla="*/ 1472 w 1472"/>
              <a:gd name="connsiteY2" fmla="*/ 175 h 350"/>
              <a:gd name="connsiteX3" fmla="*/ 1404 w 1472"/>
              <a:gd name="connsiteY3" fmla="*/ 350 h 350"/>
              <a:gd name="connsiteX4" fmla="*/ 0 w 1472"/>
              <a:gd name="connsiteY4" fmla="*/ 350 h 350"/>
              <a:gd name="connsiteX5" fmla="*/ 0 w 1472"/>
              <a:gd name="connsiteY5" fmla="*/ 175 h 350"/>
              <a:gd name="connsiteX6" fmla="*/ 0 w 1472"/>
              <a:gd name="connsiteY6" fmla="*/ 0 h 350"/>
              <a:gd name="connsiteX0" fmla="*/ 0 w 1472"/>
              <a:gd name="connsiteY0" fmla="*/ 0 h 350"/>
              <a:gd name="connsiteX1" fmla="*/ 1404 w 1472"/>
              <a:gd name="connsiteY1" fmla="*/ 0 h 350"/>
              <a:gd name="connsiteX2" fmla="*/ 1472 w 1472"/>
              <a:gd name="connsiteY2" fmla="*/ 175 h 350"/>
              <a:gd name="connsiteX3" fmla="*/ 1404 w 1472"/>
              <a:gd name="connsiteY3" fmla="*/ 350 h 350"/>
              <a:gd name="connsiteX4" fmla="*/ 0 w 1472"/>
              <a:gd name="connsiteY4" fmla="*/ 350 h 350"/>
              <a:gd name="connsiteX5" fmla="*/ 78 w 1472"/>
              <a:gd name="connsiteY5" fmla="*/ 175 h 350"/>
              <a:gd name="connsiteX6" fmla="*/ 0 w 1472"/>
              <a:gd name="connsiteY6" fmla="*/ 0 h 350"/>
              <a:gd name="connsiteX0" fmla="*/ 0 w 1472"/>
              <a:gd name="connsiteY0" fmla="*/ 0 h 350"/>
              <a:gd name="connsiteX1" fmla="*/ 1394 w 1472"/>
              <a:gd name="connsiteY1" fmla="*/ 0 h 350"/>
              <a:gd name="connsiteX2" fmla="*/ 1472 w 1472"/>
              <a:gd name="connsiteY2" fmla="*/ 175 h 350"/>
              <a:gd name="connsiteX3" fmla="*/ 1404 w 1472"/>
              <a:gd name="connsiteY3" fmla="*/ 350 h 350"/>
              <a:gd name="connsiteX4" fmla="*/ 0 w 1472"/>
              <a:gd name="connsiteY4" fmla="*/ 350 h 350"/>
              <a:gd name="connsiteX5" fmla="*/ 78 w 1472"/>
              <a:gd name="connsiteY5" fmla="*/ 175 h 350"/>
              <a:gd name="connsiteX6" fmla="*/ 0 w 1472"/>
              <a:gd name="connsiteY6" fmla="*/ 0 h 350"/>
              <a:gd name="connsiteX0" fmla="*/ 0 w 1472"/>
              <a:gd name="connsiteY0" fmla="*/ 0 h 350"/>
              <a:gd name="connsiteX1" fmla="*/ 1394 w 1472"/>
              <a:gd name="connsiteY1" fmla="*/ 0 h 350"/>
              <a:gd name="connsiteX2" fmla="*/ 1472 w 1472"/>
              <a:gd name="connsiteY2" fmla="*/ 175 h 350"/>
              <a:gd name="connsiteX3" fmla="*/ 1394 w 1472"/>
              <a:gd name="connsiteY3" fmla="*/ 350 h 350"/>
              <a:gd name="connsiteX4" fmla="*/ 0 w 1472"/>
              <a:gd name="connsiteY4" fmla="*/ 350 h 350"/>
              <a:gd name="connsiteX5" fmla="*/ 78 w 1472"/>
              <a:gd name="connsiteY5" fmla="*/ 175 h 350"/>
              <a:gd name="connsiteX6" fmla="*/ 0 w 1472"/>
              <a:gd name="connsiteY6" fmla="*/ 0 h 350"/>
              <a:gd name="connsiteX0" fmla="*/ 0 w 1472"/>
              <a:gd name="connsiteY0" fmla="*/ 0 h 350"/>
              <a:gd name="connsiteX1" fmla="*/ 1394 w 1472"/>
              <a:gd name="connsiteY1" fmla="*/ 0 h 350"/>
              <a:gd name="connsiteX2" fmla="*/ 1472 w 1472"/>
              <a:gd name="connsiteY2" fmla="*/ 175 h 350"/>
              <a:gd name="connsiteX3" fmla="*/ 1394 w 1472"/>
              <a:gd name="connsiteY3" fmla="*/ 350 h 350"/>
              <a:gd name="connsiteX4" fmla="*/ 0 w 1472"/>
              <a:gd name="connsiteY4" fmla="*/ 350 h 350"/>
              <a:gd name="connsiteX5" fmla="*/ 0 w 1472"/>
              <a:gd name="connsiteY5" fmla="*/ 175 h 350"/>
              <a:gd name="connsiteX6" fmla="*/ 0 w 1472"/>
              <a:gd name="connsiteY6" fmla="*/ 0 h 350"/>
              <a:gd name="connsiteX0" fmla="*/ 0 w 1472"/>
              <a:gd name="connsiteY0" fmla="*/ 0 h 350"/>
              <a:gd name="connsiteX1" fmla="*/ 1394 w 1472"/>
              <a:gd name="connsiteY1" fmla="*/ 0 h 350"/>
              <a:gd name="connsiteX2" fmla="*/ 1472 w 1472"/>
              <a:gd name="connsiteY2" fmla="*/ 175 h 350"/>
              <a:gd name="connsiteX3" fmla="*/ 1394 w 1472"/>
              <a:gd name="connsiteY3" fmla="*/ 350 h 350"/>
              <a:gd name="connsiteX4" fmla="*/ 0 w 1472"/>
              <a:gd name="connsiteY4" fmla="*/ 350 h 350"/>
              <a:gd name="connsiteX5" fmla="*/ 0 w 1472"/>
              <a:gd name="connsiteY5" fmla="*/ 175 h 350"/>
              <a:gd name="connsiteX6" fmla="*/ 0 w 1472"/>
              <a:gd name="connsiteY6" fmla="*/ 0 h 350"/>
              <a:gd name="connsiteX0" fmla="*/ 0 w 1472"/>
              <a:gd name="connsiteY0" fmla="*/ 0 h 350"/>
              <a:gd name="connsiteX1" fmla="*/ 1394 w 1472"/>
              <a:gd name="connsiteY1" fmla="*/ 0 h 350"/>
              <a:gd name="connsiteX2" fmla="*/ 1472 w 1472"/>
              <a:gd name="connsiteY2" fmla="*/ 175 h 350"/>
              <a:gd name="connsiteX3" fmla="*/ 1394 w 1472"/>
              <a:gd name="connsiteY3" fmla="*/ 350 h 350"/>
              <a:gd name="connsiteX4" fmla="*/ 0 w 1472"/>
              <a:gd name="connsiteY4" fmla="*/ 350 h 350"/>
              <a:gd name="connsiteX5" fmla="*/ 0 w 1472"/>
              <a:gd name="connsiteY5" fmla="*/ 175 h 350"/>
              <a:gd name="connsiteX6" fmla="*/ 0 w 1472"/>
              <a:gd name="connsiteY6" fmla="*/ 0 h 350"/>
              <a:gd name="connsiteX0" fmla="*/ 0 w 1472"/>
              <a:gd name="connsiteY0" fmla="*/ 0 h 350"/>
              <a:gd name="connsiteX1" fmla="*/ 1394 w 1472"/>
              <a:gd name="connsiteY1" fmla="*/ 0 h 350"/>
              <a:gd name="connsiteX2" fmla="*/ 1472 w 1472"/>
              <a:gd name="connsiteY2" fmla="*/ 175 h 350"/>
              <a:gd name="connsiteX3" fmla="*/ 1394 w 1472"/>
              <a:gd name="connsiteY3" fmla="*/ 350 h 350"/>
              <a:gd name="connsiteX4" fmla="*/ 0 w 1472"/>
              <a:gd name="connsiteY4" fmla="*/ 350 h 350"/>
              <a:gd name="connsiteX5" fmla="*/ 0 w 1472"/>
              <a:gd name="connsiteY5" fmla="*/ 175 h 350"/>
              <a:gd name="connsiteX6" fmla="*/ 0 w 1472"/>
              <a:gd name="connsiteY6" fmla="*/ 0 h 350"/>
              <a:gd name="connsiteX0" fmla="*/ 0 w 1472"/>
              <a:gd name="connsiteY0" fmla="*/ 0 h 350"/>
              <a:gd name="connsiteX1" fmla="*/ 1412 w 1472"/>
              <a:gd name="connsiteY1" fmla="*/ 0 h 350"/>
              <a:gd name="connsiteX2" fmla="*/ 1472 w 1472"/>
              <a:gd name="connsiteY2" fmla="*/ 175 h 350"/>
              <a:gd name="connsiteX3" fmla="*/ 1394 w 1472"/>
              <a:gd name="connsiteY3" fmla="*/ 350 h 350"/>
              <a:gd name="connsiteX4" fmla="*/ 0 w 1472"/>
              <a:gd name="connsiteY4" fmla="*/ 350 h 350"/>
              <a:gd name="connsiteX5" fmla="*/ 0 w 1472"/>
              <a:gd name="connsiteY5" fmla="*/ 175 h 350"/>
              <a:gd name="connsiteX6" fmla="*/ 0 w 1472"/>
              <a:gd name="connsiteY6" fmla="*/ 0 h 350"/>
              <a:gd name="connsiteX0" fmla="*/ 0 w 1472"/>
              <a:gd name="connsiteY0" fmla="*/ 0 h 350"/>
              <a:gd name="connsiteX1" fmla="*/ 1412 w 1472"/>
              <a:gd name="connsiteY1" fmla="*/ 0 h 350"/>
              <a:gd name="connsiteX2" fmla="*/ 1472 w 1472"/>
              <a:gd name="connsiteY2" fmla="*/ 175 h 350"/>
              <a:gd name="connsiteX3" fmla="*/ 1412 w 1472"/>
              <a:gd name="connsiteY3" fmla="*/ 350 h 350"/>
              <a:gd name="connsiteX4" fmla="*/ 0 w 1472"/>
              <a:gd name="connsiteY4" fmla="*/ 350 h 350"/>
              <a:gd name="connsiteX5" fmla="*/ 0 w 1472"/>
              <a:gd name="connsiteY5" fmla="*/ 175 h 350"/>
              <a:gd name="connsiteX6" fmla="*/ 0 w 1472"/>
              <a:gd name="connsiteY6" fmla="*/ 0 h 350"/>
              <a:gd name="connsiteX0" fmla="*/ 0 w 1472"/>
              <a:gd name="connsiteY0" fmla="*/ 0 h 350"/>
              <a:gd name="connsiteX1" fmla="*/ 1412 w 1472"/>
              <a:gd name="connsiteY1" fmla="*/ 0 h 350"/>
              <a:gd name="connsiteX2" fmla="*/ 1472 w 1472"/>
              <a:gd name="connsiteY2" fmla="*/ 175 h 350"/>
              <a:gd name="connsiteX3" fmla="*/ 1412 w 1472"/>
              <a:gd name="connsiteY3" fmla="*/ 350 h 350"/>
              <a:gd name="connsiteX4" fmla="*/ 0 w 1472"/>
              <a:gd name="connsiteY4" fmla="*/ 350 h 350"/>
              <a:gd name="connsiteX5" fmla="*/ 0 w 1472"/>
              <a:gd name="connsiteY5" fmla="*/ 175 h 350"/>
              <a:gd name="connsiteX6" fmla="*/ 0 w 1472"/>
              <a:gd name="connsiteY6" fmla="*/ 0 h 350"/>
              <a:gd name="connsiteX0" fmla="*/ 0 w 1472"/>
              <a:gd name="connsiteY0" fmla="*/ 0 h 350"/>
              <a:gd name="connsiteX1" fmla="*/ 1427 w 1472"/>
              <a:gd name="connsiteY1" fmla="*/ 0 h 350"/>
              <a:gd name="connsiteX2" fmla="*/ 1472 w 1472"/>
              <a:gd name="connsiteY2" fmla="*/ 175 h 350"/>
              <a:gd name="connsiteX3" fmla="*/ 1412 w 1472"/>
              <a:gd name="connsiteY3" fmla="*/ 350 h 350"/>
              <a:gd name="connsiteX4" fmla="*/ 0 w 1472"/>
              <a:gd name="connsiteY4" fmla="*/ 350 h 350"/>
              <a:gd name="connsiteX5" fmla="*/ 0 w 1472"/>
              <a:gd name="connsiteY5" fmla="*/ 175 h 350"/>
              <a:gd name="connsiteX6" fmla="*/ 0 w 1472"/>
              <a:gd name="connsiteY6" fmla="*/ 0 h 350"/>
              <a:gd name="connsiteX0" fmla="*/ 0 w 1472"/>
              <a:gd name="connsiteY0" fmla="*/ 0 h 350"/>
              <a:gd name="connsiteX1" fmla="*/ 1427 w 1472"/>
              <a:gd name="connsiteY1" fmla="*/ 0 h 350"/>
              <a:gd name="connsiteX2" fmla="*/ 1472 w 1472"/>
              <a:gd name="connsiteY2" fmla="*/ 175 h 350"/>
              <a:gd name="connsiteX3" fmla="*/ 1427 w 1472"/>
              <a:gd name="connsiteY3" fmla="*/ 350 h 350"/>
              <a:gd name="connsiteX4" fmla="*/ 0 w 1472"/>
              <a:gd name="connsiteY4" fmla="*/ 350 h 350"/>
              <a:gd name="connsiteX5" fmla="*/ 0 w 1472"/>
              <a:gd name="connsiteY5" fmla="*/ 175 h 350"/>
              <a:gd name="connsiteX6" fmla="*/ 0 w 1472"/>
              <a:gd name="connsiteY6" fmla="*/ 0 h 350"/>
              <a:gd name="connsiteX0" fmla="*/ 0 w 1472"/>
              <a:gd name="connsiteY0" fmla="*/ 0 h 350"/>
              <a:gd name="connsiteX1" fmla="*/ 1427 w 1472"/>
              <a:gd name="connsiteY1" fmla="*/ 0 h 350"/>
              <a:gd name="connsiteX2" fmla="*/ 1472 w 1472"/>
              <a:gd name="connsiteY2" fmla="*/ 175 h 350"/>
              <a:gd name="connsiteX3" fmla="*/ 1427 w 1472"/>
              <a:gd name="connsiteY3" fmla="*/ 350 h 350"/>
              <a:gd name="connsiteX4" fmla="*/ 0 w 1472"/>
              <a:gd name="connsiteY4" fmla="*/ 350 h 350"/>
              <a:gd name="connsiteX5" fmla="*/ 42 w 1472"/>
              <a:gd name="connsiteY5" fmla="*/ 175 h 350"/>
              <a:gd name="connsiteX6" fmla="*/ 0 w 1472"/>
              <a:gd name="connsiteY6" fmla="*/ 0 h 350"/>
              <a:gd name="connsiteX0" fmla="*/ 0 w 1472"/>
              <a:gd name="connsiteY0" fmla="*/ 0 h 350"/>
              <a:gd name="connsiteX1" fmla="*/ 1430 w 1472"/>
              <a:gd name="connsiteY1" fmla="*/ 0 h 350"/>
              <a:gd name="connsiteX2" fmla="*/ 1472 w 1472"/>
              <a:gd name="connsiteY2" fmla="*/ 175 h 350"/>
              <a:gd name="connsiteX3" fmla="*/ 1427 w 1472"/>
              <a:gd name="connsiteY3" fmla="*/ 350 h 350"/>
              <a:gd name="connsiteX4" fmla="*/ 0 w 1472"/>
              <a:gd name="connsiteY4" fmla="*/ 350 h 350"/>
              <a:gd name="connsiteX5" fmla="*/ 42 w 1472"/>
              <a:gd name="connsiteY5" fmla="*/ 175 h 350"/>
              <a:gd name="connsiteX6" fmla="*/ 0 w 1472"/>
              <a:gd name="connsiteY6" fmla="*/ 0 h 350"/>
              <a:gd name="connsiteX0" fmla="*/ 0 w 1472"/>
              <a:gd name="connsiteY0" fmla="*/ 0 h 350"/>
              <a:gd name="connsiteX1" fmla="*/ 1430 w 1472"/>
              <a:gd name="connsiteY1" fmla="*/ 0 h 350"/>
              <a:gd name="connsiteX2" fmla="*/ 1472 w 1472"/>
              <a:gd name="connsiteY2" fmla="*/ 175 h 350"/>
              <a:gd name="connsiteX3" fmla="*/ 1430 w 1472"/>
              <a:gd name="connsiteY3" fmla="*/ 350 h 350"/>
              <a:gd name="connsiteX4" fmla="*/ 0 w 1472"/>
              <a:gd name="connsiteY4" fmla="*/ 350 h 350"/>
              <a:gd name="connsiteX5" fmla="*/ 42 w 1472"/>
              <a:gd name="connsiteY5" fmla="*/ 175 h 350"/>
              <a:gd name="connsiteX6" fmla="*/ 0 w 1472"/>
              <a:gd name="connsiteY6" fmla="*/ 0 h 350"/>
              <a:gd name="connsiteX0" fmla="*/ 0 w 1472"/>
              <a:gd name="connsiteY0" fmla="*/ 0 h 350"/>
              <a:gd name="connsiteX1" fmla="*/ 1430 w 1472"/>
              <a:gd name="connsiteY1" fmla="*/ 0 h 350"/>
              <a:gd name="connsiteX2" fmla="*/ 1472 w 1472"/>
              <a:gd name="connsiteY2" fmla="*/ 175 h 350"/>
              <a:gd name="connsiteX3" fmla="*/ 1430 w 1472"/>
              <a:gd name="connsiteY3" fmla="*/ 350 h 350"/>
              <a:gd name="connsiteX4" fmla="*/ 0 w 1472"/>
              <a:gd name="connsiteY4" fmla="*/ 350 h 350"/>
              <a:gd name="connsiteX5" fmla="*/ 0 w 1472"/>
              <a:gd name="connsiteY5" fmla="*/ 175 h 350"/>
              <a:gd name="connsiteX6" fmla="*/ 0 w 1472"/>
              <a:gd name="connsiteY6" fmla="*/ 0 h 350"/>
              <a:gd name="connsiteX0" fmla="*/ 0 w 1472"/>
              <a:gd name="connsiteY0" fmla="*/ 0 h 350"/>
              <a:gd name="connsiteX1" fmla="*/ 1430 w 1472"/>
              <a:gd name="connsiteY1" fmla="*/ 0 h 350"/>
              <a:gd name="connsiteX2" fmla="*/ 1472 w 1472"/>
              <a:gd name="connsiteY2" fmla="*/ 175 h 350"/>
              <a:gd name="connsiteX3" fmla="*/ 1430 w 1472"/>
              <a:gd name="connsiteY3" fmla="*/ 350 h 350"/>
              <a:gd name="connsiteX4" fmla="*/ 0 w 1472"/>
              <a:gd name="connsiteY4" fmla="*/ 350 h 350"/>
              <a:gd name="connsiteX5" fmla="*/ 0 w 1472"/>
              <a:gd name="connsiteY5" fmla="*/ 175 h 350"/>
              <a:gd name="connsiteX6" fmla="*/ 0 w 1472"/>
              <a:gd name="connsiteY6" fmla="*/ 0 h 350"/>
              <a:gd name="connsiteX0" fmla="*/ 0 w 1472"/>
              <a:gd name="connsiteY0" fmla="*/ 0 h 350"/>
              <a:gd name="connsiteX1" fmla="*/ 1430 w 1472"/>
              <a:gd name="connsiteY1" fmla="*/ 0 h 350"/>
              <a:gd name="connsiteX2" fmla="*/ 1472 w 1472"/>
              <a:gd name="connsiteY2" fmla="*/ 175 h 350"/>
              <a:gd name="connsiteX3" fmla="*/ 1430 w 1472"/>
              <a:gd name="connsiteY3" fmla="*/ 350 h 350"/>
              <a:gd name="connsiteX4" fmla="*/ 0 w 1472"/>
              <a:gd name="connsiteY4" fmla="*/ 350 h 350"/>
              <a:gd name="connsiteX5" fmla="*/ 0 w 1472"/>
              <a:gd name="connsiteY5" fmla="*/ 175 h 350"/>
              <a:gd name="connsiteX6" fmla="*/ 0 w 1472"/>
              <a:gd name="connsiteY6" fmla="*/ 0 h 350"/>
              <a:gd name="connsiteX0" fmla="*/ 0 w 1472"/>
              <a:gd name="connsiteY0" fmla="*/ 0 h 350"/>
              <a:gd name="connsiteX1" fmla="*/ 1430 w 1472"/>
              <a:gd name="connsiteY1" fmla="*/ 0 h 350"/>
              <a:gd name="connsiteX2" fmla="*/ 1472 w 1472"/>
              <a:gd name="connsiteY2" fmla="*/ 175 h 350"/>
              <a:gd name="connsiteX3" fmla="*/ 1430 w 1472"/>
              <a:gd name="connsiteY3" fmla="*/ 350 h 350"/>
              <a:gd name="connsiteX4" fmla="*/ 0 w 1472"/>
              <a:gd name="connsiteY4" fmla="*/ 350 h 350"/>
              <a:gd name="connsiteX5" fmla="*/ 36 w 1472"/>
              <a:gd name="connsiteY5" fmla="*/ 175 h 350"/>
              <a:gd name="connsiteX6" fmla="*/ 0 w 1472"/>
              <a:gd name="connsiteY6" fmla="*/ 0 h 350"/>
              <a:gd name="connsiteX0" fmla="*/ 0 w 1472"/>
              <a:gd name="connsiteY0" fmla="*/ 0 h 350"/>
              <a:gd name="connsiteX1" fmla="*/ 1436 w 1472"/>
              <a:gd name="connsiteY1" fmla="*/ 0 h 350"/>
              <a:gd name="connsiteX2" fmla="*/ 1472 w 1472"/>
              <a:gd name="connsiteY2" fmla="*/ 175 h 350"/>
              <a:gd name="connsiteX3" fmla="*/ 1430 w 1472"/>
              <a:gd name="connsiteY3" fmla="*/ 350 h 350"/>
              <a:gd name="connsiteX4" fmla="*/ 0 w 1472"/>
              <a:gd name="connsiteY4" fmla="*/ 350 h 350"/>
              <a:gd name="connsiteX5" fmla="*/ 36 w 1472"/>
              <a:gd name="connsiteY5" fmla="*/ 175 h 350"/>
              <a:gd name="connsiteX6" fmla="*/ 0 w 1472"/>
              <a:gd name="connsiteY6" fmla="*/ 0 h 350"/>
              <a:gd name="connsiteX0" fmla="*/ 0 w 1472"/>
              <a:gd name="connsiteY0" fmla="*/ 0 h 350"/>
              <a:gd name="connsiteX1" fmla="*/ 1436 w 1472"/>
              <a:gd name="connsiteY1" fmla="*/ 0 h 350"/>
              <a:gd name="connsiteX2" fmla="*/ 1472 w 1472"/>
              <a:gd name="connsiteY2" fmla="*/ 175 h 350"/>
              <a:gd name="connsiteX3" fmla="*/ 1436 w 1472"/>
              <a:gd name="connsiteY3" fmla="*/ 350 h 350"/>
              <a:gd name="connsiteX4" fmla="*/ 0 w 1472"/>
              <a:gd name="connsiteY4" fmla="*/ 350 h 350"/>
              <a:gd name="connsiteX5" fmla="*/ 36 w 1472"/>
              <a:gd name="connsiteY5" fmla="*/ 175 h 350"/>
              <a:gd name="connsiteX6" fmla="*/ 0 w 1472"/>
              <a:gd name="connsiteY6" fmla="*/ 0 h 350"/>
              <a:gd name="connsiteX0" fmla="*/ 0 w 1472"/>
              <a:gd name="connsiteY0" fmla="*/ 0 h 350"/>
              <a:gd name="connsiteX1" fmla="*/ 1436 w 1472"/>
              <a:gd name="connsiteY1" fmla="*/ 0 h 350"/>
              <a:gd name="connsiteX2" fmla="*/ 1472 w 1472"/>
              <a:gd name="connsiteY2" fmla="*/ 175 h 350"/>
              <a:gd name="connsiteX3" fmla="*/ 1436 w 1472"/>
              <a:gd name="connsiteY3" fmla="*/ 350 h 350"/>
              <a:gd name="connsiteX4" fmla="*/ 0 w 1472"/>
              <a:gd name="connsiteY4" fmla="*/ 350 h 350"/>
              <a:gd name="connsiteX5" fmla="*/ 0 w 1472"/>
              <a:gd name="connsiteY5" fmla="*/ 175 h 350"/>
              <a:gd name="connsiteX6" fmla="*/ 0 w 1472"/>
              <a:gd name="connsiteY6" fmla="*/ 0 h 350"/>
              <a:gd name="connsiteX0" fmla="*/ 0 w 1472"/>
              <a:gd name="connsiteY0" fmla="*/ 0 h 350"/>
              <a:gd name="connsiteX1" fmla="*/ 1436 w 1472"/>
              <a:gd name="connsiteY1" fmla="*/ 0 h 350"/>
              <a:gd name="connsiteX2" fmla="*/ 1472 w 1472"/>
              <a:gd name="connsiteY2" fmla="*/ 175 h 350"/>
              <a:gd name="connsiteX3" fmla="*/ 1436 w 1472"/>
              <a:gd name="connsiteY3" fmla="*/ 350 h 350"/>
              <a:gd name="connsiteX4" fmla="*/ 0 w 1472"/>
              <a:gd name="connsiteY4" fmla="*/ 350 h 350"/>
              <a:gd name="connsiteX5" fmla="*/ 0 w 1472"/>
              <a:gd name="connsiteY5" fmla="*/ 175 h 350"/>
              <a:gd name="connsiteX6" fmla="*/ 0 w 1472"/>
              <a:gd name="connsiteY6" fmla="*/ 0 h 350"/>
              <a:gd name="connsiteX0" fmla="*/ 0 w 1472"/>
              <a:gd name="connsiteY0" fmla="*/ 0 h 350"/>
              <a:gd name="connsiteX1" fmla="*/ 1436 w 1472"/>
              <a:gd name="connsiteY1" fmla="*/ 0 h 350"/>
              <a:gd name="connsiteX2" fmla="*/ 1472 w 1472"/>
              <a:gd name="connsiteY2" fmla="*/ 175 h 350"/>
              <a:gd name="connsiteX3" fmla="*/ 1436 w 1472"/>
              <a:gd name="connsiteY3" fmla="*/ 350 h 350"/>
              <a:gd name="connsiteX4" fmla="*/ 0 w 1472"/>
              <a:gd name="connsiteY4" fmla="*/ 350 h 350"/>
              <a:gd name="connsiteX5" fmla="*/ 0 w 1472"/>
              <a:gd name="connsiteY5" fmla="*/ 175 h 350"/>
              <a:gd name="connsiteX6" fmla="*/ 0 w 1472"/>
              <a:gd name="connsiteY6" fmla="*/ 0 h 350"/>
              <a:gd name="connsiteX0" fmla="*/ 0 w 1472"/>
              <a:gd name="connsiteY0" fmla="*/ 0 h 350"/>
              <a:gd name="connsiteX1" fmla="*/ 1436 w 1472"/>
              <a:gd name="connsiteY1" fmla="*/ 0 h 350"/>
              <a:gd name="connsiteX2" fmla="*/ 1472 w 1472"/>
              <a:gd name="connsiteY2" fmla="*/ 175 h 350"/>
              <a:gd name="connsiteX3" fmla="*/ 1436 w 1472"/>
              <a:gd name="connsiteY3" fmla="*/ 350 h 350"/>
              <a:gd name="connsiteX4" fmla="*/ 0 w 1472"/>
              <a:gd name="connsiteY4" fmla="*/ 350 h 350"/>
              <a:gd name="connsiteX5" fmla="*/ 39 w 1472"/>
              <a:gd name="connsiteY5" fmla="*/ 175 h 350"/>
              <a:gd name="connsiteX6" fmla="*/ 0 w 1472"/>
              <a:gd name="connsiteY6" fmla="*/ 0 h 350"/>
              <a:gd name="connsiteX0" fmla="*/ 0 w 1472"/>
              <a:gd name="connsiteY0" fmla="*/ 0 h 350"/>
              <a:gd name="connsiteX1" fmla="*/ 1433 w 1472"/>
              <a:gd name="connsiteY1" fmla="*/ 0 h 350"/>
              <a:gd name="connsiteX2" fmla="*/ 1472 w 1472"/>
              <a:gd name="connsiteY2" fmla="*/ 175 h 350"/>
              <a:gd name="connsiteX3" fmla="*/ 1436 w 1472"/>
              <a:gd name="connsiteY3" fmla="*/ 350 h 350"/>
              <a:gd name="connsiteX4" fmla="*/ 0 w 1472"/>
              <a:gd name="connsiteY4" fmla="*/ 350 h 350"/>
              <a:gd name="connsiteX5" fmla="*/ 39 w 1472"/>
              <a:gd name="connsiteY5" fmla="*/ 175 h 350"/>
              <a:gd name="connsiteX6" fmla="*/ 0 w 1472"/>
              <a:gd name="connsiteY6" fmla="*/ 0 h 350"/>
              <a:gd name="connsiteX0" fmla="*/ 0 w 1472"/>
              <a:gd name="connsiteY0" fmla="*/ 0 h 350"/>
              <a:gd name="connsiteX1" fmla="*/ 1433 w 1472"/>
              <a:gd name="connsiteY1" fmla="*/ 0 h 350"/>
              <a:gd name="connsiteX2" fmla="*/ 1472 w 1472"/>
              <a:gd name="connsiteY2" fmla="*/ 175 h 350"/>
              <a:gd name="connsiteX3" fmla="*/ 1433 w 1472"/>
              <a:gd name="connsiteY3" fmla="*/ 350 h 350"/>
              <a:gd name="connsiteX4" fmla="*/ 0 w 1472"/>
              <a:gd name="connsiteY4" fmla="*/ 350 h 350"/>
              <a:gd name="connsiteX5" fmla="*/ 39 w 1472"/>
              <a:gd name="connsiteY5" fmla="*/ 175 h 350"/>
              <a:gd name="connsiteX6" fmla="*/ 0 w 1472"/>
              <a:gd name="connsiteY6" fmla="*/ 0 h 350"/>
              <a:gd name="connsiteX0" fmla="*/ 0 w 1472"/>
              <a:gd name="connsiteY0" fmla="*/ 0 h 350"/>
              <a:gd name="connsiteX1" fmla="*/ 1433 w 1472"/>
              <a:gd name="connsiteY1" fmla="*/ 0 h 350"/>
              <a:gd name="connsiteX2" fmla="*/ 1472 w 1472"/>
              <a:gd name="connsiteY2" fmla="*/ 175 h 350"/>
              <a:gd name="connsiteX3" fmla="*/ 1433 w 1472"/>
              <a:gd name="connsiteY3" fmla="*/ 350 h 350"/>
              <a:gd name="connsiteX4" fmla="*/ 0 w 1472"/>
              <a:gd name="connsiteY4" fmla="*/ 350 h 350"/>
              <a:gd name="connsiteX5" fmla="*/ 0 w 1472"/>
              <a:gd name="connsiteY5" fmla="*/ 175 h 350"/>
              <a:gd name="connsiteX6" fmla="*/ 0 w 1472"/>
              <a:gd name="connsiteY6" fmla="*/ 0 h 350"/>
              <a:gd name="connsiteX0" fmla="*/ 0 w 1472"/>
              <a:gd name="connsiteY0" fmla="*/ 0 h 350"/>
              <a:gd name="connsiteX1" fmla="*/ 1433 w 1472"/>
              <a:gd name="connsiteY1" fmla="*/ 0 h 350"/>
              <a:gd name="connsiteX2" fmla="*/ 1472 w 1472"/>
              <a:gd name="connsiteY2" fmla="*/ 175 h 350"/>
              <a:gd name="connsiteX3" fmla="*/ 1433 w 1472"/>
              <a:gd name="connsiteY3" fmla="*/ 350 h 350"/>
              <a:gd name="connsiteX4" fmla="*/ 0 w 1472"/>
              <a:gd name="connsiteY4" fmla="*/ 350 h 350"/>
              <a:gd name="connsiteX5" fmla="*/ 0 w 1472"/>
              <a:gd name="connsiteY5" fmla="*/ 175 h 350"/>
              <a:gd name="connsiteX6" fmla="*/ 0 w 1472"/>
              <a:gd name="connsiteY6" fmla="*/ 0 h 350"/>
              <a:gd name="connsiteX0" fmla="*/ 0 w 1472"/>
              <a:gd name="connsiteY0" fmla="*/ 0 h 350"/>
              <a:gd name="connsiteX1" fmla="*/ 1433 w 1472"/>
              <a:gd name="connsiteY1" fmla="*/ 0 h 350"/>
              <a:gd name="connsiteX2" fmla="*/ 1472 w 1472"/>
              <a:gd name="connsiteY2" fmla="*/ 175 h 350"/>
              <a:gd name="connsiteX3" fmla="*/ 1433 w 1472"/>
              <a:gd name="connsiteY3" fmla="*/ 350 h 350"/>
              <a:gd name="connsiteX4" fmla="*/ 0 w 1472"/>
              <a:gd name="connsiteY4" fmla="*/ 350 h 350"/>
              <a:gd name="connsiteX5" fmla="*/ 0 w 1472"/>
              <a:gd name="connsiteY5" fmla="*/ 175 h 350"/>
              <a:gd name="connsiteX6" fmla="*/ 0 w 1472"/>
              <a:gd name="connsiteY6" fmla="*/ 0 h 350"/>
              <a:gd name="connsiteX0" fmla="*/ 0 w 1472"/>
              <a:gd name="connsiteY0" fmla="*/ 0 h 350"/>
              <a:gd name="connsiteX1" fmla="*/ 1433 w 1472"/>
              <a:gd name="connsiteY1" fmla="*/ 0 h 350"/>
              <a:gd name="connsiteX2" fmla="*/ 1472 w 1472"/>
              <a:gd name="connsiteY2" fmla="*/ 175 h 350"/>
              <a:gd name="connsiteX3" fmla="*/ 1433 w 1472"/>
              <a:gd name="connsiteY3" fmla="*/ 350 h 350"/>
              <a:gd name="connsiteX4" fmla="*/ 0 w 1472"/>
              <a:gd name="connsiteY4" fmla="*/ 350 h 350"/>
              <a:gd name="connsiteX5" fmla="*/ 0 w 1472"/>
              <a:gd name="connsiteY5" fmla="*/ 175 h 350"/>
              <a:gd name="connsiteX6" fmla="*/ 0 w 1472"/>
              <a:gd name="connsiteY6" fmla="*/ 0 h 350"/>
              <a:gd name="connsiteX0" fmla="*/ 0 w 1472"/>
              <a:gd name="connsiteY0" fmla="*/ 0 h 350"/>
              <a:gd name="connsiteX1" fmla="*/ 1404 w 1472"/>
              <a:gd name="connsiteY1" fmla="*/ 0 h 350"/>
              <a:gd name="connsiteX2" fmla="*/ 1472 w 1472"/>
              <a:gd name="connsiteY2" fmla="*/ 175 h 350"/>
              <a:gd name="connsiteX3" fmla="*/ 1433 w 1472"/>
              <a:gd name="connsiteY3" fmla="*/ 350 h 350"/>
              <a:gd name="connsiteX4" fmla="*/ 0 w 1472"/>
              <a:gd name="connsiteY4" fmla="*/ 350 h 350"/>
              <a:gd name="connsiteX5" fmla="*/ 0 w 1472"/>
              <a:gd name="connsiteY5" fmla="*/ 175 h 350"/>
              <a:gd name="connsiteX6" fmla="*/ 0 w 1472"/>
              <a:gd name="connsiteY6" fmla="*/ 0 h 350"/>
              <a:gd name="connsiteX0" fmla="*/ 0 w 1472"/>
              <a:gd name="connsiteY0" fmla="*/ 0 h 350"/>
              <a:gd name="connsiteX1" fmla="*/ 1404 w 1472"/>
              <a:gd name="connsiteY1" fmla="*/ 0 h 350"/>
              <a:gd name="connsiteX2" fmla="*/ 1472 w 1472"/>
              <a:gd name="connsiteY2" fmla="*/ 175 h 350"/>
              <a:gd name="connsiteX3" fmla="*/ 1404 w 1472"/>
              <a:gd name="connsiteY3" fmla="*/ 350 h 350"/>
              <a:gd name="connsiteX4" fmla="*/ 0 w 1472"/>
              <a:gd name="connsiteY4" fmla="*/ 350 h 350"/>
              <a:gd name="connsiteX5" fmla="*/ 0 w 1472"/>
              <a:gd name="connsiteY5" fmla="*/ 175 h 350"/>
              <a:gd name="connsiteX6" fmla="*/ 0 w 1472"/>
              <a:gd name="connsiteY6" fmla="*/ 0 h 350"/>
              <a:gd name="connsiteX0" fmla="*/ 0 w 1472"/>
              <a:gd name="connsiteY0" fmla="*/ 0 h 350"/>
              <a:gd name="connsiteX1" fmla="*/ 1404 w 1472"/>
              <a:gd name="connsiteY1" fmla="*/ 0 h 350"/>
              <a:gd name="connsiteX2" fmla="*/ 1472 w 1472"/>
              <a:gd name="connsiteY2" fmla="*/ 175 h 350"/>
              <a:gd name="connsiteX3" fmla="*/ 1404 w 1472"/>
              <a:gd name="connsiteY3" fmla="*/ 350 h 350"/>
              <a:gd name="connsiteX4" fmla="*/ 0 w 1472"/>
              <a:gd name="connsiteY4" fmla="*/ 350 h 350"/>
              <a:gd name="connsiteX5" fmla="*/ 68 w 1472"/>
              <a:gd name="connsiteY5" fmla="*/ 175 h 350"/>
              <a:gd name="connsiteX6" fmla="*/ 0 w 1472"/>
              <a:gd name="connsiteY6" fmla="*/ 0 h 350"/>
              <a:gd name="connsiteX0" fmla="*/ 0 w 1472"/>
              <a:gd name="connsiteY0" fmla="*/ 0 h 350"/>
              <a:gd name="connsiteX1" fmla="*/ 1404 w 1472"/>
              <a:gd name="connsiteY1" fmla="*/ 0 h 350"/>
              <a:gd name="connsiteX2" fmla="*/ 1472 w 1472"/>
              <a:gd name="connsiteY2" fmla="*/ 175 h 350"/>
              <a:gd name="connsiteX3" fmla="*/ 1404 w 1472"/>
              <a:gd name="connsiteY3" fmla="*/ 350 h 350"/>
              <a:gd name="connsiteX4" fmla="*/ 0 w 1472"/>
              <a:gd name="connsiteY4" fmla="*/ 350 h 350"/>
              <a:gd name="connsiteX5" fmla="*/ 68 w 1472"/>
              <a:gd name="connsiteY5" fmla="*/ 175 h 350"/>
              <a:gd name="connsiteX6" fmla="*/ 0 w 1472"/>
              <a:gd name="connsiteY6" fmla="*/ 0 h 350"/>
              <a:gd name="connsiteX0" fmla="*/ 0 w 1472"/>
              <a:gd name="connsiteY0" fmla="*/ 0 h 350"/>
              <a:gd name="connsiteX1" fmla="*/ 1404 w 1472"/>
              <a:gd name="connsiteY1" fmla="*/ 0 h 350"/>
              <a:gd name="connsiteX2" fmla="*/ 1472 w 1472"/>
              <a:gd name="connsiteY2" fmla="*/ 175 h 350"/>
              <a:gd name="connsiteX3" fmla="*/ 1404 w 1472"/>
              <a:gd name="connsiteY3" fmla="*/ 350 h 350"/>
              <a:gd name="connsiteX4" fmla="*/ 0 w 1472"/>
              <a:gd name="connsiteY4" fmla="*/ 350 h 350"/>
              <a:gd name="connsiteX5" fmla="*/ 68 w 1472"/>
              <a:gd name="connsiteY5" fmla="*/ 175 h 350"/>
              <a:gd name="connsiteX6" fmla="*/ 0 w 1472"/>
              <a:gd name="connsiteY6" fmla="*/ 0 h 350"/>
              <a:gd name="connsiteX0" fmla="*/ 0 w 1472"/>
              <a:gd name="connsiteY0" fmla="*/ 0 h 350"/>
              <a:gd name="connsiteX1" fmla="*/ 1404 w 1472"/>
              <a:gd name="connsiteY1" fmla="*/ 0 h 350"/>
              <a:gd name="connsiteX2" fmla="*/ 1472 w 1472"/>
              <a:gd name="connsiteY2" fmla="*/ 175 h 350"/>
              <a:gd name="connsiteX3" fmla="*/ 1404 w 1472"/>
              <a:gd name="connsiteY3" fmla="*/ 350 h 350"/>
              <a:gd name="connsiteX4" fmla="*/ 0 w 1472"/>
              <a:gd name="connsiteY4" fmla="*/ 350 h 350"/>
              <a:gd name="connsiteX5" fmla="*/ 0 w 1472"/>
              <a:gd name="connsiteY5" fmla="*/ 175 h 350"/>
              <a:gd name="connsiteX6" fmla="*/ 0 w 1472"/>
              <a:gd name="connsiteY6" fmla="*/ 0 h 350"/>
              <a:gd name="connsiteX0" fmla="*/ 0 w 1472"/>
              <a:gd name="connsiteY0" fmla="*/ 0 h 350"/>
              <a:gd name="connsiteX1" fmla="*/ 1404 w 1472"/>
              <a:gd name="connsiteY1" fmla="*/ 0 h 350"/>
              <a:gd name="connsiteX2" fmla="*/ 1472 w 1472"/>
              <a:gd name="connsiteY2" fmla="*/ 175 h 350"/>
              <a:gd name="connsiteX3" fmla="*/ 1404 w 1472"/>
              <a:gd name="connsiteY3" fmla="*/ 350 h 350"/>
              <a:gd name="connsiteX4" fmla="*/ 0 w 1472"/>
              <a:gd name="connsiteY4" fmla="*/ 350 h 350"/>
              <a:gd name="connsiteX5" fmla="*/ 0 w 1472"/>
              <a:gd name="connsiteY5" fmla="*/ 175 h 350"/>
              <a:gd name="connsiteX6" fmla="*/ 0 w 1472"/>
              <a:gd name="connsiteY6" fmla="*/ 0 h 350"/>
              <a:gd name="connsiteX0" fmla="*/ 0 w 1472"/>
              <a:gd name="connsiteY0" fmla="*/ 0 h 350"/>
              <a:gd name="connsiteX1" fmla="*/ 1404 w 1472"/>
              <a:gd name="connsiteY1" fmla="*/ 0 h 350"/>
              <a:gd name="connsiteX2" fmla="*/ 1472 w 1472"/>
              <a:gd name="connsiteY2" fmla="*/ 175 h 350"/>
              <a:gd name="connsiteX3" fmla="*/ 1404 w 1472"/>
              <a:gd name="connsiteY3" fmla="*/ 350 h 350"/>
              <a:gd name="connsiteX4" fmla="*/ 0 w 1472"/>
              <a:gd name="connsiteY4" fmla="*/ 350 h 350"/>
              <a:gd name="connsiteX5" fmla="*/ 0 w 1472"/>
              <a:gd name="connsiteY5" fmla="*/ 175 h 350"/>
              <a:gd name="connsiteX6" fmla="*/ 0 w 1472"/>
              <a:gd name="connsiteY6" fmla="*/ 0 h 350"/>
              <a:gd name="connsiteX0" fmla="*/ 0 w 1472"/>
              <a:gd name="connsiteY0" fmla="*/ 0 h 350"/>
              <a:gd name="connsiteX1" fmla="*/ 1404 w 1472"/>
              <a:gd name="connsiteY1" fmla="*/ 0 h 350"/>
              <a:gd name="connsiteX2" fmla="*/ 1472 w 1472"/>
              <a:gd name="connsiteY2" fmla="*/ 175 h 350"/>
              <a:gd name="connsiteX3" fmla="*/ 1404 w 1472"/>
              <a:gd name="connsiteY3" fmla="*/ 350 h 350"/>
              <a:gd name="connsiteX4" fmla="*/ 0 w 1472"/>
              <a:gd name="connsiteY4" fmla="*/ 350 h 350"/>
              <a:gd name="connsiteX5" fmla="*/ 67 w 1472"/>
              <a:gd name="connsiteY5" fmla="*/ 175 h 350"/>
              <a:gd name="connsiteX6" fmla="*/ 0 w 1472"/>
              <a:gd name="connsiteY6" fmla="*/ 0 h 350"/>
              <a:gd name="connsiteX0" fmla="*/ 0 w 1472"/>
              <a:gd name="connsiteY0" fmla="*/ 0 h 350"/>
              <a:gd name="connsiteX1" fmla="*/ 1405 w 1472"/>
              <a:gd name="connsiteY1" fmla="*/ 0 h 350"/>
              <a:gd name="connsiteX2" fmla="*/ 1472 w 1472"/>
              <a:gd name="connsiteY2" fmla="*/ 175 h 350"/>
              <a:gd name="connsiteX3" fmla="*/ 1404 w 1472"/>
              <a:gd name="connsiteY3" fmla="*/ 350 h 350"/>
              <a:gd name="connsiteX4" fmla="*/ 0 w 1472"/>
              <a:gd name="connsiteY4" fmla="*/ 350 h 350"/>
              <a:gd name="connsiteX5" fmla="*/ 67 w 1472"/>
              <a:gd name="connsiteY5" fmla="*/ 175 h 350"/>
              <a:gd name="connsiteX6" fmla="*/ 0 w 1472"/>
              <a:gd name="connsiteY6" fmla="*/ 0 h 350"/>
              <a:gd name="connsiteX0" fmla="*/ 0 w 1472"/>
              <a:gd name="connsiteY0" fmla="*/ 0 h 350"/>
              <a:gd name="connsiteX1" fmla="*/ 1405 w 1472"/>
              <a:gd name="connsiteY1" fmla="*/ 0 h 350"/>
              <a:gd name="connsiteX2" fmla="*/ 1472 w 1472"/>
              <a:gd name="connsiteY2" fmla="*/ 175 h 350"/>
              <a:gd name="connsiteX3" fmla="*/ 1405 w 1472"/>
              <a:gd name="connsiteY3" fmla="*/ 350 h 350"/>
              <a:gd name="connsiteX4" fmla="*/ 0 w 1472"/>
              <a:gd name="connsiteY4" fmla="*/ 350 h 350"/>
              <a:gd name="connsiteX5" fmla="*/ 67 w 1472"/>
              <a:gd name="connsiteY5" fmla="*/ 175 h 350"/>
              <a:gd name="connsiteX6" fmla="*/ 0 w 1472"/>
              <a:gd name="connsiteY6" fmla="*/ 0 h 350"/>
              <a:gd name="connsiteX0" fmla="*/ 0 w 1472"/>
              <a:gd name="connsiteY0" fmla="*/ 0 h 350"/>
              <a:gd name="connsiteX1" fmla="*/ 1405 w 1472"/>
              <a:gd name="connsiteY1" fmla="*/ 0 h 350"/>
              <a:gd name="connsiteX2" fmla="*/ 1472 w 1472"/>
              <a:gd name="connsiteY2" fmla="*/ 175 h 350"/>
              <a:gd name="connsiteX3" fmla="*/ 1405 w 1472"/>
              <a:gd name="connsiteY3" fmla="*/ 350 h 350"/>
              <a:gd name="connsiteX4" fmla="*/ 0 w 1472"/>
              <a:gd name="connsiteY4" fmla="*/ 350 h 350"/>
              <a:gd name="connsiteX5" fmla="*/ 0 w 1472"/>
              <a:gd name="connsiteY5" fmla="*/ 175 h 350"/>
              <a:gd name="connsiteX6" fmla="*/ 0 w 1472"/>
              <a:gd name="connsiteY6" fmla="*/ 0 h 350"/>
              <a:gd name="connsiteX0" fmla="*/ 0 w 1472"/>
              <a:gd name="connsiteY0" fmla="*/ 0 h 350"/>
              <a:gd name="connsiteX1" fmla="*/ 1405 w 1472"/>
              <a:gd name="connsiteY1" fmla="*/ 0 h 350"/>
              <a:gd name="connsiteX2" fmla="*/ 1472 w 1472"/>
              <a:gd name="connsiteY2" fmla="*/ 175 h 350"/>
              <a:gd name="connsiteX3" fmla="*/ 1405 w 1472"/>
              <a:gd name="connsiteY3" fmla="*/ 350 h 350"/>
              <a:gd name="connsiteX4" fmla="*/ 0 w 1472"/>
              <a:gd name="connsiteY4" fmla="*/ 350 h 350"/>
              <a:gd name="connsiteX5" fmla="*/ 0 w 1472"/>
              <a:gd name="connsiteY5" fmla="*/ 175 h 350"/>
              <a:gd name="connsiteX6" fmla="*/ 0 w 1472"/>
              <a:gd name="connsiteY6" fmla="*/ 0 h 350"/>
              <a:gd name="connsiteX0" fmla="*/ 0 w 1472"/>
              <a:gd name="connsiteY0" fmla="*/ 0 h 350"/>
              <a:gd name="connsiteX1" fmla="*/ 1405 w 1472"/>
              <a:gd name="connsiteY1" fmla="*/ 0 h 350"/>
              <a:gd name="connsiteX2" fmla="*/ 1472 w 1472"/>
              <a:gd name="connsiteY2" fmla="*/ 175 h 350"/>
              <a:gd name="connsiteX3" fmla="*/ 1405 w 1472"/>
              <a:gd name="connsiteY3" fmla="*/ 350 h 350"/>
              <a:gd name="connsiteX4" fmla="*/ 0 w 1472"/>
              <a:gd name="connsiteY4" fmla="*/ 350 h 350"/>
              <a:gd name="connsiteX5" fmla="*/ 0 w 1472"/>
              <a:gd name="connsiteY5" fmla="*/ 175 h 350"/>
              <a:gd name="connsiteX6" fmla="*/ 0 w 1472"/>
              <a:gd name="connsiteY6" fmla="*/ 0 h 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72" h="350">
                <a:moveTo>
                  <a:pt x="0" y="0"/>
                </a:moveTo>
                <a:lnTo>
                  <a:pt x="1405" y="0"/>
                </a:lnTo>
                <a:lnTo>
                  <a:pt x="1472" y="175"/>
                </a:lnTo>
                <a:lnTo>
                  <a:pt x="1405" y="350"/>
                </a:lnTo>
                <a:lnTo>
                  <a:pt x="0" y="350"/>
                </a:lnTo>
                <a:lnTo>
                  <a:pt x="0" y="175"/>
                </a:lnTo>
                <a:lnTo>
                  <a:pt x="0" y="0"/>
                </a:lnTo>
                <a:close/>
              </a:path>
            </a:pathLst>
          </a:custGeom>
          <a:solidFill>
            <a:schemeClr val="accent2"/>
          </a:solidFill>
          <a:ln w="9525">
            <a:noFill/>
            <a:miter lim="800000"/>
            <a:headEnd/>
            <a:tailEnd/>
          </a:ln>
          <a:effectLst/>
          <a:extLst/>
        </p:spPr>
        <p:txBody>
          <a:bodyPr wrap="square" lIns="182880" tIns="72005" rIns="72005" bIns="72005" anchor="ctr" anchorCtr="0">
            <a:noAutofit/>
          </a:bodyPr>
          <a:lstStyle/>
          <a:p>
            <a:pPr>
              <a:buClr>
                <a:srgbClr val="002960"/>
              </a:buClr>
            </a:pPr>
            <a:endParaRPr lang="en-US" altLang="ja-JP" sz="900" b="1" dirty="0">
              <a:solidFill>
                <a:srgbClr val="FFFFFF"/>
              </a:solidFill>
              <a:latin typeface="Arial"/>
            </a:endParaRPr>
          </a:p>
        </p:txBody>
      </p:sp>
      <p:sp>
        <p:nvSpPr>
          <p:cNvPr id="153" name="Rectangle 11"/>
          <p:cNvSpPr>
            <a:spLocks noChangeArrowheads="1"/>
          </p:cNvSpPr>
          <p:nvPr>
            <p:custDataLst>
              <p:tags r:id="rId9"/>
            </p:custDataLst>
          </p:nvPr>
        </p:nvSpPr>
        <p:spPr bwMode="gray">
          <a:xfrm>
            <a:off x="334916" y="1223250"/>
            <a:ext cx="1065800" cy="2441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45720" tIns="0" rIns="45720" bIns="0" anchor="ctr">
            <a:noAutofit/>
          </a:bodyPr>
          <a:lstStyle>
            <a:lvl1pPr defTabSz="895350">
              <a:buClr>
                <a:schemeClr val="tx2"/>
              </a:buClr>
              <a:defRPr sz="1600">
                <a:solidFill>
                  <a:schemeClr val="tx1"/>
                </a:solidFill>
                <a:latin typeface="Arial" charset="0"/>
              </a:defRPr>
            </a:lvl1pPr>
            <a:lvl2pPr marL="133350" indent="-131763" defTabSz="895350">
              <a:buClr>
                <a:schemeClr val="tx2"/>
              </a:buClr>
              <a:buSzPct val="125000"/>
              <a:buFont typeface="Arial" charset="0"/>
              <a:buChar char="▪"/>
              <a:defRPr sz="1600">
                <a:solidFill>
                  <a:schemeClr val="tx1"/>
                </a:solidFill>
                <a:latin typeface="Arial" charset="0"/>
              </a:defRPr>
            </a:lvl2pPr>
            <a:lvl3pPr marL="293688" indent="-158750" defTabSz="895350">
              <a:buClr>
                <a:schemeClr val="tx2"/>
              </a:buClr>
              <a:buSzPct val="120000"/>
              <a:buFont typeface="Arial" charset="0"/>
              <a:buChar char="–"/>
              <a:defRPr sz="1600">
                <a:solidFill>
                  <a:schemeClr val="tx1"/>
                </a:solidFill>
                <a:latin typeface="Arial" charset="0"/>
              </a:defRPr>
            </a:lvl3pPr>
            <a:lvl4pPr marL="427038" indent="-131763" defTabSz="895350">
              <a:buClr>
                <a:schemeClr val="tx2"/>
              </a:buClr>
              <a:buSzPct val="120000"/>
              <a:buFont typeface="Arial" charset="0"/>
              <a:buChar char="▫"/>
              <a:defRPr sz="1600">
                <a:solidFill>
                  <a:schemeClr val="tx1"/>
                </a:solidFill>
                <a:latin typeface="Arial" charset="0"/>
              </a:defRPr>
            </a:lvl4pPr>
            <a:lvl5pPr marL="587375" indent="-158750" defTabSz="895350">
              <a:buClr>
                <a:schemeClr val="tx2"/>
              </a:buClr>
              <a:buSzPct val="89000"/>
              <a:buFont typeface="Arial" charset="0"/>
              <a:buChar char="-"/>
              <a:defRPr sz="1600">
                <a:solidFill>
                  <a:schemeClr val="tx1"/>
                </a:solidFill>
                <a:latin typeface="Arial" charset="0"/>
              </a:defRPr>
            </a:lvl5pPr>
            <a:lvl6pPr marL="1044575" indent="-158750" defTabSz="895350" fontAlgn="base">
              <a:spcBef>
                <a:spcPct val="0"/>
              </a:spcBef>
              <a:spcAft>
                <a:spcPct val="0"/>
              </a:spcAft>
              <a:buClr>
                <a:schemeClr val="tx2"/>
              </a:buClr>
              <a:buSzPct val="89000"/>
              <a:buFont typeface="Arial" charset="0"/>
              <a:buChar char="-"/>
              <a:defRPr sz="1600">
                <a:solidFill>
                  <a:schemeClr val="tx1"/>
                </a:solidFill>
                <a:latin typeface="Arial" charset="0"/>
              </a:defRPr>
            </a:lvl6pPr>
            <a:lvl7pPr marL="1501775" indent="-158750" defTabSz="895350" fontAlgn="base">
              <a:spcBef>
                <a:spcPct val="0"/>
              </a:spcBef>
              <a:spcAft>
                <a:spcPct val="0"/>
              </a:spcAft>
              <a:buClr>
                <a:schemeClr val="tx2"/>
              </a:buClr>
              <a:buSzPct val="89000"/>
              <a:buFont typeface="Arial" charset="0"/>
              <a:buChar char="-"/>
              <a:defRPr sz="1600">
                <a:solidFill>
                  <a:schemeClr val="tx1"/>
                </a:solidFill>
                <a:latin typeface="Arial" charset="0"/>
              </a:defRPr>
            </a:lvl7pPr>
            <a:lvl8pPr marL="1958975" indent="-158750" defTabSz="895350" fontAlgn="base">
              <a:spcBef>
                <a:spcPct val="0"/>
              </a:spcBef>
              <a:spcAft>
                <a:spcPct val="0"/>
              </a:spcAft>
              <a:buClr>
                <a:schemeClr val="tx2"/>
              </a:buClr>
              <a:buSzPct val="89000"/>
              <a:buFont typeface="Arial" charset="0"/>
              <a:buChar char="-"/>
              <a:defRPr sz="1600">
                <a:solidFill>
                  <a:schemeClr val="tx1"/>
                </a:solidFill>
                <a:latin typeface="Arial" charset="0"/>
              </a:defRPr>
            </a:lvl8pPr>
            <a:lvl9pPr marL="2416175" indent="-158750" defTabSz="895350" fontAlgn="base">
              <a:spcBef>
                <a:spcPct val="0"/>
              </a:spcBef>
              <a:spcAft>
                <a:spcPct val="0"/>
              </a:spcAft>
              <a:buClr>
                <a:schemeClr val="tx2"/>
              </a:buClr>
              <a:buSzPct val="89000"/>
              <a:buFont typeface="Arial" charset="0"/>
              <a:buChar char="-"/>
              <a:defRPr sz="1600">
                <a:solidFill>
                  <a:schemeClr val="tx1"/>
                </a:solidFill>
                <a:latin typeface="Arial" charset="0"/>
              </a:defRPr>
            </a:lvl9pPr>
          </a:lstStyle>
          <a:p>
            <a:pPr>
              <a:buClr>
                <a:srgbClr val="002960"/>
              </a:buClr>
            </a:pPr>
            <a:r>
              <a:rPr lang="en-US" altLang="ja-JP" sz="900" b="1" dirty="0">
                <a:solidFill>
                  <a:srgbClr val="FFFFFF"/>
                </a:solidFill>
                <a:latin typeface="Arial"/>
              </a:rPr>
              <a:t>Integration design</a:t>
            </a:r>
          </a:p>
        </p:txBody>
      </p:sp>
      <p:sp>
        <p:nvSpPr>
          <p:cNvPr id="176" name="Freeform 10"/>
          <p:cNvSpPr>
            <a:spLocks/>
          </p:cNvSpPr>
          <p:nvPr>
            <p:custDataLst>
              <p:tags r:id="rId10"/>
            </p:custDataLst>
          </p:nvPr>
        </p:nvSpPr>
        <p:spPr bwMode="gray">
          <a:xfrm>
            <a:off x="1444014" y="1204705"/>
            <a:ext cx="6174894" cy="284031"/>
          </a:xfrm>
          <a:custGeom>
            <a:avLst/>
            <a:gdLst>
              <a:gd name="T0" fmla="*/ 0 w 1472"/>
              <a:gd name="T1" fmla="*/ 0 h 350"/>
              <a:gd name="T2" fmla="*/ 1409 w 1472"/>
              <a:gd name="T3" fmla="*/ 0 h 350"/>
              <a:gd name="T4" fmla="*/ 1472 w 1472"/>
              <a:gd name="T5" fmla="*/ 175 h 350"/>
              <a:gd name="T6" fmla="*/ 1409 w 1472"/>
              <a:gd name="T7" fmla="*/ 350 h 350"/>
              <a:gd name="T8" fmla="*/ 0 w 1472"/>
              <a:gd name="T9" fmla="*/ 350 h 350"/>
              <a:gd name="T10" fmla="*/ 0 w 1472"/>
              <a:gd name="T11" fmla="*/ 175 h 350"/>
              <a:gd name="T12" fmla="*/ 0 w 1472"/>
              <a:gd name="T13" fmla="*/ 0 h 350"/>
              <a:gd name="connsiteX0" fmla="*/ 0 w 1472"/>
              <a:gd name="connsiteY0" fmla="*/ 0 h 350"/>
              <a:gd name="connsiteX1" fmla="*/ 1409 w 1472"/>
              <a:gd name="connsiteY1" fmla="*/ 0 h 350"/>
              <a:gd name="connsiteX2" fmla="*/ 1472 w 1472"/>
              <a:gd name="connsiteY2" fmla="*/ 175 h 350"/>
              <a:gd name="connsiteX3" fmla="*/ 1409 w 1472"/>
              <a:gd name="connsiteY3" fmla="*/ 350 h 350"/>
              <a:gd name="connsiteX4" fmla="*/ 0 w 1472"/>
              <a:gd name="connsiteY4" fmla="*/ 350 h 350"/>
              <a:gd name="connsiteX5" fmla="*/ 68 w 1472"/>
              <a:gd name="connsiteY5" fmla="*/ 175 h 350"/>
              <a:gd name="connsiteX6" fmla="*/ 0 w 1472"/>
              <a:gd name="connsiteY6" fmla="*/ 0 h 350"/>
              <a:gd name="connsiteX0" fmla="*/ 0 w 1472"/>
              <a:gd name="connsiteY0" fmla="*/ 0 h 350"/>
              <a:gd name="connsiteX1" fmla="*/ 1404 w 1472"/>
              <a:gd name="connsiteY1" fmla="*/ 0 h 350"/>
              <a:gd name="connsiteX2" fmla="*/ 1472 w 1472"/>
              <a:gd name="connsiteY2" fmla="*/ 175 h 350"/>
              <a:gd name="connsiteX3" fmla="*/ 1409 w 1472"/>
              <a:gd name="connsiteY3" fmla="*/ 350 h 350"/>
              <a:gd name="connsiteX4" fmla="*/ 0 w 1472"/>
              <a:gd name="connsiteY4" fmla="*/ 350 h 350"/>
              <a:gd name="connsiteX5" fmla="*/ 68 w 1472"/>
              <a:gd name="connsiteY5" fmla="*/ 175 h 350"/>
              <a:gd name="connsiteX6" fmla="*/ 0 w 1472"/>
              <a:gd name="connsiteY6" fmla="*/ 0 h 350"/>
              <a:gd name="connsiteX0" fmla="*/ 0 w 1472"/>
              <a:gd name="connsiteY0" fmla="*/ 0 h 350"/>
              <a:gd name="connsiteX1" fmla="*/ 1404 w 1472"/>
              <a:gd name="connsiteY1" fmla="*/ 0 h 350"/>
              <a:gd name="connsiteX2" fmla="*/ 1472 w 1472"/>
              <a:gd name="connsiteY2" fmla="*/ 175 h 350"/>
              <a:gd name="connsiteX3" fmla="*/ 1404 w 1472"/>
              <a:gd name="connsiteY3" fmla="*/ 350 h 350"/>
              <a:gd name="connsiteX4" fmla="*/ 0 w 1472"/>
              <a:gd name="connsiteY4" fmla="*/ 350 h 350"/>
              <a:gd name="connsiteX5" fmla="*/ 68 w 1472"/>
              <a:gd name="connsiteY5" fmla="*/ 175 h 350"/>
              <a:gd name="connsiteX6" fmla="*/ 0 w 1472"/>
              <a:gd name="connsiteY6" fmla="*/ 0 h 350"/>
              <a:gd name="connsiteX0" fmla="*/ 0 w 1472"/>
              <a:gd name="connsiteY0" fmla="*/ 0 h 350"/>
              <a:gd name="connsiteX1" fmla="*/ 1404 w 1472"/>
              <a:gd name="connsiteY1" fmla="*/ 0 h 350"/>
              <a:gd name="connsiteX2" fmla="*/ 1472 w 1472"/>
              <a:gd name="connsiteY2" fmla="*/ 175 h 350"/>
              <a:gd name="connsiteX3" fmla="*/ 1404 w 1472"/>
              <a:gd name="connsiteY3" fmla="*/ 350 h 350"/>
              <a:gd name="connsiteX4" fmla="*/ 0 w 1472"/>
              <a:gd name="connsiteY4" fmla="*/ 350 h 350"/>
              <a:gd name="connsiteX5" fmla="*/ 0 w 1472"/>
              <a:gd name="connsiteY5" fmla="*/ 175 h 350"/>
              <a:gd name="connsiteX6" fmla="*/ 0 w 1472"/>
              <a:gd name="connsiteY6" fmla="*/ 0 h 350"/>
              <a:gd name="connsiteX0" fmla="*/ 0 w 1472"/>
              <a:gd name="connsiteY0" fmla="*/ 0 h 350"/>
              <a:gd name="connsiteX1" fmla="*/ 1404 w 1472"/>
              <a:gd name="connsiteY1" fmla="*/ 0 h 350"/>
              <a:gd name="connsiteX2" fmla="*/ 1472 w 1472"/>
              <a:gd name="connsiteY2" fmla="*/ 175 h 350"/>
              <a:gd name="connsiteX3" fmla="*/ 1404 w 1472"/>
              <a:gd name="connsiteY3" fmla="*/ 350 h 350"/>
              <a:gd name="connsiteX4" fmla="*/ 0 w 1472"/>
              <a:gd name="connsiteY4" fmla="*/ 350 h 350"/>
              <a:gd name="connsiteX5" fmla="*/ 0 w 1472"/>
              <a:gd name="connsiteY5" fmla="*/ 175 h 350"/>
              <a:gd name="connsiteX6" fmla="*/ 0 w 1472"/>
              <a:gd name="connsiteY6" fmla="*/ 0 h 350"/>
              <a:gd name="connsiteX0" fmla="*/ 0 w 1472"/>
              <a:gd name="connsiteY0" fmla="*/ 0 h 350"/>
              <a:gd name="connsiteX1" fmla="*/ 1404 w 1472"/>
              <a:gd name="connsiteY1" fmla="*/ 0 h 350"/>
              <a:gd name="connsiteX2" fmla="*/ 1472 w 1472"/>
              <a:gd name="connsiteY2" fmla="*/ 175 h 350"/>
              <a:gd name="connsiteX3" fmla="*/ 1404 w 1472"/>
              <a:gd name="connsiteY3" fmla="*/ 350 h 350"/>
              <a:gd name="connsiteX4" fmla="*/ 0 w 1472"/>
              <a:gd name="connsiteY4" fmla="*/ 350 h 350"/>
              <a:gd name="connsiteX5" fmla="*/ 0 w 1472"/>
              <a:gd name="connsiteY5" fmla="*/ 175 h 350"/>
              <a:gd name="connsiteX6" fmla="*/ 0 w 1472"/>
              <a:gd name="connsiteY6" fmla="*/ 0 h 350"/>
              <a:gd name="connsiteX0" fmla="*/ 0 w 1472"/>
              <a:gd name="connsiteY0" fmla="*/ 0 h 350"/>
              <a:gd name="connsiteX1" fmla="*/ 1404 w 1472"/>
              <a:gd name="connsiteY1" fmla="*/ 0 h 350"/>
              <a:gd name="connsiteX2" fmla="*/ 1472 w 1472"/>
              <a:gd name="connsiteY2" fmla="*/ 175 h 350"/>
              <a:gd name="connsiteX3" fmla="*/ 1404 w 1472"/>
              <a:gd name="connsiteY3" fmla="*/ 350 h 350"/>
              <a:gd name="connsiteX4" fmla="*/ 0 w 1472"/>
              <a:gd name="connsiteY4" fmla="*/ 350 h 350"/>
              <a:gd name="connsiteX5" fmla="*/ 78 w 1472"/>
              <a:gd name="connsiteY5" fmla="*/ 175 h 350"/>
              <a:gd name="connsiteX6" fmla="*/ 0 w 1472"/>
              <a:gd name="connsiteY6" fmla="*/ 0 h 350"/>
              <a:gd name="connsiteX0" fmla="*/ 0 w 1472"/>
              <a:gd name="connsiteY0" fmla="*/ 0 h 350"/>
              <a:gd name="connsiteX1" fmla="*/ 1394 w 1472"/>
              <a:gd name="connsiteY1" fmla="*/ 0 h 350"/>
              <a:gd name="connsiteX2" fmla="*/ 1472 w 1472"/>
              <a:gd name="connsiteY2" fmla="*/ 175 h 350"/>
              <a:gd name="connsiteX3" fmla="*/ 1404 w 1472"/>
              <a:gd name="connsiteY3" fmla="*/ 350 h 350"/>
              <a:gd name="connsiteX4" fmla="*/ 0 w 1472"/>
              <a:gd name="connsiteY4" fmla="*/ 350 h 350"/>
              <a:gd name="connsiteX5" fmla="*/ 78 w 1472"/>
              <a:gd name="connsiteY5" fmla="*/ 175 h 350"/>
              <a:gd name="connsiteX6" fmla="*/ 0 w 1472"/>
              <a:gd name="connsiteY6" fmla="*/ 0 h 350"/>
              <a:gd name="connsiteX0" fmla="*/ 0 w 1472"/>
              <a:gd name="connsiteY0" fmla="*/ 0 h 350"/>
              <a:gd name="connsiteX1" fmla="*/ 1394 w 1472"/>
              <a:gd name="connsiteY1" fmla="*/ 0 h 350"/>
              <a:gd name="connsiteX2" fmla="*/ 1472 w 1472"/>
              <a:gd name="connsiteY2" fmla="*/ 175 h 350"/>
              <a:gd name="connsiteX3" fmla="*/ 1394 w 1472"/>
              <a:gd name="connsiteY3" fmla="*/ 350 h 350"/>
              <a:gd name="connsiteX4" fmla="*/ 0 w 1472"/>
              <a:gd name="connsiteY4" fmla="*/ 350 h 350"/>
              <a:gd name="connsiteX5" fmla="*/ 78 w 1472"/>
              <a:gd name="connsiteY5" fmla="*/ 175 h 350"/>
              <a:gd name="connsiteX6" fmla="*/ 0 w 1472"/>
              <a:gd name="connsiteY6" fmla="*/ 0 h 350"/>
              <a:gd name="connsiteX0" fmla="*/ 0 w 1472"/>
              <a:gd name="connsiteY0" fmla="*/ 0 h 350"/>
              <a:gd name="connsiteX1" fmla="*/ 1394 w 1472"/>
              <a:gd name="connsiteY1" fmla="*/ 0 h 350"/>
              <a:gd name="connsiteX2" fmla="*/ 1472 w 1472"/>
              <a:gd name="connsiteY2" fmla="*/ 175 h 350"/>
              <a:gd name="connsiteX3" fmla="*/ 1394 w 1472"/>
              <a:gd name="connsiteY3" fmla="*/ 350 h 350"/>
              <a:gd name="connsiteX4" fmla="*/ 0 w 1472"/>
              <a:gd name="connsiteY4" fmla="*/ 350 h 350"/>
              <a:gd name="connsiteX5" fmla="*/ 0 w 1472"/>
              <a:gd name="connsiteY5" fmla="*/ 175 h 350"/>
              <a:gd name="connsiteX6" fmla="*/ 0 w 1472"/>
              <a:gd name="connsiteY6" fmla="*/ 0 h 350"/>
              <a:gd name="connsiteX0" fmla="*/ 0 w 1472"/>
              <a:gd name="connsiteY0" fmla="*/ 0 h 350"/>
              <a:gd name="connsiteX1" fmla="*/ 1394 w 1472"/>
              <a:gd name="connsiteY1" fmla="*/ 0 h 350"/>
              <a:gd name="connsiteX2" fmla="*/ 1472 w 1472"/>
              <a:gd name="connsiteY2" fmla="*/ 175 h 350"/>
              <a:gd name="connsiteX3" fmla="*/ 1394 w 1472"/>
              <a:gd name="connsiteY3" fmla="*/ 350 h 350"/>
              <a:gd name="connsiteX4" fmla="*/ 0 w 1472"/>
              <a:gd name="connsiteY4" fmla="*/ 350 h 350"/>
              <a:gd name="connsiteX5" fmla="*/ 0 w 1472"/>
              <a:gd name="connsiteY5" fmla="*/ 175 h 350"/>
              <a:gd name="connsiteX6" fmla="*/ 0 w 1472"/>
              <a:gd name="connsiteY6" fmla="*/ 0 h 350"/>
              <a:gd name="connsiteX0" fmla="*/ 0 w 1472"/>
              <a:gd name="connsiteY0" fmla="*/ 0 h 350"/>
              <a:gd name="connsiteX1" fmla="*/ 1394 w 1472"/>
              <a:gd name="connsiteY1" fmla="*/ 0 h 350"/>
              <a:gd name="connsiteX2" fmla="*/ 1472 w 1472"/>
              <a:gd name="connsiteY2" fmla="*/ 175 h 350"/>
              <a:gd name="connsiteX3" fmla="*/ 1394 w 1472"/>
              <a:gd name="connsiteY3" fmla="*/ 350 h 350"/>
              <a:gd name="connsiteX4" fmla="*/ 0 w 1472"/>
              <a:gd name="connsiteY4" fmla="*/ 350 h 350"/>
              <a:gd name="connsiteX5" fmla="*/ 0 w 1472"/>
              <a:gd name="connsiteY5" fmla="*/ 175 h 350"/>
              <a:gd name="connsiteX6" fmla="*/ 0 w 1472"/>
              <a:gd name="connsiteY6" fmla="*/ 0 h 350"/>
              <a:gd name="connsiteX0" fmla="*/ 0 w 1472"/>
              <a:gd name="connsiteY0" fmla="*/ 0 h 350"/>
              <a:gd name="connsiteX1" fmla="*/ 1394 w 1472"/>
              <a:gd name="connsiteY1" fmla="*/ 0 h 350"/>
              <a:gd name="connsiteX2" fmla="*/ 1472 w 1472"/>
              <a:gd name="connsiteY2" fmla="*/ 175 h 350"/>
              <a:gd name="connsiteX3" fmla="*/ 1394 w 1472"/>
              <a:gd name="connsiteY3" fmla="*/ 350 h 350"/>
              <a:gd name="connsiteX4" fmla="*/ 0 w 1472"/>
              <a:gd name="connsiteY4" fmla="*/ 350 h 350"/>
              <a:gd name="connsiteX5" fmla="*/ 0 w 1472"/>
              <a:gd name="connsiteY5" fmla="*/ 175 h 350"/>
              <a:gd name="connsiteX6" fmla="*/ 0 w 1472"/>
              <a:gd name="connsiteY6" fmla="*/ 0 h 350"/>
              <a:gd name="connsiteX0" fmla="*/ 0 w 1472"/>
              <a:gd name="connsiteY0" fmla="*/ 0 h 350"/>
              <a:gd name="connsiteX1" fmla="*/ 1412 w 1472"/>
              <a:gd name="connsiteY1" fmla="*/ 0 h 350"/>
              <a:gd name="connsiteX2" fmla="*/ 1472 w 1472"/>
              <a:gd name="connsiteY2" fmla="*/ 175 h 350"/>
              <a:gd name="connsiteX3" fmla="*/ 1394 w 1472"/>
              <a:gd name="connsiteY3" fmla="*/ 350 h 350"/>
              <a:gd name="connsiteX4" fmla="*/ 0 w 1472"/>
              <a:gd name="connsiteY4" fmla="*/ 350 h 350"/>
              <a:gd name="connsiteX5" fmla="*/ 0 w 1472"/>
              <a:gd name="connsiteY5" fmla="*/ 175 h 350"/>
              <a:gd name="connsiteX6" fmla="*/ 0 w 1472"/>
              <a:gd name="connsiteY6" fmla="*/ 0 h 350"/>
              <a:gd name="connsiteX0" fmla="*/ 0 w 1472"/>
              <a:gd name="connsiteY0" fmla="*/ 0 h 350"/>
              <a:gd name="connsiteX1" fmla="*/ 1412 w 1472"/>
              <a:gd name="connsiteY1" fmla="*/ 0 h 350"/>
              <a:gd name="connsiteX2" fmla="*/ 1472 w 1472"/>
              <a:gd name="connsiteY2" fmla="*/ 175 h 350"/>
              <a:gd name="connsiteX3" fmla="*/ 1412 w 1472"/>
              <a:gd name="connsiteY3" fmla="*/ 350 h 350"/>
              <a:gd name="connsiteX4" fmla="*/ 0 w 1472"/>
              <a:gd name="connsiteY4" fmla="*/ 350 h 350"/>
              <a:gd name="connsiteX5" fmla="*/ 0 w 1472"/>
              <a:gd name="connsiteY5" fmla="*/ 175 h 350"/>
              <a:gd name="connsiteX6" fmla="*/ 0 w 1472"/>
              <a:gd name="connsiteY6" fmla="*/ 0 h 350"/>
              <a:gd name="connsiteX0" fmla="*/ 0 w 1472"/>
              <a:gd name="connsiteY0" fmla="*/ 0 h 350"/>
              <a:gd name="connsiteX1" fmla="*/ 1412 w 1472"/>
              <a:gd name="connsiteY1" fmla="*/ 0 h 350"/>
              <a:gd name="connsiteX2" fmla="*/ 1472 w 1472"/>
              <a:gd name="connsiteY2" fmla="*/ 175 h 350"/>
              <a:gd name="connsiteX3" fmla="*/ 1412 w 1472"/>
              <a:gd name="connsiteY3" fmla="*/ 350 h 350"/>
              <a:gd name="connsiteX4" fmla="*/ 0 w 1472"/>
              <a:gd name="connsiteY4" fmla="*/ 350 h 350"/>
              <a:gd name="connsiteX5" fmla="*/ 0 w 1472"/>
              <a:gd name="connsiteY5" fmla="*/ 175 h 350"/>
              <a:gd name="connsiteX6" fmla="*/ 0 w 1472"/>
              <a:gd name="connsiteY6" fmla="*/ 0 h 350"/>
              <a:gd name="connsiteX0" fmla="*/ 0 w 1472"/>
              <a:gd name="connsiteY0" fmla="*/ 0 h 350"/>
              <a:gd name="connsiteX1" fmla="*/ 1427 w 1472"/>
              <a:gd name="connsiteY1" fmla="*/ 0 h 350"/>
              <a:gd name="connsiteX2" fmla="*/ 1472 w 1472"/>
              <a:gd name="connsiteY2" fmla="*/ 175 h 350"/>
              <a:gd name="connsiteX3" fmla="*/ 1412 w 1472"/>
              <a:gd name="connsiteY3" fmla="*/ 350 h 350"/>
              <a:gd name="connsiteX4" fmla="*/ 0 w 1472"/>
              <a:gd name="connsiteY4" fmla="*/ 350 h 350"/>
              <a:gd name="connsiteX5" fmla="*/ 0 w 1472"/>
              <a:gd name="connsiteY5" fmla="*/ 175 h 350"/>
              <a:gd name="connsiteX6" fmla="*/ 0 w 1472"/>
              <a:gd name="connsiteY6" fmla="*/ 0 h 350"/>
              <a:gd name="connsiteX0" fmla="*/ 0 w 1472"/>
              <a:gd name="connsiteY0" fmla="*/ 0 h 350"/>
              <a:gd name="connsiteX1" fmla="*/ 1427 w 1472"/>
              <a:gd name="connsiteY1" fmla="*/ 0 h 350"/>
              <a:gd name="connsiteX2" fmla="*/ 1472 w 1472"/>
              <a:gd name="connsiteY2" fmla="*/ 175 h 350"/>
              <a:gd name="connsiteX3" fmla="*/ 1427 w 1472"/>
              <a:gd name="connsiteY3" fmla="*/ 350 h 350"/>
              <a:gd name="connsiteX4" fmla="*/ 0 w 1472"/>
              <a:gd name="connsiteY4" fmla="*/ 350 h 350"/>
              <a:gd name="connsiteX5" fmla="*/ 0 w 1472"/>
              <a:gd name="connsiteY5" fmla="*/ 175 h 350"/>
              <a:gd name="connsiteX6" fmla="*/ 0 w 1472"/>
              <a:gd name="connsiteY6" fmla="*/ 0 h 350"/>
              <a:gd name="connsiteX0" fmla="*/ 0 w 1472"/>
              <a:gd name="connsiteY0" fmla="*/ 0 h 350"/>
              <a:gd name="connsiteX1" fmla="*/ 1427 w 1472"/>
              <a:gd name="connsiteY1" fmla="*/ 0 h 350"/>
              <a:gd name="connsiteX2" fmla="*/ 1472 w 1472"/>
              <a:gd name="connsiteY2" fmla="*/ 175 h 350"/>
              <a:gd name="connsiteX3" fmla="*/ 1427 w 1472"/>
              <a:gd name="connsiteY3" fmla="*/ 350 h 350"/>
              <a:gd name="connsiteX4" fmla="*/ 0 w 1472"/>
              <a:gd name="connsiteY4" fmla="*/ 350 h 350"/>
              <a:gd name="connsiteX5" fmla="*/ 45 w 1472"/>
              <a:gd name="connsiteY5" fmla="*/ 175 h 350"/>
              <a:gd name="connsiteX6" fmla="*/ 0 w 1472"/>
              <a:gd name="connsiteY6" fmla="*/ 0 h 350"/>
              <a:gd name="connsiteX0" fmla="*/ 0 w 1472"/>
              <a:gd name="connsiteY0" fmla="*/ 0 h 350"/>
              <a:gd name="connsiteX1" fmla="*/ 1427 w 1472"/>
              <a:gd name="connsiteY1" fmla="*/ 0 h 350"/>
              <a:gd name="connsiteX2" fmla="*/ 1472 w 1472"/>
              <a:gd name="connsiteY2" fmla="*/ 175 h 350"/>
              <a:gd name="connsiteX3" fmla="*/ 1427 w 1472"/>
              <a:gd name="connsiteY3" fmla="*/ 350 h 350"/>
              <a:gd name="connsiteX4" fmla="*/ 0 w 1472"/>
              <a:gd name="connsiteY4" fmla="*/ 350 h 350"/>
              <a:gd name="connsiteX5" fmla="*/ 45 w 1472"/>
              <a:gd name="connsiteY5" fmla="*/ 175 h 350"/>
              <a:gd name="connsiteX6" fmla="*/ 0 w 1472"/>
              <a:gd name="connsiteY6" fmla="*/ 0 h 350"/>
              <a:gd name="connsiteX0" fmla="*/ 0 w 1472"/>
              <a:gd name="connsiteY0" fmla="*/ 0 h 350"/>
              <a:gd name="connsiteX1" fmla="*/ 1427 w 1472"/>
              <a:gd name="connsiteY1" fmla="*/ 0 h 350"/>
              <a:gd name="connsiteX2" fmla="*/ 1472 w 1472"/>
              <a:gd name="connsiteY2" fmla="*/ 175 h 350"/>
              <a:gd name="connsiteX3" fmla="*/ 1427 w 1472"/>
              <a:gd name="connsiteY3" fmla="*/ 350 h 350"/>
              <a:gd name="connsiteX4" fmla="*/ 0 w 1472"/>
              <a:gd name="connsiteY4" fmla="*/ 350 h 350"/>
              <a:gd name="connsiteX5" fmla="*/ 45 w 1472"/>
              <a:gd name="connsiteY5" fmla="*/ 175 h 350"/>
              <a:gd name="connsiteX6" fmla="*/ 0 w 1472"/>
              <a:gd name="connsiteY6" fmla="*/ 0 h 350"/>
              <a:gd name="connsiteX0" fmla="*/ 0 w 1472"/>
              <a:gd name="connsiteY0" fmla="*/ 0 h 350"/>
              <a:gd name="connsiteX1" fmla="*/ 1427 w 1472"/>
              <a:gd name="connsiteY1" fmla="*/ 0 h 350"/>
              <a:gd name="connsiteX2" fmla="*/ 1472 w 1472"/>
              <a:gd name="connsiteY2" fmla="*/ 175 h 350"/>
              <a:gd name="connsiteX3" fmla="*/ 1427 w 1472"/>
              <a:gd name="connsiteY3" fmla="*/ 350 h 350"/>
              <a:gd name="connsiteX4" fmla="*/ 0 w 1472"/>
              <a:gd name="connsiteY4" fmla="*/ 350 h 350"/>
              <a:gd name="connsiteX5" fmla="*/ 20 w 1472"/>
              <a:gd name="connsiteY5" fmla="*/ 175 h 350"/>
              <a:gd name="connsiteX6" fmla="*/ 0 w 1472"/>
              <a:gd name="connsiteY6" fmla="*/ 0 h 350"/>
              <a:gd name="connsiteX0" fmla="*/ 0 w 1472"/>
              <a:gd name="connsiteY0" fmla="*/ 0 h 350"/>
              <a:gd name="connsiteX1" fmla="*/ 1452 w 1472"/>
              <a:gd name="connsiteY1" fmla="*/ 0 h 350"/>
              <a:gd name="connsiteX2" fmla="*/ 1472 w 1472"/>
              <a:gd name="connsiteY2" fmla="*/ 175 h 350"/>
              <a:gd name="connsiteX3" fmla="*/ 1427 w 1472"/>
              <a:gd name="connsiteY3" fmla="*/ 350 h 350"/>
              <a:gd name="connsiteX4" fmla="*/ 0 w 1472"/>
              <a:gd name="connsiteY4" fmla="*/ 350 h 350"/>
              <a:gd name="connsiteX5" fmla="*/ 20 w 1472"/>
              <a:gd name="connsiteY5" fmla="*/ 175 h 350"/>
              <a:gd name="connsiteX6" fmla="*/ 0 w 1472"/>
              <a:gd name="connsiteY6" fmla="*/ 0 h 350"/>
              <a:gd name="connsiteX0" fmla="*/ 0 w 1472"/>
              <a:gd name="connsiteY0" fmla="*/ 0 h 350"/>
              <a:gd name="connsiteX1" fmla="*/ 1452 w 1472"/>
              <a:gd name="connsiteY1" fmla="*/ 0 h 350"/>
              <a:gd name="connsiteX2" fmla="*/ 1472 w 1472"/>
              <a:gd name="connsiteY2" fmla="*/ 175 h 350"/>
              <a:gd name="connsiteX3" fmla="*/ 1452 w 1472"/>
              <a:gd name="connsiteY3" fmla="*/ 350 h 350"/>
              <a:gd name="connsiteX4" fmla="*/ 0 w 1472"/>
              <a:gd name="connsiteY4" fmla="*/ 350 h 350"/>
              <a:gd name="connsiteX5" fmla="*/ 20 w 1472"/>
              <a:gd name="connsiteY5" fmla="*/ 175 h 350"/>
              <a:gd name="connsiteX6" fmla="*/ 0 w 1472"/>
              <a:gd name="connsiteY6" fmla="*/ 0 h 350"/>
              <a:gd name="connsiteX0" fmla="*/ 0 w 1472"/>
              <a:gd name="connsiteY0" fmla="*/ 0 h 350"/>
              <a:gd name="connsiteX1" fmla="*/ 1452 w 1472"/>
              <a:gd name="connsiteY1" fmla="*/ 0 h 350"/>
              <a:gd name="connsiteX2" fmla="*/ 1472 w 1472"/>
              <a:gd name="connsiteY2" fmla="*/ 175 h 350"/>
              <a:gd name="connsiteX3" fmla="*/ 1452 w 1472"/>
              <a:gd name="connsiteY3" fmla="*/ 350 h 350"/>
              <a:gd name="connsiteX4" fmla="*/ 0 w 1472"/>
              <a:gd name="connsiteY4" fmla="*/ 350 h 350"/>
              <a:gd name="connsiteX5" fmla="*/ 0 w 1472"/>
              <a:gd name="connsiteY5" fmla="*/ 175 h 350"/>
              <a:gd name="connsiteX6" fmla="*/ 0 w 1472"/>
              <a:gd name="connsiteY6" fmla="*/ 0 h 350"/>
              <a:gd name="connsiteX0" fmla="*/ 0 w 1472"/>
              <a:gd name="connsiteY0" fmla="*/ 0 h 350"/>
              <a:gd name="connsiteX1" fmla="*/ 1453 w 1472"/>
              <a:gd name="connsiteY1" fmla="*/ 0 h 350"/>
              <a:gd name="connsiteX2" fmla="*/ 1472 w 1472"/>
              <a:gd name="connsiteY2" fmla="*/ 175 h 350"/>
              <a:gd name="connsiteX3" fmla="*/ 1452 w 1472"/>
              <a:gd name="connsiteY3" fmla="*/ 350 h 350"/>
              <a:gd name="connsiteX4" fmla="*/ 0 w 1472"/>
              <a:gd name="connsiteY4" fmla="*/ 350 h 350"/>
              <a:gd name="connsiteX5" fmla="*/ 0 w 1472"/>
              <a:gd name="connsiteY5" fmla="*/ 175 h 350"/>
              <a:gd name="connsiteX6" fmla="*/ 0 w 1472"/>
              <a:gd name="connsiteY6" fmla="*/ 0 h 350"/>
              <a:gd name="connsiteX0" fmla="*/ 0 w 1472"/>
              <a:gd name="connsiteY0" fmla="*/ 0 h 350"/>
              <a:gd name="connsiteX1" fmla="*/ 1453 w 1472"/>
              <a:gd name="connsiteY1" fmla="*/ 0 h 350"/>
              <a:gd name="connsiteX2" fmla="*/ 1472 w 1472"/>
              <a:gd name="connsiteY2" fmla="*/ 175 h 350"/>
              <a:gd name="connsiteX3" fmla="*/ 1453 w 1472"/>
              <a:gd name="connsiteY3" fmla="*/ 350 h 350"/>
              <a:gd name="connsiteX4" fmla="*/ 0 w 1472"/>
              <a:gd name="connsiteY4" fmla="*/ 350 h 350"/>
              <a:gd name="connsiteX5" fmla="*/ 0 w 1472"/>
              <a:gd name="connsiteY5" fmla="*/ 175 h 350"/>
              <a:gd name="connsiteX6" fmla="*/ 0 w 1472"/>
              <a:gd name="connsiteY6" fmla="*/ 0 h 350"/>
              <a:gd name="connsiteX0" fmla="*/ 0 w 1472"/>
              <a:gd name="connsiteY0" fmla="*/ 0 h 350"/>
              <a:gd name="connsiteX1" fmla="*/ 1453 w 1472"/>
              <a:gd name="connsiteY1" fmla="*/ 0 h 350"/>
              <a:gd name="connsiteX2" fmla="*/ 1472 w 1472"/>
              <a:gd name="connsiteY2" fmla="*/ 175 h 350"/>
              <a:gd name="connsiteX3" fmla="*/ 1453 w 1472"/>
              <a:gd name="connsiteY3" fmla="*/ 350 h 350"/>
              <a:gd name="connsiteX4" fmla="*/ 0 w 1472"/>
              <a:gd name="connsiteY4" fmla="*/ 350 h 350"/>
              <a:gd name="connsiteX5" fmla="*/ 19 w 1472"/>
              <a:gd name="connsiteY5" fmla="*/ 175 h 350"/>
              <a:gd name="connsiteX6" fmla="*/ 0 w 1472"/>
              <a:gd name="connsiteY6" fmla="*/ 0 h 350"/>
              <a:gd name="connsiteX0" fmla="*/ 0 w 1472"/>
              <a:gd name="connsiteY0" fmla="*/ 0 h 350"/>
              <a:gd name="connsiteX1" fmla="*/ 1453 w 1472"/>
              <a:gd name="connsiteY1" fmla="*/ 0 h 350"/>
              <a:gd name="connsiteX2" fmla="*/ 1472 w 1472"/>
              <a:gd name="connsiteY2" fmla="*/ 175 h 350"/>
              <a:gd name="connsiteX3" fmla="*/ 1453 w 1472"/>
              <a:gd name="connsiteY3" fmla="*/ 350 h 350"/>
              <a:gd name="connsiteX4" fmla="*/ 0 w 1472"/>
              <a:gd name="connsiteY4" fmla="*/ 350 h 350"/>
              <a:gd name="connsiteX5" fmla="*/ 19 w 1472"/>
              <a:gd name="connsiteY5" fmla="*/ 175 h 350"/>
              <a:gd name="connsiteX6" fmla="*/ 0 w 1472"/>
              <a:gd name="connsiteY6" fmla="*/ 0 h 350"/>
              <a:gd name="connsiteX0" fmla="*/ 0 w 1472"/>
              <a:gd name="connsiteY0" fmla="*/ 0 h 350"/>
              <a:gd name="connsiteX1" fmla="*/ 1453 w 1472"/>
              <a:gd name="connsiteY1" fmla="*/ 0 h 350"/>
              <a:gd name="connsiteX2" fmla="*/ 1472 w 1472"/>
              <a:gd name="connsiteY2" fmla="*/ 175 h 350"/>
              <a:gd name="connsiteX3" fmla="*/ 1453 w 1472"/>
              <a:gd name="connsiteY3" fmla="*/ 350 h 350"/>
              <a:gd name="connsiteX4" fmla="*/ 0 w 1472"/>
              <a:gd name="connsiteY4" fmla="*/ 350 h 350"/>
              <a:gd name="connsiteX5" fmla="*/ 19 w 1472"/>
              <a:gd name="connsiteY5" fmla="*/ 175 h 350"/>
              <a:gd name="connsiteX6" fmla="*/ 0 w 1472"/>
              <a:gd name="connsiteY6" fmla="*/ 0 h 350"/>
              <a:gd name="connsiteX0" fmla="*/ 0 w 1472"/>
              <a:gd name="connsiteY0" fmla="*/ 0 h 350"/>
              <a:gd name="connsiteX1" fmla="*/ 1453 w 1472"/>
              <a:gd name="connsiteY1" fmla="*/ 0 h 350"/>
              <a:gd name="connsiteX2" fmla="*/ 1472 w 1472"/>
              <a:gd name="connsiteY2" fmla="*/ 175 h 350"/>
              <a:gd name="connsiteX3" fmla="*/ 1453 w 1472"/>
              <a:gd name="connsiteY3" fmla="*/ 350 h 350"/>
              <a:gd name="connsiteX4" fmla="*/ 0 w 1472"/>
              <a:gd name="connsiteY4" fmla="*/ 350 h 350"/>
              <a:gd name="connsiteX5" fmla="*/ 0 w 1472"/>
              <a:gd name="connsiteY5" fmla="*/ 175 h 350"/>
              <a:gd name="connsiteX6" fmla="*/ 0 w 1472"/>
              <a:gd name="connsiteY6" fmla="*/ 0 h 350"/>
              <a:gd name="connsiteX0" fmla="*/ 0 w 1472"/>
              <a:gd name="connsiteY0" fmla="*/ 0 h 350"/>
              <a:gd name="connsiteX1" fmla="*/ 1455 w 1472"/>
              <a:gd name="connsiteY1" fmla="*/ 0 h 350"/>
              <a:gd name="connsiteX2" fmla="*/ 1472 w 1472"/>
              <a:gd name="connsiteY2" fmla="*/ 175 h 350"/>
              <a:gd name="connsiteX3" fmla="*/ 1453 w 1472"/>
              <a:gd name="connsiteY3" fmla="*/ 350 h 350"/>
              <a:gd name="connsiteX4" fmla="*/ 0 w 1472"/>
              <a:gd name="connsiteY4" fmla="*/ 350 h 350"/>
              <a:gd name="connsiteX5" fmla="*/ 0 w 1472"/>
              <a:gd name="connsiteY5" fmla="*/ 175 h 350"/>
              <a:gd name="connsiteX6" fmla="*/ 0 w 1472"/>
              <a:gd name="connsiteY6" fmla="*/ 0 h 350"/>
              <a:gd name="connsiteX0" fmla="*/ 0 w 1472"/>
              <a:gd name="connsiteY0" fmla="*/ 0 h 350"/>
              <a:gd name="connsiteX1" fmla="*/ 1455 w 1472"/>
              <a:gd name="connsiteY1" fmla="*/ 0 h 350"/>
              <a:gd name="connsiteX2" fmla="*/ 1472 w 1472"/>
              <a:gd name="connsiteY2" fmla="*/ 175 h 350"/>
              <a:gd name="connsiteX3" fmla="*/ 1455 w 1472"/>
              <a:gd name="connsiteY3" fmla="*/ 350 h 350"/>
              <a:gd name="connsiteX4" fmla="*/ 0 w 1472"/>
              <a:gd name="connsiteY4" fmla="*/ 350 h 350"/>
              <a:gd name="connsiteX5" fmla="*/ 0 w 1472"/>
              <a:gd name="connsiteY5" fmla="*/ 175 h 350"/>
              <a:gd name="connsiteX6" fmla="*/ 0 w 1472"/>
              <a:gd name="connsiteY6" fmla="*/ 0 h 350"/>
              <a:gd name="connsiteX0" fmla="*/ 0 w 1472"/>
              <a:gd name="connsiteY0" fmla="*/ 0 h 350"/>
              <a:gd name="connsiteX1" fmla="*/ 1455 w 1472"/>
              <a:gd name="connsiteY1" fmla="*/ 0 h 350"/>
              <a:gd name="connsiteX2" fmla="*/ 1472 w 1472"/>
              <a:gd name="connsiteY2" fmla="*/ 175 h 350"/>
              <a:gd name="connsiteX3" fmla="*/ 1455 w 1472"/>
              <a:gd name="connsiteY3" fmla="*/ 350 h 350"/>
              <a:gd name="connsiteX4" fmla="*/ 0 w 1472"/>
              <a:gd name="connsiteY4" fmla="*/ 350 h 350"/>
              <a:gd name="connsiteX5" fmla="*/ 17 w 1472"/>
              <a:gd name="connsiteY5" fmla="*/ 175 h 350"/>
              <a:gd name="connsiteX6" fmla="*/ 0 w 1472"/>
              <a:gd name="connsiteY6" fmla="*/ 0 h 350"/>
              <a:gd name="connsiteX0" fmla="*/ 0 w 1472"/>
              <a:gd name="connsiteY0" fmla="*/ 0 h 350"/>
              <a:gd name="connsiteX1" fmla="*/ 1455 w 1472"/>
              <a:gd name="connsiteY1" fmla="*/ 0 h 350"/>
              <a:gd name="connsiteX2" fmla="*/ 1472 w 1472"/>
              <a:gd name="connsiteY2" fmla="*/ 175 h 350"/>
              <a:gd name="connsiteX3" fmla="*/ 1455 w 1472"/>
              <a:gd name="connsiteY3" fmla="*/ 350 h 350"/>
              <a:gd name="connsiteX4" fmla="*/ 0 w 1472"/>
              <a:gd name="connsiteY4" fmla="*/ 350 h 350"/>
              <a:gd name="connsiteX5" fmla="*/ 17 w 1472"/>
              <a:gd name="connsiteY5" fmla="*/ 175 h 350"/>
              <a:gd name="connsiteX6" fmla="*/ 0 w 1472"/>
              <a:gd name="connsiteY6" fmla="*/ 0 h 350"/>
              <a:gd name="connsiteX0" fmla="*/ 0 w 1472"/>
              <a:gd name="connsiteY0" fmla="*/ 0 h 350"/>
              <a:gd name="connsiteX1" fmla="*/ 1455 w 1472"/>
              <a:gd name="connsiteY1" fmla="*/ 0 h 350"/>
              <a:gd name="connsiteX2" fmla="*/ 1472 w 1472"/>
              <a:gd name="connsiteY2" fmla="*/ 175 h 350"/>
              <a:gd name="connsiteX3" fmla="*/ 1455 w 1472"/>
              <a:gd name="connsiteY3" fmla="*/ 350 h 350"/>
              <a:gd name="connsiteX4" fmla="*/ 0 w 1472"/>
              <a:gd name="connsiteY4" fmla="*/ 350 h 350"/>
              <a:gd name="connsiteX5" fmla="*/ 17 w 1472"/>
              <a:gd name="connsiteY5" fmla="*/ 175 h 350"/>
              <a:gd name="connsiteX6" fmla="*/ 0 w 1472"/>
              <a:gd name="connsiteY6" fmla="*/ 0 h 350"/>
              <a:gd name="connsiteX0" fmla="*/ 0 w 1472"/>
              <a:gd name="connsiteY0" fmla="*/ 0 h 350"/>
              <a:gd name="connsiteX1" fmla="*/ 1455 w 1472"/>
              <a:gd name="connsiteY1" fmla="*/ 0 h 350"/>
              <a:gd name="connsiteX2" fmla="*/ 1472 w 1472"/>
              <a:gd name="connsiteY2" fmla="*/ 175 h 350"/>
              <a:gd name="connsiteX3" fmla="*/ 1455 w 1472"/>
              <a:gd name="connsiteY3" fmla="*/ 350 h 350"/>
              <a:gd name="connsiteX4" fmla="*/ 0 w 1472"/>
              <a:gd name="connsiteY4" fmla="*/ 350 h 350"/>
              <a:gd name="connsiteX5" fmla="*/ 0 w 1472"/>
              <a:gd name="connsiteY5" fmla="*/ 175 h 350"/>
              <a:gd name="connsiteX6" fmla="*/ 0 w 1472"/>
              <a:gd name="connsiteY6" fmla="*/ 0 h 350"/>
              <a:gd name="connsiteX0" fmla="*/ 0 w 1472"/>
              <a:gd name="connsiteY0" fmla="*/ 0 h 350"/>
              <a:gd name="connsiteX1" fmla="*/ 1454 w 1472"/>
              <a:gd name="connsiteY1" fmla="*/ 0 h 350"/>
              <a:gd name="connsiteX2" fmla="*/ 1472 w 1472"/>
              <a:gd name="connsiteY2" fmla="*/ 175 h 350"/>
              <a:gd name="connsiteX3" fmla="*/ 1455 w 1472"/>
              <a:gd name="connsiteY3" fmla="*/ 350 h 350"/>
              <a:gd name="connsiteX4" fmla="*/ 0 w 1472"/>
              <a:gd name="connsiteY4" fmla="*/ 350 h 350"/>
              <a:gd name="connsiteX5" fmla="*/ 0 w 1472"/>
              <a:gd name="connsiteY5" fmla="*/ 175 h 350"/>
              <a:gd name="connsiteX6" fmla="*/ 0 w 1472"/>
              <a:gd name="connsiteY6" fmla="*/ 0 h 350"/>
              <a:gd name="connsiteX0" fmla="*/ 0 w 1472"/>
              <a:gd name="connsiteY0" fmla="*/ 0 h 350"/>
              <a:gd name="connsiteX1" fmla="*/ 1454 w 1472"/>
              <a:gd name="connsiteY1" fmla="*/ 0 h 350"/>
              <a:gd name="connsiteX2" fmla="*/ 1472 w 1472"/>
              <a:gd name="connsiteY2" fmla="*/ 175 h 350"/>
              <a:gd name="connsiteX3" fmla="*/ 1454 w 1472"/>
              <a:gd name="connsiteY3" fmla="*/ 350 h 350"/>
              <a:gd name="connsiteX4" fmla="*/ 0 w 1472"/>
              <a:gd name="connsiteY4" fmla="*/ 350 h 350"/>
              <a:gd name="connsiteX5" fmla="*/ 0 w 1472"/>
              <a:gd name="connsiteY5" fmla="*/ 175 h 350"/>
              <a:gd name="connsiteX6" fmla="*/ 0 w 1472"/>
              <a:gd name="connsiteY6" fmla="*/ 0 h 350"/>
              <a:gd name="connsiteX0" fmla="*/ 0 w 1472"/>
              <a:gd name="connsiteY0" fmla="*/ 0 h 350"/>
              <a:gd name="connsiteX1" fmla="*/ 1454 w 1472"/>
              <a:gd name="connsiteY1" fmla="*/ 0 h 350"/>
              <a:gd name="connsiteX2" fmla="*/ 1472 w 1472"/>
              <a:gd name="connsiteY2" fmla="*/ 175 h 350"/>
              <a:gd name="connsiteX3" fmla="*/ 1454 w 1472"/>
              <a:gd name="connsiteY3" fmla="*/ 350 h 350"/>
              <a:gd name="connsiteX4" fmla="*/ 0 w 1472"/>
              <a:gd name="connsiteY4" fmla="*/ 350 h 350"/>
              <a:gd name="connsiteX5" fmla="*/ 18 w 1472"/>
              <a:gd name="connsiteY5" fmla="*/ 175 h 350"/>
              <a:gd name="connsiteX6" fmla="*/ 0 w 1472"/>
              <a:gd name="connsiteY6" fmla="*/ 0 h 350"/>
              <a:gd name="connsiteX0" fmla="*/ 0 w 1472"/>
              <a:gd name="connsiteY0" fmla="*/ 0 h 350"/>
              <a:gd name="connsiteX1" fmla="*/ 1454 w 1472"/>
              <a:gd name="connsiteY1" fmla="*/ 0 h 350"/>
              <a:gd name="connsiteX2" fmla="*/ 1472 w 1472"/>
              <a:gd name="connsiteY2" fmla="*/ 175 h 350"/>
              <a:gd name="connsiteX3" fmla="*/ 1454 w 1472"/>
              <a:gd name="connsiteY3" fmla="*/ 350 h 350"/>
              <a:gd name="connsiteX4" fmla="*/ 0 w 1472"/>
              <a:gd name="connsiteY4" fmla="*/ 350 h 350"/>
              <a:gd name="connsiteX5" fmla="*/ 18 w 1472"/>
              <a:gd name="connsiteY5" fmla="*/ 175 h 350"/>
              <a:gd name="connsiteX6" fmla="*/ 0 w 1472"/>
              <a:gd name="connsiteY6" fmla="*/ 0 h 350"/>
              <a:gd name="connsiteX0" fmla="*/ 0 w 1472"/>
              <a:gd name="connsiteY0" fmla="*/ 0 h 350"/>
              <a:gd name="connsiteX1" fmla="*/ 1454 w 1472"/>
              <a:gd name="connsiteY1" fmla="*/ 0 h 350"/>
              <a:gd name="connsiteX2" fmla="*/ 1472 w 1472"/>
              <a:gd name="connsiteY2" fmla="*/ 175 h 350"/>
              <a:gd name="connsiteX3" fmla="*/ 1454 w 1472"/>
              <a:gd name="connsiteY3" fmla="*/ 350 h 350"/>
              <a:gd name="connsiteX4" fmla="*/ 0 w 1472"/>
              <a:gd name="connsiteY4" fmla="*/ 350 h 350"/>
              <a:gd name="connsiteX5" fmla="*/ 18 w 1472"/>
              <a:gd name="connsiteY5" fmla="*/ 175 h 350"/>
              <a:gd name="connsiteX6" fmla="*/ 0 w 1472"/>
              <a:gd name="connsiteY6" fmla="*/ 0 h 350"/>
              <a:gd name="connsiteX0" fmla="*/ 0 w 1472"/>
              <a:gd name="connsiteY0" fmla="*/ 0 h 350"/>
              <a:gd name="connsiteX1" fmla="*/ 1454 w 1472"/>
              <a:gd name="connsiteY1" fmla="*/ 0 h 350"/>
              <a:gd name="connsiteX2" fmla="*/ 1472 w 1472"/>
              <a:gd name="connsiteY2" fmla="*/ 175 h 350"/>
              <a:gd name="connsiteX3" fmla="*/ 1454 w 1472"/>
              <a:gd name="connsiteY3" fmla="*/ 350 h 350"/>
              <a:gd name="connsiteX4" fmla="*/ 0 w 1472"/>
              <a:gd name="connsiteY4" fmla="*/ 350 h 350"/>
              <a:gd name="connsiteX5" fmla="*/ 13 w 1472"/>
              <a:gd name="connsiteY5" fmla="*/ 175 h 350"/>
              <a:gd name="connsiteX6" fmla="*/ 0 w 1472"/>
              <a:gd name="connsiteY6" fmla="*/ 0 h 350"/>
              <a:gd name="connsiteX0" fmla="*/ 0 w 1472"/>
              <a:gd name="connsiteY0" fmla="*/ 0 h 350"/>
              <a:gd name="connsiteX1" fmla="*/ 1459 w 1472"/>
              <a:gd name="connsiteY1" fmla="*/ 0 h 350"/>
              <a:gd name="connsiteX2" fmla="*/ 1472 w 1472"/>
              <a:gd name="connsiteY2" fmla="*/ 175 h 350"/>
              <a:gd name="connsiteX3" fmla="*/ 1454 w 1472"/>
              <a:gd name="connsiteY3" fmla="*/ 350 h 350"/>
              <a:gd name="connsiteX4" fmla="*/ 0 w 1472"/>
              <a:gd name="connsiteY4" fmla="*/ 350 h 350"/>
              <a:gd name="connsiteX5" fmla="*/ 13 w 1472"/>
              <a:gd name="connsiteY5" fmla="*/ 175 h 350"/>
              <a:gd name="connsiteX6" fmla="*/ 0 w 1472"/>
              <a:gd name="connsiteY6" fmla="*/ 0 h 350"/>
              <a:gd name="connsiteX0" fmla="*/ 0 w 1472"/>
              <a:gd name="connsiteY0" fmla="*/ 0 h 350"/>
              <a:gd name="connsiteX1" fmla="*/ 1459 w 1472"/>
              <a:gd name="connsiteY1" fmla="*/ 0 h 350"/>
              <a:gd name="connsiteX2" fmla="*/ 1472 w 1472"/>
              <a:gd name="connsiteY2" fmla="*/ 175 h 350"/>
              <a:gd name="connsiteX3" fmla="*/ 1459 w 1472"/>
              <a:gd name="connsiteY3" fmla="*/ 350 h 350"/>
              <a:gd name="connsiteX4" fmla="*/ 0 w 1472"/>
              <a:gd name="connsiteY4" fmla="*/ 350 h 350"/>
              <a:gd name="connsiteX5" fmla="*/ 13 w 1472"/>
              <a:gd name="connsiteY5" fmla="*/ 175 h 350"/>
              <a:gd name="connsiteX6" fmla="*/ 0 w 1472"/>
              <a:gd name="connsiteY6" fmla="*/ 0 h 350"/>
              <a:gd name="connsiteX0" fmla="*/ 0 w 1472"/>
              <a:gd name="connsiteY0" fmla="*/ 0 h 350"/>
              <a:gd name="connsiteX1" fmla="*/ 1459 w 1472"/>
              <a:gd name="connsiteY1" fmla="*/ 0 h 350"/>
              <a:gd name="connsiteX2" fmla="*/ 1472 w 1472"/>
              <a:gd name="connsiteY2" fmla="*/ 175 h 350"/>
              <a:gd name="connsiteX3" fmla="*/ 1459 w 1472"/>
              <a:gd name="connsiteY3" fmla="*/ 350 h 350"/>
              <a:gd name="connsiteX4" fmla="*/ 0 w 1472"/>
              <a:gd name="connsiteY4" fmla="*/ 350 h 350"/>
              <a:gd name="connsiteX5" fmla="*/ 0 w 1472"/>
              <a:gd name="connsiteY5" fmla="*/ 175 h 350"/>
              <a:gd name="connsiteX6" fmla="*/ 0 w 1472"/>
              <a:gd name="connsiteY6" fmla="*/ 0 h 350"/>
              <a:gd name="connsiteX0" fmla="*/ 0 w 1472"/>
              <a:gd name="connsiteY0" fmla="*/ 0 h 350"/>
              <a:gd name="connsiteX1" fmla="*/ 1459 w 1472"/>
              <a:gd name="connsiteY1" fmla="*/ 0 h 350"/>
              <a:gd name="connsiteX2" fmla="*/ 1472 w 1472"/>
              <a:gd name="connsiteY2" fmla="*/ 175 h 350"/>
              <a:gd name="connsiteX3" fmla="*/ 1459 w 1472"/>
              <a:gd name="connsiteY3" fmla="*/ 350 h 350"/>
              <a:gd name="connsiteX4" fmla="*/ 0 w 1472"/>
              <a:gd name="connsiteY4" fmla="*/ 350 h 350"/>
              <a:gd name="connsiteX5" fmla="*/ 0 w 1472"/>
              <a:gd name="connsiteY5" fmla="*/ 175 h 350"/>
              <a:gd name="connsiteX6" fmla="*/ 0 w 1472"/>
              <a:gd name="connsiteY6" fmla="*/ 0 h 350"/>
              <a:gd name="connsiteX0" fmla="*/ 0 w 1472"/>
              <a:gd name="connsiteY0" fmla="*/ 0 h 350"/>
              <a:gd name="connsiteX1" fmla="*/ 1459 w 1472"/>
              <a:gd name="connsiteY1" fmla="*/ 0 h 350"/>
              <a:gd name="connsiteX2" fmla="*/ 1472 w 1472"/>
              <a:gd name="connsiteY2" fmla="*/ 175 h 350"/>
              <a:gd name="connsiteX3" fmla="*/ 1459 w 1472"/>
              <a:gd name="connsiteY3" fmla="*/ 350 h 350"/>
              <a:gd name="connsiteX4" fmla="*/ 0 w 1472"/>
              <a:gd name="connsiteY4" fmla="*/ 350 h 350"/>
              <a:gd name="connsiteX5" fmla="*/ 0 w 1472"/>
              <a:gd name="connsiteY5" fmla="*/ 175 h 350"/>
              <a:gd name="connsiteX6" fmla="*/ 0 w 1472"/>
              <a:gd name="connsiteY6" fmla="*/ 0 h 350"/>
              <a:gd name="connsiteX0" fmla="*/ 0 w 1472"/>
              <a:gd name="connsiteY0" fmla="*/ 0 h 350"/>
              <a:gd name="connsiteX1" fmla="*/ 1459 w 1472"/>
              <a:gd name="connsiteY1" fmla="*/ 0 h 350"/>
              <a:gd name="connsiteX2" fmla="*/ 1472 w 1472"/>
              <a:gd name="connsiteY2" fmla="*/ 175 h 350"/>
              <a:gd name="connsiteX3" fmla="*/ 1459 w 1472"/>
              <a:gd name="connsiteY3" fmla="*/ 350 h 350"/>
              <a:gd name="connsiteX4" fmla="*/ 0 w 1472"/>
              <a:gd name="connsiteY4" fmla="*/ 350 h 350"/>
              <a:gd name="connsiteX5" fmla="*/ 13 w 1472"/>
              <a:gd name="connsiteY5" fmla="*/ 175 h 350"/>
              <a:gd name="connsiteX6" fmla="*/ 0 w 1472"/>
              <a:gd name="connsiteY6" fmla="*/ 0 h 350"/>
              <a:gd name="connsiteX0" fmla="*/ 0 w 1472"/>
              <a:gd name="connsiteY0" fmla="*/ 0 h 350"/>
              <a:gd name="connsiteX1" fmla="*/ 1459 w 1472"/>
              <a:gd name="connsiteY1" fmla="*/ 0 h 350"/>
              <a:gd name="connsiteX2" fmla="*/ 1472 w 1472"/>
              <a:gd name="connsiteY2" fmla="*/ 175 h 350"/>
              <a:gd name="connsiteX3" fmla="*/ 1459 w 1472"/>
              <a:gd name="connsiteY3" fmla="*/ 350 h 350"/>
              <a:gd name="connsiteX4" fmla="*/ 0 w 1472"/>
              <a:gd name="connsiteY4" fmla="*/ 350 h 350"/>
              <a:gd name="connsiteX5" fmla="*/ 13 w 1472"/>
              <a:gd name="connsiteY5" fmla="*/ 175 h 350"/>
              <a:gd name="connsiteX6" fmla="*/ 0 w 1472"/>
              <a:gd name="connsiteY6" fmla="*/ 0 h 350"/>
              <a:gd name="connsiteX0" fmla="*/ 0 w 1472"/>
              <a:gd name="connsiteY0" fmla="*/ 0 h 350"/>
              <a:gd name="connsiteX1" fmla="*/ 1459 w 1472"/>
              <a:gd name="connsiteY1" fmla="*/ 0 h 350"/>
              <a:gd name="connsiteX2" fmla="*/ 1472 w 1472"/>
              <a:gd name="connsiteY2" fmla="*/ 175 h 350"/>
              <a:gd name="connsiteX3" fmla="*/ 1459 w 1472"/>
              <a:gd name="connsiteY3" fmla="*/ 350 h 350"/>
              <a:gd name="connsiteX4" fmla="*/ 0 w 1472"/>
              <a:gd name="connsiteY4" fmla="*/ 350 h 350"/>
              <a:gd name="connsiteX5" fmla="*/ 13 w 1472"/>
              <a:gd name="connsiteY5" fmla="*/ 175 h 350"/>
              <a:gd name="connsiteX6" fmla="*/ 0 w 1472"/>
              <a:gd name="connsiteY6" fmla="*/ 0 h 350"/>
              <a:gd name="connsiteX0" fmla="*/ 0 w 1472"/>
              <a:gd name="connsiteY0" fmla="*/ 0 h 350"/>
              <a:gd name="connsiteX1" fmla="*/ 1459 w 1472"/>
              <a:gd name="connsiteY1" fmla="*/ 0 h 350"/>
              <a:gd name="connsiteX2" fmla="*/ 1472 w 1472"/>
              <a:gd name="connsiteY2" fmla="*/ 175 h 350"/>
              <a:gd name="connsiteX3" fmla="*/ 1459 w 1472"/>
              <a:gd name="connsiteY3" fmla="*/ 350 h 350"/>
              <a:gd name="connsiteX4" fmla="*/ 0 w 1472"/>
              <a:gd name="connsiteY4" fmla="*/ 350 h 350"/>
              <a:gd name="connsiteX5" fmla="*/ 0 w 1472"/>
              <a:gd name="connsiteY5" fmla="*/ 175 h 350"/>
              <a:gd name="connsiteX6" fmla="*/ 0 w 1472"/>
              <a:gd name="connsiteY6" fmla="*/ 0 h 350"/>
              <a:gd name="connsiteX0" fmla="*/ 0 w 1472"/>
              <a:gd name="connsiteY0" fmla="*/ 0 h 350"/>
              <a:gd name="connsiteX1" fmla="*/ 1459 w 1472"/>
              <a:gd name="connsiteY1" fmla="*/ 0 h 350"/>
              <a:gd name="connsiteX2" fmla="*/ 1472 w 1472"/>
              <a:gd name="connsiteY2" fmla="*/ 175 h 350"/>
              <a:gd name="connsiteX3" fmla="*/ 1459 w 1472"/>
              <a:gd name="connsiteY3" fmla="*/ 350 h 350"/>
              <a:gd name="connsiteX4" fmla="*/ 0 w 1472"/>
              <a:gd name="connsiteY4" fmla="*/ 350 h 350"/>
              <a:gd name="connsiteX5" fmla="*/ 0 w 1472"/>
              <a:gd name="connsiteY5" fmla="*/ 175 h 350"/>
              <a:gd name="connsiteX6" fmla="*/ 0 w 1472"/>
              <a:gd name="connsiteY6" fmla="*/ 0 h 350"/>
              <a:gd name="connsiteX0" fmla="*/ 0 w 1472"/>
              <a:gd name="connsiteY0" fmla="*/ 0 h 350"/>
              <a:gd name="connsiteX1" fmla="*/ 1459 w 1472"/>
              <a:gd name="connsiteY1" fmla="*/ 0 h 350"/>
              <a:gd name="connsiteX2" fmla="*/ 1472 w 1472"/>
              <a:gd name="connsiteY2" fmla="*/ 175 h 350"/>
              <a:gd name="connsiteX3" fmla="*/ 1459 w 1472"/>
              <a:gd name="connsiteY3" fmla="*/ 350 h 350"/>
              <a:gd name="connsiteX4" fmla="*/ 0 w 1472"/>
              <a:gd name="connsiteY4" fmla="*/ 350 h 350"/>
              <a:gd name="connsiteX5" fmla="*/ 0 w 1472"/>
              <a:gd name="connsiteY5" fmla="*/ 175 h 350"/>
              <a:gd name="connsiteX6" fmla="*/ 0 w 1472"/>
              <a:gd name="connsiteY6" fmla="*/ 0 h 350"/>
              <a:gd name="connsiteX0" fmla="*/ 0 w 1472"/>
              <a:gd name="connsiteY0" fmla="*/ 0 h 350"/>
              <a:gd name="connsiteX1" fmla="*/ 1459 w 1472"/>
              <a:gd name="connsiteY1" fmla="*/ 0 h 350"/>
              <a:gd name="connsiteX2" fmla="*/ 1472 w 1472"/>
              <a:gd name="connsiteY2" fmla="*/ 175 h 350"/>
              <a:gd name="connsiteX3" fmla="*/ 1459 w 1472"/>
              <a:gd name="connsiteY3" fmla="*/ 350 h 350"/>
              <a:gd name="connsiteX4" fmla="*/ 0 w 1472"/>
              <a:gd name="connsiteY4" fmla="*/ 350 h 350"/>
              <a:gd name="connsiteX5" fmla="*/ 13 w 1472"/>
              <a:gd name="connsiteY5" fmla="*/ 175 h 350"/>
              <a:gd name="connsiteX6" fmla="*/ 0 w 1472"/>
              <a:gd name="connsiteY6" fmla="*/ 0 h 350"/>
              <a:gd name="connsiteX0" fmla="*/ 0 w 1472"/>
              <a:gd name="connsiteY0" fmla="*/ 0 h 350"/>
              <a:gd name="connsiteX1" fmla="*/ 1459 w 1472"/>
              <a:gd name="connsiteY1" fmla="*/ 0 h 350"/>
              <a:gd name="connsiteX2" fmla="*/ 1472 w 1472"/>
              <a:gd name="connsiteY2" fmla="*/ 175 h 350"/>
              <a:gd name="connsiteX3" fmla="*/ 1459 w 1472"/>
              <a:gd name="connsiteY3" fmla="*/ 350 h 350"/>
              <a:gd name="connsiteX4" fmla="*/ 0 w 1472"/>
              <a:gd name="connsiteY4" fmla="*/ 350 h 350"/>
              <a:gd name="connsiteX5" fmla="*/ 13 w 1472"/>
              <a:gd name="connsiteY5" fmla="*/ 175 h 350"/>
              <a:gd name="connsiteX6" fmla="*/ 0 w 1472"/>
              <a:gd name="connsiteY6" fmla="*/ 0 h 350"/>
              <a:gd name="connsiteX0" fmla="*/ 0 w 1472"/>
              <a:gd name="connsiteY0" fmla="*/ 0 h 350"/>
              <a:gd name="connsiteX1" fmla="*/ 1459 w 1472"/>
              <a:gd name="connsiteY1" fmla="*/ 0 h 350"/>
              <a:gd name="connsiteX2" fmla="*/ 1472 w 1472"/>
              <a:gd name="connsiteY2" fmla="*/ 175 h 350"/>
              <a:gd name="connsiteX3" fmla="*/ 1459 w 1472"/>
              <a:gd name="connsiteY3" fmla="*/ 350 h 350"/>
              <a:gd name="connsiteX4" fmla="*/ 0 w 1472"/>
              <a:gd name="connsiteY4" fmla="*/ 350 h 350"/>
              <a:gd name="connsiteX5" fmla="*/ 13 w 1472"/>
              <a:gd name="connsiteY5" fmla="*/ 175 h 350"/>
              <a:gd name="connsiteX6" fmla="*/ 0 w 1472"/>
              <a:gd name="connsiteY6" fmla="*/ 0 h 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72" h="350">
                <a:moveTo>
                  <a:pt x="0" y="0"/>
                </a:moveTo>
                <a:lnTo>
                  <a:pt x="1459" y="0"/>
                </a:lnTo>
                <a:lnTo>
                  <a:pt x="1472" y="175"/>
                </a:lnTo>
                <a:lnTo>
                  <a:pt x="1459" y="350"/>
                </a:lnTo>
                <a:lnTo>
                  <a:pt x="0" y="350"/>
                </a:lnTo>
                <a:lnTo>
                  <a:pt x="13" y="175"/>
                </a:lnTo>
                <a:lnTo>
                  <a:pt x="0" y="0"/>
                </a:lnTo>
                <a:close/>
              </a:path>
            </a:pathLst>
          </a:custGeom>
          <a:solidFill>
            <a:schemeClr val="accent2"/>
          </a:solidFill>
          <a:ln w="9525">
            <a:noFill/>
            <a:miter lim="800000"/>
            <a:headEnd/>
            <a:tailEnd/>
          </a:ln>
          <a:effectLst/>
          <a:extLst/>
        </p:spPr>
        <p:txBody>
          <a:bodyPr wrap="square" lIns="182880" tIns="72005" rIns="72005" bIns="72005" anchor="ctr" anchorCtr="0">
            <a:noAutofit/>
          </a:bodyPr>
          <a:lstStyle/>
          <a:p>
            <a:pPr>
              <a:buClr>
                <a:srgbClr val="002960"/>
              </a:buClr>
            </a:pPr>
            <a:endParaRPr lang="en-US" altLang="ja-JP" sz="900" b="1" dirty="0">
              <a:solidFill>
                <a:srgbClr val="FFFFFF"/>
              </a:solidFill>
              <a:latin typeface="Arial"/>
            </a:endParaRPr>
          </a:p>
        </p:txBody>
      </p:sp>
      <p:sp>
        <p:nvSpPr>
          <p:cNvPr id="177" name="Rectangle 11"/>
          <p:cNvSpPr>
            <a:spLocks noChangeArrowheads="1"/>
          </p:cNvSpPr>
          <p:nvPr>
            <p:custDataLst>
              <p:tags r:id="rId11"/>
            </p:custDataLst>
          </p:nvPr>
        </p:nvSpPr>
        <p:spPr bwMode="gray">
          <a:xfrm>
            <a:off x="1548044" y="1224637"/>
            <a:ext cx="6017131" cy="2441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45720" tIns="0" rIns="45720" bIns="0" anchor="ctr">
            <a:noAutofit/>
          </a:bodyPr>
          <a:lstStyle>
            <a:lvl1pPr defTabSz="895350">
              <a:buClr>
                <a:schemeClr val="tx2"/>
              </a:buClr>
              <a:defRPr sz="1600">
                <a:solidFill>
                  <a:schemeClr val="tx1"/>
                </a:solidFill>
                <a:latin typeface="Arial" charset="0"/>
              </a:defRPr>
            </a:lvl1pPr>
            <a:lvl2pPr marL="133350" indent="-131763" defTabSz="895350">
              <a:buClr>
                <a:schemeClr val="tx2"/>
              </a:buClr>
              <a:buSzPct val="125000"/>
              <a:buFont typeface="Arial" charset="0"/>
              <a:buChar char="▪"/>
              <a:defRPr sz="1600">
                <a:solidFill>
                  <a:schemeClr val="tx1"/>
                </a:solidFill>
                <a:latin typeface="Arial" charset="0"/>
              </a:defRPr>
            </a:lvl2pPr>
            <a:lvl3pPr marL="293688" indent="-158750" defTabSz="895350">
              <a:buClr>
                <a:schemeClr val="tx2"/>
              </a:buClr>
              <a:buSzPct val="120000"/>
              <a:buFont typeface="Arial" charset="0"/>
              <a:buChar char="–"/>
              <a:defRPr sz="1600">
                <a:solidFill>
                  <a:schemeClr val="tx1"/>
                </a:solidFill>
                <a:latin typeface="Arial" charset="0"/>
              </a:defRPr>
            </a:lvl3pPr>
            <a:lvl4pPr marL="427038" indent="-131763" defTabSz="895350">
              <a:buClr>
                <a:schemeClr val="tx2"/>
              </a:buClr>
              <a:buSzPct val="120000"/>
              <a:buFont typeface="Arial" charset="0"/>
              <a:buChar char="▫"/>
              <a:defRPr sz="1600">
                <a:solidFill>
                  <a:schemeClr val="tx1"/>
                </a:solidFill>
                <a:latin typeface="Arial" charset="0"/>
              </a:defRPr>
            </a:lvl4pPr>
            <a:lvl5pPr marL="587375" indent="-158750" defTabSz="895350">
              <a:buClr>
                <a:schemeClr val="tx2"/>
              </a:buClr>
              <a:buSzPct val="89000"/>
              <a:buFont typeface="Arial" charset="0"/>
              <a:buChar char="-"/>
              <a:defRPr sz="1600">
                <a:solidFill>
                  <a:schemeClr val="tx1"/>
                </a:solidFill>
                <a:latin typeface="Arial" charset="0"/>
              </a:defRPr>
            </a:lvl5pPr>
            <a:lvl6pPr marL="1044575" indent="-158750" defTabSz="895350" fontAlgn="base">
              <a:spcBef>
                <a:spcPct val="0"/>
              </a:spcBef>
              <a:spcAft>
                <a:spcPct val="0"/>
              </a:spcAft>
              <a:buClr>
                <a:schemeClr val="tx2"/>
              </a:buClr>
              <a:buSzPct val="89000"/>
              <a:buFont typeface="Arial" charset="0"/>
              <a:buChar char="-"/>
              <a:defRPr sz="1600">
                <a:solidFill>
                  <a:schemeClr val="tx1"/>
                </a:solidFill>
                <a:latin typeface="Arial" charset="0"/>
              </a:defRPr>
            </a:lvl6pPr>
            <a:lvl7pPr marL="1501775" indent="-158750" defTabSz="895350" fontAlgn="base">
              <a:spcBef>
                <a:spcPct val="0"/>
              </a:spcBef>
              <a:spcAft>
                <a:spcPct val="0"/>
              </a:spcAft>
              <a:buClr>
                <a:schemeClr val="tx2"/>
              </a:buClr>
              <a:buSzPct val="89000"/>
              <a:buFont typeface="Arial" charset="0"/>
              <a:buChar char="-"/>
              <a:defRPr sz="1600">
                <a:solidFill>
                  <a:schemeClr val="tx1"/>
                </a:solidFill>
                <a:latin typeface="Arial" charset="0"/>
              </a:defRPr>
            </a:lvl7pPr>
            <a:lvl8pPr marL="1958975" indent="-158750" defTabSz="895350" fontAlgn="base">
              <a:spcBef>
                <a:spcPct val="0"/>
              </a:spcBef>
              <a:spcAft>
                <a:spcPct val="0"/>
              </a:spcAft>
              <a:buClr>
                <a:schemeClr val="tx2"/>
              </a:buClr>
              <a:buSzPct val="89000"/>
              <a:buFont typeface="Arial" charset="0"/>
              <a:buChar char="-"/>
              <a:defRPr sz="1600">
                <a:solidFill>
                  <a:schemeClr val="tx1"/>
                </a:solidFill>
                <a:latin typeface="Arial" charset="0"/>
              </a:defRPr>
            </a:lvl8pPr>
            <a:lvl9pPr marL="2416175" indent="-158750" defTabSz="895350" fontAlgn="base">
              <a:spcBef>
                <a:spcPct val="0"/>
              </a:spcBef>
              <a:spcAft>
                <a:spcPct val="0"/>
              </a:spcAft>
              <a:buClr>
                <a:schemeClr val="tx2"/>
              </a:buClr>
              <a:buSzPct val="89000"/>
              <a:buFont typeface="Arial" charset="0"/>
              <a:buChar char="-"/>
              <a:defRPr sz="1600">
                <a:solidFill>
                  <a:schemeClr val="tx1"/>
                </a:solidFill>
                <a:latin typeface="Arial" charset="0"/>
              </a:defRPr>
            </a:lvl9pPr>
          </a:lstStyle>
          <a:p>
            <a:pPr>
              <a:buClr>
                <a:srgbClr val="002960"/>
              </a:buClr>
            </a:pPr>
            <a:r>
              <a:rPr lang="en-US" altLang="ja-JP" sz="900" b="1" dirty="0">
                <a:solidFill>
                  <a:srgbClr val="FFFFFF"/>
                </a:solidFill>
                <a:latin typeface="Arial"/>
              </a:rPr>
              <a:t>Integration planning</a:t>
            </a:r>
          </a:p>
        </p:txBody>
      </p:sp>
      <p:sp>
        <p:nvSpPr>
          <p:cNvPr id="181" name="Freeform 10"/>
          <p:cNvSpPr>
            <a:spLocks/>
          </p:cNvSpPr>
          <p:nvPr>
            <p:custDataLst>
              <p:tags r:id="rId12"/>
            </p:custDataLst>
          </p:nvPr>
        </p:nvSpPr>
        <p:spPr bwMode="gray">
          <a:xfrm>
            <a:off x="7608472" y="1204705"/>
            <a:ext cx="1125239" cy="284031"/>
          </a:xfrm>
          <a:custGeom>
            <a:avLst/>
            <a:gdLst>
              <a:gd name="T0" fmla="*/ 0 w 1472"/>
              <a:gd name="T1" fmla="*/ 0 h 350"/>
              <a:gd name="T2" fmla="*/ 1409 w 1472"/>
              <a:gd name="T3" fmla="*/ 0 h 350"/>
              <a:gd name="T4" fmla="*/ 1472 w 1472"/>
              <a:gd name="T5" fmla="*/ 175 h 350"/>
              <a:gd name="T6" fmla="*/ 1409 w 1472"/>
              <a:gd name="T7" fmla="*/ 350 h 350"/>
              <a:gd name="T8" fmla="*/ 0 w 1472"/>
              <a:gd name="T9" fmla="*/ 350 h 350"/>
              <a:gd name="T10" fmla="*/ 0 w 1472"/>
              <a:gd name="T11" fmla="*/ 175 h 350"/>
              <a:gd name="T12" fmla="*/ 0 w 1472"/>
              <a:gd name="T13" fmla="*/ 0 h 350"/>
              <a:gd name="connsiteX0" fmla="*/ 0 w 1472"/>
              <a:gd name="connsiteY0" fmla="*/ 0 h 350"/>
              <a:gd name="connsiteX1" fmla="*/ 1409 w 1472"/>
              <a:gd name="connsiteY1" fmla="*/ 0 h 350"/>
              <a:gd name="connsiteX2" fmla="*/ 1472 w 1472"/>
              <a:gd name="connsiteY2" fmla="*/ 175 h 350"/>
              <a:gd name="connsiteX3" fmla="*/ 1409 w 1472"/>
              <a:gd name="connsiteY3" fmla="*/ 350 h 350"/>
              <a:gd name="connsiteX4" fmla="*/ 0 w 1472"/>
              <a:gd name="connsiteY4" fmla="*/ 350 h 350"/>
              <a:gd name="connsiteX5" fmla="*/ 68 w 1472"/>
              <a:gd name="connsiteY5" fmla="*/ 175 h 350"/>
              <a:gd name="connsiteX6" fmla="*/ 0 w 1472"/>
              <a:gd name="connsiteY6" fmla="*/ 0 h 350"/>
              <a:gd name="connsiteX0" fmla="*/ 0 w 1472"/>
              <a:gd name="connsiteY0" fmla="*/ 0 h 350"/>
              <a:gd name="connsiteX1" fmla="*/ 1404 w 1472"/>
              <a:gd name="connsiteY1" fmla="*/ 0 h 350"/>
              <a:gd name="connsiteX2" fmla="*/ 1472 w 1472"/>
              <a:gd name="connsiteY2" fmla="*/ 175 h 350"/>
              <a:gd name="connsiteX3" fmla="*/ 1409 w 1472"/>
              <a:gd name="connsiteY3" fmla="*/ 350 h 350"/>
              <a:gd name="connsiteX4" fmla="*/ 0 w 1472"/>
              <a:gd name="connsiteY4" fmla="*/ 350 h 350"/>
              <a:gd name="connsiteX5" fmla="*/ 68 w 1472"/>
              <a:gd name="connsiteY5" fmla="*/ 175 h 350"/>
              <a:gd name="connsiteX6" fmla="*/ 0 w 1472"/>
              <a:gd name="connsiteY6" fmla="*/ 0 h 350"/>
              <a:gd name="connsiteX0" fmla="*/ 0 w 1472"/>
              <a:gd name="connsiteY0" fmla="*/ 0 h 350"/>
              <a:gd name="connsiteX1" fmla="*/ 1404 w 1472"/>
              <a:gd name="connsiteY1" fmla="*/ 0 h 350"/>
              <a:gd name="connsiteX2" fmla="*/ 1472 w 1472"/>
              <a:gd name="connsiteY2" fmla="*/ 175 h 350"/>
              <a:gd name="connsiteX3" fmla="*/ 1404 w 1472"/>
              <a:gd name="connsiteY3" fmla="*/ 350 h 350"/>
              <a:gd name="connsiteX4" fmla="*/ 0 w 1472"/>
              <a:gd name="connsiteY4" fmla="*/ 350 h 350"/>
              <a:gd name="connsiteX5" fmla="*/ 68 w 1472"/>
              <a:gd name="connsiteY5" fmla="*/ 175 h 350"/>
              <a:gd name="connsiteX6" fmla="*/ 0 w 1472"/>
              <a:gd name="connsiteY6" fmla="*/ 0 h 350"/>
              <a:gd name="connsiteX0" fmla="*/ 0 w 1472"/>
              <a:gd name="connsiteY0" fmla="*/ 0 h 350"/>
              <a:gd name="connsiteX1" fmla="*/ 1404 w 1472"/>
              <a:gd name="connsiteY1" fmla="*/ 0 h 350"/>
              <a:gd name="connsiteX2" fmla="*/ 1472 w 1472"/>
              <a:gd name="connsiteY2" fmla="*/ 175 h 350"/>
              <a:gd name="connsiteX3" fmla="*/ 1404 w 1472"/>
              <a:gd name="connsiteY3" fmla="*/ 350 h 350"/>
              <a:gd name="connsiteX4" fmla="*/ 0 w 1472"/>
              <a:gd name="connsiteY4" fmla="*/ 350 h 350"/>
              <a:gd name="connsiteX5" fmla="*/ 0 w 1472"/>
              <a:gd name="connsiteY5" fmla="*/ 175 h 350"/>
              <a:gd name="connsiteX6" fmla="*/ 0 w 1472"/>
              <a:gd name="connsiteY6" fmla="*/ 0 h 350"/>
              <a:gd name="connsiteX0" fmla="*/ 0 w 1472"/>
              <a:gd name="connsiteY0" fmla="*/ 0 h 350"/>
              <a:gd name="connsiteX1" fmla="*/ 1404 w 1472"/>
              <a:gd name="connsiteY1" fmla="*/ 0 h 350"/>
              <a:gd name="connsiteX2" fmla="*/ 1472 w 1472"/>
              <a:gd name="connsiteY2" fmla="*/ 175 h 350"/>
              <a:gd name="connsiteX3" fmla="*/ 1404 w 1472"/>
              <a:gd name="connsiteY3" fmla="*/ 350 h 350"/>
              <a:gd name="connsiteX4" fmla="*/ 0 w 1472"/>
              <a:gd name="connsiteY4" fmla="*/ 350 h 350"/>
              <a:gd name="connsiteX5" fmla="*/ 0 w 1472"/>
              <a:gd name="connsiteY5" fmla="*/ 175 h 350"/>
              <a:gd name="connsiteX6" fmla="*/ 0 w 1472"/>
              <a:gd name="connsiteY6" fmla="*/ 0 h 350"/>
              <a:gd name="connsiteX0" fmla="*/ 0 w 1472"/>
              <a:gd name="connsiteY0" fmla="*/ 0 h 350"/>
              <a:gd name="connsiteX1" fmla="*/ 1404 w 1472"/>
              <a:gd name="connsiteY1" fmla="*/ 0 h 350"/>
              <a:gd name="connsiteX2" fmla="*/ 1472 w 1472"/>
              <a:gd name="connsiteY2" fmla="*/ 175 h 350"/>
              <a:gd name="connsiteX3" fmla="*/ 1404 w 1472"/>
              <a:gd name="connsiteY3" fmla="*/ 350 h 350"/>
              <a:gd name="connsiteX4" fmla="*/ 0 w 1472"/>
              <a:gd name="connsiteY4" fmla="*/ 350 h 350"/>
              <a:gd name="connsiteX5" fmla="*/ 0 w 1472"/>
              <a:gd name="connsiteY5" fmla="*/ 175 h 350"/>
              <a:gd name="connsiteX6" fmla="*/ 0 w 1472"/>
              <a:gd name="connsiteY6" fmla="*/ 0 h 350"/>
              <a:gd name="connsiteX0" fmla="*/ 0 w 1472"/>
              <a:gd name="connsiteY0" fmla="*/ 0 h 350"/>
              <a:gd name="connsiteX1" fmla="*/ 1404 w 1472"/>
              <a:gd name="connsiteY1" fmla="*/ 0 h 350"/>
              <a:gd name="connsiteX2" fmla="*/ 1472 w 1472"/>
              <a:gd name="connsiteY2" fmla="*/ 175 h 350"/>
              <a:gd name="connsiteX3" fmla="*/ 1404 w 1472"/>
              <a:gd name="connsiteY3" fmla="*/ 350 h 350"/>
              <a:gd name="connsiteX4" fmla="*/ 0 w 1472"/>
              <a:gd name="connsiteY4" fmla="*/ 350 h 350"/>
              <a:gd name="connsiteX5" fmla="*/ 78 w 1472"/>
              <a:gd name="connsiteY5" fmla="*/ 175 h 350"/>
              <a:gd name="connsiteX6" fmla="*/ 0 w 1472"/>
              <a:gd name="connsiteY6" fmla="*/ 0 h 350"/>
              <a:gd name="connsiteX0" fmla="*/ 0 w 1472"/>
              <a:gd name="connsiteY0" fmla="*/ 0 h 350"/>
              <a:gd name="connsiteX1" fmla="*/ 1394 w 1472"/>
              <a:gd name="connsiteY1" fmla="*/ 0 h 350"/>
              <a:gd name="connsiteX2" fmla="*/ 1472 w 1472"/>
              <a:gd name="connsiteY2" fmla="*/ 175 h 350"/>
              <a:gd name="connsiteX3" fmla="*/ 1404 w 1472"/>
              <a:gd name="connsiteY3" fmla="*/ 350 h 350"/>
              <a:gd name="connsiteX4" fmla="*/ 0 w 1472"/>
              <a:gd name="connsiteY4" fmla="*/ 350 h 350"/>
              <a:gd name="connsiteX5" fmla="*/ 78 w 1472"/>
              <a:gd name="connsiteY5" fmla="*/ 175 h 350"/>
              <a:gd name="connsiteX6" fmla="*/ 0 w 1472"/>
              <a:gd name="connsiteY6" fmla="*/ 0 h 350"/>
              <a:gd name="connsiteX0" fmla="*/ 0 w 1472"/>
              <a:gd name="connsiteY0" fmla="*/ 0 h 350"/>
              <a:gd name="connsiteX1" fmla="*/ 1394 w 1472"/>
              <a:gd name="connsiteY1" fmla="*/ 0 h 350"/>
              <a:gd name="connsiteX2" fmla="*/ 1472 w 1472"/>
              <a:gd name="connsiteY2" fmla="*/ 175 h 350"/>
              <a:gd name="connsiteX3" fmla="*/ 1394 w 1472"/>
              <a:gd name="connsiteY3" fmla="*/ 350 h 350"/>
              <a:gd name="connsiteX4" fmla="*/ 0 w 1472"/>
              <a:gd name="connsiteY4" fmla="*/ 350 h 350"/>
              <a:gd name="connsiteX5" fmla="*/ 78 w 1472"/>
              <a:gd name="connsiteY5" fmla="*/ 175 h 350"/>
              <a:gd name="connsiteX6" fmla="*/ 0 w 1472"/>
              <a:gd name="connsiteY6" fmla="*/ 0 h 350"/>
              <a:gd name="connsiteX0" fmla="*/ 0 w 1472"/>
              <a:gd name="connsiteY0" fmla="*/ 0 h 350"/>
              <a:gd name="connsiteX1" fmla="*/ 1394 w 1472"/>
              <a:gd name="connsiteY1" fmla="*/ 0 h 350"/>
              <a:gd name="connsiteX2" fmla="*/ 1472 w 1472"/>
              <a:gd name="connsiteY2" fmla="*/ 175 h 350"/>
              <a:gd name="connsiteX3" fmla="*/ 1394 w 1472"/>
              <a:gd name="connsiteY3" fmla="*/ 350 h 350"/>
              <a:gd name="connsiteX4" fmla="*/ 0 w 1472"/>
              <a:gd name="connsiteY4" fmla="*/ 350 h 350"/>
              <a:gd name="connsiteX5" fmla="*/ 0 w 1472"/>
              <a:gd name="connsiteY5" fmla="*/ 175 h 350"/>
              <a:gd name="connsiteX6" fmla="*/ 0 w 1472"/>
              <a:gd name="connsiteY6" fmla="*/ 0 h 350"/>
              <a:gd name="connsiteX0" fmla="*/ 0 w 1472"/>
              <a:gd name="connsiteY0" fmla="*/ 0 h 350"/>
              <a:gd name="connsiteX1" fmla="*/ 1394 w 1472"/>
              <a:gd name="connsiteY1" fmla="*/ 0 h 350"/>
              <a:gd name="connsiteX2" fmla="*/ 1472 w 1472"/>
              <a:gd name="connsiteY2" fmla="*/ 175 h 350"/>
              <a:gd name="connsiteX3" fmla="*/ 1394 w 1472"/>
              <a:gd name="connsiteY3" fmla="*/ 350 h 350"/>
              <a:gd name="connsiteX4" fmla="*/ 0 w 1472"/>
              <a:gd name="connsiteY4" fmla="*/ 350 h 350"/>
              <a:gd name="connsiteX5" fmla="*/ 0 w 1472"/>
              <a:gd name="connsiteY5" fmla="*/ 175 h 350"/>
              <a:gd name="connsiteX6" fmla="*/ 0 w 1472"/>
              <a:gd name="connsiteY6" fmla="*/ 0 h 350"/>
              <a:gd name="connsiteX0" fmla="*/ 0 w 1472"/>
              <a:gd name="connsiteY0" fmla="*/ 0 h 350"/>
              <a:gd name="connsiteX1" fmla="*/ 1394 w 1472"/>
              <a:gd name="connsiteY1" fmla="*/ 0 h 350"/>
              <a:gd name="connsiteX2" fmla="*/ 1472 w 1472"/>
              <a:gd name="connsiteY2" fmla="*/ 175 h 350"/>
              <a:gd name="connsiteX3" fmla="*/ 1394 w 1472"/>
              <a:gd name="connsiteY3" fmla="*/ 350 h 350"/>
              <a:gd name="connsiteX4" fmla="*/ 0 w 1472"/>
              <a:gd name="connsiteY4" fmla="*/ 350 h 350"/>
              <a:gd name="connsiteX5" fmla="*/ 0 w 1472"/>
              <a:gd name="connsiteY5" fmla="*/ 175 h 350"/>
              <a:gd name="connsiteX6" fmla="*/ 0 w 1472"/>
              <a:gd name="connsiteY6" fmla="*/ 0 h 350"/>
              <a:gd name="connsiteX0" fmla="*/ 0 w 1472"/>
              <a:gd name="connsiteY0" fmla="*/ 0 h 350"/>
              <a:gd name="connsiteX1" fmla="*/ 1394 w 1472"/>
              <a:gd name="connsiteY1" fmla="*/ 0 h 350"/>
              <a:gd name="connsiteX2" fmla="*/ 1472 w 1472"/>
              <a:gd name="connsiteY2" fmla="*/ 175 h 350"/>
              <a:gd name="connsiteX3" fmla="*/ 1394 w 1472"/>
              <a:gd name="connsiteY3" fmla="*/ 350 h 350"/>
              <a:gd name="connsiteX4" fmla="*/ 0 w 1472"/>
              <a:gd name="connsiteY4" fmla="*/ 350 h 350"/>
              <a:gd name="connsiteX5" fmla="*/ 0 w 1472"/>
              <a:gd name="connsiteY5" fmla="*/ 175 h 350"/>
              <a:gd name="connsiteX6" fmla="*/ 0 w 1472"/>
              <a:gd name="connsiteY6" fmla="*/ 0 h 350"/>
              <a:gd name="connsiteX0" fmla="*/ 0 w 1472"/>
              <a:gd name="connsiteY0" fmla="*/ 0 h 350"/>
              <a:gd name="connsiteX1" fmla="*/ 1412 w 1472"/>
              <a:gd name="connsiteY1" fmla="*/ 0 h 350"/>
              <a:gd name="connsiteX2" fmla="*/ 1472 w 1472"/>
              <a:gd name="connsiteY2" fmla="*/ 175 h 350"/>
              <a:gd name="connsiteX3" fmla="*/ 1394 w 1472"/>
              <a:gd name="connsiteY3" fmla="*/ 350 h 350"/>
              <a:gd name="connsiteX4" fmla="*/ 0 w 1472"/>
              <a:gd name="connsiteY4" fmla="*/ 350 h 350"/>
              <a:gd name="connsiteX5" fmla="*/ 0 w 1472"/>
              <a:gd name="connsiteY5" fmla="*/ 175 h 350"/>
              <a:gd name="connsiteX6" fmla="*/ 0 w 1472"/>
              <a:gd name="connsiteY6" fmla="*/ 0 h 350"/>
              <a:gd name="connsiteX0" fmla="*/ 0 w 1472"/>
              <a:gd name="connsiteY0" fmla="*/ 0 h 350"/>
              <a:gd name="connsiteX1" fmla="*/ 1412 w 1472"/>
              <a:gd name="connsiteY1" fmla="*/ 0 h 350"/>
              <a:gd name="connsiteX2" fmla="*/ 1472 w 1472"/>
              <a:gd name="connsiteY2" fmla="*/ 175 h 350"/>
              <a:gd name="connsiteX3" fmla="*/ 1412 w 1472"/>
              <a:gd name="connsiteY3" fmla="*/ 350 h 350"/>
              <a:gd name="connsiteX4" fmla="*/ 0 w 1472"/>
              <a:gd name="connsiteY4" fmla="*/ 350 h 350"/>
              <a:gd name="connsiteX5" fmla="*/ 0 w 1472"/>
              <a:gd name="connsiteY5" fmla="*/ 175 h 350"/>
              <a:gd name="connsiteX6" fmla="*/ 0 w 1472"/>
              <a:gd name="connsiteY6" fmla="*/ 0 h 350"/>
              <a:gd name="connsiteX0" fmla="*/ 0 w 1472"/>
              <a:gd name="connsiteY0" fmla="*/ 0 h 350"/>
              <a:gd name="connsiteX1" fmla="*/ 1412 w 1472"/>
              <a:gd name="connsiteY1" fmla="*/ 0 h 350"/>
              <a:gd name="connsiteX2" fmla="*/ 1472 w 1472"/>
              <a:gd name="connsiteY2" fmla="*/ 175 h 350"/>
              <a:gd name="connsiteX3" fmla="*/ 1412 w 1472"/>
              <a:gd name="connsiteY3" fmla="*/ 350 h 350"/>
              <a:gd name="connsiteX4" fmla="*/ 0 w 1472"/>
              <a:gd name="connsiteY4" fmla="*/ 350 h 350"/>
              <a:gd name="connsiteX5" fmla="*/ 0 w 1472"/>
              <a:gd name="connsiteY5" fmla="*/ 175 h 350"/>
              <a:gd name="connsiteX6" fmla="*/ 0 w 1472"/>
              <a:gd name="connsiteY6" fmla="*/ 0 h 350"/>
              <a:gd name="connsiteX0" fmla="*/ 0 w 1472"/>
              <a:gd name="connsiteY0" fmla="*/ 0 h 350"/>
              <a:gd name="connsiteX1" fmla="*/ 1427 w 1472"/>
              <a:gd name="connsiteY1" fmla="*/ 0 h 350"/>
              <a:gd name="connsiteX2" fmla="*/ 1472 w 1472"/>
              <a:gd name="connsiteY2" fmla="*/ 175 h 350"/>
              <a:gd name="connsiteX3" fmla="*/ 1412 w 1472"/>
              <a:gd name="connsiteY3" fmla="*/ 350 h 350"/>
              <a:gd name="connsiteX4" fmla="*/ 0 w 1472"/>
              <a:gd name="connsiteY4" fmla="*/ 350 h 350"/>
              <a:gd name="connsiteX5" fmla="*/ 0 w 1472"/>
              <a:gd name="connsiteY5" fmla="*/ 175 h 350"/>
              <a:gd name="connsiteX6" fmla="*/ 0 w 1472"/>
              <a:gd name="connsiteY6" fmla="*/ 0 h 350"/>
              <a:gd name="connsiteX0" fmla="*/ 0 w 1472"/>
              <a:gd name="connsiteY0" fmla="*/ 0 h 350"/>
              <a:gd name="connsiteX1" fmla="*/ 1427 w 1472"/>
              <a:gd name="connsiteY1" fmla="*/ 0 h 350"/>
              <a:gd name="connsiteX2" fmla="*/ 1472 w 1472"/>
              <a:gd name="connsiteY2" fmla="*/ 175 h 350"/>
              <a:gd name="connsiteX3" fmla="*/ 1427 w 1472"/>
              <a:gd name="connsiteY3" fmla="*/ 350 h 350"/>
              <a:gd name="connsiteX4" fmla="*/ 0 w 1472"/>
              <a:gd name="connsiteY4" fmla="*/ 350 h 350"/>
              <a:gd name="connsiteX5" fmla="*/ 0 w 1472"/>
              <a:gd name="connsiteY5" fmla="*/ 175 h 350"/>
              <a:gd name="connsiteX6" fmla="*/ 0 w 1472"/>
              <a:gd name="connsiteY6" fmla="*/ 0 h 350"/>
              <a:gd name="connsiteX0" fmla="*/ 0 w 1472"/>
              <a:gd name="connsiteY0" fmla="*/ 0 h 350"/>
              <a:gd name="connsiteX1" fmla="*/ 1427 w 1472"/>
              <a:gd name="connsiteY1" fmla="*/ 0 h 350"/>
              <a:gd name="connsiteX2" fmla="*/ 1472 w 1472"/>
              <a:gd name="connsiteY2" fmla="*/ 175 h 350"/>
              <a:gd name="connsiteX3" fmla="*/ 1427 w 1472"/>
              <a:gd name="connsiteY3" fmla="*/ 350 h 350"/>
              <a:gd name="connsiteX4" fmla="*/ 0 w 1472"/>
              <a:gd name="connsiteY4" fmla="*/ 350 h 350"/>
              <a:gd name="connsiteX5" fmla="*/ 45 w 1472"/>
              <a:gd name="connsiteY5" fmla="*/ 175 h 350"/>
              <a:gd name="connsiteX6" fmla="*/ 0 w 1472"/>
              <a:gd name="connsiteY6" fmla="*/ 0 h 350"/>
              <a:gd name="connsiteX0" fmla="*/ 0 w 1472"/>
              <a:gd name="connsiteY0" fmla="*/ 0 h 350"/>
              <a:gd name="connsiteX1" fmla="*/ 1427 w 1472"/>
              <a:gd name="connsiteY1" fmla="*/ 0 h 350"/>
              <a:gd name="connsiteX2" fmla="*/ 1472 w 1472"/>
              <a:gd name="connsiteY2" fmla="*/ 175 h 350"/>
              <a:gd name="connsiteX3" fmla="*/ 1427 w 1472"/>
              <a:gd name="connsiteY3" fmla="*/ 350 h 350"/>
              <a:gd name="connsiteX4" fmla="*/ 0 w 1472"/>
              <a:gd name="connsiteY4" fmla="*/ 350 h 350"/>
              <a:gd name="connsiteX5" fmla="*/ 45 w 1472"/>
              <a:gd name="connsiteY5" fmla="*/ 175 h 350"/>
              <a:gd name="connsiteX6" fmla="*/ 0 w 1472"/>
              <a:gd name="connsiteY6" fmla="*/ 0 h 350"/>
              <a:gd name="connsiteX0" fmla="*/ 0 w 1472"/>
              <a:gd name="connsiteY0" fmla="*/ 0 h 350"/>
              <a:gd name="connsiteX1" fmla="*/ 1427 w 1472"/>
              <a:gd name="connsiteY1" fmla="*/ 0 h 350"/>
              <a:gd name="connsiteX2" fmla="*/ 1472 w 1472"/>
              <a:gd name="connsiteY2" fmla="*/ 175 h 350"/>
              <a:gd name="connsiteX3" fmla="*/ 1427 w 1472"/>
              <a:gd name="connsiteY3" fmla="*/ 350 h 350"/>
              <a:gd name="connsiteX4" fmla="*/ 0 w 1472"/>
              <a:gd name="connsiteY4" fmla="*/ 350 h 350"/>
              <a:gd name="connsiteX5" fmla="*/ 45 w 1472"/>
              <a:gd name="connsiteY5" fmla="*/ 175 h 350"/>
              <a:gd name="connsiteX6" fmla="*/ 0 w 1472"/>
              <a:gd name="connsiteY6" fmla="*/ 0 h 350"/>
              <a:gd name="connsiteX0" fmla="*/ 0 w 1472"/>
              <a:gd name="connsiteY0" fmla="*/ 0 h 350"/>
              <a:gd name="connsiteX1" fmla="*/ 1427 w 1472"/>
              <a:gd name="connsiteY1" fmla="*/ 0 h 350"/>
              <a:gd name="connsiteX2" fmla="*/ 1472 w 1472"/>
              <a:gd name="connsiteY2" fmla="*/ 175 h 350"/>
              <a:gd name="connsiteX3" fmla="*/ 1427 w 1472"/>
              <a:gd name="connsiteY3" fmla="*/ 350 h 350"/>
              <a:gd name="connsiteX4" fmla="*/ 0 w 1472"/>
              <a:gd name="connsiteY4" fmla="*/ 350 h 350"/>
              <a:gd name="connsiteX5" fmla="*/ 0 w 1472"/>
              <a:gd name="connsiteY5" fmla="*/ 175 h 350"/>
              <a:gd name="connsiteX6" fmla="*/ 0 w 1472"/>
              <a:gd name="connsiteY6" fmla="*/ 0 h 350"/>
              <a:gd name="connsiteX0" fmla="*/ 0 w 1472"/>
              <a:gd name="connsiteY0" fmla="*/ 0 h 350"/>
              <a:gd name="connsiteX1" fmla="*/ 1430 w 1472"/>
              <a:gd name="connsiteY1" fmla="*/ 0 h 350"/>
              <a:gd name="connsiteX2" fmla="*/ 1472 w 1472"/>
              <a:gd name="connsiteY2" fmla="*/ 175 h 350"/>
              <a:gd name="connsiteX3" fmla="*/ 1427 w 1472"/>
              <a:gd name="connsiteY3" fmla="*/ 350 h 350"/>
              <a:gd name="connsiteX4" fmla="*/ 0 w 1472"/>
              <a:gd name="connsiteY4" fmla="*/ 350 h 350"/>
              <a:gd name="connsiteX5" fmla="*/ 0 w 1472"/>
              <a:gd name="connsiteY5" fmla="*/ 175 h 350"/>
              <a:gd name="connsiteX6" fmla="*/ 0 w 1472"/>
              <a:gd name="connsiteY6" fmla="*/ 0 h 350"/>
              <a:gd name="connsiteX0" fmla="*/ 0 w 1472"/>
              <a:gd name="connsiteY0" fmla="*/ 0 h 350"/>
              <a:gd name="connsiteX1" fmla="*/ 1430 w 1472"/>
              <a:gd name="connsiteY1" fmla="*/ 0 h 350"/>
              <a:gd name="connsiteX2" fmla="*/ 1472 w 1472"/>
              <a:gd name="connsiteY2" fmla="*/ 175 h 350"/>
              <a:gd name="connsiteX3" fmla="*/ 1430 w 1472"/>
              <a:gd name="connsiteY3" fmla="*/ 350 h 350"/>
              <a:gd name="connsiteX4" fmla="*/ 0 w 1472"/>
              <a:gd name="connsiteY4" fmla="*/ 350 h 350"/>
              <a:gd name="connsiteX5" fmla="*/ 0 w 1472"/>
              <a:gd name="connsiteY5" fmla="*/ 175 h 350"/>
              <a:gd name="connsiteX6" fmla="*/ 0 w 1472"/>
              <a:gd name="connsiteY6" fmla="*/ 0 h 350"/>
              <a:gd name="connsiteX0" fmla="*/ 0 w 1472"/>
              <a:gd name="connsiteY0" fmla="*/ 0 h 350"/>
              <a:gd name="connsiteX1" fmla="*/ 1430 w 1472"/>
              <a:gd name="connsiteY1" fmla="*/ 0 h 350"/>
              <a:gd name="connsiteX2" fmla="*/ 1472 w 1472"/>
              <a:gd name="connsiteY2" fmla="*/ 175 h 350"/>
              <a:gd name="connsiteX3" fmla="*/ 1430 w 1472"/>
              <a:gd name="connsiteY3" fmla="*/ 350 h 350"/>
              <a:gd name="connsiteX4" fmla="*/ 0 w 1472"/>
              <a:gd name="connsiteY4" fmla="*/ 350 h 350"/>
              <a:gd name="connsiteX5" fmla="*/ 42 w 1472"/>
              <a:gd name="connsiteY5" fmla="*/ 175 h 350"/>
              <a:gd name="connsiteX6" fmla="*/ 0 w 1472"/>
              <a:gd name="connsiteY6" fmla="*/ 0 h 350"/>
              <a:gd name="connsiteX0" fmla="*/ 0 w 1472"/>
              <a:gd name="connsiteY0" fmla="*/ 0 h 350"/>
              <a:gd name="connsiteX1" fmla="*/ 1430 w 1472"/>
              <a:gd name="connsiteY1" fmla="*/ 0 h 350"/>
              <a:gd name="connsiteX2" fmla="*/ 1472 w 1472"/>
              <a:gd name="connsiteY2" fmla="*/ 175 h 350"/>
              <a:gd name="connsiteX3" fmla="*/ 1430 w 1472"/>
              <a:gd name="connsiteY3" fmla="*/ 350 h 350"/>
              <a:gd name="connsiteX4" fmla="*/ 0 w 1472"/>
              <a:gd name="connsiteY4" fmla="*/ 350 h 350"/>
              <a:gd name="connsiteX5" fmla="*/ 42 w 1472"/>
              <a:gd name="connsiteY5" fmla="*/ 175 h 350"/>
              <a:gd name="connsiteX6" fmla="*/ 0 w 1472"/>
              <a:gd name="connsiteY6" fmla="*/ 0 h 350"/>
              <a:gd name="connsiteX0" fmla="*/ 0 w 1472"/>
              <a:gd name="connsiteY0" fmla="*/ 0 h 350"/>
              <a:gd name="connsiteX1" fmla="*/ 1430 w 1472"/>
              <a:gd name="connsiteY1" fmla="*/ 0 h 350"/>
              <a:gd name="connsiteX2" fmla="*/ 1472 w 1472"/>
              <a:gd name="connsiteY2" fmla="*/ 175 h 350"/>
              <a:gd name="connsiteX3" fmla="*/ 1430 w 1472"/>
              <a:gd name="connsiteY3" fmla="*/ 350 h 350"/>
              <a:gd name="connsiteX4" fmla="*/ 0 w 1472"/>
              <a:gd name="connsiteY4" fmla="*/ 350 h 350"/>
              <a:gd name="connsiteX5" fmla="*/ 42 w 1472"/>
              <a:gd name="connsiteY5" fmla="*/ 175 h 350"/>
              <a:gd name="connsiteX6" fmla="*/ 0 w 1472"/>
              <a:gd name="connsiteY6" fmla="*/ 0 h 350"/>
              <a:gd name="connsiteX0" fmla="*/ 0 w 1472"/>
              <a:gd name="connsiteY0" fmla="*/ 0 h 350"/>
              <a:gd name="connsiteX1" fmla="*/ 1430 w 1472"/>
              <a:gd name="connsiteY1" fmla="*/ 0 h 350"/>
              <a:gd name="connsiteX2" fmla="*/ 1472 w 1472"/>
              <a:gd name="connsiteY2" fmla="*/ 175 h 350"/>
              <a:gd name="connsiteX3" fmla="*/ 1430 w 1472"/>
              <a:gd name="connsiteY3" fmla="*/ 350 h 350"/>
              <a:gd name="connsiteX4" fmla="*/ 0 w 1472"/>
              <a:gd name="connsiteY4" fmla="*/ 350 h 350"/>
              <a:gd name="connsiteX5" fmla="*/ 0 w 1472"/>
              <a:gd name="connsiteY5" fmla="*/ 175 h 350"/>
              <a:gd name="connsiteX6" fmla="*/ 0 w 1472"/>
              <a:gd name="connsiteY6" fmla="*/ 0 h 350"/>
              <a:gd name="connsiteX0" fmla="*/ 0 w 1472"/>
              <a:gd name="connsiteY0" fmla="*/ 0 h 350"/>
              <a:gd name="connsiteX1" fmla="*/ 1436 w 1472"/>
              <a:gd name="connsiteY1" fmla="*/ 0 h 350"/>
              <a:gd name="connsiteX2" fmla="*/ 1472 w 1472"/>
              <a:gd name="connsiteY2" fmla="*/ 175 h 350"/>
              <a:gd name="connsiteX3" fmla="*/ 1430 w 1472"/>
              <a:gd name="connsiteY3" fmla="*/ 350 h 350"/>
              <a:gd name="connsiteX4" fmla="*/ 0 w 1472"/>
              <a:gd name="connsiteY4" fmla="*/ 350 h 350"/>
              <a:gd name="connsiteX5" fmla="*/ 0 w 1472"/>
              <a:gd name="connsiteY5" fmla="*/ 175 h 350"/>
              <a:gd name="connsiteX6" fmla="*/ 0 w 1472"/>
              <a:gd name="connsiteY6" fmla="*/ 0 h 350"/>
              <a:gd name="connsiteX0" fmla="*/ 0 w 1472"/>
              <a:gd name="connsiteY0" fmla="*/ 0 h 350"/>
              <a:gd name="connsiteX1" fmla="*/ 1436 w 1472"/>
              <a:gd name="connsiteY1" fmla="*/ 0 h 350"/>
              <a:gd name="connsiteX2" fmla="*/ 1472 w 1472"/>
              <a:gd name="connsiteY2" fmla="*/ 175 h 350"/>
              <a:gd name="connsiteX3" fmla="*/ 1436 w 1472"/>
              <a:gd name="connsiteY3" fmla="*/ 350 h 350"/>
              <a:gd name="connsiteX4" fmla="*/ 0 w 1472"/>
              <a:gd name="connsiteY4" fmla="*/ 350 h 350"/>
              <a:gd name="connsiteX5" fmla="*/ 0 w 1472"/>
              <a:gd name="connsiteY5" fmla="*/ 175 h 350"/>
              <a:gd name="connsiteX6" fmla="*/ 0 w 1472"/>
              <a:gd name="connsiteY6" fmla="*/ 0 h 350"/>
              <a:gd name="connsiteX0" fmla="*/ 0 w 1472"/>
              <a:gd name="connsiteY0" fmla="*/ 0 h 350"/>
              <a:gd name="connsiteX1" fmla="*/ 1436 w 1472"/>
              <a:gd name="connsiteY1" fmla="*/ 0 h 350"/>
              <a:gd name="connsiteX2" fmla="*/ 1472 w 1472"/>
              <a:gd name="connsiteY2" fmla="*/ 175 h 350"/>
              <a:gd name="connsiteX3" fmla="*/ 1436 w 1472"/>
              <a:gd name="connsiteY3" fmla="*/ 350 h 350"/>
              <a:gd name="connsiteX4" fmla="*/ 0 w 1472"/>
              <a:gd name="connsiteY4" fmla="*/ 350 h 350"/>
              <a:gd name="connsiteX5" fmla="*/ 36 w 1472"/>
              <a:gd name="connsiteY5" fmla="*/ 175 h 350"/>
              <a:gd name="connsiteX6" fmla="*/ 0 w 1472"/>
              <a:gd name="connsiteY6" fmla="*/ 0 h 350"/>
              <a:gd name="connsiteX0" fmla="*/ 0 w 1472"/>
              <a:gd name="connsiteY0" fmla="*/ 0 h 350"/>
              <a:gd name="connsiteX1" fmla="*/ 1436 w 1472"/>
              <a:gd name="connsiteY1" fmla="*/ 0 h 350"/>
              <a:gd name="connsiteX2" fmla="*/ 1472 w 1472"/>
              <a:gd name="connsiteY2" fmla="*/ 175 h 350"/>
              <a:gd name="connsiteX3" fmla="*/ 1436 w 1472"/>
              <a:gd name="connsiteY3" fmla="*/ 350 h 350"/>
              <a:gd name="connsiteX4" fmla="*/ 0 w 1472"/>
              <a:gd name="connsiteY4" fmla="*/ 350 h 350"/>
              <a:gd name="connsiteX5" fmla="*/ 36 w 1472"/>
              <a:gd name="connsiteY5" fmla="*/ 175 h 350"/>
              <a:gd name="connsiteX6" fmla="*/ 0 w 1472"/>
              <a:gd name="connsiteY6" fmla="*/ 0 h 350"/>
              <a:gd name="connsiteX0" fmla="*/ 0 w 1472"/>
              <a:gd name="connsiteY0" fmla="*/ 0 h 350"/>
              <a:gd name="connsiteX1" fmla="*/ 1436 w 1472"/>
              <a:gd name="connsiteY1" fmla="*/ 0 h 350"/>
              <a:gd name="connsiteX2" fmla="*/ 1472 w 1472"/>
              <a:gd name="connsiteY2" fmla="*/ 175 h 350"/>
              <a:gd name="connsiteX3" fmla="*/ 1436 w 1472"/>
              <a:gd name="connsiteY3" fmla="*/ 350 h 350"/>
              <a:gd name="connsiteX4" fmla="*/ 0 w 1472"/>
              <a:gd name="connsiteY4" fmla="*/ 350 h 350"/>
              <a:gd name="connsiteX5" fmla="*/ 36 w 1472"/>
              <a:gd name="connsiteY5" fmla="*/ 175 h 350"/>
              <a:gd name="connsiteX6" fmla="*/ 0 w 1472"/>
              <a:gd name="connsiteY6" fmla="*/ 0 h 350"/>
              <a:gd name="connsiteX0" fmla="*/ 0 w 1472"/>
              <a:gd name="connsiteY0" fmla="*/ 0 h 350"/>
              <a:gd name="connsiteX1" fmla="*/ 1436 w 1472"/>
              <a:gd name="connsiteY1" fmla="*/ 0 h 350"/>
              <a:gd name="connsiteX2" fmla="*/ 1472 w 1472"/>
              <a:gd name="connsiteY2" fmla="*/ 175 h 350"/>
              <a:gd name="connsiteX3" fmla="*/ 1436 w 1472"/>
              <a:gd name="connsiteY3" fmla="*/ 350 h 350"/>
              <a:gd name="connsiteX4" fmla="*/ 0 w 1472"/>
              <a:gd name="connsiteY4" fmla="*/ 350 h 350"/>
              <a:gd name="connsiteX5" fmla="*/ 0 w 1472"/>
              <a:gd name="connsiteY5" fmla="*/ 175 h 350"/>
              <a:gd name="connsiteX6" fmla="*/ 0 w 1472"/>
              <a:gd name="connsiteY6" fmla="*/ 0 h 350"/>
              <a:gd name="connsiteX0" fmla="*/ 0 w 1472"/>
              <a:gd name="connsiteY0" fmla="*/ 0 h 350"/>
              <a:gd name="connsiteX1" fmla="*/ 1433 w 1472"/>
              <a:gd name="connsiteY1" fmla="*/ 0 h 350"/>
              <a:gd name="connsiteX2" fmla="*/ 1472 w 1472"/>
              <a:gd name="connsiteY2" fmla="*/ 175 h 350"/>
              <a:gd name="connsiteX3" fmla="*/ 1436 w 1472"/>
              <a:gd name="connsiteY3" fmla="*/ 350 h 350"/>
              <a:gd name="connsiteX4" fmla="*/ 0 w 1472"/>
              <a:gd name="connsiteY4" fmla="*/ 350 h 350"/>
              <a:gd name="connsiteX5" fmla="*/ 0 w 1472"/>
              <a:gd name="connsiteY5" fmla="*/ 175 h 350"/>
              <a:gd name="connsiteX6" fmla="*/ 0 w 1472"/>
              <a:gd name="connsiteY6" fmla="*/ 0 h 350"/>
              <a:gd name="connsiteX0" fmla="*/ 0 w 1472"/>
              <a:gd name="connsiteY0" fmla="*/ 0 h 350"/>
              <a:gd name="connsiteX1" fmla="*/ 1433 w 1472"/>
              <a:gd name="connsiteY1" fmla="*/ 0 h 350"/>
              <a:gd name="connsiteX2" fmla="*/ 1472 w 1472"/>
              <a:gd name="connsiteY2" fmla="*/ 175 h 350"/>
              <a:gd name="connsiteX3" fmla="*/ 1433 w 1472"/>
              <a:gd name="connsiteY3" fmla="*/ 350 h 350"/>
              <a:gd name="connsiteX4" fmla="*/ 0 w 1472"/>
              <a:gd name="connsiteY4" fmla="*/ 350 h 350"/>
              <a:gd name="connsiteX5" fmla="*/ 0 w 1472"/>
              <a:gd name="connsiteY5" fmla="*/ 175 h 350"/>
              <a:gd name="connsiteX6" fmla="*/ 0 w 1472"/>
              <a:gd name="connsiteY6" fmla="*/ 0 h 350"/>
              <a:gd name="connsiteX0" fmla="*/ 0 w 1472"/>
              <a:gd name="connsiteY0" fmla="*/ 0 h 350"/>
              <a:gd name="connsiteX1" fmla="*/ 1433 w 1472"/>
              <a:gd name="connsiteY1" fmla="*/ 0 h 350"/>
              <a:gd name="connsiteX2" fmla="*/ 1472 w 1472"/>
              <a:gd name="connsiteY2" fmla="*/ 175 h 350"/>
              <a:gd name="connsiteX3" fmla="*/ 1433 w 1472"/>
              <a:gd name="connsiteY3" fmla="*/ 350 h 350"/>
              <a:gd name="connsiteX4" fmla="*/ 0 w 1472"/>
              <a:gd name="connsiteY4" fmla="*/ 350 h 350"/>
              <a:gd name="connsiteX5" fmla="*/ 39 w 1472"/>
              <a:gd name="connsiteY5" fmla="*/ 175 h 350"/>
              <a:gd name="connsiteX6" fmla="*/ 0 w 1472"/>
              <a:gd name="connsiteY6" fmla="*/ 0 h 350"/>
              <a:gd name="connsiteX0" fmla="*/ 0 w 1472"/>
              <a:gd name="connsiteY0" fmla="*/ 0 h 350"/>
              <a:gd name="connsiteX1" fmla="*/ 1433 w 1472"/>
              <a:gd name="connsiteY1" fmla="*/ 0 h 350"/>
              <a:gd name="connsiteX2" fmla="*/ 1472 w 1472"/>
              <a:gd name="connsiteY2" fmla="*/ 175 h 350"/>
              <a:gd name="connsiteX3" fmla="*/ 1433 w 1472"/>
              <a:gd name="connsiteY3" fmla="*/ 350 h 350"/>
              <a:gd name="connsiteX4" fmla="*/ 0 w 1472"/>
              <a:gd name="connsiteY4" fmla="*/ 350 h 350"/>
              <a:gd name="connsiteX5" fmla="*/ 39 w 1472"/>
              <a:gd name="connsiteY5" fmla="*/ 175 h 350"/>
              <a:gd name="connsiteX6" fmla="*/ 0 w 1472"/>
              <a:gd name="connsiteY6" fmla="*/ 0 h 350"/>
              <a:gd name="connsiteX0" fmla="*/ 0 w 1472"/>
              <a:gd name="connsiteY0" fmla="*/ 0 h 350"/>
              <a:gd name="connsiteX1" fmla="*/ 1433 w 1472"/>
              <a:gd name="connsiteY1" fmla="*/ 0 h 350"/>
              <a:gd name="connsiteX2" fmla="*/ 1472 w 1472"/>
              <a:gd name="connsiteY2" fmla="*/ 175 h 350"/>
              <a:gd name="connsiteX3" fmla="*/ 1433 w 1472"/>
              <a:gd name="connsiteY3" fmla="*/ 350 h 350"/>
              <a:gd name="connsiteX4" fmla="*/ 0 w 1472"/>
              <a:gd name="connsiteY4" fmla="*/ 350 h 350"/>
              <a:gd name="connsiteX5" fmla="*/ 39 w 1472"/>
              <a:gd name="connsiteY5" fmla="*/ 175 h 350"/>
              <a:gd name="connsiteX6" fmla="*/ 0 w 1472"/>
              <a:gd name="connsiteY6" fmla="*/ 0 h 350"/>
              <a:gd name="connsiteX0" fmla="*/ 0 w 1472"/>
              <a:gd name="connsiteY0" fmla="*/ 0 h 350"/>
              <a:gd name="connsiteX1" fmla="*/ 1433 w 1472"/>
              <a:gd name="connsiteY1" fmla="*/ 0 h 350"/>
              <a:gd name="connsiteX2" fmla="*/ 1472 w 1472"/>
              <a:gd name="connsiteY2" fmla="*/ 175 h 350"/>
              <a:gd name="connsiteX3" fmla="*/ 1433 w 1472"/>
              <a:gd name="connsiteY3" fmla="*/ 350 h 350"/>
              <a:gd name="connsiteX4" fmla="*/ 0 w 1472"/>
              <a:gd name="connsiteY4" fmla="*/ 350 h 350"/>
              <a:gd name="connsiteX5" fmla="*/ 70 w 1472"/>
              <a:gd name="connsiteY5" fmla="*/ 175 h 350"/>
              <a:gd name="connsiteX6" fmla="*/ 0 w 1472"/>
              <a:gd name="connsiteY6" fmla="*/ 0 h 350"/>
              <a:gd name="connsiteX0" fmla="*/ 0 w 1472"/>
              <a:gd name="connsiteY0" fmla="*/ 0 h 350"/>
              <a:gd name="connsiteX1" fmla="*/ 1402 w 1472"/>
              <a:gd name="connsiteY1" fmla="*/ 0 h 350"/>
              <a:gd name="connsiteX2" fmla="*/ 1472 w 1472"/>
              <a:gd name="connsiteY2" fmla="*/ 175 h 350"/>
              <a:gd name="connsiteX3" fmla="*/ 1433 w 1472"/>
              <a:gd name="connsiteY3" fmla="*/ 350 h 350"/>
              <a:gd name="connsiteX4" fmla="*/ 0 w 1472"/>
              <a:gd name="connsiteY4" fmla="*/ 350 h 350"/>
              <a:gd name="connsiteX5" fmla="*/ 70 w 1472"/>
              <a:gd name="connsiteY5" fmla="*/ 175 h 350"/>
              <a:gd name="connsiteX6" fmla="*/ 0 w 1472"/>
              <a:gd name="connsiteY6" fmla="*/ 0 h 350"/>
              <a:gd name="connsiteX0" fmla="*/ 0 w 1472"/>
              <a:gd name="connsiteY0" fmla="*/ 0 h 350"/>
              <a:gd name="connsiteX1" fmla="*/ 1402 w 1472"/>
              <a:gd name="connsiteY1" fmla="*/ 0 h 350"/>
              <a:gd name="connsiteX2" fmla="*/ 1472 w 1472"/>
              <a:gd name="connsiteY2" fmla="*/ 175 h 350"/>
              <a:gd name="connsiteX3" fmla="*/ 1402 w 1472"/>
              <a:gd name="connsiteY3" fmla="*/ 350 h 350"/>
              <a:gd name="connsiteX4" fmla="*/ 0 w 1472"/>
              <a:gd name="connsiteY4" fmla="*/ 350 h 350"/>
              <a:gd name="connsiteX5" fmla="*/ 70 w 1472"/>
              <a:gd name="connsiteY5" fmla="*/ 175 h 350"/>
              <a:gd name="connsiteX6" fmla="*/ 0 w 1472"/>
              <a:gd name="connsiteY6" fmla="*/ 0 h 350"/>
              <a:gd name="connsiteX0" fmla="*/ 0 w 1472"/>
              <a:gd name="connsiteY0" fmla="*/ 0 h 350"/>
              <a:gd name="connsiteX1" fmla="*/ 1402 w 1472"/>
              <a:gd name="connsiteY1" fmla="*/ 0 h 350"/>
              <a:gd name="connsiteX2" fmla="*/ 1472 w 1472"/>
              <a:gd name="connsiteY2" fmla="*/ 175 h 350"/>
              <a:gd name="connsiteX3" fmla="*/ 1402 w 1472"/>
              <a:gd name="connsiteY3" fmla="*/ 350 h 350"/>
              <a:gd name="connsiteX4" fmla="*/ 0 w 1472"/>
              <a:gd name="connsiteY4" fmla="*/ 350 h 350"/>
              <a:gd name="connsiteX5" fmla="*/ 0 w 1472"/>
              <a:gd name="connsiteY5" fmla="*/ 175 h 350"/>
              <a:gd name="connsiteX6" fmla="*/ 0 w 1472"/>
              <a:gd name="connsiteY6" fmla="*/ 0 h 350"/>
              <a:gd name="connsiteX0" fmla="*/ 0 w 1472"/>
              <a:gd name="connsiteY0" fmla="*/ 0 h 350"/>
              <a:gd name="connsiteX1" fmla="*/ 1402 w 1472"/>
              <a:gd name="connsiteY1" fmla="*/ 0 h 350"/>
              <a:gd name="connsiteX2" fmla="*/ 1472 w 1472"/>
              <a:gd name="connsiteY2" fmla="*/ 175 h 350"/>
              <a:gd name="connsiteX3" fmla="*/ 1402 w 1472"/>
              <a:gd name="connsiteY3" fmla="*/ 350 h 350"/>
              <a:gd name="connsiteX4" fmla="*/ 0 w 1472"/>
              <a:gd name="connsiteY4" fmla="*/ 350 h 350"/>
              <a:gd name="connsiteX5" fmla="*/ 0 w 1472"/>
              <a:gd name="connsiteY5" fmla="*/ 175 h 350"/>
              <a:gd name="connsiteX6" fmla="*/ 0 w 1472"/>
              <a:gd name="connsiteY6" fmla="*/ 0 h 350"/>
              <a:gd name="connsiteX0" fmla="*/ 0 w 1472"/>
              <a:gd name="connsiteY0" fmla="*/ 0 h 350"/>
              <a:gd name="connsiteX1" fmla="*/ 1402 w 1472"/>
              <a:gd name="connsiteY1" fmla="*/ 0 h 350"/>
              <a:gd name="connsiteX2" fmla="*/ 1472 w 1472"/>
              <a:gd name="connsiteY2" fmla="*/ 175 h 350"/>
              <a:gd name="connsiteX3" fmla="*/ 1402 w 1472"/>
              <a:gd name="connsiteY3" fmla="*/ 350 h 350"/>
              <a:gd name="connsiteX4" fmla="*/ 0 w 1472"/>
              <a:gd name="connsiteY4" fmla="*/ 350 h 350"/>
              <a:gd name="connsiteX5" fmla="*/ 0 w 1472"/>
              <a:gd name="connsiteY5" fmla="*/ 175 h 350"/>
              <a:gd name="connsiteX6" fmla="*/ 0 w 1472"/>
              <a:gd name="connsiteY6" fmla="*/ 0 h 350"/>
              <a:gd name="connsiteX0" fmla="*/ 0 w 1472"/>
              <a:gd name="connsiteY0" fmla="*/ 0 h 350"/>
              <a:gd name="connsiteX1" fmla="*/ 1402 w 1472"/>
              <a:gd name="connsiteY1" fmla="*/ 0 h 350"/>
              <a:gd name="connsiteX2" fmla="*/ 1472 w 1472"/>
              <a:gd name="connsiteY2" fmla="*/ 175 h 350"/>
              <a:gd name="connsiteX3" fmla="*/ 1402 w 1472"/>
              <a:gd name="connsiteY3" fmla="*/ 350 h 350"/>
              <a:gd name="connsiteX4" fmla="*/ 0 w 1472"/>
              <a:gd name="connsiteY4" fmla="*/ 350 h 350"/>
              <a:gd name="connsiteX5" fmla="*/ 70 w 1472"/>
              <a:gd name="connsiteY5" fmla="*/ 175 h 350"/>
              <a:gd name="connsiteX6" fmla="*/ 0 w 1472"/>
              <a:gd name="connsiteY6" fmla="*/ 0 h 350"/>
              <a:gd name="connsiteX0" fmla="*/ 0 w 1472"/>
              <a:gd name="connsiteY0" fmla="*/ 0 h 350"/>
              <a:gd name="connsiteX1" fmla="*/ 1402 w 1472"/>
              <a:gd name="connsiteY1" fmla="*/ 0 h 350"/>
              <a:gd name="connsiteX2" fmla="*/ 1472 w 1472"/>
              <a:gd name="connsiteY2" fmla="*/ 175 h 350"/>
              <a:gd name="connsiteX3" fmla="*/ 1402 w 1472"/>
              <a:gd name="connsiteY3" fmla="*/ 350 h 350"/>
              <a:gd name="connsiteX4" fmla="*/ 0 w 1472"/>
              <a:gd name="connsiteY4" fmla="*/ 350 h 350"/>
              <a:gd name="connsiteX5" fmla="*/ 70 w 1472"/>
              <a:gd name="connsiteY5" fmla="*/ 175 h 350"/>
              <a:gd name="connsiteX6" fmla="*/ 0 w 1472"/>
              <a:gd name="connsiteY6" fmla="*/ 0 h 350"/>
              <a:gd name="connsiteX0" fmla="*/ 0 w 1472"/>
              <a:gd name="connsiteY0" fmla="*/ 0 h 350"/>
              <a:gd name="connsiteX1" fmla="*/ 1402 w 1472"/>
              <a:gd name="connsiteY1" fmla="*/ 0 h 350"/>
              <a:gd name="connsiteX2" fmla="*/ 1472 w 1472"/>
              <a:gd name="connsiteY2" fmla="*/ 175 h 350"/>
              <a:gd name="connsiteX3" fmla="*/ 1402 w 1472"/>
              <a:gd name="connsiteY3" fmla="*/ 350 h 350"/>
              <a:gd name="connsiteX4" fmla="*/ 0 w 1472"/>
              <a:gd name="connsiteY4" fmla="*/ 350 h 350"/>
              <a:gd name="connsiteX5" fmla="*/ 70 w 1472"/>
              <a:gd name="connsiteY5" fmla="*/ 175 h 350"/>
              <a:gd name="connsiteX6" fmla="*/ 0 w 1472"/>
              <a:gd name="connsiteY6" fmla="*/ 0 h 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72" h="350">
                <a:moveTo>
                  <a:pt x="0" y="0"/>
                </a:moveTo>
                <a:lnTo>
                  <a:pt x="1402" y="0"/>
                </a:lnTo>
                <a:lnTo>
                  <a:pt x="1472" y="175"/>
                </a:lnTo>
                <a:lnTo>
                  <a:pt x="1402" y="350"/>
                </a:lnTo>
                <a:lnTo>
                  <a:pt x="0" y="350"/>
                </a:lnTo>
                <a:lnTo>
                  <a:pt x="70" y="175"/>
                </a:lnTo>
                <a:lnTo>
                  <a:pt x="0" y="0"/>
                </a:lnTo>
                <a:close/>
              </a:path>
            </a:pathLst>
          </a:custGeom>
          <a:solidFill>
            <a:schemeClr val="accent2"/>
          </a:solidFill>
          <a:ln w="9525">
            <a:noFill/>
            <a:miter lim="800000"/>
            <a:headEnd/>
            <a:tailEnd/>
          </a:ln>
          <a:effectLst/>
          <a:extLst/>
        </p:spPr>
        <p:txBody>
          <a:bodyPr wrap="square" lIns="182880" tIns="72005" rIns="72005" bIns="72005" anchor="ctr" anchorCtr="0">
            <a:noAutofit/>
          </a:bodyPr>
          <a:lstStyle/>
          <a:p>
            <a:pPr>
              <a:buClr>
                <a:srgbClr val="002960"/>
              </a:buClr>
            </a:pPr>
            <a:endParaRPr lang="en-US" altLang="ja-JP" sz="900" b="1" dirty="0">
              <a:solidFill>
                <a:srgbClr val="FFFFFF"/>
              </a:solidFill>
              <a:latin typeface="Arial"/>
            </a:endParaRPr>
          </a:p>
        </p:txBody>
      </p:sp>
      <p:sp>
        <p:nvSpPr>
          <p:cNvPr id="182" name="Rectangle 11"/>
          <p:cNvSpPr>
            <a:spLocks noChangeArrowheads="1"/>
          </p:cNvSpPr>
          <p:nvPr>
            <p:custDataLst>
              <p:tags r:id="rId13"/>
            </p:custDataLst>
          </p:nvPr>
        </p:nvSpPr>
        <p:spPr bwMode="gray">
          <a:xfrm>
            <a:off x="7712503" y="1224637"/>
            <a:ext cx="967475" cy="2441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45720" tIns="0" rIns="45720" bIns="0" anchor="ctr">
            <a:noAutofit/>
          </a:bodyPr>
          <a:lstStyle>
            <a:lvl1pPr defTabSz="895350">
              <a:buClr>
                <a:schemeClr val="tx2"/>
              </a:buClr>
              <a:defRPr sz="1600">
                <a:solidFill>
                  <a:schemeClr val="tx1"/>
                </a:solidFill>
                <a:latin typeface="Arial" charset="0"/>
              </a:defRPr>
            </a:lvl1pPr>
            <a:lvl2pPr marL="133350" indent="-131763" defTabSz="895350">
              <a:buClr>
                <a:schemeClr val="tx2"/>
              </a:buClr>
              <a:buSzPct val="125000"/>
              <a:buFont typeface="Arial" charset="0"/>
              <a:buChar char="▪"/>
              <a:defRPr sz="1600">
                <a:solidFill>
                  <a:schemeClr val="tx1"/>
                </a:solidFill>
                <a:latin typeface="Arial" charset="0"/>
              </a:defRPr>
            </a:lvl2pPr>
            <a:lvl3pPr marL="293688" indent="-158750" defTabSz="895350">
              <a:buClr>
                <a:schemeClr val="tx2"/>
              </a:buClr>
              <a:buSzPct val="120000"/>
              <a:buFont typeface="Arial" charset="0"/>
              <a:buChar char="–"/>
              <a:defRPr sz="1600">
                <a:solidFill>
                  <a:schemeClr val="tx1"/>
                </a:solidFill>
                <a:latin typeface="Arial" charset="0"/>
              </a:defRPr>
            </a:lvl3pPr>
            <a:lvl4pPr marL="427038" indent="-131763" defTabSz="895350">
              <a:buClr>
                <a:schemeClr val="tx2"/>
              </a:buClr>
              <a:buSzPct val="120000"/>
              <a:buFont typeface="Arial" charset="0"/>
              <a:buChar char="▫"/>
              <a:defRPr sz="1600">
                <a:solidFill>
                  <a:schemeClr val="tx1"/>
                </a:solidFill>
                <a:latin typeface="Arial" charset="0"/>
              </a:defRPr>
            </a:lvl4pPr>
            <a:lvl5pPr marL="587375" indent="-158750" defTabSz="895350">
              <a:buClr>
                <a:schemeClr val="tx2"/>
              </a:buClr>
              <a:buSzPct val="89000"/>
              <a:buFont typeface="Arial" charset="0"/>
              <a:buChar char="-"/>
              <a:defRPr sz="1600">
                <a:solidFill>
                  <a:schemeClr val="tx1"/>
                </a:solidFill>
                <a:latin typeface="Arial" charset="0"/>
              </a:defRPr>
            </a:lvl5pPr>
            <a:lvl6pPr marL="1044575" indent="-158750" defTabSz="895350" fontAlgn="base">
              <a:spcBef>
                <a:spcPct val="0"/>
              </a:spcBef>
              <a:spcAft>
                <a:spcPct val="0"/>
              </a:spcAft>
              <a:buClr>
                <a:schemeClr val="tx2"/>
              </a:buClr>
              <a:buSzPct val="89000"/>
              <a:buFont typeface="Arial" charset="0"/>
              <a:buChar char="-"/>
              <a:defRPr sz="1600">
                <a:solidFill>
                  <a:schemeClr val="tx1"/>
                </a:solidFill>
                <a:latin typeface="Arial" charset="0"/>
              </a:defRPr>
            </a:lvl6pPr>
            <a:lvl7pPr marL="1501775" indent="-158750" defTabSz="895350" fontAlgn="base">
              <a:spcBef>
                <a:spcPct val="0"/>
              </a:spcBef>
              <a:spcAft>
                <a:spcPct val="0"/>
              </a:spcAft>
              <a:buClr>
                <a:schemeClr val="tx2"/>
              </a:buClr>
              <a:buSzPct val="89000"/>
              <a:buFont typeface="Arial" charset="0"/>
              <a:buChar char="-"/>
              <a:defRPr sz="1600">
                <a:solidFill>
                  <a:schemeClr val="tx1"/>
                </a:solidFill>
                <a:latin typeface="Arial" charset="0"/>
              </a:defRPr>
            </a:lvl7pPr>
            <a:lvl8pPr marL="1958975" indent="-158750" defTabSz="895350" fontAlgn="base">
              <a:spcBef>
                <a:spcPct val="0"/>
              </a:spcBef>
              <a:spcAft>
                <a:spcPct val="0"/>
              </a:spcAft>
              <a:buClr>
                <a:schemeClr val="tx2"/>
              </a:buClr>
              <a:buSzPct val="89000"/>
              <a:buFont typeface="Arial" charset="0"/>
              <a:buChar char="-"/>
              <a:defRPr sz="1600">
                <a:solidFill>
                  <a:schemeClr val="tx1"/>
                </a:solidFill>
                <a:latin typeface="Arial" charset="0"/>
              </a:defRPr>
            </a:lvl8pPr>
            <a:lvl9pPr marL="2416175" indent="-158750" defTabSz="895350" fontAlgn="base">
              <a:spcBef>
                <a:spcPct val="0"/>
              </a:spcBef>
              <a:spcAft>
                <a:spcPct val="0"/>
              </a:spcAft>
              <a:buClr>
                <a:schemeClr val="tx2"/>
              </a:buClr>
              <a:buSzPct val="89000"/>
              <a:buFont typeface="Arial" charset="0"/>
              <a:buChar char="-"/>
              <a:defRPr sz="1600">
                <a:solidFill>
                  <a:schemeClr val="tx1"/>
                </a:solidFill>
                <a:latin typeface="Arial" charset="0"/>
              </a:defRPr>
            </a:lvl9pPr>
          </a:lstStyle>
          <a:p>
            <a:pPr>
              <a:buClr>
                <a:srgbClr val="002960"/>
              </a:buClr>
            </a:pPr>
            <a:r>
              <a:rPr lang="en-US" altLang="ja-JP" sz="900" b="1" dirty="0">
                <a:solidFill>
                  <a:srgbClr val="FFFFFF"/>
                </a:solidFill>
                <a:latin typeface="Arial"/>
              </a:rPr>
              <a:t>Integration execution</a:t>
            </a:r>
          </a:p>
        </p:txBody>
      </p:sp>
      <p:sp>
        <p:nvSpPr>
          <p:cNvPr id="195" name="Rectangle 194"/>
          <p:cNvSpPr/>
          <p:nvPr/>
        </p:nvSpPr>
        <p:spPr>
          <a:xfrm>
            <a:off x="1452750" y="1533394"/>
            <a:ext cx="6100255" cy="3892430"/>
          </a:xfrm>
          <a:prstGeom prst="rect">
            <a:avLst/>
          </a:prstGeom>
          <a:solidFill>
            <a:schemeClr val="bg1">
              <a:lumMod val="95000"/>
            </a:schemeClr>
          </a:solidFill>
          <a:ln w="19050">
            <a:noFill/>
            <a:miter lim="800000"/>
            <a:headEnd/>
            <a:tailEnd/>
          </a:ln>
        </p:spPr>
        <p:txBody>
          <a:bodyPr>
            <a:noAutofit/>
          </a:bodyPr>
          <a:lstStyle/>
          <a:p>
            <a:endParaRPr lang="en-US" sz="900" dirty="0">
              <a:solidFill>
                <a:srgbClr val="FFFFFF"/>
              </a:solidFill>
              <a:latin typeface="Arial" panose="020B0604020202020204" pitchFamily="34" charset="0"/>
              <a:cs typeface="Arial" panose="020B0604020202020204" pitchFamily="34" charset="0"/>
            </a:endParaRPr>
          </a:p>
        </p:txBody>
      </p:sp>
      <p:sp>
        <p:nvSpPr>
          <p:cNvPr id="1239090" name="AutoShape 27"/>
          <p:cNvSpPr>
            <a:spLocks noChangeAspect="1" noChangeArrowheads="1" noTextEdit="1"/>
          </p:cNvSpPr>
          <p:nvPr/>
        </p:nvSpPr>
        <p:spPr bwMode="auto">
          <a:xfrm>
            <a:off x="2425140" y="1654226"/>
            <a:ext cx="1332880" cy="6313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sz="900" dirty="0">
              <a:solidFill>
                <a:srgbClr val="000000"/>
              </a:solidFill>
              <a:latin typeface="Arial"/>
            </a:endParaRPr>
          </a:p>
        </p:txBody>
      </p:sp>
      <p:sp>
        <p:nvSpPr>
          <p:cNvPr id="1239048" name="Rectangle 8"/>
          <p:cNvSpPr>
            <a:spLocks noChangeArrowheads="1"/>
          </p:cNvSpPr>
          <p:nvPr/>
        </p:nvSpPr>
        <p:spPr bwMode="gray">
          <a:xfrm>
            <a:off x="248972" y="5431747"/>
            <a:ext cx="8503178" cy="286232"/>
          </a:xfrm>
          <a:prstGeom prst="rect">
            <a:avLst/>
          </a:prstGeom>
          <a:solidFill>
            <a:schemeClr val="accent1"/>
          </a:solidFill>
          <a:ln w="9525">
            <a:noFill/>
          </a:ln>
          <a:effectLst/>
          <a:extLst/>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spAutoFit/>
          </a:bodyPr>
          <a:lstStyle/>
          <a:p>
            <a:r>
              <a:rPr lang="en-US" sz="900" b="1" dirty="0">
                <a:solidFill>
                  <a:schemeClr val="accent3"/>
                </a:solidFill>
              </a:rPr>
              <a:t>Overall</a:t>
            </a:r>
          </a:p>
        </p:txBody>
      </p:sp>
      <p:sp>
        <p:nvSpPr>
          <p:cNvPr id="1239074" name="Rectangle 69"/>
          <p:cNvSpPr>
            <a:spLocks noChangeArrowheads="1"/>
          </p:cNvSpPr>
          <p:nvPr/>
        </p:nvSpPr>
        <p:spPr bwMode="auto">
          <a:xfrm>
            <a:off x="5610629" y="5950649"/>
            <a:ext cx="621965"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lvl1pPr>
              <a:defRPr sz="2400">
                <a:solidFill>
                  <a:schemeClr val="tx1"/>
                </a:solidFill>
                <a:latin typeface="Arial" pitchFamily="34" charset="0"/>
              </a:defRPr>
            </a:lvl1pPr>
            <a:lvl2pPr marL="742950" indent="-285750">
              <a:defRPr sz="2400">
                <a:solidFill>
                  <a:schemeClr val="tx1"/>
                </a:solidFill>
                <a:latin typeface="Arial" pitchFamily="34" charset="0"/>
              </a:defRPr>
            </a:lvl2pPr>
            <a:lvl3pPr marL="1143000" indent="-228600">
              <a:defRPr sz="2400">
                <a:solidFill>
                  <a:schemeClr val="tx1"/>
                </a:solidFill>
                <a:latin typeface="Arial" pitchFamily="34" charset="0"/>
              </a:defRPr>
            </a:lvl3pPr>
            <a:lvl4pPr marL="1600200" indent="-228600">
              <a:defRPr sz="2400">
                <a:solidFill>
                  <a:schemeClr val="tx1"/>
                </a:solidFill>
                <a:latin typeface="Arial" pitchFamily="34" charset="0"/>
              </a:defRPr>
            </a:lvl4pPr>
            <a:lvl5pPr marL="2057400" indent="-228600">
              <a:defRPr sz="2400">
                <a:solidFill>
                  <a:schemeClr val="tx1"/>
                </a:solidFill>
                <a:latin typeface="Arial" pitchFamily="34" charset="0"/>
              </a:defRPr>
            </a:lvl5pPr>
            <a:lvl6pPr marL="2514600" indent="-228600" fontAlgn="base">
              <a:spcBef>
                <a:spcPct val="0"/>
              </a:spcBef>
              <a:spcAft>
                <a:spcPct val="0"/>
              </a:spcAft>
              <a:defRPr sz="2400">
                <a:solidFill>
                  <a:schemeClr val="tx1"/>
                </a:solidFill>
                <a:latin typeface="Arial" pitchFamily="34" charset="0"/>
              </a:defRPr>
            </a:lvl6pPr>
            <a:lvl7pPr marL="2971800" indent="-228600" fontAlgn="base">
              <a:spcBef>
                <a:spcPct val="0"/>
              </a:spcBef>
              <a:spcAft>
                <a:spcPct val="0"/>
              </a:spcAft>
              <a:defRPr sz="2400">
                <a:solidFill>
                  <a:schemeClr val="tx1"/>
                </a:solidFill>
                <a:latin typeface="Arial" pitchFamily="34" charset="0"/>
              </a:defRPr>
            </a:lvl7pPr>
            <a:lvl8pPr marL="3429000" indent="-228600" fontAlgn="base">
              <a:spcBef>
                <a:spcPct val="0"/>
              </a:spcBef>
              <a:spcAft>
                <a:spcPct val="0"/>
              </a:spcAft>
              <a:defRPr sz="2400">
                <a:solidFill>
                  <a:schemeClr val="tx1"/>
                </a:solidFill>
                <a:latin typeface="Arial" pitchFamily="34" charset="0"/>
              </a:defRPr>
            </a:lvl8pPr>
            <a:lvl9pPr marL="3886200" indent="-228600" fontAlgn="base">
              <a:spcBef>
                <a:spcPct val="0"/>
              </a:spcBef>
              <a:spcAft>
                <a:spcPct val="0"/>
              </a:spcAft>
              <a:defRPr sz="2400">
                <a:solidFill>
                  <a:schemeClr val="tx1"/>
                </a:solidFill>
                <a:latin typeface="Arial" pitchFamily="34" charset="0"/>
              </a:defRPr>
            </a:lvl9pPr>
          </a:lstStyle>
          <a:p>
            <a:r>
              <a:rPr lang="en-US" sz="900" dirty="0">
                <a:solidFill>
                  <a:srgbClr val="000000"/>
                </a:solidFill>
                <a:latin typeface="Arial"/>
              </a:rPr>
              <a:t>Publications</a:t>
            </a:r>
          </a:p>
        </p:txBody>
      </p:sp>
      <p:sp>
        <p:nvSpPr>
          <p:cNvPr id="1239081" name="Rectangle 78"/>
          <p:cNvSpPr>
            <a:spLocks noChangeArrowheads="1"/>
          </p:cNvSpPr>
          <p:nvPr/>
        </p:nvSpPr>
        <p:spPr bwMode="auto">
          <a:xfrm>
            <a:off x="7119368" y="5861078"/>
            <a:ext cx="581144"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spAutoFit/>
          </a:bodyPr>
          <a:lstStyle>
            <a:lvl1pPr>
              <a:defRPr sz="2400">
                <a:solidFill>
                  <a:schemeClr val="tx1"/>
                </a:solidFill>
                <a:latin typeface="Arial" pitchFamily="34" charset="0"/>
              </a:defRPr>
            </a:lvl1pPr>
            <a:lvl2pPr marL="742950" indent="-285750">
              <a:defRPr sz="2400">
                <a:solidFill>
                  <a:schemeClr val="tx1"/>
                </a:solidFill>
                <a:latin typeface="Arial" pitchFamily="34" charset="0"/>
              </a:defRPr>
            </a:lvl2pPr>
            <a:lvl3pPr marL="1143000" indent="-228600">
              <a:defRPr sz="2400">
                <a:solidFill>
                  <a:schemeClr val="tx1"/>
                </a:solidFill>
                <a:latin typeface="Arial" pitchFamily="34" charset="0"/>
              </a:defRPr>
            </a:lvl3pPr>
            <a:lvl4pPr marL="1600200" indent="-228600">
              <a:defRPr sz="2400">
                <a:solidFill>
                  <a:schemeClr val="tx1"/>
                </a:solidFill>
                <a:latin typeface="Arial" pitchFamily="34" charset="0"/>
              </a:defRPr>
            </a:lvl4pPr>
            <a:lvl5pPr marL="2057400" indent="-228600">
              <a:defRPr sz="2400">
                <a:solidFill>
                  <a:schemeClr val="tx1"/>
                </a:solidFill>
                <a:latin typeface="Arial" pitchFamily="34" charset="0"/>
              </a:defRPr>
            </a:lvl5pPr>
            <a:lvl6pPr marL="2514600" indent="-228600" fontAlgn="base">
              <a:spcBef>
                <a:spcPct val="0"/>
              </a:spcBef>
              <a:spcAft>
                <a:spcPct val="0"/>
              </a:spcAft>
              <a:defRPr sz="2400">
                <a:solidFill>
                  <a:schemeClr val="tx1"/>
                </a:solidFill>
                <a:latin typeface="Arial" pitchFamily="34" charset="0"/>
              </a:defRPr>
            </a:lvl6pPr>
            <a:lvl7pPr marL="2971800" indent="-228600" fontAlgn="base">
              <a:spcBef>
                <a:spcPct val="0"/>
              </a:spcBef>
              <a:spcAft>
                <a:spcPct val="0"/>
              </a:spcAft>
              <a:defRPr sz="2400">
                <a:solidFill>
                  <a:schemeClr val="tx1"/>
                </a:solidFill>
                <a:latin typeface="Arial" pitchFamily="34" charset="0"/>
              </a:defRPr>
            </a:lvl7pPr>
            <a:lvl8pPr marL="3429000" indent="-228600" fontAlgn="base">
              <a:spcBef>
                <a:spcPct val="0"/>
              </a:spcBef>
              <a:spcAft>
                <a:spcPct val="0"/>
              </a:spcAft>
              <a:defRPr sz="2400">
                <a:solidFill>
                  <a:schemeClr val="tx1"/>
                </a:solidFill>
                <a:latin typeface="Arial" pitchFamily="34" charset="0"/>
              </a:defRPr>
            </a:lvl8pPr>
            <a:lvl9pPr marL="3886200" indent="-228600" fontAlgn="base">
              <a:spcBef>
                <a:spcPct val="0"/>
              </a:spcBef>
              <a:spcAft>
                <a:spcPct val="0"/>
              </a:spcAft>
              <a:defRPr sz="2400">
                <a:solidFill>
                  <a:schemeClr val="tx1"/>
                </a:solidFill>
                <a:latin typeface="Arial" pitchFamily="34" charset="0"/>
              </a:defRPr>
            </a:lvl9pPr>
          </a:lstStyle>
          <a:p>
            <a:r>
              <a:rPr lang="en-US" sz="900" dirty="0">
                <a:solidFill>
                  <a:srgbClr val="000000"/>
                </a:solidFill>
                <a:latin typeface="Arial"/>
              </a:rPr>
              <a:t>M&amp;A playbooks</a:t>
            </a:r>
          </a:p>
        </p:txBody>
      </p:sp>
      <p:sp>
        <p:nvSpPr>
          <p:cNvPr id="1239085" name="Rectangle 110"/>
          <p:cNvSpPr>
            <a:spLocks noChangeArrowheads="1"/>
          </p:cNvSpPr>
          <p:nvPr/>
        </p:nvSpPr>
        <p:spPr bwMode="auto">
          <a:xfrm>
            <a:off x="2521931" y="5865523"/>
            <a:ext cx="603791"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spAutoFit/>
          </a:bodyPr>
          <a:lstStyle>
            <a:lvl1pPr>
              <a:defRPr sz="2400">
                <a:solidFill>
                  <a:schemeClr val="tx1"/>
                </a:solidFill>
                <a:latin typeface="Arial" pitchFamily="34" charset="0"/>
              </a:defRPr>
            </a:lvl1pPr>
            <a:lvl2pPr marL="742950" indent="-285750">
              <a:defRPr sz="2400">
                <a:solidFill>
                  <a:schemeClr val="tx1"/>
                </a:solidFill>
                <a:latin typeface="Arial" pitchFamily="34" charset="0"/>
              </a:defRPr>
            </a:lvl2pPr>
            <a:lvl3pPr marL="1143000" indent="-228600">
              <a:defRPr sz="2400">
                <a:solidFill>
                  <a:schemeClr val="tx1"/>
                </a:solidFill>
                <a:latin typeface="Arial" pitchFamily="34" charset="0"/>
              </a:defRPr>
            </a:lvl3pPr>
            <a:lvl4pPr marL="1600200" indent="-228600">
              <a:defRPr sz="2400">
                <a:solidFill>
                  <a:schemeClr val="tx1"/>
                </a:solidFill>
                <a:latin typeface="Arial" pitchFamily="34" charset="0"/>
              </a:defRPr>
            </a:lvl4pPr>
            <a:lvl5pPr marL="2057400" indent="-228600">
              <a:defRPr sz="2400">
                <a:solidFill>
                  <a:schemeClr val="tx1"/>
                </a:solidFill>
                <a:latin typeface="Arial" pitchFamily="34" charset="0"/>
              </a:defRPr>
            </a:lvl5pPr>
            <a:lvl6pPr marL="2514600" indent="-228600" fontAlgn="base">
              <a:spcBef>
                <a:spcPct val="0"/>
              </a:spcBef>
              <a:spcAft>
                <a:spcPct val="0"/>
              </a:spcAft>
              <a:defRPr sz="2400">
                <a:solidFill>
                  <a:schemeClr val="tx1"/>
                </a:solidFill>
                <a:latin typeface="Arial" pitchFamily="34" charset="0"/>
              </a:defRPr>
            </a:lvl6pPr>
            <a:lvl7pPr marL="2971800" indent="-228600" fontAlgn="base">
              <a:spcBef>
                <a:spcPct val="0"/>
              </a:spcBef>
              <a:spcAft>
                <a:spcPct val="0"/>
              </a:spcAft>
              <a:defRPr sz="2400">
                <a:solidFill>
                  <a:schemeClr val="tx1"/>
                </a:solidFill>
                <a:latin typeface="Arial" pitchFamily="34" charset="0"/>
              </a:defRPr>
            </a:lvl7pPr>
            <a:lvl8pPr marL="3429000" indent="-228600" fontAlgn="base">
              <a:spcBef>
                <a:spcPct val="0"/>
              </a:spcBef>
              <a:spcAft>
                <a:spcPct val="0"/>
              </a:spcAft>
              <a:defRPr sz="2400">
                <a:solidFill>
                  <a:schemeClr val="tx1"/>
                </a:solidFill>
                <a:latin typeface="Arial" pitchFamily="34" charset="0"/>
              </a:defRPr>
            </a:lvl8pPr>
            <a:lvl9pPr marL="3886200" indent="-228600" fontAlgn="base">
              <a:spcBef>
                <a:spcPct val="0"/>
              </a:spcBef>
              <a:spcAft>
                <a:spcPct val="0"/>
              </a:spcAft>
              <a:defRPr sz="2400">
                <a:solidFill>
                  <a:schemeClr val="tx1"/>
                </a:solidFill>
                <a:latin typeface="Arial" pitchFamily="34" charset="0"/>
              </a:defRPr>
            </a:lvl9pPr>
          </a:lstStyle>
          <a:p>
            <a:r>
              <a:rPr lang="en-US" sz="900" dirty="0">
                <a:solidFill>
                  <a:srgbClr val="000000"/>
                </a:solidFill>
                <a:latin typeface="Arial"/>
              </a:rPr>
              <a:t>Integration council</a:t>
            </a:r>
          </a:p>
        </p:txBody>
      </p:sp>
      <p:sp>
        <p:nvSpPr>
          <p:cNvPr id="1239088" name="Rectangle 126"/>
          <p:cNvSpPr>
            <a:spLocks noChangeArrowheads="1"/>
          </p:cNvSpPr>
          <p:nvPr/>
        </p:nvSpPr>
        <p:spPr bwMode="auto">
          <a:xfrm>
            <a:off x="4012497" y="5860618"/>
            <a:ext cx="704092"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t" anchorCtr="0">
            <a:spAutoFit/>
          </a:bodyPr>
          <a:lstStyle>
            <a:lvl1pPr>
              <a:defRPr sz="2400">
                <a:solidFill>
                  <a:schemeClr val="tx1"/>
                </a:solidFill>
                <a:latin typeface="Arial" pitchFamily="34" charset="0"/>
              </a:defRPr>
            </a:lvl1pPr>
            <a:lvl2pPr marL="742950" indent="-285750">
              <a:defRPr sz="2400">
                <a:solidFill>
                  <a:schemeClr val="tx1"/>
                </a:solidFill>
                <a:latin typeface="Arial" pitchFamily="34" charset="0"/>
              </a:defRPr>
            </a:lvl2pPr>
            <a:lvl3pPr marL="1143000" indent="-228600">
              <a:defRPr sz="2400">
                <a:solidFill>
                  <a:schemeClr val="tx1"/>
                </a:solidFill>
                <a:latin typeface="Arial" pitchFamily="34" charset="0"/>
              </a:defRPr>
            </a:lvl3pPr>
            <a:lvl4pPr marL="1600200" indent="-228600">
              <a:defRPr sz="2400">
                <a:solidFill>
                  <a:schemeClr val="tx1"/>
                </a:solidFill>
                <a:latin typeface="Arial" pitchFamily="34" charset="0"/>
              </a:defRPr>
            </a:lvl4pPr>
            <a:lvl5pPr marL="2057400" indent="-228600">
              <a:defRPr sz="2400">
                <a:solidFill>
                  <a:schemeClr val="tx1"/>
                </a:solidFill>
                <a:latin typeface="Arial" pitchFamily="34" charset="0"/>
              </a:defRPr>
            </a:lvl5pPr>
            <a:lvl6pPr marL="2514600" indent="-228600" fontAlgn="base">
              <a:spcBef>
                <a:spcPct val="0"/>
              </a:spcBef>
              <a:spcAft>
                <a:spcPct val="0"/>
              </a:spcAft>
              <a:defRPr sz="2400">
                <a:solidFill>
                  <a:schemeClr val="tx1"/>
                </a:solidFill>
                <a:latin typeface="Arial" pitchFamily="34" charset="0"/>
              </a:defRPr>
            </a:lvl6pPr>
            <a:lvl7pPr marL="2971800" indent="-228600" fontAlgn="base">
              <a:spcBef>
                <a:spcPct val="0"/>
              </a:spcBef>
              <a:spcAft>
                <a:spcPct val="0"/>
              </a:spcAft>
              <a:defRPr sz="2400">
                <a:solidFill>
                  <a:schemeClr val="tx1"/>
                </a:solidFill>
                <a:latin typeface="Arial" pitchFamily="34" charset="0"/>
              </a:defRPr>
            </a:lvl7pPr>
            <a:lvl8pPr marL="3429000" indent="-228600" fontAlgn="base">
              <a:spcBef>
                <a:spcPct val="0"/>
              </a:spcBef>
              <a:spcAft>
                <a:spcPct val="0"/>
              </a:spcAft>
              <a:defRPr sz="2400">
                <a:solidFill>
                  <a:schemeClr val="tx1"/>
                </a:solidFill>
                <a:latin typeface="Arial" pitchFamily="34" charset="0"/>
              </a:defRPr>
            </a:lvl8pPr>
            <a:lvl9pPr marL="3886200" indent="-228600" fontAlgn="base">
              <a:spcBef>
                <a:spcPct val="0"/>
              </a:spcBef>
              <a:spcAft>
                <a:spcPct val="0"/>
              </a:spcAft>
              <a:defRPr sz="2400">
                <a:solidFill>
                  <a:schemeClr val="tx1"/>
                </a:solidFill>
                <a:latin typeface="Arial" pitchFamily="34" charset="0"/>
              </a:defRPr>
            </a:lvl9pPr>
          </a:lstStyle>
          <a:p>
            <a:r>
              <a:rPr lang="en-US" sz="900" dirty="0">
                <a:solidFill>
                  <a:srgbClr val="000000"/>
                </a:solidFill>
                <a:latin typeface="Arial"/>
              </a:rPr>
              <a:t>Industry perspectives </a:t>
            </a:r>
          </a:p>
        </p:txBody>
      </p:sp>
      <p:cxnSp>
        <p:nvCxnSpPr>
          <p:cNvPr id="7" name="Straight Connector 6"/>
          <p:cNvCxnSpPr/>
          <p:nvPr/>
        </p:nvCxnSpPr>
        <p:spPr>
          <a:xfrm>
            <a:off x="2041064" y="5761751"/>
            <a:ext cx="0" cy="475653"/>
          </a:xfrm>
          <a:prstGeom prst="line">
            <a:avLst/>
          </a:prstGeom>
          <a:ln w="9525" cap="sq">
            <a:solidFill>
              <a:srgbClr val="808080"/>
            </a:solidFill>
            <a:prstDash val="sysDot"/>
          </a:ln>
        </p:spPr>
        <p:style>
          <a:lnRef idx="1">
            <a:schemeClr val="accent1"/>
          </a:lnRef>
          <a:fillRef idx="0">
            <a:schemeClr val="accent1"/>
          </a:fillRef>
          <a:effectRef idx="0">
            <a:schemeClr val="accent1"/>
          </a:effectRef>
          <a:fontRef idx="minor">
            <a:schemeClr val="tx1"/>
          </a:fontRef>
        </p:style>
      </p:cxnSp>
      <p:cxnSp>
        <p:nvCxnSpPr>
          <p:cNvPr id="150" name="Straight Connector 149"/>
          <p:cNvCxnSpPr/>
          <p:nvPr/>
        </p:nvCxnSpPr>
        <p:spPr>
          <a:xfrm>
            <a:off x="3236135" y="5761751"/>
            <a:ext cx="0" cy="475653"/>
          </a:xfrm>
          <a:prstGeom prst="line">
            <a:avLst/>
          </a:prstGeom>
          <a:ln w="9525" cap="sq">
            <a:solidFill>
              <a:srgbClr val="808080"/>
            </a:solidFill>
            <a:prstDash val="sysDot"/>
          </a:ln>
        </p:spPr>
        <p:style>
          <a:lnRef idx="1">
            <a:schemeClr val="accent1"/>
          </a:lnRef>
          <a:fillRef idx="0">
            <a:schemeClr val="accent1"/>
          </a:fillRef>
          <a:effectRef idx="0">
            <a:schemeClr val="accent1"/>
          </a:effectRef>
          <a:fontRef idx="minor">
            <a:schemeClr val="tx1"/>
          </a:fontRef>
        </p:style>
      </p:cxnSp>
      <p:cxnSp>
        <p:nvCxnSpPr>
          <p:cNvPr id="151" name="Straight Connector 150"/>
          <p:cNvCxnSpPr/>
          <p:nvPr/>
        </p:nvCxnSpPr>
        <p:spPr>
          <a:xfrm>
            <a:off x="4827002" y="5761751"/>
            <a:ext cx="0" cy="475653"/>
          </a:xfrm>
          <a:prstGeom prst="line">
            <a:avLst/>
          </a:prstGeom>
          <a:ln w="9525" cap="sq">
            <a:solidFill>
              <a:srgbClr val="808080"/>
            </a:solidFill>
            <a:prstDash val="sysDot"/>
          </a:ln>
        </p:spPr>
        <p:style>
          <a:lnRef idx="1">
            <a:schemeClr val="accent1"/>
          </a:lnRef>
          <a:fillRef idx="0">
            <a:schemeClr val="accent1"/>
          </a:fillRef>
          <a:effectRef idx="0">
            <a:schemeClr val="accent1"/>
          </a:effectRef>
          <a:fontRef idx="minor">
            <a:schemeClr val="tx1"/>
          </a:fontRef>
        </p:style>
      </p:cxnSp>
      <p:cxnSp>
        <p:nvCxnSpPr>
          <p:cNvPr id="154" name="Straight Connector 153"/>
          <p:cNvCxnSpPr/>
          <p:nvPr/>
        </p:nvCxnSpPr>
        <p:spPr>
          <a:xfrm>
            <a:off x="6336849" y="5761751"/>
            <a:ext cx="0" cy="475653"/>
          </a:xfrm>
          <a:prstGeom prst="line">
            <a:avLst/>
          </a:prstGeom>
          <a:ln w="9525" cap="sq">
            <a:solidFill>
              <a:srgbClr val="808080"/>
            </a:solidFill>
            <a:prstDash val="sysDot"/>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a:cxnSpLocks/>
          </p:cNvCxnSpPr>
          <p:nvPr/>
        </p:nvCxnSpPr>
        <p:spPr>
          <a:xfrm>
            <a:off x="2221674" y="4906169"/>
            <a:ext cx="0" cy="423147"/>
          </a:xfrm>
          <a:prstGeom prst="line">
            <a:avLst/>
          </a:prstGeom>
          <a:ln w="9525" cap="sq">
            <a:solidFill>
              <a:srgbClr val="808080"/>
            </a:solidFill>
            <a:prstDash val="sysDot"/>
          </a:ln>
        </p:spPr>
        <p:style>
          <a:lnRef idx="1">
            <a:schemeClr val="accent1"/>
          </a:lnRef>
          <a:fillRef idx="0">
            <a:schemeClr val="accent1"/>
          </a:fillRef>
          <a:effectRef idx="0">
            <a:schemeClr val="accent1"/>
          </a:effectRef>
          <a:fontRef idx="minor">
            <a:schemeClr val="tx1"/>
          </a:fontRef>
        </p:style>
      </p:cxnSp>
      <p:sp>
        <p:nvSpPr>
          <p:cNvPr id="172" name="Rectangle 131"/>
          <p:cNvSpPr>
            <a:spLocks noChangeArrowheads="1"/>
          </p:cNvSpPr>
          <p:nvPr/>
        </p:nvSpPr>
        <p:spPr bwMode="auto">
          <a:xfrm flipH="1">
            <a:off x="1492241" y="5194831"/>
            <a:ext cx="623564"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spAutoFit/>
          </a:bodyPr>
          <a:lstStyle>
            <a:lvl1pPr>
              <a:defRPr sz="2400">
                <a:solidFill>
                  <a:schemeClr val="tx1"/>
                </a:solidFill>
                <a:latin typeface="Arial" pitchFamily="34" charset="0"/>
              </a:defRPr>
            </a:lvl1pPr>
            <a:lvl2pPr marL="742950" indent="-285750">
              <a:defRPr sz="2400">
                <a:solidFill>
                  <a:schemeClr val="tx1"/>
                </a:solidFill>
                <a:latin typeface="Arial" pitchFamily="34" charset="0"/>
              </a:defRPr>
            </a:lvl2pPr>
            <a:lvl3pPr marL="1143000" indent="-228600">
              <a:defRPr sz="2400">
                <a:solidFill>
                  <a:schemeClr val="tx1"/>
                </a:solidFill>
                <a:latin typeface="Arial" pitchFamily="34" charset="0"/>
              </a:defRPr>
            </a:lvl3pPr>
            <a:lvl4pPr marL="1600200" indent="-228600">
              <a:defRPr sz="2400">
                <a:solidFill>
                  <a:schemeClr val="tx1"/>
                </a:solidFill>
                <a:latin typeface="Arial" pitchFamily="34" charset="0"/>
              </a:defRPr>
            </a:lvl4pPr>
            <a:lvl5pPr marL="2057400" indent="-228600">
              <a:defRPr sz="2400">
                <a:solidFill>
                  <a:schemeClr val="tx1"/>
                </a:solidFill>
                <a:latin typeface="Arial" pitchFamily="34" charset="0"/>
              </a:defRPr>
            </a:lvl5pPr>
            <a:lvl6pPr marL="2514600" indent="-228600" fontAlgn="base">
              <a:spcBef>
                <a:spcPct val="0"/>
              </a:spcBef>
              <a:spcAft>
                <a:spcPct val="0"/>
              </a:spcAft>
              <a:defRPr sz="2400">
                <a:solidFill>
                  <a:schemeClr val="tx1"/>
                </a:solidFill>
                <a:latin typeface="Arial" pitchFamily="34" charset="0"/>
              </a:defRPr>
            </a:lvl6pPr>
            <a:lvl7pPr marL="2971800" indent="-228600" fontAlgn="base">
              <a:spcBef>
                <a:spcPct val="0"/>
              </a:spcBef>
              <a:spcAft>
                <a:spcPct val="0"/>
              </a:spcAft>
              <a:defRPr sz="2400">
                <a:solidFill>
                  <a:schemeClr val="tx1"/>
                </a:solidFill>
                <a:latin typeface="Arial" pitchFamily="34" charset="0"/>
              </a:defRPr>
            </a:lvl7pPr>
            <a:lvl8pPr marL="3429000" indent="-228600" fontAlgn="base">
              <a:spcBef>
                <a:spcPct val="0"/>
              </a:spcBef>
              <a:spcAft>
                <a:spcPct val="0"/>
              </a:spcAft>
              <a:defRPr sz="2400">
                <a:solidFill>
                  <a:schemeClr val="tx1"/>
                </a:solidFill>
                <a:latin typeface="Arial" pitchFamily="34" charset="0"/>
              </a:defRPr>
            </a:lvl8pPr>
            <a:lvl9pPr marL="3886200" indent="-228600" fontAlgn="base">
              <a:spcBef>
                <a:spcPct val="0"/>
              </a:spcBef>
              <a:spcAft>
                <a:spcPct val="0"/>
              </a:spcAft>
              <a:defRPr sz="2400">
                <a:solidFill>
                  <a:schemeClr val="tx1"/>
                </a:solidFill>
                <a:latin typeface="Arial" pitchFamily="34" charset="0"/>
              </a:defRPr>
            </a:lvl9pPr>
          </a:lstStyle>
          <a:p>
            <a:r>
              <a:rPr lang="en-US" sz="900" dirty="0">
                <a:solidFill>
                  <a:srgbClr val="000000"/>
                </a:solidFill>
                <a:latin typeface="Arial"/>
              </a:rPr>
              <a:t>Periscope</a:t>
            </a:r>
          </a:p>
        </p:txBody>
      </p:sp>
      <p:pic>
        <p:nvPicPr>
          <p:cNvPr id="175" name="Picture 119"/>
          <p:cNvPicPr>
            <a:picLocks noChangeArrowheads="1"/>
          </p:cNvPicPr>
          <p:nvPr/>
        </p:nvPicPr>
        <p:blipFill>
          <a:blip r:embed="rId17" cstate="screen">
            <a:extLst>
              <a:ext uri="{28A0092B-C50C-407E-A947-70E740481C1C}">
                <a14:useLocalDpi xmlns:a14="http://schemas.microsoft.com/office/drawing/2010/main"/>
              </a:ext>
            </a:extLst>
          </a:blip>
          <a:srcRect/>
          <a:stretch>
            <a:fillRect/>
          </a:stretch>
        </p:blipFill>
        <p:spPr bwMode="auto">
          <a:xfrm flipH="1">
            <a:off x="1568158" y="4906169"/>
            <a:ext cx="471731" cy="276325"/>
          </a:xfrm>
          <a:prstGeom prst="rect">
            <a:avLst/>
          </a:prstGeom>
          <a:noFill/>
          <a:ln>
            <a:noFill/>
          </a:ln>
          <a:effectLst>
            <a:outerShdw blurRad="63500" sx="102000" sy="102000" algn="ctr" rotWithShape="0">
              <a:prstClr val="black">
                <a:alpha val="40000"/>
              </a:prst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79" name="Rectangle 131"/>
          <p:cNvSpPr>
            <a:spLocks noChangeArrowheads="1"/>
          </p:cNvSpPr>
          <p:nvPr/>
        </p:nvSpPr>
        <p:spPr bwMode="auto">
          <a:xfrm flipH="1">
            <a:off x="2327542" y="5194831"/>
            <a:ext cx="623564"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spAutoFit/>
          </a:bodyPr>
          <a:lstStyle>
            <a:lvl1pPr>
              <a:defRPr sz="2400">
                <a:solidFill>
                  <a:schemeClr val="tx1"/>
                </a:solidFill>
                <a:latin typeface="Arial" pitchFamily="34" charset="0"/>
              </a:defRPr>
            </a:lvl1pPr>
            <a:lvl2pPr marL="742950" indent="-285750">
              <a:defRPr sz="2400">
                <a:solidFill>
                  <a:schemeClr val="tx1"/>
                </a:solidFill>
                <a:latin typeface="Arial" pitchFamily="34" charset="0"/>
              </a:defRPr>
            </a:lvl2pPr>
            <a:lvl3pPr marL="1143000" indent="-228600">
              <a:defRPr sz="2400">
                <a:solidFill>
                  <a:schemeClr val="tx1"/>
                </a:solidFill>
                <a:latin typeface="Arial" pitchFamily="34" charset="0"/>
              </a:defRPr>
            </a:lvl3pPr>
            <a:lvl4pPr marL="1600200" indent="-228600">
              <a:defRPr sz="2400">
                <a:solidFill>
                  <a:schemeClr val="tx1"/>
                </a:solidFill>
                <a:latin typeface="Arial" pitchFamily="34" charset="0"/>
              </a:defRPr>
            </a:lvl4pPr>
            <a:lvl5pPr marL="2057400" indent="-228600">
              <a:defRPr sz="2400">
                <a:solidFill>
                  <a:schemeClr val="tx1"/>
                </a:solidFill>
                <a:latin typeface="Arial" pitchFamily="34" charset="0"/>
              </a:defRPr>
            </a:lvl5pPr>
            <a:lvl6pPr marL="2514600" indent="-228600" fontAlgn="base">
              <a:spcBef>
                <a:spcPct val="0"/>
              </a:spcBef>
              <a:spcAft>
                <a:spcPct val="0"/>
              </a:spcAft>
              <a:defRPr sz="2400">
                <a:solidFill>
                  <a:schemeClr val="tx1"/>
                </a:solidFill>
                <a:latin typeface="Arial" pitchFamily="34" charset="0"/>
              </a:defRPr>
            </a:lvl6pPr>
            <a:lvl7pPr marL="2971800" indent="-228600" fontAlgn="base">
              <a:spcBef>
                <a:spcPct val="0"/>
              </a:spcBef>
              <a:spcAft>
                <a:spcPct val="0"/>
              </a:spcAft>
              <a:defRPr sz="2400">
                <a:solidFill>
                  <a:schemeClr val="tx1"/>
                </a:solidFill>
                <a:latin typeface="Arial" pitchFamily="34" charset="0"/>
              </a:defRPr>
            </a:lvl7pPr>
            <a:lvl8pPr marL="3429000" indent="-228600" fontAlgn="base">
              <a:spcBef>
                <a:spcPct val="0"/>
              </a:spcBef>
              <a:spcAft>
                <a:spcPct val="0"/>
              </a:spcAft>
              <a:defRPr sz="2400">
                <a:solidFill>
                  <a:schemeClr val="tx1"/>
                </a:solidFill>
                <a:latin typeface="Arial" pitchFamily="34" charset="0"/>
              </a:defRPr>
            </a:lvl8pPr>
            <a:lvl9pPr marL="3886200" indent="-228600" fontAlgn="base">
              <a:spcBef>
                <a:spcPct val="0"/>
              </a:spcBef>
              <a:spcAft>
                <a:spcPct val="0"/>
              </a:spcAft>
              <a:defRPr sz="2400">
                <a:solidFill>
                  <a:schemeClr val="tx1"/>
                </a:solidFill>
                <a:latin typeface="Arial" pitchFamily="34" charset="0"/>
              </a:defRPr>
            </a:lvl9pPr>
          </a:lstStyle>
          <a:p>
            <a:pPr algn="ctr"/>
            <a:r>
              <a:rPr lang="en-US" sz="900" dirty="0">
                <a:solidFill>
                  <a:srgbClr val="000000"/>
                </a:solidFill>
                <a:latin typeface="Arial"/>
              </a:rPr>
              <a:t>Wave</a:t>
            </a:r>
          </a:p>
        </p:txBody>
      </p:sp>
      <p:pic>
        <p:nvPicPr>
          <p:cNvPr id="196" name="Picture 5"/>
          <p:cNvPicPr>
            <a:picLocks noChangeArrowheads="1"/>
          </p:cNvPicPr>
          <p:nvPr/>
        </p:nvPicPr>
        <p:blipFill>
          <a:blip r:embed="rId18" cstate="screen">
            <a:extLst>
              <a:ext uri="{28A0092B-C50C-407E-A947-70E740481C1C}">
                <a14:useLocalDpi xmlns:a14="http://schemas.microsoft.com/office/drawing/2010/main"/>
              </a:ext>
            </a:extLst>
          </a:blip>
          <a:srcRect/>
          <a:stretch>
            <a:fillRect/>
          </a:stretch>
        </p:blipFill>
        <p:spPr bwMode="auto">
          <a:xfrm>
            <a:off x="2403459" y="4906169"/>
            <a:ext cx="471731" cy="276325"/>
          </a:xfrm>
          <a:prstGeom prst="rect">
            <a:avLst/>
          </a:prstGeom>
          <a:noFill/>
          <a:ln w="19050" algn="ctr">
            <a:noFill/>
            <a:miter lim="800000"/>
            <a:headEnd/>
            <a:tailEnd/>
          </a:ln>
          <a:effectLst>
            <a:outerShdw blurRad="63500" sx="102000" sy="102000" algn="ctr" rotWithShape="0">
              <a:prstClr val="black">
                <a:alpha val="40000"/>
              </a:prstClr>
            </a:outerShdw>
          </a:effectLst>
        </p:spPr>
      </p:pic>
      <p:sp>
        <p:nvSpPr>
          <p:cNvPr id="170" name="Rectangle 26"/>
          <p:cNvSpPr>
            <a:spLocks noChangeArrowheads="1"/>
          </p:cNvSpPr>
          <p:nvPr/>
        </p:nvSpPr>
        <p:spPr bwMode="gray">
          <a:xfrm>
            <a:off x="1516564" y="4628541"/>
            <a:ext cx="5990089"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b" anchorCtr="0">
            <a:spAutoFit/>
          </a:bodyPr>
          <a:lstStyle>
            <a:lvl1pPr defTabSz="787400">
              <a:defRPr sz="2400">
                <a:solidFill>
                  <a:schemeClr val="tx1"/>
                </a:solidFill>
                <a:latin typeface="Arial" pitchFamily="34" charset="0"/>
              </a:defRPr>
            </a:lvl1pPr>
            <a:lvl2pPr marL="742950" indent="-285750" defTabSz="787400">
              <a:defRPr sz="2400">
                <a:solidFill>
                  <a:schemeClr val="tx1"/>
                </a:solidFill>
                <a:latin typeface="Arial" pitchFamily="34" charset="0"/>
              </a:defRPr>
            </a:lvl2pPr>
            <a:lvl3pPr marL="1143000" indent="-228600" defTabSz="787400">
              <a:defRPr sz="2400">
                <a:solidFill>
                  <a:schemeClr val="tx1"/>
                </a:solidFill>
                <a:latin typeface="Arial" pitchFamily="34" charset="0"/>
              </a:defRPr>
            </a:lvl3pPr>
            <a:lvl4pPr marL="1600200" indent="-228600" defTabSz="787400">
              <a:defRPr sz="2400">
                <a:solidFill>
                  <a:schemeClr val="tx1"/>
                </a:solidFill>
                <a:latin typeface="Arial" pitchFamily="34" charset="0"/>
              </a:defRPr>
            </a:lvl4pPr>
            <a:lvl5pPr marL="2057400" indent="-228600" defTabSz="787400">
              <a:defRPr sz="2400">
                <a:solidFill>
                  <a:schemeClr val="tx1"/>
                </a:solidFill>
                <a:latin typeface="Arial" pitchFamily="34" charset="0"/>
              </a:defRPr>
            </a:lvl5pPr>
            <a:lvl6pPr marL="2514600" indent="-228600" defTabSz="787400" fontAlgn="base">
              <a:spcBef>
                <a:spcPct val="0"/>
              </a:spcBef>
              <a:spcAft>
                <a:spcPct val="0"/>
              </a:spcAft>
              <a:defRPr sz="2400">
                <a:solidFill>
                  <a:schemeClr val="tx1"/>
                </a:solidFill>
                <a:latin typeface="Arial" pitchFamily="34" charset="0"/>
              </a:defRPr>
            </a:lvl6pPr>
            <a:lvl7pPr marL="2971800" indent="-228600" defTabSz="787400" fontAlgn="base">
              <a:spcBef>
                <a:spcPct val="0"/>
              </a:spcBef>
              <a:spcAft>
                <a:spcPct val="0"/>
              </a:spcAft>
              <a:defRPr sz="2400">
                <a:solidFill>
                  <a:schemeClr val="tx1"/>
                </a:solidFill>
                <a:latin typeface="Arial" pitchFamily="34" charset="0"/>
              </a:defRPr>
            </a:lvl7pPr>
            <a:lvl8pPr marL="3429000" indent="-228600" defTabSz="787400" fontAlgn="base">
              <a:spcBef>
                <a:spcPct val="0"/>
              </a:spcBef>
              <a:spcAft>
                <a:spcPct val="0"/>
              </a:spcAft>
              <a:defRPr sz="2400">
                <a:solidFill>
                  <a:schemeClr val="tx1"/>
                </a:solidFill>
                <a:latin typeface="Arial" pitchFamily="34" charset="0"/>
              </a:defRPr>
            </a:lvl8pPr>
            <a:lvl9pPr marL="3886200" indent="-228600" defTabSz="787400" fontAlgn="base">
              <a:spcBef>
                <a:spcPct val="0"/>
              </a:spcBef>
              <a:spcAft>
                <a:spcPct val="0"/>
              </a:spcAft>
              <a:defRPr sz="2400">
                <a:solidFill>
                  <a:schemeClr val="tx1"/>
                </a:solidFill>
                <a:latin typeface="Arial" pitchFamily="34" charset="0"/>
              </a:defRPr>
            </a:lvl9pPr>
          </a:lstStyle>
          <a:p>
            <a:pPr>
              <a:spcBef>
                <a:spcPct val="40000"/>
              </a:spcBef>
              <a:buClr>
                <a:srgbClr val="002960"/>
              </a:buClr>
            </a:pPr>
            <a:r>
              <a:rPr lang="en-US" sz="900" b="1" dirty="0">
                <a:solidFill>
                  <a:schemeClr val="accent3"/>
                </a:solidFill>
                <a:latin typeface="Arial"/>
              </a:rPr>
              <a:t>Tools</a:t>
            </a:r>
          </a:p>
        </p:txBody>
      </p:sp>
      <p:cxnSp>
        <p:nvCxnSpPr>
          <p:cNvPr id="161" name="Straight Arrow Connector 160"/>
          <p:cNvCxnSpPr>
            <a:cxnSpLocks/>
          </p:cNvCxnSpPr>
          <p:nvPr/>
        </p:nvCxnSpPr>
        <p:spPr>
          <a:xfrm>
            <a:off x="1516564" y="4781600"/>
            <a:ext cx="5972015" cy="0"/>
          </a:xfrm>
          <a:prstGeom prst="straightConnector1">
            <a:avLst/>
          </a:prstGeom>
          <a:ln w="9525" cap="sq">
            <a:solidFill>
              <a:schemeClr val="accent3"/>
            </a:solidFill>
            <a:prstDash val="solid"/>
          </a:ln>
        </p:spPr>
        <p:style>
          <a:lnRef idx="1">
            <a:schemeClr val="accent1"/>
          </a:lnRef>
          <a:fillRef idx="0">
            <a:schemeClr val="accent1"/>
          </a:fillRef>
          <a:effectRef idx="0">
            <a:schemeClr val="accent1"/>
          </a:effectRef>
          <a:fontRef idx="minor">
            <a:schemeClr val="tx1"/>
          </a:fontRef>
        </p:style>
      </p:cxnSp>
      <p:sp>
        <p:nvSpPr>
          <p:cNvPr id="20" name="Rectangle 19"/>
          <p:cNvSpPr>
            <a:spLocks/>
          </p:cNvSpPr>
          <p:nvPr/>
        </p:nvSpPr>
        <p:spPr>
          <a:xfrm>
            <a:off x="272044" y="1527413"/>
            <a:ext cx="1125239" cy="3892430"/>
          </a:xfrm>
          <a:prstGeom prst="rect">
            <a:avLst/>
          </a:prstGeom>
          <a:solidFill>
            <a:schemeClr val="bg2">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solidFill>
                <a:srgbClr val="000000"/>
              </a:solidFill>
            </a:endParaRPr>
          </a:p>
        </p:txBody>
      </p:sp>
      <p:sp>
        <p:nvSpPr>
          <p:cNvPr id="1239058" name="Rectangle 37"/>
          <p:cNvSpPr>
            <a:spLocks noChangeArrowheads="1"/>
          </p:cNvSpPr>
          <p:nvPr/>
        </p:nvSpPr>
        <p:spPr bwMode="auto">
          <a:xfrm>
            <a:off x="474534" y="3059921"/>
            <a:ext cx="881592" cy="2631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spAutoFit/>
          </a:bodyPr>
          <a:lstStyle>
            <a:lvl1pPr>
              <a:defRPr sz="2400">
                <a:solidFill>
                  <a:schemeClr val="tx1"/>
                </a:solidFill>
                <a:latin typeface="Arial" pitchFamily="34" charset="0"/>
              </a:defRPr>
            </a:lvl1pPr>
            <a:lvl2pPr marL="742950" indent="-285750">
              <a:defRPr sz="2400">
                <a:solidFill>
                  <a:schemeClr val="tx1"/>
                </a:solidFill>
                <a:latin typeface="Arial" pitchFamily="34" charset="0"/>
              </a:defRPr>
            </a:lvl2pPr>
            <a:lvl3pPr marL="1143000" indent="-228600">
              <a:defRPr sz="2400">
                <a:solidFill>
                  <a:schemeClr val="tx1"/>
                </a:solidFill>
                <a:latin typeface="Arial" pitchFamily="34" charset="0"/>
              </a:defRPr>
            </a:lvl3pPr>
            <a:lvl4pPr marL="1600200" indent="-228600">
              <a:defRPr sz="2400">
                <a:solidFill>
                  <a:schemeClr val="tx1"/>
                </a:solidFill>
                <a:latin typeface="Arial" pitchFamily="34" charset="0"/>
              </a:defRPr>
            </a:lvl4pPr>
            <a:lvl5pPr marL="2057400" indent="-228600">
              <a:defRPr sz="2400">
                <a:solidFill>
                  <a:schemeClr val="tx1"/>
                </a:solidFill>
                <a:latin typeface="Arial" pitchFamily="34" charset="0"/>
              </a:defRPr>
            </a:lvl5pPr>
            <a:lvl6pPr marL="2514600" indent="-228600" fontAlgn="base">
              <a:spcBef>
                <a:spcPct val="0"/>
              </a:spcBef>
              <a:spcAft>
                <a:spcPct val="0"/>
              </a:spcAft>
              <a:defRPr sz="2400">
                <a:solidFill>
                  <a:schemeClr val="tx1"/>
                </a:solidFill>
                <a:latin typeface="Arial" pitchFamily="34" charset="0"/>
              </a:defRPr>
            </a:lvl6pPr>
            <a:lvl7pPr marL="2971800" indent="-228600" fontAlgn="base">
              <a:spcBef>
                <a:spcPct val="0"/>
              </a:spcBef>
              <a:spcAft>
                <a:spcPct val="0"/>
              </a:spcAft>
              <a:defRPr sz="2400">
                <a:solidFill>
                  <a:schemeClr val="tx1"/>
                </a:solidFill>
                <a:latin typeface="Arial" pitchFamily="34" charset="0"/>
              </a:defRPr>
            </a:lvl7pPr>
            <a:lvl8pPr marL="3429000" indent="-228600" fontAlgn="base">
              <a:spcBef>
                <a:spcPct val="0"/>
              </a:spcBef>
              <a:spcAft>
                <a:spcPct val="0"/>
              </a:spcAft>
              <a:defRPr sz="2400">
                <a:solidFill>
                  <a:schemeClr val="tx1"/>
                </a:solidFill>
                <a:latin typeface="Arial" pitchFamily="34" charset="0"/>
              </a:defRPr>
            </a:lvl8pPr>
            <a:lvl9pPr marL="3886200" indent="-228600" fontAlgn="base">
              <a:spcBef>
                <a:spcPct val="0"/>
              </a:spcBef>
              <a:spcAft>
                <a:spcPct val="0"/>
              </a:spcAft>
              <a:defRPr sz="2400">
                <a:solidFill>
                  <a:schemeClr val="tx1"/>
                </a:solidFill>
                <a:latin typeface="Arial" pitchFamily="34" charset="0"/>
              </a:defRPr>
            </a:lvl9pPr>
          </a:lstStyle>
          <a:p>
            <a:pPr>
              <a:lnSpc>
                <a:spcPct val="95000"/>
              </a:lnSpc>
            </a:pPr>
            <a:r>
              <a:rPr lang="en-US" sz="900" dirty="0">
                <a:solidFill>
                  <a:srgbClr val="000000"/>
                </a:solidFill>
                <a:latin typeface="Arial"/>
              </a:rPr>
              <a:t>Integration architecture</a:t>
            </a:r>
          </a:p>
        </p:txBody>
      </p:sp>
      <p:sp>
        <p:nvSpPr>
          <p:cNvPr id="1239067" name="Rectangle 46"/>
          <p:cNvSpPr>
            <a:spLocks noChangeArrowheads="1"/>
          </p:cNvSpPr>
          <p:nvPr/>
        </p:nvSpPr>
        <p:spPr bwMode="auto">
          <a:xfrm>
            <a:off x="474534" y="2142639"/>
            <a:ext cx="881592"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spAutoFit/>
          </a:bodyPr>
          <a:lstStyle>
            <a:lvl1pPr>
              <a:defRPr sz="2400">
                <a:solidFill>
                  <a:schemeClr val="tx1"/>
                </a:solidFill>
                <a:latin typeface="Arial" pitchFamily="34" charset="0"/>
              </a:defRPr>
            </a:lvl1pPr>
            <a:lvl2pPr marL="742950" indent="-285750">
              <a:defRPr sz="2400">
                <a:solidFill>
                  <a:schemeClr val="tx1"/>
                </a:solidFill>
                <a:latin typeface="Arial" pitchFamily="34" charset="0"/>
              </a:defRPr>
            </a:lvl2pPr>
            <a:lvl3pPr marL="1143000" indent="-228600">
              <a:defRPr sz="2400">
                <a:solidFill>
                  <a:schemeClr val="tx1"/>
                </a:solidFill>
                <a:latin typeface="Arial" pitchFamily="34" charset="0"/>
              </a:defRPr>
            </a:lvl3pPr>
            <a:lvl4pPr marL="1600200" indent="-228600">
              <a:defRPr sz="2400">
                <a:solidFill>
                  <a:schemeClr val="tx1"/>
                </a:solidFill>
                <a:latin typeface="Arial" pitchFamily="34" charset="0"/>
              </a:defRPr>
            </a:lvl4pPr>
            <a:lvl5pPr marL="2057400" indent="-228600">
              <a:defRPr sz="2400">
                <a:solidFill>
                  <a:schemeClr val="tx1"/>
                </a:solidFill>
                <a:latin typeface="Arial" pitchFamily="34" charset="0"/>
              </a:defRPr>
            </a:lvl5pPr>
            <a:lvl6pPr marL="2514600" indent="-228600" fontAlgn="base">
              <a:spcBef>
                <a:spcPct val="0"/>
              </a:spcBef>
              <a:spcAft>
                <a:spcPct val="0"/>
              </a:spcAft>
              <a:defRPr sz="2400">
                <a:solidFill>
                  <a:schemeClr val="tx1"/>
                </a:solidFill>
                <a:latin typeface="Arial" pitchFamily="34" charset="0"/>
              </a:defRPr>
            </a:lvl6pPr>
            <a:lvl7pPr marL="2971800" indent="-228600" fontAlgn="base">
              <a:spcBef>
                <a:spcPct val="0"/>
              </a:spcBef>
              <a:spcAft>
                <a:spcPct val="0"/>
              </a:spcAft>
              <a:defRPr sz="2400">
                <a:solidFill>
                  <a:schemeClr val="tx1"/>
                </a:solidFill>
                <a:latin typeface="Arial" pitchFamily="34" charset="0"/>
              </a:defRPr>
            </a:lvl7pPr>
            <a:lvl8pPr marL="3429000" indent="-228600" fontAlgn="base">
              <a:spcBef>
                <a:spcPct val="0"/>
              </a:spcBef>
              <a:spcAft>
                <a:spcPct val="0"/>
              </a:spcAft>
              <a:defRPr sz="2400">
                <a:solidFill>
                  <a:schemeClr val="tx1"/>
                </a:solidFill>
                <a:latin typeface="Arial" pitchFamily="34" charset="0"/>
              </a:defRPr>
            </a:lvl8pPr>
            <a:lvl9pPr marL="3886200" indent="-228600" fontAlgn="base">
              <a:spcBef>
                <a:spcPct val="0"/>
              </a:spcBef>
              <a:spcAft>
                <a:spcPct val="0"/>
              </a:spcAft>
              <a:defRPr sz="2400">
                <a:solidFill>
                  <a:schemeClr val="tx1"/>
                </a:solidFill>
                <a:latin typeface="Arial" pitchFamily="34" charset="0"/>
              </a:defRPr>
            </a:lvl9pPr>
          </a:lstStyle>
          <a:p>
            <a:r>
              <a:rPr lang="en-US" sz="900" dirty="0">
                <a:solidFill>
                  <a:srgbClr val="000000"/>
                </a:solidFill>
                <a:latin typeface="Arial"/>
              </a:rPr>
              <a:t>MM boot camp</a:t>
            </a:r>
          </a:p>
        </p:txBody>
      </p:sp>
      <p:pic>
        <p:nvPicPr>
          <p:cNvPr id="147" name="Picture 32"/>
          <p:cNvPicPr>
            <a:picLocks noChangeArrowheads="1"/>
          </p:cNvPicPr>
          <p:nvPr/>
        </p:nvPicPr>
        <p:blipFill rotWithShape="1">
          <a:blip r:embed="rId19" cstate="email">
            <a:extLst>
              <a:ext uri="{28A0092B-C50C-407E-A947-70E740481C1C}">
                <a14:useLocalDpi xmlns:a14="http://schemas.microsoft.com/office/drawing/2010/main"/>
              </a:ext>
            </a:extLst>
          </a:blip>
          <a:srcRect/>
          <a:stretch/>
        </p:blipFill>
        <p:spPr bwMode="gray">
          <a:xfrm>
            <a:off x="474534" y="1560368"/>
            <a:ext cx="720257" cy="544005"/>
          </a:xfrm>
          <a:prstGeom prst="rect">
            <a:avLst/>
          </a:prstGeom>
          <a:noFill/>
          <a:ln>
            <a:noFill/>
          </a:ln>
          <a:effectLst>
            <a:outerShdw blurRad="63500" sx="102000" sy="102000" algn="ctr" rotWithShape="0">
              <a:prstClr val="black">
                <a:alpha val="40000"/>
              </a:prstClr>
            </a:outerShdw>
          </a:effectLst>
          <a:extLst>
            <a:ext uri="{909E8E84-426E-40DD-AFC4-6F175D3DCCD1}">
              <a14:hiddenFill xmlns:a14="http://schemas.microsoft.com/office/drawing/2010/main">
                <a:solidFill>
                  <a:schemeClr val="accent1"/>
                </a:solidFill>
              </a14:hiddenFill>
            </a:ext>
          </a:extLst>
        </p:spPr>
      </p:pic>
      <p:sp>
        <p:nvSpPr>
          <p:cNvPr id="1239060" name="Rectangle 39"/>
          <p:cNvSpPr>
            <a:spLocks noChangeArrowheads="1"/>
          </p:cNvSpPr>
          <p:nvPr/>
        </p:nvSpPr>
        <p:spPr bwMode="auto">
          <a:xfrm>
            <a:off x="474534" y="4101854"/>
            <a:ext cx="881592"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spAutoFit/>
          </a:bodyPr>
          <a:lstStyle>
            <a:lvl1pPr>
              <a:defRPr sz="2400">
                <a:solidFill>
                  <a:schemeClr val="tx1"/>
                </a:solidFill>
                <a:latin typeface="Arial" pitchFamily="34" charset="0"/>
              </a:defRPr>
            </a:lvl1pPr>
            <a:lvl2pPr marL="742950" indent="-285750">
              <a:defRPr sz="2400">
                <a:solidFill>
                  <a:schemeClr val="tx1"/>
                </a:solidFill>
                <a:latin typeface="Arial" pitchFamily="34" charset="0"/>
              </a:defRPr>
            </a:lvl2pPr>
            <a:lvl3pPr marL="1143000" indent="-228600">
              <a:defRPr sz="2400">
                <a:solidFill>
                  <a:schemeClr val="tx1"/>
                </a:solidFill>
                <a:latin typeface="Arial" pitchFamily="34" charset="0"/>
              </a:defRPr>
            </a:lvl3pPr>
            <a:lvl4pPr marL="1600200" indent="-228600">
              <a:defRPr sz="2400">
                <a:solidFill>
                  <a:schemeClr val="tx1"/>
                </a:solidFill>
                <a:latin typeface="Arial" pitchFamily="34" charset="0"/>
              </a:defRPr>
            </a:lvl4pPr>
            <a:lvl5pPr marL="2057400" indent="-228600">
              <a:defRPr sz="2400">
                <a:solidFill>
                  <a:schemeClr val="tx1"/>
                </a:solidFill>
                <a:latin typeface="Arial" pitchFamily="34" charset="0"/>
              </a:defRPr>
            </a:lvl5pPr>
            <a:lvl6pPr marL="2514600" indent="-228600" fontAlgn="base">
              <a:spcBef>
                <a:spcPct val="0"/>
              </a:spcBef>
              <a:spcAft>
                <a:spcPct val="0"/>
              </a:spcAft>
              <a:defRPr sz="2400">
                <a:solidFill>
                  <a:schemeClr val="tx1"/>
                </a:solidFill>
                <a:latin typeface="Arial" pitchFamily="34" charset="0"/>
              </a:defRPr>
            </a:lvl6pPr>
            <a:lvl7pPr marL="2971800" indent="-228600" fontAlgn="base">
              <a:spcBef>
                <a:spcPct val="0"/>
              </a:spcBef>
              <a:spcAft>
                <a:spcPct val="0"/>
              </a:spcAft>
              <a:defRPr sz="2400">
                <a:solidFill>
                  <a:schemeClr val="tx1"/>
                </a:solidFill>
                <a:latin typeface="Arial" pitchFamily="34" charset="0"/>
              </a:defRPr>
            </a:lvl7pPr>
            <a:lvl8pPr marL="3429000" indent="-228600" fontAlgn="base">
              <a:spcBef>
                <a:spcPct val="0"/>
              </a:spcBef>
              <a:spcAft>
                <a:spcPct val="0"/>
              </a:spcAft>
              <a:defRPr sz="2400">
                <a:solidFill>
                  <a:schemeClr val="tx1"/>
                </a:solidFill>
                <a:latin typeface="Arial" pitchFamily="34" charset="0"/>
              </a:defRPr>
            </a:lvl8pPr>
            <a:lvl9pPr marL="3886200" indent="-228600" fontAlgn="base">
              <a:spcBef>
                <a:spcPct val="0"/>
              </a:spcBef>
              <a:spcAft>
                <a:spcPct val="0"/>
              </a:spcAft>
              <a:defRPr sz="2400">
                <a:solidFill>
                  <a:schemeClr val="tx1"/>
                </a:solidFill>
                <a:latin typeface="Arial" pitchFamily="34" charset="0"/>
              </a:defRPr>
            </a:lvl9pPr>
          </a:lstStyle>
          <a:p>
            <a:r>
              <a:rPr lang="en-US" sz="900" dirty="0">
                <a:solidFill>
                  <a:srgbClr val="000000"/>
                </a:solidFill>
                <a:latin typeface="Arial"/>
              </a:rPr>
              <a:t>Value capture</a:t>
            </a:r>
          </a:p>
        </p:txBody>
      </p:sp>
      <p:pic>
        <p:nvPicPr>
          <p:cNvPr id="14" name="Picture 13"/>
          <p:cNvPicPr>
            <a:picLocks/>
          </p:cNvPicPr>
          <p:nvPr/>
        </p:nvPicPr>
        <p:blipFill rotWithShape="1">
          <a:blip r:embed="rId20" cstate="screen">
            <a:extLst>
              <a:ext uri="{28A0092B-C50C-407E-A947-70E740481C1C}">
                <a14:useLocalDpi xmlns:a14="http://schemas.microsoft.com/office/drawing/2010/main"/>
              </a:ext>
            </a:extLst>
          </a:blip>
          <a:srcRect/>
          <a:stretch/>
        </p:blipFill>
        <p:spPr>
          <a:xfrm>
            <a:off x="474534" y="3519581"/>
            <a:ext cx="720257" cy="544005"/>
          </a:xfrm>
          <a:prstGeom prst="rect">
            <a:avLst/>
          </a:prstGeom>
          <a:effectLst>
            <a:outerShdw blurRad="63500" sx="102000" sy="102000" algn="ctr" rotWithShape="0">
              <a:prstClr val="black">
                <a:alpha val="40000"/>
              </a:prstClr>
            </a:outerShdw>
          </a:effectLst>
        </p:spPr>
      </p:pic>
      <p:sp>
        <p:nvSpPr>
          <p:cNvPr id="168" name="Rectangle 39"/>
          <p:cNvSpPr>
            <a:spLocks noChangeArrowheads="1"/>
          </p:cNvSpPr>
          <p:nvPr/>
        </p:nvSpPr>
        <p:spPr bwMode="auto">
          <a:xfrm>
            <a:off x="474534" y="5019459"/>
            <a:ext cx="881592"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spAutoFit/>
          </a:bodyPr>
          <a:lstStyle>
            <a:lvl1pPr>
              <a:defRPr sz="2400">
                <a:solidFill>
                  <a:schemeClr val="tx1"/>
                </a:solidFill>
                <a:latin typeface="Arial" pitchFamily="34" charset="0"/>
              </a:defRPr>
            </a:lvl1pPr>
            <a:lvl2pPr marL="742950" indent="-285750">
              <a:defRPr sz="2400">
                <a:solidFill>
                  <a:schemeClr val="tx1"/>
                </a:solidFill>
                <a:latin typeface="Arial" pitchFamily="34" charset="0"/>
              </a:defRPr>
            </a:lvl2pPr>
            <a:lvl3pPr marL="1143000" indent="-228600">
              <a:defRPr sz="2400">
                <a:solidFill>
                  <a:schemeClr val="tx1"/>
                </a:solidFill>
                <a:latin typeface="Arial" pitchFamily="34" charset="0"/>
              </a:defRPr>
            </a:lvl3pPr>
            <a:lvl4pPr marL="1600200" indent="-228600">
              <a:defRPr sz="2400">
                <a:solidFill>
                  <a:schemeClr val="tx1"/>
                </a:solidFill>
                <a:latin typeface="Arial" pitchFamily="34" charset="0"/>
              </a:defRPr>
            </a:lvl4pPr>
            <a:lvl5pPr marL="2057400" indent="-228600">
              <a:defRPr sz="2400">
                <a:solidFill>
                  <a:schemeClr val="tx1"/>
                </a:solidFill>
                <a:latin typeface="Arial" pitchFamily="34" charset="0"/>
              </a:defRPr>
            </a:lvl5pPr>
            <a:lvl6pPr marL="2514600" indent="-228600" fontAlgn="base">
              <a:spcBef>
                <a:spcPct val="0"/>
              </a:spcBef>
              <a:spcAft>
                <a:spcPct val="0"/>
              </a:spcAft>
              <a:defRPr sz="2400">
                <a:solidFill>
                  <a:schemeClr val="tx1"/>
                </a:solidFill>
                <a:latin typeface="Arial" pitchFamily="34" charset="0"/>
              </a:defRPr>
            </a:lvl6pPr>
            <a:lvl7pPr marL="2971800" indent="-228600" fontAlgn="base">
              <a:spcBef>
                <a:spcPct val="0"/>
              </a:spcBef>
              <a:spcAft>
                <a:spcPct val="0"/>
              </a:spcAft>
              <a:defRPr sz="2400">
                <a:solidFill>
                  <a:schemeClr val="tx1"/>
                </a:solidFill>
                <a:latin typeface="Arial" pitchFamily="34" charset="0"/>
              </a:defRPr>
            </a:lvl7pPr>
            <a:lvl8pPr marL="3429000" indent="-228600" fontAlgn="base">
              <a:spcBef>
                <a:spcPct val="0"/>
              </a:spcBef>
              <a:spcAft>
                <a:spcPct val="0"/>
              </a:spcAft>
              <a:defRPr sz="2400">
                <a:solidFill>
                  <a:schemeClr val="tx1"/>
                </a:solidFill>
                <a:latin typeface="Arial" pitchFamily="34" charset="0"/>
              </a:defRPr>
            </a:lvl8pPr>
            <a:lvl9pPr marL="3886200" indent="-228600" fontAlgn="base">
              <a:spcBef>
                <a:spcPct val="0"/>
              </a:spcBef>
              <a:spcAft>
                <a:spcPct val="0"/>
              </a:spcAft>
              <a:defRPr sz="2400">
                <a:solidFill>
                  <a:schemeClr val="tx1"/>
                </a:solidFill>
                <a:latin typeface="Arial" pitchFamily="34" charset="0"/>
              </a:defRPr>
            </a:lvl9pPr>
          </a:lstStyle>
          <a:p>
            <a:r>
              <a:rPr lang="en-US" sz="900" dirty="0">
                <a:solidFill>
                  <a:srgbClr val="000000"/>
                </a:solidFill>
                <a:latin typeface="Arial"/>
              </a:rPr>
              <a:t>M&amp;A capability diagnostic</a:t>
            </a:r>
          </a:p>
        </p:txBody>
      </p:sp>
      <p:pic>
        <p:nvPicPr>
          <p:cNvPr id="38" name="Picture 37"/>
          <p:cNvPicPr>
            <a:picLocks/>
          </p:cNvPicPr>
          <p:nvPr/>
        </p:nvPicPr>
        <p:blipFill>
          <a:blip r:embed="rId21" cstate="screen">
            <a:extLst>
              <a:ext uri="{28A0092B-C50C-407E-A947-70E740481C1C}">
                <a14:useLocalDpi xmlns:a14="http://schemas.microsoft.com/office/drawing/2010/main"/>
              </a:ext>
            </a:extLst>
          </a:blip>
          <a:stretch>
            <a:fillRect/>
          </a:stretch>
        </p:blipFill>
        <p:spPr>
          <a:xfrm>
            <a:off x="474534" y="4433953"/>
            <a:ext cx="720257" cy="544005"/>
          </a:xfrm>
          <a:prstGeom prst="rect">
            <a:avLst/>
          </a:prstGeom>
          <a:effectLst>
            <a:outerShdw blurRad="63500" sx="102000" sy="102000" algn="ctr" rotWithShape="0">
              <a:prstClr val="black">
                <a:alpha val="40000"/>
              </a:prstClr>
            </a:outerShdw>
          </a:effectLst>
        </p:spPr>
      </p:pic>
      <p:pic>
        <p:nvPicPr>
          <p:cNvPr id="19" name="Picture 18"/>
          <p:cNvPicPr>
            <a:picLocks/>
          </p:cNvPicPr>
          <p:nvPr/>
        </p:nvPicPr>
        <p:blipFill>
          <a:blip r:embed="rId22" cstate="screen">
            <a:extLst>
              <a:ext uri="{28A0092B-C50C-407E-A947-70E740481C1C}">
                <a14:useLocalDpi xmlns:a14="http://schemas.microsoft.com/office/drawing/2010/main"/>
              </a:ext>
            </a:extLst>
          </a:blip>
          <a:stretch>
            <a:fillRect/>
          </a:stretch>
        </p:blipFill>
        <p:spPr>
          <a:xfrm>
            <a:off x="474534" y="2474738"/>
            <a:ext cx="720257" cy="544005"/>
          </a:xfrm>
          <a:prstGeom prst="rect">
            <a:avLst/>
          </a:prstGeom>
          <a:effectLst>
            <a:outerShdw blurRad="63500" sx="102000" sy="102000" algn="ctr" rotWithShape="0">
              <a:prstClr val="black">
                <a:alpha val="40000"/>
              </a:prstClr>
            </a:outerShdw>
          </a:effectLst>
        </p:spPr>
      </p:pic>
      <p:sp>
        <p:nvSpPr>
          <p:cNvPr id="200" name="Rectangle 199"/>
          <p:cNvSpPr>
            <a:spLocks/>
          </p:cNvSpPr>
          <p:nvPr/>
        </p:nvSpPr>
        <p:spPr>
          <a:xfrm>
            <a:off x="7608472" y="1527413"/>
            <a:ext cx="1125239" cy="3892430"/>
          </a:xfrm>
          <a:prstGeom prst="rect">
            <a:avLst/>
          </a:prstGeom>
          <a:solidFill>
            <a:schemeClr val="bg2">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solidFill>
                <a:srgbClr val="000000"/>
              </a:solidFill>
            </a:endParaRPr>
          </a:p>
        </p:txBody>
      </p:sp>
      <p:pic>
        <p:nvPicPr>
          <p:cNvPr id="1239079" name="Picture 75"/>
          <p:cNvPicPr>
            <a:picLocks noChangeArrowheads="1"/>
          </p:cNvPicPr>
          <p:nvPr/>
        </p:nvPicPr>
        <p:blipFill>
          <a:blip r:embed="rId23" cstate="email">
            <a:extLst>
              <a:ext uri="{28A0092B-C50C-407E-A947-70E740481C1C}">
                <a14:useLocalDpi xmlns:a14="http://schemas.microsoft.com/office/drawing/2010/main"/>
              </a:ext>
            </a:extLst>
          </a:blip>
          <a:srcRect/>
          <a:stretch>
            <a:fillRect/>
          </a:stretch>
        </p:blipFill>
        <p:spPr bwMode="auto">
          <a:xfrm>
            <a:off x="7810962" y="2730448"/>
            <a:ext cx="720257" cy="544005"/>
          </a:xfrm>
          <a:prstGeom prst="rect">
            <a:avLst/>
          </a:prstGeom>
          <a:solidFill>
            <a:schemeClr val="bg2"/>
          </a:solidFill>
          <a:ln>
            <a:noFill/>
          </a:ln>
          <a:effectLst>
            <a:outerShdw blurRad="63500" sx="102000" sy="102000" algn="ctr" rotWithShape="0">
              <a:prstClr val="black">
                <a:alpha val="40000"/>
              </a:prstClr>
            </a:outerShdw>
          </a:effectLst>
          <a:extLst/>
        </p:spPr>
      </p:pic>
      <p:sp>
        <p:nvSpPr>
          <p:cNvPr id="197" name="Rectangle 35"/>
          <p:cNvSpPr>
            <a:spLocks noChangeArrowheads="1"/>
          </p:cNvSpPr>
          <p:nvPr/>
        </p:nvSpPr>
        <p:spPr bwMode="auto">
          <a:xfrm>
            <a:off x="7810962" y="3305104"/>
            <a:ext cx="806021"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spAutoFit/>
          </a:bodyPr>
          <a:lstStyle>
            <a:lvl1pPr>
              <a:defRPr sz="2400">
                <a:solidFill>
                  <a:schemeClr val="tx1"/>
                </a:solidFill>
                <a:latin typeface="Arial" pitchFamily="34" charset="0"/>
              </a:defRPr>
            </a:lvl1pPr>
            <a:lvl2pPr marL="742950" indent="-285750">
              <a:defRPr sz="2400">
                <a:solidFill>
                  <a:schemeClr val="tx1"/>
                </a:solidFill>
                <a:latin typeface="Arial" pitchFamily="34" charset="0"/>
              </a:defRPr>
            </a:lvl2pPr>
            <a:lvl3pPr marL="1143000" indent="-228600">
              <a:defRPr sz="2400">
                <a:solidFill>
                  <a:schemeClr val="tx1"/>
                </a:solidFill>
                <a:latin typeface="Arial" pitchFamily="34" charset="0"/>
              </a:defRPr>
            </a:lvl3pPr>
            <a:lvl4pPr marL="1600200" indent="-228600">
              <a:defRPr sz="2400">
                <a:solidFill>
                  <a:schemeClr val="tx1"/>
                </a:solidFill>
                <a:latin typeface="Arial" pitchFamily="34" charset="0"/>
              </a:defRPr>
            </a:lvl4pPr>
            <a:lvl5pPr marL="2057400" indent="-228600">
              <a:defRPr sz="2400">
                <a:solidFill>
                  <a:schemeClr val="tx1"/>
                </a:solidFill>
                <a:latin typeface="Arial" pitchFamily="34" charset="0"/>
              </a:defRPr>
            </a:lvl5pPr>
            <a:lvl6pPr marL="2514600" indent="-228600" fontAlgn="base">
              <a:spcBef>
                <a:spcPct val="0"/>
              </a:spcBef>
              <a:spcAft>
                <a:spcPct val="0"/>
              </a:spcAft>
              <a:defRPr sz="2400">
                <a:solidFill>
                  <a:schemeClr val="tx1"/>
                </a:solidFill>
                <a:latin typeface="Arial" pitchFamily="34" charset="0"/>
              </a:defRPr>
            </a:lvl6pPr>
            <a:lvl7pPr marL="2971800" indent="-228600" fontAlgn="base">
              <a:spcBef>
                <a:spcPct val="0"/>
              </a:spcBef>
              <a:spcAft>
                <a:spcPct val="0"/>
              </a:spcAft>
              <a:defRPr sz="2400">
                <a:solidFill>
                  <a:schemeClr val="tx1"/>
                </a:solidFill>
                <a:latin typeface="Arial" pitchFamily="34" charset="0"/>
              </a:defRPr>
            </a:lvl7pPr>
            <a:lvl8pPr marL="3429000" indent="-228600" fontAlgn="base">
              <a:spcBef>
                <a:spcPct val="0"/>
              </a:spcBef>
              <a:spcAft>
                <a:spcPct val="0"/>
              </a:spcAft>
              <a:defRPr sz="2400">
                <a:solidFill>
                  <a:schemeClr val="tx1"/>
                </a:solidFill>
                <a:latin typeface="Arial" pitchFamily="34" charset="0"/>
              </a:defRPr>
            </a:lvl8pPr>
            <a:lvl9pPr marL="3886200" indent="-228600" fontAlgn="base">
              <a:spcBef>
                <a:spcPct val="0"/>
              </a:spcBef>
              <a:spcAft>
                <a:spcPct val="0"/>
              </a:spcAft>
              <a:defRPr sz="2400">
                <a:solidFill>
                  <a:schemeClr val="tx1"/>
                </a:solidFill>
                <a:latin typeface="Arial" pitchFamily="34" charset="0"/>
              </a:defRPr>
            </a:lvl9pPr>
          </a:lstStyle>
          <a:p>
            <a:r>
              <a:rPr lang="en-US" sz="900" dirty="0">
                <a:solidFill>
                  <a:srgbClr val="000000"/>
                </a:solidFill>
                <a:latin typeface="Arial"/>
              </a:rPr>
              <a:t>Cultural interventions</a:t>
            </a:r>
          </a:p>
        </p:txBody>
      </p:sp>
      <p:pic>
        <p:nvPicPr>
          <p:cNvPr id="1239078" name="Picture 74"/>
          <p:cNvPicPr>
            <a:picLocks noChangeArrowheads="1"/>
          </p:cNvPicPr>
          <p:nvPr/>
        </p:nvPicPr>
        <p:blipFill>
          <a:blip r:embed="rId24" cstate="email">
            <a:extLst>
              <a:ext uri="{28A0092B-C50C-407E-A947-70E740481C1C}">
                <a14:useLocalDpi xmlns:a14="http://schemas.microsoft.com/office/drawing/2010/main"/>
              </a:ext>
            </a:extLst>
          </a:blip>
          <a:srcRect/>
          <a:stretch>
            <a:fillRect/>
          </a:stretch>
        </p:blipFill>
        <p:spPr bwMode="gray">
          <a:xfrm>
            <a:off x="7810962" y="1560367"/>
            <a:ext cx="720257" cy="544005"/>
          </a:xfrm>
          <a:prstGeom prst="rect">
            <a:avLst/>
          </a:prstGeom>
          <a:noFill/>
          <a:ln>
            <a:noFill/>
          </a:ln>
          <a:effectLst>
            <a:outerShdw blurRad="63500" sx="102000" sy="102000" algn="ctr" rotWithShape="0">
              <a:prstClr val="black">
                <a:alpha val="40000"/>
              </a:prst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94" name="Rectangle 46"/>
          <p:cNvSpPr>
            <a:spLocks noChangeArrowheads="1"/>
          </p:cNvSpPr>
          <p:nvPr/>
        </p:nvSpPr>
        <p:spPr bwMode="auto">
          <a:xfrm>
            <a:off x="7810962" y="2132391"/>
            <a:ext cx="806021"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spAutoFit/>
          </a:bodyPr>
          <a:lstStyle>
            <a:lvl1pPr>
              <a:defRPr sz="2400">
                <a:solidFill>
                  <a:schemeClr val="tx1"/>
                </a:solidFill>
                <a:latin typeface="Arial" pitchFamily="34" charset="0"/>
              </a:defRPr>
            </a:lvl1pPr>
            <a:lvl2pPr marL="742950" indent="-285750">
              <a:defRPr sz="2400">
                <a:solidFill>
                  <a:schemeClr val="tx1"/>
                </a:solidFill>
                <a:latin typeface="Arial" pitchFamily="34" charset="0"/>
              </a:defRPr>
            </a:lvl2pPr>
            <a:lvl3pPr marL="1143000" indent="-228600">
              <a:defRPr sz="2400">
                <a:solidFill>
                  <a:schemeClr val="tx1"/>
                </a:solidFill>
                <a:latin typeface="Arial" pitchFamily="34" charset="0"/>
              </a:defRPr>
            </a:lvl3pPr>
            <a:lvl4pPr marL="1600200" indent="-228600">
              <a:defRPr sz="2400">
                <a:solidFill>
                  <a:schemeClr val="tx1"/>
                </a:solidFill>
                <a:latin typeface="Arial" pitchFamily="34" charset="0"/>
              </a:defRPr>
            </a:lvl4pPr>
            <a:lvl5pPr marL="2057400" indent="-228600">
              <a:defRPr sz="2400">
                <a:solidFill>
                  <a:schemeClr val="tx1"/>
                </a:solidFill>
                <a:latin typeface="Arial" pitchFamily="34" charset="0"/>
              </a:defRPr>
            </a:lvl5pPr>
            <a:lvl6pPr marL="2514600" indent="-228600" fontAlgn="base">
              <a:spcBef>
                <a:spcPct val="0"/>
              </a:spcBef>
              <a:spcAft>
                <a:spcPct val="0"/>
              </a:spcAft>
              <a:defRPr sz="2400">
                <a:solidFill>
                  <a:schemeClr val="tx1"/>
                </a:solidFill>
                <a:latin typeface="Arial" pitchFamily="34" charset="0"/>
              </a:defRPr>
            </a:lvl6pPr>
            <a:lvl7pPr marL="2971800" indent="-228600" fontAlgn="base">
              <a:spcBef>
                <a:spcPct val="0"/>
              </a:spcBef>
              <a:spcAft>
                <a:spcPct val="0"/>
              </a:spcAft>
              <a:defRPr sz="2400">
                <a:solidFill>
                  <a:schemeClr val="tx1"/>
                </a:solidFill>
                <a:latin typeface="Arial" pitchFamily="34" charset="0"/>
              </a:defRPr>
            </a:lvl7pPr>
            <a:lvl8pPr marL="3429000" indent="-228600" fontAlgn="base">
              <a:spcBef>
                <a:spcPct val="0"/>
              </a:spcBef>
              <a:spcAft>
                <a:spcPct val="0"/>
              </a:spcAft>
              <a:defRPr sz="2400">
                <a:solidFill>
                  <a:schemeClr val="tx1"/>
                </a:solidFill>
                <a:latin typeface="Arial" pitchFamily="34" charset="0"/>
              </a:defRPr>
            </a:lvl8pPr>
            <a:lvl9pPr marL="3886200" indent="-228600" fontAlgn="base">
              <a:spcBef>
                <a:spcPct val="0"/>
              </a:spcBef>
              <a:spcAft>
                <a:spcPct val="0"/>
              </a:spcAft>
              <a:defRPr sz="2400">
                <a:solidFill>
                  <a:schemeClr val="tx1"/>
                </a:solidFill>
                <a:latin typeface="Arial" pitchFamily="34" charset="0"/>
              </a:defRPr>
            </a:lvl9pPr>
          </a:lstStyle>
          <a:p>
            <a:r>
              <a:rPr lang="en-US" sz="900" dirty="0">
                <a:solidFill>
                  <a:srgbClr val="000000"/>
                </a:solidFill>
                <a:latin typeface="Arial"/>
              </a:rPr>
              <a:t>Synergy tracking</a:t>
            </a:r>
          </a:p>
        </p:txBody>
      </p:sp>
      <p:sp>
        <p:nvSpPr>
          <p:cNvPr id="201" name="Rectangle 37"/>
          <p:cNvSpPr>
            <a:spLocks noChangeArrowheads="1"/>
          </p:cNvSpPr>
          <p:nvPr/>
        </p:nvSpPr>
        <p:spPr bwMode="auto">
          <a:xfrm>
            <a:off x="7810962" y="4412480"/>
            <a:ext cx="806021" cy="2631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spAutoFit/>
          </a:bodyPr>
          <a:lstStyle>
            <a:lvl1pPr>
              <a:defRPr sz="2400">
                <a:solidFill>
                  <a:schemeClr val="tx1"/>
                </a:solidFill>
                <a:latin typeface="Arial" pitchFamily="34" charset="0"/>
              </a:defRPr>
            </a:lvl1pPr>
            <a:lvl2pPr marL="742950" indent="-285750">
              <a:defRPr sz="2400">
                <a:solidFill>
                  <a:schemeClr val="tx1"/>
                </a:solidFill>
                <a:latin typeface="Arial" pitchFamily="34" charset="0"/>
              </a:defRPr>
            </a:lvl2pPr>
            <a:lvl3pPr marL="1143000" indent="-228600">
              <a:defRPr sz="2400">
                <a:solidFill>
                  <a:schemeClr val="tx1"/>
                </a:solidFill>
                <a:latin typeface="Arial" pitchFamily="34" charset="0"/>
              </a:defRPr>
            </a:lvl3pPr>
            <a:lvl4pPr marL="1600200" indent="-228600">
              <a:defRPr sz="2400">
                <a:solidFill>
                  <a:schemeClr val="tx1"/>
                </a:solidFill>
                <a:latin typeface="Arial" pitchFamily="34" charset="0"/>
              </a:defRPr>
            </a:lvl4pPr>
            <a:lvl5pPr marL="2057400" indent="-228600">
              <a:defRPr sz="2400">
                <a:solidFill>
                  <a:schemeClr val="tx1"/>
                </a:solidFill>
                <a:latin typeface="Arial" pitchFamily="34" charset="0"/>
              </a:defRPr>
            </a:lvl5pPr>
            <a:lvl6pPr marL="2514600" indent="-228600" fontAlgn="base">
              <a:spcBef>
                <a:spcPct val="0"/>
              </a:spcBef>
              <a:spcAft>
                <a:spcPct val="0"/>
              </a:spcAft>
              <a:defRPr sz="2400">
                <a:solidFill>
                  <a:schemeClr val="tx1"/>
                </a:solidFill>
                <a:latin typeface="Arial" pitchFamily="34" charset="0"/>
              </a:defRPr>
            </a:lvl6pPr>
            <a:lvl7pPr marL="2971800" indent="-228600" fontAlgn="base">
              <a:spcBef>
                <a:spcPct val="0"/>
              </a:spcBef>
              <a:spcAft>
                <a:spcPct val="0"/>
              </a:spcAft>
              <a:defRPr sz="2400">
                <a:solidFill>
                  <a:schemeClr val="tx1"/>
                </a:solidFill>
                <a:latin typeface="Arial" pitchFamily="34" charset="0"/>
              </a:defRPr>
            </a:lvl7pPr>
            <a:lvl8pPr marL="3429000" indent="-228600" fontAlgn="base">
              <a:spcBef>
                <a:spcPct val="0"/>
              </a:spcBef>
              <a:spcAft>
                <a:spcPct val="0"/>
              </a:spcAft>
              <a:defRPr sz="2400">
                <a:solidFill>
                  <a:schemeClr val="tx1"/>
                </a:solidFill>
                <a:latin typeface="Arial" pitchFamily="34" charset="0"/>
              </a:defRPr>
            </a:lvl8pPr>
            <a:lvl9pPr marL="3886200" indent="-228600" fontAlgn="base">
              <a:spcBef>
                <a:spcPct val="0"/>
              </a:spcBef>
              <a:spcAft>
                <a:spcPct val="0"/>
              </a:spcAft>
              <a:defRPr sz="2400">
                <a:solidFill>
                  <a:schemeClr val="tx1"/>
                </a:solidFill>
                <a:latin typeface="Arial" pitchFamily="34" charset="0"/>
              </a:defRPr>
            </a:lvl9pPr>
          </a:lstStyle>
          <a:p>
            <a:pPr>
              <a:lnSpc>
                <a:spcPct val="95000"/>
              </a:lnSpc>
            </a:pPr>
            <a:r>
              <a:rPr lang="en-US" sz="900" dirty="0">
                <a:solidFill>
                  <a:srgbClr val="000000"/>
                </a:solidFill>
                <a:latin typeface="Arial"/>
              </a:rPr>
              <a:t>Integration checkup</a:t>
            </a:r>
          </a:p>
        </p:txBody>
      </p:sp>
      <p:pic>
        <p:nvPicPr>
          <p:cNvPr id="21" name="Picture 20"/>
          <p:cNvPicPr>
            <a:picLocks/>
          </p:cNvPicPr>
          <p:nvPr/>
        </p:nvPicPr>
        <p:blipFill>
          <a:blip r:embed="rId25" cstate="screen">
            <a:extLst>
              <a:ext uri="{28A0092B-C50C-407E-A947-70E740481C1C}">
                <a14:useLocalDpi xmlns:a14="http://schemas.microsoft.com/office/drawing/2010/main"/>
              </a:ext>
            </a:extLst>
          </a:blip>
          <a:stretch>
            <a:fillRect/>
          </a:stretch>
        </p:blipFill>
        <p:spPr>
          <a:xfrm>
            <a:off x="7810962" y="3840056"/>
            <a:ext cx="720257" cy="544005"/>
          </a:xfrm>
          <a:prstGeom prst="rect">
            <a:avLst/>
          </a:prstGeom>
          <a:effectLst>
            <a:outerShdw blurRad="63500" sx="102000" sy="102000" algn="ctr" rotWithShape="0">
              <a:prstClr val="black">
                <a:alpha val="40000"/>
              </a:prstClr>
            </a:outerShdw>
          </a:effectLst>
        </p:spPr>
      </p:pic>
      <p:cxnSp>
        <p:nvCxnSpPr>
          <p:cNvPr id="251" name="Straight Connector 250"/>
          <p:cNvCxnSpPr/>
          <p:nvPr/>
        </p:nvCxnSpPr>
        <p:spPr>
          <a:xfrm>
            <a:off x="7810924" y="5761751"/>
            <a:ext cx="0" cy="475653"/>
          </a:xfrm>
          <a:prstGeom prst="line">
            <a:avLst/>
          </a:prstGeom>
          <a:ln w="9525" cap="sq">
            <a:solidFill>
              <a:srgbClr val="808080"/>
            </a:solidFill>
            <a:prstDash val="sysDot"/>
          </a:ln>
        </p:spPr>
        <p:style>
          <a:lnRef idx="1">
            <a:schemeClr val="accent1"/>
          </a:lnRef>
          <a:fillRef idx="0">
            <a:schemeClr val="accent1"/>
          </a:fillRef>
          <a:effectRef idx="0">
            <a:schemeClr val="accent1"/>
          </a:effectRef>
          <a:fontRef idx="minor">
            <a:schemeClr val="tx1"/>
          </a:fontRef>
        </p:style>
      </p:cxnSp>
      <p:sp>
        <p:nvSpPr>
          <p:cNvPr id="226" name="Rectangle 110"/>
          <p:cNvSpPr>
            <a:spLocks noChangeArrowheads="1"/>
          </p:cNvSpPr>
          <p:nvPr/>
        </p:nvSpPr>
        <p:spPr bwMode="auto">
          <a:xfrm>
            <a:off x="1311420" y="5791828"/>
            <a:ext cx="619231" cy="4154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spAutoFit/>
          </a:bodyPr>
          <a:lstStyle>
            <a:lvl1pPr>
              <a:defRPr sz="2400">
                <a:solidFill>
                  <a:schemeClr val="tx1"/>
                </a:solidFill>
                <a:latin typeface="Arial" pitchFamily="34" charset="0"/>
              </a:defRPr>
            </a:lvl1pPr>
            <a:lvl2pPr marL="742950" indent="-285750">
              <a:defRPr sz="2400">
                <a:solidFill>
                  <a:schemeClr val="tx1"/>
                </a:solidFill>
                <a:latin typeface="Arial" pitchFamily="34" charset="0"/>
              </a:defRPr>
            </a:lvl2pPr>
            <a:lvl3pPr marL="1143000" indent="-228600">
              <a:defRPr sz="2400">
                <a:solidFill>
                  <a:schemeClr val="tx1"/>
                </a:solidFill>
                <a:latin typeface="Arial" pitchFamily="34" charset="0"/>
              </a:defRPr>
            </a:lvl3pPr>
            <a:lvl4pPr marL="1600200" indent="-228600">
              <a:defRPr sz="2400">
                <a:solidFill>
                  <a:schemeClr val="tx1"/>
                </a:solidFill>
                <a:latin typeface="Arial" pitchFamily="34" charset="0"/>
              </a:defRPr>
            </a:lvl4pPr>
            <a:lvl5pPr marL="2057400" indent="-228600">
              <a:defRPr sz="2400">
                <a:solidFill>
                  <a:schemeClr val="tx1"/>
                </a:solidFill>
                <a:latin typeface="Arial" pitchFamily="34" charset="0"/>
              </a:defRPr>
            </a:lvl5pPr>
            <a:lvl6pPr marL="2514600" indent="-228600" fontAlgn="base">
              <a:spcBef>
                <a:spcPct val="0"/>
              </a:spcBef>
              <a:spcAft>
                <a:spcPct val="0"/>
              </a:spcAft>
              <a:defRPr sz="2400">
                <a:solidFill>
                  <a:schemeClr val="tx1"/>
                </a:solidFill>
                <a:latin typeface="Arial" pitchFamily="34" charset="0"/>
              </a:defRPr>
            </a:lvl6pPr>
            <a:lvl7pPr marL="2971800" indent="-228600" fontAlgn="base">
              <a:spcBef>
                <a:spcPct val="0"/>
              </a:spcBef>
              <a:spcAft>
                <a:spcPct val="0"/>
              </a:spcAft>
              <a:defRPr sz="2400">
                <a:solidFill>
                  <a:schemeClr val="tx1"/>
                </a:solidFill>
                <a:latin typeface="Arial" pitchFamily="34" charset="0"/>
              </a:defRPr>
            </a:lvl7pPr>
            <a:lvl8pPr marL="3429000" indent="-228600" fontAlgn="base">
              <a:spcBef>
                <a:spcPct val="0"/>
              </a:spcBef>
              <a:spcAft>
                <a:spcPct val="0"/>
              </a:spcAft>
              <a:defRPr sz="2400">
                <a:solidFill>
                  <a:schemeClr val="tx1"/>
                </a:solidFill>
                <a:latin typeface="Arial" pitchFamily="34" charset="0"/>
              </a:defRPr>
            </a:lvl8pPr>
            <a:lvl9pPr marL="3886200" indent="-228600" fontAlgn="base">
              <a:spcBef>
                <a:spcPct val="0"/>
              </a:spcBef>
              <a:spcAft>
                <a:spcPct val="0"/>
              </a:spcAft>
              <a:defRPr sz="2400">
                <a:solidFill>
                  <a:schemeClr val="tx1"/>
                </a:solidFill>
                <a:latin typeface="Arial" pitchFamily="34" charset="0"/>
              </a:defRPr>
            </a:lvl9pPr>
          </a:lstStyle>
          <a:p>
            <a:r>
              <a:rPr lang="en-US" sz="900" dirty="0">
                <a:solidFill>
                  <a:srgbClr val="000000"/>
                </a:solidFill>
                <a:latin typeface="Arial"/>
              </a:rPr>
              <a:t>Integration Leadership Forum</a:t>
            </a:r>
          </a:p>
        </p:txBody>
      </p:sp>
      <p:sp>
        <p:nvSpPr>
          <p:cNvPr id="1239131" name="Rectangle 153"/>
          <p:cNvSpPr>
            <a:spLocks noChangeArrowheads="1"/>
          </p:cNvSpPr>
          <p:nvPr/>
        </p:nvSpPr>
        <p:spPr bwMode="auto">
          <a:xfrm>
            <a:off x="1493924" y="3044073"/>
            <a:ext cx="787282" cy="2492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spAutoFit/>
          </a:bodyPr>
          <a:lstStyle>
            <a:lvl1pPr>
              <a:defRPr sz="2400">
                <a:solidFill>
                  <a:schemeClr val="tx1"/>
                </a:solidFill>
                <a:latin typeface="Arial" pitchFamily="34" charset="0"/>
              </a:defRPr>
            </a:lvl1pPr>
            <a:lvl2pPr marL="742950" indent="-285750">
              <a:defRPr sz="2400">
                <a:solidFill>
                  <a:schemeClr val="tx1"/>
                </a:solidFill>
                <a:latin typeface="Arial" pitchFamily="34" charset="0"/>
              </a:defRPr>
            </a:lvl2pPr>
            <a:lvl3pPr marL="1143000" indent="-228600">
              <a:defRPr sz="2400">
                <a:solidFill>
                  <a:schemeClr val="tx1"/>
                </a:solidFill>
                <a:latin typeface="Arial" pitchFamily="34" charset="0"/>
              </a:defRPr>
            </a:lvl3pPr>
            <a:lvl4pPr marL="1600200" indent="-228600">
              <a:defRPr sz="2400">
                <a:solidFill>
                  <a:schemeClr val="tx1"/>
                </a:solidFill>
                <a:latin typeface="Arial" pitchFamily="34" charset="0"/>
              </a:defRPr>
            </a:lvl4pPr>
            <a:lvl5pPr marL="2057400" indent="-228600">
              <a:defRPr sz="2400">
                <a:solidFill>
                  <a:schemeClr val="tx1"/>
                </a:solidFill>
                <a:latin typeface="Arial" pitchFamily="34" charset="0"/>
              </a:defRPr>
            </a:lvl5pPr>
            <a:lvl6pPr marL="2514600" indent="-228600" fontAlgn="base">
              <a:spcBef>
                <a:spcPct val="0"/>
              </a:spcBef>
              <a:spcAft>
                <a:spcPct val="0"/>
              </a:spcAft>
              <a:defRPr sz="2400">
                <a:solidFill>
                  <a:schemeClr val="tx1"/>
                </a:solidFill>
                <a:latin typeface="Arial" pitchFamily="34" charset="0"/>
              </a:defRPr>
            </a:lvl6pPr>
            <a:lvl7pPr marL="2971800" indent="-228600" fontAlgn="base">
              <a:spcBef>
                <a:spcPct val="0"/>
              </a:spcBef>
              <a:spcAft>
                <a:spcPct val="0"/>
              </a:spcAft>
              <a:defRPr sz="2400">
                <a:solidFill>
                  <a:schemeClr val="tx1"/>
                </a:solidFill>
                <a:latin typeface="Arial" pitchFamily="34" charset="0"/>
              </a:defRPr>
            </a:lvl7pPr>
            <a:lvl8pPr marL="3429000" indent="-228600" fontAlgn="base">
              <a:spcBef>
                <a:spcPct val="0"/>
              </a:spcBef>
              <a:spcAft>
                <a:spcPct val="0"/>
              </a:spcAft>
              <a:defRPr sz="2400">
                <a:solidFill>
                  <a:schemeClr val="tx1"/>
                </a:solidFill>
                <a:latin typeface="Arial" pitchFamily="34" charset="0"/>
              </a:defRPr>
            </a:lvl8pPr>
            <a:lvl9pPr marL="3886200" indent="-228600" fontAlgn="base">
              <a:spcBef>
                <a:spcPct val="0"/>
              </a:spcBef>
              <a:spcAft>
                <a:spcPct val="0"/>
              </a:spcAft>
              <a:defRPr sz="2400">
                <a:solidFill>
                  <a:schemeClr val="tx1"/>
                </a:solidFill>
                <a:latin typeface="Arial" pitchFamily="34" charset="0"/>
              </a:defRPr>
            </a:lvl9pPr>
          </a:lstStyle>
          <a:p>
            <a:pPr>
              <a:lnSpc>
                <a:spcPct val="90000"/>
              </a:lnSpc>
            </a:pPr>
            <a:r>
              <a:rPr lang="en-US" sz="900" dirty="0">
                <a:solidFill>
                  <a:srgbClr val="000000"/>
                </a:solidFill>
                <a:latin typeface="Arial"/>
              </a:rPr>
              <a:t>Organizational</a:t>
            </a:r>
            <a:br>
              <a:rPr lang="en-US" sz="900" dirty="0">
                <a:solidFill>
                  <a:srgbClr val="000000"/>
                </a:solidFill>
                <a:latin typeface="Arial"/>
              </a:rPr>
            </a:br>
            <a:r>
              <a:rPr lang="en-US" sz="900" dirty="0">
                <a:solidFill>
                  <a:srgbClr val="000000"/>
                </a:solidFill>
                <a:latin typeface="Arial"/>
              </a:rPr>
              <a:t>Health Index</a:t>
            </a:r>
          </a:p>
        </p:txBody>
      </p:sp>
      <p:pic>
        <p:nvPicPr>
          <p:cNvPr id="12" name="Picture 11"/>
          <p:cNvPicPr>
            <a:picLocks/>
          </p:cNvPicPr>
          <p:nvPr/>
        </p:nvPicPr>
        <p:blipFill>
          <a:blip r:embed="rId26" cstate="screen">
            <a:extLst>
              <a:ext uri="{28A0092B-C50C-407E-A947-70E740481C1C}">
                <a14:useLocalDpi xmlns:a14="http://schemas.microsoft.com/office/drawing/2010/main"/>
              </a:ext>
            </a:extLst>
          </a:blip>
          <a:stretch>
            <a:fillRect/>
          </a:stretch>
        </p:blipFill>
        <p:spPr>
          <a:xfrm>
            <a:off x="1645413" y="2752588"/>
            <a:ext cx="471731" cy="276325"/>
          </a:xfrm>
          <a:prstGeom prst="rect">
            <a:avLst/>
          </a:prstGeom>
          <a:effectLst>
            <a:outerShdw blurRad="63500" sx="102000" sy="102000" algn="ctr" rotWithShape="0">
              <a:prstClr val="black">
                <a:alpha val="40000"/>
              </a:prstClr>
            </a:outerShdw>
          </a:effectLst>
        </p:spPr>
      </p:pic>
      <p:sp>
        <p:nvSpPr>
          <p:cNvPr id="1239101" name="Rectangle 54"/>
          <p:cNvSpPr>
            <a:spLocks noChangeArrowheads="1"/>
          </p:cNvSpPr>
          <p:nvPr/>
        </p:nvSpPr>
        <p:spPr bwMode="auto">
          <a:xfrm>
            <a:off x="3387138" y="3099473"/>
            <a:ext cx="662201"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spAutoFit/>
          </a:bodyPr>
          <a:lstStyle>
            <a:lvl1pPr>
              <a:defRPr sz="2400">
                <a:solidFill>
                  <a:schemeClr val="tx1"/>
                </a:solidFill>
                <a:latin typeface="Arial" pitchFamily="34" charset="0"/>
              </a:defRPr>
            </a:lvl1pPr>
            <a:lvl2pPr marL="742950" indent="-285750">
              <a:defRPr sz="2400">
                <a:solidFill>
                  <a:schemeClr val="tx1"/>
                </a:solidFill>
                <a:latin typeface="Arial" pitchFamily="34" charset="0"/>
              </a:defRPr>
            </a:lvl2pPr>
            <a:lvl3pPr marL="1143000" indent="-228600">
              <a:defRPr sz="2400">
                <a:solidFill>
                  <a:schemeClr val="tx1"/>
                </a:solidFill>
                <a:latin typeface="Arial" pitchFamily="34" charset="0"/>
              </a:defRPr>
            </a:lvl3pPr>
            <a:lvl4pPr marL="1600200" indent="-228600">
              <a:defRPr sz="2400">
                <a:solidFill>
                  <a:schemeClr val="tx1"/>
                </a:solidFill>
                <a:latin typeface="Arial" pitchFamily="34" charset="0"/>
              </a:defRPr>
            </a:lvl4pPr>
            <a:lvl5pPr marL="2057400" indent="-228600">
              <a:defRPr sz="2400">
                <a:solidFill>
                  <a:schemeClr val="tx1"/>
                </a:solidFill>
                <a:latin typeface="Arial" pitchFamily="34" charset="0"/>
              </a:defRPr>
            </a:lvl5pPr>
            <a:lvl6pPr marL="2514600" indent="-228600" fontAlgn="base">
              <a:spcBef>
                <a:spcPct val="0"/>
              </a:spcBef>
              <a:spcAft>
                <a:spcPct val="0"/>
              </a:spcAft>
              <a:defRPr sz="2400">
                <a:solidFill>
                  <a:schemeClr val="tx1"/>
                </a:solidFill>
                <a:latin typeface="Arial" pitchFamily="34" charset="0"/>
              </a:defRPr>
            </a:lvl6pPr>
            <a:lvl7pPr marL="2971800" indent="-228600" fontAlgn="base">
              <a:spcBef>
                <a:spcPct val="0"/>
              </a:spcBef>
              <a:spcAft>
                <a:spcPct val="0"/>
              </a:spcAft>
              <a:defRPr sz="2400">
                <a:solidFill>
                  <a:schemeClr val="tx1"/>
                </a:solidFill>
                <a:latin typeface="Arial" pitchFamily="34" charset="0"/>
              </a:defRPr>
            </a:lvl7pPr>
            <a:lvl8pPr marL="3429000" indent="-228600" fontAlgn="base">
              <a:spcBef>
                <a:spcPct val="0"/>
              </a:spcBef>
              <a:spcAft>
                <a:spcPct val="0"/>
              </a:spcAft>
              <a:defRPr sz="2400">
                <a:solidFill>
                  <a:schemeClr val="tx1"/>
                </a:solidFill>
                <a:latin typeface="Arial" pitchFamily="34" charset="0"/>
              </a:defRPr>
            </a:lvl8pPr>
            <a:lvl9pPr marL="3886200" indent="-228600" fontAlgn="base">
              <a:spcBef>
                <a:spcPct val="0"/>
              </a:spcBef>
              <a:spcAft>
                <a:spcPct val="0"/>
              </a:spcAft>
              <a:defRPr sz="2400">
                <a:solidFill>
                  <a:schemeClr val="tx1"/>
                </a:solidFill>
                <a:latin typeface="Arial" pitchFamily="34" charset="0"/>
              </a:defRPr>
            </a:lvl9pPr>
          </a:lstStyle>
          <a:p>
            <a:r>
              <a:rPr lang="en-US" sz="900" dirty="0" err="1">
                <a:solidFill>
                  <a:srgbClr val="000000"/>
                </a:solidFill>
                <a:latin typeface="Arial"/>
              </a:rPr>
              <a:t>OrgLab</a:t>
            </a:r>
            <a:r>
              <a:rPr lang="en-US" sz="900" dirty="0">
                <a:solidFill>
                  <a:srgbClr val="000000"/>
                </a:solidFill>
                <a:latin typeface="Arial"/>
              </a:rPr>
              <a:t> tool</a:t>
            </a:r>
          </a:p>
        </p:txBody>
      </p:sp>
      <p:pic>
        <p:nvPicPr>
          <p:cNvPr id="13" name="Picture 12"/>
          <p:cNvPicPr>
            <a:picLocks/>
          </p:cNvPicPr>
          <p:nvPr/>
        </p:nvPicPr>
        <p:blipFill rotWithShape="1">
          <a:blip r:embed="rId27" cstate="screen">
            <a:extLst>
              <a:ext uri="{28A0092B-C50C-407E-A947-70E740481C1C}">
                <a14:useLocalDpi xmlns:a14="http://schemas.microsoft.com/office/drawing/2010/main"/>
              </a:ext>
            </a:extLst>
          </a:blip>
          <a:srcRect/>
          <a:stretch/>
        </p:blipFill>
        <p:spPr>
          <a:xfrm>
            <a:off x="3482373" y="2752588"/>
            <a:ext cx="471731" cy="276325"/>
          </a:xfrm>
          <a:prstGeom prst="rect">
            <a:avLst/>
          </a:prstGeom>
          <a:effectLst>
            <a:outerShdw blurRad="63500" sx="102000" sy="102000" algn="ctr" rotWithShape="0">
              <a:prstClr val="black">
                <a:alpha val="40000"/>
              </a:prstClr>
            </a:outerShdw>
          </a:effectLst>
        </p:spPr>
      </p:pic>
      <p:sp>
        <p:nvSpPr>
          <p:cNvPr id="1239099" name="Rectangle 52"/>
          <p:cNvSpPr>
            <a:spLocks noChangeArrowheads="1"/>
          </p:cNvSpPr>
          <p:nvPr/>
        </p:nvSpPr>
        <p:spPr bwMode="auto">
          <a:xfrm>
            <a:off x="2416977" y="3038250"/>
            <a:ext cx="828104"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t" anchorCtr="0">
            <a:spAutoFit/>
          </a:bodyPr>
          <a:lstStyle>
            <a:lvl1pPr>
              <a:defRPr sz="2400">
                <a:solidFill>
                  <a:schemeClr val="tx1"/>
                </a:solidFill>
                <a:latin typeface="Arial" pitchFamily="34" charset="0"/>
              </a:defRPr>
            </a:lvl1pPr>
            <a:lvl2pPr marL="742950" indent="-285750">
              <a:defRPr sz="2400">
                <a:solidFill>
                  <a:schemeClr val="tx1"/>
                </a:solidFill>
                <a:latin typeface="Arial" pitchFamily="34" charset="0"/>
              </a:defRPr>
            </a:lvl2pPr>
            <a:lvl3pPr marL="1143000" indent="-228600">
              <a:defRPr sz="2400">
                <a:solidFill>
                  <a:schemeClr val="tx1"/>
                </a:solidFill>
                <a:latin typeface="Arial" pitchFamily="34" charset="0"/>
              </a:defRPr>
            </a:lvl3pPr>
            <a:lvl4pPr marL="1600200" indent="-228600">
              <a:defRPr sz="2400">
                <a:solidFill>
                  <a:schemeClr val="tx1"/>
                </a:solidFill>
                <a:latin typeface="Arial" pitchFamily="34" charset="0"/>
              </a:defRPr>
            </a:lvl4pPr>
            <a:lvl5pPr marL="2057400" indent="-228600">
              <a:defRPr sz="2400">
                <a:solidFill>
                  <a:schemeClr val="tx1"/>
                </a:solidFill>
                <a:latin typeface="Arial" pitchFamily="34" charset="0"/>
              </a:defRPr>
            </a:lvl5pPr>
            <a:lvl6pPr marL="2514600" indent="-228600" fontAlgn="base">
              <a:spcBef>
                <a:spcPct val="0"/>
              </a:spcBef>
              <a:spcAft>
                <a:spcPct val="0"/>
              </a:spcAft>
              <a:defRPr sz="2400">
                <a:solidFill>
                  <a:schemeClr val="tx1"/>
                </a:solidFill>
                <a:latin typeface="Arial" pitchFamily="34" charset="0"/>
              </a:defRPr>
            </a:lvl6pPr>
            <a:lvl7pPr marL="2971800" indent="-228600" fontAlgn="base">
              <a:spcBef>
                <a:spcPct val="0"/>
              </a:spcBef>
              <a:spcAft>
                <a:spcPct val="0"/>
              </a:spcAft>
              <a:defRPr sz="2400">
                <a:solidFill>
                  <a:schemeClr val="tx1"/>
                </a:solidFill>
                <a:latin typeface="Arial" pitchFamily="34" charset="0"/>
              </a:defRPr>
            </a:lvl7pPr>
            <a:lvl8pPr marL="3429000" indent="-228600" fontAlgn="base">
              <a:spcBef>
                <a:spcPct val="0"/>
              </a:spcBef>
              <a:spcAft>
                <a:spcPct val="0"/>
              </a:spcAft>
              <a:defRPr sz="2400">
                <a:solidFill>
                  <a:schemeClr val="tx1"/>
                </a:solidFill>
                <a:latin typeface="Arial" pitchFamily="34" charset="0"/>
              </a:defRPr>
            </a:lvl8pPr>
            <a:lvl9pPr marL="3886200" indent="-228600" fontAlgn="base">
              <a:spcBef>
                <a:spcPct val="0"/>
              </a:spcBef>
              <a:spcAft>
                <a:spcPct val="0"/>
              </a:spcAft>
              <a:defRPr sz="2400">
                <a:solidFill>
                  <a:schemeClr val="tx1"/>
                </a:solidFill>
                <a:latin typeface="Arial" pitchFamily="34" charset="0"/>
              </a:defRPr>
            </a:lvl9pPr>
          </a:lstStyle>
          <a:p>
            <a:r>
              <a:rPr lang="en-US" sz="900" dirty="0">
                <a:solidFill>
                  <a:srgbClr val="000000"/>
                </a:solidFill>
                <a:latin typeface="Arial"/>
              </a:rPr>
              <a:t>Communication</a:t>
            </a:r>
            <a:br>
              <a:rPr lang="en-US" sz="900" dirty="0">
                <a:solidFill>
                  <a:srgbClr val="000000"/>
                </a:solidFill>
                <a:latin typeface="Arial"/>
              </a:rPr>
            </a:br>
            <a:r>
              <a:rPr lang="en-US" sz="900" dirty="0">
                <a:solidFill>
                  <a:srgbClr val="000000"/>
                </a:solidFill>
                <a:latin typeface="Arial"/>
              </a:rPr>
              <a:t>templates</a:t>
            </a:r>
          </a:p>
        </p:txBody>
      </p:sp>
      <p:pic>
        <p:nvPicPr>
          <p:cNvPr id="160" name="Picture 159"/>
          <p:cNvPicPr>
            <a:picLocks/>
          </p:cNvPicPr>
          <p:nvPr/>
        </p:nvPicPr>
        <p:blipFill rotWithShape="1">
          <a:blip r:embed="rId28" cstate="screen">
            <a:extLst>
              <a:ext uri="{28A0092B-C50C-407E-A947-70E740481C1C}">
                <a14:useLocalDpi xmlns:a14="http://schemas.microsoft.com/office/drawing/2010/main"/>
              </a:ext>
            </a:extLst>
          </a:blip>
          <a:srcRect/>
          <a:stretch/>
        </p:blipFill>
        <p:spPr>
          <a:xfrm>
            <a:off x="2595163" y="2752588"/>
            <a:ext cx="471731" cy="276325"/>
          </a:xfrm>
          <a:prstGeom prst="rect">
            <a:avLst/>
          </a:prstGeom>
          <a:effectLst>
            <a:outerShdw blurRad="63500" sx="102000" sy="102000" algn="ctr" rotWithShape="0">
              <a:prstClr val="black">
                <a:alpha val="40000"/>
              </a:prstClr>
            </a:outerShdw>
          </a:effectLst>
        </p:spPr>
      </p:pic>
      <p:sp>
        <p:nvSpPr>
          <p:cNvPr id="185" name="Rectangle 153"/>
          <p:cNvSpPr>
            <a:spLocks noChangeArrowheads="1"/>
          </p:cNvSpPr>
          <p:nvPr/>
        </p:nvSpPr>
        <p:spPr bwMode="auto">
          <a:xfrm>
            <a:off x="4191397" y="3106397"/>
            <a:ext cx="999128" cy="12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spAutoFit/>
          </a:bodyPr>
          <a:lstStyle>
            <a:lvl1pPr>
              <a:defRPr sz="2400">
                <a:solidFill>
                  <a:schemeClr val="tx1"/>
                </a:solidFill>
                <a:latin typeface="Arial" pitchFamily="34" charset="0"/>
              </a:defRPr>
            </a:lvl1pPr>
            <a:lvl2pPr marL="742950" indent="-285750">
              <a:defRPr sz="2400">
                <a:solidFill>
                  <a:schemeClr val="tx1"/>
                </a:solidFill>
                <a:latin typeface="Arial" pitchFamily="34" charset="0"/>
              </a:defRPr>
            </a:lvl2pPr>
            <a:lvl3pPr marL="1143000" indent="-228600">
              <a:defRPr sz="2400">
                <a:solidFill>
                  <a:schemeClr val="tx1"/>
                </a:solidFill>
                <a:latin typeface="Arial" pitchFamily="34" charset="0"/>
              </a:defRPr>
            </a:lvl3pPr>
            <a:lvl4pPr marL="1600200" indent="-228600">
              <a:defRPr sz="2400">
                <a:solidFill>
                  <a:schemeClr val="tx1"/>
                </a:solidFill>
                <a:latin typeface="Arial" pitchFamily="34" charset="0"/>
              </a:defRPr>
            </a:lvl4pPr>
            <a:lvl5pPr marL="2057400" indent="-228600">
              <a:defRPr sz="2400">
                <a:solidFill>
                  <a:schemeClr val="tx1"/>
                </a:solidFill>
                <a:latin typeface="Arial" pitchFamily="34" charset="0"/>
              </a:defRPr>
            </a:lvl5pPr>
            <a:lvl6pPr marL="2514600" indent="-228600" fontAlgn="base">
              <a:spcBef>
                <a:spcPct val="0"/>
              </a:spcBef>
              <a:spcAft>
                <a:spcPct val="0"/>
              </a:spcAft>
              <a:defRPr sz="2400">
                <a:solidFill>
                  <a:schemeClr val="tx1"/>
                </a:solidFill>
                <a:latin typeface="Arial" pitchFamily="34" charset="0"/>
              </a:defRPr>
            </a:lvl6pPr>
            <a:lvl7pPr marL="2971800" indent="-228600" fontAlgn="base">
              <a:spcBef>
                <a:spcPct val="0"/>
              </a:spcBef>
              <a:spcAft>
                <a:spcPct val="0"/>
              </a:spcAft>
              <a:defRPr sz="2400">
                <a:solidFill>
                  <a:schemeClr val="tx1"/>
                </a:solidFill>
                <a:latin typeface="Arial" pitchFamily="34" charset="0"/>
              </a:defRPr>
            </a:lvl7pPr>
            <a:lvl8pPr marL="3429000" indent="-228600" fontAlgn="base">
              <a:spcBef>
                <a:spcPct val="0"/>
              </a:spcBef>
              <a:spcAft>
                <a:spcPct val="0"/>
              </a:spcAft>
              <a:defRPr sz="2400">
                <a:solidFill>
                  <a:schemeClr val="tx1"/>
                </a:solidFill>
                <a:latin typeface="Arial" pitchFamily="34" charset="0"/>
              </a:defRPr>
            </a:lvl8pPr>
            <a:lvl9pPr marL="3886200" indent="-228600" fontAlgn="base">
              <a:spcBef>
                <a:spcPct val="0"/>
              </a:spcBef>
              <a:spcAft>
                <a:spcPct val="0"/>
              </a:spcAft>
              <a:defRPr sz="2400">
                <a:solidFill>
                  <a:schemeClr val="tx1"/>
                </a:solidFill>
                <a:latin typeface="Arial" pitchFamily="34" charset="0"/>
              </a:defRPr>
            </a:lvl9pPr>
          </a:lstStyle>
          <a:p>
            <a:pPr>
              <a:lnSpc>
                <a:spcPct val="90000"/>
              </a:lnSpc>
            </a:pPr>
            <a:r>
              <a:rPr lang="en-US" sz="900" dirty="0">
                <a:solidFill>
                  <a:srgbClr val="000000"/>
                </a:solidFill>
                <a:latin typeface="Arial"/>
              </a:rPr>
              <a:t>People Analytics</a:t>
            </a:r>
          </a:p>
        </p:txBody>
      </p:sp>
      <p:pic>
        <p:nvPicPr>
          <p:cNvPr id="155" name="Picture 154"/>
          <p:cNvPicPr>
            <a:picLocks/>
          </p:cNvPicPr>
          <p:nvPr/>
        </p:nvPicPr>
        <p:blipFill rotWithShape="1">
          <a:blip r:embed="rId29" cstate="screen">
            <a:extLst>
              <a:ext uri="{28A0092B-C50C-407E-A947-70E740481C1C}">
                <a14:useLocalDpi xmlns:a14="http://schemas.microsoft.com/office/drawing/2010/main"/>
              </a:ext>
            </a:extLst>
          </a:blip>
          <a:srcRect/>
          <a:stretch/>
        </p:blipFill>
        <p:spPr>
          <a:xfrm>
            <a:off x="4455095" y="2752588"/>
            <a:ext cx="471731" cy="276325"/>
          </a:xfrm>
          <a:prstGeom prst="rect">
            <a:avLst/>
          </a:prstGeom>
          <a:effectLst>
            <a:outerShdw blurRad="63500" sx="102000" sy="102000" algn="ctr" rotWithShape="0">
              <a:prstClr val="black">
                <a:alpha val="40000"/>
              </a:prstClr>
            </a:outerShdw>
          </a:effectLst>
        </p:spPr>
      </p:pic>
      <p:sp>
        <p:nvSpPr>
          <p:cNvPr id="1239135" name="Rectangle 25"/>
          <p:cNvSpPr>
            <a:spLocks noChangeArrowheads="1"/>
          </p:cNvSpPr>
          <p:nvPr/>
        </p:nvSpPr>
        <p:spPr bwMode="gray">
          <a:xfrm>
            <a:off x="1516564" y="2430667"/>
            <a:ext cx="5990089"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b" anchorCtr="0">
            <a:spAutoFit/>
          </a:bodyPr>
          <a:lstStyle>
            <a:lvl1pPr defTabSz="787400">
              <a:defRPr sz="2400">
                <a:solidFill>
                  <a:schemeClr val="tx1"/>
                </a:solidFill>
                <a:latin typeface="Arial" pitchFamily="34" charset="0"/>
              </a:defRPr>
            </a:lvl1pPr>
            <a:lvl2pPr marL="133350" indent="-131763" defTabSz="787400">
              <a:defRPr sz="2400">
                <a:solidFill>
                  <a:schemeClr val="tx1"/>
                </a:solidFill>
                <a:latin typeface="Arial" pitchFamily="34" charset="0"/>
              </a:defRPr>
            </a:lvl2pPr>
            <a:lvl3pPr marL="301625" indent="-150813" defTabSz="787400">
              <a:defRPr sz="2400">
                <a:solidFill>
                  <a:schemeClr val="tx1"/>
                </a:solidFill>
                <a:latin typeface="Arial" pitchFamily="34" charset="0"/>
              </a:defRPr>
            </a:lvl3pPr>
            <a:lvl4pPr marL="1600200" indent="-228600" defTabSz="787400">
              <a:defRPr sz="2400">
                <a:solidFill>
                  <a:schemeClr val="tx1"/>
                </a:solidFill>
                <a:latin typeface="Arial" pitchFamily="34" charset="0"/>
              </a:defRPr>
            </a:lvl4pPr>
            <a:lvl5pPr marL="2057400" indent="-228600" defTabSz="787400">
              <a:defRPr sz="2400">
                <a:solidFill>
                  <a:schemeClr val="tx1"/>
                </a:solidFill>
                <a:latin typeface="Arial" pitchFamily="34" charset="0"/>
              </a:defRPr>
            </a:lvl5pPr>
            <a:lvl6pPr marL="2514600" indent="-228600" defTabSz="787400" fontAlgn="base">
              <a:spcBef>
                <a:spcPct val="0"/>
              </a:spcBef>
              <a:spcAft>
                <a:spcPct val="0"/>
              </a:spcAft>
              <a:defRPr sz="2400">
                <a:solidFill>
                  <a:schemeClr val="tx1"/>
                </a:solidFill>
                <a:latin typeface="Arial" pitchFamily="34" charset="0"/>
              </a:defRPr>
            </a:lvl6pPr>
            <a:lvl7pPr marL="2971800" indent="-228600" defTabSz="787400" fontAlgn="base">
              <a:spcBef>
                <a:spcPct val="0"/>
              </a:spcBef>
              <a:spcAft>
                <a:spcPct val="0"/>
              </a:spcAft>
              <a:defRPr sz="2400">
                <a:solidFill>
                  <a:schemeClr val="tx1"/>
                </a:solidFill>
                <a:latin typeface="Arial" pitchFamily="34" charset="0"/>
              </a:defRPr>
            </a:lvl7pPr>
            <a:lvl8pPr marL="3429000" indent="-228600" defTabSz="787400" fontAlgn="base">
              <a:spcBef>
                <a:spcPct val="0"/>
              </a:spcBef>
              <a:spcAft>
                <a:spcPct val="0"/>
              </a:spcAft>
              <a:defRPr sz="2400">
                <a:solidFill>
                  <a:schemeClr val="tx1"/>
                </a:solidFill>
                <a:latin typeface="Arial" pitchFamily="34" charset="0"/>
              </a:defRPr>
            </a:lvl8pPr>
            <a:lvl9pPr marL="3886200" indent="-228600" defTabSz="787400" fontAlgn="base">
              <a:spcBef>
                <a:spcPct val="0"/>
              </a:spcBef>
              <a:spcAft>
                <a:spcPct val="0"/>
              </a:spcAft>
              <a:defRPr sz="2400">
                <a:solidFill>
                  <a:schemeClr val="tx1"/>
                </a:solidFill>
                <a:latin typeface="Arial" pitchFamily="34" charset="0"/>
              </a:defRPr>
            </a:lvl9pPr>
          </a:lstStyle>
          <a:p>
            <a:pPr lvl="1">
              <a:spcBef>
                <a:spcPct val="20000"/>
              </a:spcBef>
              <a:buClr>
                <a:srgbClr val="002960"/>
              </a:buClr>
              <a:buSzPct val="125000"/>
              <a:buFont typeface="Arial" pitchFamily="34" charset="0"/>
              <a:buNone/>
            </a:pPr>
            <a:r>
              <a:rPr lang="en-US" sz="900" b="1" dirty="0">
                <a:solidFill>
                  <a:schemeClr val="accent3"/>
                </a:solidFill>
                <a:latin typeface="Arial"/>
              </a:rPr>
              <a:t>Organization and culture</a:t>
            </a:r>
          </a:p>
        </p:txBody>
      </p:sp>
      <p:cxnSp>
        <p:nvCxnSpPr>
          <p:cNvPr id="157" name="Straight Arrow Connector 156"/>
          <p:cNvCxnSpPr>
            <a:cxnSpLocks/>
          </p:cNvCxnSpPr>
          <p:nvPr/>
        </p:nvCxnSpPr>
        <p:spPr>
          <a:xfrm>
            <a:off x="1516564" y="2582066"/>
            <a:ext cx="5972015" cy="0"/>
          </a:xfrm>
          <a:prstGeom prst="straightConnector1">
            <a:avLst/>
          </a:prstGeom>
          <a:ln w="9525" cap="sq">
            <a:solidFill>
              <a:schemeClr val="accent3"/>
            </a:solidFill>
            <a:prstDash val="solid"/>
          </a:ln>
        </p:spPr>
        <p:style>
          <a:lnRef idx="1">
            <a:schemeClr val="accent1"/>
          </a:lnRef>
          <a:fillRef idx="0">
            <a:schemeClr val="accent1"/>
          </a:fillRef>
          <a:effectRef idx="0">
            <a:schemeClr val="accent1"/>
          </a:effectRef>
          <a:fontRef idx="minor">
            <a:schemeClr val="tx1"/>
          </a:fontRef>
        </p:style>
      </p:cxnSp>
      <p:sp>
        <p:nvSpPr>
          <p:cNvPr id="186" name="Rectangle 153"/>
          <p:cNvSpPr>
            <a:spLocks noChangeArrowheads="1"/>
          </p:cNvSpPr>
          <p:nvPr/>
        </p:nvSpPr>
        <p:spPr bwMode="auto">
          <a:xfrm>
            <a:off x="5332582" y="3106397"/>
            <a:ext cx="506549" cy="12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lvl1pPr>
              <a:defRPr sz="2400">
                <a:solidFill>
                  <a:schemeClr val="tx1"/>
                </a:solidFill>
                <a:latin typeface="Arial" pitchFamily="34" charset="0"/>
              </a:defRPr>
            </a:lvl1pPr>
            <a:lvl2pPr marL="742950" indent="-285750">
              <a:defRPr sz="2400">
                <a:solidFill>
                  <a:schemeClr val="tx1"/>
                </a:solidFill>
                <a:latin typeface="Arial" pitchFamily="34" charset="0"/>
              </a:defRPr>
            </a:lvl2pPr>
            <a:lvl3pPr marL="1143000" indent="-228600">
              <a:defRPr sz="2400">
                <a:solidFill>
                  <a:schemeClr val="tx1"/>
                </a:solidFill>
                <a:latin typeface="Arial" pitchFamily="34" charset="0"/>
              </a:defRPr>
            </a:lvl3pPr>
            <a:lvl4pPr marL="1600200" indent="-228600">
              <a:defRPr sz="2400">
                <a:solidFill>
                  <a:schemeClr val="tx1"/>
                </a:solidFill>
                <a:latin typeface="Arial" pitchFamily="34" charset="0"/>
              </a:defRPr>
            </a:lvl4pPr>
            <a:lvl5pPr marL="2057400" indent="-228600">
              <a:defRPr sz="2400">
                <a:solidFill>
                  <a:schemeClr val="tx1"/>
                </a:solidFill>
                <a:latin typeface="Arial" pitchFamily="34" charset="0"/>
              </a:defRPr>
            </a:lvl5pPr>
            <a:lvl6pPr marL="2514600" indent="-228600" fontAlgn="base">
              <a:spcBef>
                <a:spcPct val="0"/>
              </a:spcBef>
              <a:spcAft>
                <a:spcPct val="0"/>
              </a:spcAft>
              <a:defRPr sz="2400">
                <a:solidFill>
                  <a:schemeClr val="tx1"/>
                </a:solidFill>
                <a:latin typeface="Arial" pitchFamily="34" charset="0"/>
              </a:defRPr>
            </a:lvl6pPr>
            <a:lvl7pPr marL="2971800" indent="-228600" fontAlgn="base">
              <a:spcBef>
                <a:spcPct val="0"/>
              </a:spcBef>
              <a:spcAft>
                <a:spcPct val="0"/>
              </a:spcAft>
              <a:defRPr sz="2400">
                <a:solidFill>
                  <a:schemeClr val="tx1"/>
                </a:solidFill>
                <a:latin typeface="Arial" pitchFamily="34" charset="0"/>
              </a:defRPr>
            </a:lvl7pPr>
            <a:lvl8pPr marL="3429000" indent="-228600" fontAlgn="base">
              <a:spcBef>
                <a:spcPct val="0"/>
              </a:spcBef>
              <a:spcAft>
                <a:spcPct val="0"/>
              </a:spcAft>
              <a:defRPr sz="2400">
                <a:solidFill>
                  <a:schemeClr val="tx1"/>
                </a:solidFill>
                <a:latin typeface="Arial" pitchFamily="34" charset="0"/>
              </a:defRPr>
            </a:lvl8pPr>
            <a:lvl9pPr marL="3886200" indent="-228600" fontAlgn="base">
              <a:spcBef>
                <a:spcPct val="0"/>
              </a:spcBef>
              <a:spcAft>
                <a:spcPct val="0"/>
              </a:spcAft>
              <a:defRPr sz="2400">
                <a:solidFill>
                  <a:schemeClr val="tx1"/>
                </a:solidFill>
                <a:latin typeface="Arial" pitchFamily="34" charset="0"/>
              </a:defRPr>
            </a:lvl9pPr>
          </a:lstStyle>
          <a:p>
            <a:pPr>
              <a:lnSpc>
                <a:spcPct val="90000"/>
              </a:lnSpc>
            </a:pPr>
            <a:r>
              <a:rPr lang="en-US" sz="900" dirty="0">
                <a:solidFill>
                  <a:srgbClr val="000000"/>
                </a:solidFill>
                <a:latin typeface="Arial"/>
              </a:rPr>
              <a:t>Influencer</a:t>
            </a:r>
          </a:p>
        </p:txBody>
      </p:sp>
      <p:pic>
        <p:nvPicPr>
          <p:cNvPr id="245" name="Picture 244"/>
          <p:cNvPicPr>
            <a:picLocks/>
          </p:cNvPicPr>
          <p:nvPr/>
        </p:nvPicPr>
        <p:blipFill rotWithShape="1">
          <a:blip r:embed="rId30" cstate="screen">
            <a:extLst>
              <a:ext uri="{28A0092B-C50C-407E-A947-70E740481C1C}">
                <a14:useLocalDpi xmlns:a14="http://schemas.microsoft.com/office/drawing/2010/main"/>
              </a:ext>
            </a:extLst>
          </a:blip>
          <a:srcRect/>
          <a:stretch/>
        </p:blipFill>
        <p:spPr>
          <a:xfrm>
            <a:off x="5347483" y="2752588"/>
            <a:ext cx="471731" cy="276325"/>
          </a:xfrm>
          <a:prstGeom prst="rect">
            <a:avLst/>
          </a:prstGeom>
          <a:effectLst>
            <a:outerShdw blurRad="63500" sx="102000" sy="102000" algn="ctr" rotWithShape="0">
              <a:prstClr val="black">
                <a:alpha val="40000"/>
              </a:prstClr>
            </a:outerShdw>
          </a:effectLst>
        </p:spPr>
      </p:pic>
      <p:sp>
        <p:nvSpPr>
          <p:cNvPr id="187" name="Rectangle 153"/>
          <p:cNvSpPr>
            <a:spLocks noChangeArrowheads="1"/>
          </p:cNvSpPr>
          <p:nvPr/>
        </p:nvSpPr>
        <p:spPr bwMode="auto">
          <a:xfrm>
            <a:off x="5976173" y="3044073"/>
            <a:ext cx="740404" cy="2492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spAutoFit/>
          </a:bodyPr>
          <a:lstStyle>
            <a:lvl1pPr>
              <a:defRPr sz="2400">
                <a:solidFill>
                  <a:schemeClr val="tx1"/>
                </a:solidFill>
                <a:latin typeface="Arial" pitchFamily="34" charset="0"/>
              </a:defRPr>
            </a:lvl1pPr>
            <a:lvl2pPr marL="742950" indent="-285750">
              <a:defRPr sz="2400">
                <a:solidFill>
                  <a:schemeClr val="tx1"/>
                </a:solidFill>
                <a:latin typeface="Arial" pitchFamily="34" charset="0"/>
              </a:defRPr>
            </a:lvl2pPr>
            <a:lvl3pPr marL="1143000" indent="-228600">
              <a:defRPr sz="2400">
                <a:solidFill>
                  <a:schemeClr val="tx1"/>
                </a:solidFill>
                <a:latin typeface="Arial" pitchFamily="34" charset="0"/>
              </a:defRPr>
            </a:lvl3pPr>
            <a:lvl4pPr marL="1600200" indent="-228600">
              <a:defRPr sz="2400">
                <a:solidFill>
                  <a:schemeClr val="tx1"/>
                </a:solidFill>
                <a:latin typeface="Arial" pitchFamily="34" charset="0"/>
              </a:defRPr>
            </a:lvl4pPr>
            <a:lvl5pPr marL="2057400" indent="-228600">
              <a:defRPr sz="2400">
                <a:solidFill>
                  <a:schemeClr val="tx1"/>
                </a:solidFill>
                <a:latin typeface="Arial" pitchFamily="34" charset="0"/>
              </a:defRPr>
            </a:lvl5pPr>
            <a:lvl6pPr marL="2514600" indent="-228600" fontAlgn="base">
              <a:spcBef>
                <a:spcPct val="0"/>
              </a:spcBef>
              <a:spcAft>
                <a:spcPct val="0"/>
              </a:spcAft>
              <a:defRPr sz="2400">
                <a:solidFill>
                  <a:schemeClr val="tx1"/>
                </a:solidFill>
                <a:latin typeface="Arial" pitchFamily="34" charset="0"/>
              </a:defRPr>
            </a:lvl6pPr>
            <a:lvl7pPr marL="2971800" indent="-228600" fontAlgn="base">
              <a:spcBef>
                <a:spcPct val="0"/>
              </a:spcBef>
              <a:spcAft>
                <a:spcPct val="0"/>
              </a:spcAft>
              <a:defRPr sz="2400">
                <a:solidFill>
                  <a:schemeClr val="tx1"/>
                </a:solidFill>
                <a:latin typeface="Arial" pitchFamily="34" charset="0"/>
              </a:defRPr>
            </a:lvl7pPr>
            <a:lvl8pPr marL="3429000" indent="-228600" fontAlgn="base">
              <a:spcBef>
                <a:spcPct val="0"/>
              </a:spcBef>
              <a:spcAft>
                <a:spcPct val="0"/>
              </a:spcAft>
              <a:defRPr sz="2400">
                <a:solidFill>
                  <a:schemeClr val="tx1"/>
                </a:solidFill>
                <a:latin typeface="Arial" pitchFamily="34" charset="0"/>
              </a:defRPr>
            </a:lvl8pPr>
            <a:lvl9pPr marL="3886200" indent="-228600" fontAlgn="base">
              <a:spcBef>
                <a:spcPct val="0"/>
              </a:spcBef>
              <a:spcAft>
                <a:spcPct val="0"/>
              </a:spcAft>
              <a:defRPr sz="2400">
                <a:solidFill>
                  <a:schemeClr val="tx1"/>
                </a:solidFill>
                <a:latin typeface="Arial" pitchFamily="34" charset="0"/>
              </a:defRPr>
            </a:lvl9pPr>
          </a:lstStyle>
          <a:p>
            <a:pPr>
              <a:lnSpc>
                <a:spcPct val="90000"/>
              </a:lnSpc>
            </a:pPr>
            <a:r>
              <a:rPr lang="en-US" sz="900" dirty="0">
                <a:solidFill>
                  <a:srgbClr val="000000"/>
                </a:solidFill>
                <a:latin typeface="Arial"/>
              </a:rPr>
              <a:t>Top Team</a:t>
            </a:r>
            <a:br>
              <a:rPr lang="en-US" sz="900" dirty="0">
                <a:solidFill>
                  <a:srgbClr val="000000"/>
                </a:solidFill>
                <a:latin typeface="Arial"/>
              </a:rPr>
            </a:br>
            <a:r>
              <a:rPr lang="en-US" sz="900" dirty="0">
                <a:solidFill>
                  <a:srgbClr val="000000"/>
                </a:solidFill>
                <a:latin typeface="Arial"/>
              </a:rPr>
              <a:t>Effectiveness</a:t>
            </a:r>
          </a:p>
        </p:txBody>
      </p:sp>
      <p:pic>
        <p:nvPicPr>
          <p:cNvPr id="247" name="Picture 246"/>
          <p:cNvPicPr>
            <a:picLocks/>
          </p:cNvPicPr>
          <p:nvPr/>
        </p:nvPicPr>
        <p:blipFill rotWithShape="1">
          <a:blip r:embed="rId31" cstate="screen">
            <a:extLst>
              <a:ext uri="{28A0092B-C50C-407E-A947-70E740481C1C}">
                <a14:useLocalDpi xmlns:a14="http://schemas.microsoft.com/office/drawing/2010/main"/>
              </a:ext>
            </a:extLst>
          </a:blip>
          <a:srcRect/>
          <a:stretch/>
        </p:blipFill>
        <p:spPr>
          <a:xfrm>
            <a:off x="6110509" y="2752588"/>
            <a:ext cx="471731" cy="276325"/>
          </a:xfrm>
          <a:prstGeom prst="rect">
            <a:avLst/>
          </a:prstGeom>
          <a:effectLst>
            <a:outerShdw blurRad="63500" sx="102000" sy="102000" algn="ctr" rotWithShape="0">
              <a:prstClr val="black">
                <a:alpha val="40000"/>
              </a:prstClr>
            </a:outerShdw>
          </a:effectLst>
        </p:spPr>
      </p:pic>
      <p:sp>
        <p:nvSpPr>
          <p:cNvPr id="254" name="Rectangle 52"/>
          <p:cNvSpPr>
            <a:spLocks noChangeArrowheads="1"/>
          </p:cNvSpPr>
          <p:nvPr/>
        </p:nvSpPr>
        <p:spPr bwMode="auto">
          <a:xfrm>
            <a:off x="6858632" y="3038250"/>
            <a:ext cx="496855"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t" anchorCtr="0">
            <a:spAutoFit/>
          </a:bodyPr>
          <a:lstStyle>
            <a:lvl1pPr>
              <a:defRPr sz="2400">
                <a:solidFill>
                  <a:schemeClr val="tx1"/>
                </a:solidFill>
                <a:latin typeface="Arial" pitchFamily="34" charset="0"/>
              </a:defRPr>
            </a:lvl1pPr>
            <a:lvl2pPr marL="742950" indent="-285750">
              <a:defRPr sz="2400">
                <a:solidFill>
                  <a:schemeClr val="tx1"/>
                </a:solidFill>
                <a:latin typeface="Arial" pitchFamily="34" charset="0"/>
              </a:defRPr>
            </a:lvl2pPr>
            <a:lvl3pPr marL="1143000" indent="-228600">
              <a:defRPr sz="2400">
                <a:solidFill>
                  <a:schemeClr val="tx1"/>
                </a:solidFill>
                <a:latin typeface="Arial" pitchFamily="34" charset="0"/>
              </a:defRPr>
            </a:lvl3pPr>
            <a:lvl4pPr marL="1600200" indent="-228600">
              <a:defRPr sz="2400">
                <a:solidFill>
                  <a:schemeClr val="tx1"/>
                </a:solidFill>
                <a:latin typeface="Arial" pitchFamily="34" charset="0"/>
              </a:defRPr>
            </a:lvl4pPr>
            <a:lvl5pPr marL="2057400" indent="-228600">
              <a:defRPr sz="2400">
                <a:solidFill>
                  <a:schemeClr val="tx1"/>
                </a:solidFill>
                <a:latin typeface="Arial" pitchFamily="34" charset="0"/>
              </a:defRPr>
            </a:lvl5pPr>
            <a:lvl6pPr marL="2514600" indent="-228600" fontAlgn="base">
              <a:spcBef>
                <a:spcPct val="0"/>
              </a:spcBef>
              <a:spcAft>
                <a:spcPct val="0"/>
              </a:spcAft>
              <a:defRPr sz="2400">
                <a:solidFill>
                  <a:schemeClr val="tx1"/>
                </a:solidFill>
                <a:latin typeface="Arial" pitchFamily="34" charset="0"/>
              </a:defRPr>
            </a:lvl6pPr>
            <a:lvl7pPr marL="2971800" indent="-228600" fontAlgn="base">
              <a:spcBef>
                <a:spcPct val="0"/>
              </a:spcBef>
              <a:spcAft>
                <a:spcPct val="0"/>
              </a:spcAft>
              <a:defRPr sz="2400">
                <a:solidFill>
                  <a:schemeClr val="tx1"/>
                </a:solidFill>
                <a:latin typeface="Arial" pitchFamily="34" charset="0"/>
              </a:defRPr>
            </a:lvl7pPr>
            <a:lvl8pPr marL="3429000" indent="-228600" fontAlgn="base">
              <a:spcBef>
                <a:spcPct val="0"/>
              </a:spcBef>
              <a:spcAft>
                <a:spcPct val="0"/>
              </a:spcAft>
              <a:defRPr sz="2400">
                <a:solidFill>
                  <a:schemeClr val="tx1"/>
                </a:solidFill>
                <a:latin typeface="Arial" pitchFamily="34" charset="0"/>
              </a:defRPr>
            </a:lvl8pPr>
            <a:lvl9pPr marL="3886200" indent="-228600" fontAlgn="base">
              <a:spcBef>
                <a:spcPct val="0"/>
              </a:spcBef>
              <a:spcAft>
                <a:spcPct val="0"/>
              </a:spcAft>
              <a:defRPr sz="2400">
                <a:solidFill>
                  <a:schemeClr val="tx1"/>
                </a:solidFill>
                <a:latin typeface="Arial" pitchFamily="34" charset="0"/>
              </a:defRPr>
            </a:lvl9pPr>
          </a:lstStyle>
          <a:p>
            <a:r>
              <a:rPr lang="en-US" sz="900" dirty="0">
                <a:solidFill>
                  <a:srgbClr val="000000"/>
                </a:solidFill>
                <a:latin typeface="Arial"/>
              </a:rPr>
              <a:t>Working</a:t>
            </a:r>
            <a:br>
              <a:rPr lang="en-US" sz="900" dirty="0">
                <a:solidFill>
                  <a:srgbClr val="000000"/>
                </a:solidFill>
                <a:latin typeface="Arial"/>
              </a:rPr>
            </a:br>
            <a:r>
              <a:rPr lang="en-US" sz="900" dirty="0">
                <a:solidFill>
                  <a:srgbClr val="000000"/>
                </a:solidFill>
                <a:latin typeface="Arial"/>
              </a:rPr>
              <a:t>norms</a:t>
            </a:r>
          </a:p>
        </p:txBody>
      </p:sp>
      <p:pic>
        <p:nvPicPr>
          <p:cNvPr id="16" name="Picture 15"/>
          <p:cNvPicPr>
            <a:picLocks/>
          </p:cNvPicPr>
          <p:nvPr/>
        </p:nvPicPr>
        <p:blipFill>
          <a:blip r:embed="rId32" cstate="screen">
            <a:extLst>
              <a:ext uri="{28A0092B-C50C-407E-A947-70E740481C1C}">
                <a14:useLocalDpi xmlns:a14="http://schemas.microsoft.com/office/drawing/2010/main"/>
              </a:ext>
            </a:extLst>
          </a:blip>
          <a:stretch>
            <a:fillRect/>
          </a:stretch>
        </p:blipFill>
        <p:spPr>
          <a:xfrm>
            <a:off x="6871195" y="2752588"/>
            <a:ext cx="471731" cy="276325"/>
          </a:xfrm>
          <a:prstGeom prst="rect">
            <a:avLst/>
          </a:prstGeom>
          <a:effectLst>
            <a:outerShdw blurRad="63500" sx="102000" sy="102000" algn="ctr" rotWithShape="0">
              <a:prstClr val="black">
                <a:alpha val="40000"/>
              </a:prstClr>
            </a:outerShdw>
          </a:effectLst>
        </p:spPr>
      </p:pic>
      <p:cxnSp>
        <p:nvCxnSpPr>
          <p:cNvPr id="222" name="Straight Connector 221"/>
          <p:cNvCxnSpPr>
            <a:cxnSpLocks/>
          </p:cNvCxnSpPr>
          <p:nvPr/>
        </p:nvCxnSpPr>
        <p:spPr>
          <a:xfrm>
            <a:off x="2345948" y="2752588"/>
            <a:ext cx="0" cy="567847"/>
          </a:xfrm>
          <a:prstGeom prst="line">
            <a:avLst/>
          </a:prstGeom>
          <a:ln w="9525" cap="sq">
            <a:solidFill>
              <a:srgbClr val="808080"/>
            </a:solidFill>
            <a:prstDash val="sysDot"/>
          </a:ln>
        </p:spPr>
        <p:style>
          <a:lnRef idx="1">
            <a:schemeClr val="accent1"/>
          </a:lnRef>
          <a:fillRef idx="0">
            <a:schemeClr val="accent1"/>
          </a:fillRef>
          <a:effectRef idx="0">
            <a:schemeClr val="accent1"/>
          </a:effectRef>
          <a:fontRef idx="minor">
            <a:schemeClr val="tx1"/>
          </a:fontRef>
        </p:style>
      </p:cxnSp>
      <p:cxnSp>
        <p:nvCxnSpPr>
          <p:cNvPr id="223" name="Straight Connector 222"/>
          <p:cNvCxnSpPr>
            <a:cxnSpLocks/>
          </p:cNvCxnSpPr>
          <p:nvPr/>
        </p:nvCxnSpPr>
        <p:spPr>
          <a:xfrm>
            <a:off x="3316110" y="2752588"/>
            <a:ext cx="0" cy="567847"/>
          </a:xfrm>
          <a:prstGeom prst="line">
            <a:avLst/>
          </a:prstGeom>
          <a:ln w="9525" cap="sq">
            <a:solidFill>
              <a:srgbClr val="808080"/>
            </a:solidFill>
            <a:prstDash val="sysDot"/>
          </a:ln>
        </p:spPr>
        <p:style>
          <a:lnRef idx="1">
            <a:schemeClr val="accent1"/>
          </a:lnRef>
          <a:fillRef idx="0">
            <a:schemeClr val="accent1"/>
          </a:fillRef>
          <a:effectRef idx="0">
            <a:schemeClr val="accent1"/>
          </a:effectRef>
          <a:fontRef idx="minor">
            <a:schemeClr val="tx1"/>
          </a:fontRef>
        </p:style>
      </p:cxnSp>
      <p:cxnSp>
        <p:nvCxnSpPr>
          <p:cNvPr id="246" name="Straight Connector 245"/>
          <p:cNvCxnSpPr>
            <a:cxnSpLocks/>
          </p:cNvCxnSpPr>
          <p:nvPr/>
        </p:nvCxnSpPr>
        <p:spPr>
          <a:xfrm>
            <a:off x="4120368" y="2752588"/>
            <a:ext cx="0" cy="567847"/>
          </a:xfrm>
          <a:prstGeom prst="line">
            <a:avLst/>
          </a:prstGeom>
          <a:ln w="9525" cap="sq">
            <a:solidFill>
              <a:srgbClr val="808080"/>
            </a:solidFill>
            <a:prstDash val="sysDot"/>
          </a:ln>
        </p:spPr>
        <p:style>
          <a:lnRef idx="1">
            <a:schemeClr val="accent1"/>
          </a:lnRef>
          <a:fillRef idx="0">
            <a:schemeClr val="accent1"/>
          </a:fillRef>
          <a:effectRef idx="0">
            <a:schemeClr val="accent1"/>
          </a:effectRef>
          <a:fontRef idx="minor">
            <a:schemeClr val="tx1"/>
          </a:fontRef>
        </p:style>
      </p:cxnSp>
      <p:cxnSp>
        <p:nvCxnSpPr>
          <p:cNvPr id="248" name="Straight Connector 247"/>
          <p:cNvCxnSpPr>
            <a:cxnSpLocks/>
          </p:cNvCxnSpPr>
          <p:nvPr/>
        </p:nvCxnSpPr>
        <p:spPr>
          <a:xfrm>
            <a:off x="5905144" y="2752588"/>
            <a:ext cx="0" cy="567847"/>
          </a:xfrm>
          <a:prstGeom prst="line">
            <a:avLst/>
          </a:prstGeom>
          <a:ln w="9525" cap="sq">
            <a:solidFill>
              <a:srgbClr val="808080"/>
            </a:solidFill>
            <a:prstDash val="sysDot"/>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a:cxnSpLocks/>
          </p:cNvCxnSpPr>
          <p:nvPr/>
        </p:nvCxnSpPr>
        <p:spPr>
          <a:xfrm>
            <a:off x="6787605" y="2752588"/>
            <a:ext cx="0" cy="567847"/>
          </a:xfrm>
          <a:prstGeom prst="line">
            <a:avLst/>
          </a:prstGeom>
          <a:ln w="9525" cap="sq">
            <a:solidFill>
              <a:srgbClr val="808080"/>
            </a:solidFill>
            <a:prstDash val="sysDot"/>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a:cxnSpLocks/>
          </p:cNvCxnSpPr>
          <p:nvPr/>
        </p:nvCxnSpPr>
        <p:spPr>
          <a:xfrm>
            <a:off x="5261553" y="2752588"/>
            <a:ext cx="0" cy="567847"/>
          </a:xfrm>
          <a:prstGeom prst="line">
            <a:avLst/>
          </a:prstGeom>
          <a:ln w="9525" cap="sq">
            <a:solidFill>
              <a:srgbClr val="808080"/>
            </a:solidFill>
            <a:prstDash val="sysDot"/>
          </a:ln>
        </p:spPr>
        <p:style>
          <a:lnRef idx="1">
            <a:schemeClr val="accent1"/>
          </a:lnRef>
          <a:fillRef idx="0">
            <a:schemeClr val="accent1"/>
          </a:fillRef>
          <a:effectRef idx="0">
            <a:schemeClr val="accent1"/>
          </a:effectRef>
          <a:fontRef idx="minor">
            <a:schemeClr val="tx1"/>
          </a:fontRef>
        </p:style>
      </p:cxnSp>
      <p:sp>
        <p:nvSpPr>
          <p:cNvPr id="1239133" name="Rectangle 25"/>
          <p:cNvSpPr>
            <a:spLocks noChangeArrowheads="1"/>
          </p:cNvSpPr>
          <p:nvPr/>
        </p:nvSpPr>
        <p:spPr bwMode="gray">
          <a:xfrm>
            <a:off x="1516564" y="1515251"/>
            <a:ext cx="5990089" cy="1569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18288" anchor="b" anchorCtr="0">
            <a:spAutoFit/>
          </a:bodyPr>
          <a:lstStyle>
            <a:lvl1pPr defTabSz="787400">
              <a:defRPr sz="2400">
                <a:solidFill>
                  <a:schemeClr val="tx1"/>
                </a:solidFill>
                <a:latin typeface="Arial" pitchFamily="34" charset="0"/>
              </a:defRPr>
            </a:lvl1pPr>
            <a:lvl2pPr marL="133350" indent="-131763" defTabSz="787400">
              <a:defRPr sz="2400">
                <a:solidFill>
                  <a:schemeClr val="tx1"/>
                </a:solidFill>
                <a:latin typeface="Arial" pitchFamily="34" charset="0"/>
              </a:defRPr>
            </a:lvl2pPr>
            <a:lvl3pPr marL="301625" indent="-150813" defTabSz="787400">
              <a:defRPr sz="2400">
                <a:solidFill>
                  <a:schemeClr val="tx1"/>
                </a:solidFill>
                <a:latin typeface="Arial" pitchFamily="34" charset="0"/>
              </a:defRPr>
            </a:lvl3pPr>
            <a:lvl4pPr marL="1600200" indent="-228600" defTabSz="787400">
              <a:defRPr sz="2400">
                <a:solidFill>
                  <a:schemeClr val="tx1"/>
                </a:solidFill>
                <a:latin typeface="Arial" pitchFamily="34" charset="0"/>
              </a:defRPr>
            </a:lvl4pPr>
            <a:lvl5pPr marL="2057400" indent="-228600" defTabSz="787400">
              <a:defRPr sz="2400">
                <a:solidFill>
                  <a:schemeClr val="tx1"/>
                </a:solidFill>
                <a:latin typeface="Arial" pitchFamily="34" charset="0"/>
              </a:defRPr>
            </a:lvl5pPr>
            <a:lvl6pPr marL="2514600" indent="-228600" defTabSz="787400" fontAlgn="base">
              <a:spcBef>
                <a:spcPct val="0"/>
              </a:spcBef>
              <a:spcAft>
                <a:spcPct val="0"/>
              </a:spcAft>
              <a:defRPr sz="2400">
                <a:solidFill>
                  <a:schemeClr val="tx1"/>
                </a:solidFill>
                <a:latin typeface="Arial" pitchFamily="34" charset="0"/>
              </a:defRPr>
            </a:lvl6pPr>
            <a:lvl7pPr marL="2971800" indent="-228600" defTabSz="787400" fontAlgn="base">
              <a:spcBef>
                <a:spcPct val="0"/>
              </a:spcBef>
              <a:spcAft>
                <a:spcPct val="0"/>
              </a:spcAft>
              <a:defRPr sz="2400">
                <a:solidFill>
                  <a:schemeClr val="tx1"/>
                </a:solidFill>
                <a:latin typeface="Arial" pitchFamily="34" charset="0"/>
              </a:defRPr>
            </a:lvl7pPr>
            <a:lvl8pPr marL="3429000" indent="-228600" defTabSz="787400" fontAlgn="base">
              <a:spcBef>
                <a:spcPct val="0"/>
              </a:spcBef>
              <a:spcAft>
                <a:spcPct val="0"/>
              </a:spcAft>
              <a:defRPr sz="2400">
                <a:solidFill>
                  <a:schemeClr val="tx1"/>
                </a:solidFill>
                <a:latin typeface="Arial" pitchFamily="34" charset="0"/>
              </a:defRPr>
            </a:lvl8pPr>
            <a:lvl9pPr marL="3886200" indent="-228600" defTabSz="787400" fontAlgn="base">
              <a:spcBef>
                <a:spcPct val="0"/>
              </a:spcBef>
              <a:spcAft>
                <a:spcPct val="0"/>
              </a:spcAft>
              <a:defRPr sz="2400">
                <a:solidFill>
                  <a:schemeClr val="tx1"/>
                </a:solidFill>
                <a:latin typeface="Arial" pitchFamily="34" charset="0"/>
              </a:defRPr>
            </a:lvl9pPr>
          </a:lstStyle>
          <a:p>
            <a:pPr>
              <a:spcBef>
                <a:spcPct val="40000"/>
              </a:spcBef>
              <a:buClr>
                <a:srgbClr val="002960"/>
              </a:buClr>
            </a:pPr>
            <a:r>
              <a:rPr lang="en-US" sz="900" b="1" dirty="0">
                <a:solidFill>
                  <a:schemeClr val="accent3"/>
                </a:solidFill>
                <a:latin typeface="Arial"/>
              </a:rPr>
              <a:t>Integration management office</a:t>
            </a:r>
          </a:p>
        </p:txBody>
      </p:sp>
      <p:cxnSp>
        <p:nvCxnSpPr>
          <p:cNvPr id="158" name="Straight Arrow Connector 157"/>
          <p:cNvCxnSpPr>
            <a:cxnSpLocks/>
          </p:cNvCxnSpPr>
          <p:nvPr/>
        </p:nvCxnSpPr>
        <p:spPr>
          <a:xfrm>
            <a:off x="1516564" y="1662786"/>
            <a:ext cx="5972015" cy="0"/>
          </a:xfrm>
          <a:prstGeom prst="straightConnector1">
            <a:avLst/>
          </a:prstGeom>
          <a:ln w="9525" cap="sq">
            <a:solidFill>
              <a:schemeClr val="accent3"/>
            </a:solidFill>
            <a:prstDash val="solid"/>
          </a:ln>
        </p:spPr>
        <p:style>
          <a:lnRef idx="1">
            <a:schemeClr val="accent1"/>
          </a:lnRef>
          <a:fillRef idx="0">
            <a:schemeClr val="accent1"/>
          </a:fillRef>
          <a:effectRef idx="0">
            <a:schemeClr val="accent1"/>
          </a:effectRef>
          <a:fontRef idx="minor">
            <a:schemeClr val="tx1"/>
          </a:fontRef>
        </p:style>
      </p:cxnSp>
      <p:sp>
        <p:nvSpPr>
          <p:cNvPr id="1239093" name="Rectangle 33"/>
          <p:cNvSpPr>
            <a:spLocks noChangeArrowheads="1"/>
          </p:cNvSpPr>
          <p:nvPr/>
        </p:nvSpPr>
        <p:spPr bwMode="auto">
          <a:xfrm flipH="1">
            <a:off x="4575297" y="2101352"/>
            <a:ext cx="934490"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t" anchorCtr="0">
            <a:spAutoFit/>
          </a:bodyPr>
          <a:lstStyle>
            <a:lvl1pPr>
              <a:defRPr sz="2400">
                <a:solidFill>
                  <a:schemeClr val="tx1"/>
                </a:solidFill>
                <a:latin typeface="Arial" pitchFamily="34" charset="0"/>
              </a:defRPr>
            </a:lvl1pPr>
            <a:lvl2pPr marL="742950" indent="-285750">
              <a:defRPr sz="2400">
                <a:solidFill>
                  <a:schemeClr val="tx1"/>
                </a:solidFill>
                <a:latin typeface="Arial" pitchFamily="34" charset="0"/>
              </a:defRPr>
            </a:lvl2pPr>
            <a:lvl3pPr marL="1143000" indent="-228600">
              <a:defRPr sz="2400">
                <a:solidFill>
                  <a:schemeClr val="tx1"/>
                </a:solidFill>
                <a:latin typeface="Arial" pitchFamily="34" charset="0"/>
              </a:defRPr>
            </a:lvl3pPr>
            <a:lvl4pPr marL="1600200" indent="-228600">
              <a:defRPr sz="2400">
                <a:solidFill>
                  <a:schemeClr val="tx1"/>
                </a:solidFill>
                <a:latin typeface="Arial" pitchFamily="34" charset="0"/>
              </a:defRPr>
            </a:lvl4pPr>
            <a:lvl5pPr marL="2057400" indent="-228600">
              <a:defRPr sz="2400">
                <a:solidFill>
                  <a:schemeClr val="tx1"/>
                </a:solidFill>
                <a:latin typeface="Arial" pitchFamily="34" charset="0"/>
              </a:defRPr>
            </a:lvl5pPr>
            <a:lvl6pPr marL="2514600" indent="-228600" fontAlgn="base">
              <a:spcBef>
                <a:spcPct val="0"/>
              </a:spcBef>
              <a:spcAft>
                <a:spcPct val="0"/>
              </a:spcAft>
              <a:defRPr sz="2400">
                <a:solidFill>
                  <a:schemeClr val="tx1"/>
                </a:solidFill>
                <a:latin typeface="Arial" pitchFamily="34" charset="0"/>
              </a:defRPr>
            </a:lvl6pPr>
            <a:lvl7pPr marL="2971800" indent="-228600" fontAlgn="base">
              <a:spcBef>
                <a:spcPct val="0"/>
              </a:spcBef>
              <a:spcAft>
                <a:spcPct val="0"/>
              </a:spcAft>
              <a:defRPr sz="2400">
                <a:solidFill>
                  <a:schemeClr val="tx1"/>
                </a:solidFill>
                <a:latin typeface="Arial" pitchFamily="34" charset="0"/>
              </a:defRPr>
            </a:lvl7pPr>
            <a:lvl8pPr marL="3429000" indent="-228600" fontAlgn="base">
              <a:spcBef>
                <a:spcPct val="0"/>
              </a:spcBef>
              <a:spcAft>
                <a:spcPct val="0"/>
              </a:spcAft>
              <a:defRPr sz="2400">
                <a:solidFill>
                  <a:schemeClr val="tx1"/>
                </a:solidFill>
                <a:latin typeface="Arial" pitchFamily="34" charset="0"/>
              </a:defRPr>
            </a:lvl8pPr>
            <a:lvl9pPr marL="3886200" indent="-228600" fontAlgn="base">
              <a:spcBef>
                <a:spcPct val="0"/>
              </a:spcBef>
              <a:spcAft>
                <a:spcPct val="0"/>
              </a:spcAft>
              <a:defRPr sz="2400">
                <a:solidFill>
                  <a:schemeClr val="tx1"/>
                </a:solidFill>
                <a:latin typeface="Arial" pitchFamily="34" charset="0"/>
              </a:defRPr>
            </a:lvl9pPr>
          </a:lstStyle>
          <a:p>
            <a:r>
              <a:rPr lang="en-US" sz="900" dirty="0">
                <a:solidFill>
                  <a:srgbClr val="000000"/>
                </a:solidFill>
                <a:latin typeface="Arial"/>
              </a:rPr>
              <a:t>Synergy modelling</a:t>
            </a:r>
          </a:p>
        </p:txBody>
      </p:sp>
      <p:pic>
        <p:nvPicPr>
          <p:cNvPr id="6" name="Picture 5"/>
          <p:cNvPicPr>
            <a:picLocks/>
          </p:cNvPicPr>
          <p:nvPr/>
        </p:nvPicPr>
        <p:blipFill>
          <a:blip r:embed="rId33" cstate="screen">
            <a:extLst>
              <a:ext uri="{28A0092B-C50C-407E-A947-70E740481C1C}">
                <a14:useLocalDpi xmlns:a14="http://schemas.microsoft.com/office/drawing/2010/main"/>
              </a:ext>
            </a:extLst>
          </a:blip>
          <a:stretch>
            <a:fillRect/>
          </a:stretch>
        </p:blipFill>
        <p:spPr>
          <a:xfrm>
            <a:off x="4806676" y="1777056"/>
            <a:ext cx="471731" cy="276325"/>
          </a:xfrm>
          <a:prstGeom prst="rect">
            <a:avLst/>
          </a:prstGeom>
          <a:effectLst>
            <a:outerShdw blurRad="63500" sx="102000" sy="102000" algn="ctr" rotWithShape="0">
              <a:prstClr val="black">
                <a:alpha val="40000"/>
              </a:prstClr>
            </a:outerShdw>
          </a:effectLst>
        </p:spPr>
      </p:pic>
      <p:sp>
        <p:nvSpPr>
          <p:cNvPr id="1239097" name="Rectangle 50"/>
          <p:cNvSpPr>
            <a:spLocks noChangeArrowheads="1"/>
          </p:cNvSpPr>
          <p:nvPr/>
        </p:nvSpPr>
        <p:spPr bwMode="auto">
          <a:xfrm flipH="1">
            <a:off x="3152601" y="2101352"/>
            <a:ext cx="1217621"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t" anchorCtr="0">
            <a:spAutoFit/>
          </a:bodyPr>
          <a:lstStyle>
            <a:lvl1pPr>
              <a:defRPr sz="2400">
                <a:solidFill>
                  <a:schemeClr val="tx1"/>
                </a:solidFill>
                <a:latin typeface="Arial" pitchFamily="34" charset="0"/>
              </a:defRPr>
            </a:lvl1pPr>
            <a:lvl2pPr marL="742950" indent="-285750">
              <a:defRPr sz="2400">
                <a:solidFill>
                  <a:schemeClr val="tx1"/>
                </a:solidFill>
                <a:latin typeface="Arial" pitchFamily="34" charset="0"/>
              </a:defRPr>
            </a:lvl2pPr>
            <a:lvl3pPr marL="1143000" indent="-228600">
              <a:defRPr sz="2400">
                <a:solidFill>
                  <a:schemeClr val="tx1"/>
                </a:solidFill>
                <a:latin typeface="Arial" pitchFamily="34" charset="0"/>
              </a:defRPr>
            </a:lvl3pPr>
            <a:lvl4pPr marL="1600200" indent="-228600">
              <a:defRPr sz="2400">
                <a:solidFill>
                  <a:schemeClr val="tx1"/>
                </a:solidFill>
                <a:latin typeface="Arial" pitchFamily="34" charset="0"/>
              </a:defRPr>
            </a:lvl4pPr>
            <a:lvl5pPr marL="2057400" indent="-228600">
              <a:defRPr sz="2400">
                <a:solidFill>
                  <a:schemeClr val="tx1"/>
                </a:solidFill>
                <a:latin typeface="Arial" pitchFamily="34" charset="0"/>
              </a:defRPr>
            </a:lvl5pPr>
            <a:lvl6pPr marL="2514600" indent="-228600" fontAlgn="base">
              <a:spcBef>
                <a:spcPct val="0"/>
              </a:spcBef>
              <a:spcAft>
                <a:spcPct val="0"/>
              </a:spcAft>
              <a:defRPr sz="2400">
                <a:solidFill>
                  <a:schemeClr val="tx1"/>
                </a:solidFill>
                <a:latin typeface="Arial" pitchFamily="34" charset="0"/>
              </a:defRPr>
            </a:lvl6pPr>
            <a:lvl7pPr marL="2971800" indent="-228600" fontAlgn="base">
              <a:spcBef>
                <a:spcPct val="0"/>
              </a:spcBef>
              <a:spcAft>
                <a:spcPct val="0"/>
              </a:spcAft>
              <a:defRPr sz="2400">
                <a:solidFill>
                  <a:schemeClr val="tx1"/>
                </a:solidFill>
                <a:latin typeface="Arial" pitchFamily="34" charset="0"/>
              </a:defRPr>
            </a:lvl7pPr>
            <a:lvl8pPr marL="3429000" indent="-228600" fontAlgn="base">
              <a:spcBef>
                <a:spcPct val="0"/>
              </a:spcBef>
              <a:spcAft>
                <a:spcPct val="0"/>
              </a:spcAft>
              <a:defRPr sz="2400">
                <a:solidFill>
                  <a:schemeClr val="tx1"/>
                </a:solidFill>
                <a:latin typeface="Arial" pitchFamily="34" charset="0"/>
              </a:defRPr>
            </a:lvl8pPr>
            <a:lvl9pPr marL="3886200" indent="-228600" fontAlgn="base">
              <a:spcBef>
                <a:spcPct val="0"/>
              </a:spcBef>
              <a:spcAft>
                <a:spcPct val="0"/>
              </a:spcAft>
              <a:defRPr sz="2400">
                <a:solidFill>
                  <a:schemeClr val="tx1"/>
                </a:solidFill>
                <a:latin typeface="Arial" pitchFamily="34" charset="0"/>
              </a:defRPr>
            </a:lvl9pPr>
          </a:lstStyle>
          <a:p>
            <a:r>
              <a:rPr lang="en-US" sz="900" dirty="0">
                <a:solidFill>
                  <a:srgbClr val="000000"/>
                </a:solidFill>
                <a:latin typeface="Arial"/>
              </a:rPr>
              <a:t>Interdependency Matrix</a:t>
            </a:r>
          </a:p>
        </p:txBody>
      </p:sp>
      <p:pic>
        <p:nvPicPr>
          <p:cNvPr id="8" name="Picture 7"/>
          <p:cNvPicPr>
            <a:picLocks/>
          </p:cNvPicPr>
          <p:nvPr/>
        </p:nvPicPr>
        <p:blipFill>
          <a:blip r:embed="rId34" cstate="screen">
            <a:extLst>
              <a:ext uri="{28A0092B-C50C-407E-A947-70E740481C1C}">
                <a14:useLocalDpi xmlns:a14="http://schemas.microsoft.com/office/drawing/2010/main"/>
              </a:ext>
            </a:extLst>
          </a:blip>
          <a:stretch>
            <a:fillRect/>
          </a:stretch>
        </p:blipFill>
        <p:spPr>
          <a:xfrm>
            <a:off x="3525545" y="1779319"/>
            <a:ext cx="471731" cy="276325"/>
          </a:xfrm>
          <a:prstGeom prst="rect">
            <a:avLst/>
          </a:prstGeom>
          <a:effectLst>
            <a:outerShdw blurRad="63500" sx="102000" sy="102000" algn="ctr" rotWithShape="0">
              <a:prstClr val="black">
                <a:alpha val="40000"/>
              </a:prstClr>
            </a:outerShdw>
          </a:effectLst>
        </p:spPr>
      </p:pic>
      <p:sp>
        <p:nvSpPr>
          <p:cNvPr id="198" name="Rectangle 33"/>
          <p:cNvSpPr>
            <a:spLocks noChangeArrowheads="1"/>
          </p:cNvSpPr>
          <p:nvPr/>
        </p:nvSpPr>
        <p:spPr bwMode="auto">
          <a:xfrm flipH="1">
            <a:off x="1483255" y="2101352"/>
            <a:ext cx="570003"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t" anchorCtr="0">
            <a:spAutoFit/>
          </a:bodyPr>
          <a:lstStyle>
            <a:lvl1pPr>
              <a:defRPr sz="2400">
                <a:solidFill>
                  <a:schemeClr val="tx1"/>
                </a:solidFill>
                <a:latin typeface="Arial" pitchFamily="34" charset="0"/>
              </a:defRPr>
            </a:lvl1pPr>
            <a:lvl2pPr marL="742950" indent="-285750">
              <a:defRPr sz="2400">
                <a:solidFill>
                  <a:schemeClr val="tx1"/>
                </a:solidFill>
                <a:latin typeface="Arial" pitchFamily="34" charset="0"/>
              </a:defRPr>
            </a:lvl2pPr>
            <a:lvl3pPr marL="1143000" indent="-228600">
              <a:defRPr sz="2400">
                <a:solidFill>
                  <a:schemeClr val="tx1"/>
                </a:solidFill>
                <a:latin typeface="Arial" pitchFamily="34" charset="0"/>
              </a:defRPr>
            </a:lvl3pPr>
            <a:lvl4pPr marL="1600200" indent="-228600">
              <a:defRPr sz="2400">
                <a:solidFill>
                  <a:schemeClr val="tx1"/>
                </a:solidFill>
                <a:latin typeface="Arial" pitchFamily="34" charset="0"/>
              </a:defRPr>
            </a:lvl4pPr>
            <a:lvl5pPr marL="2057400" indent="-228600">
              <a:defRPr sz="2400">
                <a:solidFill>
                  <a:schemeClr val="tx1"/>
                </a:solidFill>
                <a:latin typeface="Arial" pitchFamily="34" charset="0"/>
              </a:defRPr>
            </a:lvl5pPr>
            <a:lvl6pPr marL="2514600" indent="-228600" fontAlgn="base">
              <a:spcBef>
                <a:spcPct val="0"/>
              </a:spcBef>
              <a:spcAft>
                <a:spcPct val="0"/>
              </a:spcAft>
              <a:defRPr sz="2400">
                <a:solidFill>
                  <a:schemeClr val="tx1"/>
                </a:solidFill>
                <a:latin typeface="Arial" pitchFamily="34" charset="0"/>
              </a:defRPr>
            </a:lvl6pPr>
            <a:lvl7pPr marL="2971800" indent="-228600" fontAlgn="base">
              <a:spcBef>
                <a:spcPct val="0"/>
              </a:spcBef>
              <a:spcAft>
                <a:spcPct val="0"/>
              </a:spcAft>
              <a:defRPr sz="2400">
                <a:solidFill>
                  <a:schemeClr val="tx1"/>
                </a:solidFill>
                <a:latin typeface="Arial" pitchFamily="34" charset="0"/>
              </a:defRPr>
            </a:lvl7pPr>
            <a:lvl8pPr marL="3429000" indent="-228600" fontAlgn="base">
              <a:spcBef>
                <a:spcPct val="0"/>
              </a:spcBef>
              <a:spcAft>
                <a:spcPct val="0"/>
              </a:spcAft>
              <a:defRPr sz="2400">
                <a:solidFill>
                  <a:schemeClr val="tx1"/>
                </a:solidFill>
                <a:latin typeface="Arial" pitchFamily="34" charset="0"/>
              </a:defRPr>
            </a:lvl8pPr>
            <a:lvl9pPr marL="3886200" indent="-228600" fontAlgn="base">
              <a:spcBef>
                <a:spcPct val="0"/>
              </a:spcBef>
              <a:spcAft>
                <a:spcPct val="0"/>
              </a:spcAft>
              <a:defRPr sz="2400">
                <a:solidFill>
                  <a:schemeClr val="tx1"/>
                </a:solidFill>
                <a:latin typeface="Arial" pitchFamily="34" charset="0"/>
              </a:defRPr>
            </a:lvl9pPr>
          </a:lstStyle>
          <a:p>
            <a:r>
              <a:rPr lang="en-US" sz="900" dirty="0">
                <a:solidFill>
                  <a:srgbClr val="000000"/>
                </a:solidFill>
                <a:latin typeface="Arial"/>
              </a:rPr>
              <a:t>Masterplan</a:t>
            </a:r>
          </a:p>
        </p:txBody>
      </p:sp>
      <p:pic>
        <p:nvPicPr>
          <p:cNvPr id="9" name="Picture 8"/>
          <p:cNvPicPr>
            <a:picLocks/>
          </p:cNvPicPr>
          <p:nvPr/>
        </p:nvPicPr>
        <p:blipFill rotWithShape="1">
          <a:blip r:embed="rId35" cstate="screen">
            <a:extLst>
              <a:ext uri="{28A0092B-C50C-407E-A947-70E740481C1C}">
                <a14:useLocalDpi xmlns:a14="http://schemas.microsoft.com/office/drawing/2010/main"/>
              </a:ext>
            </a:extLst>
          </a:blip>
          <a:srcRect/>
          <a:stretch/>
        </p:blipFill>
        <p:spPr>
          <a:xfrm>
            <a:off x="1532391" y="1779319"/>
            <a:ext cx="471731" cy="276325"/>
          </a:xfrm>
          <a:prstGeom prst="rect">
            <a:avLst/>
          </a:prstGeom>
          <a:effectLst>
            <a:outerShdw blurRad="63500" sx="102000" sy="102000" algn="ctr" rotWithShape="0">
              <a:prstClr val="black">
                <a:alpha val="40000"/>
              </a:prstClr>
            </a:outerShdw>
          </a:effectLst>
        </p:spPr>
      </p:pic>
      <p:sp>
        <p:nvSpPr>
          <p:cNvPr id="1239095" name="Rectangle 48"/>
          <p:cNvSpPr>
            <a:spLocks noChangeArrowheads="1"/>
          </p:cNvSpPr>
          <p:nvPr/>
        </p:nvSpPr>
        <p:spPr bwMode="auto">
          <a:xfrm flipH="1">
            <a:off x="2223874" y="2101352"/>
            <a:ext cx="758111"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t" anchorCtr="0">
            <a:spAutoFit/>
          </a:bodyPr>
          <a:lstStyle/>
          <a:p>
            <a:pPr algn="ctr"/>
            <a:r>
              <a:rPr lang="en-US" sz="900" dirty="0">
                <a:solidFill>
                  <a:srgbClr val="000000"/>
                </a:solidFill>
                <a:latin typeface="Arial"/>
              </a:rPr>
              <a:t>MM Summits</a:t>
            </a:r>
          </a:p>
        </p:txBody>
      </p:sp>
      <p:pic>
        <p:nvPicPr>
          <p:cNvPr id="10" name="Picture 9"/>
          <p:cNvPicPr>
            <a:picLocks/>
          </p:cNvPicPr>
          <p:nvPr/>
        </p:nvPicPr>
        <p:blipFill>
          <a:blip r:embed="rId36" cstate="screen">
            <a:extLst>
              <a:ext uri="{28A0092B-C50C-407E-A947-70E740481C1C}">
                <a14:useLocalDpi xmlns:a14="http://schemas.microsoft.com/office/drawing/2010/main"/>
              </a:ext>
            </a:extLst>
          </a:blip>
          <a:stretch>
            <a:fillRect/>
          </a:stretch>
        </p:blipFill>
        <p:spPr>
          <a:xfrm>
            <a:off x="2367064" y="1771073"/>
            <a:ext cx="471731" cy="276325"/>
          </a:xfrm>
          <a:prstGeom prst="rect">
            <a:avLst/>
          </a:prstGeom>
          <a:effectLst>
            <a:outerShdw blurRad="63500" sx="102000" sy="102000" algn="ctr" rotWithShape="0">
              <a:prstClr val="black">
                <a:alpha val="40000"/>
              </a:prstClr>
            </a:outerShdw>
          </a:effectLst>
        </p:spPr>
      </p:pic>
      <p:sp>
        <p:nvSpPr>
          <p:cNvPr id="1239056" name="Rectangle 35"/>
          <p:cNvSpPr>
            <a:spLocks noChangeArrowheads="1"/>
          </p:cNvSpPr>
          <p:nvPr/>
        </p:nvSpPr>
        <p:spPr bwMode="auto">
          <a:xfrm>
            <a:off x="5714862" y="2097339"/>
            <a:ext cx="677617"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spAutoFit/>
          </a:bodyPr>
          <a:lstStyle>
            <a:lvl1pPr>
              <a:defRPr sz="2400">
                <a:solidFill>
                  <a:schemeClr val="tx1"/>
                </a:solidFill>
                <a:latin typeface="Arial" pitchFamily="34" charset="0"/>
              </a:defRPr>
            </a:lvl1pPr>
            <a:lvl2pPr marL="742950" indent="-285750">
              <a:defRPr sz="2400">
                <a:solidFill>
                  <a:schemeClr val="tx1"/>
                </a:solidFill>
                <a:latin typeface="Arial" pitchFamily="34" charset="0"/>
              </a:defRPr>
            </a:lvl2pPr>
            <a:lvl3pPr marL="1143000" indent="-228600">
              <a:defRPr sz="2400">
                <a:solidFill>
                  <a:schemeClr val="tx1"/>
                </a:solidFill>
                <a:latin typeface="Arial" pitchFamily="34" charset="0"/>
              </a:defRPr>
            </a:lvl3pPr>
            <a:lvl4pPr marL="1600200" indent="-228600">
              <a:defRPr sz="2400">
                <a:solidFill>
                  <a:schemeClr val="tx1"/>
                </a:solidFill>
                <a:latin typeface="Arial" pitchFamily="34" charset="0"/>
              </a:defRPr>
            </a:lvl4pPr>
            <a:lvl5pPr marL="2057400" indent="-228600">
              <a:defRPr sz="2400">
                <a:solidFill>
                  <a:schemeClr val="tx1"/>
                </a:solidFill>
                <a:latin typeface="Arial" pitchFamily="34" charset="0"/>
              </a:defRPr>
            </a:lvl5pPr>
            <a:lvl6pPr marL="2514600" indent="-228600" fontAlgn="base">
              <a:spcBef>
                <a:spcPct val="0"/>
              </a:spcBef>
              <a:spcAft>
                <a:spcPct val="0"/>
              </a:spcAft>
              <a:defRPr sz="2400">
                <a:solidFill>
                  <a:schemeClr val="tx1"/>
                </a:solidFill>
                <a:latin typeface="Arial" pitchFamily="34" charset="0"/>
              </a:defRPr>
            </a:lvl6pPr>
            <a:lvl7pPr marL="2971800" indent="-228600" fontAlgn="base">
              <a:spcBef>
                <a:spcPct val="0"/>
              </a:spcBef>
              <a:spcAft>
                <a:spcPct val="0"/>
              </a:spcAft>
              <a:defRPr sz="2400">
                <a:solidFill>
                  <a:schemeClr val="tx1"/>
                </a:solidFill>
                <a:latin typeface="Arial" pitchFamily="34" charset="0"/>
              </a:defRPr>
            </a:lvl7pPr>
            <a:lvl8pPr marL="3429000" indent="-228600" fontAlgn="base">
              <a:spcBef>
                <a:spcPct val="0"/>
              </a:spcBef>
              <a:spcAft>
                <a:spcPct val="0"/>
              </a:spcAft>
              <a:defRPr sz="2400">
                <a:solidFill>
                  <a:schemeClr val="tx1"/>
                </a:solidFill>
                <a:latin typeface="Arial" pitchFamily="34" charset="0"/>
              </a:defRPr>
            </a:lvl8pPr>
            <a:lvl9pPr marL="3886200" indent="-228600" fontAlgn="base">
              <a:spcBef>
                <a:spcPct val="0"/>
              </a:spcBef>
              <a:spcAft>
                <a:spcPct val="0"/>
              </a:spcAft>
              <a:defRPr sz="2400">
                <a:solidFill>
                  <a:schemeClr val="tx1"/>
                </a:solidFill>
                <a:latin typeface="Arial" pitchFamily="34" charset="0"/>
              </a:defRPr>
            </a:lvl9pPr>
          </a:lstStyle>
          <a:p>
            <a:r>
              <a:rPr lang="en-US" sz="900" dirty="0">
                <a:solidFill>
                  <a:srgbClr val="000000"/>
                </a:solidFill>
                <a:latin typeface="Arial"/>
              </a:rPr>
              <a:t>Clean teams</a:t>
            </a:r>
          </a:p>
        </p:txBody>
      </p:sp>
      <p:pic>
        <p:nvPicPr>
          <p:cNvPr id="15" name="Picture 14"/>
          <p:cNvPicPr>
            <a:picLocks/>
          </p:cNvPicPr>
          <p:nvPr/>
        </p:nvPicPr>
        <p:blipFill>
          <a:blip r:embed="rId37" cstate="screen">
            <a:extLst>
              <a:ext uri="{28A0092B-C50C-407E-A947-70E740481C1C}">
                <a14:useLocalDpi xmlns:a14="http://schemas.microsoft.com/office/drawing/2010/main"/>
              </a:ext>
            </a:extLst>
          </a:blip>
          <a:stretch>
            <a:fillRect/>
          </a:stretch>
        </p:blipFill>
        <p:spPr>
          <a:xfrm>
            <a:off x="5842282" y="1774988"/>
            <a:ext cx="471731" cy="276325"/>
          </a:xfrm>
          <a:prstGeom prst="rect">
            <a:avLst/>
          </a:prstGeom>
          <a:effectLst>
            <a:outerShdw blurRad="63500" sx="102000" sy="102000" algn="ctr" rotWithShape="0">
              <a:prstClr val="black">
                <a:alpha val="40000"/>
              </a:prstClr>
            </a:outerShdw>
          </a:effectLst>
        </p:spPr>
      </p:pic>
      <p:sp>
        <p:nvSpPr>
          <p:cNvPr id="193" name="Rectangle 50"/>
          <p:cNvSpPr>
            <a:spLocks noChangeArrowheads="1"/>
          </p:cNvSpPr>
          <p:nvPr/>
        </p:nvSpPr>
        <p:spPr bwMode="auto">
          <a:xfrm flipH="1">
            <a:off x="6495020" y="2101352"/>
            <a:ext cx="1011633"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t" anchorCtr="0">
            <a:spAutoFit/>
          </a:bodyPr>
          <a:lstStyle>
            <a:lvl1pPr>
              <a:defRPr sz="2400">
                <a:solidFill>
                  <a:schemeClr val="tx1"/>
                </a:solidFill>
                <a:latin typeface="Arial" pitchFamily="34" charset="0"/>
              </a:defRPr>
            </a:lvl1pPr>
            <a:lvl2pPr marL="742950" indent="-285750">
              <a:defRPr sz="2400">
                <a:solidFill>
                  <a:schemeClr val="tx1"/>
                </a:solidFill>
                <a:latin typeface="Arial" pitchFamily="34" charset="0"/>
              </a:defRPr>
            </a:lvl2pPr>
            <a:lvl3pPr marL="1143000" indent="-228600">
              <a:defRPr sz="2400">
                <a:solidFill>
                  <a:schemeClr val="tx1"/>
                </a:solidFill>
                <a:latin typeface="Arial" pitchFamily="34" charset="0"/>
              </a:defRPr>
            </a:lvl3pPr>
            <a:lvl4pPr marL="1600200" indent="-228600">
              <a:defRPr sz="2400">
                <a:solidFill>
                  <a:schemeClr val="tx1"/>
                </a:solidFill>
                <a:latin typeface="Arial" pitchFamily="34" charset="0"/>
              </a:defRPr>
            </a:lvl4pPr>
            <a:lvl5pPr marL="2057400" indent="-228600">
              <a:defRPr sz="2400">
                <a:solidFill>
                  <a:schemeClr val="tx1"/>
                </a:solidFill>
                <a:latin typeface="Arial" pitchFamily="34" charset="0"/>
              </a:defRPr>
            </a:lvl5pPr>
            <a:lvl6pPr marL="2514600" indent="-228600" fontAlgn="base">
              <a:spcBef>
                <a:spcPct val="0"/>
              </a:spcBef>
              <a:spcAft>
                <a:spcPct val="0"/>
              </a:spcAft>
              <a:defRPr sz="2400">
                <a:solidFill>
                  <a:schemeClr val="tx1"/>
                </a:solidFill>
                <a:latin typeface="Arial" pitchFamily="34" charset="0"/>
              </a:defRPr>
            </a:lvl6pPr>
            <a:lvl7pPr marL="2971800" indent="-228600" fontAlgn="base">
              <a:spcBef>
                <a:spcPct val="0"/>
              </a:spcBef>
              <a:spcAft>
                <a:spcPct val="0"/>
              </a:spcAft>
              <a:defRPr sz="2400">
                <a:solidFill>
                  <a:schemeClr val="tx1"/>
                </a:solidFill>
                <a:latin typeface="Arial" pitchFamily="34" charset="0"/>
              </a:defRPr>
            </a:lvl7pPr>
            <a:lvl8pPr marL="3429000" indent="-228600" fontAlgn="base">
              <a:spcBef>
                <a:spcPct val="0"/>
              </a:spcBef>
              <a:spcAft>
                <a:spcPct val="0"/>
              </a:spcAft>
              <a:defRPr sz="2400">
                <a:solidFill>
                  <a:schemeClr val="tx1"/>
                </a:solidFill>
                <a:latin typeface="Arial" pitchFamily="34" charset="0"/>
              </a:defRPr>
            </a:lvl8pPr>
            <a:lvl9pPr marL="3886200" indent="-228600" fontAlgn="base">
              <a:spcBef>
                <a:spcPct val="0"/>
              </a:spcBef>
              <a:spcAft>
                <a:spcPct val="0"/>
              </a:spcAft>
              <a:defRPr sz="2400">
                <a:solidFill>
                  <a:schemeClr val="tx1"/>
                </a:solidFill>
                <a:latin typeface="Arial" pitchFamily="34" charset="0"/>
              </a:defRPr>
            </a:lvl9pPr>
          </a:lstStyle>
          <a:p>
            <a:r>
              <a:rPr lang="en-US" sz="900" dirty="0">
                <a:solidFill>
                  <a:srgbClr val="000000"/>
                </a:solidFill>
                <a:latin typeface="Arial"/>
              </a:rPr>
              <a:t>Risk management</a:t>
            </a:r>
          </a:p>
        </p:txBody>
      </p:sp>
      <p:pic>
        <p:nvPicPr>
          <p:cNvPr id="25" name="Picture 24"/>
          <p:cNvPicPr>
            <a:picLocks/>
          </p:cNvPicPr>
          <p:nvPr/>
        </p:nvPicPr>
        <p:blipFill>
          <a:blip r:embed="rId38" cstate="screen">
            <a:extLst>
              <a:ext uri="{28A0092B-C50C-407E-A947-70E740481C1C}">
                <a14:useLocalDpi xmlns:a14="http://schemas.microsoft.com/office/drawing/2010/main"/>
              </a:ext>
            </a:extLst>
          </a:blip>
          <a:stretch>
            <a:fillRect/>
          </a:stretch>
        </p:blipFill>
        <p:spPr>
          <a:xfrm>
            <a:off x="6787581" y="1771999"/>
            <a:ext cx="471731" cy="276325"/>
          </a:xfrm>
          <a:prstGeom prst="rect">
            <a:avLst/>
          </a:prstGeom>
          <a:effectLst>
            <a:outerShdw blurRad="63500" sx="102000" sy="102000" algn="ctr" rotWithShape="0">
              <a:prstClr val="black">
                <a:alpha val="40000"/>
              </a:prstClr>
            </a:outerShdw>
          </a:effectLst>
        </p:spPr>
      </p:pic>
      <p:cxnSp>
        <p:nvCxnSpPr>
          <p:cNvPr id="1310866" name="Straight Connector 1310865"/>
          <p:cNvCxnSpPr>
            <a:cxnSpLocks/>
          </p:cNvCxnSpPr>
          <p:nvPr/>
        </p:nvCxnSpPr>
        <p:spPr>
          <a:xfrm>
            <a:off x="2155796" y="1779318"/>
            <a:ext cx="0" cy="431791"/>
          </a:xfrm>
          <a:prstGeom prst="line">
            <a:avLst/>
          </a:prstGeom>
          <a:ln w="9525" cap="sq">
            <a:solidFill>
              <a:srgbClr val="808080"/>
            </a:solidFill>
            <a:prstDash val="sysDot"/>
          </a:ln>
        </p:spPr>
        <p:style>
          <a:lnRef idx="1">
            <a:schemeClr val="accent1"/>
          </a:lnRef>
          <a:fillRef idx="0">
            <a:schemeClr val="accent1"/>
          </a:fillRef>
          <a:effectRef idx="0">
            <a:schemeClr val="accent1"/>
          </a:effectRef>
          <a:fontRef idx="minor">
            <a:schemeClr val="tx1"/>
          </a:fontRef>
        </p:style>
      </p:cxnSp>
      <p:cxnSp>
        <p:nvCxnSpPr>
          <p:cNvPr id="217" name="Straight Connector 216"/>
          <p:cNvCxnSpPr>
            <a:cxnSpLocks/>
          </p:cNvCxnSpPr>
          <p:nvPr/>
        </p:nvCxnSpPr>
        <p:spPr>
          <a:xfrm>
            <a:off x="3050063" y="1779318"/>
            <a:ext cx="0" cy="431791"/>
          </a:xfrm>
          <a:prstGeom prst="line">
            <a:avLst/>
          </a:prstGeom>
          <a:ln w="9525" cap="sq">
            <a:solidFill>
              <a:srgbClr val="808080"/>
            </a:solidFill>
            <a:prstDash val="sysDot"/>
          </a:ln>
        </p:spPr>
        <p:style>
          <a:lnRef idx="1">
            <a:schemeClr val="accent1"/>
          </a:lnRef>
          <a:fillRef idx="0">
            <a:schemeClr val="accent1"/>
          </a:fillRef>
          <a:effectRef idx="0">
            <a:schemeClr val="accent1"/>
          </a:effectRef>
          <a:fontRef idx="minor">
            <a:schemeClr val="tx1"/>
          </a:fontRef>
        </p:style>
      </p:cxnSp>
      <p:cxnSp>
        <p:nvCxnSpPr>
          <p:cNvPr id="242" name="Straight Connector 241"/>
          <p:cNvCxnSpPr>
            <a:cxnSpLocks/>
          </p:cNvCxnSpPr>
          <p:nvPr/>
        </p:nvCxnSpPr>
        <p:spPr>
          <a:xfrm>
            <a:off x="4472759" y="1779318"/>
            <a:ext cx="0" cy="431791"/>
          </a:xfrm>
          <a:prstGeom prst="line">
            <a:avLst/>
          </a:prstGeom>
          <a:ln w="9525" cap="sq">
            <a:solidFill>
              <a:srgbClr val="808080"/>
            </a:solidFill>
            <a:prstDash val="sysDot"/>
          </a:ln>
        </p:spPr>
        <p:style>
          <a:lnRef idx="1">
            <a:schemeClr val="accent1"/>
          </a:lnRef>
          <a:fillRef idx="0">
            <a:schemeClr val="accent1"/>
          </a:fillRef>
          <a:effectRef idx="0">
            <a:schemeClr val="accent1"/>
          </a:effectRef>
          <a:fontRef idx="minor">
            <a:schemeClr val="tx1"/>
          </a:fontRef>
        </p:style>
      </p:cxnSp>
      <p:cxnSp>
        <p:nvCxnSpPr>
          <p:cNvPr id="243" name="Straight Connector 242"/>
          <p:cNvCxnSpPr>
            <a:cxnSpLocks/>
          </p:cNvCxnSpPr>
          <p:nvPr/>
        </p:nvCxnSpPr>
        <p:spPr>
          <a:xfrm>
            <a:off x="5612324" y="1779318"/>
            <a:ext cx="0" cy="431791"/>
          </a:xfrm>
          <a:prstGeom prst="line">
            <a:avLst/>
          </a:prstGeom>
          <a:ln w="9525" cap="sq">
            <a:solidFill>
              <a:srgbClr val="808080"/>
            </a:solidFill>
            <a:prstDash val="sysDot"/>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a:cxnSpLocks/>
          </p:cNvCxnSpPr>
          <p:nvPr/>
        </p:nvCxnSpPr>
        <p:spPr>
          <a:xfrm>
            <a:off x="6393274" y="1779318"/>
            <a:ext cx="0" cy="431791"/>
          </a:xfrm>
          <a:prstGeom prst="line">
            <a:avLst/>
          </a:prstGeom>
          <a:ln w="9525" cap="sq">
            <a:solidFill>
              <a:srgbClr val="808080"/>
            </a:solidFill>
            <a:prstDash val="sysDot"/>
          </a:ln>
        </p:spPr>
        <p:style>
          <a:lnRef idx="1">
            <a:schemeClr val="accent1"/>
          </a:lnRef>
          <a:fillRef idx="0">
            <a:schemeClr val="accent1"/>
          </a:fillRef>
          <a:effectRef idx="0">
            <a:schemeClr val="accent1"/>
          </a:effectRef>
          <a:fontRef idx="minor">
            <a:schemeClr val="tx1"/>
          </a:fontRef>
        </p:style>
      </p:cxnSp>
      <p:cxnSp>
        <p:nvCxnSpPr>
          <p:cNvPr id="232" name="Straight Connector 231"/>
          <p:cNvCxnSpPr>
            <a:cxnSpLocks/>
          </p:cNvCxnSpPr>
          <p:nvPr/>
        </p:nvCxnSpPr>
        <p:spPr>
          <a:xfrm>
            <a:off x="2106219" y="3786967"/>
            <a:ext cx="0" cy="560542"/>
          </a:xfrm>
          <a:prstGeom prst="line">
            <a:avLst/>
          </a:prstGeom>
          <a:ln w="9525" cap="sq">
            <a:solidFill>
              <a:srgbClr val="808080"/>
            </a:solidFill>
            <a:prstDash val="sysDot"/>
          </a:ln>
        </p:spPr>
        <p:style>
          <a:lnRef idx="1">
            <a:schemeClr val="accent1"/>
          </a:lnRef>
          <a:fillRef idx="0">
            <a:schemeClr val="accent1"/>
          </a:fillRef>
          <a:effectRef idx="0">
            <a:schemeClr val="accent1"/>
          </a:effectRef>
          <a:fontRef idx="minor">
            <a:schemeClr val="tx1"/>
          </a:fontRef>
        </p:style>
      </p:cxnSp>
      <p:cxnSp>
        <p:nvCxnSpPr>
          <p:cNvPr id="233" name="Straight Connector 232"/>
          <p:cNvCxnSpPr>
            <a:cxnSpLocks/>
          </p:cNvCxnSpPr>
          <p:nvPr/>
        </p:nvCxnSpPr>
        <p:spPr>
          <a:xfrm>
            <a:off x="2872785" y="3786967"/>
            <a:ext cx="0" cy="560542"/>
          </a:xfrm>
          <a:prstGeom prst="line">
            <a:avLst/>
          </a:prstGeom>
          <a:ln w="9525" cap="sq">
            <a:solidFill>
              <a:srgbClr val="808080"/>
            </a:solidFill>
            <a:prstDash val="sysDot"/>
          </a:ln>
        </p:spPr>
        <p:style>
          <a:lnRef idx="1">
            <a:schemeClr val="accent1"/>
          </a:lnRef>
          <a:fillRef idx="0">
            <a:schemeClr val="accent1"/>
          </a:fillRef>
          <a:effectRef idx="0">
            <a:schemeClr val="accent1"/>
          </a:effectRef>
          <a:fontRef idx="minor">
            <a:schemeClr val="tx1"/>
          </a:fontRef>
        </p:style>
      </p:cxnSp>
      <p:sp>
        <p:nvSpPr>
          <p:cNvPr id="1239104" name="Rectangle 63"/>
          <p:cNvSpPr>
            <a:spLocks noChangeArrowheads="1"/>
          </p:cNvSpPr>
          <p:nvPr/>
        </p:nvSpPr>
        <p:spPr bwMode="auto">
          <a:xfrm>
            <a:off x="2945563" y="4112268"/>
            <a:ext cx="589478"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t" anchorCtr="0">
            <a:spAutoFit/>
          </a:bodyPr>
          <a:lstStyle>
            <a:lvl1pPr>
              <a:defRPr sz="2400">
                <a:solidFill>
                  <a:schemeClr val="tx1"/>
                </a:solidFill>
                <a:latin typeface="Arial" pitchFamily="34" charset="0"/>
              </a:defRPr>
            </a:lvl1pPr>
            <a:lvl2pPr marL="742950" indent="-285750">
              <a:defRPr sz="2400">
                <a:solidFill>
                  <a:schemeClr val="tx1"/>
                </a:solidFill>
                <a:latin typeface="Arial" pitchFamily="34" charset="0"/>
              </a:defRPr>
            </a:lvl2pPr>
            <a:lvl3pPr marL="1143000" indent="-228600">
              <a:defRPr sz="2400">
                <a:solidFill>
                  <a:schemeClr val="tx1"/>
                </a:solidFill>
                <a:latin typeface="Arial" pitchFamily="34" charset="0"/>
              </a:defRPr>
            </a:lvl3pPr>
            <a:lvl4pPr marL="1600200" indent="-228600">
              <a:defRPr sz="2400">
                <a:solidFill>
                  <a:schemeClr val="tx1"/>
                </a:solidFill>
                <a:latin typeface="Arial" pitchFamily="34" charset="0"/>
              </a:defRPr>
            </a:lvl4pPr>
            <a:lvl5pPr marL="2057400" indent="-228600">
              <a:defRPr sz="2400">
                <a:solidFill>
                  <a:schemeClr val="tx1"/>
                </a:solidFill>
                <a:latin typeface="Arial" pitchFamily="34" charset="0"/>
              </a:defRPr>
            </a:lvl5pPr>
            <a:lvl6pPr marL="2514600" indent="-228600" fontAlgn="base">
              <a:spcBef>
                <a:spcPct val="0"/>
              </a:spcBef>
              <a:spcAft>
                <a:spcPct val="0"/>
              </a:spcAft>
              <a:defRPr sz="2400">
                <a:solidFill>
                  <a:schemeClr val="tx1"/>
                </a:solidFill>
                <a:latin typeface="Arial" pitchFamily="34" charset="0"/>
              </a:defRPr>
            </a:lvl6pPr>
            <a:lvl7pPr marL="2971800" indent="-228600" fontAlgn="base">
              <a:spcBef>
                <a:spcPct val="0"/>
              </a:spcBef>
              <a:spcAft>
                <a:spcPct val="0"/>
              </a:spcAft>
              <a:defRPr sz="2400">
                <a:solidFill>
                  <a:schemeClr val="tx1"/>
                </a:solidFill>
                <a:latin typeface="Arial" pitchFamily="34" charset="0"/>
              </a:defRPr>
            </a:lvl7pPr>
            <a:lvl8pPr marL="3429000" indent="-228600" fontAlgn="base">
              <a:spcBef>
                <a:spcPct val="0"/>
              </a:spcBef>
              <a:spcAft>
                <a:spcPct val="0"/>
              </a:spcAft>
              <a:defRPr sz="2400">
                <a:solidFill>
                  <a:schemeClr val="tx1"/>
                </a:solidFill>
                <a:latin typeface="Arial" pitchFamily="34" charset="0"/>
              </a:defRPr>
            </a:lvl8pPr>
            <a:lvl9pPr marL="3886200" indent="-228600" fontAlgn="base">
              <a:spcBef>
                <a:spcPct val="0"/>
              </a:spcBef>
              <a:spcAft>
                <a:spcPct val="0"/>
              </a:spcAft>
              <a:defRPr sz="2400">
                <a:solidFill>
                  <a:schemeClr val="tx1"/>
                </a:solidFill>
                <a:latin typeface="Arial" pitchFamily="34" charset="0"/>
              </a:defRPr>
            </a:lvl9pPr>
          </a:lstStyle>
          <a:p>
            <a:r>
              <a:rPr lang="en-US" sz="900" dirty="0">
                <a:solidFill>
                  <a:srgbClr val="000000"/>
                </a:solidFill>
                <a:latin typeface="Arial"/>
              </a:rPr>
              <a:t>Functional</a:t>
            </a:r>
            <a:br>
              <a:rPr lang="en-US" sz="900" dirty="0">
                <a:solidFill>
                  <a:srgbClr val="000000"/>
                </a:solidFill>
                <a:latin typeface="Arial"/>
              </a:rPr>
            </a:br>
            <a:r>
              <a:rPr lang="en-US" sz="900" dirty="0">
                <a:solidFill>
                  <a:srgbClr val="000000"/>
                </a:solidFill>
                <a:latin typeface="Arial"/>
              </a:rPr>
              <a:t>binders</a:t>
            </a:r>
          </a:p>
        </p:txBody>
      </p:sp>
      <p:pic>
        <p:nvPicPr>
          <p:cNvPr id="3" name="Picture 2"/>
          <p:cNvPicPr>
            <a:picLocks/>
          </p:cNvPicPr>
          <p:nvPr/>
        </p:nvPicPr>
        <p:blipFill rotWithShape="1">
          <a:blip r:embed="rId39" cstate="screen">
            <a:extLst>
              <a:ext uri="{28A0092B-C50C-407E-A947-70E740481C1C}">
                <a14:useLocalDpi xmlns:a14="http://schemas.microsoft.com/office/drawing/2010/main"/>
              </a:ext>
            </a:extLst>
          </a:blip>
          <a:srcRect/>
          <a:stretch/>
        </p:blipFill>
        <p:spPr>
          <a:xfrm>
            <a:off x="3004436" y="3786967"/>
            <a:ext cx="471731" cy="276325"/>
          </a:xfrm>
          <a:prstGeom prst="rect">
            <a:avLst/>
          </a:prstGeom>
          <a:effectLst>
            <a:outerShdw blurRad="63500" sx="102000" sy="102000" algn="ctr" rotWithShape="0">
              <a:prstClr val="black">
                <a:alpha val="40000"/>
              </a:prstClr>
            </a:outerShdw>
          </a:effectLst>
        </p:spPr>
      </p:pic>
      <p:sp>
        <p:nvSpPr>
          <p:cNvPr id="1239127" name="Rectangle 131"/>
          <p:cNvSpPr>
            <a:spLocks noChangeArrowheads="1"/>
          </p:cNvSpPr>
          <p:nvPr/>
        </p:nvSpPr>
        <p:spPr bwMode="auto">
          <a:xfrm>
            <a:off x="2178998" y="4079649"/>
            <a:ext cx="621009"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t" anchorCtr="0">
            <a:spAutoFit/>
          </a:bodyPr>
          <a:lstStyle>
            <a:lvl1pPr>
              <a:defRPr sz="2400">
                <a:solidFill>
                  <a:schemeClr val="tx1"/>
                </a:solidFill>
                <a:latin typeface="Arial" pitchFamily="34" charset="0"/>
              </a:defRPr>
            </a:lvl1pPr>
            <a:lvl2pPr marL="742950" indent="-285750">
              <a:defRPr sz="2400">
                <a:solidFill>
                  <a:schemeClr val="tx1"/>
                </a:solidFill>
                <a:latin typeface="Arial" pitchFamily="34" charset="0"/>
              </a:defRPr>
            </a:lvl2pPr>
            <a:lvl3pPr marL="1143000" indent="-228600">
              <a:defRPr sz="2400">
                <a:solidFill>
                  <a:schemeClr val="tx1"/>
                </a:solidFill>
                <a:latin typeface="Arial" pitchFamily="34" charset="0"/>
              </a:defRPr>
            </a:lvl3pPr>
            <a:lvl4pPr marL="1600200" indent="-228600">
              <a:defRPr sz="2400">
                <a:solidFill>
                  <a:schemeClr val="tx1"/>
                </a:solidFill>
                <a:latin typeface="Arial" pitchFamily="34" charset="0"/>
              </a:defRPr>
            </a:lvl4pPr>
            <a:lvl5pPr marL="2057400" indent="-228600">
              <a:defRPr sz="2400">
                <a:solidFill>
                  <a:schemeClr val="tx1"/>
                </a:solidFill>
                <a:latin typeface="Arial" pitchFamily="34" charset="0"/>
              </a:defRPr>
            </a:lvl5pPr>
            <a:lvl6pPr marL="2514600" indent="-228600" fontAlgn="base">
              <a:spcBef>
                <a:spcPct val="0"/>
              </a:spcBef>
              <a:spcAft>
                <a:spcPct val="0"/>
              </a:spcAft>
              <a:defRPr sz="2400">
                <a:solidFill>
                  <a:schemeClr val="tx1"/>
                </a:solidFill>
                <a:latin typeface="Arial" pitchFamily="34" charset="0"/>
              </a:defRPr>
            </a:lvl6pPr>
            <a:lvl7pPr marL="2971800" indent="-228600" fontAlgn="base">
              <a:spcBef>
                <a:spcPct val="0"/>
              </a:spcBef>
              <a:spcAft>
                <a:spcPct val="0"/>
              </a:spcAft>
              <a:defRPr sz="2400">
                <a:solidFill>
                  <a:schemeClr val="tx1"/>
                </a:solidFill>
                <a:latin typeface="Arial" pitchFamily="34" charset="0"/>
              </a:defRPr>
            </a:lvl7pPr>
            <a:lvl8pPr marL="3429000" indent="-228600" fontAlgn="base">
              <a:spcBef>
                <a:spcPct val="0"/>
              </a:spcBef>
              <a:spcAft>
                <a:spcPct val="0"/>
              </a:spcAft>
              <a:defRPr sz="2400">
                <a:solidFill>
                  <a:schemeClr val="tx1"/>
                </a:solidFill>
                <a:latin typeface="Arial" pitchFamily="34" charset="0"/>
              </a:defRPr>
            </a:lvl8pPr>
            <a:lvl9pPr marL="3886200" indent="-228600" fontAlgn="base">
              <a:spcBef>
                <a:spcPct val="0"/>
              </a:spcBef>
              <a:spcAft>
                <a:spcPct val="0"/>
              </a:spcAft>
              <a:defRPr sz="2400">
                <a:solidFill>
                  <a:schemeClr val="tx1"/>
                </a:solidFill>
                <a:latin typeface="Arial" pitchFamily="34" charset="0"/>
              </a:defRPr>
            </a:lvl9pPr>
          </a:lstStyle>
          <a:p>
            <a:r>
              <a:rPr lang="en-US" sz="900" dirty="0">
                <a:solidFill>
                  <a:srgbClr val="000000"/>
                </a:solidFill>
                <a:latin typeface="Arial"/>
              </a:rPr>
              <a:t>Day 1 checklists</a:t>
            </a:r>
          </a:p>
        </p:txBody>
      </p:sp>
      <p:pic>
        <p:nvPicPr>
          <p:cNvPr id="4" name="Picture 3"/>
          <p:cNvPicPr>
            <a:picLocks/>
          </p:cNvPicPr>
          <p:nvPr/>
        </p:nvPicPr>
        <p:blipFill>
          <a:blip r:embed="rId40" cstate="screen">
            <a:extLst>
              <a:ext uri="{28A0092B-C50C-407E-A947-70E740481C1C}">
                <a14:useLocalDpi xmlns:a14="http://schemas.microsoft.com/office/drawing/2010/main"/>
              </a:ext>
            </a:extLst>
          </a:blip>
          <a:stretch>
            <a:fillRect/>
          </a:stretch>
        </p:blipFill>
        <p:spPr>
          <a:xfrm>
            <a:off x="2253636" y="3786967"/>
            <a:ext cx="471731" cy="276325"/>
          </a:xfrm>
          <a:prstGeom prst="rect">
            <a:avLst/>
          </a:prstGeom>
          <a:effectLst>
            <a:outerShdw blurRad="63500" sx="102000" sy="102000" algn="ctr" rotWithShape="0">
              <a:prstClr val="black">
                <a:alpha val="40000"/>
              </a:prstClr>
            </a:outerShdw>
          </a:effectLst>
        </p:spPr>
      </p:pic>
      <p:sp>
        <p:nvSpPr>
          <p:cNvPr id="1239102" name="Rectangle 61"/>
          <p:cNvSpPr>
            <a:spLocks noChangeArrowheads="1"/>
          </p:cNvSpPr>
          <p:nvPr/>
        </p:nvSpPr>
        <p:spPr bwMode="auto">
          <a:xfrm>
            <a:off x="1492241" y="4079649"/>
            <a:ext cx="541200"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t" anchorCtr="0">
            <a:spAutoFit/>
          </a:bodyPr>
          <a:lstStyle>
            <a:lvl1pPr>
              <a:defRPr sz="2400">
                <a:solidFill>
                  <a:schemeClr val="tx1"/>
                </a:solidFill>
                <a:latin typeface="Arial" pitchFamily="34" charset="0"/>
              </a:defRPr>
            </a:lvl1pPr>
            <a:lvl2pPr marL="742950" indent="-285750">
              <a:defRPr sz="2400">
                <a:solidFill>
                  <a:schemeClr val="tx1"/>
                </a:solidFill>
                <a:latin typeface="Arial" pitchFamily="34" charset="0"/>
              </a:defRPr>
            </a:lvl2pPr>
            <a:lvl3pPr marL="1143000" indent="-228600">
              <a:defRPr sz="2400">
                <a:solidFill>
                  <a:schemeClr val="tx1"/>
                </a:solidFill>
                <a:latin typeface="Arial" pitchFamily="34" charset="0"/>
              </a:defRPr>
            </a:lvl3pPr>
            <a:lvl4pPr marL="1600200" indent="-228600">
              <a:defRPr sz="2400">
                <a:solidFill>
                  <a:schemeClr val="tx1"/>
                </a:solidFill>
                <a:latin typeface="Arial" pitchFamily="34" charset="0"/>
              </a:defRPr>
            </a:lvl4pPr>
            <a:lvl5pPr marL="2057400" indent="-228600">
              <a:defRPr sz="2400">
                <a:solidFill>
                  <a:schemeClr val="tx1"/>
                </a:solidFill>
                <a:latin typeface="Arial" pitchFamily="34" charset="0"/>
              </a:defRPr>
            </a:lvl5pPr>
            <a:lvl6pPr marL="2514600" indent="-228600" fontAlgn="base">
              <a:spcBef>
                <a:spcPct val="0"/>
              </a:spcBef>
              <a:spcAft>
                <a:spcPct val="0"/>
              </a:spcAft>
              <a:defRPr sz="2400">
                <a:solidFill>
                  <a:schemeClr val="tx1"/>
                </a:solidFill>
                <a:latin typeface="Arial" pitchFamily="34" charset="0"/>
              </a:defRPr>
            </a:lvl6pPr>
            <a:lvl7pPr marL="2971800" indent="-228600" fontAlgn="base">
              <a:spcBef>
                <a:spcPct val="0"/>
              </a:spcBef>
              <a:spcAft>
                <a:spcPct val="0"/>
              </a:spcAft>
              <a:defRPr sz="2400">
                <a:solidFill>
                  <a:schemeClr val="tx1"/>
                </a:solidFill>
                <a:latin typeface="Arial" pitchFamily="34" charset="0"/>
              </a:defRPr>
            </a:lvl7pPr>
            <a:lvl8pPr marL="3429000" indent="-228600" fontAlgn="base">
              <a:spcBef>
                <a:spcPct val="0"/>
              </a:spcBef>
              <a:spcAft>
                <a:spcPct val="0"/>
              </a:spcAft>
              <a:defRPr sz="2400">
                <a:solidFill>
                  <a:schemeClr val="tx1"/>
                </a:solidFill>
                <a:latin typeface="Arial" pitchFamily="34" charset="0"/>
              </a:defRPr>
            </a:lvl8pPr>
            <a:lvl9pPr marL="3886200" indent="-228600" fontAlgn="base">
              <a:spcBef>
                <a:spcPct val="0"/>
              </a:spcBef>
              <a:spcAft>
                <a:spcPct val="0"/>
              </a:spcAft>
              <a:defRPr sz="2400">
                <a:solidFill>
                  <a:schemeClr val="tx1"/>
                </a:solidFill>
                <a:latin typeface="Arial" pitchFamily="34" charset="0"/>
              </a:defRPr>
            </a:lvl9pPr>
          </a:lstStyle>
          <a:p>
            <a:r>
              <a:rPr lang="en-US" sz="900" dirty="0">
                <a:solidFill>
                  <a:srgbClr val="000000"/>
                </a:solidFill>
                <a:latin typeface="Arial"/>
              </a:rPr>
              <a:t>Team charters</a:t>
            </a:r>
          </a:p>
        </p:txBody>
      </p:sp>
      <p:pic>
        <p:nvPicPr>
          <p:cNvPr id="5" name="Picture 4"/>
          <p:cNvPicPr>
            <a:picLocks/>
          </p:cNvPicPr>
          <p:nvPr/>
        </p:nvPicPr>
        <p:blipFill>
          <a:blip r:embed="rId41" cstate="screen">
            <a:extLst>
              <a:ext uri="{28A0092B-C50C-407E-A947-70E740481C1C}">
                <a14:useLocalDpi xmlns:a14="http://schemas.microsoft.com/office/drawing/2010/main"/>
              </a:ext>
            </a:extLst>
          </a:blip>
          <a:stretch>
            <a:fillRect/>
          </a:stretch>
        </p:blipFill>
        <p:spPr>
          <a:xfrm>
            <a:off x="1526976" y="3786967"/>
            <a:ext cx="471731" cy="276325"/>
          </a:xfrm>
          <a:prstGeom prst="rect">
            <a:avLst/>
          </a:prstGeom>
          <a:effectLst>
            <a:outerShdw blurRad="63500" sx="102000" sy="102000" algn="ctr" rotWithShape="0">
              <a:prstClr val="black">
                <a:alpha val="40000"/>
              </a:prstClr>
            </a:outerShdw>
          </a:effectLst>
        </p:spPr>
      </p:pic>
      <p:sp>
        <p:nvSpPr>
          <p:cNvPr id="1239156" name="Rectangle 153"/>
          <p:cNvSpPr>
            <a:spLocks noChangeArrowheads="1"/>
          </p:cNvSpPr>
          <p:nvPr/>
        </p:nvSpPr>
        <p:spPr bwMode="auto">
          <a:xfrm>
            <a:off x="5747084" y="4086563"/>
            <a:ext cx="807007"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t" anchorCtr="0">
            <a:spAutoFit/>
          </a:bodyPr>
          <a:lstStyle>
            <a:lvl1pPr>
              <a:defRPr sz="2400">
                <a:solidFill>
                  <a:schemeClr val="tx1"/>
                </a:solidFill>
                <a:latin typeface="Arial" pitchFamily="34" charset="0"/>
              </a:defRPr>
            </a:lvl1pPr>
            <a:lvl2pPr marL="742950" indent="-285750">
              <a:defRPr sz="2400">
                <a:solidFill>
                  <a:schemeClr val="tx1"/>
                </a:solidFill>
                <a:latin typeface="Arial" pitchFamily="34" charset="0"/>
              </a:defRPr>
            </a:lvl2pPr>
            <a:lvl3pPr marL="1143000" indent="-228600">
              <a:defRPr sz="2400">
                <a:solidFill>
                  <a:schemeClr val="tx1"/>
                </a:solidFill>
                <a:latin typeface="Arial" pitchFamily="34" charset="0"/>
              </a:defRPr>
            </a:lvl3pPr>
            <a:lvl4pPr marL="1600200" indent="-228600">
              <a:defRPr sz="2400">
                <a:solidFill>
                  <a:schemeClr val="tx1"/>
                </a:solidFill>
                <a:latin typeface="Arial" pitchFamily="34" charset="0"/>
              </a:defRPr>
            </a:lvl4pPr>
            <a:lvl5pPr marL="2057400" indent="-228600">
              <a:defRPr sz="2400">
                <a:solidFill>
                  <a:schemeClr val="tx1"/>
                </a:solidFill>
                <a:latin typeface="Arial" pitchFamily="34" charset="0"/>
              </a:defRPr>
            </a:lvl5pPr>
            <a:lvl6pPr marL="2514600" indent="-228600" fontAlgn="base">
              <a:spcBef>
                <a:spcPct val="0"/>
              </a:spcBef>
              <a:spcAft>
                <a:spcPct val="0"/>
              </a:spcAft>
              <a:defRPr sz="2400">
                <a:solidFill>
                  <a:schemeClr val="tx1"/>
                </a:solidFill>
                <a:latin typeface="Arial" pitchFamily="34" charset="0"/>
              </a:defRPr>
            </a:lvl6pPr>
            <a:lvl7pPr marL="2971800" indent="-228600" fontAlgn="base">
              <a:spcBef>
                <a:spcPct val="0"/>
              </a:spcBef>
              <a:spcAft>
                <a:spcPct val="0"/>
              </a:spcAft>
              <a:defRPr sz="2400">
                <a:solidFill>
                  <a:schemeClr val="tx1"/>
                </a:solidFill>
                <a:latin typeface="Arial" pitchFamily="34" charset="0"/>
              </a:defRPr>
            </a:lvl7pPr>
            <a:lvl8pPr marL="3429000" indent="-228600" fontAlgn="base">
              <a:spcBef>
                <a:spcPct val="0"/>
              </a:spcBef>
              <a:spcAft>
                <a:spcPct val="0"/>
              </a:spcAft>
              <a:defRPr sz="2400">
                <a:solidFill>
                  <a:schemeClr val="tx1"/>
                </a:solidFill>
                <a:latin typeface="Arial" pitchFamily="34" charset="0"/>
              </a:defRPr>
            </a:lvl8pPr>
            <a:lvl9pPr marL="3886200" indent="-228600" fontAlgn="base">
              <a:spcBef>
                <a:spcPct val="0"/>
              </a:spcBef>
              <a:spcAft>
                <a:spcPct val="0"/>
              </a:spcAft>
              <a:defRPr sz="2400">
                <a:solidFill>
                  <a:schemeClr val="tx1"/>
                </a:solidFill>
                <a:latin typeface="Arial" pitchFamily="34" charset="0"/>
              </a:defRPr>
            </a:lvl9pPr>
          </a:lstStyle>
          <a:p>
            <a:r>
              <a:rPr lang="en-US" sz="900" dirty="0">
                <a:solidFill>
                  <a:srgbClr val="000000"/>
                </a:solidFill>
                <a:latin typeface="Arial"/>
              </a:rPr>
              <a:t>Value Assurance 360</a:t>
            </a:r>
          </a:p>
        </p:txBody>
      </p:sp>
      <p:pic>
        <p:nvPicPr>
          <p:cNvPr id="1310857" name="Picture 137"/>
          <p:cNvPicPr>
            <a:picLocks noChangeArrowheads="1"/>
          </p:cNvPicPr>
          <p:nvPr/>
        </p:nvPicPr>
        <p:blipFill rotWithShape="1">
          <a:blip r:embed="rId42" cstate="email">
            <a:extLst>
              <a:ext uri="{28A0092B-C50C-407E-A947-70E740481C1C}">
                <a14:useLocalDpi xmlns:a14="http://schemas.microsoft.com/office/drawing/2010/main"/>
              </a:ext>
            </a:extLst>
          </a:blip>
          <a:srcRect/>
          <a:stretch/>
        </p:blipFill>
        <p:spPr bwMode="auto">
          <a:xfrm>
            <a:off x="5914721" y="3786967"/>
            <a:ext cx="471731" cy="276325"/>
          </a:xfrm>
          <a:prstGeom prst="rect">
            <a:avLst/>
          </a:prstGeom>
          <a:noFill/>
          <a:ln>
            <a:noFill/>
          </a:ln>
          <a:effectLst>
            <a:outerShdw blurRad="63500" sx="102000" sy="102000" algn="ctr" rotWithShape="0">
              <a:prstClr val="black">
                <a:alpha val="40000"/>
              </a:prst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cxnSp>
        <p:nvCxnSpPr>
          <p:cNvPr id="239" name="Straight Connector 238"/>
          <p:cNvCxnSpPr>
            <a:cxnSpLocks/>
          </p:cNvCxnSpPr>
          <p:nvPr/>
        </p:nvCxnSpPr>
        <p:spPr>
          <a:xfrm>
            <a:off x="6626869" y="3786967"/>
            <a:ext cx="0" cy="560542"/>
          </a:xfrm>
          <a:prstGeom prst="line">
            <a:avLst/>
          </a:prstGeom>
          <a:ln w="9525" cap="sq">
            <a:solidFill>
              <a:srgbClr val="808080"/>
            </a:solidFill>
            <a:prstDash val="sysDot"/>
          </a:ln>
        </p:spPr>
        <p:style>
          <a:lnRef idx="1">
            <a:schemeClr val="accent1"/>
          </a:lnRef>
          <a:fillRef idx="0">
            <a:schemeClr val="accent1"/>
          </a:fillRef>
          <a:effectRef idx="0">
            <a:schemeClr val="accent1"/>
          </a:effectRef>
          <a:fontRef idx="minor">
            <a:schemeClr val="tx1"/>
          </a:fontRef>
        </p:style>
      </p:cxnSp>
      <p:sp>
        <p:nvSpPr>
          <p:cNvPr id="1239134" name="Rectangle 26"/>
          <p:cNvSpPr>
            <a:spLocks noChangeArrowheads="1"/>
          </p:cNvSpPr>
          <p:nvPr/>
        </p:nvSpPr>
        <p:spPr bwMode="gray">
          <a:xfrm>
            <a:off x="1516564" y="3505704"/>
            <a:ext cx="5990089"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b" anchorCtr="0">
            <a:spAutoFit/>
          </a:bodyPr>
          <a:lstStyle>
            <a:lvl1pPr defTabSz="787400">
              <a:defRPr sz="2400">
                <a:solidFill>
                  <a:schemeClr val="tx1"/>
                </a:solidFill>
                <a:latin typeface="Arial" pitchFamily="34" charset="0"/>
              </a:defRPr>
            </a:lvl1pPr>
            <a:lvl2pPr marL="742950" indent="-285750" defTabSz="787400">
              <a:defRPr sz="2400">
                <a:solidFill>
                  <a:schemeClr val="tx1"/>
                </a:solidFill>
                <a:latin typeface="Arial" pitchFamily="34" charset="0"/>
              </a:defRPr>
            </a:lvl2pPr>
            <a:lvl3pPr marL="1143000" indent="-228600" defTabSz="787400">
              <a:defRPr sz="2400">
                <a:solidFill>
                  <a:schemeClr val="tx1"/>
                </a:solidFill>
                <a:latin typeface="Arial" pitchFamily="34" charset="0"/>
              </a:defRPr>
            </a:lvl3pPr>
            <a:lvl4pPr marL="1600200" indent="-228600" defTabSz="787400">
              <a:defRPr sz="2400">
                <a:solidFill>
                  <a:schemeClr val="tx1"/>
                </a:solidFill>
                <a:latin typeface="Arial" pitchFamily="34" charset="0"/>
              </a:defRPr>
            </a:lvl4pPr>
            <a:lvl5pPr marL="2057400" indent="-228600" defTabSz="787400">
              <a:defRPr sz="2400">
                <a:solidFill>
                  <a:schemeClr val="tx1"/>
                </a:solidFill>
                <a:latin typeface="Arial" pitchFamily="34" charset="0"/>
              </a:defRPr>
            </a:lvl5pPr>
            <a:lvl6pPr marL="2514600" indent="-228600" defTabSz="787400" fontAlgn="base">
              <a:spcBef>
                <a:spcPct val="0"/>
              </a:spcBef>
              <a:spcAft>
                <a:spcPct val="0"/>
              </a:spcAft>
              <a:defRPr sz="2400">
                <a:solidFill>
                  <a:schemeClr val="tx1"/>
                </a:solidFill>
                <a:latin typeface="Arial" pitchFamily="34" charset="0"/>
              </a:defRPr>
            </a:lvl6pPr>
            <a:lvl7pPr marL="2971800" indent="-228600" defTabSz="787400" fontAlgn="base">
              <a:spcBef>
                <a:spcPct val="0"/>
              </a:spcBef>
              <a:spcAft>
                <a:spcPct val="0"/>
              </a:spcAft>
              <a:defRPr sz="2400">
                <a:solidFill>
                  <a:schemeClr val="tx1"/>
                </a:solidFill>
                <a:latin typeface="Arial" pitchFamily="34" charset="0"/>
              </a:defRPr>
            </a:lvl7pPr>
            <a:lvl8pPr marL="3429000" indent="-228600" defTabSz="787400" fontAlgn="base">
              <a:spcBef>
                <a:spcPct val="0"/>
              </a:spcBef>
              <a:spcAft>
                <a:spcPct val="0"/>
              </a:spcAft>
              <a:defRPr sz="2400">
                <a:solidFill>
                  <a:schemeClr val="tx1"/>
                </a:solidFill>
                <a:latin typeface="Arial" pitchFamily="34" charset="0"/>
              </a:defRPr>
            </a:lvl8pPr>
            <a:lvl9pPr marL="3886200" indent="-228600" defTabSz="787400" fontAlgn="base">
              <a:spcBef>
                <a:spcPct val="0"/>
              </a:spcBef>
              <a:spcAft>
                <a:spcPct val="0"/>
              </a:spcAft>
              <a:defRPr sz="2400">
                <a:solidFill>
                  <a:schemeClr val="tx1"/>
                </a:solidFill>
                <a:latin typeface="Arial" pitchFamily="34" charset="0"/>
              </a:defRPr>
            </a:lvl9pPr>
          </a:lstStyle>
          <a:p>
            <a:pPr>
              <a:spcBef>
                <a:spcPct val="40000"/>
              </a:spcBef>
              <a:buClr>
                <a:srgbClr val="002960"/>
              </a:buClr>
            </a:pPr>
            <a:r>
              <a:rPr lang="en-US" sz="900" b="1" dirty="0">
                <a:solidFill>
                  <a:schemeClr val="accent3"/>
                </a:solidFill>
                <a:latin typeface="Arial"/>
              </a:rPr>
              <a:t>Functional integration teams -sales, R&amp;D, production, finance, HR, …</a:t>
            </a:r>
          </a:p>
        </p:txBody>
      </p:sp>
      <p:cxnSp>
        <p:nvCxnSpPr>
          <p:cNvPr id="156" name="Straight Arrow Connector 155"/>
          <p:cNvCxnSpPr>
            <a:cxnSpLocks/>
          </p:cNvCxnSpPr>
          <p:nvPr/>
        </p:nvCxnSpPr>
        <p:spPr>
          <a:xfrm>
            <a:off x="1516564" y="3652361"/>
            <a:ext cx="5972015" cy="0"/>
          </a:xfrm>
          <a:prstGeom prst="straightConnector1">
            <a:avLst/>
          </a:prstGeom>
          <a:ln w="9525" cap="sq">
            <a:solidFill>
              <a:schemeClr val="accent3"/>
            </a:solidFill>
            <a:prstDash val="solid"/>
          </a:ln>
        </p:spPr>
        <p:style>
          <a:lnRef idx="1">
            <a:schemeClr val="accent1"/>
          </a:lnRef>
          <a:fillRef idx="0">
            <a:schemeClr val="accent1"/>
          </a:fillRef>
          <a:effectRef idx="0">
            <a:schemeClr val="accent1"/>
          </a:effectRef>
          <a:fontRef idx="minor">
            <a:schemeClr val="tx1"/>
          </a:fontRef>
        </p:style>
      </p:cxnSp>
      <p:cxnSp>
        <p:nvCxnSpPr>
          <p:cNvPr id="231" name="Straight Connector 230"/>
          <p:cNvCxnSpPr>
            <a:cxnSpLocks/>
          </p:cNvCxnSpPr>
          <p:nvPr/>
        </p:nvCxnSpPr>
        <p:spPr>
          <a:xfrm>
            <a:off x="3607819" y="3786967"/>
            <a:ext cx="0" cy="560542"/>
          </a:xfrm>
          <a:prstGeom prst="line">
            <a:avLst/>
          </a:prstGeom>
          <a:ln w="9525" cap="sq">
            <a:solidFill>
              <a:srgbClr val="808080"/>
            </a:solidFill>
            <a:prstDash val="sysDot"/>
          </a:ln>
        </p:spPr>
        <p:style>
          <a:lnRef idx="1">
            <a:schemeClr val="accent1"/>
          </a:lnRef>
          <a:fillRef idx="0">
            <a:schemeClr val="accent1"/>
          </a:fillRef>
          <a:effectRef idx="0">
            <a:schemeClr val="accent1"/>
          </a:effectRef>
          <a:fontRef idx="minor">
            <a:schemeClr val="tx1"/>
          </a:fontRef>
        </p:style>
      </p:cxnSp>
      <p:pic>
        <p:nvPicPr>
          <p:cNvPr id="164" name="Picture 8"/>
          <p:cNvPicPr>
            <a:picLocks noChangeArrowheads="1"/>
          </p:cNvPicPr>
          <p:nvPr/>
        </p:nvPicPr>
        <p:blipFill>
          <a:blip r:embed="rId43" cstate="email">
            <a:extLst>
              <a:ext uri="{28A0092B-C50C-407E-A947-70E740481C1C}">
                <a14:useLocalDpi xmlns:a14="http://schemas.microsoft.com/office/drawing/2010/main"/>
              </a:ext>
            </a:extLst>
          </a:blip>
          <a:srcRect/>
          <a:stretch>
            <a:fillRect/>
          </a:stretch>
        </p:blipFill>
        <p:spPr bwMode="auto">
          <a:xfrm>
            <a:off x="3802661" y="3786967"/>
            <a:ext cx="471731" cy="276325"/>
          </a:xfrm>
          <a:prstGeom prst="rect">
            <a:avLst/>
          </a:prstGeom>
          <a:noFill/>
          <a:effectLst>
            <a:outerShdw blurRad="63500" sx="102000" sy="102000" algn="ctr"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235" name="Rectangle 61"/>
          <p:cNvSpPr>
            <a:spLocks noChangeArrowheads="1"/>
          </p:cNvSpPr>
          <p:nvPr/>
        </p:nvSpPr>
        <p:spPr bwMode="auto">
          <a:xfrm>
            <a:off x="3680598" y="4173491"/>
            <a:ext cx="715857"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spAutoFit/>
          </a:bodyPr>
          <a:lstStyle>
            <a:lvl1pPr>
              <a:defRPr sz="2400">
                <a:solidFill>
                  <a:schemeClr val="tx1"/>
                </a:solidFill>
                <a:latin typeface="Arial" pitchFamily="34" charset="0"/>
              </a:defRPr>
            </a:lvl1pPr>
            <a:lvl2pPr marL="742950" indent="-285750">
              <a:defRPr sz="2400">
                <a:solidFill>
                  <a:schemeClr val="tx1"/>
                </a:solidFill>
                <a:latin typeface="Arial" pitchFamily="34" charset="0"/>
              </a:defRPr>
            </a:lvl2pPr>
            <a:lvl3pPr marL="1143000" indent="-228600">
              <a:defRPr sz="2400">
                <a:solidFill>
                  <a:schemeClr val="tx1"/>
                </a:solidFill>
                <a:latin typeface="Arial" pitchFamily="34" charset="0"/>
              </a:defRPr>
            </a:lvl3pPr>
            <a:lvl4pPr marL="1600200" indent="-228600">
              <a:defRPr sz="2400">
                <a:solidFill>
                  <a:schemeClr val="tx1"/>
                </a:solidFill>
                <a:latin typeface="Arial" pitchFamily="34" charset="0"/>
              </a:defRPr>
            </a:lvl4pPr>
            <a:lvl5pPr marL="2057400" indent="-228600">
              <a:defRPr sz="2400">
                <a:solidFill>
                  <a:schemeClr val="tx1"/>
                </a:solidFill>
                <a:latin typeface="Arial" pitchFamily="34" charset="0"/>
              </a:defRPr>
            </a:lvl5pPr>
            <a:lvl6pPr marL="2514600" indent="-228600" fontAlgn="base">
              <a:spcBef>
                <a:spcPct val="0"/>
              </a:spcBef>
              <a:spcAft>
                <a:spcPct val="0"/>
              </a:spcAft>
              <a:defRPr sz="2400">
                <a:solidFill>
                  <a:schemeClr val="tx1"/>
                </a:solidFill>
                <a:latin typeface="Arial" pitchFamily="34" charset="0"/>
              </a:defRPr>
            </a:lvl6pPr>
            <a:lvl7pPr marL="2971800" indent="-228600" fontAlgn="base">
              <a:spcBef>
                <a:spcPct val="0"/>
              </a:spcBef>
              <a:spcAft>
                <a:spcPct val="0"/>
              </a:spcAft>
              <a:defRPr sz="2400">
                <a:solidFill>
                  <a:schemeClr val="tx1"/>
                </a:solidFill>
                <a:latin typeface="Arial" pitchFamily="34" charset="0"/>
              </a:defRPr>
            </a:lvl7pPr>
            <a:lvl8pPr marL="3429000" indent="-228600" fontAlgn="base">
              <a:spcBef>
                <a:spcPct val="0"/>
              </a:spcBef>
              <a:spcAft>
                <a:spcPct val="0"/>
              </a:spcAft>
              <a:defRPr sz="2400">
                <a:solidFill>
                  <a:schemeClr val="tx1"/>
                </a:solidFill>
                <a:latin typeface="Arial" pitchFamily="34" charset="0"/>
              </a:defRPr>
            </a:lvl8pPr>
            <a:lvl9pPr marL="3886200" indent="-228600" fontAlgn="base">
              <a:spcBef>
                <a:spcPct val="0"/>
              </a:spcBef>
              <a:spcAft>
                <a:spcPct val="0"/>
              </a:spcAft>
              <a:defRPr sz="2400">
                <a:solidFill>
                  <a:schemeClr val="tx1"/>
                </a:solidFill>
                <a:latin typeface="Arial" pitchFamily="34" charset="0"/>
              </a:defRPr>
            </a:lvl9pPr>
          </a:lstStyle>
          <a:p>
            <a:r>
              <a:rPr lang="en-US" sz="900" dirty="0">
                <a:solidFill>
                  <a:srgbClr val="000000"/>
                </a:solidFill>
                <a:latin typeface="Arial"/>
              </a:rPr>
              <a:t>IT integration</a:t>
            </a:r>
          </a:p>
        </p:txBody>
      </p:sp>
      <p:pic>
        <p:nvPicPr>
          <p:cNvPr id="2" name="Picture 1"/>
          <p:cNvPicPr>
            <a:picLocks/>
          </p:cNvPicPr>
          <p:nvPr/>
        </p:nvPicPr>
        <p:blipFill rotWithShape="1">
          <a:blip r:embed="rId44" cstate="screen">
            <a:extLst>
              <a:ext uri="{28A0092B-C50C-407E-A947-70E740481C1C}">
                <a14:useLocalDpi xmlns:a14="http://schemas.microsoft.com/office/drawing/2010/main"/>
              </a:ext>
            </a:extLst>
          </a:blip>
          <a:srcRect/>
          <a:stretch/>
        </p:blipFill>
        <p:spPr>
          <a:xfrm>
            <a:off x="4835904" y="3786967"/>
            <a:ext cx="471731" cy="276325"/>
          </a:xfrm>
          <a:prstGeom prst="rect">
            <a:avLst/>
          </a:prstGeom>
          <a:effectLst>
            <a:outerShdw blurRad="63500" sx="102000" sy="102000" algn="ctr" rotWithShape="0">
              <a:prstClr val="black">
                <a:alpha val="40000"/>
              </a:prstClr>
            </a:outerShdw>
          </a:effectLst>
        </p:spPr>
      </p:pic>
      <p:sp>
        <p:nvSpPr>
          <p:cNvPr id="238" name="Rectangle 63"/>
          <p:cNvSpPr>
            <a:spLocks noChangeArrowheads="1"/>
          </p:cNvSpPr>
          <p:nvPr/>
        </p:nvSpPr>
        <p:spPr bwMode="auto">
          <a:xfrm>
            <a:off x="4542011" y="4112268"/>
            <a:ext cx="1059516"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t" anchorCtr="0">
            <a:spAutoFit/>
          </a:bodyPr>
          <a:lstStyle>
            <a:lvl1pPr>
              <a:defRPr sz="2400">
                <a:solidFill>
                  <a:schemeClr val="tx1"/>
                </a:solidFill>
                <a:latin typeface="Arial" pitchFamily="34" charset="0"/>
              </a:defRPr>
            </a:lvl1pPr>
            <a:lvl2pPr marL="742950" indent="-285750">
              <a:defRPr sz="2400">
                <a:solidFill>
                  <a:schemeClr val="tx1"/>
                </a:solidFill>
                <a:latin typeface="Arial" pitchFamily="34" charset="0"/>
              </a:defRPr>
            </a:lvl2pPr>
            <a:lvl3pPr marL="1143000" indent="-228600">
              <a:defRPr sz="2400">
                <a:solidFill>
                  <a:schemeClr val="tx1"/>
                </a:solidFill>
                <a:latin typeface="Arial" pitchFamily="34" charset="0"/>
              </a:defRPr>
            </a:lvl3pPr>
            <a:lvl4pPr marL="1600200" indent="-228600">
              <a:defRPr sz="2400">
                <a:solidFill>
                  <a:schemeClr val="tx1"/>
                </a:solidFill>
                <a:latin typeface="Arial" pitchFamily="34" charset="0"/>
              </a:defRPr>
            </a:lvl4pPr>
            <a:lvl5pPr marL="2057400" indent="-228600">
              <a:defRPr sz="2400">
                <a:solidFill>
                  <a:schemeClr val="tx1"/>
                </a:solidFill>
                <a:latin typeface="Arial" pitchFamily="34" charset="0"/>
              </a:defRPr>
            </a:lvl5pPr>
            <a:lvl6pPr marL="2514600" indent="-228600" fontAlgn="base">
              <a:spcBef>
                <a:spcPct val="0"/>
              </a:spcBef>
              <a:spcAft>
                <a:spcPct val="0"/>
              </a:spcAft>
              <a:defRPr sz="2400">
                <a:solidFill>
                  <a:schemeClr val="tx1"/>
                </a:solidFill>
                <a:latin typeface="Arial" pitchFamily="34" charset="0"/>
              </a:defRPr>
            </a:lvl6pPr>
            <a:lvl7pPr marL="2971800" indent="-228600" fontAlgn="base">
              <a:spcBef>
                <a:spcPct val="0"/>
              </a:spcBef>
              <a:spcAft>
                <a:spcPct val="0"/>
              </a:spcAft>
              <a:defRPr sz="2400">
                <a:solidFill>
                  <a:schemeClr val="tx1"/>
                </a:solidFill>
                <a:latin typeface="Arial" pitchFamily="34" charset="0"/>
              </a:defRPr>
            </a:lvl7pPr>
            <a:lvl8pPr marL="3429000" indent="-228600" fontAlgn="base">
              <a:spcBef>
                <a:spcPct val="0"/>
              </a:spcBef>
              <a:spcAft>
                <a:spcPct val="0"/>
              </a:spcAft>
              <a:defRPr sz="2400">
                <a:solidFill>
                  <a:schemeClr val="tx1"/>
                </a:solidFill>
                <a:latin typeface="Arial" pitchFamily="34" charset="0"/>
              </a:defRPr>
            </a:lvl8pPr>
            <a:lvl9pPr marL="3886200" indent="-228600" fontAlgn="base">
              <a:spcBef>
                <a:spcPct val="0"/>
              </a:spcBef>
              <a:spcAft>
                <a:spcPct val="0"/>
              </a:spcAft>
              <a:defRPr sz="2400">
                <a:solidFill>
                  <a:schemeClr val="tx1"/>
                </a:solidFill>
                <a:latin typeface="Arial" pitchFamily="34" charset="0"/>
              </a:defRPr>
            </a:lvl9pPr>
          </a:lstStyle>
          <a:p>
            <a:r>
              <a:rPr lang="en-US" sz="900" dirty="0">
                <a:solidFill>
                  <a:srgbClr val="000000"/>
                </a:solidFill>
                <a:latin typeface="Arial"/>
              </a:rPr>
              <a:t>Corporate Business</a:t>
            </a:r>
            <a:br>
              <a:rPr lang="en-US" sz="900" dirty="0">
                <a:solidFill>
                  <a:srgbClr val="000000"/>
                </a:solidFill>
                <a:latin typeface="Arial"/>
              </a:rPr>
            </a:br>
            <a:r>
              <a:rPr lang="en-US" sz="900" dirty="0">
                <a:solidFill>
                  <a:srgbClr val="000000"/>
                </a:solidFill>
                <a:latin typeface="Arial"/>
              </a:rPr>
              <a:t>Functions</a:t>
            </a:r>
          </a:p>
        </p:txBody>
      </p:sp>
      <p:cxnSp>
        <p:nvCxnSpPr>
          <p:cNvPr id="241" name="Straight Connector 240"/>
          <p:cNvCxnSpPr>
            <a:cxnSpLocks/>
          </p:cNvCxnSpPr>
          <p:nvPr/>
        </p:nvCxnSpPr>
        <p:spPr>
          <a:xfrm>
            <a:off x="4469233" y="3786967"/>
            <a:ext cx="0" cy="560542"/>
          </a:xfrm>
          <a:prstGeom prst="line">
            <a:avLst/>
          </a:prstGeom>
          <a:ln w="9525" cap="sq">
            <a:solidFill>
              <a:srgbClr val="808080"/>
            </a:solidFill>
            <a:prstDash val="sysDot"/>
          </a:ln>
        </p:spPr>
        <p:style>
          <a:lnRef idx="1">
            <a:schemeClr val="accent1"/>
          </a:lnRef>
          <a:fillRef idx="0">
            <a:schemeClr val="accent1"/>
          </a:fillRef>
          <a:effectRef idx="0">
            <a:schemeClr val="accent1"/>
          </a:effectRef>
          <a:fontRef idx="minor">
            <a:schemeClr val="tx1"/>
          </a:fontRef>
        </p:style>
      </p:cxnSp>
      <p:sp>
        <p:nvSpPr>
          <p:cNvPr id="249" name="Rectangle 153"/>
          <p:cNvSpPr>
            <a:spLocks noChangeArrowheads="1"/>
          </p:cNvSpPr>
          <p:nvPr/>
        </p:nvSpPr>
        <p:spPr bwMode="auto">
          <a:xfrm>
            <a:off x="6699646" y="4086855"/>
            <a:ext cx="807007"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t" anchorCtr="0">
            <a:spAutoFit/>
          </a:bodyPr>
          <a:lstStyle>
            <a:lvl1pPr>
              <a:defRPr sz="2400">
                <a:solidFill>
                  <a:schemeClr val="tx1"/>
                </a:solidFill>
                <a:latin typeface="Arial" pitchFamily="34" charset="0"/>
              </a:defRPr>
            </a:lvl1pPr>
            <a:lvl2pPr marL="742950" indent="-285750">
              <a:defRPr sz="2400">
                <a:solidFill>
                  <a:schemeClr val="tx1"/>
                </a:solidFill>
                <a:latin typeface="Arial" pitchFamily="34" charset="0"/>
              </a:defRPr>
            </a:lvl2pPr>
            <a:lvl3pPr marL="1143000" indent="-228600">
              <a:defRPr sz="2400">
                <a:solidFill>
                  <a:schemeClr val="tx1"/>
                </a:solidFill>
                <a:latin typeface="Arial" pitchFamily="34" charset="0"/>
              </a:defRPr>
            </a:lvl3pPr>
            <a:lvl4pPr marL="1600200" indent="-228600">
              <a:defRPr sz="2400">
                <a:solidFill>
                  <a:schemeClr val="tx1"/>
                </a:solidFill>
                <a:latin typeface="Arial" pitchFamily="34" charset="0"/>
              </a:defRPr>
            </a:lvl4pPr>
            <a:lvl5pPr marL="2057400" indent="-228600">
              <a:defRPr sz="2400">
                <a:solidFill>
                  <a:schemeClr val="tx1"/>
                </a:solidFill>
                <a:latin typeface="Arial" pitchFamily="34" charset="0"/>
              </a:defRPr>
            </a:lvl5pPr>
            <a:lvl6pPr marL="2514600" indent="-228600" fontAlgn="base">
              <a:spcBef>
                <a:spcPct val="0"/>
              </a:spcBef>
              <a:spcAft>
                <a:spcPct val="0"/>
              </a:spcAft>
              <a:defRPr sz="2400">
                <a:solidFill>
                  <a:schemeClr val="tx1"/>
                </a:solidFill>
                <a:latin typeface="Arial" pitchFamily="34" charset="0"/>
              </a:defRPr>
            </a:lvl6pPr>
            <a:lvl7pPr marL="2971800" indent="-228600" fontAlgn="base">
              <a:spcBef>
                <a:spcPct val="0"/>
              </a:spcBef>
              <a:spcAft>
                <a:spcPct val="0"/>
              </a:spcAft>
              <a:defRPr sz="2400">
                <a:solidFill>
                  <a:schemeClr val="tx1"/>
                </a:solidFill>
                <a:latin typeface="Arial" pitchFamily="34" charset="0"/>
              </a:defRPr>
            </a:lvl7pPr>
            <a:lvl8pPr marL="3429000" indent="-228600" fontAlgn="base">
              <a:spcBef>
                <a:spcPct val="0"/>
              </a:spcBef>
              <a:spcAft>
                <a:spcPct val="0"/>
              </a:spcAft>
              <a:defRPr sz="2400">
                <a:solidFill>
                  <a:schemeClr val="tx1"/>
                </a:solidFill>
                <a:latin typeface="Arial" pitchFamily="34" charset="0"/>
              </a:defRPr>
            </a:lvl8pPr>
            <a:lvl9pPr marL="3886200" indent="-228600" fontAlgn="base">
              <a:spcBef>
                <a:spcPct val="0"/>
              </a:spcBef>
              <a:spcAft>
                <a:spcPct val="0"/>
              </a:spcAft>
              <a:defRPr sz="2400">
                <a:solidFill>
                  <a:schemeClr val="tx1"/>
                </a:solidFill>
                <a:latin typeface="Arial" pitchFamily="34" charset="0"/>
              </a:defRPr>
            </a:lvl9pPr>
          </a:lstStyle>
          <a:p>
            <a:r>
              <a:rPr lang="en-US" sz="900" dirty="0">
                <a:solidFill>
                  <a:srgbClr val="000000"/>
                </a:solidFill>
                <a:latin typeface="Arial"/>
              </a:rPr>
              <a:t>Commercial diagnostic suite</a:t>
            </a:r>
          </a:p>
        </p:txBody>
      </p:sp>
      <p:pic>
        <p:nvPicPr>
          <p:cNvPr id="252" name="Picture 251"/>
          <p:cNvPicPr>
            <a:picLocks/>
          </p:cNvPicPr>
          <p:nvPr/>
        </p:nvPicPr>
        <p:blipFill>
          <a:blip r:embed="rId45" cstate="screen">
            <a:extLst>
              <a:ext uri="{28A0092B-C50C-407E-A947-70E740481C1C}">
                <a14:useLocalDpi xmlns:a14="http://schemas.microsoft.com/office/drawing/2010/main"/>
              </a:ext>
            </a:extLst>
          </a:blip>
          <a:stretch>
            <a:fillRect/>
          </a:stretch>
        </p:blipFill>
        <p:spPr>
          <a:xfrm>
            <a:off x="6867284" y="3786967"/>
            <a:ext cx="471731" cy="276325"/>
          </a:xfrm>
          <a:prstGeom prst="rect">
            <a:avLst/>
          </a:prstGeom>
          <a:effectLst>
            <a:outerShdw blurRad="63500" sx="102000" sy="102000" algn="ctr" rotWithShape="0">
              <a:prstClr val="black">
                <a:alpha val="40000"/>
              </a:prstClr>
            </a:outerShdw>
          </a:effectLst>
        </p:spPr>
      </p:pic>
      <p:cxnSp>
        <p:nvCxnSpPr>
          <p:cNvPr id="190" name="Straight Connector 189"/>
          <p:cNvCxnSpPr>
            <a:cxnSpLocks/>
          </p:cNvCxnSpPr>
          <p:nvPr/>
        </p:nvCxnSpPr>
        <p:spPr>
          <a:xfrm>
            <a:off x="5674306" y="3786967"/>
            <a:ext cx="0" cy="560542"/>
          </a:xfrm>
          <a:prstGeom prst="line">
            <a:avLst/>
          </a:prstGeom>
          <a:ln w="9525" cap="sq">
            <a:solidFill>
              <a:srgbClr val="808080"/>
            </a:solidFill>
            <a:prstDash val="sysDot"/>
          </a:ln>
        </p:spPr>
        <p:style>
          <a:lnRef idx="1">
            <a:schemeClr val="accent1"/>
          </a:lnRef>
          <a:fillRef idx="0">
            <a:schemeClr val="accent1"/>
          </a:fillRef>
          <a:effectRef idx="0">
            <a:schemeClr val="accent1"/>
          </a:effectRef>
          <a:fontRef idx="minor">
            <a:schemeClr val="tx1"/>
          </a:fontRef>
        </p:style>
      </p:cxnSp>
      <p:pic>
        <p:nvPicPr>
          <p:cNvPr id="132" name="Picture 79"/>
          <p:cNvPicPr>
            <a:picLocks noChangeArrowheads="1"/>
          </p:cNvPicPr>
          <p:nvPr/>
        </p:nvPicPr>
        <p:blipFill>
          <a:blip r:embed="rId46" cstate="email">
            <a:extLst>
              <a:ext uri="{28A0092B-C50C-407E-A947-70E740481C1C}">
                <a14:useLocalDpi xmlns:a14="http://schemas.microsoft.com/office/drawing/2010/main"/>
              </a:ext>
            </a:extLst>
          </a:blip>
          <a:srcRect/>
          <a:stretch>
            <a:fillRect/>
          </a:stretch>
        </p:blipFill>
        <p:spPr bwMode="gray">
          <a:xfrm>
            <a:off x="6504612" y="5838991"/>
            <a:ext cx="515180" cy="3211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33" name="Picture 70"/>
          <p:cNvPicPr>
            <a:picLocks noChangeAspect="1" noChangeArrowheads="1"/>
          </p:cNvPicPr>
          <p:nvPr/>
        </p:nvPicPr>
        <p:blipFill>
          <a:blip r:embed="rId47" cstate="email">
            <a:extLst>
              <a:ext uri="{28A0092B-C50C-407E-A947-70E740481C1C}">
                <a14:useLocalDpi xmlns:a14="http://schemas.microsoft.com/office/drawing/2010/main"/>
              </a:ext>
            </a:extLst>
          </a:blip>
          <a:srcRect/>
          <a:stretch>
            <a:fillRect/>
          </a:stretch>
        </p:blipFill>
        <p:spPr bwMode="auto">
          <a:xfrm>
            <a:off x="5042541" y="5823003"/>
            <a:ext cx="488670" cy="4292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34" name="Group 133"/>
          <p:cNvGrpSpPr/>
          <p:nvPr/>
        </p:nvGrpSpPr>
        <p:grpSpPr>
          <a:xfrm>
            <a:off x="3373956" y="5829394"/>
            <a:ext cx="580107" cy="356923"/>
            <a:chOff x="2694181" y="5741870"/>
            <a:chExt cx="585908" cy="356923"/>
          </a:xfrm>
        </p:grpSpPr>
        <p:pic>
          <p:nvPicPr>
            <p:cNvPr id="135" name="Picture 121"/>
            <p:cNvPicPr>
              <a:picLocks noChangeAspect="1" noChangeArrowheads="1"/>
            </p:cNvPicPr>
            <p:nvPr/>
          </p:nvPicPr>
          <p:blipFill>
            <a:blip r:embed="rId48" cstate="email">
              <a:extLst>
                <a:ext uri="{28A0092B-C50C-407E-A947-70E740481C1C}">
                  <a14:useLocalDpi xmlns:a14="http://schemas.microsoft.com/office/drawing/2010/main"/>
                </a:ext>
              </a:extLst>
            </a:blip>
            <a:srcRect/>
            <a:stretch>
              <a:fillRect/>
            </a:stretch>
          </p:blipFill>
          <p:spPr bwMode="auto">
            <a:xfrm>
              <a:off x="2694181" y="5741870"/>
              <a:ext cx="466665" cy="27940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36" name="Picture 122" descr="779418_Future_of_Telecom_Trends_and_Implications_2010_v15_rev[1]"/>
            <p:cNvPicPr>
              <a:picLocks noChangeAspect="1" noChangeArrowheads="1"/>
            </p:cNvPicPr>
            <p:nvPr/>
          </p:nvPicPr>
          <p:blipFill>
            <a:blip r:embed="rId49" cstate="email">
              <a:extLst>
                <a:ext uri="{28A0092B-C50C-407E-A947-70E740481C1C}">
                  <a14:useLocalDpi xmlns:a14="http://schemas.microsoft.com/office/drawing/2010/main"/>
                </a:ext>
              </a:extLst>
            </a:blip>
            <a:srcRect/>
            <a:stretch>
              <a:fillRect/>
            </a:stretch>
          </p:blipFill>
          <p:spPr bwMode="auto">
            <a:xfrm>
              <a:off x="2803932" y="5811773"/>
              <a:ext cx="476157" cy="287020"/>
            </a:xfrm>
            <a:prstGeom prst="rect">
              <a:avLst/>
            </a:prstGeom>
            <a:noFill/>
            <a:extLst>
              <a:ext uri="{909E8E84-426E-40DD-AFC4-6F175D3DCCD1}">
                <a14:hiddenFill xmlns:a14="http://schemas.microsoft.com/office/drawing/2010/main">
                  <a:solidFill>
                    <a:srgbClr val="FFFFFF"/>
                  </a:solidFill>
                </a14:hiddenFill>
              </a:ext>
            </a:extLst>
          </p:spPr>
        </p:pic>
      </p:grpSp>
      <p:pic>
        <p:nvPicPr>
          <p:cNvPr id="137" name="Picture 109"/>
          <p:cNvPicPr>
            <a:picLocks noChangeAspect="1" noChangeArrowheads="1"/>
          </p:cNvPicPr>
          <p:nvPr/>
        </p:nvPicPr>
        <p:blipFill>
          <a:blip r:embed="rId50" cstate="email">
            <a:extLst>
              <a:ext uri="{28A0092B-C50C-407E-A947-70E740481C1C}">
                <a14:useLocalDpi xmlns:a14="http://schemas.microsoft.com/office/drawing/2010/main"/>
              </a:ext>
            </a:extLst>
          </a:blip>
          <a:srcRect/>
          <a:stretch>
            <a:fillRect/>
          </a:stretch>
        </p:blipFill>
        <p:spPr bwMode="auto">
          <a:xfrm>
            <a:off x="2092063" y="5792335"/>
            <a:ext cx="335178" cy="3975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38" name="Picture 65"/>
          <p:cNvPicPr>
            <a:picLocks noChangeAspect="1" noChangeArrowheads="1"/>
          </p:cNvPicPr>
          <p:nvPr/>
        </p:nvPicPr>
        <p:blipFill rotWithShape="1">
          <a:blip r:embed="rId51" cstate="email">
            <a:extLst>
              <a:ext uri="{28A0092B-C50C-407E-A947-70E740481C1C}">
                <a14:useLocalDpi xmlns:a14="http://schemas.microsoft.com/office/drawing/2010/main"/>
              </a:ext>
            </a:extLst>
          </a:blip>
          <a:srcRect l="3095" t="3094" r="3095" b="3094"/>
          <a:stretch/>
        </p:blipFill>
        <p:spPr bwMode="auto">
          <a:xfrm>
            <a:off x="7925328" y="5870905"/>
            <a:ext cx="734421" cy="272812"/>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pic>
      <p:pic>
        <p:nvPicPr>
          <p:cNvPr id="18" name="Picture 17"/>
          <p:cNvPicPr>
            <a:picLocks noChangeAspect="1"/>
          </p:cNvPicPr>
          <p:nvPr/>
        </p:nvPicPr>
        <p:blipFill>
          <a:blip r:embed="rId52" cstate="screen">
            <a:extLst>
              <a:ext uri="{28A0092B-C50C-407E-A947-70E740481C1C}">
                <a14:useLocalDpi xmlns:a14="http://schemas.microsoft.com/office/drawing/2010/main"/>
              </a:ext>
            </a:extLst>
          </a:blip>
          <a:stretch>
            <a:fillRect/>
          </a:stretch>
        </p:blipFill>
        <p:spPr>
          <a:xfrm>
            <a:off x="385256" y="5853440"/>
            <a:ext cx="764625" cy="254630"/>
          </a:xfrm>
          <a:prstGeom prst="rect">
            <a:avLst/>
          </a:prstGeom>
        </p:spPr>
      </p:pic>
      <p:sp>
        <p:nvSpPr>
          <p:cNvPr id="180" name="Tracker circle"/>
          <p:cNvSpPr/>
          <p:nvPr/>
        </p:nvSpPr>
        <p:spPr>
          <a:xfrm>
            <a:off x="410120" y="1498985"/>
            <a:ext cx="135802" cy="129211"/>
          </a:xfrm>
          <a:prstGeom prst="ellipse">
            <a:avLst/>
          </a:prstGeom>
          <a:solidFill>
            <a:schemeClr val="bg1"/>
          </a:solid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wrap="none" lIns="76200" tIns="76200" rIns="76200" bIns="76200" rtlCol="0" anchor="ctr" anchorCtr="1"/>
          <a:lstStyle/>
          <a:p>
            <a:pPr algn="ctr"/>
            <a:r>
              <a:rPr lang="en-US" sz="900" b="1" dirty="0">
                <a:solidFill>
                  <a:schemeClr val="accent3"/>
                </a:solidFill>
              </a:rPr>
              <a:t>A</a:t>
            </a:r>
          </a:p>
        </p:txBody>
      </p:sp>
      <p:sp>
        <p:nvSpPr>
          <p:cNvPr id="188" name="Tracker circle"/>
          <p:cNvSpPr/>
          <p:nvPr/>
        </p:nvSpPr>
        <p:spPr>
          <a:xfrm>
            <a:off x="400998" y="2405523"/>
            <a:ext cx="135802" cy="129211"/>
          </a:xfrm>
          <a:prstGeom prst="ellipse">
            <a:avLst/>
          </a:prstGeom>
          <a:solidFill>
            <a:schemeClr val="bg1"/>
          </a:solidFill>
          <a:ln w="952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wrap="none" lIns="76200" tIns="76200" rIns="76200" bIns="76200" rtlCol="0" anchor="ctr" anchorCtr="1"/>
          <a:lstStyle/>
          <a:p>
            <a:pPr algn="ctr"/>
            <a:r>
              <a:rPr lang="en-US" sz="900" b="1" dirty="0">
                <a:solidFill>
                  <a:schemeClr val="accent3"/>
                </a:solidFill>
              </a:rPr>
              <a:t>F</a:t>
            </a:r>
          </a:p>
        </p:txBody>
      </p:sp>
      <p:sp>
        <p:nvSpPr>
          <p:cNvPr id="191" name="Tracker circle"/>
          <p:cNvSpPr/>
          <p:nvPr/>
        </p:nvSpPr>
        <p:spPr>
          <a:xfrm>
            <a:off x="2284567" y="1728554"/>
            <a:ext cx="135802" cy="129211"/>
          </a:xfrm>
          <a:prstGeom prst="ellipse">
            <a:avLst/>
          </a:prstGeom>
          <a:solidFill>
            <a:schemeClr val="bg1"/>
          </a:solid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wrap="none" lIns="76200" tIns="76200" rIns="76200" bIns="76200" rtlCol="0" anchor="ctr" anchorCtr="1"/>
          <a:lstStyle/>
          <a:p>
            <a:pPr algn="ctr"/>
            <a:r>
              <a:rPr lang="en-US" sz="900" b="1" dirty="0">
                <a:solidFill>
                  <a:schemeClr val="accent3"/>
                </a:solidFill>
              </a:rPr>
              <a:t>A</a:t>
            </a:r>
          </a:p>
        </p:txBody>
      </p:sp>
      <p:sp>
        <p:nvSpPr>
          <p:cNvPr id="192" name="Tracker circle"/>
          <p:cNvSpPr/>
          <p:nvPr/>
        </p:nvSpPr>
        <p:spPr>
          <a:xfrm>
            <a:off x="5766311" y="1698748"/>
            <a:ext cx="135802" cy="129211"/>
          </a:xfrm>
          <a:prstGeom prst="ellipse">
            <a:avLst/>
          </a:prstGeom>
          <a:solidFill>
            <a:schemeClr val="bg1"/>
          </a:solid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wrap="none" lIns="76200" tIns="76200" rIns="76200" bIns="76200" rtlCol="0" anchor="ctr" anchorCtr="1"/>
          <a:lstStyle/>
          <a:p>
            <a:pPr algn="ctr"/>
            <a:r>
              <a:rPr lang="en-US" sz="900" b="1" dirty="0">
                <a:solidFill>
                  <a:schemeClr val="accent3"/>
                </a:solidFill>
              </a:rPr>
              <a:t>A</a:t>
            </a:r>
          </a:p>
        </p:txBody>
      </p:sp>
      <p:sp>
        <p:nvSpPr>
          <p:cNvPr id="199" name="Tracker circle"/>
          <p:cNvSpPr/>
          <p:nvPr/>
        </p:nvSpPr>
        <p:spPr>
          <a:xfrm>
            <a:off x="2527262" y="2686990"/>
            <a:ext cx="135802" cy="129211"/>
          </a:xfrm>
          <a:prstGeom prst="ellipse">
            <a:avLst/>
          </a:prstGeom>
          <a:solidFill>
            <a:schemeClr val="bg1"/>
          </a:solidFill>
          <a:ln w="952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wrap="none" lIns="76200" tIns="76200" rIns="76200" bIns="76200" rtlCol="0" anchor="ctr" anchorCtr="1"/>
          <a:lstStyle/>
          <a:p>
            <a:pPr algn="ctr"/>
            <a:r>
              <a:rPr lang="en-US" sz="900" b="1" dirty="0">
                <a:solidFill>
                  <a:schemeClr val="accent3"/>
                </a:solidFill>
              </a:rPr>
              <a:t>F</a:t>
            </a:r>
          </a:p>
        </p:txBody>
      </p:sp>
      <p:sp>
        <p:nvSpPr>
          <p:cNvPr id="202" name="Tracker circle"/>
          <p:cNvSpPr/>
          <p:nvPr/>
        </p:nvSpPr>
        <p:spPr>
          <a:xfrm>
            <a:off x="4738775" y="1711458"/>
            <a:ext cx="135802" cy="129211"/>
          </a:xfrm>
          <a:prstGeom prst="ellipse">
            <a:avLst/>
          </a:prstGeom>
          <a:solidFill>
            <a:schemeClr val="bg1"/>
          </a:solidFill>
          <a:ln w="952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wrap="none" lIns="76200" tIns="76200" rIns="76200" bIns="76200" rtlCol="0" anchor="ctr" anchorCtr="1"/>
          <a:lstStyle/>
          <a:p>
            <a:pPr algn="ctr"/>
            <a:r>
              <a:rPr lang="en-US" sz="900" b="1" dirty="0">
                <a:solidFill>
                  <a:schemeClr val="accent3"/>
                </a:solidFill>
              </a:rPr>
              <a:t>F</a:t>
            </a:r>
          </a:p>
        </p:txBody>
      </p:sp>
      <p:sp>
        <p:nvSpPr>
          <p:cNvPr id="203" name="Tracker circle"/>
          <p:cNvSpPr/>
          <p:nvPr/>
        </p:nvSpPr>
        <p:spPr>
          <a:xfrm>
            <a:off x="6719680" y="1689806"/>
            <a:ext cx="135802" cy="129211"/>
          </a:xfrm>
          <a:prstGeom prst="ellipse">
            <a:avLst/>
          </a:prstGeom>
          <a:solidFill>
            <a:schemeClr val="bg1"/>
          </a:solidFill>
          <a:ln w="952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wrap="none" lIns="76200" tIns="76200" rIns="76200" bIns="76200" rtlCol="0" anchor="ctr" anchorCtr="1"/>
          <a:lstStyle/>
          <a:p>
            <a:pPr algn="ctr"/>
            <a:r>
              <a:rPr lang="en-US" sz="900" b="1" dirty="0">
                <a:solidFill>
                  <a:schemeClr val="accent3"/>
                </a:solidFill>
              </a:rPr>
              <a:t>F</a:t>
            </a:r>
          </a:p>
        </p:txBody>
      </p:sp>
      <p:sp>
        <p:nvSpPr>
          <p:cNvPr id="206" name="Tracker circle"/>
          <p:cNvSpPr/>
          <p:nvPr/>
        </p:nvSpPr>
        <p:spPr>
          <a:xfrm>
            <a:off x="3468804" y="1716710"/>
            <a:ext cx="135802" cy="129211"/>
          </a:xfrm>
          <a:prstGeom prst="ellipse">
            <a:avLst/>
          </a:prstGeom>
          <a:solidFill>
            <a:schemeClr val="bg1"/>
          </a:solidFill>
          <a:ln w="952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wrap="none" lIns="76200" tIns="76200" rIns="76200" bIns="76200" rtlCol="0" anchor="ctr" anchorCtr="1"/>
          <a:lstStyle/>
          <a:p>
            <a:pPr algn="ctr"/>
            <a:r>
              <a:rPr lang="en-US" sz="900" b="1" dirty="0">
                <a:solidFill>
                  <a:schemeClr val="accent3"/>
                </a:solidFill>
              </a:rPr>
              <a:t>F</a:t>
            </a:r>
          </a:p>
        </p:txBody>
      </p:sp>
      <p:sp>
        <p:nvSpPr>
          <p:cNvPr id="207" name="Tracker circle"/>
          <p:cNvSpPr/>
          <p:nvPr/>
        </p:nvSpPr>
        <p:spPr>
          <a:xfrm>
            <a:off x="1455990" y="1710865"/>
            <a:ext cx="135802" cy="129211"/>
          </a:xfrm>
          <a:prstGeom prst="ellipse">
            <a:avLst/>
          </a:prstGeom>
          <a:solidFill>
            <a:schemeClr val="bg1"/>
          </a:solidFill>
          <a:ln w="952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wrap="none" lIns="76200" tIns="76200" rIns="76200" bIns="76200" rtlCol="0" anchor="ctr" anchorCtr="1"/>
          <a:lstStyle/>
          <a:p>
            <a:pPr algn="ctr"/>
            <a:r>
              <a:rPr lang="en-US" sz="900" b="1" dirty="0">
                <a:solidFill>
                  <a:schemeClr val="accent3"/>
                </a:solidFill>
              </a:rPr>
              <a:t>F</a:t>
            </a:r>
          </a:p>
        </p:txBody>
      </p:sp>
      <p:sp>
        <p:nvSpPr>
          <p:cNvPr id="208" name="Tracker circle"/>
          <p:cNvSpPr/>
          <p:nvPr/>
        </p:nvSpPr>
        <p:spPr>
          <a:xfrm>
            <a:off x="1560251" y="2676998"/>
            <a:ext cx="135802" cy="129211"/>
          </a:xfrm>
          <a:prstGeom prst="ellipse">
            <a:avLst/>
          </a:prstGeom>
          <a:solidFill>
            <a:schemeClr val="bg1"/>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wrap="none" lIns="76200" tIns="76200" rIns="76200" bIns="76200" rtlCol="0" anchor="ctr" anchorCtr="1"/>
          <a:lstStyle/>
          <a:p>
            <a:pPr algn="ctr"/>
            <a:r>
              <a:rPr lang="en-US" sz="900" b="1" dirty="0">
                <a:solidFill>
                  <a:schemeClr val="accent3"/>
                </a:solidFill>
              </a:rPr>
              <a:t>T</a:t>
            </a:r>
          </a:p>
        </p:txBody>
      </p:sp>
      <p:sp>
        <p:nvSpPr>
          <p:cNvPr id="209" name="Tracker circle"/>
          <p:cNvSpPr/>
          <p:nvPr/>
        </p:nvSpPr>
        <p:spPr>
          <a:xfrm>
            <a:off x="3423277" y="2670813"/>
            <a:ext cx="135802" cy="129211"/>
          </a:xfrm>
          <a:prstGeom prst="ellipse">
            <a:avLst/>
          </a:prstGeom>
          <a:solidFill>
            <a:schemeClr val="bg1"/>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wrap="none" lIns="76200" tIns="76200" rIns="76200" bIns="76200" rtlCol="0" anchor="ctr" anchorCtr="1"/>
          <a:lstStyle/>
          <a:p>
            <a:pPr algn="ctr"/>
            <a:r>
              <a:rPr lang="en-US" sz="900" b="1" dirty="0">
                <a:solidFill>
                  <a:schemeClr val="accent3"/>
                </a:solidFill>
              </a:rPr>
              <a:t>T</a:t>
            </a:r>
          </a:p>
        </p:txBody>
      </p:sp>
      <p:sp>
        <p:nvSpPr>
          <p:cNvPr id="210" name="Tracker circle"/>
          <p:cNvSpPr/>
          <p:nvPr/>
        </p:nvSpPr>
        <p:spPr>
          <a:xfrm>
            <a:off x="4359460" y="2670813"/>
            <a:ext cx="135802" cy="129211"/>
          </a:xfrm>
          <a:prstGeom prst="ellipse">
            <a:avLst/>
          </a:prstGeom>
          <a:solidFill>
            <a:schemeClr val="bg1"/>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wrap="none" lIns="76200" tIns="76200" rIns="76200" bIns="76200" rtlCol="0" anchor="ctr" anchorCtr="1"/>
          <a:lstStyle/>
          <a:p>
            <a:pPr algn="ctr"/>
            <a:r>
              <a:rPr lang="en-US" sz="900" b="1" dirty="0">
                <a:solidFill>
                  <a:schemeClr val="accent3"/>
                </a:solidFill>
              </a:rPr>
              <a:t>T</a:t>
            </a:r>
          </a:p>
        </p:txBody>
      </p:sp>
      <p:sp>
        <p:nvSpPr>
          <p:cNvPr id="211" name="Tracker circle"/>
          <p:cNvSpPr/>
          <p:nvPr/>
        </p:nvSpPr>
        <p:spPr>
          <a:xfrm>
            <a:off x="5264681" y="2670813"/>
            <a:ext cx="135802" cy="129211"/>
          </a:xfrm>
          <a:prstGeom prst="ellipse">
            <a:avLst/>
          </a:prstGeom>
          <a:solidFill>
            <a:schemeClr val="bg1"/>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wrap="none" lIns="76200" tIns="76200" rIns="76200" bIns="76200" rtlCol="0" anchor="ctr" anchorCtr="1"/>
          <a:lstStyle/>
          <a:p>
            <a:pPr algn="ctr"/>
            <a:r>
              <a:rPr lang="en-US" sz="900" b="1" dirty="0">
                <a:solidFill>
                  <a:schemeClr val="accent3"/>
                </a:solidFill>
              </a:rPr>
              <a:t>T</a:t>
            </a:r>
          </a:p>
        </p:txBody>
      </p:sp>
      <p:sp>
        <p:nvSpPr>
          <p:cNvPr id="212" name="Tracker circle"/>
          <p:cNvSpPr/>
          <p:nvPr/>
        </p:nvSpPr>
        <p:spPr>
          <a:xfrm>
            <a:off x="6023441" y="2670813"/>
            <a:ext cx="135802" cy="129211"/>
          </a:xfrm>
          <a:prstGeom prst="ellipse">
            <a:avLst/>
          </a:prstGeom>
          <a:solidFill>
            <a:schemeClr val="bg1"/>
          </a:solidFill>
          <a:ln w="952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wrap="none" lIns="76200" tIns="76200" rIns="76200" bIns="76200" rtlCol="0" anchor="ctr" anchorCtr="1"/>
          <a:lstStyle/>
          <a:p>
            <a:pPr algn="ctr"/>
            <a:r>
              <a:rPr lang="en-US" sz="900" b="1" dirty="0">
                <a:solidFill>
                  <a:schemeClr val="accent3"/>
                </a:solidFill>
              </a:rPr>
              <a:t>F</a:t>
            </a:r>
          </a:p>
        </p:txBody>
      </p:sp>
      <p:sp>
        <p:nvSpPr>
          <p:cNvPr id="213" name="Tracker circle"/>
          <p:cNvSpPr/>
          <p:nvPr/>
        </p:nvSpPr>
        <p:spPr>
          <a:xfrm>
            <a:off x="6797364" y="2670813"/>
            <a:ext cx="135802" cy="129211"/>
          </a:xfrm>
          <a:prstGeom prst="ellipse">
            <a:avLst/>
          </a:prstGeom>
          <a:solidFill>
            <a:schemeClr val="bg1"/>
          </a:solidFill>
          <a:ln w="952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wrap="none" lIns="76200" tIns="76200" rIns="76200" bIns="76200" rtlCol="0" anchor="ctr" anchorCtr="1"/>
          <a:lstStyle/>
          <a:p>
            <a:pPr algn="ctr"/>
            <a:r>
              <a:rPr lang="en-US" sz="900" b="1" dirty="0">
                <a:solidFill>
                  <a:schemeClr val="accent3"/>
                </a:solidFill>
              </a:rPr>
              <a:t>F</a:t>
            </a:r>
          </a:p>
        </p:txBody>
      </p:sp>
      <p:sp>
        <p:nvSpPr>
          <p:cNvPr id="214" name="Tracker circle"/>
          <p:cNvSpPr/>
          <p:nvPr/>
        </p:nvSpPr>
        <p:spPr>
          <a:xfrm>
            <a:off x="7738999" y="2655744"/>
            <a:ext cx="135802" cy="129211"/>
          </a:xfrm>
          <a:prstGeom prst="ellipse">
            <a:avLst/>
          </a:prstGeom>
          <a:solidFill>
            <a:schemeClr val="bg1"/>
          </a:solid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wrap="none" lIns="76200" tIns="76200" rIns="76200" bIns="76200" rtlCol="0" anchor="ctr" anchorCtr="1"/>
          <a:lstStyle/>
          <a:p>
            <a:pPr algn="ctr"/>
            <a:r>
              <a:rPr lang="en-US" sz="900" b="1" dirty="0">
                <a:solidFill>
                  <a:schemeClr val="accent3"/>
                </a:solidFill>
              </a:rPr>
              <a:t>A</a:t>
            </a:r>
          </a:p>
        </p:txBody>
      </p:sp>
      <p:sp>
        <p:nvSpPr>
          <p:cNvPr id="215" name="Tracker circle"/>
          <p:cNvSpPr/>
          <p:nvPr/>
        </p:nvSpPr>
        <p:spPr>
          <a:xfrm>
            <a:off x="7738999" y="1489002"/>
            <a:ext cx="135802" cy="129211"/>
          </a:xfrm>
          <a:prstGeom prst="ellipse">
            <a:avLst/>
          </a:prstGeom>
          <a:solidFill>
            <a:schemeClr val="bg1"/>
          </a:solid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wrap="none" lIns="76200" tIns="76200" rIns="76200" bIns="76200" rtlCol="0" anchor="ctr" anchorCtr="1"/>
          <a:lstStyle/>
          <a:p>
            <a:pPr algn="ctr"/>
            <a:r>
              <a:rPr lang="en-US" sz="900" b="1" dirty="0">
                <a:solidFill>
                  <a:schemeClr val="accent3"/>
                </a:solidFill>
              </a:rPr>
              <a:t>A</a:t>
            </a:r>
          </a:p>
        </p:txBody>
      </p:sp>
      <p:sp>
        <p:nvSpPr>
          <p:cNvPr id="216" name="Tracker circle"/>
          <p:cNvSpPr/>
          <p:nvPr/>
        </p:nvSpPr>
        <p:spPr>
          <a:xfrm>
            <a:off x="7738999" y="3786967"/>
            <a:ext cx="135802" cy="129211"/>
          </a:xfrm>
          <a:prstGeom prst="ellipse">
            <a:avLst/>
          </a:prstGeom>
          <a:solidFill>
            <a:schemeClr val="bg1"/>
          </a:solid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wrap="none" lIns="76200" tIns="76200" rIns="76200" bIns="76200" rtlCol="0" anchor="ctr" anchorCtr="1"/>
          <a:lstStyle/>
          <a:p>
            <a:pPr algn="ctr"/>
            <a:r>
              <a:rPr lang="en-US" sz="900" b="1" dirty="0">
                <a:solidFill>
                  <a:schemeClr val="accent3"/>
                </a:solidFill>
              </a:rPr>
              <a:t>A</a:t>
            </a:r>
          </a:p>
        </p:txBody>
      </p:sp>
      <p:sp>
        <p:nvSpPr>
          <p:cNvPr id="220" name="Tracker circle"/>
          <p:cNvSpPr/>
          <p:nvPr/>
        </p:nvSpPr>
        <p:spPr>
          <a:xfrm>
            <a:off x="1454156" y="3722362"/>
            <a:ext cx="135802" cy="129211"/>
          </a:xfrm>
          <a:prstGeom prst="ellipse">
            <a:avLst/>
          </a:prstGeom>
          <a:solidFill>
            <a:schemeClr val="bg1"/>
          </a:solidFill>
          <a:ln w="952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wrap="none" lIns="76200" tIns="76200" rIns="76200" bIns="76200" rtlCol="0" anchor="ctr" anchorCtr="1"/>
          <a:lstStyle/>
          <a:p>
            <a:pPr algn="ctr"/>
            <a:r>
              <a:rPr lang="en-US" sz="900" b="1" dirty="0">
                <a:solidFill>
                  <a:schemeClr val="accent3"/>
                </a:solidFill>
              </a:rPr>
              <a:t>F</a:t>
            </a:r>
          </a:p>
        </p:txBody>
      </p:sp>
      <p:sp>
        <p:nvSpPr>
          <p:cNvPr id="221" name="Tracker circle"/>
          <p:cNvSpPr/>
          <p:nvPr/>
        </p:nvSpPr>
        <p:spPr>
          <a:xfrm>
            <a:off x="2185735" y="3722362"/>
            <a:ext cx="135802" cy="129211"/>
          </a:xfrm>
          <a:prstGeom prst="ellipse">
            <a:avLst/>
          </a:prstGeom>
          <a:solidFill>
            <a:schemeClr val="bg1"/>
          </a:solidFill>
          <a:ln w="952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wrap="none" lIns="76200" tIns="76200" rIns="76200" bIns="76200" rtlCol="0" anchor="ctr" anchorCtr="1"/>
          <a:lstStyle/>
          <a:p>
            <a:pPr algn="ctr"/>
            <a:r>
              <a:rPr lang="en-US" sz="900" b="1" dirty="0">
                <a:solidFill>
                  <a:schemeClr val="accent3"/>
                </a:solidFill>
              </a:rPr>
              <a:t>F</a:t>
            </a:r>
          </a:p>
        </p:txBody>
      </p:sp>
      <p:sp>
        <p:nvSpPr>
          <p:cNvPr id="227" name="Tracker circle"/>
          <p:cNvSpPr/>
          <p:nvPr/>
        </p:nvSpPr>
        <p:spPr>
          <a:xfrm>
            <a:off x="2920415" y="3727882"/>
            <a:ext cx="135802" cy="129211"/>
          </a:xfrm>
          <a:prstGeom prst="ellipse">
            <a:avLst/>
          </a:prstGeom>
          <a:solidFill>
            <a:schemeClr val="bg1"/>
          </a:solidFill>
          <a:ln w="952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wrap="none" lIns="76200" tIns="76200" rIns="76200" bIns="76200" rtlCol="0" anchor="ctr" anchorCtr="1"/>
          <a:lstStyle/>
          <a:p>
            <a:pPr algn="ctr"/>
            <a:r>
              <a:rPr lang="en-US" sz="900" b="1" dirty="0">
                <a:solidFill>
                  <a:schemeClr val="accent3"/>
                </a:solidFill>
              </a:rPr>
              <a:t>F</a:t>
            </a:r>
          </a:p>
        </p:txBody>
      </p:sp>
      <p:sp>
        <p:nvSpPr>
          <p:cNvPr id="229" name="Tracker circle"/>
          <p:cNvSpPr/>
          <p:nvPr/>
        </p:nvSpPr>
        <p:spPr>
          <a:xfrm>
            <a:off x="3729884" y="3725002"/>
            <a:ext cx="135802" cy="129211"/>
          </a:xfrm>
          <a:prstGeom prst="ellipse">
            <a:avLst/>
          </a:prstGeom>
          <a:solidFill>
            <a:schemeClr val="bg1"/>
          </a:solid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wrap="none" lIns="76200" tIns="76200" rIns="76200" bIns="76200" rtlCol="0" anchor="ctr" anchorCtr="1"/>
          <a:lstStyle/>
          <a:p>
            <a:pPr algn="ctr"/>
            <a:r>
              <a:rPr lang="en-US" sz="900" b="1" dirty="0">
                <a:solidFill>
                  <a:schemeClr val="accent3"/>
                </a:solidFill>
              </a:rPr>
              <a:t>A</a:t>
            </a:r>
          </a:p>
        </p:txBody>
      </p:sp>
      <p:sp>
        <p:nvSpPr>
          <p:cNvPr id="230" name="Tracker circle"/>
          <p:cNvSpPr/>
          <p:nvPr/>
        </p:nvSpPr>
        <p:spPr>
          <a:xfrm>
            <a:off x="4748170" y="3725002"/>
            <a:ext cx="135802" cy="129211"/>
          </a:xfrm>
          <a:prstGeom prst="ellipse">
            <a:avLst/>
          </a:prstGeom>
          <a:solidFill>
            <a:schemeClr val="bg1"/>
          </a:solid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wrap="none" lIns="76200" tIns="76200" rIns="76200" bIns="76200" rtlCol="0" anchor="ctr" anchorCtr="1"/>
          <a:lstStyle/>
          <a:p>
            <a:pPr algn="ctr"/>
            <a:r>
              <a:rPr lang="en-US" sz="900" b="1" dirty="0">
                <a:solidFill>
                  <a:schemeClr val="accent3"/>
                </a:solidFill>
              </a:rPr>
              <a:t>A</a:t>
            </a:r>
          </a:p>
        </p:txBody>
      </p:sp>
      <p:sp>
        <p:nvSpPr>
          <p:cNvPr id="234" name="Tracker circle"/>
          <p:cNvSpPr/>
          <p:nvPr/>
        </p:nvSpPr>
        <p:spPr>
          <a:xfrm>
            <a:off x="5859255" y="3725002"/>
            <a:ext cx="135802" cy="129211"/>
          </a:xfrm>
          <a:prstGeom prst="ellipse">
            <a:avLst/>
          </a:prstGeom>
          <a:solidFill>
            <a:schemeClr val="bg1"/>
          </a:solid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wrap="none" lIns="76200" tIns="76200" rIns="76200" bIns="76200" rtlCol="0" anchor="ctr" anchorCtr="1"/>
          <a:lstStyle/>
          <a:p>
            <a:pPr algn="ctr"/>
            <a:r>
              <a:rPr lang="en-US" sz="900" b="1" dirty="0">
                <a:solidFill>
                  <a:schemeClr val="accent3"/>
                </a:solidFill>
              </a:rPr>
              <a:t>A</a:t>
            </a:r>
          </a:p>
        </p:txBody>
      </p:sp>
      <p:sp>
        <p:nvSpPr>
          <p:cNvPr id="236" name="Tracker circle"/>
          <p:cNvSpPr/>
          <p:nvPr/>
        </p:nvSpPr>
        <p:spPr>
          <a:xfrm>
            <a:off x="6780317" y="3725002"/>
            <a:ext cx="135802" cy="129211"/>
          </a:xfrm>
          <a:prstGeom prst="ellipse">
            <a:avLst/>
          </a:prstGeom>
          <a:solidFill>
            <a:schemeClr val="bg1"/>
          </a:solid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wrap="none" lIns="76200" tIns="76200" rIns="76200" bIns="76200" rtlCol="0" anchor="ctr" anchorCtr="1"/>
          <a:lstStyle/>
          <a:p>
            <a:pPr algn="ctr"/>
            <a:r>
              <a:rPr lang="en-US" sz="900" b="1" dirty="0">
                <a:solidFill>
                  <a:schemeClr val="accent3"/>
                </a:solidFill>
              </a:rPr>
              <a:t>A</a:t>
            </a:r>
          </a:p>
        </p:txBody>
      </p:sp>
      <p:sp>
        <p:nvSpPr>
          <p:cNvPr id="237" name="Tracker circle"/>
          <p:cNvSpPr/>
          <p:nvPr/>
        </p:nvSpPr>
        <p:spPr>
          <a:xfrm>
            <a:off x="400697" y="4378651"/>
            <a:ext cx="135802" cy="129211"/>
          </a:xfrm>
          <a:prstGeom prst="ellipse">
            <a:avLst/>
          </a:prstGeom>
          <a:solidFill>
            <a:schemeClr val="bg1"/>
          </a:solid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wrap="none" lIns="76200" tIns="76200" rIns="76200" bIns="76200" rtlCol="0" anchor="ctr" anchorCtr="1"/>
          <a:lstStyle/>
          <a:p>
            <a:pPr algn="ctr"/>
            <a:r>
              <a:rPr lang="en-US" sz="900" b="1" dirty="0">
                <a:solidFill>
                  <a:schemeClr val="accent3"/>
                </a:solidFill>
              </a:rPr>
              <a:t>A</a:t>
            </a:r>
          </a:p>
        </p:txBody>
      </p:sp>
      <p:sp>
        <p:nvSpPr>
          <p:cNvPr id="240" name="Tracker circle"/>
          <p:cNvSpPr/>
          <p:nvPr/>
        </p:nvSpPr>
        <p:spPr>
          <a:xfrm>
            <a:off x="1504077" y="4848746"/>
            <a:ext cx="135802" cy="129211"/>
          </a:xfrm>
          <a:prstGeom prst="ellipse">
            <a:avLst/>
          </a:prstGeom>
          <a:solidFill>
            <a:schemeClr val="bg1"/>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wrap="none" lIns="76200" tIns="76200" rIns="76200" bIns="76200" rtlCol="0" anchor="ctr" anchorCtr="1"/>
          <a:lstStyle/>
          <a:p>
            <a:pPr algn="ctr"/>
            <a:r>
              <a:rPr lang="en-US" sz="900" b="1" dirty="0">
                <a:solidFill>
                  <a:schemeClr val="accent3"/>
                </a:solidFill>
              </a:rPr>
              <a:t>T</a:t>
            </a:r>
          </a:p>
        </p:txBody>
      </p:sp>
      <p:sp>
        <p:nvSpPr>
          <p:cNvPr id="244" name="Tracker circle"/>
          <p:cNvSpPr/>
          <p:nvPr/>
        </p:nvSpPr>
        <p:spPr>
          <a:xfrm>
            <a:off x="2336017" y="4848746"/>
            <a:ext cx="135802" cy="129211"/>
          </a:xfrm>
          <a:prstGeom prst="ellipse">
            <a:avLst/>
          </a:prstGeom>
          <a:solidFill>
            <a:schemeClr val="bg1"/>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wrap="none" lIns="76200" tIns="76200" rIns="76200" bIns="76200" rtlCol="0" anchor="ctr" anchorCtr="1"/>
          <a:lstStyle/>
          <a:p>
            <a:pPr algn="ctr"/>
            <a:r>
              <a:rPr lang="en-US" sz="900" b="1" dirty="0">
                <a:solidFill>
                  <a:schemeClr val="accent3"/>
                </a:solidFill>
              </a:rPr>
              <a:t>T</a:t>
            </a:r>
          </a:p>
        </p:txBody>
      </p:sp>
      <p:pic>
        <p:nvPicPr>
          <p:cNvPr id="255" name="Picture 254"/>
          <p:cNvPicPr>
            <a:picLocks/>
          </p:cNvPicPr>
          <p:nvPr/>
        </p:nvPicPr>
        <p:blipFill rotWithShape="1">
          <a:blip r:embed="rId53" cstate="print">
            <a:extLst>
              <a:ext uri="{28A0092B-C50C-407E-A947-70E740481C1C}">
                <a14:useLocalDpi xmlns:a14="http://schemas.microsoft.com/office/drawing/2010/main" val="0"/>
              </a:ext>
            </a:extLst>
          </a:blip>
          <a:srcRect l="2621" r="22376"/>
          <a:stretch/>
        </p:blipFill>
        <p:spPr bwMode="ltGray">
          <a:xfrm>
            <a:off x="3198580" y="4910886"/>
            <a:ext cx="471731" cy="276325"/>
          </a:xfrm>
          <a:prstGeom prst="rect">
            <a:avLst/>
          </a:prstGeom>
        </p:spPr>
      </p:pic>
      <p:cxnSp>
        <p:nvCxnSpPr>
          <p:cNvPr id="256" name="Straight Connector 255"/>
          <p:cNvCxnSpPr>
            <a:cxnSpLocks/>
          </p:cNvCxnSpPr>
          <p:nvPr/>
        </p:nvCxnSpPr>
        <p:spPr>
          <a:xfrm>
            <a:off x="3056216" y="4906169"/>
            <a:ext cx="0" cy="423147"/>
          </a:xfrm>
          <a:prstGeom prst="line">
            <a:avLst/>
          </a:prstGeom>
          <a:ln w="9525" cap="sq">
            <a:solidFill>
              <a:srgbClr val="808080"/>
            </a:solidFill>
            <a:prstDash val="sysDot"/>
          </a:ln>
        </p:spPr>
        <p:style>
          <a:lnRef idx="1">
            <a:schemeClr val="accent1"/>
          </a:lnRef>
          <a:fillRef idx="0">
            <a:schemeClr val="accent1"/>
          </a:fillRef>
          <a:effectRef idx="0">
            <a:schemeClr val="accent1"/>
          </a:effectRef>
          <a:fontRef idx="minor">
            <a:schemeClr val="tx1"/>
          </a:fontRef>
        </p:style>
      </p:cxnSp>
      <p:sp>
        <p:nvSpPr>
          <p:cNvPr id="257" name="Rectangle 131"/>
          <p:cNvSpPr>
            <a:spLocks noChangeArrowheads="1"/>
          </p:cNvSpPr>
          <p:nvPr/>
        </p:nvSpPr>
        <p:spPr bwMode="auto">
          <a:xfrm flipH="1">
            <a:off x="3125722" y="5194831"/>
            <a:ext cx="623564"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spAutoFit/>
          </a:bodyPr>
          <a:lstStyle>
            <a:lvl1pPr>
              <a:defRPr sz="2400">
                <a:solidFill>
                  <a:schemeClr val="tx1"/>
                </a:solidFill>
                <a:latin typeface="Arial" pitchFamily="34" charset="0"/>
              </a:defRPr>
            </a:lvl1pPr>
            <a:lvl2pPr marL="742950" indent="-285750">
              <a:defRPr sz="2400">
                <a:solidFill>
                  <a:schemeClr val="tx1"/>
                </a:solidFill>
                <a:latin typeface="Arial" pitchFamily="34" charset="0"/>
              </a:defRPr>
            </a:lvl2pPr>
            <a:lvl3pPr marL="1143000" indent="-228600">
              <a:defRPr sz="2400">
                <a:solidFill>
                  <a:schemeClr val="tx1"/>
                </a:solidFill>
                <a:latin typeface="Arial" pitchFamily="34" charset="0"/>
              </a:defRPr>
            </a:lvl3pPr>
            <a:lvl4pPr marL="1600200" indent="-228600">
              <a:defRPr sz="2400">
                <a:solidFill>
                  <a:schemeClr val="tx1"/>
                </a:solidFill>
                <a:latin typeface="Arial" pitchFamily="34" charset="0"/>
              </a:defRPr>
            </a:lvl4pPr>
            <a:lvl5pPr marL="2057400" indent="-228600">
              <a:defRPr sz="2400">
                <a:solidFill>
                  <a:schemeClr val="tx1"/>
                </a:solidFill>
                <a:latin typeface="Arial" pitchFamily="34" charset="0"/>
              </a:defRPr>
            </a:lvl5pPr>
            <a:lvl6pPr marL="2514600" indent="-228600" fontAlgn="base">
              <a:spcBef>
                <a:spcPct val="0"/>
              </a:spcBef>
              <a:spcAft>
                <a:spcPct val="0"/>
              </a:spcAft>
              <a:defRPr sz="2400">
                <a:solidFill>
                  <a:schemeClr val="tx1"/>
                </a:solidFill>
                <a:latin typeface="Arial" pitchFamily="34" charset="0"/>
              </a:defRPr>
            </a:lvl6pPr>
            <a:lvl7pPr marL="2971800" indent="-228600" fontAlgn="base">
              <a:spcBef>
                <a:spcPct val="0"/>
              </a:spcBef>
              <a:spcAft>
                <a:spcPct val="0"/>
              </a:spcAft>
              <a:defRPr sz="2400">
                <a:solidFill>
                  <a:schemeClr val="tx1"/>
                </a:solidFill>
                <a:latin typeface="Arial" pitchFamily="34" charset="0"/>
              </a:defRPr>
            </a:lvl7pPr>
            <a:lvl8pPr marL="3429000" indent="-228600" fontAlgn="base">
              <a:spcBef>
                <a:spcPct val="0"/>
              </a:spcBef>
              <a:spcAft>
                <a:spcPct val="0"/>
              </a:spcAft>
              <a:defRPr sz="2400">
                <a:solidFill>
                  <a:schemeClr val="tx1"/>
                </a:solidFill>
                <a:latin typeface="Arial" pitchFamily="34" charset="0"/>
              </a:defRPr>
            </a:lvl8pPr>
            <a:lvl9pPr marL="3886200" indent="-228600" fontAlgn="base">
              <a:spcBef>
                <a:spcPct val="0"/>
              </a:spcBef>
              <a:spcAft>
                <a:spcPct val="0"/>
              </a:spcAft>
              <a:defRPr sz="2400">
                <a:solidFill>
                  <a:schemeClr val="tx1"/>
                </a:solidFill>
                <a:latin typeface="Arial" pitchFamily="34" charset="0"/>
              </a:defRPr>
            </a:lvl9pPr>
          </a:lstStyle>
          <a:p>
            <a:pPr algn="ctr"/>
            <a:r>
              <a:rPr lang="en-US" sz="900" dirty="0">
                <a:solidFill>
                  <a:srgbClr val="000000"/>
                </a:solidFill>
                <a:latin typeface="Arial"/>
              </a:rPr>
              <a:t>Synergy lab</a:t>
            </a:r>
          </a:p>
        </p:txBody>
      </p:sp>
      <p:sp>
        <p:nvSpPr>
          <p:cNvPr id="258" name="Tracker circle"/>
          <p:cNvSpPr/>
          <p:nvPr/>
        </p:nvSpPr>
        <p:spPr>
          <a:xfrm>
            <a:off x="3127746" y="4848746"/>
            <a:ext cx="135802" cy="129211"/>
          </a:xfrm>
          <a:prstGeom prst="ellipse">
            <a:avLst/>
          </a:prstGeom>
          <a:solidFill>
            <a:schemeClr val="bg1"/>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wrap="none" lIns="76200" tIns="76200" rIns="76200" bIns="76200" rtlCol="0" anchor="ctr" anchorCtr="1"/>
          <a:lstStyle/>
          <a:p>
            <a:pPr algn="ctr"/>
            <a:r>
              <a:rPr lang="en-US" sz="900" b="1" dirty="0">
                <a:solidFill>
                  <a:schemeClr val="accent3"/>
                </a:solidFill>
              </a:rPr>
              <a:t>T</a:t>
            </a:r>
          </a:p>
        </p:txBody>
      </p:sp>
      <p:sp>
        <p:nvSpPr>
          <p:cNvPr id="228" name="Tracker circle"/>
          <p:cNvSpPr/>
          <p:nvPr/>
        </p:nvSpPr>
        <p:spPr>
          <a:xfrm>
            <a:off x="400697" y="3472391"/>
            <a:ext cx="135802" cy="129211"/>
          </a:xfrm>
          <a:prstGeom prst="ellipse">
            <a:avLst/>
          </a:prstGeom>
          <a:solidFill>
            <a:schemeClr val="bg1"/>
          </a:solid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wrap="none" lIns="76200" tIns="76200" rIns="76200" bIns="76200" rtlCol="0" anchor="ctr" anchorCtr="1"/>
          <a:lstStyle/>
          <a:p>
            <a:pPr algn="ctr"/>
            <a:r>
              <a:rPr lang="en-US" sz="900" b="1" dirty="0">
                <a:solidFill>
                  <a:schemeClr val="accent3"/>
                </a:solidFill>
              </a:rPr>
              <a:t>A</a:t>
            </a:r>
          </a:p>
        </p:txBody>
      </p:sp>
      <p:sp>
        <p:nvSpPr>
          <p:cNvPr id="171" name="Rectangle 19"/>
          <p:cNvSpPr>
            <a:spLocks noChangeArrowheads="1"/>
          </p:cNvSpPr>
          <p:nvPr/>
        </p:nvSpPr>
        <p:spPr bwMode="gray">
          <a:xfrm>
            <a:off x="1534845" y="1029461"/>
            <a:ext cx="127599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nchorCtr="0">
            <a:spAutoFit/>
          </a:bodyPr>
          <a:lstStyle>
            <a:lvl1pPr defTabSz="787400">
              <a:defRPr sz="2400">
                <a:solidFill>
                  <a:schemeClr val="tx1"/>
                </a:solidFill>
                <a:latin typeface="Arial" pitchFamily="34" charset="0"/>
              </a:defRPr>
            </a:lvl1pPr>
            <a:lvl2pPr marL="742950" indent="-285750" defTabSz="787400">
              <a:defRPr sz="2400">
                <a:solidFill>
                  <a:schemeClr val="tx1"/>
                </a:solidFill>
                <a:latin typeface="Arial" pitchFamily="34" charset="0"/>
              </a:defRPr>
            </a:lvl2pPr>
            <a:lvl3pPr marL="1143000" indent="-228600" defTabSz="787400">
              <a:defRPr sz="2400">
                <a:solidFill>
                  <a:schemeClr val="tx1"/>
                </a:solidFill>
                <a:latin typeface="Arial" pitchFamily="34" charset="0"/>
              </a:defRPr>
            </a:lvl3pPr>
            <a:lvl4pPr marL="1600200" indent="-228600" defTabSz="787400">
              <a:defRPr sz="2400">
                <a:solidFill>
                  <a:schemeClr val="tx1"/>
                </a:solidFill>
                <a:latin typeface="Arial" pitchFamily="34" charset="0"/>
              </a:defRPr>
            </a:lvl4pPr>
            <a:lvl5pPr marL="2057400" indent="-228600" defTabSz="787400">
              <a:defRPr sz="2400">
                <a:solidFill>
                  <a:schemeClr val="tx1"/>
                </a:solidFill>
                <a:latin typeface="Arial" pitchFamily="34" charset="0"/>
              </a:defRPr>
            </a:lvl5pPr>
            <a:lvl6pPr marL="2514600" indent="-228600" defTabSz="787400" fontAlgn="base">
              <a:spcBef>
                <a:spcPct val="0"/>
              </a:spcBef>
              <a:spcAft>
                <a:spcPct val="0"/>
              </a:spcAft>
              <a:defRPr sz="2400">
                <a:solidFill>
                  <a:schemeClr val="tx1"/>
                </a:solidFill>
                <a:latin typeface="Arial" pitchFamily="34" charset="0"/>
              </a:defRPr>
            </a:lvl6pPr>
            <a:lvl7pPr marL="2971800" indent="-228600" defTabSz="787400" fontAlgn="base">
              <a:spcBef>
                <a:spcPct val="0"/>
              </a:spcBef>
              <a:spcAft>
                <a:spcPct val="0"/>
              </a:spcAft>
              <a:defRPr sz="2400">
                <a:solidFill>
                  <a:schemeClr val="tx1"/>
                </a:solidFill>
                <a:latin typeface="Arial" pitchFamily="34" charset="0"/>
              </a:defRPr>
            </a:lvl7pPr>
            <a:lvl8pPr marL="3429000" indent="-228600" defTabSz="787400" fontAlgn="base">
              <a:spcBef>
                <a:spcPct val="0"/>
              </a:spcBef>
              <a:spcAft>
                <a:spcPct val="0"/>
              </a:spcAft>
              <a:defRPr sz="2400">
                <a:solidFill>
                  <a:schemeClr val="tx1"/>
                </a:solidFill>
                <a:latin typeface="Arial" pitchFamily="34" charset="0"/>
              </a:defRPr>
            </a:lvl8pPr>
            <a:lvl9pPr marL="3886200" indent="-228600" defTabSz="787400" fontAlgn="base">
              <a:spcBef>
                <a:spcPct val="0"/>
              </a:spcBef>
              <a:spcAft>
                <a:spcPct val="0"/>
              </a:spcAft>
              <a:defRPr sz="2400">
                <a:solidFill>
                  <a:schemeClr val="tx1"/>
                </a:solidFill>
                <a:latin typeface="Arial" pitchFamily="34" charset="0"/>
              </a:defRPr>
            </a:lvl9pPr>
          </a:lstStyle>
          <a:p>
            <a:pPr algn="ctr">
              <a:buClr>
                <a:srgbClr val="002960"/>
              </a:buClr>
            </a:pPr>
            <a:r>
              <a:rPr lang="en-US" sz="900" b="1" dirty="0">
                <a:solidFill>
                  <a:schemeClr val="accent3"/>
                </a:solidFill>
                <a:latin typeface="Arial"/>
              </a:rPr>
              <a:t>Signing/announcement</a:t>
            </a:r>
          </a:p>
        </p:txBody>
      </p:sp>
      <p:sp>
        <p:nvSpPr>
          <p:cNvPr id="261" name="Title Tracker Circle">
            <a:extLst>
              <a:ext uri="{FF2B5EF4-FFF2-40B4-BE49-F238E27FC236}">
                <a16:creationId xmlns:a16="http://schemas.microsoft.com/office/drawing/2014/main" id="{175E6CFF-5293-4604-99F3-A14A5E1D0E09}"/>
              </a:ext>
            </a:extLst>
          </p:cNvPr>
          <p:cNvSpPr/>
          <p:nvPr/>
        </p:nvSpPr>
        <p:spPr>
          <a:xfrm>
            <a:off x="119063" y="166736"/>
            <a:ext cx="418798" cy="418798"/>
          </a:xfrm>
          <a:prstGeom prst="ellipse">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p>
            <a:pPr algn="ctr"/>
            <a:r>
              <a:rPr lang="en-US" sz="2000" dirty="0">
                <a:solidFill>
                  <a:schemeClr val="tx2"/>
                </a:solidFill>
                <a:latin typeface="+mj-lt"/>
              </a:rPr>
              <a:t>2</a:t>
            </a:r>
          </a:p>
        </p:txBody>
      </p:sp>
    </p:spTree>
    <p:custDataLst>
      <p:tags r:id="rId2"/>
    </p:custDataLst>
    <p:extLst>
      <p:ext uri="{BB962C8B-B14F-4D97-AF65-F5344CB8AC3E}">
        <p14:creationId xmlns:p14="http://schemas.microsoft.com/office/powerpoint/2010/main" val="2372917567"/>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34210" name="Rectangle 2" hidden="1"/>
          <p:cNvGraphicFramePr>
            <a:graphicFrameLocks/>
          </p:cNvGraphicFramePr>
          <p:nvPr>
            <p:custDataLst>
              <p:tags r:id="rId2"/>
            </p:custDataLst>
            <p:extLst>
              <p:ext uri="{D42A27DB-BD31-4B8C-83A1-F6EECF244321}">
                <p14:modId xmlns:p14="http://schemas.microsoft.com/office/powerpoint/2010/main" val="3553801671"/>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12340" name="think-cell Slide" r:id="rId6" imgW="0" imgH="0" progId="TCLayout.ActiveDocument.1">
                  <p:embed/>
                </p:oleObj>
              </mc:Choice>
              <mc:Fallback>
                <p:oleObj name="think-cell Slide" r:id="rId6" imgW="0" imgH="0" progId="TCLayout.ActiveDocument.1">
                  <p:embed/>
                  <p:pic>
                    <p:nvPicPr>
                      <p:cNvPr id="734210"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734211" name="Rectangle 3"/>
          <p:cNvSpPr>
            <a:spLocks noGrp="1" noChangeArrowheads="1"/>
          </p:cNvSpPr>
          <p:nvPr>
            <p:ph type="title"/>
            <p:custDataLst>
              <p:tags r:id="rId3"/>
            </p:custDataLst>
          </p:nvPr>
        </p:nvSpPr>
        <p:spPr>
          <a:xfrm>
            <a:off x="119063" y="230188"/>
            <a:ext cx="8618537" cy="615553"/>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marL="465138"/>
            <a:r>
              <a:rPr lang="en-US" dirty="0"/>
              <a:t>Proprietary methodologies, assets/databases, and tools </a:t>
            </a:r>
            <a:br>
              <a:rPr lang="en-US" dirty="0"/>
            </a:br>
            <a:r>
              <a:rPr lang="en-US" dirty="0"/>
              <a:t>in operations to identify areas for value capture</a:t>
            </a:r>
          </a:p>
        </p:txBody>
      </p:sp>
      <p:sp>
        <p:nvSpPr>
          <p:cNvPr id="33" name="Rectangle 32"/>
          <p:cNvSpPr>
            <a:spLocks/>
          </p:cNvSpPr>
          <p:nvPr/>
        </p:nvSpPr>
        <p:spPr>
          <a:xfrm>
            <a:off x="119063" y="987183"/>
            <a:ext cx="2805429" cy="5420981"/>
          </a:xfrm>
          <a:prstGeom prst="rect">
            <a:avLst/>
          </a:prstGeom>
          <a:solidFill>
            <a:schemeClr val="bg1"/>
          </a:solidFill>
          <a:ln w="19050">
            <a:solidFill>
              <a:schemeClr val="accent1"/>
            </a:solidFill>
          </a:ln>
          <a:effectLst>
            <a:outerShdw blurRad="50800" dist="38100" dir="2700000" algn="tl" rotWithShape="0">
              <a:prstClr val="black">
                <a:alpha val="40000"/>
              </a:prstClr>
            </a:outerShdw>
          </a:effectLst>
          <a:ex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300" dirty="0"/>
          </a:p>
        </p:txBody>
      </p:sp>
      <p:pic>
        <p:nvPicPr>
          <p:cNvPr id="45" name="Picture 2"/>
          <p:cNvPicPr>
            <a:picLocks noChangeArrowheads="1"/>
          </p:cNvPicPr>
          <p:nvPr/>
        </p:nvPicPr>
        <p:blipFill>
          <a:blip r:embed="rId7" cstate="screen">
            <a:extLst>
              <a:ext uri="{28A0092B-C50C-407E-A947-70E740481C1C}">
                <a14:useLocalDpi xmlns:a14="http://schemas.microsoft.com/office/drawing/2010/main"/>
              </a:ext>
            </a:extLst>
          </a:blip>
          <a:srcRect/>
          <a:stretch>
            <a:fillRect/>
          </a:stretch>
        </p:blipFill>
        <p:spPr bwMode="auto">
          <a:xfrm>
            <a:off x="523883" y="3974559"/>
            <a:ext cx="1995788" cy="1435033"/>
          </a:xfrm>
          <a:prstGeom prst="rect">
            <a:avLst/>
          </a:prstGeom>
          <a:solidFill>
            <a:schemeClr val="accent6"/>
          </a:solidFill>
          <a:ln>
            <a:solidFill>
              <a:schemeClr val="accent6"/>
            </a:solidFill>
          </a:ln>
          <a:effectLst/>
          <a:extLst/>
        </p:spPr>
      </p:pic>
      <p:sp>
        <p:nvSpPr>
          <p:cNvPr id="46" name="Rectangle 17"/>
          <p:cNvSpPr>
            <a:spLocks noChangeArrowheads="1"/>
          </p:cNvSpPr>
          <p:nvPr/>
        </p:nvSpPr>
        <p:spPr bwMode="gray">
          <a:xfrm>
            <a:off x="161577" y="5543282"/>
            <a:ext cx="2720400" cy="800219"/>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buClr>
                <a:srgbClr val="4D4D4D"/>
              </a:buClr>
              <a:defRPr sz="1600">
                <a:solidFill>
                  <a:srgbClr val="4D4D4D"/>
                </a:solidFill>
                <a:latin typeface="Arial" charset="0"/>
              </a:defRPr>
            </a:lvl1pPr>
            <a:lvl2pPr marL="1588" defTabSz="895350">
              <a:buClr>
                <a:srgbClr val="4D4D4D"/>
              </a:buClr>
              <a:buFont typeface="Arial" charset="0"/>
              <a:buChar char="▪"/>
              <a:defRPr sz="1600">
                <a:solidFill>
                  <a:srgbClr val="4D4D4D"/>
                </a:solidFill>
                <a:latin typeface="Arial" charset="0"/>
              </a:defRPr>
            </a:lvl2pPr>
            <a:lvl3pPr marL="295275" indent="-149225" defTabSz="895350">
              <a:buClr>
                <a:srgbClr val="4D4D4D"/>
              </a:buClr>
              <a:buFont typeface="Arial" charset="0"/>
              <a:buChar char="–"/>
              <a:defRPr sz="1600">
                <a:solidFill>
                  <a:srgbClr val="4D4D4D"/>
                </a:solidFill>
                <a:latin typeface="Arial" charset="0"/>
              </a:defRPr>
            </a:lvl3pPr>
            <a:lvl4pPr marL="431800" indent="-134938" defTabSz="895350">
              <a:buClr>
                <a:srgbClr val="4D4D4D"/>
              </a:buClr>
              <a:buFont typeface="Arial" charset="0"/>
              <a:buChar char="▫"/>
              <a:defRPr sz="1600">
                <a:solidFill>
                  <a:srgbClr val="4D4D4D"/>
                </a:solidFill>
                <a:latin typeface="Arial" charset="0"/>
              </a:defRPr>
            </a:lvl4pPr>
            <a:lvl5pPr marL="582613" indent="-149225" defTabSz="895350">
              <a:buClr>
                <a:srgbClr val="4D4D4D"/>
              </a:buClr>
              <a:buFont typeface="Arial" charset="0"/>
              <a:buChar char="-"/>
              <a:defRPr sz="1600">
                <a:solidFill>
                  <a:srgbClr val="4D4D4D"/>
                </a:solidFill>
                <a:latin typeface="Arial" charset="0"/>
              </a:defRPr>
            </a:lvl5pPr>
            <a:lvl6pPr marL="1039813" indent="-149225" defTabSz="895350" fontAlgn="base">
              <a:spcBef>
                <a:spcPct val="0"/>
              </a:spcBef>
              <a:spcAft>
                <a:spcPct val="0"/>
              </a:spcAft>
              <a:buClr>
                <a:srgbClr val="4D4D4D"/>
              </a:buClr>
              <a:buFont typeface="Arial" charset="0"/>
              <a:buChar char="-"/>
              <a:defRPr sz="1600">
                <a:solidFill>
                  <a:srgbClr val="4D4D4D"/>
                </a:solidFill>
                <a:latin typeface="Arial" charset="0"/>
              </a:defRPr>
            </a:lvl6pPr>
            <a:lvl7pPr marL="1497013" indent="-149225" defTabSz="895350" fontAlgn="base">
              <a:spcBef>
                <a:spcPct val="0"/>
              </a:spcBef>
              <a:spcAft>
                <a:spcPct val="0"/>
              </a:spcAft>
              <a:buClr>
                <a:srgbClr val="4D4D4D"/>
              </a:buClr>
              <a:buFont typeface="Arial" charset="0"/>
              <a:buChar char="-"/>
              <a:defRPr sz="1600">
                <a:solidFill>
                  <a:srgbClr val="4D4D4D"/>
                </a:solidFill>
                <a:latin typeface="Arial" charset="0"/>
              </a:defRPr>
            </a:lvl7pPr>
            <a:lvl8pPr marL="1954213" indent="-149225" defTabSz="895350" fontAlgn="base">
              <a:spcBef>
                <a:spcPct val="0"/>
              </a:spcBef>
              <a:spcAft>
                <a:spcPct val="0"/>
              </a:spcAft>
              <a:buClr>
                <a:srgbClr val="4D4D4D"/>
              </a:buClr>
              <a:buFont typeface="Arial" charset="0"/>
              <a:buChar char="-"/>
              <a:defRPr sz="1600">
                <a:solidFill>
                  <a:srgbClr val="4D4D4D"/>
                </a:solidFill>
                <a:latin typeface="Arial" charset="0"/>
              </a:defRPr>
            </a:lvl8pPr>
            <a:lvl9pPr marL="2411413" indent="-149225" defTabSz="895350" fontAlgn="base">
              <a:spcBef>
                <a:spcPct val="0"/>
              </a:spcBef>
              <a:spcAft>
                <a:spcPct val="0"/>
              </a:spcAft>
              <a:buClr>
                <a:srgbClr val="4D4D4D"/>
              </a:buClr>
              <a:buFont typeface="Arial" charset="0"/>
              <a:buChar char="-"/>
              <a:defRPr sz="1600">
                <a:solidFill>
                  <a:srgbClr val="4D4D4D"/>
                </a:solidFill>
                <a:latin typeface="Arial" charset="0"/>
              </a:defRPr>
            </a:lvl9pPr>
          </a:lstStyle>
          <a:p>
            <a:r>
              <a:rPr lang="en-US" sz="1300" b="1" dirty="0">
                <a:solidFill>
                  <a:schemeClr val="accent3"/>
                </a:solidFill>
                <a:latin typeface="+mn-lt"/>
              </a:rPr>
              <a:t>Supply chain performance index</a:t>
            </a:r>
          </a:p>
          <a:p>
            <a:r>
              <a:rPr lang="en-US" sz="1300" dirty="0">
                <a:solidFill>
                  <a:schemeClr val="tx1"/>
                </a:solidFill>
                <a:latin typeface="+mn-lt"/>
              </a:rPr>
              <a:t>Assessment and industry benchmarking of client’s supply chain performance</a:t>
            </a:r>
          </a:p>
        </p:txBody>
      </p:sp>
      <p:pic>
        <p:nvPicPr>
          <p:cNvPr id="3" name="Picture 2"/>
          <p:cNvPicPr>
            <a:picLocks/>
          </p:cNvPicPr>
          <p:nvPr/>
        </p:nvPicPr>
        <p:blipFill>
          <a:blip r:embed="rId8" cstate="screen">
            <a:extLst>
              <a:ext uri="{28A0092B-C50C-407E-A947-70E740481C1C}">
                <a14:useLocalDpi xmlns:a14="http://schemas.microsoft.com/office/drawing/2010/main"/>
              </a:ext>
            </a:extLst>
          </a:blip>
          <a:stretch>
            <a:fillRect/>
          </a:stretch>
        </p:blipFill>
        <p:spPr>
          <a:xfrm>
            <a:off x="374723" y="1411377"/>
            <a:ext cx="2294108" cy="1649532"/>
          </a:xfrm>
          <a:prstGeom prst="rect">
            <a:avLst/>
          </a:prstGeom>
          <a:solidFill>
            <a:schemeClr val="accent6"/>
          </a:solidFill>
          <a:ln>
            <a:solidFill>
              <a:schemeClr val="accent6"/>
            </a:solidFill>
          </a:ln>
        </p:spPr>
      </p:pic>
      <p:sp>
        <p:nvSpPr>
          <p:cNvPr id="51" name="Rectangle 17"/>
          <p:cNvSpPr>
            <a:spLocks noChangeArrowheads="1"/>
          </p:cNvSpPr>
          <p:nvPr/>
        </p:nvSpPr>
        <p:spPr bwMode="gray">
          <a:xfrm>
            <a:off x="161577" y="3114381"/>
            <a:ext cx="2720400" cy="600164"/>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buClr>
                <a:srgbClr val="4D4D4D"/>
              </a:buClr>
              <a:defRPr sz="1600">
                <a:solidFill>
                  <a:srgbClr val="4D4D4D"/>
                </a:solidFill>
                <a:latin typeface="Arial" charset="0"/>
              </a:defRPr>
            </a:lvl1pPr>
            <a:lvl2pPr marL="1588" defTabSz="895350">
              <a:buClr>
                <a:srgbClr val="4D4D4D"/>
              </a:buClr>
              <a:buFont typeface="Arial" charset="0"/>
              <a:buChar char="▪"/>
              <a:defRPr sz="1600">
                <a:solidFill>
                  <a:srgbClr val="4D4D4D"/>
                </a:solidFill>
                <a:latin typeface="Arial" charset="0"/>
              </a:defRPr>
            </a:lvl2pPr>
            <a:lvl3pPr marL="295275" indent="-149225" defTabSz="895350">
              <a:buClr>
                <a:srgbClr val="4D4D4D"/>
              </a:buClr>
              <a:buFont typeface="Arial" charset="0"/>
              <a:buChar char="–"/>
              <a:defRPr sz="1600">
                <a:solidFill>
                  <a:srgbClr val="4D4D4D"/>
                </a:solidFill>
                <a:latin typeface="Arial" charset="0"/>
              </a:defRPr>
            </a:lvl3pPr>
            <a:lvl4pPr marL="431800" indent="-134938" defTabSz="895350">
              <a:buClr>
                <a:srgbClr val="4D4D4D"/>
              </a:buClr>
              <a:buFont typeface="Arial" charset="0"/>
              <a:buChar char="▫"/>
              <a:defRPr sz="1600">
                <a:solidFill>
                  <a:srgbClr val="4D4D4D"/>
                </a:solidFill>
                <a:latin typeface="Arial" charset="0"/>
              </a:defRPr>
            </a:lvl4pPr>
            <a:lvl5pPr marL="582613" indent="-149225" defTabSz="895350">
              <a:buClr>
                <a:srgbClr val="4D4D4D"/>
              </a:buClr>
              <a:buFont typeface="Arial" charset="0"/>
              <a:buChar char="-"/>
              <a:defRPr sz="1600">
                <a:solidFill>
                  <a:srgbClr val="4D4D4D"/>
                </a:solidFill>
                <a:latin typeface="Arial" charset="0"/>
              </a:defRPr>
            </a:lvl5pPr>
            <a:lvl6pPr marL="1039813" indent="-149225" defTabSz="895350" fontAlgn="base">
              <a:spcBef>
                <a:spcPct val="0"/>
              </a:spcBef>
              <a:spcAft>
                <a:spcPct val="0"/>
              </a:spcAft>
              <a:buClr>
                <a:srgbClr val="4D4D4D"/>
              </a:buClr>
              <a:buFont typeface="Arial" charset="0"/>
              <a:buChar char="-"/>
              <a:defRPr sz="1600">
                <a:solidFill>
                  <a:srgbClr val="4D4D4D"/>
                </a:solidFill>
                <a:latin typeface="Arial" charset="0"/>
              </a:defRPr>
            </a:lvl6pPr>
            <a:lvl7pPr marL="1497013" indent="-149225" defTabSz="895350" fontAlgn="base">
              <a:spcBef>
                <a:spcPct val="0"/>
              </a:spcBef>
              <a:spcAft>
                <a:spcPct val="0"/>
              </a:spcAft>
              <a:buClr>
                <a:srgbClr val="4D4D4D"/>
              </a:buClr>
              <a:buFont typeface="Arial" charset="0"/>
              <a:buChar char="-"/>
              <a:defRPr sz="1600">
                <a:solidFill>
                  <a:srgbClr val="4D4D4D"/>
                </a:solidFill>
                <a:latin typeface="Arial" charset="0"/>
              </a:defRPr>
            </a:lvl7pPr>
            <a:lvl8pPr marL="1954213" indent="-149225" defTabSz="895350" fontAlgn="base">
              <a:spcBef>
                <a:spcPct val="0"/>
              </a:spcBef>
              <a:spcAft>
                <a:spcPct val="0"/>
              </a:spcAft>
              <a:buClr>
                <a:srgbClr val="4D4D4D"/>
              </a:buClr>
              <a:buFont typeface="Arial" charset="0"/>
              <a:buChar char="-"/>
              <a:defRPr sz="1600">
                <a:solidFill>
                  <a:srgbClr val="4D4D4D"/>
                </a:solidFill>
                <a:latin typeface="Arial" charset="0"/>
              </a:defRPr>
            </a:lvl8pPr>
            <a:lvl9pPr marL="2411413" indent="-149225" defTabSz="895350" fontAlgn="base">
              <a:spcBef>
                <a:spcPct val="0"/>
              </a:spcBef>
              <a:spcAft>
                <a:spcPct val="0"/>
              </a:spcAft>
              <a:buClr>
                <a:srgbClr val="4D4D4D"/>
              </a:buClr>
              <a:buFont typeface="Arial" charset="0"/>
              <a:buChar char="-"/>
              <a:defRPr sz="1600">
                <a:solidFill>
                  <a:srgbClr val="4D4D4D"/>
                </a:solidFill>
                <a:latin typeface="Arial" charset="0"/>
              </a:defRPr>
            </a:lvl9pPr>
          </a:lstStyle>
          <a:p>
            <a:r>
              <a:rPr lang="en-US" sz="1300" b="1" dirty="0">
                <a:solidFill>
                  <a:schemeClr val="accent3"/>
                </a:solidFill>
                <a:latin typeface="+mn-lt"/>
              </a:rPr>
              <a:t>360º SC Diagnostic</a:t>
            </a:r>
          </a:p>
          <a:p>
            <a:r>
              <a:rPr lang="en-US" sz="1300" dirty="0">
                <a:solidFill>
                  <a:schemeClr val="tx1"/>
                </a:solidFill>
                <a:latin typeface="+mn-lt"/>
              </a:rPr>
              <a:t>Identifies key performance gaps and estimates improvement potential</a:t>
            </a:r>
          </a:p>
        </p:txBody>
      </p:sp>
      <p:sp>
        <p:nvSpPr>
          <p:cNvPr id="32" name="Rectangle 10"/>
          <p:cNvSpPr>
            <a:spLocks noChangeArrowheads="1"/>
          </p:cNvSpPr>
          <p:nvPr/>
        </p:nvSpPr>
        <p:spPr bwMode="gray">
          <a:xfrm>
            <a:off x="119063" y="987183"/>
            <a:ext cx="2805429" cy="355482"/>
          </a:xfrm>
          <a:prstGeom prst="rect">
            <a:avLst/>
          </a:prstGeom>
          <a:solidFill>
            <a:schemeClr val="accent1"/>
          </a:solidFill>
          <a:ln w="9525">
            <a:noFill/>
          </a:ln>
          <a:effectLst/>
          <a:extLst/>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spAutoFit/>
          </a:bodyPr>
          <a:lstStyle/>
          <a:p>
            <a:r>
              <a:rPr lang="en-US" sz="1300" b="1" dirty="0">
                <a:solidFill>
                  <a:schemeClr val="accent3"/>
                </a:solidFill>
              </a:rPr>
              <a:t>Supply Chain Management</a:t>
            </a:r>
          </a:p>
        </p:txBody>
      </p:sp>
      <p:sp>
        <p:nvSpPr>
          <p:cNvPr id="35" name="Rectangle 34"/>
          <p:cNvSpPr>
            <a:spLocks/>
          </p:cNvSpPr>
          <p:nvPr/>
        </p:nvSpPr>
        <p:spPr>
          <a:xfrm>
            <a:off x="5932171" y="987183"/>
            <a:ext cx="2805429" cy="5420981"/>
          </a:xfrm>
          <a:prstGeom prst="rect">
            <a:avLst/>
          </a:prstGeom>
          <a:solidFill>
            <a:schemeClr val="bg1"/>
          </a:solidFill>
          <a:ln w="19050">
            <a:solidFill>
              <a:schemeClr val="accent1"/>
            </a:solidFill>
          </a:ln>
          <a:effectLst>
            <a:outerShdw blurRad="50800" dist="38100" dir="2700000" algn="tl" rotWithShape="0">
              <a:prstClr val="black">
                <a:alpha val="40000"/>
              </a:prstClr>
            </a:outerShdw>
          </a:effectLs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a:p>
        </p:txBody>
      </p:sp>
      <p:sp>
        <p:nvSpPr>
          <p:cNvPr id="50" name="Rectangle 17"/>
          <p:cNvSpPr>
            <a:spLocks noChangeArrowheads="1"/>
          </p:cNvSpPr>
          <p:nvPr/>
        </p:nvSpPr>
        <p:spPr bwMode="gray">
          <a:xfrm>
            <a:off x="6001487" y="3114381"/>
            <a:ext cx="2666797" cy="3252172"/>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buClr>
                <a:srgbClr val="4D4D4D"/>
              </a:buClr>
              <a:defRPr sz="1600">
                <a:solidFill>
                  <a:srgbClr val="4D4D4D"/>
                </a:solidFill>
                <a:latin typeface="Arial" charset="0"/>
              </a:defRPr>
            </a:lvl1pPr>
            <a:lvl2pPr marL="1588" defTabSz="895350">
              <a:buClr>
                <a:srgbClr val="4D4D4D"/>
              </a:buClr>
              <a:buFont typeface="Arial" charset="0"/>
              <a:buChar char="▪"/>
              <a:defRPr sz="1600">
                <a:solidFill>
                  <a:srgbClr val="4D4D4D"/>
                </a:solidFill>
                <a:latin typeface="Arial" charset="0"/>
              </a:defRPr>
            </a:lvl2pPr>
            <a:lvl3pPr marL="295275" indent="-149225" defTabSz="895350">
              <a:buClr>
                <a:srgbClr val="4D4D4D"/>
              </a:buClr>
              <a:buFont typeface="Arial" charset="0"/>
              <a:buChar char="–"/>
              <a:defRPr sz="1600">
                <a:solidFill>
                  <a:srgbClr val="4D4D4D"/>
                </a:solidFill>
                <a:latin typeface="Arial" charset="0"/>
              </a:defRPr>
            </a:lvl3pPr>
            <a:lvl4pPr marL="431800" indent="-134938" defTabSz="895350">
              <a:buClr>
                <a:srgbClr val="4D4D4D"/>
              </a:buClr>
              <a:buFont typeface="Arial" charset="0"/>
              <a:buChar char="▫"/>
              <a:defRPr sz="1600">
                <a:solidFill>
                  <a:srgbClr val="4D4D4D"/>
                </a:solidFill>
                <a:latin typeface="Arial" charset="0"/>
              </a:defRPr>
            </a:lvl4pPr>
            <a:lvl5pPr marL="582613" indent="-149225" defTabSz="895350">
              <a:buClr>
                <a:srgbClr val="4D4D4D"/>
              </a:buClr>
              <a:buFont typeface="Arial" charset="0"/>
              <a:buChar char="-"/>
              <a:defRPr sz="1600">
                <a:solidFill>
                  <a:srgbClr val="4D4D4D"/>
                </a:solidFill>
                <a:latin typeface="Arial" charset="0"/>
              </a:defRPr>
            </a:lvl5pPr>
            <a:lvl6pPr marL="1039813" indent="-149225" defTabSz="895350" fontAlgn="base">
              <a:spcBef>
                <a:spcPct val="0"/>
              </a:spcBef>
              <a:spcAft>
                <a:spcPct val="0"/>
              </a:spcAft>
              <a:buClr>
                <a:srgbClr val="4D4D4D"/>
              </a:buClr>
              <a:buFont typeface="Arial" charset="0"/>
              <a:buChar char="-"/>
              <a:defRPr sz="1600">
                <a:solidFill>
                  <a:srgbClr val="4D4D4D"/>
                </a:solidFill>
                <a:latin typeface="Arial" charset="0"/>
              </a:defRPr>
            </a:lvl6pPr>
            <a:lvl7pPr marL="1497013" indent="-149225" defTabSz="895350" fontAlgn="base">
              <a:spcBef>
                <a:spcPct val="0"/>
              </a:spcBef>
              <a:spcAft>
                <a:spcPct val="0"/>
              </a:spcAft>
              <a:buClr>
                <a:srgbClr val="4D4D4D"/>
              </a:buClr>
              <a:buFont typeface="Arial" charset="0"/>
              <a:buChar char="-"/>
              <a:defRPr sz="1600">
                <a:solidFill>
                  <a:srgbClr val="4D4D4D"/>
                </a:solidFill>
                <a:latin typeface="Arial" charset="0"/>
              </a:defRPr>
            </a:lvl7pPr>
            <a:lvl8pPr marL="1954213" indent="-149225" defTabSz="895350" fontAlgn="base">
              <a:spcBef>
                <a:spcPct val="0"/>
              </a:spcBef>
              <a:spcAft>
                <a:spcPct val="0"/>
              </a:spcAft>
              <a:buClr>
                <a:srgbClr val="4D4D4D"/>
              </a:buClr>
              <a:buFont typeface="Arial" charset="0"/>
              <a:buChar char="-"/>
              <a:defRPr sz="1600">
                <a:solidFill>
                  <a:srgbClr val="4D4D4D"/>
                </a:solidFill>
                <a:latin typeface="Arial" charset="0"/>
              </a:defRPr>
            </a:lvl8pPr>
            <a:lvl9pPr marL="2411413" indent="-149225" defTabSz="895350" fontAlgn="base">
              <a:spcBef>
                <a:spcPct val="0"/>
              </a:spcBef>
              <a:spcAft>
                <a:spcPct val="0"/>
              </a:spcAft>
              <a:buClr>
                <a:srgbClr val="4D4D4D"/>
              </a:buClr>
              <a:buFont typeface="Arial" charset="0"/>
              <a:buChar char="-"/>
              <a:defRPr sz="1600">
                <a:solidFill>
                  <a:srgbClr val="4D4D4D"/>
                </a:solidFill>
                <a:latin typeface="Arial" charset="0"/>
              </a:defRPr>
            </a:lvl9pPr>
          </a:lstStyle>
          <a:p>
            <a:r>
              <a:rPr lang="en-US" sz="1300" b="1" dirty="0">
                <a:solidFill>
                  <a:schemeClr val="accent3"/>
                </a:solidFill>
                <a:latin typeface="+mn-lt"/>
              </a:rPr>
              <a:t>Manufacturing tools</a:t>
            </a:r>
          </a:p>
          <a:p>
            <a:pPr>
              <a:buClr>
                <a:srgbClr val="002960"/>
              </a:buClr>
            </a:pPr>
            <a:r>
              <a:rPr lang="en-US" sz="1300" dirty="0">
                <a:solidFill>
                  <a:schemeClr val="tx1"/>
                </a:solidFill>
                <a:latin typeface="+mn-lt"/>
              </a:rPr>
              <a:t>A tool for each elements manufacturing strategy to help design and highlight trade offs</a:t>
            </a:r>
          </a:p>
          <a:p>
            <a:pPr marL="171450" indent="-171450">
              <a:spcAft>
                <a:spcPts val="200"/>
              </a:spcAft>
              <a:buClrTx/>
              <a:buSzPct val="100000"/>
              <a:buFont typeface="Wingdings" pitchFamily="2" charset="2"/>
              <a:buChar char="§"/>
            </a:pPr>
            <a:r>
              <a:rPr lang="en-US" sz="1300" b="1" dirty="0">
                <a:solidFill>
                  <a:schemeClr val="accent3"/>
                </a:solidFill>
                <a:latin typeface="+mn-lt"/>
              </a:rPr>
              <a:t>Manufacturing Excellence Diagnostics (M360</a:t>
            </a:r>
            <a:r>
              <a:rPr lang="en-US" sz="1300" dirty="0">
                <a:solidFill>
                  <a:schemeClr val="tx1"/>
                </a:solidFill>
                <a:latin typeface="+mn-lt"/>
              </a:rPr>
              <a:t>)</a:t>
            </a:r>
            <a:r>
              <a:rPr lang="en-US" altLang="ko-KR" sz="1300" dirty="0">
                <a:solidFill>
                  <a:schemeClr val="tx1"/>
                </a:solidFill>
                <a:latin typeface="+mn-lt"/>
              </a:rPr>
              <a:t> ™ Benchmarks manufacturing practices to best-in-class parameters</a:t>
            </a:r>
            <a:endParaRPr lang="en-US" sz="1300" dirty="0">
              <a:solidFill>
                <a:schemeClr val="tx1"/>
              </a:solidFill>
              <a:latin typeface="+mn-lt"/>
            </a:endParaRPr>
          </a:p>
          <a:p>
            <a:pPr marL="171450" lvl="1" indent="-171450">
              <a:spcAft>
                <a:spcPts val="200"/>
              </a:spcAft>
              <a:buClrTx/>
              <a:buSzPct val="100000"/>
              <a:buFont typeface="Wingdings" pitchFamily="2" charset="2"/>
              <a:buChar char="§"/>
            </a:pPr>
            <a:r>
              <a:rPr lang="en-US" sz="1300" b="1" dirty="0">
                <a:solidFill>
                  <a:schemeClr val="accent3"/>
                </a:solidFill>
                <a:latin typeface="+mn-lt"/>
              </a:rPr>
              <a:t>Agile Manufacturing toolbox</a:t>
            </a:r>
            <a:r>
              <a:rPr lang="en-US" altLang="ko-KR" sz="1300" dirty="0">
                <a:solidFill>
                  <a:schemeClr val="tx1"/>
                </a:solidFill>
                <a:latin typeface="+mn-lt"/>
              </a:rPr>
              <a:t>™: </a:t>
            </a:r>
            <a:r>
              <a:rPr lang="en-US" sz="1300" dirty="0">
                <a:solidFill>
                  <a:schemeClr val="tx1"/>
                </a:solidFill>
                <a:latin typeface="+mn-lt"/>
              </a:rPr>
              <a:t>Comprehensive set of agile manufacturing levers (~ 80 levers)</a:t>
            </a:r>
          </a:p>
          <a:p>
            <a:pPr marL="171450" lvl="1" indent="-171450">
              <a:spcAft>
                <a:spcPts val="200"/>
              </a:spcAft>
              <a:buClrTx/>
              <a:buSzPct val="100000"/>
              <a:buFont typeface="Wingdings" pitchFamily="2" charset="2"/>
              <a:buChar char="§"/>
            </a:pPr>
            <a:r>
              <a:rPr lang="en-US" sz="1300" b="1" dirty="0">
                <a:solidFill>
                  <a:schemeClr val="accent3"/>
                </a:solidFill>
                <a:latin typeface="+mn-lt"/>
              </a:rPr>
              <a:t>Diagnostic toolbox</a:t>
            </a:r>
            <a:r>
              <a:rPr lang="en-US" altLang="ko-KR" sz="1300" dirty="0">
                <a:solidFill>
                  <a:schemeClr val="tx1"/>
                </a:solidFill>
                <a:latin typeface="+mn-lt"/>
              </a:rPr>
              <a:t> ™: </a:t>
            </a:r>
            <a:r>
              <a:rPr lang="en-US" sz="1300" dirty="0">
                <a:solidFill>
                  <a:schemeClr val="tx1"/>
                </a:solidFill>
                <a:latin typeface="+mn-lt"/>
              </a:rPr>
              <a:t>3-day agility diagnostic with </a:t>
            </a:r>
            <a:r>
              <a:rPr lang="en-US" sz="1300" dirty="0" err="1">
                <a:solidFill>
                  <a:schemeClr val="tx1"/>
                </a:solidFill>
                <a:latin typeface="+mn-lt"/>
              </a:rPr>
              <a:t>compre-hensive</a:t>
            </a:r>
            <a:r>
              <a:rPr lang="en-US" sz="1300" dirty="0">
                <a:solidFill>
                  <a:schemeClr val="tx1"/>
                </a:solidFill>
                <a:latin typeface="+mn-lt"/>
              </a:rPr>
              <a:t> report on key areas</a:t>
            </a:r>
          </a:p>
        </p:txBody>
      </p:sp>
      <p:pic>
        <p:nvPicPr>
          <p:cNvPr id="4" name="Picture 3"/>
          <p:cNvPicPr>
            <a:picLocks/>
          </p:cNvPicPr>
          <p:nvPr/>
        </p:nvPicPr>
        <p:blipFill>
          <a:blip r:embed="rId9" cstate="screen">
            <a:extLst>
              <a:ext uri="{28A0092B-C50C-407E-A947-70E740481C1C}">
                <a14:useLocalDpi xmlns:a14="http://schemas.microsoft.com/office/drawing/2010/main"/>
              </a:ext>
            </a:extLst>
          </a:blip>
          <a:stretch>
            <a:fillRect/>
          </a:stretch>
        </p:blipFill>
        <p:spPr>
          <a:xfrm>
            <a:off x="6187831" y="1411377"/>
            <a:ext cx="2294108" cy="1649532"/>
          </a:xfrm>
          <a:prstGeom prst="rect">
            <a:avLst/>
          </a:prstGeom>
          <a:solidFill>
            <a:schemeClr val="accent6"/>
          </a:solidFill>
          <a:ln>
            <a:solidFill>
              <a:schemeClr val="accent6"/>
            </a:solidFill>
          </a:ln>
        </p:spPr>
      </p:pic>
      <p:sp>
        <p:nvSpPr>
          <p:cNvPr id="36" name="Rectangle 12"/>
          <p:cNvSpPr>
            <a:spLocks noChangeArrowheads="1"/>
          </p:cNvSpPr>
          <p:nvPr/>
        </p:nvSpPr>
        <p:spPr bwMode="gray">
          <a:xfrm>
            <a:off x="5932171" y="987183"/>
            <a:ext cx="2805429" cy="355482"/>
          </a:xfrm>
          <a:prstGeom prst="rect">
            <a:avLst/>
          </a:prstGeom>
          <a:solidFill>
            <a:schemeClr val="accent1"/>
          </a:solidFill>
          <a:ln w="9525">
            <a:noFill/>
          </a:ln>
          <a:effectLst/>
          <a:extLst/>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spAutoFit/>
          </a:bodyPr>
          <a:lstStyle/>
          <a:p>
            <a:r>
              <a:rPr lang="en-US" sz="1300" b="1" dirty="0">
                <a:solidFill>
                  <a:schemeClr val="accent3"/>
                </a:solidFill>
              </a:rPr>
              <a:t>Manufacturing</a:t>
            </a:r>
          </a:p>
        </p:txBody>
      </p:sp>
      <p:sp>
        <p:nvSpPr>
          <p:cNvPr id="34" name="Rectangle 33"/>
          <p:cNvSpPr>
            <a:spLocks/>
          </p:cNvSpPr>
          <p:nvPr/>
        </p:nvSpPr>
        <p:spPr>
          <a:xfrm>
            <a:off x="3025617" y="987183"/>
            <a:ext cx="2805429" cy="5420981"/>
          </a:xfrm>
          <a:prstGeom prst="rect">
            <a:avLst/>
          </a:prstGeom>
          <a:solidFill>
            <a:schemeClr val="bg1"/>
          </a:solidFill>
          <a:ln w="19050">
            <a:solidFill>
              <a:schemeClr val="accent1"/>
            </a:solidFill>
          </a:ln>
          <a:effectLst>
            <a:outerShdw blurRad="50800" dist="38100" dir="2700000" algn="tl" rotWithShape="0">
              <a:prstClr val="black">
                <a:alpha val="40000"/>
              </a:prstClr>
            </a:outerShdw>
          </a:effectLst>
          <a:ex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300" dirty="0"/>
          </a:p>
        </p:txBody>
      </p:sp>
      <p:pic>
        <p:nvPicPr>
          <p:cNvPr id="54" name="Picture 17"/>
          <p:cNvPicPr>
            <a:picLocks noChangeAspect="1" noChangeArrowheads="1"/>
          </p:cNvPicPr>
          <p:nvPr/>
        </p:nvPicPr>
        <p:blipFill>
          <a:blip r:embed="rId10" cstate="screen">
            <a:extLst>
              <a:ext uri="{28A0092B-C50C-407E-A947-70E740481C1C}">
                <a14:useLocalDpi xmlns:a14="http://schemas.microsoft.com/office/drawing/2010/main"/>
              </a:ext>
            </a:extLst>
          </a:blip>
          <a:srcRect/>
          <a:stretch>
            <a:fillRect/>
          </a:stretch>
        </p:blipFill>
        <p:spPr bwMode="gray">
          <a:xfrm>
            <a:off x="3121206" y="1411377"/>
            <a:ext cx="1443799" cy="1192538"/>
          </a:xfrm>
          <a:prstGeom prst="rect">
            <a:avLst/>
          </a:prstGeom>
          <a:noFill/>
          <a:ln w="6350" algn="ctr">
            <a:solidFill>
              <a:schemeClr val="accent6"/>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5" name="Picture 18"/>
          <p:cNvPicPr>
            <a:picLocks noChangeAspect="1" noChangeArrowheads="1"/>
          </p:cNvPicPr>
          <p:nvPr/>
        </p:nvPicPr>
        <p:blipFill>
          <a:blip r:embed="rId11" cstate="screen">
            <a:extLst>
              <a:ext uri="{28A0092B-C50C-407E-A947-70E740481C1C}">
                <a14:useLocalDpi xmlns:a14="http://schemas.microsoft.com/office/drawing/2010/main"/>
              </a:ext>
            </a:extLst>
          </a:blip>
          <a:srcRect/>
          <a:stretch>
            <a:fillRect/>
          </a:stretch>
        </p:blipFill>
        <p:spPr bwMode="gray">
          <a:xfrm>
            <a:off x="3651064" y="1705159"/>
            <a:ext cx="1413987" cy="1180569"/>
          </a:xfrm>
          <a:prstGeom prst="rect">
            <a:avLst/>
          </a:prstGeom>
          <a:noFill/>
          <a:ln w="6350" algn="ctr">
            <a:solidFill>
              <a:schemeClr val="accent6"/>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6" name="Picture 19"/>
          <p:cNvPicPr>
            <a:picLocks noChangeAspect="1" noChangeArrowheads="1"/>
          </p:cNvPicPr>
          <p:nvPr/>
        </p:nvPicPr>
        <p:blipFill>
          <a:blip r:embed="rId12" cstate="screen">
            <a:extLst>
              <a:ext uri="{28A0092B-C50C-407E-A947-70E740481C1C}">
                <a14:useLocalDpi xmlns:a14="http://schemas.microsoft.com/office/drawing/2010/main"/>
              </a:ext>
            </a:extLst>
          </a:blip>
          <a:srcRect/>
          <a:stretch>
            <a:fillRect/>
          </a:stretch>
        </p:blipFill>
        <p:spPr bwMode="gray">
          <a:xfrm>
            <a:off x="4151110" y="1994589"/>
            <a:ext cx="1584346" cy="1066320"/>
          </a:xfrm>
          <a:prstGeom prst="rect">
            <a:avLst/>
          </a:prstGeom>
          <a:noFill/>
          <a:ln w="9525">
            <a:solidFill>
              <a:schemeClr val="accent6"/>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7" name="TextBox 56"/>
          <p:cNvSpPr txBox="1">
            <a:spLocks/>
          </p:cNvSpPr>
          <p:nvPr/>
        </p:nvSpPr>
        <p:spPr>
          <a:xfrm>
            <a:off x="3094933" y="3114381"/>
            <a:ext cx="2666797" cy="3000821"/>
          </a:xfrm>
          <a:prstGeom prst="rect">
            <a:avLst/>
          </a:prstGeom>
        </p:spPr>
        <p:txBody>
          <a:bodyPr vert="horz" wrap="square" lIns="0" tIns="0" rIns="0" bIns="0" rtlCol="0">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1"/>
            <a:r>
              <a:rPr lang="en-US" altLang="ko-KR" sz="1300" b="1" dirty="0">
                <a:solidFill>
                  <a:schemeClr val="accent3"/>
                </a:solidFill>
              </a:rPr>
              <a:t>McKinsey’s commodity Database</a:t>
            </a:r>
            <a:r>
              <a:rPr lang="en-US" altLang="ko-KR" sz="1300" dirty="0"/>
              <a:t>™ houses 1,000+ commodity -level entries from prior McKinsey engagements</a:t>
            </a:r>
          </a:p>
          <a:p>
            <a:pPr lvl="1"/>
            <a:r>
              <a:rPr lang="en-US" altLang="ko-KR" sz="1300" b="1" dirty="0">
                <a:solidFill>
                  <a:schemeClr val="accent3"/>
                </a:solidFill>
              </a:rPr>
              <a:t>Global Purchasing Excellence™ Database</a:t>
            </a:r>
            <a:r>
              <a:rPr lang="en-US" altLang="ko-KR" sz="1300" dirty="0"/>
              <a:t>: Benchmarks from interviews with 850+ companies</a:t>
            </a:r>
          </a:p>
          <a:p>
            <a:pPr lvl="1"/>
            <a:r>
              <a:rPr lang="en-US" altLang="ko-KR" sz="1300" b="1" dirty="0">
                <a:solidFill>
                  <a:schemeClr val="accent3"/>
                </a:solidFill>
              </a:rPr>
              <a:t>Global Sourcing Supplier Database™</a:t>
            </a:r>
            <a:r>
              <a:rPr lang="en-US" altLang="ko-KR" sz="1300" dirty="0"/>
              <a:t>: proprietary web-based supplier identification &amp; profile source</a:t>
            </a:r>
          </a:p>
          <a:p>
            <a:pPr lvl="1"/>
            <a:r>
              <a:rPr lang="en-US" altLang="ko-KR" sz="1300" b="1" dirty="0">
                <a:solidFill>
                  <a:schemeClr val="accent3"/>
                </a:solidFill>
              </a:rPr>
              <a:t>“Should cost” clean sheet database</a:t>
            </a:r>
            <a:r>
              <a:rPr lang="en-US" altLang="ko-KR" sz="1300" dirty="0"/>
              <a:t>: Internally used and client licensable clean sheet tool</a:t>
            </a:r>
          </a:p>
        </p:txBody>
      </p:sp>
      <p:sp>
        <p:nvSpPr>
          <p:cNvPr id="37" name="Rectangle 13"/>
          <p:cNvSpPr>
            <a:spLocks noChangeArrowheads="1"/>
          </p:cNvSpPr>
          <p:nvPr/>
        </p:nvSpPr>
        <p:spPr bwMode="gray">
          <a:xfrm>
            <a:off x="3025617" y="987183"/>
            <a:ext cx="2805429" cy="355482"/>
          </a:xfrm>
          <a:prstGeom prst="rect">
            <a:avLst/>
          </a:prstGeom>
          <a:solidFill>
            <a:schemeClr val="accent1"/>
          </a:solidFill>
          <a:ln w="9525">
            <a:noFill/>
          </a:ln>
          <a:effectLst/>
          <a:extLst/>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spAutoFit/>
          </a:bodyPr>
          <a:lstStyle/>
          <a:p>
            <a:r>
              <a:rPr lang="en-US" sz="1300" b="1" dirty="0">
                <a:solidFill>
                  <a:schemeClr val="accent3"/>
                </a:solidFill>
              </a:rPr>
              <a:t>Procurement</a:t>
            </a:r>
          </a:p>
        </p:txBody>
      </p:sp>
      <p:sp>
        <p:nvSpPr>
          <p:cNvPr id="22" name="Title Tracker Circle">
            <a:extLst>
              <a:ext uri="{FF2B5EF4-FFF2-40B4-BE49-F238E27FC236}">
                <a16:creationId xmlns:a16="http://schemas.microsoft.com/office/drawing/2014/main" id="{D5DB6DF9-2597-4E41-92EA-235F92629F7B}"/>
              </a:ext>
            </a:extLst>
          </p:cNvPr>
          <p:cNvSpPr/>
          <p:nvPr/>
        </p:nvSpPr>
        <p:spPr>
          <a:xfrm>
            <a:off x="119063" y="166736"/>
            <a:ext cx="418798" cy="418798"/>
          </a:xfrm>
          <a:prstGeom prst="ellipse">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p>
            <a:pPr algn="ctr"/>
            <a:r>
              <a:rPr lang="en-US" sz="2000" dirty="0">
                <a:solidFill>
                  <a:schemeClr val="tx2"/>
                </a:solidFill>
                <a:latin typeface="+mj-lt"/>
              </a:rPr>
              <a:t>A</a:t>
            </a:r>
          </a:p>
        </p:txBody>
      </p:sp>
      <p:sp>
        <p:nvSpPr>
          <p:cNvPr id="21" name="5. Source">
            <a:extLst>
              <a:ext uri="{FF2B5EF4-FFF2-40B4-BE49-F238E27FC236}">
                <a16:creationId xmlns:a16="http://schemas.microsoft.com/office/drawing/2014/main" id="{3BF21DE3-2906-4D71-8DB4-7A38E23F7F4A}"/>
              </a:ext>
            </a:extLst>
          </p:cNvPr>
          <p:cNvSpPr>
            <a:spLocks noChangeArrowheads="1"/>
          </p:cNvSpPr>
          <p:nvPr/>
        </p:nvSpPr>
        <p:spPr bwMode="auto">
          <a:xfrm>
            <a:off x="119063" y="6507558"/>
            <a:ext cx="7200000" cy="123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marL="609600" indent="-609600" defTabSz="895350">
              <a:tabLst>
                <a:tab pos="612775" algn="l"/>
              </a:tabLst>
            </a:pPr>
            <a:r>
              <a:rPr lang="en-US" sz="800" dirty="0">
                <a:solidFill>
                  <a:schemeClr val="accent6"/>
                </a:solidFill>
                <a:latin typeface="Arial" panose="020B0604020202020204" pitchFamily="34" charset="0"/>
              </a:rPr>
              <a:t>SOURCE: McKinsey</a:t>
            </a:r>
          </a:p>
        </p:txBody>
      </p:sp>
      <p:grpSp>
        <p:nvGrpSpPr>
          <p:cNvPr id="16" name="sticker">
            <a:extLst>
              <a:ext uri="{FF2B5EF4-FFF2-40B4-BE49-F238E27FC236}">
                <a16:creationId xmlns:a16="http://schemas.microsoft.com/office/drawing/2014/main" id="{51849E05-A69D-48D2-B291-A034FA41BD0B}"/>
              </a:ext>
            </a:extLst>
          </p:cNvPr>
          <p:cNvGrpSpPr/>
          <p:nvPr/>
        </p:nvGrpSpPr>
        <p:grpSpPr>
          <a:xfrm>
            <a:off x="7988549" y="285750"/>
            <a:ext cx="749051" cy="150811"/>
            <a:chOff x="7988549" y="285750"/>
            <a:chExt cx="749051" cy="150811"/>
          </a:xfrm>
        </p:grpSpPr>
        <p:sp>
          <p:nvSpPr>
            <p:cNvPr id="40" name="StickerRectangle">
              <a:extLst>
                <a:ext uri="{FF2B5EF4-FFF2-40B4-BE49-F238E27FC236}">
                  <a16:creationId xmlns:a16="http://schemas.microsoft.com/office/drawing/2014/main" id="{830204A9-F6B1-4E02-BD32-3D74656EB29F}"/>
                </a:ext>
              </a:extLst>
            </p:cNvPr>
            <p:cNvSpPr>
              <a:spLocks noChangeArrowheads="1"/>
            </p:cNvSpPr>
            <p:nvPr/>
          </p:nvSpPr>
          <p:spPr bwMode="gray">
            <a:xfrm>
              <a:off x="7988549" y="285750"/>
              <a:ext cx="749051" cy="150811"/>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a:buClr>
                  <a:srgbClr val="002960"/>
                </a:buClr>
              </a:pPr>
              <a:r>
                <a:rPr lang="en-US" sz="800" baseline="0">
                  <a:solidFill>
                    <a:schemeClr val="accent6"/>
                  </a:solidFill>
                  <a:latin typeface="+mn-lt"/>
                  <a:ea typeface="+mn-ea"/>
                </a:rPr>
                <a:t>ILLUSTRATIVE</a:t>
              </a:r>
              <a:endParaRPr lang="en-US" sz="800" baseline="0" dirty="0">
                <a:solidFill>
                  <a:schemeClr val="accent6"/>
                </a:solidFill>
                <a:latin typeface="+mn-lt"/>
                <a:ea typeface="+mn-ea"/>
              </a:endParaRPr>
            </a:p>
          </p:txBody>
        </p:sp>
        <p:cxnSp>
          <p:nvCxnSpPr>
            <p:cNvPr id="41" name="AutoShape 31">
              <a:extLst>
                <a:ext uri="{FF2B5EF4-FFF2-40B4-BE49-F238E27FC236}">
                  <a16:creationId xmlns:a16="http://schemas.microsoft.com/office/drawing/2014/main" id="{41EBBA6E-52EF-49BD-A69C-958B501DA043}"/>
                </a:ext>
              </a:extLst>
            </p:cNvPr>
            <p:cNvCxnSpPr>
              <a:cxnSpLocks noChangeShapeType="1"/>
              <a:stCxn id="40" idx="2"/>
              <a:endCxn id="40" idx="4"/>
            </p:cNvCxnSpPr>
            <p:nvPr/>
          </p:nvCxnSpPr>
          <p:spPr bwMode="gray">
            <a:xfrm>
              <a:off x="7988549" y="285750"/>
              <a:ext cx="0" cy="150811"/>
            </a:xfrm>
            <a:prstGeom prst="straightConnector1">
              <a:avLst/>
            </a:prstGeom>
            <a:noFill/>
            <a:ln w="9525">
              <a:solidFill>
                <a:schemeClr val="accent6"/>
              </a:solidFill>
              <a:round/>
              <a:headEnd/>
              <a:tailEnd/>
            </a:ln>
            <a:extLst>
              <a:ext uri="{909E8E84-426E-40DD-AFC4-6F175D3DCCD1}">
                <a14:hiddenFill xmlns:a14="http://schemas.microsoft.com/office/drawing/2010/main">
                  <a:noFill/>
                </a14:hiddenFill>
              </a:ext>
            </a:extLst>
          </p:spPr>
        </p:cxnSp>
        <p:cxnSp>
          <p:nvCxnSpPr>
            <p:cNvPr id="42" name="AutoShape 32">
              <a:extLst>
                <a:ext uri="{FF2B5EF4-FFF2-40B4-BE49-F238E27FC236}">
                  <a16:creationId xmlns:a16="http://schemas.microsoft.com/office/drawing/2014/main" id="{ADCC5BFE-A791-4894-8568-2E908212F49C}"/>
                </a:ext>
              </a:extLst>
            </p:cNvPr>
            <p:cNvCxnSpPr>
              <a:cxnSpLocks noChangeShapeType="1"/>
              <a:stCxn id="40" idx="4"/>
              <a:endCxn id="40" idx="6"/>
            </p:cNvCxnSpPr>
            <p:nvPr/>
          </p:nvCxnSpPr>
          <p:spPr bwMode="gray">
            <a:xfrm>
              <a:off x="7988549" y="436561"/>
              <a:ext cx="749051" cy="0"/>
            </a:xfrm>
            <a:prstGeom prst="straightConnector1">
              <a:avLst/>
            </a:prstGeom>
            <a:noFill/>
            <a:ln w="25400">
              <a:solidFill>
                <a:schemeClr val="accent6"/>
              </a:solidFill>
              <a:round/>
              <a:headEnd/>
              <a:tailEnd/>
            </a:ln>
            <a:extLst>
              <a:ext uri="{909E8E84-426E-40DD-AFC4-6F175D3DCCD1}">
                <a14:hiddenFill xmlns:a14="http://schemas.microsoft.com/office/drawing/2010/main">
                  <a:noFill/>
                </a14:hiddenFill>
              </a:ext>
            </a:extLst>
          </p:spPr>
        </p:cxnSp>
      </p:grpSp>
    </p:spTree>
    <p:extLst>
      <p:ext uri="{BB962C8B-B14F-4D97-AF65-F5344CB8AC3E}">
        <p14:creationId xmlns:p14="http://schemas.microsoft.com/office/powerpoint/2010/main" val="2094779131"/>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3364" name="think-cell Slide" r:id="rId9" imgW="353" imgH="353" progId="TCLayout.ActiveDocument.1">
                  <p:embed/>
                </p:oleObj>
              </mc:Choice>
              <mc:Fallback>
                <p:oleObj name="think-cell Slide" r:id="rId9" imgW="353" imgH="353" progId="TCLayout.ActiveDocument.1">
                  <p:embed/>
                  <p:pic>
                    <p:nvPicPr>
                      <p:cNvPr id="4" name="Object 3" hidden="1"/>
                      <p:cNvPicPr/>
                      <p:nvPr/>
                    </p:nvPicPr>
                    <p:blipFill>
                      <a:blip r:embed="rId10"/>
                      <a:stretch>
                        <a:fillRect/>
                      </a:stretch>
                    </p:blipFill>
                    <p:spPr>
                      <a:xfrm>
                        <a:off x="1588" y="1588"/>
                        <a:ext cx="1587" cy="1587"/>
                      </a:xfrm>
                      <a:prstGeom prst="rect">
                        <a:avLst/>
                      </a:prstGeom>
                    </p:spPr>
                  </p:pic>
                </p:oleObj>
              </mc:Fallback>
            </mc:AlternateContent>
          </a:graphicData>
        </a:graphic>
      </p:graphicFrame>
      <p:sp>
        <p:nvSpPr>
          <p:cNvPr id="6" name="Rectangle 3"/>
          <p:cNvSpPr>
            <a:spLocks noGrp="1" noChangeArrowheads="1"/>
          </p:cNvSpPr>
          <p:nvPr>
            <p:ph type="title"/>
            <p:custDataLst>
              <p:tags r:id="rId3"/>
            </p:custDataLst>
          </p:nvPr>
        </p:nvSpPr>
        <p:spPr>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marL="465138"/>
            <a:r>
              <a:rPr lang="en-US" dirty="0"/>
              <a:t>Proprietary commercial diagnostic suite</a:t>
            </a:r>
          </a:p>
        </p:txBody>
      </p:sp>
      <p:sp>
        <p:nvSpPr>
          <p:cNvPr id="57" name="Rectangle 56"/>
          <p:cNvSpPr>
            <a:spLocks/>
          </p:cNvSpPr>
          <p:nvPr/>
        </p:nvSpPr>
        <p:spPr>
          <a:xfrm>
            <a:off x="161729" y="749597"/>
            <a:ext cx="8533205" cy="5227686"/>
          </a:xfrm>
          <a:prstGeom prst="rect">
            <a:avLst/>
          </a:prstGeom>
          <a:solidFill>
            <a:schemeClr val="bg1"/>
          </a:solidFill>
          <a:ln w="19050">
            <a:solidFill>
              <a:schemeClr val="accent1"/>
            </a:solidFill>
          </a:ln>
          <a:effectLst>
            <a:outerShdw blurRad="50800" dist="38100" dir="2700000" algn="tl" rotWithShape="0">
              <a:prstClr val="black">
                <a:alpha val="40000"/>
              </a:prstClr>
            </a:outerShdw>
          </a:effectLst>
          <a:ex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300" dirty="0"/>
          </a:p>
        </p:txBody>
      </p:sp>
      <p:pic>
        <p:nvPicPr>
          <p:cNvPr id="29" name="Picture 28"/>
          <p:cNvPicPr>
            <a:picLocks/>
          </p:cNvPicPr>
          <p:nvPr/>
        </p:nvPicPr>
        <p:blipFill>
          <a:blip r:embed="rId11" cstate="screen">
            <a:extLst>
              <a:ext uri="{BEBA8EAE-BF5A-486C-A8C5-ECC9F3942E4B}">
                <a14:imgProps xmlns:a14="http://schemas.microsoft.com/office/drawing/2010/main">
                  <a14:imgLayer r:embed="rId12">
                    <a14:imgEffect>
                      <a14:brightnessContrast bright="-20000" contrast="-20000"/>
                    </a14:imgEffect>
                  </a14:imgLayer>
                </a14:imgProps>
              </a:ext>
              <a:ext uri="{28A0092B-C50C-407E-A947-70E740481C1C}">
                <a14:useLocalDpi xmlns:a14="http://schemas.microsoft.com/office/drawing/2010/main"/>
              </a:ext>
            </a:extLst>
          </a:blip>
          <a:stretch>
            <a:fillRect/>
          </a:stretch>
        </p:blipFill>
        <p:spPr>
          <a:xfrm>
            <a:off x="1468009" y="1450758"/>
            <a:ext cx="2322729" cy="551511"/>
          </a:xfrm>
          <a:prstGeom prst="rect">
            <a:avLst/>
          </a:prstGeom>
        </p:spPr>
      </p:pic>
      <p:pic>
        <p:nvPicPr>
          <p:cNvPr id="35" name="Picture 34"/>
          <p:cNvPicPr>
            <a:picLocks/>
          </p:cNvPicPr>
          <p:nvPr/>
        </p:nvPicPr>
        <p:blipFill>
          <a:blip r:embed="rId13">
            <a:extLst>
              <a:ext uri="{BEBA8EAE-BF5A-486C-A8C5-ECC9F3942E4B}">
                <a14:imgProps xmlns:a14="http://schemas.microsoft.com/office/drawing/2010/main">
                  <a14:imgLayer r:embed="rId14">
                    <a14:imgEffect>
                      <a14:brightnessContrast bright="-20000"/>
                    </a14:imgEffect>
                  </a14:imgLayer>
                </a14:imgProps>
              </a:ext>
              <a:ext uri="{28A0092B-C50C-407E-A947-70E740481C1C}">
                <a14:useLocalDpi xmlns:a14="http://schemas.microsoft.com/office/drawing/2010/main"/>
              </a:ext>
            </a:extLst>
          </a:blip>
          <a:stretch>
            <a:fillRect/>
          </a:stretch>
        </p:blipFill>
        <p:spPr>
          <a:xfrm>
            <a:off x="3873664" y="1450758"/>
            <a:ext cx="2322729" cy="551511"/>
          </a:xfrm>
          <a:prstGeom prst="rect">
            <a:avLst/>
          </a:prstGeom>
        </p:spPr>
      </p:pic>
      <p:sp>
        <p:nvSpPr>
          <p:cNvPr id="17" name="Rectangle 13"/>
          <p:cNvSpPr>
            <a:spLocks noChangeArrowheads="1"/>
          </p:cNvSpPr>
          <p:nvPr/>
        </p:nvSpPr>
        <p:spPr bwMode="gray">
          <a:xfrm>
            <a:off x="3873664" y="814999"/>
            <a:ext cx="2322729" cy="578620"/>
          </a:xfrm>
          <a:prstGeom prst="rect">
            <a:avLst/>
          </a:prstGeom>
          <a:solidFill>
            <a:schemeClr val="accent2"/>
          </a:solidFill>
          <a:ln w="9525">
            <a:noFill/>
          </a:ln>
          <a:effectLst/>
          <a:extLst/>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spAutoFit/>
          </a:bodyPr>
          <a:lstStyle/>
          <a:p>
            <a:r>
              <a:rPr lang="en-US" sz="1400" dirty="0">
                <a:solidFill>
                  <a:schemeClr val="lt1"/>
                </a:solidFill>
                <a:latin typeface="+mn-lt"/>
              </a:rPr>
              <a:t>Commercial Capabilities Assessment Tool (</a:t>
            </a:r>
            <a:r>
              <a:rPr lang="en-US" sz="1400" dirty="0" err="1">
                <a:solidFill>
                  <a:schemeClr val="lt1"/>
                </a:solidFill>
                <a:latin typeface="+mn-lt"/>
              </a:rPr>
              <a:t>CCAT</a:t>
            </a:r>
            <a:r>
              <a:rPr lang="en-US" sz="1400" dirty="0">
                <a:solidFill>
                  <a:schemeClr val="lt1"/>
                </a:solidFill>
                <a:latin typeface="+mn-lt"/>
              </a:rPr>
              <a:t>)</a:t>
            </a:r>
          </a:p>
        </p:txBody>
      </p:sp>
      <p:pic>
        <p:nvPicPr>
          <p:cNvPr id="39" name="Picture 38"/>
          <p:cNvPicPr>
            <a:picLocks/>
          </p:cNvPicPr>
          <p:nvPr/>
        </p:nvPicPr>
        <p:blipFill>
          <a:blip r:embed="rId15" cstate="screen">
            <a:extLst>
              <a:ext uri="{BEBA8EAE-BF5A-486C-A8C5-ECC9F3942E4B}">
                <a14:imgProps xmlns:a14="http://schemas.microsoft.com/office/drawing/2010/main">
                  <a14:imgLayer r:embed="rId16">
                    <a14:imgEffect>
                      <a14:brightnessContrast bright="-40000" contrast="40000"/>
                    </a14:imgEffect>
                  </a14:imgLayer>
                </a14:imgProps>
              </a:ext>
              <a:ext uri="{28A0092B-C50C-407E-A947-70E740481C1C}">
                <a14:useLocalDpi xmlns:a14="http://schemas.microsoft.com/office/drawing/2010/main"/>
              </a:ext>
            </a:extLst>
          </a:blip>
          <a:stretch>
            <a:fillRect/>
          </a:stretch>
        </p:blipFill>
        <p:spPr>
          <a:xfrm>
            <a:off x="6279318" y="1450758"/>
            <a:ext cx="2322729" cy="551511"/>
          </a:xfrm>
          <a:prstGeom prst="rect">
            <a:avLst/>
          </a:prstGeom>
        </p:spPr>
      </p:pic>
      <p:sp>
        <p:nvSpPr>
          <p:cNvPr id="11" name="Rectangle 10"/>
          <p:cNvSpPr>
            <a:spLocks noChangeArrowheads="1"/>
          </p:cNvSpPr>
          <p:nvPr/>
        </p:nvSpPr>
        <p:spPr bwMode="gray">
          <a:xfrm>
            <a:off x="1468009" y="814999"/>
            <a:ext cx="2322729" cy="578620"/>
          </a:xfrm>
          <a:prstGeom prst="rect">
            <a:avLst/>
          </a:prstGeom>
          <a:solidFill>
            <a:schemeClr val="accent2"/>
          </a:solidFill>
          <a:ln w="9525">
            <a:noFill/>
          </a:ln>
          <a:effectLst/>
          <a:extLst/>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r>
              <a:rPr lang="en-US" sz="1400" dirty="0">
                <a:solidFill>
                  <a:schemeClr val="lt1"/>
                </a:solidFill>
                <a:latin typeface="+mn-lt"/>
              </a:rPr>
              <a:t>Sales Navigator</a:t>
            </a:r>
          </a:p>
        </p:txBody>
      </p:sp>
      <p:sp>
        <p:nvSpPr>
          <p:cNvPr id="14" name="Rectangle 12"/>
          <p:cNvSpPr>
            <a:spLocks noChangeArrowheads="1"/>
          </p:cNvSpPr>
          <p:nvPr/>
        </p:nvSpPr>
        <p:spPr bwMode="gray">
          <a:xfrm>
            <a:off x="6279318" y="814999"/>
            <a:ext cx="2322729" cy="578620"/>
          </a:xfrm>
          <a:prstGeom prst="rect">
            <a:avLst/>
          </a:prstGeom>
          <a:solidFill>
            <a:schemeClr val="accent2"/>
          </a:solidFill>
          <a:ln w="9525">
            <a:noFill/>
          </a:ln>
          <a:effectLst/>
          <a:extLst/>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r>
              <a:rPr lang="en-US" sz="1400" dirty="0">
                <a:solidFill>
                  <a:schemeClr val="lt1"/>
                </a:solidFill>
                <a:latin typeface="+mn-lt"/>
              </a:rPr>
              <a:t>Sales DNA</a:t>
            </a:r>
          </a:p>
        </p:txBody>
      </p:sp>
      <p:grpSp>
        <p:nvGrpSpPr>
          <p:cNvPr id="20" name="Group 19">
            <a:extLst>
              <a:ext uri="{FF2B5EF4-FFF2-40B4-BE49-F238E27FC236}">
                <a16:creationId xmlns:a16="http://schemas.microsoft.com/office/drawing/2014/main" id="{9EEF819A-6C17-4889-82ED-FFA2EFCDB6A7}"/>
              </a:ext>
            </a:extLst>
          </p:cNvPr>
          <p:cNvGrpSpPr/>
          <p:nvPr/>
        </p:nvGrpSpPr>
        <p:grpSpPr>
          <a:xfrm>
            <a:off x="254615" y="4633266"/>
            <a:ext cx="8347432" cy="861774"/>
            <a:chOff x="204897" y="5139937"/>
            <a:chExt cx="8347432" cy="861774"/>
          </a:xfrm>
        </p:grpSpPr>
        <p:sp>
          <p:nvSpPr>
            <p:cNvPr id="32" name="Rectangle 1"/>
            <p:cNvSpPr txBox="1">
              <a:spLocks/>
            </p:cNvSpPr>
            <p:nvPr>
              <p:custDataLst>
                <p:tags r:id="rId6"/>
              </p:custDataLst>
            </p:nvPr>
          </p:nvSpPr>
          <p:spPr>
            <a:xfrm>
              <a:off x="204897" y="5139937"/>
              <a:ext cx="1123883" cy="861774"/>
            </a:xfrm>
            <a:prstGeom prst="rect">
              <a:avLst/>
            </a:prstGeom>
            <a:solidFill>
              <a:schemeClr val="accent1"/>
            </a:solidFill>
            <a:ln w="9525">
              <a:noFill/>
              <a:miter lim="800000"/>
              <a:headEnd/>
              <a:tailEnd/>
            </a:ln>
            <a:effectLst/>
          </p:spPr>
          <p:txBody>
            <a:bodyPr wrap="square" lIns="73152" tIns="73152" rIns="73152" bIns="73152" anchor="ctr" anchorCtr="0">
              <a:noAutofit/>
            </a:bodyPr>
            <a:lstStyle>
              <a:defPPr>
                <a:defRPr lang="en-US"/>
              </a:defPPr>
              <a:lvl1pPr>
                <a:buClr>
                  <a:schemeClr val="tx2"/>
                </a:buClr>
                <a:defRPr sz="1500" b="1">
                  <a:solidFill>
                    <a:schemeClr val="bg1"/>
                  </a:solidFill>
                </a:defRPr>
              </a:lvl1pPr>
            </a:lstStyle>
            <a:p>
              <a:r>
                <a:rPr lang="en-US" altLang="ko-KR" sz="1400" dirty="0">
                  <a:solidFill>
                    <a:schemeClr val="accent3"/>
                  </a:solidFill>
                </a:rPr>
                <a:t>How it works</a:t>
              </a:r>
            </a:p>
          </p:txBody>
        </p:sp>
        <p:sp>
          <p:nvSpPr>
            <p:cNvPr id="34" name="Rectangle 17"/>
            <p:cNvSpPr>
              <a:spLocks noChangeArrowheads="1"/>
            </p:cNvSpPr>
            <p:nvPr/>
          </p:nvSpPr>
          <p:spPr bwMode="gray">
            <a:xfrm>
              <a:off x="1418291" y="5139937"/>
              <a:ext cx="2322729" cy="646331"/>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buClr>
                  <a:srgbClr val="4D4D4D"/>
                </a:buClr>
                <a:defRPr sz="1600">
                  <a:solidFill>
                    <a:srgbClr val="4D4D4D"/>
                  </a:solidFill>
                  <a:latin typeface="Arial" charset="0"/>
                </a:defRPr>
              </a:lvl1pPr>
              <a:lvl2pPr marL="1588" defTabSz="895350">
                <a:buClr>
                  <a:srgbClr val="4D4D4D"/>
                </a:buClr>
                <a:buFont typeface="Arial" charset="0"/>
                <a:buChar char="▪"/>
                <a:defRPr sz="1600">
                  <a:solidFill>
                    <a:srgbClr val="4D4D4D"/>
                  </a:solidFill>
                  <a:latin typeface="Arial" charset="0"/>
                </a:defRPr>
              </a:lvl2pPr>
              <a:lvl3pPr marL="295275" indent="-149225" defTabSz="895350">
                <a:buClr>
                  <a:srgbClr val="4D4D4D"/>
                </a:buClr>
                <a:buFont typeface="Arial" charset="0"/>
                <a:buChar char="–"/>
                <a:defRPr sz="1600">
                  <a:solidFill>
                    <a:srgbClr val="4D4D4D"/>
                  </a:solidFill>
                  <a:latin typeface="Arial" charset="0"/>
                </a:defRPr>
              </a:lvl3pPr>
              <a:lvl4pPr marL="431800" indent="-134938" defTabSz="895350">
                <a:buClr>
                  <a:srgbClr val="4D4D4D"/>
                </a:buClr>
                <a:buFont typeface="Arial" charset="0"/>
                <a:buChar char="▫"/>
                <a:defRPr sz="1600">
                  <a:solidFill>
                    <a:srgbClr val="4D4D4D"/>
                  </a:solidFill>
                  <a:latin typeface="Arial" charset="0"/>
                </a:defRPr>
              </a:lvl4pPr>
              <a:lvl5pPr marL="582613" indent="-149225" defTabSz="895350">
                <a:buClr>
                  <a:srgbClr val="4D4D4D"/>
                </a:buClr>
                <a:buFont typeface="Arial" charset="0"/>
                <a:buChar char="-"/>
                <a:defRPr sz="1600">
                  <a:solidFill>
                    <a:srgbClr val="4D4D4D"/>
                  </a:solidFill>
                  <a:latin typeface="Arial" charset="0"/>
                </a:defRPr>
              </a:lvl5pPr>
              <a:lvl6pPr marL="1039813" indent="-149225" defTabSz="895350" fontAlgn="base">
                <a:spcBef>
                  <a:spcPct val="0"/>
                </a:spcBef>
                <a:spcAft>
                  <a:spcPct val="0"/>
                </a:spcAft>
                <a:buClr>
                  <a:srgbClr val="4D4D4D"/>
                </a:buClr>
                <a:buFont typeface="Arial" charset="0"/>
                <a:buChar char="-"/>
                <a:defRPr sz="1600">
                  <a:solidFill>
                    <a:srgbClr val="4D4D4D"/>
                  </a:solidFill>
                  <a:latin typeface="Arial" charset="0"/>
                </a:defRPr>
              </a:lvl6pPr>
              <a:lvl7pPr marL="1497013" indent="-149225" defTabSz="895350" fontAlgn="base">
                <a:spcBef>
                  <a:spcPct val="0"/>
                </a:spcBef>
                <a:spcAft>
                  <a:spcPct val="0"/>
                </a:spcAft>
                <a:buClr>
                  <a:srgbClr val="4D4D4D"/>
                </a:buClr>
                <a:buFont typeface="Arial" charset="0"/>
                <a:buChar char="-"/>
                <a:defRPr sz="1600">
                  <a:solidFill>
                    <a:srgbClr val="4D4D4D"/>
                  </a:solidFill>
                  <a:latin typeface="Arial" charset="0"/>
                </a:defRPr>
              </a:lvl7pPr>
              <a:lvl8pPr marL="1954213" indent="-149225" defTabSz="895350" fontAlgn="base">
                <a:spcBef>
                  <a:spcPct val="0"/>
                </a:spcBef>
                <a:spcAft>
                  <a:spcPct val="0"/>
                </a:spcAft>
                <a:buClr>
                  <a:srgbClr val="4D4D4D"/>
                </a:buClr>
                <a:buFont typeface="Arial" charset="0"/>
                <a:buChar char="-"/>
                <a:defRPr sz="1600">
                  <a:solidFill>
                    <a:srgbClr val="4D4D4D"/>
                  </a:solidFill>
                  <a:latin typeface="Arial" charset="0"/>
                </a:defRPr>
              </a:lvl8pPr>
              <a:lvl9pPr marL="2411413" indent="-149225" defTabSz="895350" fontAlgn="base">
                <a:spcBef>
                  <a:spcPct val="0"/>
                </a:spcBef>
                <a:spcAft>
                  <a:spcPct val="0"/>
                </a:spcAft>
                <a:buClr>
                  <a:srgbClr val="4D4D4D"/>
                </a:buClr>
                <a:buFont typeface="Arial" charset="0"/>
                <a:buChar char="-"/>
                <a:defRPr sz="1600">
                  <a:solidFill>
                    <a:srgbClr val="4D4D4D"/>
                  </a:solidFill>
                  <a:latin typeface="Arial" charset="0"/>
                </a:defRPr>
              </a:lvl9pPr>
            </a:lstStyle>
            <a:p>
              <a:pPr marL="1619" lvl="1" indent="0">
                <a:buNone/>
              </a:pPr>
              <a:r>
                <a:rPr lang="en-US" sz="1400" dirty="0">
                  <a:solidFill>
                    <a:schemeClr val="tx1"/>
                  </a:solidFill>
                </a:rPr>
                <a:t>Upload financial and organization data &amp; compare performance against peers</a:t>
              </a:r>
            </a:p>
          </p:txBody>
        </p:sp>
        <p:sp>
          <p:nvSpPr>
            <p:cNvPr id="37" name="Rectangle 16"/>
            <p:cNvSpPr txBox="1">
              <a:spLocks/>
            </p:cNvSpPr>
            <p:nvPr/>
          </p:nvSpPr>
          <p:spPr>
            <a:xfrm>
              <a:off x="3823946" y="5139937"/>
              <a:ext cx="2322729" cy="861774"/>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1619" lvl="1" indent="0">
                <a:buNone/>
              </a:pPr>
              <a:r>
                <a:rPr lang="en-US" sz="1400" dirty="0">
                  <a:latin typeface="+mj-lt"/>
                  <a:ea typeface="Arial Unicode MS"/>
                  <a:cs typeface="Arial Unicode MS"/>
                </a:rPr>
                <a:t>Anonymous 10-30 minute survey for all commercial staff with results benchmarked against peers</a:t>
              </a:r>
            </a:p>
          </p:txBody>
        </p:sp>
        <p:sp>
          <p:nvSpPr>
            <p:cNvPr id="40" name="Rectangle 16"/>
            <p:cNvSpPr txBox="1">
              <a:spLocks/>
            </p:cNvSpPr>
            <p:nvPr/>
          </p:nvSpPr>
          <p:spPr>
            <a:xfrm>
              <a:off x="6229600" y="5139937"/>
              <a:ext cx="2322729" cy="861774"/>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1619" lvl="1" indent="0">
                <a:buNone/>
              </a:pPr>
              <a:r>
                <a:rPr lang="en-US" sz="1400" dirty="0">
                  <a:latin typeface="+mj-lt"/>
                  <a:ea typeface="Arial Unicode MS"/>
                  <a:cs typeface="Arial Unicode MS"/>
                </a:rPr>
                <a:t>Anonymous 15-30 minute survey for 40+ sales reps statistically analyzed against performance data</a:t>
              </a:r>
            </a:p>
          </p:txBody>
        </p:sp>
      </p:grpSp>
      <p:grpSp>
        <p:nvGrpSpPr>
          <p:cNvPr id="19" name="Group 18">
            <a:extLst>
              <a:ext uri="{FF2B5EF4-FFF2-40B4-BE49-F238E27FC236}">
                <a16:creationId xmlns:a16="http://schemas.microsoft.com/office/drawing/2014/main" id="{96CF9011-6F7A-4E3D-9DB2-B87D61573641}"/>
              </a:ext>
            </a:extLst>
          </p:cNvPr>
          <p:cNvGrpSpPr/>
          <p:nvPr/>
        </p:nvGrpSpPr>
        <p:grpSpPr>
          <a:xfrm>
            <a:off x="254615" y="3367679"/>
            <a:ext cx="8347432" cy="1077218"/>
            <a:chOff x="204897" y="3874350"/>
            <a:chExt cx="8347432" cy="1077218"/>
          </a:xfrm>
        </p:grpSpPr>
        <p:sp>
          <p:nvSpPr>
            <p:cNvPr id="31" name="Rectangle 1"/>
            <p:cNvSpPr txBox="1">
              <a:spLocks/>
            </p:cNvSpPr>
            <p:nvPr>
              <p:custDataLst>
                <p:tags r:id="rId5"/>
              </p:custDataLst>
            </p:nvPr>
          </p:nvSpPr>
          <p:spPr>
            <a:xfrm>
              <a:off x="204897" y="3874350"/>
              <a:ext cx="1123883" cy="1077218"/>
            </a:xfrm>
            <a:prstGeom prst="rect">
              <a:avLst/>
            </a:prstGeom>
            <a:solidFill>
              <a:schemeClr val="accent1"/>
            </a:solidFill>
            <a:ln w="9525">
              <a:noFill/>
              <a:miter lim="800000"/>
              <a:headEnd/>
              <a:tailEnd/>
            </a:ln>
            <a:effectLst/>
          </p:spPr>
          <p:txBody>
            <a:bodyPr wrap="square" lIns="73152" tIns="73152" rIns="73152" bIns="73152" anchor="ctr" anchorCtr="0">
              <a:noAutofit/>
            </a:bodyPr>
            <a:lstStyle>
              <a:defPPr>
                <a:defRPr lang="en-US"/>
              </a:defPPr>
              <a:lvl1pPr>
                <a:buClr>
                  <a:schemeClr val="tx2"/>
                </a:buClr>
                <a:defRPr sz="1500" b="1">
                  <a:solidFill>
                    <a:schemeClr val="bg1"/>
                  </a:solidFill>
                </a:defRPr>
              </a:lvl1pPr>
            </a:lstStyle>
            <a:p>
              <a:r>
                <a:rPr lang="en-US" altLang="ko-KR" sz="1400" dirty="0">
                  <a:solidFill>
                    <a:schemeClr val="accent3"/>
                  </a:solidFill>
                </a:rPr>
                <a:t>Description</a:t>
              </a:r>
            </a:p>
          </p:txBody>
        </p:sp>
        <p:sp>
          <p:nvSpPr>
            <p:cNvPr id="22" name="Rectangle 17"/>
            <p:cNvSpPr>
              <a:spLocks noChangeArrowheads="1"/>
            </p:cNvSpPr>
            <p:nvPr/>
          </p:nvSpPr>
          <p:spPr bwMode="gray">
            <a:xfrm>
              <a:off x="1418291" y="3874350"/>
              <a:ext cx="2322729" cy="1077218"/>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buClr>
                  <a:srgbClr val="4D4D4D"/>
                </a:buClr>
                <a:defRPr sz="1600">
                  <a:solidFill>
                    <a:srgbClr val="4D4D4D"/>
                  </a:solidFill>
                  <a:latin typeface="Arial" charset="0"/>
                </a:defRPr>
              </a:lvl1pPr>
              <a:lvl2pPr marL="1588" defTabSz="895350">
                <a:buClr>
                  <a:srgbClr val="4D4D4D"/>
                </a:buClr>
                <a:buFont typeface="Arial" charset="0"/>
                <a:buChar char="▪"/>
                <a:defRPr sz="1600">
                  <a:solidFill>
                    <a:srgbClr val="4D4D4D"/>
                  </a:solidFill>
                  <a:latin typeface="Arial" charset="0"/>
                </a:defRPr>
              </a:lvl2pPr>
              <a:lvl3pPr marL="295275" indent="-149225" defTabSz="895350">
                <a:buClr>
                  <a:srgbClr val="4D4D4D"/>
                </a:buClr>
                <a:buFont typeface="Arial" charset="0"/>
                <a:buChar char="–"/>
                <a:defRPr sz="1600">
                  <a:solidFill>
                    <a:srgbClr val="4D4D4D"/>
                  </a:solidFill>
                  <a:latin typeface="Arial" charset="0"/>
                </a:defRPr>
              </a:lvl3pPr>
              <a:lvl4pPr marL="431800" indent="-134938" defTabSz="895350">
                <a:buClr>
                  <a:srgbClr val="4D4D4D"/>
                </a:buClr>
                <a:buFont typeface="Arial" charset="0"/>
                <a:buChar char="▫"/>
                <a:defRPr sz="1600">
                  <a:solidFill>
                    <a:srgbClr val="4D4D4D"/>
                  </a:solidFill>
                  <a:latin typeface="Arial" charset="0"/>
                </a:defRPr>
              </a:lvl4pPr>
              <a:lvl5pPr marL="582613" indent="-149225" defTabSz="895350">
                <a:buClr>
                  <a:srgbClr val="4D4D4D"/>
                </a:buClr>
                <a:buFont typeface="Arial" charset="0"/>
                <a:buChar char="-"/>
                <a:defRPr sz="1600">
                  <a:solidFill>
                    <a:srgbClr val="4D4D4D"/>
                  </a:solidFill>
                  <a:latin typeface="Arial" charset="0"/>
                </a:defRPr>
              </a:lvl5pPr>
              <a:lvl6pPr marL="1039813" indent="-149225" defTabSz="895350" fontAlgn="base">
                <a:spcBef>
                  <a:spcPct val="0"/>
                </a:spcBef>
                <a:spcAft>
                  <a:spcPct val="0"/>
                </a:spcAft>
                <a:buClr>
                  <a:srgbClr val="4D4D4D"/>
                </a:buClr>
                <a:buFont typeface="Arial" charset="0"/>
                <a:buChar char="-"/>
                <a:defRPr sz="1600">
                  <a:solidFill>
                    <a:srgbClr val="4D4D4D"/>
                  </a:solidFill>
                  <a:latin typeface="Arial" charset="0"/>
                </a:defRPr>
              </a:lvl6pPr>
              <a:lvl7pPr marL="1497013" indent="-149225" defTabSz="895350" fontAlgn="base">
                <a:spcBef>
                  <a:spcPct val="0"/>
                </a:spcBef>
                <a:spcAft>
                  <a:spcPct val="0"/>
                </a:spcAft>
                <a:buClr>
                  <a:srgbClr val="4D4D4D"/>
                </a:buClr>
                <a:buFont typeface="Arial" charset="0"/>
                <a:buChar char="-"/>
                <a:defRPr sz="1600">
                  <a:solidFill>
                    <a:srgbClr val="4D4D4D"/>
                  </a:solidFill>
                  <a:latin typeface="Arial" charset="0"/>
                </a:defRPr>
              </a:lvl7pPr>
              <a:lvl8pPr marL="1954213" indent="-149225" defTabSz="895350" fontAlgn="base">
                <a:spcBef>
                  <a:spcPct val="0"/>
                </a:spcBef>
                <a:spcAft>
                  <a:spcPct val="0"/>
                </a:spcAft>
                <a:buClr>
                  <a:srgbClr val="4D4D4D"/>
                </a:buClr>
                <a:buFont typeface="Arial" charset="0"/>
                <a:buChar char="-"/>
                <a:defRPr sz="1600">
                  <a:solidFill>
                    <a:srgbClr val="4D4D4D"/>
                  </a:solidFill>
                  <a:latin typeface="Arial" charset="0"/>
                </a:defRPr>
              </a:lvl8pPr>
              <a:lvl9pPr marL="2411413" indent="-149225" defTabSz="895350" fontAlgn="base">
                <a:spcBef>
                  <a:spcPct val="0"/>
                </a:spcBef>
                <a:spcAft>
                  <a:spcPct val="0"/>
                </a:spcAft>
                <a:buClr>
                  <a:srgbClr val="4D4D4D"/>
                </a:buClr>
                <a:buFont typeface="Arial" charset="0"/>
                <a:buChar char="-"/>
                <a:defRPr sz="1600">
                  <a:solidFill>
                    <a:srgbClr val="4D4D4D"/>
                  </a:solidFill>
                  <a:latin typeface="Arial" charset="0"/>
                </a:defRPr>
              </a:lvl9pPr>
            </a:lstStyle>
            <a:p>
              <a:pPr marL="1619" lvl="1" indent="0">
                <a:buNone/>
              </a:pPr>
              <a:r>
                <a:rPr lang="en-US" sz="1400" dirty="0">
                  <a:solidFill>
                    <a:schemeClr val="tx1"/>
                  </a:solidFill>
                </a:rPr>
                <a:t>Benchmark </a:t>
              </a:r>
              <a:r>
                <a:rPr lang="en-US" sz="1400" b="1" dirty="0">
                  <a:solidFill>
                    <a:schemeClr val="accent3"/>
                  </a:solidFill>
                </a:rPr>
                <a:t>performance on critical sales </a:t>
              </a:r>
              <a:r>
                <a:rPr lang="en-US" sz="1400" b="1" dirty="0" err="1">
                  <a:solidFill>
                    <a:schemeClr val="accent3"/>
                  </a:solidFill>
                </a:rPr>
                <a:t>KPIs</a:t>
              </a:r>
              <a:r>
                <a:rPr lang="en-US" sz="1400" b="1" dirty="0">
                  <a:solidFill>
                    <a:schemeClr val="accent3"/>
                  </a:solidFill>
                </a:rPr>
                <a:t> </a:t>
              </a:r>
              <a:r>
                <a:rPr lang="en-US" sz="1400" dirty="0">
                  <a:solidFill>
                    <a:schemeClr val="tx1"/>
                  </a:solidFill>
                </a:rPr>
                <a:t>vs 200+ companies on productivity, cost, cover-age, and organization</a:t>
              </a:r>
            </a:p>
          </p:txBody>
        </p:sp>
        <p:sp>
          <p:nvSpPr>
            <p:cNvPr id="38" name="Rectangle 29"/>
            <p:cNvSpPr txBox="1">
              <a:spLocks/>
            </p:cNvSpPr>
            <p:nvPr/>
          </p:nvSpPr>
          <p:spPr>
            <a:xfrm>
              <a:off x="3823946" y="3874350"/>
              <a:ext cx="2322729" cy="861774"/>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1619" lvl="1" indent="0">
                <a:buNone/>
              </a:pPr>
              <a:r>
                <a:rPr lang="en-US" sz="1400" dirty="0">
                  <a:latin typeface="+mj-lt"/>
                  <a:ea typeface="+mn-ea"/>
                  <a:cs typeface="+mn-cs"/>
                </a:rPr>
                <a:t>Benchmark </a:t>
              </a:r>
              <a:r>
                <a:rPr lang="en-US" sz="1400" b="1" dirty="0">
                  <a:solidFill>
                    <a:schemeClr val="accent3"/>
                  </a:solidFill>
                  <a:latin typeface="+mj-lt"/>
                  <a:ea typeface="+mn-ea"/>
                  <a:cs typeface="+mn-cs"/>
                </a:rPr>
                <a:t>health of institutional commercial capabilities </a:t>
              </a:r>
              <a:r>
                <a:rPr lang="en-US" sz="1400" dirty="0">
                  <a:latin typeface="+mj-lt"/>
                  <a:ea typeface="+mn-ea"/>
                  <a:cs typeface="+mn-cs"/>
                </a:rPr>
                <a:t>vs 200+ companies</a:t>
              </a:r>
            </a:p>
          </p:txBody>
        </p:sp>
        <p:sp>
          <p:nvSpPr>
            <p:cNvPr id="41" name="Rectangle 37"/>
            <p:cNvSpPr txBox="1">
              <a:spLocks/>
            </p:cNvSpPr>
            <p:nvPr/>
          </p:nvSpPr>
          <p:spPr>
            <a:xfrm>
              <a:off x="6229600" y="3874350"/>
              <a:ext cx="2322729" cy="861774"/>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1619" lvl="1" indent="0">
                <a:buNone/>
              </a:pPr>
              <a:r>
                <a:rPr lang="en-US" sz="1400" dirty="0">
                  <a:latin typeface="+mj-lt"/>
                  <a:ea typeface="+mn-ea"/>
                  <a:cs typeface="+mn-cs"/>
                </a:rPr>
                <a:t>Describe and measure frequency of </a:t>
              </a:r>
              <a:r>
                <a:rPr lang="en-US" sz="1400" b="1" dirty="0">
                  <a:solidFill>
                    <a:schemeClr val="accent3"/>
                  </a:solidFill>
                  <a:latin typeface="+mj-lt"/>
                  <a:ea typeface="+mn-ea"/>
                  <a:cs typeface="+mn-cs"/>
                </a:rPr>
                <a:t>traits that drive individual sales rep performance</a:t>
              </a:r>
            </a:p>
          </p:txBody>
        </p:sp>
      </p:grpSp>
      <p:grpSp>
        <p:nvGrpSpPr>
          <p:cNvPr id="18" name="Group 17">
            <a:extLst>
              <a:ext uri="{FF2B5EF4-FFF2-40B4-BE49-F238E27FC236}">
                <a16:creationId xmlns:a16="http://schemas.microsoft.com/office/drawing/2014/main" id="{BCFA5A31-F8D8-420A-8919-9E8EE3882213}"/>
              </a:ext>
            </a:extLst>
          </p:cNvPr>
          <p:cNvGrpSpPr/>
          <p:nvPr/>
        </p:nvGrpSpPr>
        <p:grpSpPr>
          <a:xfrm>
            <a:off x="254615" y="2102093"/>
            <a:ext cx="8347432" cy="1077218"/>
            <a:chOff x="204897" y="2608764"/>
            <a:chExt cx="8347432" cy="1077218"/>
          </a:xfrm>
        </p:grpSpPr>
        <p:sp>
          <p:nvSpPr>
            <p:cNvPr id="30" name="Rectangle 1"/>
            <p:cNvSpPr txBox="1">
              <a:spLocks/>
            </p:cNvSpPr>
            <p:nvPr>
              <p:custDataLst>
                <p:tags r:id="rId4"/>
              </p:custDataLst>
            </p:nvPr>
          </p:nvSpPr>
          <p:spPr>
            <a:xfrm>
              <a:off x="204897" y="2608764"/>
              <a:ext cx="1123883" cy="1077218"/>
            </a:xfrm>
            <a:prstGeom prst="rect">
              <a:avLst/>
            </a:prstGeom>
            <a:solidFill>
              <a:schemeClr val="accent1"/>
            </a:solidFill>
            <a:ln w="9525">
              <a:noFill/>
              <a:miter lim="800000"/>
              <a:headEnd/>
              <a:tailEnd/>
            </a:ln>
            <a:effectLst/>
          </p:spPr>
          <p:txBody>
            <a:bodyPr wrap="square" lIns="73152" tIns="73152" rIns="73152" bIns="73152" anchor="ctr" anchorCtr="0">
              <a:noAutofit/>
            </a:bodyPr>
            <a:lstStyle>
              <a:defPPr>
                <a:defRPr lang="en-US"/>
              </a:defPPr>
              <a:lvl1pPr>
                <a:buClr>
                  <a:schemeClr val="tx2"/>
                </a:buClr>
                <a:defRPr sz="1500" b="1">
                  <a:solidFill>
                    <a:schemeClr val="bg1"/>
                  </a:solidFill>
                </a:defRPr>
              </a:lvl1pPr>
            </a:lstStyle>
            <a:p>
              <a:r>
                <a:rPr lang="en-US" altLang="ko-KR" sz="1400" dirty="0">
                  <a:solidFill>
                    <a:schemeClr val="accent3"/>
                  </a:solidFill>
                </a:rPr>
                <a:t>Diagnostic Objective</a:t>
              </a:r>
            </a:p>
          </p:txBody>
        </p:sp>
        <p:sp>
          <p:nvSpPr>
            <p:cNvPr id="33" name="Rectangle 17"/>
            <p:cNvSpPr>
              <a:spLocks noChangeArrowheads="1"/>
            </p:cNvSpPr>
            <p:nvPr/>
          </p:nvSpPr>
          <p:spPr bwMode="gray">
            <a:xfrm>
              <a:off x="1418291" y="2608764"/>
              <a:ext cx="2322729" cy="1077218"/>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buClr>
                  <a:srgbClr val="4D4D4D"/>
                </a:buClr>
                <a:defRPr sz="1600">
                  <a:solidFill>
                    <a:srgbClr val="4D4D4D"/>
                  </a:solidFill>
                  <a:latin typeface="Arial" charset="0"/>
                </a:defRPr>
              </a:lvl1pPr>
              <a:lvl2pPr marL="1588" defTabSz="895350">
                <a:buClr>
                  <a:srgbClr val="4D4D4D"/>
                </a:buClr>
                <a:buFont typeface="Arial" charset="0"/>
                <a:buChar char="▪"/>
                <a:defRPr sz="1600">
                  <a:solidFill>
                    <a:srgbClr val="4D4D4D"/>
                  </a:solidFill>
                  <a:latin typeface="Arial" charset="0"/>
                </a:defRPr>
              </a:lvl2pPr>
              <a:lvl3pPr marL="295275" indent="-149225" defTabSz="895350">
                <a:buClr>
                  <a:srgbClr val="4D4D4D"/>
                </a:buClr>
                <a:buFont typeface="Arial" charset="0"/>
                <a:buChar char="–"/>
                <a:defRPr sz="1600">
                  <a:solidFill>
                    <a:srgbClr val="4D4D4D"/>
                  </a:solidFill>
                  <a:latin typeface="Arial" charset="0"/>
                </a:defRPr>
              </a:lvl3pPr>
              <a:lvl4pPr marL="431800" indent="-134938" defTabSz="895350">
                <a:buClr>
                  <a:srgbClr val="4D4D4D"/>
                </a:buClr>
                <a:buFont typeface="Arial" charset="0"/>
                <a:buChar char="▫"/>
                <a:defRPr sz="1600">
                  <a:solidFill>
                    <a:srgbClr val="4D4D4D"/>
                  </a:solidFill>
                  <a:latin typeface="Arial" charset="0"/>
                </a:defRPr>
              </a:lvl4pPr>
              <a:lvl5pPr marL="582613" indent="-149225" defTabSz="895350">
                <a:buClr>
                  <a:srgbClr val="4D4D4D"/>
                </a:buClr>
                <a:buFont typeface="Arial" charset="0"/>
                <a:buChar char="-"/>
                <a:defRPr sz="1600">
                  <a:solidFill>
                    <a:srgbClr val="4D4D4D"/>
                  </a:solidFill>
                  <a:latin typeface="Arial" charset="0"/>
                </a:defRPr>
              </a:lvl5pPr>
              <a:lvl6pPr marL="1039813" indent="-149225" defTabSz="895350" fontAlgn="base">
                <a:spcBef>
                  <a:spcPct val="0"/>
                </a:spcBef>
                <a:spcAft>
                  <a:spcPct val="0"/>
                </a:spcAft>
                <a:buClr>
                  <a:srgbClr val="4D4D4D"/>
                </a:buClr>
                <a:buFont typeface="Arial" charset="0"/>
                <a:buChar char="-"/>
                <a:defRPr sz="1600">
                  <a:solidFill>
                    <a:srgbClr val="4D4D4D"/>
                  </a:solidFill>
                  <a:latin typeface="Arial" charset="0"/>
                </a:defRPr>
              </a:lvl6pPr>
              <a:lvl7pPr marL="1497013" indent="-149225" defTabSz="895350" fontAlgn="base">
                <a:spcBef>
                  <a:spcPct val="0"/>
                </a:spcBef>
                <a:spcAft>
                  <a:spcPct val="0"/>
                </a:spcAft>
                <a:buClr>
                  <a:srgbClr val="4D4D4D"/>
                </a:buClr>
                <a:buFont typeface="Arial" charset="0"/>
                <a:buChar char="-"/>
                <a:defRPr sz="1600">
                  <a:solidFill>
                    <a:srgbClr val="4D4D4D"/>
                  </a:solidFill>
                  <a:latin typeface="Arial" charset="0"/>
                </a:defRPr>
              </a:lvl7pPr>
              <a:lvl8pPr marL="1954213" indent="-149225" defTabSz="895350" fontAlgn="base">
                <a:spcBef>
                  <a:spcPct val="0"/>
                </a:spcBef>
                <a:spcAft>
                  <a:spcPct val="0"/>
                </a:spcAft>
                <a:buClr>
                  <a:srgbClr val="4D4D4D"/>
                </a:buClr>
                <a:buFont typeface="Arial" charset="0"/>
                <a:buChar char="-"/>
                <a:defRPr sz="1600">
                  <a:solidFill>
                    <a:srgbClr val="4D4D4D"/>
                  </a:solidFill>
                  <a:latin typeface="Arial" charset="0"/>
                </a:defRPr>
              </a:lvl8pPr>
              <a:lvl9pPr marL="2411413" indent="-149225" defTabSz="895350" fontAlgn="base">
                <a:spcBef>
                  <a:spcPct val="0"/>
                </a:spcBef>
                <a:spcAft>
                  <a:spcPct val="0"/>
                </a:spcAft>
                <a:buClr>
                  <a:srgbClr val="4D4D4D"/>
                </a:buClr>
                <a:buFont typeface="Arial" charset="0"/>
                <a:buChar char="-"/>
                <a:defRPr sz="1600">
                  <a:solidFill>
                    <a:srgbClr val="4D4D4D"/>
                  </a:solidFill>
                  <a:latin typeface="Arial" charset="0"/>
                </a:defRPr>
              </a:lvl9pPr>
            </a:lstStyle>
            <a:p>
              <a:pPr marL="1619" lvl="1" indent="0">
                <a:buNone/>
              </a:pPr>
              <a:r>
                <a:rPr lang="en-US" sz="1400" b="1" dirty="0">
                  <a:solidFill>
                    <a:schemeClr val="accent3"/>
                  </a:solidFill>
                </a:rPr>
                <a:t>Set financial improvement goals </a:t>
              </a:r>
              <a:r>
                <a:rPr lang="en-US" sz="1400" dirty="0">
                  <a:solidFill>
                    <a:schemeClr val="tx1"/>
                  </a:solidFill>
                </a:rPr>
                <a:t>by assessing performance on critical sales effectiveness and efficiency </a:t>
              </a:r>
              <a:r>
                <a:rPr lang="en-US" sz="1400" dirty="0" err="1">
                  <a:solidFill>
                    <a:schemeClr val="tx1"/>
                  </a:solidFill>
                </a:rPr>
                <a:t>KPIs</a:t>
              </a:r>
              <a:endParaRPr lang="en-US" sz="1400" dirty="0">
                <a:solidFill>
                  <a:schemeClr val="tx1"/>
                </a:solidFill>
              </a:endParaRPr>
            </a:p>
          </p:txBody>
        </p:sp>
        <p:sp>
          <p:nvSpPr>
            <p:cNvPr id="36" name="Rectangle 16"/>
            <p:cNvSpPr txBox="1">
              <a:spLocks/>
            </p:cNvSpPr>
            <p:nvPr/>
          </p:nvSpPr>
          <p:spPr>
            <a:xfrm>
              <a:off x="3823946" y="2608764"/>
              <a:ext cx="2322729" cy="107721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1619" lvl="1" indent="0">
                <a:buNone/>
              </a:pPr>
              <a:r>
                <a:rPr lang="en-US" sz="1400" dirty="0">
                  <a:latin typeface="+mj-lt"/>
                  <a:ea typeface="Arial Unicode MS"/>
                  <a:cs typeface="Arial Unicode MS"/>
                </a:rPr>
                <a:t>Prioritize </a:t>
              </a:r>
              <a:r>
                <a:rPr lang="en-US" sz="1400" b="1" dirty="0">
                  <a:solidFill>
                    <a:schemeClr val="accent3"/>
                  </a:solidFill>
                  <a:latin typeface="+mj-lt"/>
                  <a:ea typeface="Arial Unicode MS"/>
                  <a:cs typeface="Arial Unicode MS"/>
                </a:rPr>
                <a:t>company-wide commercial capability improvement plan</a:t>
              </a:r>
              <a:r>
                <a:rPr lang="en-US" sz="1400" dirty="0">
                  <a:latin typeface="+mj-lt"/>
                  <a:ea typeface="Arial Unicode MS"/>
                  <a:cs typeface="Arial Unicode MS"/>
                </a:rPr>
                <a:t> to unlock performance improvements</a:t>
              </a:r>
            </a:p>
          </p:txBody>
        </p:sp>
        <p:sp>
          <p:nvSpPr>
            <p:cNvPr id="42" name="Rectangle 16"/>
            <p:cNvSpPr txBox="1">
              <a:spLocks/>
            </p:cNvSpPr>
            <p:nvPr/>
          </p:nvSpPr>
          <p:spPr>
            <a:xfrm>
              <a:off x="6229600" y="2608764"/>
              <a:ext cx="2322729" cy="107721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1619" lvl="1" indent="0">
                <a:buNone/>
              </a:pPr>
              <a:r>
                <a:rPr lang="en-US" sz="1400" dirty="0">
                  <a:latin typeface="+mj-lt"/>
                  <a:ea typeface="Arial Unicode MS"/>
                  <a:cs typeface="Arial Unicode MS"/>
                </a:rPr>
                <a:t>Define a </a:t>
              </a:r>
              <a:r>
                <a:rPr lang="en-US" sz="1400" b="1" dirty="0">
                  <a:solidFill>
                    <a:schemeClr val="accent3"/>
                  </a:solidFill>
                  <a:latin typeface="+mj-lt"/>
                  <a:ea typeface="Arial Unicode MS"/>
                  <a:cs typeface="Arial Unicode MS"/>
                </a:rPr>
                <a:t>scalable sales force talent management plan </a:t>
              </a:r>
              <a:r>
                <a:rPr lang="en-US" sz="1400" dirty="0">
                  <a:latin typeface="+mj-lt"/>
                  <a:ea typeface="Arial Unicode MS"/>
                  <a:cs typeface="Arial Unicode MS"/>
                </a:rPr>
                <a:t>to hire, train, manage, and motivate great people</a:t>
              </a:r>
            </a:p>
          </p:txBody>
        </p:sp>
      </p:grpSp>
      <p:sp>
        <p:nvSpPr>
          <p:cNvPr id="43" name="Line 116"/>
          <p:cNvSpPr>
            <a:spLocks noChangeShapeType="1"/>
          </p:cNvSpPr>
          <p:nvPr/>
        </p:nvSpPr>
        <p:spPr bwMode="auto">
          <a:xfrm>
            <a:off x="1468009" y="3273495"/>
            <a:ext cx="7134038" cy="0"/>
          </a:xfrm>
          <a:prstGeom prst="line">
            <a:avLst/>
          </a:prstGeom>
          <a:noFill/>
          <a:ln w="12700">
            <a:solidFill>
              <a:schemeClr val="accent6"/>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endParaRPr lang="en-US" sz="1400" dirty="0"/>
          </a:p>
        </p:txBody>
      </p:sp>
      <p:sp>
        <p:nvSpPr>
          <p:cNvPr id="47" name="Line 116"/>
          <p:cNvSpPr>
            <a:spLocks noChangeShapeType="1"/>
          </p:cNvSpPr>
          <p:nvPr/>
        </p:nvSpPr>
        <p:spPr bwMode="auto">
          <a:xfrm>
            <a:off x="1468009" y="4539081"/>
            <a:ext cx="7134038" cy="0"/>
          </a:xfrm>
          <a:prstGeom prst="line">
            <a:avLst/>
          </a:prstGeom>
          <a:noFill/>
          <a:ln w="12700">
            <a:solidFill>
              <a:schemeClr val="accent6"/>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endParaRPr lang="en-US" sz="1400" dirty="0"/>
          </a:p>
        </p:txBody>
      </p:sp>
      <p:sp>
        <p:nvSpPr>
          <p:cNvPr id="27" name="Title Tracker Circle">
            <a:extLst>
              <a:ext uri="{FF2B5EF4-FFF2-40B4-BE49-F238E27FC236}">
                <a16:creationId xmlns:a16="http://schemas.microsoft.com/office/drawing/2014/main" id="{313D912F-1415-4E29-87ED-AE01E55D4CE1}"/>
              </a:ext>
            </a:extLst>
          </p:cNvPr>
          <p:cNvSpPr/>
          <p:nvPr/>
        </p:nvSpPr>
        <p:spPr>
          <a:xfrm>
            <a:off x="119063" y="166736"/>
            <a:ext cx="418798" cy="418798"/>
          </a:xfrm>
          <a:prstGeom prst="ellipse">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p>
            <a:pPr algn="ctr"/>
            <a:r>
              <a:rPr lang="en-US" sz="2000" dirty="0">
                <a:solidFill>
                  <a:schemeClr val="tx2"/>
                </a:solidFill>
                <a:latin typeface="+mj-lt"/>
              </a:rPr>
              <a:t>B</a:t>
            </a:r>
          </a:p>
        </p:txBody>
      </p:sp>
      <p:sp>
        <p:nvSpPr>
          <p:cNvPr id="44" name="5. Source">
            <a:extLst>
              <a:ext uri="{FF2B5EF4-FFF2-40B4-BE49-F238E27FC236}">
                <a16:creationId xmlns:a16="http://schemas.microsoft.com/office/drawing/2014/main" id="{1FDA9EE2-B6B9-4F99-B05B-29F4FD571ABD}"/>
              </a:ext>
            </a:extLst>
          </p:cNvPr>
          <p:cNvSpPr>
            <a:spLocks noChangeArrowheads="1"/>
          </p:cNvSpPr>
          <p:nvPr/>
        </p:nvSpPr>
        <p:spPr bwMode="auto">
          <a:xfrm>
            <a:off x="119063" y="6507558"/>
            <a:ext cx="7200000" cy="123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marL="609600" indent="-609600" defTabSz="895350">
              <a:tabLst>
                <a:tab pos="612775" algn="l"/>
              </a:tabLst>
            </a:pPr>
            <a:r>
              <a:rPr lang="en-US" sz="800" dirty="0">
                <a:solidFill>
                  <a:schemeClr val="accent6"/>
                </a:solidFill>
                <a:latin typeface="Arial" panose="020B0604020202020204" pitchFamily="34" charset="0"/>
              </a:rPr>
              <a:t>SOURCE: McKinsey</a:t>
            </a:r>
          </a:p>
        </p:txBody>
      </p:sp>
      <p:grpSp>
        <p:nvGrpSpPr>
          <p:cNvPr id="46" name="sticker">
            <a:extLst>
              <a:ext uri="{FF2B5EF4-FFF2-40B4-BE49-F238E27FC236}">
                <a16:creationId xmlns:a16="http://schemas.microsoft.com/office/drawing/2014/main" id="{377434D2-2407-4BEF-B38A-BDB565AC27ED}"/>
              </a:ext>
            </a:extLst>
          </p:cNvPr>
          <p:cNvGrpSpPr/>
          <p:nvPr/>
        </p:nvGrpSpPr>
        <p:grpSpPr>
          <a:xfrm>
            <a:off x="7988549" y="285750"/>
            <a:ext cx="749051" cy="150811"/>
            <a:chOff x="7988549" y="285750"/>
            <a:chExt cx="749051" cy="150811"/>
          </a:xfrm>
        </p:grpSpPr>
        <p:sp>
          <p:nvSpPr>
            <p:cNvPr id="48" name="StickerRectangle">
              <a:extLst>
                <a:ext uri="{FF2B5EF4-FFF2-40B4-BE49-F238E27FC236}">
                  <a16:creationId xmlns:a16="http://schemas.microsoft.com/office/drawing/2014/main" id="{5E823F45-7493-4AD1-A673-4207B7D6293E}"/>
                </a:ext>
              </a:extLst>
            </p:cNvPr>
            <p:cNvSpPr>
              <a:spLocks noChangeArrowheads="1"/>
            </p:cNvSpPr>
            <p:nvPr/>
          </p:nvSpPr>
          <p:spPr bwMode="gray">
            <a:xfrm>
              <a:off x="7988549" y="285750"/>
              <a:ext cx="749051" cy="150811"/>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a:buClr>
                  <a:srgbClr val="002960"/>
                </a:buClr>
              </a:pPr>
              <a:r>
                <a:rPr lang="en-US" sz="800" baseline="0">
                  <a:solidFill>
                    <a:schemeClr val="accent6"/>
                  </a:solidFill>
                  <a:latin typeface="+mn-lt"/>
                  <a:ea typeface="+mn-ea"/>
                </a:rPr>
                <a:t>ILLUSTRATIVE</a:t>
              </a:r>
              <a:endParaRPr lang="en-US" sz="800" baseline="0" dirty="0">
                <a:solidFill>
                  <a:schemeClr val="accent6"/>
                </a:solidFill>
                <a:latin typeface="+mn-lt"/>
                <a:ea typeface="+mn-ea"/>
              </a:endParaRPr>
            </a:p>
          </p:txBody>
        </p:sp>
        <p:cxnSp>
          <p:nvCxnSpPr>
            <p:cNvPr id="49" name="AutoShape 31">
              <a:extLst>
                <a:ext uri="{FF2B5EF4-FFF2-40B4-BE49-F238E27FC236}">
                  <a16:creationId xmlns:a16="http://schemas.microsoft.com/office/drawing/2014/main" id="{24EF8B74-5053-43B5-BCD5-A8C0B8D6EA2B}"/>
                </a:ext>
              </a:extLst>
            </p:cNvPr>
            <p:cNvCxnSpPr>
              <a:cxnSpLocks noChangeShapeType="1"/>
              <a:stCxn id="48" idx="2"/>
              <a:endCxn id="48" idx="4"/>
            </p:cNvCxnSpPr>
            <p:nvPr/>
          </p:nvCxnSpPr>
          <p:spPr bwMode="gray">
            <a:xfrm>
              <a:off x="7988549" y="285750"/>
              <a:ext cx="0" cy="150811"/>
            </a:xfrm>
            <a:prstGeom prst="straightConnector1">
              <a:avLst/>
            </a:prstGeom>
            <a:noFill/>
            <a:ln w="9525">
              <a:solidFill>
                <a:schemeClr val="accent6"/>
              </a:solidFill>
              <a:round/>
              <a:headEnd/>
              <a:tailEnd/>
            </a:ln>
            <a:extLst>
              <a:ext uri="{909E8E84-426E-40DD-AFC4-6F175D3DCCD1}">
                <a14:hiddenFill xmlns:a14="http://schemas.microsoft.com/office/drawing/2010/main">
                  <a:noFill/>
                </a14:hiddenFill>
              </a:ext>
            </a:extLst>
          </p:spPr>
        </p:cxnSp>
        <p:cxnSp>
          <p:nvCxnSpPr>
            <p:cNvPr id="50" name="AutoShape 32">
              <a:extLst>
                <a:ext uri="{FF2B5EF4-FFF2-40B4-BE49-F238E27FC236}">
                  <a16:creationId xmlns:a16="http://schemas.microsoft.com/office/drawing/2014/main" id="{3EDE9D74-3304-42D6-8A07-ECBA259E02F3}"/>
                </a:ext>
              </a:extLst>
            </p:cNvPr>
            <p:cNvCxnSpPr>
              <a:cxnSpLocks noChangeShapeType="1"/>
              <a:stCxn id="48" idx="4"/>
              <a:endCxn id="48" idx="6"/>
            </p:cNvCxnSpPr>
            <p:nvPr/>
          </p:nvCxnSpPr>
          <p:spPr bwMode="gray">
            <a:xfrm>
              <a:off x="7988549" y="436561"/>
              <a:ext cx="749051" cy="0"/>
            </a:xfrm>
            <a:prstGeom prst="straightConnector1">
              <a:avLst/>
            </a:prstGeom>
            <a:noFill/>
            <a:ln w="25400">
              <a:solidFill>
                <a:schemeClr val="accent6"/>
              </a:solidFill>
              <a:round/>
              <a:headEnd/>
              <a:tailEnd/>
            </a:ln>
            <a:extLst>
              <a:ext uri="{909E8E84-426E-40DD-AFC4-6F175D3DCCD1}">
                <a14:hiddenFill xmlns:a14="http://schemas.microsoft.com/office/drawing/2010/main">
                  <a:noFill/>
                </a14:hiddenFill>
              </a:ext>
            </a:extLst>
          </p:spPr>
        </p:cxnSp>
      </p:grpSp>
      <p:sp>
        <p:nvSpPr>
          <p:cNvPr id="5" name="Rectangle 4">
            <a:extLst>
              <a:ext uri="{FF2B5EF4-FFF2-40B4-BE49-F238E27FC236}">
                <a16:creationId xmlns:a16="http://schemas.microsoft.com/office/drawing/2014/main" id="{9D40D832-BD1A-4487-802C-2262CE231BDC}"/>
              </a:ext>
            </a:extLst>
          </p:cNvPr>
          <p:cNvSpPr/>
          <p:nvPr/>
        </p:nvSpPr>
        <p:spPr>
          <a:xfrm>
            <a:off x="1011768" y="5643116"/>
            <a:ext cx="6833125" cy="705735"/>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buFont typeface="Wingdings" panose="05000000000000000000" pitchFamily="2" charset="2"/>
              <a:buChar char="§"/>
            </a:pPr>
            <a:r>
              <a:rPr lang="en-US" sz="1400" dirty="0">
                <a:solidFill>
                  <a:schemeClr val="bg1"/>
                </a:solidFill>
              </a:rPr>
              <a:t>Additionally, we have tools for pricing, brand, customer experience diagnostic and performance management</a:t>
            </a:r>
            <a:endParaRPr lang="en-GB" sz="1400" dirty="0" err="1">
              <a:solidFill>
                <a:srgbClr val="FF0000"/>
              </a:solidFill>
            </a:endParaRPr>
          </a:p>
        </p:txBody>
      </p:sp>
    </p:spTree>
    <p:extLst>
      <p:ext uri="{BB962C8B-B14F-4D97-AF65-F5344CB8AC3E}">
        <p14:creationId xmlns:p14="http://schemas.microsoft.com/office/powerpoint/2010/main" val="3018039002"/>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34210" name="Rectangle 2" hidden="1"/>
          <p:cNvGraphicFramePr>
            <a:graphicFrameLocks/>
          </p:cNvGraphicFramePr>
          <p:nvPr>
            <p:custDataLst>
              <p:tags r:id="rId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14388" name="think-cell Slide" r:id="rId6" imgW="0" imgH="0" progId="TCLayout.ActiveDocument.1">
                  <p:embed/>
                </p:oleObj>
              </mc:Choice>
              <mc:Fallback>
                <p:oleObj name="think-cell Slide" r:id="rId6" imgW="0" imgH="0" progId="TCLayout.ActiveDocument.1">
                  <p:embed/>
                  <p:pic>
                    <p:nvPicPr>
                      <p:cNvPr id="734210"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52" name="Rectangle 44"/>
          <p:cNvSpPr>
            <a:spLocks noChangeArrowheads="1"/>
          </p:cNvSpPr>
          <p:nvPr/>
        </p:nvSpPr>
        <p:spPr bwMode="gray">
          <a:xfrm>
            <a:off x="119063" y="980422"/>
            <a:ext cx="2794547" cy="5425100"/>
          </a:xfrm>
          <a:prstGeom prst="rect">
            <a:avLst/>
          </a:prstGeom>
          <a:solidFill>
            <a:schemeClr val="bg1"/>
          </a:solidFill>
          <a:ln w="19050">
            <a:solidFill>
              <a:schemeClr val="accent1"/>
            </a:solidFill>
            <a:miter lim="800000"/>
            <a:headEnd/>
            <a:tailEnd/>
          </a:ln>
          <a:effectLst>
            <a:outerShdw blurRad="50800" dist="38100" dir="2700000" algn="tl" rotWithShape="0">
              <a:prstClr val="black">
                <a:alpha val="40000"/>
              </a:prstClr>
            </a:outerShdw>
          </a:effectLst>
          <a:extLst/>
        </p:spPr>
        <p:txBody>
          <a:bodyPr>
            <a:noAutofit/>
          </a:bodyPr>
          <a:lstStyle/>
          <a:p>
            <a:endParaRPr lang="en-US" sz="1300" b="1" dirty="0">
              <a:solidFill>
                <a:schemeClr val="bg1"/>
              </a:solidFill>
              <a:latin typeface="Arial" panose="020B0604020202020204" pitchFamily="34" charset="0"/>
              <a:cs typeface="Arial" panose="020B0604020202020204" pitchFamily="34" charset="0"/>
            </a:endParaRPr>
          </a:p>
        </p:txBody>
      </p:sp>
      <p:sp>
        <p:nvSpPr>
          <p:cNvPr id="53" name="Rectangle 44"/>
          <p:cNvSpPr>
            <a:spLocks noChangeArrowheads="1"/>
          </p:cNvSpPr>
          <p:nvPr/>
        </p:nvSpPr>
        <p:spPr bwMode="gray">
          <a:xfrm>
            <a:off x="3031059" y="980422"/>
            <a:ext cx="2794547" cy="5425100"/>
          </a:xfrm>
          <a:prstGeom prst="rect">
            <a:avLst/>
          </a:prstGeom>
          <a:solidFill>
            <a:schemeClr val="bg1"/>
          </a:solidFill>
          <a:ln w="19050">
            <a:solidFill>
              <a:schemeClr val="accent1"/>
            </a:solidFill>
            <a:miter lim="800000"/>
            <a:headEnd/>
            <a:tailEnd/>
          </a:ln>
          <a:effectLst>
            <a:outerShdw blurRad="50800" dist="38100" dir="2700000" algn="tl" rotWithShape="0">
              <a:prstClr val="black">
                <a:alpha val="40000"/>
              </a:prstClr>
            </a:outerShdw>
          </a:effectLst>
          <a:extLst/>
        </p:spPr>
        <p:txBody>
          <a:bodyPr>
            <a:noAutofit/>
          </a:bodyPr>
          <a:lstStyle/>
          <a:p>
            <a:endParaRPr lang="en-US" sz="1300" b="1" dirty="0">
              <a:solidFill>
                <a:schemeClr val="bg1"/>
              </a:solidFill>
              <a:latin typeface="Arial" panose="020B0604020202020204" pitchFamily="34" charset="0"/>
              <a:cs typeface="Arial" panose="020B0604020202020204" pitchFamily="34" charset="0"/>
            </a:endParaRPr>
          </a:p>
        </p:txBody>
      </p:sp>
      <p:sp>
        <p:nvSpPr>
          <p:cNvPr id="54" name="Rectangle 44"/>
          <p:cNvSpPr>
            <a:spLocks noChangeArrowheads="1"/>
          </p:cNvSpPr>
          <p:nvPr/>
        </p:nvSpPr>
        <p:spPr bwMode="gray">
          <a:xfrm>
            <a:off x="5943053" y="980422"/>
            <a:ext cx="2794547" cy="5425100"/>
          </a:xfrm>
          <a:prstGeom prst="rect">
            <a:avLst/>
          </a:prstGeom>
          <a:solidFill>
            <a:schemeClr val="bg1"/>
          </a:solidFill>
          <a:ln w="19050">
            <a:solidFill>
              <a:schemeClr val="accent1"/>
            </a:solidFill>
            <a:miter lim="800000"/>
            <a:headEnd/>
            <a:tailEnd/>
          </a:ln>
          <a:effectLst>
            <a:outerShdw blurRad="50800" dist="38100" dir="2700000" algn="tl" rotWithShape="0">
              <a:prstClr val="black">
                <a:alpha val="40000"/>
              </a:prstClr>
            </a:outerShdw>
          </a:effectLst>
          <a:extLst/>
        </p:spPr>
        <p:txBody>
          <a:bodyPr>
            <a:noAutofit/>
          </a:bodyPr>
          <a:lstStyle/>
          <a:p>
            <a:endParaRPr lang="en-US" sz="1300" b="1" dirty="0">
              <a:solidFill>
                <a:schemeClr val="bg1"/>
              </a:solidFill>
              <a:latin typeface="Arial" panose="020B0604020202020204" pitchFamily="34" charset="0"/>
              <a:cs typeface="Arial" panose="020B0604020202020204" pitchFamily="34" charset="0"/>
            </a:endParaRPr>
          </a:p>
        </p:txBody>
      </p:sp>
      <p:sp>
        <p:nvSpPr>
          <p:cNvPr id="734211" name="Rectangle 3"/>
          <p:cNvSpPr>
            <a:spLocks noGrp="1" noChangeArrowheads="1"/>
          </p:cNvSpPr>
          <p:nvPr>
            <p:ph type="title"/>
            <p:custDataLst>
              <p:tags r:id="rId3"/>
            </p:custDataLst>
          </p:nvPr>
        </p:nvSpPr>
        <p:spPr>
          <a:xfrm>
            <a:off x="119063" y="230188"/>
            <a:ext cx="8618537" cy="615553"/>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marL="465138"/>
            <a:r>
              <a:rPr lang="en-US" dirty="0"/>
              <a:t>Shared services/business function design: Proprietary and tested methodologies, benchmarks, and tools</a:t>
            </a:r>
          </a:p>
        </p:txBody>
      </p:sp>
      <p:grpSp>
        <p:nvGrpSpPr>
          <p:cNvPr id="7" name="Group 6">
            <a:extLst>
              <a:ext uri="{FF2B5EF4-FFF2-40B4-BE49-F238E27FC236}">
                <a16:creationId xmlns:a16="http://schemas.microsoft.com/office/drawing/2014/main" id="{F7B5E2E4-ED4E-4101-B915-E0AEA794760D}"/>
              </a:ext>
            </a:extLst>
          </p:cNvPr>
          <p:cNvGrpSpPr/>
          <p:nvPr/>
        </p:nvGrpSpPr>
        <p:grpSpPr>
          <a:xfrm>
            <a:off x="195861" y="1534016"/>
            <a:ext cx="2640951" cy="1947020"/>
            <a:chOff x="195861" y="1534016"/>
            <a:chExt cx="2640951" cy="1947020"/>
          </a:xfrm>
        </p:grpSpPr>
        <p:pic>
          <p:nvPicPr>
            <p:cNvPr id="734235" name="Picture 27"/>
            <p:cNvPicPr preferRelativeResize="0">
              <a:picLocks noChangeArrowheads="1"/>
            </p:cNvPicPr>
            <p:nvPr/>
          </p:nvPicPr>
          <p:blipFill>
            <a:blip r:embed="rId7" cstate="screen">
              <a:extLst>
                <a:ext uri="{28A0092B-C50C-407E-A947-70E740481C1C}">
                  <a14:useLocalDpi xmlns:a14="http://schemas.microsoft.com/office/drawing/2010/main"/>
                </a:ext>
              </a:extLst>
            </a:blip>
            <a:srcRect/>
            <a:stretch>
              <a:fillRect/>
            </a:stretch>
          </p:blipFill>
          <p:spPr bwMode="gray">
            <a:xfrm>
              <a:off x="195861" y="1534016"/>
              <a:ext cx="2254250" cy="1450133"/>
            </a:xfrm>
            <a:prstGeom prst="rect">
              <a:avLst/>
            </a:prstGeom>
            <a:noFill/>
            <a:ln w="9525">
              <a:solidFill>
                <a:srgbClr val="80808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734236" name="Picture 28"/>
            <p:cNvPicPr>
              <a:picLocks noChangeArrowheads="1"/>
            </p:cNvPicPr>
            <p:nvPr/>
          </p:nvPicPr>
          <p:blipFill>
            <a:blip r:embed="rId8" cstate="screen">
              <a:extLst>
                <a:ext uri="{28A0092B-C50C-407E-A947-70E740481C1C}">
                  <a14:useLocalDpi xmlns:a14="http://schemas.microsoft.com/office/drawing/2010/main"/>
                </a:ext>
              </a:extLst>
            </a:blip>
            <a:srcRect/>
            <a:stretch>
              <a:fillRect/>
            </a:stretch>
          </p:blipFill>
          <p:spPr bwMode="auto">
            <a:xfrm>
              <a:off x="582562" y="2030903"/>
              <a:ext cx="2254250" cy="1450133"/>
            </a:xfrm>
            <a:prstGeom prst="rect">
              <a:avLst/>
            </a:prstGeom>
            <a:noFill/>
            <a:ln w="9525">
              <a:solidFill>
                <a:schemeClr val="accent2"/>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grpSp>
      <p:sp>
        <p:nvSpPr>
          <p:cNvPr id="10" name="Rectangle 10"/>
          <p:cNvSpPr txBox="1">
            <a:spLocks/>
          </p:cNvSpPr>
          <p:nvPr/>
        </p:nvSpPr>
        <p:spPr>
          <a:xfrm>
            <a:off x="195861" y="3585752"/>
            <a:ext cx="2640951" cy="256070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1">
              <a:spcBef>
                <a:spcPct val="20000"/>
              </a:spcBef>
            </a:pPr>
            <a:r>
              <a:rPr lang="en-US" sz="1300" dirty="0">
                <a:ea typeface="+mn-ea"/>
                <a:cs typeface="+mn-cs"/>
              </a:rPr>
              <a:t>Detailed benchmarks from &gt;2100 companies across sectors and geographies</a:t>
            </a:r>
          </a:p>
          <a:p>
            <a:pPr lvl="2">
              <a:spcBef>
                <a:spcPct val="10000"/>
              </a:spcBef>
            </a:pPr>
            <a:r>
              <a:rPr lang="en-US" sz="1300" dirty="0">
                <a:ea typeface="+mn-ea"/>
                <a:cs typeface="+mn-cs"/>
              </a:rPr>
              <a:t>Financial/cost metrics</a:t>
            </a:r>
          </a:p>
          <a:p>
            <a:pPr lvl="2">
              <a:spcBef>
                <a:spcPct val="10000"/>
              </a:spcBef>
            </a:pPr>
            <a:r>
              <a:rPr lang="en-US" sz="1300" dirty="0">
                <a:ea typeface="+mn-ea"/>
                <a:cs typeface="+mn-cs"/>
              </a:rPr>
              <a:t>Efficiency metrics</a:t>
            </a:r>
          </a:p>
          <a:p>
            <a:pPr lvl="2">
              <a:spcBef>
                <a:spcPct val="10000"/>
              </a:spcBef>
            </a:pPr>
            <a:r>
              <a:rPr lang="en-US" sz="1300" dirty="0">
                <a:ea typeface="+mn-ea"/>
                <a:cs typeface="+mn-cs"/>
              </a:rPr>
              <a:t>Effectiveness metrics</a:t>
            </a:r>
          </a:p>
          <a:p>
            <a:pPr lvl="1">
              <a:spcBef>
                <a:spcPct val="20000"/>
              </a:spcBef>
            </a:pPr>
            <a:r>
              <a:rPr lang="en-US" sz="1300" dirty="0">
                <a:ea typeface="+mn-ea"/>
                <a:cs typeface="+mn-cs"/>
              </a:rPr>
              <a:t>World class taxonomy based on latest Firm thinking</a:t>
            </a:r>
          </a:p>
          <a:p>
            <a:pPr lvl="1">
              <a:spcBef>
                <a:spcPct val="20000"/>
              </a:spcBef>
            </a:pPr>
            <a:r>
              <a:rPr lang="en-US" sz="1300" dirty="0">
                <a:ea typeface="+mn-ea"/>
                <a:cs typeface="+mn-cs"/>
              </a:rPr>
              <a:t>Comprehensive effectiveness benchmarks</a:t>
            </a:r>
          </a:p>
          <a:p>
            <a:pPr lvl="1">
              <a:spcBef>
                <a:spcPct val="20000"/>
              </a:spcBef>
            </a:pPr>
            <a:r>
              <a:rPr lang="en-US" sz="1300" dirty="0">
                <a:ea typeface="+mn-ea"/>
                <a:cs typeface="+mn-cs"/>
              </a:rPr>
              <a:t>Access to leading external functional sources*</a:t>
            </a:r>
          </a:p>
        </p:txBody>
      </p:sp>
      <p:grpSp>
        <p:nvGrpSpPr>
          <p:cNvPr id="5" name="Group 4">
            <a:extLst>
              <a:ext uri="{FF2B5EF4-FFF2-40B4-BE49-F238E27FC236}">
                <a16:creationId xmlns:a16="http://schemas.microsoft.com/office/drawing/2014/main" id="{6967E162-DCEB-4588-9B84-1046E4F788DA}"/>
              </a:ext>
            </a:extLst>
          </p:cNvPr>
          <p:cNvGrpSpPr/>
          <p:nvPr/>
        </p:nvGrpSpPr>
        <p:grpSpPr>
          <a:xfrm>
            <a:off x="6019851" y="1534016"/>
            <a:ext cx="2640951" cy="1947020"/>
            <a:chOff x="6019851" y="1534016"/>
            <a:chExt cx="2640951" cy="1947020"/>
          </a:xfrm>
        </p:grpSpPr>
        <p:pic>
          <p:nvPicPr>
            <p:cNvPr id="734238" name="Picture 30"/>
            <p:cNvPicPr>
              <a:picLocks noChangeArrowheads="1"/>
            </p:cNvPicPr>
            <p:nvPr/>
          </p:nvPicPr>
          <p:blipFill>
            <a:blip r:embed="rId9" cstate="screen">
              <a:extLst>
                <a:ext uri="{28A0092B-C50C-407E-A947-70E740481C1C}">
                  <a14:useLocalDpi xmlns:a14="http://schemas.microsoft.com/office/drawing/2010/main"/>
                </a:ext>
              </a:extLst>
            </a:blip>
            <a:srcRect/>
            <a:stretch>
              <a:fillRect/>
            </a:stretch>
          </p:blipFill>
          <p:spPr bwMode="auto">
            <a:xfrm>
              <a:off x="6019851" y="1534016"/>
              <a:ext cx="2254250" cy="1450133"/>
            </a:xfrm>
            <a:prstGeom prst="rect">
              <a:avLst/>
            </a:prstGeom>
            <a:noFill/>
            <a:ln w="9525">
              <a:solidFill>
                <a:schemeClr val="accent2"/>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734239" name="Picture 31"/>
            <p:cNvPicPr>
              <a:picLocks noChangeArrowheads="1"/>
            </p:cNvPicPr>
            <p:nvPr/>
          </p:nvPicPr>
          <p:blipFill>
            <a:blip r:embed="rId10" cstate="screen">
              <a:extLst>
                <a:ext uri="{28A0092B-C50C-407E-A947-70E740481C1C}">
                  <a14:useLocalDpi xmlns:a14="http://schemas.microsoft.com/office/drawing/2010/main"/>
                </a:ext>
              </a:extLst>
            </a:blip>
            <a:srcRect/>
            <a:stretch>
              <a:fillRect/>
            </a:stretch>
          </p:blipFill>
          <p:spPr bwMode="gray">
            <a:xfrm>
              <a:off x="6406552" y="2030903"/>
              <a:ext cx="2254250" cy="1450133"/>
            </a:xfrm>
            <a:prstGeom prst="rect">
              <a:avLst/>
            </a:prstGeom>
            <a:noFill/>
            <a:ln w="9525">
              <a:solidFill>
                <a:srgbClr val="80808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grpSp>
      <p:sp>
        <p:nvSpPr>
          <p:cNvPr id="14" name="Rectangle 14"/>
          <p:cNvSpPr txBox="1">
            <a:spLocks/>
          </p:cNvSpPr>
          <p:nvPr/>
        </p:nvSpPr>
        <p:spPr>
          <a:xfrm>
            <a:off x="6019851" y="3585752"/>
            <a:ext cx="2640951" cy="276075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1">
              <a:spcBef>
                <a:spcPct val="20000"/>
              </a:spcBef>
            </a:pPr>
            <a:r>
              <a:rPr lang="en-US" sz="1300" dirty="0">
                <a:ea typeface="+mn-ea"/>
                <a:cs typeface="+mn-cs"/>
              </a:rPr>
              <a:t>Web enabled data collection</a:t>
            </a:r>
          </a:p>
          <a:p>
            <a:pPr lvl="1">
              <a:spcBef>
                <a:spcPct val="20000"/>
              </a:spcBef>
            </a:pPr>
            <a:r>
              <a:rPr lang="en-US" sz="1300" dirty="0">
                <a:ea typeface="+mn-ea"/>
                <a:cs typeface="+mn-cs"/>
              </a:rPr>
              <a:t>Online surveys to obtain “voice of the customer” feedback on function performance</a:t>
            </a:r>
          </a:p>
          <a:p>
            <a:pPr lvl="1">
              <a:spcBef>
                <a:spcPct val="20000"/>
              </a:spcBef>
            </a:pPr>
            <a:r>
              <a:rPr lang="en-US" sz="1300" dirty="0">
                <a:ea typeface="+mn-ea"/>
                <a:cs typeface="+mn-cs"/>
              </a:rPr>
              <a:t>Improvement ideas database (Idea Bank), outsourced &amp; offshore vendor &amp; contracts database, Span of control &amp; de-layering database</a:t>
            </a:r>
          </a:p>
          <a:p>
            <a:pPr lvl="1">
              <a:spcBef>
                <a:spcPct val="20000"/>
              </a:spcBef>
            </a:pPr>
            <a:r>
              <a:rPr lang="en-US" sz="1300" dirty="0">
                <a:ea typeface="+mn-ea"/>
                <a:cs typeface="+mn-cs"/>
              </a:rPr>
              <a:t>Implementation toolkits, e.g., “WAVE” implementation tracking software</a:t>
            </a:r>
          </a:p>
          <a:p>
            <a:pPr lvl="1">
              <a:spcBef>
                <a:spcPct val="20000"/>
              </a:spcBef>
            </a:pPr>
            <a:r>
              <a:rPr lang="en-US" sz="1300" dirty="0">
                <a:ea typeface="+mn-ea"/>
                <a:cs typeface="+mn-cs"/>
              </a:rPr>
              <a:t>Capability building toolkits</a:t>
            </a:r>
          </a:p>
        </p:txBody>
      </p:sp>
      <p:grpSp>
        <p:nvGrpSpPr>
          <p:cNvPr id="25" name="Group 24"/>
          <p:cNvGrpSpPr/>
          <p:nvPr/>
        </p:nvGrpSpPr>
        <p:grpSpPr>
          <a:xfrm>
            <a:off x="3163682" y="3585752"/>
            <a:ext cx="2536825" cy="1479164"/>
            <a:chOff x="3208338" y="3400425"/>
            <a:chExt cx="2536825" cy="1292225"/>
          </a:xfrm>
        </p:grpSpPr>
        <p:sp>
          <p:nvSpPr>
            <p:cNvPr id="734225" name="AutoShape 17"/>
            <p:cNvSpPr>
              <a:spLocks noChangeArrowheads="1"/>
            </p:cNvSpPr>
            <p:nvPr/>
          </p:nvSpPr>
          <p:spPr bwMode="gray">
            <a:xfrm>
              <a:off x="3243263" y="3405188"/>
              <a:ext cx="728663" cy="617537"/>
            </a:xfrm>
            <a:custGeom>
              <a:avLst/>
              <a:gdLst>
                <a:gd name="G0" fmla="+- 8954320 0 0"/>
                <a:gd name="G1" fmla="+- -11796480 0 0"/>
                <a:gd name="G2" fmla="+- 8954320 0 -11796480"/>
                <a:gd name="G3" fmla="+- 10800 0 0"/>
                <a:gd name="G4" fmla="+- 0 0 8954320"/>
                <a:gd name="T0" fmla="*/ 360 256 1"/>
                <a:gd name="T1" fmla="*/ 0 256 1"/>
                <a:gd name="G5" fmla="+- G2 T0 T1"/>
                <a:gd name="G6" fmla="?: G2 G2 G5"/>
                <a:gd name="G7" fmla="+- 0 0 G6"/>
                <a:gd name="G8" fmla="+- 4642 0 0"/>
                <a:gd name="G9" fmla="+- 0 0 -11796480"/>
                <a:gd name="G10" fmla="+- 4642 0 2700"/>
                <a:gd name="G11" fmla="cos G10 8954320"/>
                <a:gd name="G12" fmla="sin G10 8954320"/>
                <a:gd name="G13" fmla="cos 13500 8954320"/>
                <a:gd name="G14" fmla="sin 13500 8954320"/>
                <a:gd name="G15" fmla="+- G11 10800 0"/>
                <a:gd name="G16" fmla="+- G12 10800 0"/>
                <a:gd name="G17" fmla="+- G13 10800 0"/>
                <a:gd name="G18" fmla="+- G14 10800 0"/>
                <a:gd name="G19" fmla="*/ 4642 1 2"/>
                <a:gd name="G20" fmla="+- G19 5400 0"/>
                <a:gd name="G21" fmla="cos G20 8954320"/>
                <a:gd name="G22" fmla="sin G20 8954320"/>
                <a:gd name="G23" fmla="+- G21 10800 0"/>
                <a:gd name="G24" fmla="+- G12 G23 G22"/>
                <a:gd name="G25" fmla="+- G22 G23 G11"/>
                <a:gd name="G26" fmla="cos 10800 8954320"/>
                <a:gd name="G27" fmla="sin 10800 8954320"/>
                <a:gd name="G28" fmla="cos 4642 8954320"/>
                <a:gd name="G29" fmla="sin 4642 8954320"/>
                <a:gd name="G30" fmla="+- G26 10800 0"/>
                <a:gd name="G31" fmla="+- G27 10800 0"/>
                <a:gd name="G32" fmla="+- G28 10800 0"/>
                <a:gd name="G33" fmla="+- G29 10800 0"/>
                <a:gd name="G34" fmla="+- G19 5400 0"/>
                <a:gd name="G35" fmla="cos G34 -11796480"/>
                <a:gd name="G36" fmla="sin G34 -11796480"/>
                <a:gd name="G37" fmla="+/ -11796480 8954320 2"/>
                <a:gd name="T2" fmla="*/ 180 256 1"/>
                <a:gd name="T3" fmla="*/ 0 256 1"/>
                <a:gd name="G38" fmla="+- G37 T2 T3"/>
                <a:gd name="G39" fmla="?: G2 G37 G38"/>
                <a:gd name="G40" fmla="cos 10800 G39"/>
                <a:gd name="G41" fmla="sin 10800 G39"/>
                <a:gd name="G42" fmla="cos 4642 G39"/>
                <a:gd name="G43" fmla="sin 4642 G39"/>
                <a:gd name="G44" fmla="+- G40 10800 0"/>
                <a:gd name="G45" fmla="+- G41 10800 0"/>
                <a:gd name="G46" fmla="+- G42 10800 0"/>
                <a:gd name="G47" fmla="+- G43 10800 0"/>
                <a:gd name="G48" fmla="+- G35 10800 0"/>
                <a:gd name="G49" fmla="+- G36 10800 0"/>
                <a:gd name="T4" fmla="*/ 20835 w 21600"/>
                <a:gd name="T5" fmla="*/ 6809 h 21600"/>
                <a:gd name="T6" fmla="*/ 3079 w 21600"/>
                <a:gd name="T7" fmla="*/ 10800 h 21600"/>
                <a:gd name="T8" fmla="*/ 15113 w 21600"/>
                <a:gd name="T9" fmla="*/ 9084 h 21600"/>
                <a:gd name="T10" fmla="*/ 986 w 21600"/>
                <a:gd name="T11" fmla="*/ 20070 h 21600"/>
                <a:gd name="T12" fmla="*/ 1219 w 21600"/>
                <a:gd name="T13" fmla="*/ 11900 h 21600"/>
                <a:gd name="T14" fmla="*/ 9388 w 21600"/>
                <a:gd name="T15" fmla="*/ 12133 h 21600"/>
                <a:gd name="T16" fmla="*/ 3163 w 21600"/>
                <a:gd name="T17" fmla="*/ 3163 h 21600"/>
                <a:gd name="T18" fmla="*/ 18437 w 21600"/>
                <a:gd name="T19" fmla="*/ 18437 h 21600"/>
              </a:gdLst>
              <a:ahLst/>
              <a:cxnLst>
                <a:cxn ang="0">
                  <a:pos x="T4" y="T5"/>
                </a:cxn>
                <a:cxn ang="0">
                  <a:pos x="T6" y="T7"/>
                </a:cxn>
                <a:cxn ang="0">
                  <a:pos x="T8" y="T9"/>
                </a:cxn>
                <a:cxn ang="0">
                  <a:pos x="T10" y="T11"/>
                </a:cxn>
                <a:cxn ang="0">
                  <a:pos x="T12" y="T13"/>
                </a:cxn>
                <a:cxn ang="0">
                  <a:pos x="T14" y="T15"/>
                </a:cxn>
              </a:cxnLst>
              <a:rect l="T16" t="T17" r="T18" b="T19"/>
              <a:pathLst>
                <a:path w="21600" h="21600">
                  <a:moveTo>
                    <a:pt x="7425" y="13987"/>
                  </a:moveTo>
                  <a:cubicBezTo>
                    <a:pt x="8302" y="14915"/>
                    <a:pt x="9522" y="15442"/>
                    <a:pt x="10800" y="15442"/>
                  </a:cubicBezTo>
                  <a:cubicBezTo>
                    <a:pt x="13363" y="15442"/>
                    <a:pt x="15442" y="13363"/>
                    <a:pt x="15442" y="10800"/>
                  </a:cubicBezTo>
                  <a:cubicBezTo>
                    <a:pt x="15442" y="8236"/>
                    <a:pt x="13363" y="6158"/>
                    <a:pt x="10800" y="6158"/>
                  </a:cubicBezTo>
                  <a:cubicBezTo>
                    <a:pt x="8236" y="6158"/>
                    <a:pt x="6158" y="8236"/>
                    <a:pt x="6158" y="10800"/>
                  </a:cubicBezTo>
                  <a:lnTo>
                    <a:pt x="0" y="10800"/>
                  </a:lnTo>
                  <a:cubicBezTo>
                    <a:pt x="0" y="4835"/>
                    <a:pt x="4835" y="0"/>
                    <a:pt x="10800" y="0"/>
                  </a:cubicBezTo>
                  <a:cubicBezTo>
                    <a:pt x="16764" y="0"/>
                    <a:pt x="21600" y="4835"/>
                    <a:pt x="21600" y="10800"/>
                  </a:cubicBezTo>
                  <a:cubicBezTo>
                    <a:pt x="21600" y="16764"/>
                    <a:pt x="16764" y="21600"/>
                    <a:pt x="10800" y="21600"/>
                  </a:cubicBezTo>
                  <a:cubicBezTo>
                    <a:pt x="7828" y="21600"/>
                    <a:pt x="4989" y="20376"/>
                    <a:pt x="2948" y="18216"/>
                  </a:cubicBezTo>
                  <a:lnTo>
                    <a:pt x="986" y="20070"/>
                  </a:lnTo>
                  <a:lnTo>
                    <a:pt x="1219" y="11900"/>
                  </a:lnTo>
                  <a:lnTo>
                    <a:pt x="9388" y="12133"/>
                  </a:lnTo>
                  <a:lnTo>
                    <a:pt x="7425" y="13987"/>
                  </a:lnTo>
                  <a:close/>
                </a:path>
              </a:pathLst>
            </a:custGeom>
            <a:solidFill>
              <a:schemeClr val="bg2">
                <a:lumMod val="95000"/>
              </a:schemeClr>
            </a:solidFill>
            <a:ln>
              <a:solidFill>
                <a:schemeClr val="accent1"/>
              </a:solidFill>
            </a:ln>
            <a:effectLst/>
            <a:extLst/>
          </p:spPr>
          <p:txBody>
            <a:bodyPr wrap="none" anchor="ctr"/>
            <a:lstStyle/>
            <a:p>
              <a:endParaRPr lang="en-US" sz="1300" dirty="0"/>
            </a:p>
          </p:txBody>
        </p:sp>
        <p:sp>
          <p:nvSpPr>
            <p:cNvPr id="734226" name="AutoShape 18"/>
            <p:cNvSpPr>
              <a:spLocks noChangeArrowheads="1"/>
            </p:cNvSpPr>
            <p:nvPr/>
          </p:nvSpPr>
          <p:spPr bwMode="gray">
            <a:xfrm>
              <a:off x="4976813" y="3400425"/>
              <a:ext cx="730250" cy="617538"/>
            </a:xfrm>
            <a:custGeom>
              <a:avLst/>
              <a:gdLst>
                <a:gd name="G0" fmla="+- 8954320 0 0"/>
                <a:gd name="G1" fmla="+- -11796480 0 0"/>
                <a:gd name="G2" fmla="+- 8954320 0 -11796480"/>
                <a:gd name="G3" fmla="+- 10800 0 0"/>
                <a:gd name="G4" fmla="+- 0 0 8954320"/>
                <a:gd name="T0" fmla="*/ 360 256 1"/>
                <a:gd name="T1" fmla="*/ 0 256 1"/>
                <a:gd name="G5" fmla="+- G2 T0 T1"/>
                <a:gd name="G6" fmla="?: G2 G2 G5"/>
                <a:gd name="G7" fmla="+- 0 0 G6"/>
                <a:gd name="G8" fmla="+- 4642 0 0"/>
                <a:gd name="G9" fmla="+- 0 0 -11796480"/>
                <a:gd name="G10" fmla="+- 4642 0 2700"/>
                <a:gd name="G11" fmla="cos G10 8954320"/>
                <a:gd name="G12" fmla="sin G10 8954320"/>
                <a:gd name="G13" fmla="cos 13500 8954320"/>
                <a:gd name="G14" fmla="sin 13500 8954320"/>
                <a:gd name="G15" fmla="+- G11 10800 0"/>
                <a:gd name="G16" fmla="+- G12 10800 0"/>
                <a:gd name="G17" fmla="+- G13 10800 0"/>
                <a:gd name="G18" fmla="+- G14 10800 0"/>
                <a:gd name="G19" fmla="*/ 4642 1 2"/>
                <a:gd name="G20" fmla="+- G19 5400 0"/>
                <a:gd name="G21" fmla="cos G20 8954320"/>
                <a:gd name="G22" fmla="sin G20 8954320"/>
                <a:gd name="G23" fmla="+- G21 10800 0"/>
                <a:gd name="G24" fmla="+- G12 G23 G22"/>
                <a:gd name="G25" fmla="+- G22 G23 G11"/>
                <a:gd name="G26" fmla="cos 10800 8954320"/>
                <a:gd name="G27" fmla="sin 10800 8954320"/>
                <a:gd name="G28" fmla="cos 4642 8954320"/>
                <a:gd name="G29" fmla="sin 4642 8954320"/>
                <a:gd name="G30" fmla="+- G26 10800 0"/>
                <a:gd name="G31" fmla="+- G27 10800 0"/>
                <a:gd name="G32" fmla="+- G28 10800 0"/>
                <a:gd name="G33" fmla="+- G29 10800 0"/>
                <a:gd name="G34" fmla="+- G19 5400 0"/>
                <a:gd name="G35" fmla="cos G34 -11796480"/>
                <a:gd name="G36" fmla="sin G34 -11796480"/>
                <a:gd name="G37" fmla="+/ -11796480 8954320 2"/>
                <a:gd name="T2" fmla="*/ 180 256 1"/>
                <a:gd name="T3" fmla="*/ 0 256 1"/>
                <a:gd name="G38" fmla="+- G37 T2 T3"/>
                <a:gd name="G39" fmla="?: G2 G37 G38"/>
                <a:gd name="G40" fmla="cos 10800 G39"/>
                <a:gd name="G41" fmla="sin 10800 G39"/>
                <a:gd name="G42" fmla="cos 4642 G39"/>
                <a:gd name="G43" fmla="sin 4642 G39"/>
                <a:gd name="G44" fmla="+- G40 10800 0"/>
                <a:gd name="G45" fmla="+- G41 10800 0"/>
                <a:gd name="G46" fmla="+- G42 10800 0"/>
                <a:gd name="G47" fmla="+- G43 10800 0"/>
                <a:gd name="G48" fmla="+- G35 10800 0"/>
                <a:gd name="G49" fmla="+- G36 10800 0"/>
                <a:gd name="T4" fmla="*/ 20835 w 21600"/>
                <a:gd name="T5" fmla="*/ 6809 h 21600"/>
                <a:gd name="T6" fmla="*/ 3079 w 21600"/>
                <a:gd name="T7" fmla="*/ 10800 h 21600"/>
                <a:gd name="T8" fmla="*/ 15113 w 21600"/>
                <a:gd name="T9" fmla="*/ 9084 h 21600"/>
                <a:gd name="T10" fmla="*/ 986 w 21600"/>
                <a:gd name="T11" fmla="*/ 20070 h 21600"/>
                <a:gd name="T12" fmla="*/ 1219 w 21600"/>
                <a:gd name="T13" fmla="*/ 11900 h 21600"/>
                <a:gd name="T14" fmla="*/ 9388 w 21600"/>
                <a:gd name="T15" fmla="*/ 12133 h 21600"/>
                <a:gd name="T16" fmla="*/ 3163 w 21600"/>
                <a:gd name="T17" fmla="*/ 3163 h 21600"/>
                <a:gd name="T18" fmla="*/ 18437 w 21600"/>
                <a:gd name="T19" fmla="*/ 18437 h 21600"/>
              </a:gdLst>
              <a:ahLst/>
              <a:cxnLst>
                <a:cxn ang="0">
                  <a:pos x="T4" y="T5"/>
                </a:cxn>
                <a:cxn ang="0">
                  <a:pos x="T6" y="T7"/>
                </a:cxn>
                <a:cxn ang="0">
                  <a:pos x="T8" y="T9"/>
                </a:cxn>
                <a:cxn ang="0">
                  <a:pos x="T10" y="T11"/>
                </a:cxn>
                <a:cxn ang="0">
                  <a:pos x="T12" y="T13"/>
                </a:cxn>
                <a:cxn ang="0">
                  <a:pos x="T14" y="T15"/>
                </a:cxn>
              </a:cxnLst>
              <a:rect l="T16" t="T17" r="T18" b="T19"/>
              <a:pathLst>
                <a:path w="21600" h="21600">
                  <a:moveTo>
                    <a:pt x="7425" y="13987"/>
                  </a:moveTo>
                  <a:cubicBezTo>
                    <a:pt x="8302" y="14915"/>
                    <a:pt x="9522" y="15442"/>
                    <a:pt x="10800" y="15442"/>
                  </a:cubicBezTo>
                  <a:cubicBezTo>
                    <a:pt x="13363" y="15442"/>
                    <a:pt x="15442" y="13363"/>
                    <a:pt x="15442" y="10800"/>
                  </a:cubicBezTo>
                  <a:cubicBezTo>
                    <a:pt x="15442" y="8236"/>
                    <a:pt x="13363" y="6158"/>
                    <a:pt x="10800" y="6158"/>
                  </a:cubicBezTo>
                  <a:cubicBezTo>
                    <a:pt x="8236" y="6158"/>
                    <a:pt x="6158" y="8236"/>
                    <a:pt x="6158" y="10800"/>
                  </a:cubicBezTo>
                  <a:lnTo>
                    <a:pt x="0" y="10800"/>
                  </a:lnTo>
                  <a:cubicBezTo>
                    <a:pt x="0" y="4835"/>
                    <a:pt x="4835" y="0"/>
                    <a:pt x="10800" y="0"/>
                  </a:cubicBezTo>
                  <a:cubicBezTo>
                    <a:pt x="16764" y="0"/>
                    <a:pt x="21600" y="4835"/>
                    <a:pt x="21600" y="10800"/>
                  </a:cubicBezTo>
                  <a:cubicBezTo>
                    <a:pt x="21600" y="16764"/>
                    <a:pt x="16764" y="21600"/>
                    <a:pt x="10800" y="21600"/>
                  </a:cubicBezTo>
                  <a:cubicBezTo>
                    <a:pt x="7828" y="21600"/>
                    <a:pt x="4989" y="20376"/>
                    <a:pt x="2948" y="18216"/>
                  </a:cubicBezTo>
                  <a:lnTo>
                    <a:pt x="986" y="20070"/>
                  </a:lnTo>
                  <a:lnTo>
                    <a:pt x="1219" y="11900"/>
                  </a:lnTo>
                  <a:lnTo>
                    <a:pt x="9388" y="12133"/>
                  </a:lnTo>
                  <a:lnTo>
                    <a:pt x="7425" y="13987"/>
                  </a:lnTo>
                  <a:close/>
                </a:path>
              </a:pathLst>
            </a:custGeom>
            <a:solidFill>
              <a:schemeClr val="bg2">
                <a:lumMod val="95000"/>
              </a:schemeClr>
            </a:solidFill>
            <a:ln>
              <a:solidFill>
                <a:schemeClr val="accent1"/>
              </a:solidFill>
            </a:ln>
            <a:effectLst/>
            <a:extLst/>
          </p:spPr>
          <p:txBody>
            <a:bodyPr wrap="none" anchor="ctr"/>
            <a:lstStyle/>
            <a:p>
              <a:endParaRPr lang="en-US" sz="1300" dirty="0"/>
            </a:p>
          </p:txBody>
        </p:sp>
        <p:sp>
          <p:nvSpPr>
            <p:cNvPr id="734227" name="Rectangle 19"/>
            <p:cNvSpPr>
              <a:spLocks noChangeArrowheads="1"/>
            </p:cNvSpPr>
            <p:nvPr/>
          </p:nvSpPr>
          <p:spPr bwMode="gray">
            <a:xfrm>
              <a:off x="3208338" y="3570172"/>
              <a:ext cx="842963" cy="349543"/>
            </a:xfrm>
            <a:prstGeom prst="rect">
              <a:avLst/>
            </a:prstGeom>
            <a:noFill/>
            <a:ln>
              <a:noFill/>
            </a:ln>
            <a:effectLst/>
            <a:extLst/>
          </p:spPr>
          <p:txBody>
            <a:bodyPr lIns="0" tIns="0" rIns="0" bIns="0" anchor="ctr">
              <a:spAutoFit/>
            </a:bodyPr>
            <a:lstStyle>
              <a:lvl1pPr defTabSz="895350">
                <a:buClr>
                  <a:schemeClr val="tx2"/>
                </a:buClr>
                <a:defRPr sz="1600">
                  <a:solidFill>
                    <a:schemeClr val="tx1"/>
                  </a:solidFill>
                  <a:latin typeface="Arial" pitchFamily="34" charset="0"/>
                </a:defRPr>
              </a:lvl1pPr>
              <a:lvl2pPr marL="193675" indent="-192088" defTabSz="895350">
                <a:buClr>
                  <a:schemeClr val="tx2"/>
                </a:buClr>
                <a:buSzPct val="125000"/>
                <a:buFont typeface="Arial" pitchFamily="34" charset="0"/>
                <a:buChar char="▪"/>
                <a:defRPr sz="1600">
                  <a:solidFill>
                    <a:schemeClr val="tx1"/>
                  </a:solidFill>
                  <a:latin typeface="Arial" pitchFamily="34" charset="0"/>
                </a:defRPr>
              </a:lvl2pPr>
              <a:lvl3pPr marL="457200" indent="-261938" defTabSz="895350">
                <a:buClr>
                  <a:schemeClr val="tx2"/>
                </a:buClr>
                <a:buSzPct val="120000"/>
                <a:buFont typeface="Arial" pitchFamily="34" charset="0"/>
                <a:buChar char="–"/>
                <a:defRPr sz="1600">
                  <a:solidFill>
                    <a:schemeClr val="tx1"/>
                  </a:solidFill>
                  <a:latin typeface="Arial" pitchFamily="34" charset="0"/>
                </a:defRPr>
              </a:lvl3pPr>
              <a:lvl4pPr marL="614363" indent="-155575" defTabSz="895350">
                <a:buClr>
                  <a:schemeClr val="tx2"/>
                </a:buClr>
                <a:buSzPct val="120000"/>
                <a:buFont typeface="Arial" pitchFamily="34" charset="0"/>
                <a:buChar char="▫"/>
                <a:defRPr sz="1600">
                  <a:solidFill>
                    <a:schemeClr val="tx1"/>
                  </a:solidFill>
                  <a:latin typeface="Arial" pitchFamily="34" charset="0"/>
                </a:defRPr>
              </a:lvl4pPr>
              <a:lvl5pPr marL="746125" indent="-130175" defTabSz="895350">
                <a:buClr>
                  <a:schemeClr val="tx2"/>
                </a:buClr>
                <a:buSzPct val="89000"/>
                <a:buFont typeface="Arial" pitchFamily="34" charset="0"/>
                <a:buChar char="-"/>
                <a:defRPr sz="1600">
                  <a:solidFill>
                    <a:schemeClr val="tx1"/>
                  </a:solidFill>
                  <a:latin typeface="Arial" pitchFamily="34" charset="0"/>
                </a:defRPr>
              </a:lvl5pPr>
              <a:lvl6pPr marL="1203325" indent="-130175" defTabSz="895350" fontAlgn="base">
                <a:spcBef>
                  <a:spcPct val="0"/>
                </a:spcBef>
                <a:spcAft>
                  <a:spcPct val="0"/>
                </a:spcAft>
                <a:buClr>
                  <a:schemeClr val="tx2"/>
                </a:buClr>
                <a:buSzPct val="89000"/>
                <a:buFont typeface="Arial" pitchFamily="34" charset="0"/>
                <a:buChar char="-"/>
                <a:defRPr sz="1600">
                  <a:solidFill>
                    <a:schemeClr val="tx1"/>
                  </a:solidFill>
                  <a:latin typeface="Arial" pitchFamily="34" charset="0"/>
                </a:defRPr>
              </a:lvl6pPr>
              <a:lvl7pPr marL="1660525" indent="-130175" defTabSz="895350" fontAlgn="base">
                <a:spcBef>
                  <a:spcPct val="0"/>
                </a:spcBef>
                <a:spcAft>
                  <a:spcPct val="0"/>
                </a:spcAft>
                <a:buClr>
                  <a:schemeClr val="tx2"/>
                </a:buClr>
                <a:buSzPct val="89000"/>
                <a:buFont typeface="Arial" pitchFamily="34" charset="0"/>
                <a:buChar char="-"/>
                <a:defRPr sz="1600">
                  <a:solidFill>
                    <a:schemeClr val="tx1"/>
                  </a:solidFill>
                  <a:latin typeface="Arial" pitchFamily="34" charset="0"/>
                </a:defRPr>
              </a:lvl7pPr>
              <a:lvl8pPr marL="2117725" indent="-130175" defTabSz="895350" fontAlgn="base">
                <a:spcBef>
                  <a:spcPct val="0"/>
                </a:spcBef>
                <a:spcAft>
                  <a:spcPct val="0"/>
                </a:spcAft>
                <a:buClr>
                  <a:schemeClr val="tx2"/>
                </a:buClr>
                <a:buSzPct val="89000"/>
                <a:buFont typeface="Arial" pitchFamily="34" charset="0"/>
                <a:buChar char="-"/>
                <a:defRPr sz="1600">
                  <a:solidFill>
                    <a:schemeClr val="tx1"/>
                  </a:solidFill>
                  <a:latin typeface="Arial" pitchFamily="34" charset="0"/>
                </a:defRPr>
              </a:lvl8pPr>
              <a:lvl9pPr marL="2574925" indent="-130175" defTabSz="895350" fontAlgn="base">
                <a:spcBef>
                  <a:spcPct val="0"/>
                </a:spcBef>
                <a:spcAft>
                  <a:spcPct val="0"/>
                </a:spcAft>
                <a:buClr>
                  <a:schemeClr val="tx2"/>
                </a:buClr>
                <a:buSzPct val="89000"/>
                <a:buFont typeface="Arial" pitchFamily="34" charset="0"/>
                <a:buChar char="-"/>
                <a:defRPr sz="1600">
                  <a:solidFill>
                    <a:schemeClr val="tx1"/>
                  </a:solidFill>
                  <a:latin typeface="Arial" pitchFamily="34" charset="0"/>
                </a:defRPr>
              </a:lvl9pPr>
            </a:lstStyle>
            <a:p>
              <a:pPr algn="ctr"/>
              <a:r>
                <a:rPr lang="en-US" sz="1300" b="1" dirty="0">
                  <a:solidFill>
                    <a:schemeClr val="accent3"/>
                  </a:solidFill>
                </a:rPr>
                <a:t>HR </a:t>
              </a:r>
            </a:p>
            <a:p>
              <a:pPr algn="ctr"/>
              <a:r>
                <a:rPr lang="en-US" sz="1300" b="1" dirty="0">
                  <a:solidFill>
                    <a:schemeClr val="accent3"/>
                  </a:solidFill>
                </a:rPr>
                <a:t>360</a:t>
              </a:r>
            </a:p>
          </p:txBody>
        </p:sp>
        <p:sp>
          <p:nvSpPr>
            <p:cNvPr id="734228" name="AutoShape 20"/>
            <p:cNvSpPr>
              <a:spLocks noChangeArrowheads="1"/>
            </p:cNvSpPr>
            <p:nvPr/>
          </p:nvSpPr>
          <p:spPr bwMode="gray">
            <a:xfrm>
              <a:off x="4114800" y="3422650"/>
              <a:ext cx="730250" cy="617538"/>
            </a:xfrm>
            <a:custGeom>
              <a:avLst/>
              <a:gdLst>
                <a:gd name="G0" fmla="+- 8954320 0 0"/>
                <a:gd name="G1" fmla="+- -11796480 0 0"/>
                <a:gd name="G2" fmla="+- 8954320 0 -11796480"/>
                <a:gd name="G3" fmla="+- 10800 0 0"/>
                <a:gd name="G4" fmla="+- 0 0 8954320"/>
                <a:gd name="T0" fmla="*/ 360 256 1"/>
                <a:gd name="T1" fmla="*/ 0 256 1"/>
                <a:gd name="G5" fmla="+- G2 T0 T1"/>
                <a:gd name="G6" fmla="?: G2 G2 G5"/>
                <a:gd name="G7" fmla="+- 0 0 G6"/>
                <a:gd name="G8" fmla="+- 4642 0 0"/>
                <a:gd name="G9" fmla="+- 0 0 -11796480"/>
                <a:gd name="G10" fmla="+- 4642 0 2700"/>
                <a:gd name="G11" fmla="cos G10 8954320"/>
                <a:gd name="G12" fmla="sin G10 8954320"/>
                <a:gd name="G13" fmla="cos 13500 8954320"/>
                <a:gd name="G14" fmla="sin 13500 8954320"/>
                <a:gd name="G15" fmla="+- G11 10800 0"/>
                <a:gd name="G16" fmla="+- G12 10800 0"/>
                <a:gd name="G17" fmla="+- G13 10800 0"/>
                <a:gd name="G18" fmla="+- G14 10800 0"/>
                <a:gd name="G19" fmla="*/ 4642 1 2"/>
                <a:gd name="G20" fmla="+- G19 5400 0"/>
                <a:gd name="G21" fmla="cos G20 8954320"/>
                <a:gd name="G22" fmla="sin G20 8954320"/>
                <a:gd name="G23" fmla="+- G21 10800 0"/>
                <a:gd name="G24" fmla="+- G12 G23 G22"/>
                <a:gd name="G25" fmla="+- G22 G23 G11"/>
                <a:gd name="G26" fmla="cos 10800 8954320"/>
                <a:gd name="G27" fmla="sin 10800 8954320"/>
                <a:gd name="G28" fmla="cos 4642 8954320"/>
                <a:gd name="G29" fmla="sin 4642 8954320"/>
                <a:gd name="G30" fmla="+- G26 10800 0"/>
                <a:gd name="G31" fmla="+- G27 10800 0"/>
                <a:gd name="G32" fmla="+- G28 10800 0"/>
                <a:gd name="G33" fmla="+- G29 10800 0"/>
                <a:gd name="G34" fmla="+- G19 5400 0"/>
                <a:gd name="G35" fmla="cos G34 -11796480"/>
                <a:gd name="G36" fmla="sin G34 -11796480"/>
                <a:gd name="G37" fmla="+/ -11796480 8954320 2"/>
                <a:gd name="T2" fmla="*/ 180 256 1"/>
                <a:gd name="T3" fmla="*/ 0 256 1"/>
                <a:gd name="G38" fmla="+- G37 T2 T3"/>
                <a:gd name="G39" fmla="?: G2 G37 G38"/>
                <a:gd name="G40" fmla="cos 10800 G39"/>
                <a:gd name="G41" fmla="sin 10800 G39"/>
                <a:gd name="G42" fmla="cos 4642 G39"/>
                <a:gd name="G43" fmla="sin 4642 G39"/>
                <a:gd name="G44" fmla="+- G40 10800 0"/>
                <a:gd name="G45" fmla="+- G41 10800 0"/>
                <a:gd name="G46" fmla="+- G42 10800 0"/>
                <a:gd name="G47" fmla="+- G43 10800 0"/>
                <a:gd name="G48" fmla="+- G35 10800 0"/>
                <a:gd name="G49" fmla="+- G36 10800 0"/>
                <a:gd name="T4" fmla="*/ 20835 w 21600"/>
                <a:gd name="T5" fmla="*/ 6809 h 21600"/>
                <a:gd name="T6" fmla="*/ 3079 w 21600"/>
                <a:gd name="T7" fmla="*/ 10800 h 21600"/>
                <a:gd name="T8" fmla="*/ 15113 w 21600"/>
                <a:gd name="T9" fmla="*/ 9084 h 21600"/>
                <a:gd name="T10" fmla="*/ 986 w 21600"/>
                <a:gd name="T11" fmla="*/ 20070 h 21600"/>
                <a:gd name="T12" fmla="*/ 1219 w 21600"/>
                <a:gd name="T13" fmla="*/ 11900 h 21600"/>
                <a:gd name="T14" fmla="*/ 9388 w 21600"/>
                <a:gd name="T15" fmla="*/ 12133 h 21600"/>
                <a:gd name="T16" fmla="*/ 3163 w 21600"/>
                <a:gd name="T17" fmla="*/ 3163 h 21600"/>
                <a:gd name="T18" fmla="*/ 18437 w 21600"/>
                <a:gd name="T19" fmla="*/ 18437 h 21600"/>
              </a:gdLst>
              <a:ahLst/>
              <a:cxnLst>
                <a:cxn ang="0">
                  <a:pos x="T4" y="T5"/>
                </a:cxn>
                <a:cxn ang="0">
                  <a:pos x="T6" y="T7"/>
                </a:cxn>
                <a:cxn ang="0">
                  <a:pos x="T8" y="T9"/>
                </a:cxn>
                <a:cxn ang="0">
                  <a:pos x="T10" y="T11"/>
                </a:cxn>
                <a:cxn ang="0">
                  <a:pos x="T12" y="T13"/>
                </a:cxn>
                <a:cxn ang="0">
                  <a:pos x="T14" y="T15"/>
                </a:cxn>
              </a:cxnLst>
              <a:rect l="T16" t="T17" r="T18" b="T19"/>
              <a:pathLst>
                <a:path w="21600" h="21600">
                  <a:moveTo>
                    <a:pt x="7425" y="13987"/>
                  </a:moveTo>
                  <a:cubicBezTo>
                    <a:pt x="8302" y="14915"/>
                    <a:pt x="9522" y="15442"/>
                    <a:pt x="10800" y="15442"/>
                  </a:cubicBezTo>
                  <a:cubicBezTo>
                    <a:pt x="13363" y="15442"/>
                    <a:pt x="15442" y="13363"/>
                    <a:pt x="15442" y="10800"/>
                  </a:cubicBezTo>
                  <a:cubicBezTo>
                    <a:pt x="15442" y="8236"/>
                    <a:pt x="13363" y="6158"/>
                    <a:pt x="10800" y="6158"/>
                  </a:cubicBezTo>
                  <a:cubicBezTo>
                    <a:pt x="8236" y="6158"/>
                    <a:pt x="6158" y="8236"/>
                    <a:pt x="6158" y="10800"/>
                  </a:cubicBezTo>
                  <a:lnTo>
                    <a:pt x="0" y="10800"/>
                  </a:lnTo>
                  <a:cubicBezTo>
                    <a:pt x="0" y="4835"/>
                    <a:pt x="4835" y="0"/>
                    <a:pt x="10800" y="0"/>
                  </a:cubicBezTo>
                  <a:cubicBezTo>
                    <a:pt x="16764" y="0"/>
                    <a:pt x="21600" y="4835"/>
                    <a:pt x="21600" y="10800"/>
                  </a:cubicBezTo>
                  <a:cubicBezTo>
                    <a:pt x="21600" y="16764"/>
                    <a:pt x="16764" y="21600"/>
                    <a:pt x="10800" y="21600"/>
                  </a:cubicBezTo>
                  <a:cubicBezTo>
                    <a:pt x="7828" y="21600"/>
                    <a:pt x="4989" y="20376"/>
                    <a:pt x="2948" y="18216"/>
                  </a:cubicBezTo>
                  <a:lnTo>
                    <a:pt x="986" y="20070"/>
                  </a:lnTo>
                  <a:lnTo>
                    <a:pt x="1219" y="11900"/>
                  </a:lnTo>
                  <a:lnTo>
                    <a:pt x="9388" y="12133"/>
                  </a:lnTo>
                  <a:lnTo>
                    <a:pt x="7425" y="13987"/>
                  </a:lnTo>
                  <a:close/>
                </a:path>
              </a:pathLst>
            </a:custGeom>
            <a:solidFill>
              <a:schemeClr val="bg2">
                <a:lumMod val="95000"/>
              </a:schemeClr>
            </a:solidFill>
            <a:ln>
              <a:solidFill>
                <a:schemeClr val="accent1"/>
              </a:solidFill>
            </a:ln>
            <a:effectLst/>
            <a:extLst/>
          </p:spPr>
          <p:txBody>
            <a:bodyPr wrap="none" anchor="ctr"/>
            <a:lstStyle/>
            <a:p>
              <a:endParaRPr lang="en-US" sz="1300" dirty="0"/>
            </a:p>
          </p:txBody>
        </p:sp>
        <p:sp>
          <p:nvSpPr>
            <p:cNvPr id="734229" name="Rectangle 21"/>
            <p:cNvSpPr>
              <a:spLocks noChangeArrowheads="1"/>
            </p:cNvSpPr>
            <p:nvPr/>
          </p:nvSpPr>
          <p:spPr bwMode="gray">
            <a:xfrm>
              <a:off x="4902200" y="3570172"/>
              <a:ext cx="842963" cy="349543"/>
            </a:xfrm>
            <a:prstGeom prst="rect">
              <a:avLst/>
            </a:prstGeom>
            <a:noFill/>
            <a:ln>
              <a:noFill/>
            </a:ln>
            <a:effectLst/>
            <a:extLst/>
          </p:spPr>
          <p:txBody>
            <a:bodyPr lIns="0" tIns="0" rIns="0" bIns="0" anchor="ctr">
              <a:spAutoFit/>
            </a:bodyPr>
            <a:lstStyle>
              <a:lvl1pPr defTabSz="895350">
                <a:buClr>
                  <a:schemeClr val="tx2"/>
                </a:buClr>
                <a:defRPr sz="1600">
                  <a:solidFill>
                    <a:schemeClr val="tx1"/>
                  </a:solidFill>
                  <a:latin typeface="Arial" pitchFamily="34" charset="0"/>
                </a:defRPr>
              </a:lvl1pPr>
              <a:lvl2pPr marL="193675" indent="-192088" defTabSz="895350">
                <a:buClr>
                  <a:schemeClr val="tx2"/>
                </a:buClr>
                <a:buSzPct val="125000"/>
                <a:buFont typeface="Arial" pitchFamily="34" charset="0"/>
                <a:buChar char="▪"/>
                <a:defRPr sz="1600">
                  <a:solidFill>
                    <a:schemeClr val="tx1"/>
                  </a:solidFill>
                  <a:latin typeface="Arial" pitchFamily="34" charset="0"/>
                </a:defRPr>
              </a:lvl2pPr>
              <a:lvl3pPr marL="457200" indent="-261938" defTabSz="895350">
                <a:buClr>
                  <a:schemeClr val="tx2"/>
                </a:buClr>
                <a:buSzPct val="120000"/>
                <a:buFont typeface="Arial" pitchFamily="34" charset="0"/>
                <a:buChar char="–"/>
                <a:defRPr sz="1600">
                  <a:solidFill>
                    <a:schemeClr val="tx1"/>
                  </a:solidFill>
                  <a:latin typeface="Arial" pitchFamily="34" charset="0"/>
                </a:defRPr>
              </a:lvl3pPr>
              <a:lvl4pPr marL="614363" indent="-155575" defTabSz="895350">
                <a:buClr>
                  <a:schemeClr val="tx2"/>
                </a:buClr>
                <a:buSzPct val="120000"/>
                <a:buFont typeface="Arial" pitchFamily="34" charset="0"/>
                <a:buChar char="▫"/>
                <a:defRPr sz="1600">
                  <a:solidFill>
                    <a:schemeClr val="tx1"/>
                  </a:solidFill>
                  <a:latin typeface="Arial" pitchFamily="34" charset="0"/>
                </a:defRPr>
              </a:lvl4pPr>
              <a:lvl5pPr marL="746125" indent="-130175" defTabSz="895350">
                <a:buClr>
                  <a:schemeClr val="tx2"/>
                </a:buClr>
                <a:buSzPct val="89000"/>
                <a:buFont typeface="Arial" pitchFamily="34" charset="0"/>
                <a:buChar char="-"/>
                <a:defRPr sz="1600">
                  <a:solidFill>
                    <a:schemeClr val="tx1"/>
                  </a:solidFill>
                  <a:latin typeface="Arial" pitchFamily="34" charset="0"/>
                </a:defRPr>
              </a:lvl5pPr>
              <a:lvl6pPr marL="1203325" indent="-130175" defTabSz="895350" fontAlgn="base">
                <a:spcBef>
                  <a:spcPct val="0"/>
                </a:spcBef>
                <a:spcAft>
                  <a:spcPct val="0"/>
                </a:spcAft>
                <a:buClr>
                  <a:schemeClr val="tx2"/>
                </a:buClr>
                <a:buSzPct val="89000"/>
                <a:buFont typeface="Arial" pitchFamily="34" charset="0"/>
                <a:buChar char="-"/>
                <a:defRPr sz="1600">
                  <a:solidFill>
                    <a:schemeClr val="tx1"/>
                  </a:solidFill>
                  <a:latin typeface="Arial" pitchFamily="34" charset="0"/>
                </a:defRPr>
              </a:lvl6pPr>
              <a:lvl7pPr marL="1660525" indent="-130175" defTabSz="895350" fontAlgn="base">
                <a:spcBef>
                  <a:spcPct val="0"/>
                </a:spcBef>
                <a:spcAft>
                  <a:spcPct val="0"/>
                </a:spcAft>
                <a:buClr>
                  <a:schemeClr val="tx2"/>
                </a:buClr>
                <a:buSzPct val="89000"/>
                <a:buFont typeface="Arial" pitchFamily="34" charset="0"/>
                <a:buChar char="-"/>
                <a:defRPr sz="1600">
                  <a:solidFill>
                    <a:schemeClr val="tx1"/>
                  </a:solidFill>
                  <a:latin typeface="Arial" pitchFamily="34" charset="0"/>
                </a:defRPr>
              </a:lvl7pPr>
              <a:lvl8pPr marL="2117725" indent="-130175" defTabSz="895350" fontAlgn="base">
                <a:spcBef>
                  <a:spcPct val="0"/>
                </a:spcBef>
                <a:spcAft>
                  <a:spcPct val="0"/>
                </a:spcAft>
                <a:buClr>
                  <a:schemeClr val="tx2"/>
                </a:buClr>
                <a:buSzPct val="89000"/>
                <a:buFont typeface="Arial" pitchFamily="34" charset="0"/>
                <a:buChar char="-"/>
                <a:defRPr sz="1600">
                  <a:solidFill>
                    <a:schemeClr val="tx1"/>
                  </a:solidFill>
                  <a:latin typeface="Arial" pitchFamily="34" charset="0"/>
                </a:defRPr>
              </a:lvl8pPr>
              <a:lvl9pPr marL="2574925" indent="-130175" defTabSz="895350" fontAlgn="base">
                <a:spcBef>
                  <a:spcPct val="0"/>
                </a:spcBef>
                <a:spcAft>
                  <a:spcPct val="0"/>
                </a:spcAft>
                <a:buClr>
                  <a:schemeClr val="tx2"/>
                </a:buClr>
                <a:buSzPct val="89000"/>
                <a:buFont typeface="Arial" pitchFamily="34" charset="0"/>
                <a:buChar char="-"/>
                <a:defRPr sz="1600">
                  <a:solidFill>
                    <a:schemeClr val="tx1"/>
                  </a:solidFill>
                  <a:latin typeface="Arial" pitchFamily="34" charset="0"/>
                </a:defRPr>
              </a:lvl9pPr>
            </a:lstStyle>
            <a:p>
              <a:pPr algn="ctr"/>
              <a:r>
                <a:rPr lang="en-US" sz="1300" b="1" dirty="0">
                  <a:solidFill>
                    <a:schemeClr val="accent3"/>
                  </a:solidFill>
                </a:rPr>
                <a:t>Finance </a:t>
              </a:r>
            </a:p>
            <a:p>
              <a:pPr algn="ctr"/>
              <a:r>
                <a:rPr lang="en-US" sz="1300" b="1" dirty="0">
                  <a:solidFill>
                    <a:schemeClr val="accent3"/>
                  </a:solidFill>
                </a:rPr>
                <a:t>360</a:t>
              </a:r>
            </a:p>
          </p:txBody>
        </p:sp>
        <p:sp>
          <p:nvSpPr>
            <p:cNvPr id="734230" name="Rectangle 22"/>
            <p:cNvSpPr>
              <a:spLocks noChangeArrowheads="1"/>
            </p:cNvSpPr>
            <p:nvPr/>
          </p:nvSpPr>
          <p:spPr bwMode="gray">
            <a:xfrm>
              <a:off x="4127500" y="3570172"/>
              <a:ext cx="715963" cy="349543"/>
            </a:xfrm>
            <a:prstGeom prst="rect">
              <a:avLst/>
            </a:prstGeom>
            <a:noFill/>
            <a:ln>
              <a:noFill/>
            </a:ln>
            <a:effectLst/>
            <a:extLst/>
          </p:spPr>
          <p:txBody>
            <a:bodyPr lIns="0" tIns="0" rIns="0" bIns="0" anchor="ctr">
              <a:spAutoFit/>
            </a:bodyPr>
            <a:lstStyle>
              <a:lvl1pPr defTabSz="895350">
                <a:buClr>
                  <a:schemeClr val="tx2"/>
                </a:buClr>
                <a:defRPr sz="1600">
                  <a:solidFill>
                    <a:schemeClr val="tx1"/>
                  </a:solidFill>
                  <a:latin typeface="Arial" pitchFamily="34" charset="0"/>
                </a:defRPr>
              </a:lvl1pPr>
              <a:lvl2pPr marL="193675" indent="-192088" defTabSz="895350">
                <a:buClr>
                  <a:schemeClr val="tx2"/>
                </a:buClr>
                <a:buSzPct val="125000"/>
                <a:buFont typeface="Arial" pitchFamily="34" charset="0"/>
                <a:buChar char="▪"/>
                <a:defRPr sz="1600">
                  <a:solidFill>
                    <a:schemeClr val="tx1"/>
                  </a:solidFill>
                  <a:latin typeface="Arial" pitchFamily="34" charset="0"/>
                </a:defRPr>
              </a:lvl2pPr>
              <a:lvl3pPr marL="457200" indent="-261938" defTabSz="895350">
                <a:buClr>
                  <a:schemeClr val="tx2"/>
                </a:buClr>
                <a:buSzPct val="120000"/>
                <a:buFont typeface="Arial" pitchFamily="34" charset="0"/>
                <a:buChar char="–"/>
                <a:defRPr sz="1600">
                  <a:solidFill>
                    <a:schemeClr val="tx1"/>
                  </a:solidFill>
                  <a:latin typeface="Arial" pitchFamily="34" charset="0"/>
                </a:defRPr>
              </a:lvl3pPr>
              <a:lvl4pPr marL="614363" indent="-155575" defTabSz="895350">
                <a:buClr>
                  <a:schemeClr val="tx2"/>
                </a:buClr>
                <a:buSzPct val="120000"/>
                <a:buFont typeface="Arial" pitchFamily="34" charset="0"/>
                <a:buChar char="▫"/>
                <a:defRPr sz="1600">
                  <a:solidFill>
                    <a:schemeClr val="tx1"/>
                  </a:solidFill>
                  <a:latin typeface="Arial" pitchFamily="34" charset="0"/>
                </a:defRPr>
              </a:lvl4pPr>
              <a:lvl5pPr marL="746125" indent="-130175" defTabSz="895350">
                <a:buClr>
                  <a:schemeClr val="tx2"/>
                </a:buClr>
                <a:buSzPct val="89000"/>
                <a:buFont typeface="Arial" pitchFamily="34" charset="0"/>
                <a:buChar char="-"/>
                <a:defRPr sz="1600">
                  <a:solidFill>
                    <a:schemeClr val="tx1"/>
                  </a:solidFill>
                  <a:latin typeface="Arial" pitchFamily="34" charset="0"/>
                </a:defRPr>
              </a:lvl5pPr>
              <a:lvl6pPr marL="1203325" indent="-130175" defTabSz="895350" fontAlgn="base">
                <a:spcBef>
                  <a:spcPct val="0"/>
                </a:spcBef>
                <a:spcAft>
                  <a:spcPct val="0"/>
                </a:spcAft>
                <a:buClr>
                  <a:schemeClr val="tx2"/>
                </a:buClr>
                <a:buSzPct val="89000"/>
                <a:buFont typeface="Arial" pitchFamily="34" charset="0"/>
                <a:buChar char="-"/>
                <a:defRPr sz="1600">
                  <a:solidFill>
                    <a:schemeClr val="tx1"/>
                  </a:solidFill>
                  <a:latin typeface="Arial" pitchFamily="34" charset="0"/>
                </a:defRPr>
              </a:lvl6pPr>
              <a:lvl7pPr marL="1660525" indent="-130175" defTabSz="895350" fontAlgn="base">
                <a:spcBef>
                  <a:spcPct val="0"/>
                </a:spcBef>
                <a:spcAft>
                  <a:spcPct val="0"/>
                </a:spcAft>
                <a:buClr>
                  <a:schemeClr val="tx2"/>
                </a:buClr>
                <a:buSzPct val="89000"/>
                <a:buFont typeface="Arial" pitchFamily="34" charset="0"/>
                <a:buChar char="-"/>
                <a:defRPr sz="1600">
                  <a:solidFill>
                    <a:schemeClr val="tx1"/>
                  </a:solidFill>
                  <a:latin typeface="Arial" pitchFamily="34" charset="0"/>
                </a:defRPr>
              </a:lvl7pPr>
              <a:lvl8pPr marL="2117725" indent="-130175" defTabSz="895350" fontAlgn="base">
                <a:spcBef>
                  <a:spcPct val="0"/>
                </a:spcBef>
                <a:spcAft>
                  <a:spcPct val="0"/>
                </a:spcAft>
                <a:buClr>
                  <a:schemeClr val="tx2"/>
                </a:buClr>
                <a:buSzPct val="89000"/>
                <a:buFont typeface="Arial" pitchFamily="34" charset="0"/>
                <a:buChar char="-"/>
                <a:defRPr sz="1600">
                  <a:solidFill>
                    <a:schemeClr val="tx1"/>
                  </a:solidFill>
                  <a:latin typeface="Arial" pitchFamily="34" charset="0"/>
                </a:defRPr>
              </a:lvl8pPr>
              <a:lvl9pPr marL="2574925" indent="-130175" defTabSz="895350" fontAlgn="base">
                <a:spcBef>
                  <a:spcPct val="0"/>
                </a:spcBef>
                <a:spcAft>
                  <a:spcPct val="0"/>
                </a:spcAft>
                <a:buClr>
                  <a:schemeClr val="tx2"/>
                </a:buClr>
                <a:buSzPct val="89000"/>
                <a:buFont typeface="Arial" pitchFamily="34" charset="0"/>
                <a:buChar char="-"/>
                <a:defRPr sz="1600">
                  <a:solidFill>
                    <a:schemeClr val="tx1"/>
                  </a:solidFill>
                  <a:latin typeface="Arial" pitchFamily="34" charset="0"/>
                </a:defRPr>
              </a:lvl9pPr>
            </a:lstStyle>
            <a:p>
              <a:pPr algn="ctr"/>
              <a:r>
                <a:rPr lang="en-US" sz="1300" b="1" dirty="0">
                  <a:solidFill>
                    <a:schemeClr val="accent3"/>
                  </a:solidFill>
                </a:rPr>
                <a:t>IT</a:t>
              </a:r>
            </a:p>
            <a:p>
              <a:pPr algn="ctr"/>
              <a:r>
                <a:rPr lang="en-US" sz="1300" b="1" dirty="0">
                  <a:solidFill>
                    <a:schemeClr val="accent3"/>
                  </a:solidFill>
                </a:rPr>
                <a:t> 360</a:t>
              </a:r>
            </a:p>
          </p:txBody>
        </p:sp>
        <p:sp>
          <p:nvSpPr>
            <p:cNvPr id="734231" name="AutoShape 23"/>
            <p:cNvSpPr>
              <a:spLocks noChangeArrowheads="1"/>
            </p:cNvSpPr>
            <p:nvPr/>
          </p:nvSpPr>
          <p:spPr bwMode="gray">
            <a:xfrm>
              <a:off x="3624263" y="4073525"/>
              <a:ext cx="728663" cy="619125"/>
            </a:xfrm>
            <a:custGeom>
              <a:avLst/>
              <a:gdLst>
                <a:gd name="G0" fmla="+- 8954320 0 0"/>
                <a:gd name="G1" fmla="+- -11796480 0 0"/>
                <a:gd name="G2" fmla="+- 8954320 0 -11796480"/>
                <a:gd name="G3" fmla="+- 10800 0 0"/>
                <a:gd name="G4" fmla="+- 0 0 8954320"/>
                <a:gd name="T0" fmla="*/ 360 256 1"/>
                <a:gd name="T1" fmla="*/ 0 256 1"/>
                <a:gd name="G5" fmla="+- G2 T0 T1"/>
                <a:gd name="G6" fmla="?: G2 G2 G5"/>
                <a:gd name="G7" fmla="+- 0 0 G6"/>
                <a:gd name="G8" fmla="+- 4642 0 0"/>
                <a:gd name="G9" fmla="+- 0 0 -11796480"/>
                <a:gd name="G10" fmla="+- 4642 0 2700"/>
                <a:gd name="G11" fmla="cos G10 8954320"/>
                <a:gd name="G12" fmla="sin G10 8954320"/>
                <a:gd name="G13" fmla="cos 13500 8954320"/>
                <a:gd name="G14" fmla="sin 13500 8954320"/>
                <a:gd name="G15" fmla="+- G11 10800 0"/>
                <a:gd name="G16" fmla="+- G12 10800 0"/>
                <a:gd name="G17" fmla="+- G13 10800 0"/>
                <a:gd name="G18" fmla="+- G14 10800 0"/>
                <a:gd name="G19" fmla="*/ 4642 1 2"/>
                <a:gd name="G20" fmla="+- G19 5400 0"/>
                <a:gd name="G21" fmla="cos G20 8954320"/>
                <a:gd name="G22" fmla="sin G20 8954320"/>
                <a:gd name="G23" fmla="+- G21 10800 0"/>
                <a:gd name="G24" fmla="+- G12 G23 G22"/>
                <a:gd name="G25" fmla="+- G22 G23 G11"/>
                <a:gd name="G26" fmla="cos 10800 8954320"/>
                <a:gd name="G27" fmla="sin 10800 8954320"/>
                <a:gd name="G28" fmla="cos 4642 8954320"/>
                <a:gd name="G29" fmla="sin 4642 8954320"/>
                <a:gd name="G30" fmla="+- G26 10800 0"/>
                <a:gd name="G31" fmla="+- G27 10800 0"/>
                <a:gd name="G32" fmla="+- G28 10800 0"/>
                <a:gd name="G33" fmla="+- G29 10800 0"/>
                <a:gd name="G34" fmla="+- G19 5400 0"/>
                <a:gd name="G35" fmla="cos G34 -11796480"/>
                <a:gd name="G36" fmla="sin G34 -11796480"/>
                <a:gd name="G37" fmla="+/ -11796480 8954320 2"/>
                <a:gd name="T2" fmla="*/ 180 256 1"/>
                <a:gd name="T3" fmla="*/ 0 256 1"/>
                <a:gd name="G38" fmla="+- G37 T2 T3"/>
                <a:gd name="G39" fmla="?: G2 G37 G38"/>
                <a:gd name="G40" fmla="cos 10800 G39"/>
                <a:gd name="G41" fmla="sin 10800 G39"/>
                <a:gd name="G42" fmla="cos 4642 G39"/>
                <a:gd name="G43" fmla="sin 4642 G39"/>
                <a:gd name="G44" fmla="+- G40 10800 0"/>
                <a:gd name="G45" fmla="+- G41 10800 0"/>
                <a:gd name="G46" fmla="+- G42 10800 0"/>
                <a:gd name="G47" fmla="+- G43 10800 0"/>
                <a:gd name="G48" fmla="+- G35 10800 0"/>
                <a:gd name="G49" fmla="+- G36 10800 0"/>
                <a:gd name="T4" fmla="*/ 20835 w 21600"/>
                <a:gd name="T5" fmla="*/ 6809 h 21600"/>
                <a:gd name="T6" fmla="*/ 3079 w 21600"/>
                <a:gd name="T7" fmla="*/ 10800 h 21600"/>
                <a:gd name="T8" fmla="*/ 15113 w 21600"/>
                <a:gd name="T9" fmla="*/ 9084 h 21600"/>
                <a:gd name="T10" fmla="*/ 986 w 21600"/>
                <a:gd name="T11" fmla="*/ 20070 h 21600"/>
                <a:gd name="T12" fmla="*/ 1219 w 21600"/>
                <a:gd name="T13" fmla="*/ 11900 h 21600"/>
                <a:gd name="T14" fmla="*/ 9388 w 21600"/>
                <a:gd name="T15" fmla="*/ 12133 h 21600"/>
                <a:gd name="T16" fmla="*/ 3163 w 21600"/>
                <a:gd name="T17" fmla="*/ 3163 h 21600"/>
                <a:gd name="T18" fmla="*/ 18437 w 21600"/>
                <a:gd name="T19" fmla="*/ 18437 h 21600"/>
              </a:gdLst>
              <a:ahLst/>
              <a:cxnLst>
                <a:cxn ang="0">
                  <a:pos x="T4" y="T5"/>
                </a:cxn>
                <a:cxn ang="0">
                  <a:pos x="T6" y="T7"/>
                </a:cxn>
                <a:cxn ang="0">
                  <a:pos x="T8" y="T9"/>
                </a:cxn>
                <a:cxn ang="0">
                  <a:pos x="T10" y="T11"/>
                </a:cxn>
                <a:cxn ang="0">
                  <a:pos x="T12" y="T13"/>
                </a:cxn>
                <a:cxn ang="0">
                  <a:pos x="T14" y="T15"/>
                </a:cxn>
              </a:cxnLst>
              <a:rect l="T16" t="T17" r="T18" b="T19"/>
              <a:pathLst>
                <a:path w="21600" h="21600">
                  <a:moveTo>
                    <a:pt x="7425" y="13987"/>
                  </a:moveTo>
                  <a:cubicBezTo>
                    <a:pt x="8302" y="14915"/>
                    <a:pt x="9522" y="15442"/>
                    <a:pt x="10800" y="15442"/>
                  </a:cubicBezTo>
                  <a:cubicBezTo>
                    <a:pt x="13363" y="15442"/>
                    <a:pt x="15442" y="13363"/>
                    <a:pt x="15442" y="10800"/>
                  </a:cubicBezTo>
                  <a:cubicBezTo>
                    <a:pt x="15442" y="8236"/>
                    <a:pt x="13363" y="6158"/>
                    <a:pt x="10800" y="6158"/>
                  </a:cubicBezTo>
                  <a:cubicBezTo>
                    <a:pt x="8236" y="6158"/>
                    <a:pt x="6158" y="8236"/>
                    <a:pt x="6158" y="10800"/>
                  </a:cubicBezTo>
                  <a:lnTo>
                    <a:pt x="0" y="10800"/>
                  </a:lnTo>
                  <a:cubicBezTo>
                    <a:pt x="0" y="4835"/>
                    <a:pt x="4835" y="0"/>
                    <a:pt x="10800" y="0"/>
                  </a:cubicBezTo>
                  <a:cubicBezTo>
                    <a:pt x="16764" y="0"/>
                    <a:pt x="21600" y="4835"/>
                    <a:pt x="21600" y="10800"/>
                  </a:cubicBezTo>
                  <a:cubicBezTo>
                    <a:pt x="21600" y="16764"/>
                    <a:pt x="16764" y="21600"/>
                    <a:pt x="10800" y="21600"/>
                  </a:cubicBezTo>
                  <a:cubicBezTo>
                    <a:pt x="7828" y="21600"/>
                    <a:pt x="4989" y="20376"/>
                    <a:pt x="2948" y="18216"/>
                  </a:cubicBezTo>
                  <a:lnTo>
                    <a:pt x="986" y="20070"/>
                  </a:lnTo>
                  <a:lnTo>
                    <a:pt x="1219" y="11900"/>
                  </a:lnTo>
                  <a:lnTo>
                    <a:pt x="9388" y="12133"/>
                  </a:lnTo>
                  <a:lnTo>
                    <a:pt x="7425" y="13987"/>
                  </a:lnTo>
                  <a:close/>
                </a:path>
              </a:pathLst>
            </a:custGeom>
            <a:solidFill>
              <a:schemeClr val="bg2">
                <a:lumMod val="95000"/>
              </a:schemeClr>
            </a:solidFill>
            <a:ln>
              <a:solidFill>
                <a:schemeClr val="accent1"/>
              </a:solidFill>
            </a:ln>
            <a:effectLst/>
            <a:extLst/>
          </p:spPr>
          <p:txBody>
            <a:bodyPr wrap="none" anchor="ctr"/>
            <a:lstStyle/>
            <a:p>
              <a:endParaRPr lang="en-US" sz="1300" dirty="0"/>
            </a:p>
          </p:txBody>
        </p:sp>
        <p:sp>
          <p:nvSpPr>
            <p:cNvPr id="734232" name="AutoShape 24"/>
            <p:cNvSpPr>
              <a:spLocks noChangeArrowheads="1"/>
            </p:cNvSpPr>
            <p:nvPr/>
          </p:nvSpPr>
          <p:spPr bwMode="gray">
            <a:xfrm>
              <a:off x="4567238" y="4070350"/>
              <a:ext cx="730250" cy="617538"/>
            </a:xfrm>
            <a:custGeom>
              <a:avLst/>
              <a:gdLst>
                <a:gd name="G0" fmla="+- 8954320 0 0"/>
                <a:gd name="G1" fmla="+- -11796480 0 0"/>
                <a:gd name="G2" fmla="+- 8954320 0 -11796480"/>
                <a:gd name="G3" fmla="+- 10800 0 0"/>
                <a:gd name="G4" fmla="+- 0 0 8954320"/>
                <a:gd name="T0" fmla="*/ 360 256 1"/>
                <a:gd name="T1" fmla="*/ 0 256 1"/>
                <a:gd name="G5" fmla="+- G2 T0 T1"/>
                <a:gd name="G6" fmla="?: G2 G2 G5"/>
                <a:gd name="G7" fmla="+- 0 0 G6"/>
                <a:gd name="G8" fmla="+- 4642 0 0"/>
                <a:gd name="G9" fmla="+- 0 0 -11796480"/>
                <a:gd name="G10" fmla="+- 4642 0 2700"/>
                <a:gd name="G11" fmla="cos G10 8954320"/>
                <a:gd name="G12" fmla="sin G10 8954320"/>
                <a:gd name="G13" fmla="cos 13500 8954320"/>
                <a:gd name="G14" fmla="sin 13500 8954320"/>
                <a:gd name="G15" fmla="+- G11 10800 0"/>
                <a:gd name="G16" fmla="+- G12 10800 0"/>
                <a:gd name="G17" fmla="+- G13 10800 0"/>
                <a:gd name="G18" fmla="+- G14 10800 0"/>
                <a:gd name="G19" fmla="*/ 4642 1 2"/>
                <a:gd name="G20" fmla="+- G19 5400 0"/>
                <a:gd name="G21" fmla="cos G20 8954320"/>
                <a:gd name="G22" fmla="sin G20 8954320"/>
                <a:gd name="G23" fmla="+- G21 10800 0"/>
                <a:gd name="G24" fmla="+- G12 G23 G22"/>
                <a:gd name="G25" fmla="+- G22 G23 G11"/>
                <a:gd name="G26" fmla="cos 10800 8954320"/>
                <a:gd name="G27" fmla="sin 10800 8954320"/>
                <a:gd name="G28" fmla="cos 4642 8954320"/>
                <a:gd name="G29" fmla="sin 4642 8954320"/>
                <a:gd name="G30" fmla="+- G26 10800 0"/>
                <a:gd name="G31" fmla="+- G27 10800 0"/>
                <a:gd name="G32" fmla="+- G28 10800 0"/>
                <a:gd name="G33" fmla="+- G29 10800 0"/>
                <a:gd name="G34" fmla="+- G19 5400 0"/>
                <a:gd name="G35" fmla="cos G34 -11796480"/>
                <a:gd name="G36" fmla="sin G34 -11796480"/>
                <a:gd name="G37" fmla="+/ -11796480 8954320 2"/>
                <a:gd name="T2" fmla="*/ 180 256 1"/>
                <a:gd name="T3" fmla="*/ 0 256 1"/>
                <a:gd name="G38" fmla="+- G37 T2 T3"/>
                <a:gd name="G39" fmla="?: G2 G37 G38"/>
                <a:gd name="G40" fmla="cos 10800 G39"/>
                <a:gd name="G41" fmla="sin 10800 G39"/>
                <a:gd name="G42" fmla="cos 4642 G39"/>
                <a:gd name="G43" fmla="sin 4642 G39"/>
                <a:gd name="G44" fmla="+- G40 10800 0"/>
                <a:gd name="G45" fmla="+- G41 10800 0"/>
                <a:gd name="G46" fmla="+- G42 10800 0"/>
                <a:gd name="G47" fmla="+- G43 10800 0"/>
                <a:gd name="G48" fmla="+- G35 10800 0"/>
                <a:gd name="G49" fmla="+- G36 10800 0"/>
                <a:gd name="T4" fmla="*/ 20835 w 21600"/>
                <a:gd name="T5" fmla="*/ 6809 h 21600"/>
                <a:gd name="T6" fmla="*/ 3079 w 21600"/>
                <a:gd name="T7" fmla="*/ 10800 h 21600"/>
                <a:gd name="T8" fmla="*/ 15113 w 21600"/>
                <a:gd name="T9" fmla="*/ 9084 h 21600"/>
                <a:gd name="T10" fmla="*/ 986 w 21600"/>
                <a:gd name="T11" fmla="*/ 20070 h 21600"/>
                <a:gd name="T12" fmla="*/ 1219 w 21600"/>
                <a:gd name="T13" fmla="*/ 11900 h 21600"/>
                <a:gd name="T14" fmla="*/ 9388 w 21600"/>
                <a:gd name="T15" fmla="*/ 12133 h 21600"/>
                <a:gd name="T16" fmla="*/ 3163 w 21600"/>
                <a:gd name="T17" fmla="*/ 3163 h 21600"/>
                <a:gd name="T18" fmla="*/ 18437 w 21600"/>
                <a:gd name="T19" fmla="*/ 18437 h 21600"/>
              </a:gdLst>
              <a:ahLst/>
              <a:cxnLst>
                <a:cxn ang="0">
                  <a:pos x="T4" y="T5"/>
                </a:cxn>
                <a:cxn ang="0">
                  <a:pos x="T6" y="T7"/>
                </a:cxn>
                <a:cxn ang="0">
                  <a:pos x="T8" y="T9"/>
                </a:cxn>
                <a:cxn ang="0">
                  <a:pos x="T10" y="T11"/>
                </a:cxn>
                <a:cxn ang="0">
                  <a:pos x="T12" y="T13"/>
                </a:cxn>
                <a:cxn ang="0">
                  <a:pos x="T14" y="T15"/>
                </a:cxn>
              </a:cxnLst>
              <a:rect l="T16" t="T17" r="T18" b="T19"/>
              <a:pathLst>
                <a:path w="21600" h="21600">
                  <a:moveTo>
                    <a:pt x="7425" y="13987"/>
                  </a:moveTo>
                  <a:cubicBezTo>
                    <a:pt x="8302" y="14915"/>
                    <a:pt x="9522" y="15442"/>
                    <a:pt x="10800" y="15442"/>
                  </a:cubicBezTo>
                  <a:cubicBezTo>
                    <a:pt x="13363" y="15442"/>
                    <a:pt x="15442" y="13363"/>
                    <a:pt x="15442" y="10800"/>
                  </a:cubicBezTo>
                  <a:cubicBezTo>
                    <a:pt x="15442" y="8236"/>
                    <a:pt x="13363" y="6158"/>
                    <a:pt x="10800" y="6158"/>
                  </a:cubicBezTo>
                  <a:cubicBezTo>
                    <a:pt x="8236" y="6158"/>
                    <a:pt x="6158" y="8236"/>
                    <a:pt x="6158" y="10800"/>
                  </a:cubicBezTo>
                  <a:lnTo>
                    <a:pt x="0" y="10800"/>
                  </a:lnTo>
                  <a:cubicBezTo>
                    <a:pt x="0" y="4835"/>
                    <a:pt x="4835" y="0"/>
                    <a:pt x="10800" y="0"/>
                  </a:cubicBezTo>
                  <a:cubicBezTo>
                    <a:pt x="16764" y="0"/>
                    <a:pt x="21600" y="4835"/>
                    <a:pt x="21600" y="10800"/>
                  </a:cubicBezTo>
                  <a:cubicBezTo>
                    <a:pt x="21600" y="16764"/>
                    <a:pt x="16764" y="21600"/>
                    <a:pt x="10800" y="21600"/>
                  </a:cubicBezTo>
                  <a:cubicBezTo>
                    <a:pt x="7828" y="21600"/>
                    <a:pt x="4989" y="20376"/>
                    <a:pt x="2948" y="18216"/>
                  </a:cubicBezTo>
                  <a:lnTo>
                    <a:pt x="986" y="20070"/>
                  </a:lnTo>
                  <a:lnTo>
                    <a:pt x="1219" y="11900"/>
                  </a:lnTo>
                  <a:lnTo>
                    <a:pt x="9388" y="12133"/>
                  </a:lnTo>
                  <a:lnTo>
                    <a:pt x="7425" y="13987"/>
                  </a:lnTo>
                  <a:close/>
                </a:path>
              </a:pathLst>
            </a:custGeom>
            <a:solidFill>
              <a:schemeClr val="bg2">
                <a:lumMod val="95000"/>
              </a:schemeClr>
            </a:solidFill>
            <a:ln>
              <a:solidFill>
                <a:schemeClr val="accent1"/>
              </a:solidFill>
            </a:ln>
            <a:effectLst/>
            <a:extLst/>
          </p:spPr>
          <p:txBody>
            <a:bodyPr wrap="none" anchor="ctr"/>
            <a:lstStyle/>
            <a:p>
              <a:endParaRPr lang="en-US" sz="1300" dirty="0"/>
            </a:p>
          </p:txBody>
        </p:sp>
        <p:sp>
          <p:nvSpPr>
            <p:cNvPr id="734233" name="Rectangle 25"/>
            <p:cNvSpPr>
              <a:spLocks noChangeArrowheads="1"/>
            </p:cNvSpPr>
            <p:nvPr/>
          </p:nvSpPr>
          <p:spPr bwMode="gray">
            <a:xfrm>
              <a:off x="3589338" y="4238508"/>
              <a:ext cx="842963" cy="349543"/>
            </a:xfrm>
            <a:prstGeom prst="rect">
              <a:avLst/>
            </a:prstGeom>
            <a:noFill/>
            <a:ln>
              <a:noFill/>
            </a:ln>
            <a:effectLst/>
            <a:extLst/>
          </p:spPr>
          <p:txBody>
            <a:bodyPr lIns="0" tIns="0" rIns="0" bIns="0" anchor="ctr">
              <a:spAutoFit/>
            </a:bodyPr>
            <a:lstStyle>
              <a:lvl1pPr defTabSz="895350">
                <a:buClr>
                  <a:schemeClr val="tx2"/>
                </a:buClr>
                <a:defRPr sz="1600">
                  <a:solidFill>
                    <a:schemeClr val="tx1"/>
                  </a:solidFill>
                  <a:latin typeface="Arial" pitchFamily="34" charset="0"/>
                </a:defRPr>
              </a:lvl1pPr>
              <a:lvl2pPr marL="193675" indent="-192088" defTabSz="895350">
                <a:buClr>
                  <a:schemeClr val="tx2"/>
                </a:buClr>
                <a:buSzPct val="125000"/>
                <a:buFont typeface="Arial" pitchFamily="34" charset="0"/>
                <a:buChar char="▪"/>
                <a:defRPr sz="1600">
                  <a:solidFill>
                    <a:schemeClr val="tx1"/>
                  </a:solidFill>
                  <a:latin typeface="Arial" pitchFamily="34" charset="0"/>
                </a:defRPr>
              </a:lvl2pPr>
              <a:lvl3pPr marL="457200" indent="-261938" defTabSz="895350">
                <a:buClr>
                  <a:schemeClr val="tx2"/>
                </a:buClr>
                <a:buSzPct val="120000"/>
                <a:buFont typeface="Arial" pitchFamily="34" charset="0"/>
                <a:buChar char="–"/>
                <a:defRPr sz="1600">
                  <a:solidFill>
                    <a:schemeClr val="tx1"/>
                  </a:solidFill>
                  <a:latin typeface="Arial" pitchFamily="34" charset="0"/>
                </a:defRPr>
              </a:lvl3pPr>
              <a:lvl4pPr marL="614363" indent="-155575" defTabSz="895350">
                <a:buClr>
                  <a:schemeClr val="tx2"/>
                </a:buClr>
                <a:buSzPct val="120000"/>
                <a:buFont typeface="Arial" pitchFamily="34" charset="0"/>
                <a:buChar char="▫"/>
                <a:defRPr sz="1600">
                  <a:solidFill>
                    <a:schemeClr val="tx1"/>
                  </a:solidFill>
                  <a:latin typeface="Arial" pitchFamily="34" charset="0"/>
                </a:defRPr>
              </a:lvl4pPr>
              <a:lvl5pPr marL="746125" indent="-130175" defTabSz="895350">
                <a:buClr>
                  <a:schemeClr val="tx2"/>
                </a:buClr>
                <a:buSzPct val="89000"/>
                <a:buFont typeface="Arial" pitchFamily="34" charset="0"/>
                <a:buChar char="-"/>
                <a:defRPr sz="1600">
                  <a:solidFill>
                    <a:schemeClr val="tx1"/>
                  </a:solidFill>
                  <a:latin typeface="Arial" pitchFamily="34" charset="0"/>
                </a:defRPr>
              </a:lvl5pPr>
              <a:lvl6pPr marL="1203325" indent="-130175" defTabSz="895350" fontAlgn="base">
                <a:spcBef>
                  <a:spcPct val="0"/>
                </a:spcBef>
                <a:spcAft>
                  <a:spcPct val="0"/>
                </a:spcAft>
                <a:buClr>
                  <a:schemeClr val="tx2"/>
                </a:buClr>
                <a:buSzPct val="89000"/>
                <a:buFont typeface="Arial" pitchFamily="34" charset="0"/>
                <a:buChar char="-"/>
                <a:defRPr sz="1600">
                  <a:solidFill>
                    <a:schemeClr val="tx1"/>
                  </a:solidFill>
                  <a:latin typeface="Arial" pitchFamily="34" charset="0"/>
                </a:defRPr>
              </a:lvl6pPr>
              <a:lvl7pPr marL="1660525" indent="-130175" defTabSz="895350" fontAlgn="base">
                <a:spcBef>
                  <a:spcPct val="0"/>
                </a:spcBef>
                <a:spcAft>
                  <a:spcPct val="0"/>
                </a:spcAft>
                <a:buClr>
                  <a:schemeClr val="tx2"/>
                </a:buClr>
                <a:buSzPct val="89000"/>
                <a:buFont typeface="Arial" pitchFamily="34" charset="0"/>
                <a:buChar char="-"/>
                <a:defRPr sz="1600">
                  <a:solidFill>
                    <a:schemeClr val="tx1"/>
                  </a:solidFill>
                  <a:latin typeface="Arial" pitchFamily="34" charset="0"/>
                </a:defRPr>
              </a:lvl7pPr>
              <a:lvl8pPr marL="2117725" indent="-130175" defTabSz="895350" fontAlgn="base">
                <a:spcBef>
                  <a:spcPct val="0"/>
                </a:spcBef>
                <a:spcAft>
                  <a:spcPct val="0"/>
                </a:spcAft>
                <a:buClr>
                  <a:schemeClr val="tx2"/>
                </a:buClr>
                <a:buSzPct val="89000"/>
                <a:buFont typeface="Arial" pitchFamily="34" charset="0"/>
                <a:buChar char="-"/>
                <a:defRPr sz="1600">
                  <a:solidFill>
                    <a:schemeClr val="tx1"/>
                  </a:solidFill>
                  <a:latin typeface="Arial" pitchFamily="34" charset="0"/>
                </a:defRPr>
              </a:lvl8pPr>
              <a:lvl9pPr marL="2574925" indent="-130175" defTabSz="895350" fontAlgn="base">
                <a:spcBef>
                  <a:spcPct val="0"/>
                </a:spcBef>
                <a:spcAft>
                  <a:spcPct val="0"/>
                </a:spcAft>
                <a:buClr>
                  <a:schemeClr val="tx2"/>
                </a:buClr>
                <a:buSzPct val="89000"/>
                <a:buFont typeface="Arial" pitchFamily="34" charset="0"/>
                <a:buChar char="-"/>
                <a:defRPr sz="1600">
                  <a:solidFill>
                    <a:schemeClr val="tx1"/>
                  </a:solidFill>
                  <a:latin typeface="Arial" pitchFamily="34" charset="0"/>
                </a:defRPr>
              </a:lvl9pPr>
            </a:lstStyle>
            <a:p>
              <a:pPr algn="ctr"/>
              <a:r>
                <a:rPr lang="en-US" sz="1300" b="1" dirty="0">
                  <a:solidFill>
                    <a:schemeClr val="accent3"/>
                  </a:solidFill>
                </a:rPr>
                <a:t>Legal </a:t>
              </a:r>
            </a:p>
            <a:p>
              <a:pPr algn="ctr"/>
              <a:r>
                <a:rPr lang="en-US" sz="1300" b="1" dirty="0">
                  <a:solidFill>
                    <a:schemeClr val="accent3"/>
                  </a:solidFill>
                </a:rPr>
                <a:t>360</a:t>
              </a:r>
            </a:p>
          </p:txBody>
        </p:sp>
        <p:sp>
          <p:nvSpPr>
            <p:cNvPr id="734234" name="Rectangle 26"/>
            <p:cNvSpPr>
              <a:spLocks noChangeArrowheads="1"/>
            </p:cNvSpPr>
            <p:nvPr/>
          </p:nvSpPr>
          <p:spPr bwMode="gray">
            <a:xfrm>
              <a:off x="4492625" y="4238508"/>
              <a:ext cx="842963" cy="349543"/>
            </a:xfrm>
            <a:prstGeom prst="rect">
              <a:avLst/>
            </a:prstGeom>
            <a:noFill/>
            <a:ln>
              <a:noFill/>
            </a:ln>
            <a:effectLst/>
            <a:extLst/>
          </p:spPr>
          <p:txBody>
            <a:bodyPr lIns="0" tIns="0" rIns="0" bIns="0" anchor="ctr">
              <a:spAutoFit/>
            </a:bodyPr>
            <a:lstStyle>
              <a:lvl1pPr defTabSz="895350">
                <a:buClr>
                  <a:schemeClr val="tx2"/>
                </a:buClr>
                <a:defRPr sz="1600">
                  <a:solidFill>
                    <a:schemeClr val="tx1"/>
                  </a:solidFill>
                  <a:latin typeface="Arial" pitchFamily="34" charset="0"/>
                </a:defRPr>
              </a:lvl1pPr>
              <a:lvl2pPr marL="193675" indent="-192088" defTabSz="895350">
                <a:buClr>
                  <a:schemeClr val="tx2"/>
                </a:buClr>
                <a:buSzPct val="125000"/>
                <a:buFont typeface="Arial" pitchFamily="34" charset="0"/>
                <a:buChar char="▪"/>
                <a:defRPr sz="1600">
                  <a:solidFill>
                    <a:schemeClr val="tx1"/>
                  </a:solidFill>
                  <a:latin typeface="Arial" pitchFamily="34" charset="0"/>
                </a:defRPr>
              </a:lvl2pPr>
              <a:lvl3pPr marL="457200" indent="-261938" defTabSz="895350">
                <a:buClr>
                  <a:schemeClr val="tx2"/>
                </a:buClr>
                <a:buSzPct val="120000"/>
                <a:buFont typeface="Arial" pitchFamily="34" charset="0"/>
                <a:buChar char="–"/>
                <a:defRPr sz="1600">
                  <a:solidFill>
                    <a:schemeClr val="tx1"/>
                  </a:solidFill>
                  <a:latin typeface="Arial" pitchFamily="34" charset="0"/>
                </a:defRPr>
              </a:lvl3pPr>
              <a:lvl4pPr marL="614363" indent="-155575" defTabSz="895350">
                <a:buClr>
                  <a:schemeClr val="tx2"/>
                </a:buClr>
                <a:buSzPct val="120000"/>
                <a:buFont typeface="Arial" pitchFamily="34" charset="0"/>
                <a:buChar char="▫"/>
                <a:defRPr sz="1600">
                  <a:solidFill>
                    <a:schemeClr val="tx1"/>
                  </a:solidFill>
                  <a:latin typeface="Arial" pitchFamily="34" charset="0"/>
                </a:defRPr>
              </a:lvl4pPr>
              <a:lvl5pPr marL="746125" indent="-130175" defTabSz="895350">
                <a:buClr>
                  <a:schemeClr val="tx2"/>
                </a:buClr>
                <a:buSzPct val="89000"/>
                <a:buFont typeface="Arial" pitchFamily="34" charset="0"/>
                <a:buChar char="-"/>
                <a:defRPr sz="1600">
                  <a:solidFill>
                    <a:schemeClr val="tx1"/>
                  </a:solidFill>
                  <a:latin typeface="Arial" pitchFamily="34" charset="0"/>
                </a:defRPr>
              </a:lvl5pPr>
              <a:lvl6pPr marL="1203325" indent="-130175" defTabSz="895350" fontAlgn="base">
                <a:spcBef>
                  <a:spcPct val="0"/>
                </a:spcBef>
                <a:spcAft>
                  <a:spcPct val="0"/>
                </a:spcAft>
                <a:buClr>
                  <a:schemeClr val="tx2"/>
                </a:buClr>
                <a:buSzPct val="89000"/>
                <a:buFont typeface="Arial" pitchFamily="34" charset="0"/>
                <a:buChar char="-"/>
                <a:defRPr sz="1600">
                  <a:solidFill>
                    <a:schemeClr val="tx1"/>
                  </a:solidFill>
                  <a:latin typeface="Arial" pitchFamily="34" charset="0"/>
                </a:defRPr>
              </a:lvl6pPr>
              <a:lvl7pPr marL="1660525" indent="-130175" defTabSz="895350" fontAlgn="base">
                <a:spcBef>
                  <a:spcPct val="0"/>
                </a:spcBef>
                <a:spcAft>
                  <a:spcPct val="0"/>
                </a:spcAft>
                <a:buClr>
                  <a:schemeClr val="tx2"/>
                </a:buClr>
                <a:buSzPct val="89000"/>
                <a:buFont typeface="Arial" pitchFamily="34" charset="0"/>
                <a:buChar char="-"/>
                <a:defRPr sz="1600">
                  <a:solidFill>
                    <a:schemeClr val="tx1"/>
                  </a:solidFill>
                  <a:latin typeface="Arial" pitchFamily="34" charset="0"/>
                </a:defRPr>
              </a:lvl7pPr>
              <a:lvl8pPr marL="2117725" indent="-130175" defTabSz="895350" fontAlgn="base">
                <a:spcBef>
                  <a:spcPct val="0"/>
                </a:spcBef>
                <a:spcAft>
                  <a:spcPct val="0"/>
                </a:spcAft>
                <a:buClr>
                  <a:schemeClr val="tx2"/>
                </a:buClr>
                <a:buSzPct val="89000"/>
                <a:buFont typeface="Arial" pitchFamily="34" charset="0"/>
                <a:buChar char="-"/>
                <a:defRPr sz="1600">
                  <a:solidFill>
                    <a:schemeClr val="tx1"/>
                  </a:solidFill>
                  <a:latin typeface="Arial" pitchFamily="34" charset="0"/>
                </a:defRPr>
              </a:lvl8pPr>
              <a:lvl9pPr marL="2574925" indent="-130175" defTabSz="895350" fontAlgn="base">
                <a:spcBef>
                  <a:spcPct val="0"/>
                </a:spcBef>
                <a:spcAft>
                  <a:spcPct val="0"/>
                </a:spcAft>
                <a:buClr>
                  <a:schemeClr val="tx2"/>
                </a:buClr>
                <a:buSzPct val="89000"/>
                <a:buFont typeface="Arial" pitchFamily="34" charset="0"/>
                <a:buChar char="-"/>
                <a:defRPr sz="1600">
                  <a:solidFill>
                    <a:schemeClr val="tx1"/>
                  </a:solidFill>
                  <a:latin typeface="Arial" pitchFamily="34" charset="0"/>
                </a:defRPr>
              </a:lvl9pPr>
            </a:lstStyle>
            <a:p>
              <a:pPr algn="ctr"/>
              <a:r>
                <a:rPr lang="en-US" sz="1300" b="1" dirty="0">
                  <a:solidFill>
                    <a:schemeClr val="accent3"/>
                  </a:solidFill>
                </a:rPr>
                <a:t>Marketing </a:t>
              </a:r>
            </a:p>
            <a:p>
              <a:pPr algn="ctr"/>
              <a:r>
                <a:rPr lang="en-US" sz="1300" b="1" dirty="0">
                  <a:solidFill>
                    <a:schemeClr val="accent3"/>
                  </a:solidFill>
                </a:rPr>
                <a:t>360</a:t>
              </a:r>
            </a:p>
          </p:txBody>
        </p:sp>
      </p:grpSp>
      <p:grpSp>
        <p:nvGrpSpPr>
          <p:cNvPr id="6" name="Group 5">
            <a:extLst>
              <a:ext uri="{FF2B5EF4-FFF2-40B4-BE49-F238E27FC236}">
                <a16:creationId xmlns:a16="http://schemas.microsoft.com/office/drawing/2014/main" id="{4B6DA6B0-3B4E-4401-9F24-27366691EEE5}"/>
              </a:ext>
            </a:extLst>
          </p:cNvPr>
          <p:cNvGrpSpPr/>
          <p:nvPr/>
        </p:nvGrpSpPr>
        <p:grpSpPr>
          <a:xfrm>
            <a:off x="3107857" y="1534016"/>
            <a:ext cx="2640951" cy="1947020"/>
            <a:chOff x="3107857" y="1534016"/>
            <a:chExt cx="2640951" cy="1947020"/>
          </a:xfrm>
        </p:grpSpPr>
        <p:pic>
          <p:nvPicPr>
            <p:cNvPr id="734223" name="Picture 15"/>
            <p:cNvPicPr>
              <a:picLocks noChangeArrowheads="1"/>
            </p:cNvPicPr>
            <p:nvPr/>
          </p:nvPicPr>
          <p:blipFill>
            <a:blip r:embed="rId11">
              <a:extLst>
                <a:ext uri="{28A0092B-C50C-407E-A947-70E740481C1C}">
                  <a14:useLocalDpi xmlns:a14="http://schemas.microsoft.com/office/drawing/2010/main"/>
                </a:ext>
              </a:extLst>
            </a:blip>
            <a:srcRect/>
            <a:stretch>
              <a:fillRect/>
            </a:stretch>
          </p:blipFill>
          <p:spPr bwMode="auto">
            <a:xfrm>
              <a:off x="3107857" y="1534016"/>
              <a:ext cx="2254250" cy="1450133"/>
            </a:xfrm>
            <a:prstGeom prst="rect">
              <a:avLst/>
            </a:prstGeom>
            <a:noFill/>
            <a:ln w="9525" algn="ctr">
              <a:solidFill>
                <a:schemeClr val="accent2"/>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734237" name="Picture 29"/>
            <p:cNvPicPr>
              <a:picLocks noChangeArrowheads="1"/>
            </p:cNvPicPr>
            <p:nvPr/>
          </p:nvPicPr>
          <p:blipFill>
            <a:blip r:embed="rId12" cstate="screen">
              <a:extLst>
                <a:ext uri="{28A0092B-C50C-407E-A947-70E740481C1C}">
                  <a14:useLocalDpi xmlns:a14="http://schemas.microsoft.com/office/drawing/2010/main"/>
                </a:ext>
              </a:extLst>
            </a:blip>
            <a:srcRect/>
            <a:stretch>
              <a:fillRect/>
            </a:stretch>
          </p:blipFill>
          <p:spPr bwMode="auto">
            <a:xfrm>
              <a:off x="3494558" y="2030903"/>
              <a:ext cx="2254250" cy="1450133"/>
            </a:xfrm>
            <a:prstGeom prst="rect">
              <a:avLst/>
            </a:prstGeom>
            <a:noFill/>
            <a:ln w="9525">
              <a:solidFill>
                <a:schemeClr val="accent2"/>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grpSp>
      <p:sp>
        <p:nvSpPr>
          <p:cNvPr id="18" name="Rectangle 18"/>
          <p:cNvSpPr txBox="1">
            <a:spLocks/>
          </p:cNvSpPr>
          <p:nvPr/>
        </p:nvSpPr>
        <p:spPr>
          <a:xfrm>
            <a:off x="3107857" y="5106168"/>
            <a:ext cx="2640951" cy="124034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1">
              <a:spcBef>
                <a:spcPct val="20000"/>
              </a:spcBef>
            </a:pPr>
            <a:r>
              <a:rPr lang="en-US" sz="1300" dirty="0">
                <a:ea typeface="+mn-ea"/>
                <a:cs typeface="+mn-cs"/>
              </a:rPr>
              <a:t>Systematic operational benchmarks relative to “best-in-class practices” across seven key improvement levers</a:t>
            </a:r>
          </a:p>
          <a:p>
            <a:pPr lvl="1">
              <a:spcBef>
                <a:spcPct val="20000"/>
              </a:spcBef>
            </a:pPr>
            <a:r>
              <a:rPr lang="en-US" sz="1300" dirty="0">
                <a:ea typeface="+mn-ea"/>
                <a:cs typeface="+mn-cs"/>
              </a:rPr>
              <a:t>Function-specific assessment and evaluation tools</a:t>
            </a:r>
          </a:p>
        </p:txBody>
      </p:sp>
      <p:sp>
        <p:nvSpPr>
          <p:cNvPr id="49" name="Rectangle 10"/>
          <p:cNvSpPr>
            <a:spLocks noChangeArrowheads="1"/>
          </p:cNvSpPr>
          <p:nvPr/>
        </p:nvSpPr>
        <p:spPr bwMode="gray">
          <a:xfrm>
            <a:off x="119063" y="980422"/>
            <a:ext cx="2794547" cy="452762"/>
          </a:xfrm>
          <a:prstGeom prst="rect">
            <a:avLst/>
          </a:prstGeom>
          <a:solidFill>
            <a:schemeClr val="accent1"/>
          </a:solidFill>
          <a:ln w="9525">
            <a:noFill/>
          </a:ln>
          <a:effectLst/>
          <a:extLst/>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spAutoFit/>
          </a:bodyPr>
          <a:lstStyle/>
          <a:p>
            <a:r>
              <a:rPr lang="en-US" sz="1300" b="1" dirty="0">
                <a:solidFill>
                  <a:schemeClr val="accent3"/>
                </a:solidFill>
                <a:latin typeface="+mn-lt"/>
              </a:rPr>
              <a:t>Efficiency and effectiveness benchmarks</a:t>
            </a:r>
          </a:p>
        </p:txBody>
      </p:sp>
      <p:sp>
        <p:nvSpPr>
          <p:cNvPr id="50" name="Rectangle 12"/>
          <p:cNvSpPr>
            <a:spLocks noChangeArrowheads="1"/>
          </p:cNvSpPr>
          <p:nvPr/>
        </p:nvSpPr>
        <p:spPr bwMode="gray">
          <a:xfrm>
            <a:off x="5943053" y="980422"/>
            <a:ext cx="2794547" cy="452762"/>
          </a:xfrm>
          <a:prstGeom prst="rect">
            <a:avLst/>
          </a:prstGeom>
          <a:solidFill>
            <a:schemeClr val="accent1"/>
          </a:solidFill>
          <a:ln w="9525">
            <a:noFill/>
          </a:ln>
          <a:effectLst/>
          <a:extLst/>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spAutoFit/>
          </a:bodyPr>
          <a:lstStyle/>
          <a:p>
            <a:r>
              <a:rPr lang="en-US" sz="1300" b="1" dirty="0">
                <a:solidFill>
                  <a:schemeClr val="accent3"/>
                </a:solidFill>
                <a:latin typeface="+mn-lt"/>
              </a:rPr>
              <a:t>Standard methodologies, databases, and tools</a:t>
            </a:r>
          </a:p>
        </p:txBody>
      </p:sp>
      <p:sp>
        <p:nvSpPr>
          <p:cNvPr id="51" name="Rectangle 13"/>
          <p:cNvSpPr>
            <a:spLocks noChangeArrowheads="1"/>
          </p:cNvSpPr>
          <p:nvPr/>
        </p:nvSpPr>
        <p:spPr bwMode="gray">
          <a:xfrm>
            <a:off x="3031059" y="980422"/>
            <a:ext cx="2794547" cy="452762"/>
          </a:xfrm>
          <a:prstGeom prst="rect">
            <a:avLst/>
          </a:prstGeom>
          <a:solidFill>
            <a:schemeClr val="accent1"/>
          </a:solidFill>
          <a:ln w="9525">
            <a:noFill/>
          </a:ln>
          <a:effectLst/>
          <a:extLst/>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spAutoFit/>
          </a:bodyPr>
          <a:lstStyle/>
          <a:p>
            <a:r>
              <a:rPr lang="en-US" sz="1300" b="1" dirty="0">
                <a:solidFill>
                  <a:schemeClr val="accent3"/>
                </a:solidFill>
                <a:latin typeface="+mn-lt"/>
              </a:rPr>
              <a:t>Qualitative assessment against best-in-class operating practices</a:t>
            </a:r>
          </a:p>
        </p:txBody>
      </p:sp>
      <p:sp>
        <p:nvSpPr>
          <p:cNvPr id="32" name="Title Tracker Circle">
            <a:extLst>
              <a:ext uri="{FF2B5EF4-FFF2-40B4-BE49-F238E27FC236}">
                <a16:creationId xmlns:a16="http://schemas.microsoft.com/office/drawing/2014/main" id="{0DF9D4F3-F365-4111-BB2C-B4823C7E88B3}"/>
              </a:ext>
            </a:extLst>
          </p:cNvPr>
          <p:cNvSpPr/>
          <p:nvPr/>
        </p:nvSpPr>
        <p:spPr>
          <a:xfrm>
            <a:off x="119063" y="166736"/>
            <a:ext cx="418798" cy="418798"/>
          </a:xfrm>
          <a:prstGeom prst="ellipse">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p>
            <a:pPr algn="ctr"/>
            <a:r>
              <a:rPr lang="en-US" sz="2000" dirty="0">
                <a:solidFill>
                  <a:schemeClr val="tx2"/>
                </a:solidFill>
                <a:latin typeface="+mj-lt"/>
              </a:rPr>
              <a:t>C</a:t>
            </a:r>
          </a:p>
        </p:txBody>
      </p:sp>
      <p:sp>
        <p:nvSpPr>
          <p:cNvPr id="34" name="5. Source">
            <a:extLst>
              <a:ext uri="{FF2B5EF4-FFF2-40B4-BE49-F238E27FC236}">
                <a16:creationId xmlns:a16="http://schemas.microsoft.com/office/drawing/2014/main" id="{5BDFDE2D-049C-4605-880E-2986015066A9}"/>
              </a:ext>
            </a:extLst>
          </p:cNvPr>
          <p:cNvSpPr>
            <a:spLocks noChangeArrowheads="1"/>
          </p:cNvSpPr>
          <p:nvPr/>
        </p:nvSpPr>
        <p:spPr bwMode="auto">
          <a:xfrm>
            <a:off x="119063" y="6507558"/>
            <a:ext cx="7200000" cy="123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marL="609600" indent="-609600" defTabSz="895350">
              <a:tabLst>
                <a:tab pos="612775" algn="l"/>
              </a:tabLst>
            </a:pPr>
            <a:r>
              <a:rPr lang="en-US" sz="800" dirty="0">
                <a:solidFill>
                  <a:schemeClr val="accent6"/>
                </a:solidFill>
                <a:latin typeface="Arial" panose="020B0604020202020204" pitchFamily="34" charset="0"/>
              </a:rPr>
              <a:t>SOURCE: McKinsey</a:t>
            </a:r>
          </a:p>
        </p:txBody>
      </p:sp>
    </p:spTree>
    <p:extLst>
      <p:ext uri="{BB962C8B-B14F-4D97-AF65-F5344CB8AC3E}">
        <p14:creationId xmlns:p14="http://schemas.microsoft.com/office/powerpoint/2010/main" val="2833288483"/>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110726666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5412" name="think-cell Slide" r:id="rId12" imgW="353" imgH="353" progId="TCLayout.ActiveDocument.1">
                  <p:embed/>
                </p:oleObj>
              </mc:Choice>
              <mc:Fallback>
                <p:oleObj name="think-cell Slide" r:id="rId12" imgW="353" imgH="353" progId="TCLayout.ActiveDocument.1">
                  <p:embed/>
                  <p:pic>
                    <p:nvPicPr>
                      <p:cNvPr id="5" name="Object 4" hidden="1"/>
                      <p:cNvPicPr/>
                      <p:nvPr/>
                    </p:nvPicPr>
                    <p:blipFill>
                      <a:blip r:embed="rId13"/>
                      <a:stretch>
                        <a:fillRect/>
                      </a:stretch>
                    </p:blipFill>
                    <p:spPr>
                      <a:xfrm>
                        <a:off x="1588" y="1588"/>
                        <a:ext cx="1587" cy="1587"/>
                      </a:xfrm>
                      <a:prstGeom prst="rect">
                        <a:avLst/>
                      </a:prstGeom>
                    </p:spPr>
                  </p:pic>
                </p:oleObj>
              </mc:Fallback>
            </mc:AlternateContent>
          </a:graphicData>
        </a:graphic>
      </p:graphicFrame>
      <p:sp>
        <p:nvSpPr>
          <p:cNvPr id="4" name="Rectangle 3" hidden="1"/>
          <p:cNvSpPr/>
          <p:nvPr>
            <p:custDataLst>
              <p:tags r:id="rId3"/>
            </p:custDataLst>
          </p:nvPr>
        </p:nvSpPr>
        <p:spPr bwMode="auto">
          <a:xfrm>
            <a:off x="0" y="0"/>
            <a:ext cx="158750" cy="158750"/>
          </a:xfrm>
          <a:prstGeom prst="rect">
            <a:avLst/>
          </a:prstGeom>
          <a:solidFill>
            <a:schemeClr val="bg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2800" dirty="0">
              <a:solidFill>
                <a:schemeClr val="tx1"/>
              </a:solidFill>
              <a:latin typeface="Arial" panose="020B0604020202020204" pitchFamily="34" charset="0"/>
              <a:sym typeface="Arial" panose="020B0604020202020204" pitchFamily="34" charset="0"/>
            </a:endParaRPr>
          </a:p>
        </p:txBody>
      </p:sp>
      <p:sp>
        <p:nvSpPr>
          <p:cNvPr id="2" name="Title 1"/>
          <p:cNvSpPr>
            <a:spLocks noGrp="1"/>
          </p:cNvSpPr>
          <p:nvPr>
            <p:ph type="title"/>
          </p:nvPr>
        </p:nvSpPr>
        <p:spPr bwMode="black">
          <a:xfrm>
            <a:off x="119063" y="230188"/>
            <a:ext cx="8618537" cy="307777"/>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r>
              <a:rPr lang="en-US" dirty="0"/>
              <a:t>Contents</a:t>
            </a:r>
          </a:p>
        </p:txBody>
      </p:sp>
      <p:sp>
        <p:nvSpPr>
          <p:cNvPr id="34" name="Text Placeholder 2">
            <a:hlinkClick r:id="rId14" action="ppaction://hlinksldjump"/>
            <a:extLst>
              <a:ext uri="{FF2B5EF4-FFF2-40B4-BE49-F238E27FC236}">
                <a16:creationId xmlns:a16="http://schemas.microsoft.com/office/drawing/2014/main" id="{94611C2E-F296-44EE-8551-A8B9D432B6BF}"/>
              </a:ext>
            </a:extLst>
          </p:cNvPr>
          <p:cNvSpPr>
            <a:spLocks noGrp="1"/>
          </p:cNvSpPr>
          <p:nvPr>
            <p:custDataLst>
              <p:tags r:id="rId4"/>
            </p:custDataLst>
          </p:nvPr>
        </p:nvSpPr>
        <p:spPr bwMode="black">
          <a:xfrm>
            <a:off x="125403" y="1225550"/>
            <a:ext cx="6842125" cy="712788"/>
          </a:xfrm>
          <a:prstGeom prst="rect">
            <a:avLst/>
          </a:prstGeom>
          <a:noFill/>
          <a:ln w="9525">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bg2"/>
                </a:solidFill>
              </a14:hiddenLine>
            </a:ext>
          </a:extLst>
        </p:spPr>
        <p:txBody>
          <a:bodyPr vert="horz" wrap="square" lIns="142875" tIns="142875" rIns="0" bIns="142875" numCol="1" spcCol="0" rtlCol="0" anchor="ctr" anchorCtr="0">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buClr>
                <a:schemeClr val="bg1"/>
              </a:buClr>
            </a:pPr>
            <a:r>
              <a:rPr lang="en-US" sz="2800" dirty="0">
                <a:solidFill>
                  <a:schemeClr val="bg1"/>
                </a:solidFill>
                <a:sym typeface="+mn-lt"/>
              </a:rPr>
              <a:t>1. Integration expertise</a:t>
            </a:r>
          </a:p>
        </p:txBody>
      </p:sp>
      <p:sp>
        <p:nvSpPr>
          <p:cNvPr id="13" name="Text Placeholder 2">
            <a:hlinkClick r:id="rId15" action="ppaction://hlinksldjump"/>
            <a:extLst>
              <a:ext uri="{FF2B5EF4-FFF2-40B4-BE49-F238E27FC236}">
                <a16:creationId xmlns:a16="http://schemas.microsoft.com/office/drawing/2014/main" id="{A39F7B2D-2A4C-4027-82A5-4509FF6D59E9}"/>
              </a:ext>
            </a:extLst>
          </p:cNvPr>
          <p:cNvSpPr>
            <a:spLocks noGrp="1"/>
          </p:cNvSpPr>
          <p:nvPr>
            <p:custDataLst>
              <p:tags r:id="rId5"/>
            </p:custDataLst>
          </p:nvPr>
        </p:nvSpPr>
        <p:spPr bwMode="black">
          <a:xfrm>
            <a:off x="125413" y="1938338"/>
            <a:ext cx="6842125" cy="711200"/>
          </a:xfrm>
          <a:prstGeom prst="rect">
            <a:avLst/>
          </a:prstGeom>
          <a:noFill/>
          <a:ln w="9525">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bg2"/>
                </a:solidFill>
              </a14:hiddenLine>
            </a:ext>
          </a:extLst>
        </p:spPr>
        <p:txBody>
          <a:bodyPr vert="horz" wrap="square" lIns="142875" tIns="141288" rIns="0" bIns="142875" numCol="1" spcCol="0" rtlCol="0" anchor="ctr" anchorCtr="0">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defTabSz="914400">
              <a:buClr>
                <a:schemeClr val="bg1"/>
              </a:buClr>
            </a:pPr>
            <a:r>
              <a:rPr lang="en-US" altLang="en-US" sz="2800" dirty="0">
                <a:solidFill>
                  <a:schemeClr val="bg1"/>
                </a:solidFill>
              </a:rPr>
              <a:t>2. Lessons &amp; tools</a:t>
            </a:r>
            <a:endParaRPr lang="en-US" sz="2800" dirty="0">
              <a:solidFill>
                <a:schemeClr val="bg1"/>
              </a:solidFill>
              <a:latin typeface="Arial" charset="0"/>
              <a:sym typeface="+mn-lt"/>
            </a:endParaRPr>
          </a:p>
        </p:txBody>
      </p:sp>
      <p:sp>
        <p:nvSpPr>
          <p:cNvPr id="16" name="Text Placeholder 2">
            <a:hlinkClick r:id="rId16" action="ppaction://hlinksldjump"/>
            <a:extLst>
              <a:ext uri="{FF2B5EF4-FFF2-40B4-BE49-F238E27FC236}">
                <a16:creationId xmlns:a16="http://schemas.microsoft.com/office/drawing/2014/main" id="{66B13BA2-AA16-4175-A6DD-6D9D2387559F}"/>
              </a:ext>
            </a:extLst>
          </p:cNvPr>
          <p:cNvSpPr>
            <a:spLocks noGrp="1"/>
          </p:cNvSpPr>
          <p:nvPr>
            <p:custDataLst>
              <p:tags r:id="rId6"/>
            </p:custDataLst>
          </p:nvPr>
        </p:nvSpPr>
        <p:spPr bwMode="black">
          <a:xfrm>
            <a:off x="125413" y="2649538"/>
            <a:ext cx="6842125" cy="711200"/>
          </a:xfrm>
          <a:prstGeom prst="rect">
            <a:avLst/>
          </a:prstGeom>
          <a:noFill/>
          <a:ln w="9525">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bg2"/>
                </a:solidFill>
              </a14:hiddenLine>
            </a:ext>
          </a:extLst>
        </p:spPr>
        <p:txBody>
          <a:bodyPr vert="horz" wrap="square" lIns="142875" tIns="141288" rIns="0" bIns="142875" numCol="1" spcCol="0" rtlCol="0" anchor="ctr" anchorCtr="0">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defTabSz="914400">
              <a:buClr>
                <a:schemeClr val="bg1"/>
              </a:buClr>
            </a:pPr>
            <a:r>
              <a:rPr lang="en-US" altLang="en-US" sz="2800" dirty="0">
                <a:solidFill>
                  <a:schemeClr val="bg1"/>
                </a:solidFill>
              </a:rPr>
              <a:t>3. Distinctive team</a:t>
            </a:r>
            <a:endParaRPr lang="en-US" sz="2800" dirty="0">
              <a:solidFill>
                <a:schemeClr val="bg1"/>
              </a:solidFill>
              <a:latin typeface="Arial" charset="0"/>
              <a:sym typeface="+mn-lt"/>
            </a:endParaRPr>
          </a:p>
        </p:txBody>
      </p:sp>
      <p:sp>
        <p:nvSpPr>
          <p:cNvPr id="17" name="Text Placeholder 2">
            <a:hlinkClick r:id="rId17" action="ppaction://hlinksldjump"/>
            <a:extLst>
              <a:ext uri="{FF2B5EF4-FFF2-40B4-BE49-F238E27FC236}">
                <a16:creationId xmlns:a16="http://schemas.microsoft.com/office/drawing/2014/main" id="{36C32D6D-3500-43E6-A5C2-476EC8B4E466}"/>
              </a:ext>
            </a:extLst>
          </p:cNvPr>
          <p:cNvSpPr>
            <a:spLocks noGrp="1"/>
          </p:cNvSpPr>
          <p:nvPr>
            <p:custDataLst>
              <p:tags r:id="rId7"/>
            </p:custDataLst>
          </p:nvPr>
        </p:nvSpPr>
        <p:spPr bwMode="black">
          <a:xfrm>
            <a:off x="125412" y="3360738"/>
            <a:ext cx="6842125" cy="711200"/>
          </a:xfrm>
          <a:prstGeom prst="rect">
            <a:avLst/>
          </a:prstGeom>
          <a:noFill/>
          <a:ln w="9525">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bg2"/>
                </a:solidFill>
              </a14:hiddenLine>
            </a:ext>
          </a:extLst>
        </p:spPr>
        <p:txBody>
          <a:bodyPr vert="horz" wrap="square" lIns="142875" tIns="142875" rIns="0" bIns="141288" numCol="1" spcCol="0" rtlCol="0" anchor="ctr" anchorCtr="0">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defTabSz="914400">
              <a:buClr>
                <a:schemeClr val="bg1"/>
              </a:buClr>
            </a:pPr>
            <a:r>
              <a:rPr lang="en-US" altLang="en-US" sz="2800" dirty="0">
                <a:solidFill>
                  <a:schemeClr val="bg1"/>
                </a:solidFill>
              </a:rPr>
              <a:t>4. Turnaround experience &amp; methodology</a:t>
            </a:r>
            <a:endParaRPr lang="en-US" sz="2800" dirty="0">
              <a:solidFill>
                <a:schemeClr val="bg1"/>
              </a:solidFill>
              <a:latin typeface="Arial" charset="0"/>
              <a:sym typeface="+mn-lt"/>
            </a:endParaRPr>
          </a:p>
        </p:txBody>
      </p:sp>
      <p:sp>
        <p:nvSpPr>
          <p:cNvPr id="15" name="Text Placeholder 2">
            <a:hlinkClick r:id="rId18" action="ppaction://hlinksldjump"/>
            <a:extLst>
              <a:ext uri="{FF2B5EF4-FFF2-40B4-BE49-F238E27FC236}">
                <a16:creationId xmlns:a16="http://schemas.microsoft.com/office/drawing/2014/main" id="{E247009E-122E-41F2-B7BA-92EC1E6AF3C1}"/>
              </a:ext>
            </a:extLst>
          </p:cNvPr>
          <p:cNvSpPr>
            <a:spLocks noGrp="1"/>
          </p:cNvSpPr>
          <p:nvPr>
            <p:custDataLst>
              <p:tags r:id="rId8"/>
            </p:custDataLst>
          </p:nvPr>
        </p:nvSpPr>
        <p:spPr bwMode="black">
          <a:xfrm>
            <a:off x="125412" y="4071938"/>
            <a:ext cx="6842125" cy="711200"/>
          </a:xfrm>
          <a:prstGeom prst="rect">
            <a:avLst/>
          </a:prstGeom>
          <a:noFill/>
          <a:ln w="9525">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bg2"/>
                </a:solidFill>
              </a14:hiddenLine>
            </a:ext>
          </a:extLst>
        </p:spPr>
        <p:txBody>
          <a:bodyPr vert="horz" wrap="square" lIns="142875" tIns="142875" rIns="0" bIns="141288" numCol="1" spcCol="0" rtlCol="0" anchor="ctr" anchorCtr="0">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defTabSz="914400">
              <a:buClr>
                <a:schemeClr val="bg1"/>
              </a:buClr>
            </a:pPr>
            <a:r>
              <a:rPr lang="en-US" altLang="en-US" sz="2800" dirty="0">
                <a:solidFill>
                  <a:schemeClr val="bg1"/>
                </a:solidFill>
              </a:rPr>
              <a:t>5. Functional depth</a:t>
            </a:r>
            <a:endParaRPr lang="en-US" sz="2800" dirty="0">
              <a:solidFill>
                <a:schemeClr val="bg1"/>
              </a:solidFill>
              <a:latin typeface="Arial" charset="0"/>
              <a:sym typeface="+mn-lt"/>
            </a:endParaRPr>
          </a:p>
        </p:txBody>
      </p:sp>
      <p:sp>
        <p:nvSpPr>
          <p:cNvPr id="18" name="Text Placeholder 2">
            <a:extLst>
              <a:ext uri="{FF2B5EF4-FFF2-40B4-BE49-F238E27FC236}">
                <a16:creationId xmlns:a16="http://schemas.microsoft.com/office/drawing/2014/main" id="{B53A022A-448F-45CA-ADE9-94D815886D97}"/>
              </a:ext>
            </a:extLst>
          </p:cNvPr>
          <p:cNvSpPr>
            <a:spLocks noGrp="1"/>
          </p:cNvSpPr>
          <p:nvPr>
            <p:custDataLst>
              <p:tags r:id="rId9"/>
            </p:custDataLst>
          </p:nvPr>
        </p:nvSpPr>
        <p:spPr bwMode="black">
          <a:xfrm>
            <a:off x="125412" y="4783138"/>
            <a:ext cx="6842125" cy="712788"/>
          </a:xfrm>
          <a:prstGeom prst="rect">
            <a:avLst/>
          </a:prstGeom>
          <a:noFill/>
          <a:ln w="9525">
            <a:solidFill>
              <a:schemeClr val="bg2"/>
            </a:solidFill>
          </a:ln>
          <a:extLst>
            <a:ext uri="{909E8E84-426E-40DD-AFC4-6F175D3DCCD1}">
              <a14:hiddenFill xmlns:a14="http://schemas.microsoft.com/office/drawing/2010/main">
                <a:solidFill>
                  <a:schemeClr val="accent1"/>
                </a:solidFill>
              </a14:hiddenFill>
            </a:ext>
          </a:extLst>
        </p:spPr>
        <p:txBody>
          <a:bodyPr vert="horz" wrap="square" lIns="142875" tIns="142875" rIns="0" bIns="142875" numCol="1" spcCol="0" rtlCol="0" anchor="ctr" anchorCtr="0">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defTabSz="914400">
              <a:buClr>
                <a:schemeClr val="bg1"/>
              </a:buClr>
            </a:pPr>
            <a:r>
              <a:rPr lang="en-US" altLang="en-US" sz="2800" dirty="0">
                <a:solidFill>
                  <a:schemeClr val="bg1"/>
                </a:solidFill>
              </a:rPr>
              <a:t>6. Industry expertise</a:t>
            </a:r>
            <a:endParaRPr lang="en-US" sz="2800" dirty="0">
              <a:solidFill>
                <a:schemeClr val="bg1"/>
              </a:solidFill>
              <a:latin typeface="Arial" charset="0"/>
              <a:sym typeface="+mn-lt"/>
            </a:endParaRPr>
          </a:p>
        </p:txBody>
      </p:sp>
    </p:spTree>
    <p:extLst>
      <p:ext uri="{BB962C8B-B14F-4D97-AF65-F5344CB8AC3E}">
        <p14:creationId xmlns:p14="http://schemas.microsoft.com/office/powerpoint/2010/main" val="749443495"/>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95779" name="Rectangle 3" hidden="1"/>
          <p:cNvGraphicFramePr>
            <a:graphicFrameLocks/>
          </p:cNvGraphicFramePr>
          <p:nvPr>
            <p:custDataLst>
              <p:tags r:id="rId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16436" name="think-cell Slide" r:id="rId9" imgW="0" imgH="0" progId="TCLayout.ActiveDocument.1">
                  <p:embed/>
                </p:oleObj>
              </mc:Choice>
              <mc:Fallback>
                <p:oleObj name="think-cell Slide" r:id="rId9" imgW="0" imgH="0" progId="TCLayout.ActiveDocument.1">
                  <p:embed/>
                  <p:pic>
                    <p:nvPicPr>
                      <p:cNvPr id="1995779" name="Rectangle 3"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gray">
                      <a:xfrm>
                        <a:off x="0" y="0"/>
                        <a:ext cx="158750" cy="15875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134" name="4. Footnote"/>
          <p:cNvSpPr txBox="1">
            <a:spLocks noChangeArrowheads="1"/>
          </p:cNvSpPr>
          <p:nvPr/>
        </p:nvSpPr>
        <p:spPr bwMode="gray">
          <a:xfrm>
            <a:off x="119063" y="6305945"/>
            <a:ext cx="8618537" cy="123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defPPr>
              <a:defRPr lang="en-US"/>
            </a:defPPr>
            <a:lvl1pPr marL="104775" indent="-104775" defTabSz="895350">
              <a:defRPr sz="800" baseline="0">
                <a:solidFill>
                  <a:schemeClr val="accent6"/>
                </a:solidFill>
                <a:latin typeface="+mn-lt"/>
              </a:defRPr>
            </a:lvl1pPr>
            <a:lvl2pPr marL="1031875" defTabSz="895350">
              <a:defRPr sz="2400"/>
            </a:lvl2pPr>
            <a:lvl3pPr marL="1217613" defTabSz="895350">
              <a:defRPr sz="2400"/>
            </a:lvl3pPr>
            <a:lvl4pPr marL="1404938" defTabSz="895350">
              <a:defRPr sz="2400"/>
            </a:lvl4pPr>
            <a:lvl5pPr marL="1792288" defTabSz="895350">
              <a:defRPr sz="2400"/>
            </a:lvl5pPr>
            <a:lvl6pPr marL="2249488" defTabSz="895350" fontAlgn="base">
              <a:spcBef>
                <a:spcPct val="0"/>
              </a:spcBef>
              <a:spcAft>
                <a:spcPct val="0"/>
              </a:spcAft>
              <a:defRPr sz="2400"/>
            </a:lvl6pPr>
            <a:lvl7pPr marL="2706688" defTabSz="895350" fontAlgn="base">
              <a:spcBef>
                <a:spcPct val="0"/>
              </a:spcBef>
              <a:spcAft>
                <a:spcPct val="0"/>
              </a:spcAft>
              <a:defRPr sz="2400"/>
            </a:lvl7pPr>
            <a:lvl8pPr marL="3163888" defTabSz="895350" fontAlgn="base">
              <a:spcBef>
                <a:spcPct val="0"/>
              </a:spcBef>
              <a:spcAft>
                <a:spcPct val="0"/>
              </a:spcAft>
              <a:defRPr sz="2400"/>
            </a:lvl8pPr>
            <a:lvl9pPr marL="3621088" defTabSz="895350" fontAlgn="base">
              <a:spcBef>
                <a:spcPct val="0"/>
              </a:spcBef>
              <a:spcAft>
                <a:spcPct val="0"/>
              </a:spcAft>
              <a:defRPr sz="2400"/>
            </a:lvl9pPr>
          </a:lstStyle>
          <a:p>
            <a:r>
              <a:rPr lang="en-US" dirty="0">
                <a:latin typeface="Arial" panose="020B0604020202020204" pitchFamily="34" charset="0"/>
              </a:rPr>
              <a:t>1 2012-2017</a:t>
            </a:r>
          </a:p>
        </p:txBody>
      </p:sp>
      <p:sp>
        <p:nvSpPr>
          <p:cNvPr id="6" name="Title 5"/>
          <p:cNvSpPr>
            <a:spLocks noGrp="1"/>
          </p:cNvSpPr>
          <p:nvPr>
            <p:ph type="title"/>
          </p:nvPr>
        </p:nvSpPr>
        <p:spPr>
          <a:xfrm>
            <a:off x="119063" y="230188"/>
            <a:ext cx="8618537" cy="307777"/>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r>
              <a:rPr lang="en-US" dirty="0"/>
              <a:t>McKinsey’s steel practice is largest amongst its competitors</a:t>
            </a:r>
            <a:endParaRPr lang="en-GB" dirty="0"/>
          </a:p>
        </p:txBody>
      </p:sp>
      <p:grpSp>
        <p:nvGrpSpPr>
          <p:cNvPr id="4" name="sticker"/>
          <p:cNvGrpSpPr/>
          <p:nvPr/>
        </p:nvGrpSpPr>
        <p:grpSpPr>
          <a:xfrm>
            <a:off x="7812219" y="285750"/>
            <a:ext cx="925382" cy="150811"/>
            <a:chOff x="5200675" y="285750"/>
            <a:chExt cx="3536925" cy="150811"/>
          </a:xfrm>
        </p:grpSpPr>
        <p:sp>
          <p:nvSpPr>
            <p:cNvPr id="102" name="StickerRectangle"/>
            <p:cNvSpPr>
              <a:spLocks noChangeArrowheads="1"/>
            </p:cNvSpPr>
            <p:nvPr/>
          </p:nvSpPr>
          <p:spPr bwMode="gray">
            <a:xfrm>
              <a:off x="6928455" y="285750"/>
              <a:ext cx="1809145" cy="150811"/>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a:buClr>
                  <a:srgbClr val="002960"/>
                </a:buClr>
              </a:pPr>
              <a:r>
                <a:rPr lang="en-US" sz="800">
                  <a:solidFill>
                    <a:schemeClr val="accent6"/>
                  </a:solidFill>
                  <a:latin typeface="+mn-lt"/>
                </a:rPr>
                <a:t>NOT EXHAUSTIVE</a:t>
              </a:r>
              <a:endParaRPr lang="en-US" sz="800" dirty="0">
                <a:solidFill>
                  <a:schemeClr val="accent6"/>
                </a:solidFill>
                <a:latin typeface="+mn-lt"/>
              </a:endParaRPr>
            </a:p>
          </p:txBody>
        </p:sp>
        <p:cxnSp>
          <p:nvCxnSpPr>
            <p:cNvPr id="104" name="AutoShape 31"/>
            <p:cNvCxnSpPr>
              <a:cxnSpLocks noChangeShapeType="1"/>
              <a:stCxn id="102" idx="2"/>
              <a:endCxn id="102" idx="4"/>
            </p:cNvCxnSpPr>
            <p:nvPr/>
          </p:nvCxnSpPr>
          <p:spPr bwMode="gray">
            <a:xfrm>
              <a:off x="5200675" y="285750"/>
              <a:ext cx="0" cy="150811"/>
            </a:xfrm>
            <a:prstGeom prst="straightConnector1">
              <a:avLst/>
            </a:prstGeom>
            <a:noFill/>
            <a:ln w="9525">
              <a:solidFill>
                <a:schemeClr val="accent6"/>
              </a:solidFill>
              <a:round/>
              <a:headEnd/>
              <a:tailEnd/>
            </a:ln>
            <a:extLst>
              <a:ext uri="{909E8E84-426E-40DD-AFC4-6F175D3DCCD1}">
                <a14:hiddenFill xmlns:a14="http://schemas.microsoft.com/office/drawing/2010/main">
                  <a:noFill/>
                </a14:hiddenFill>
              </a:ext>
            </a:extLst>
          </p:spPr>
        </p:cxnSp>
        <p:cxnSp>
          <p:nvCxnSpPr>
            <p:cNvPr id="105" name="AutoShape 32"/>
            <p:cNvCxnSpPr>
              <a:cxnSpLocks noChangeShapeType="1"/>
              <a:stCxn id="102" idx="4"/>
              <a:endCxn id="102" idx="6"/>
            </p:cNvCxnSpPr>
            <p:nvPr/>
          </p:nvCxnSpPr>
          <p:spPr bwMode="gray">
            <a:xfrm>
              <a:off x="5200675" y="436561"/>
              <a:ext cx="3536925" cy="0"/>
            </a:xfrm>
            <a:prstGeom prst="straightConnector1">
              <a:avLst/>
            </a:prstGeom>
            <a:noFill/>
            <a:ln w="25400">
              <a:solidFill>
                <a:schemeClr val="accent6"/>
              </a:solidFill>
              <a:round/>
              <a:headEnd/>
              <a:tailEnd/>
            </a:ln>
            <a:extLst>
              <a:ext uri="{909E8E84-426E-40DD-AFC4-6F175D3DCCD1}">
                <a14:hiddenFill xmlns:a14="http://schemas.microsoft.com/office/drawing/2010/main">
                  <a:noFill/>
                </a14:hiddenFill>
              </a:ext>
            </a:extLst>
          </p:spPr>
        </p:cxnSp>
      </p:grpSp>
      <p:sp>
        <p:nvSpPr>
          <p:cNvPr id="138" name="Rectangle 5"/>
          <p:cNvSpPr>
            <a:spLocks noChangeArrowheads="1"/>
          </p:cNvSpPr>
          <p:nvPr/>
        </p:nvSpPr>
        <p:spPr bwMode="gray">
          <a:xfrm>
            <a:off x="171451" y="660638"/>
            <a:ext cx="8618537" cy="5522634"/>
          </a:xfrm>
          <a:prstGeom prst="rect">
            <a:avLst/>
          </a:prstGeom>
          <a:solidFill>
            <a:schemeClr val="bg1"/>
          </a:solidFill>
          <a:ln w="19050">
            <a:solidFill>
              <a:schemeClr val="accent2"/>
            </a:solidFill>
          </a:ln>
          <a:extLst/>
        </p:spPr>
        <p:txBody>
          <a:bodyPr vert="horz" lIns="76200" tIns="76200" rIns="76200" bIns="76200" rtlCol="0" anchor="t" anchorCtr="0">
            <a:noAutofit/>
          </a:bodyPr>
          <a:lstStyle/>
          <a:p>
            <a:pPr defTabSz="895350">
              <a:buClr>
                <a:schemeClr val="tx2"/>
              </a:buClr>
            </a:pPr>
            <a:endParaRPr lang="en-US" sz="800" dirty="0">
              <a:latin typeface="+mn-lt"/>
            </a:endParaRPr>
          </a:p>
        </p:txBody>
      </p:sp>
      <p:sp>
        <p:nvSpPr>
          <p:cNvPr id="120" name="AutoShape 250"/>
          <p:cNvSpPr>
            <a:spLocks noChangeArrowheads="1"/>
          </p:cNvSpPr>
          <p:nvPr/>
        </p:nvSpPr>
        <p:spPr bwMode="gray">
          <a:xfrm>
            <a:off x="476116" y="736740"/>
            <a:ext cx="932345" cy="141577"/>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18288" anchor="b">
            <a:spAutoFit/>
          </a:bodyPr>
          <a:lstStyle/>
          <a:p>
            <a:r>
              <a:rPr lang="en-US" sz="800" b="1" dirty="0">
                <a:solidFill>
                  <a:schemeClr val="accent3"/>
                </a:solidFill>
                <a:latin typeface="+mn-lt"/>
              </a:rPr>
              <a:t>Clients served</a:t>
            </a:r>
            <a:r>
              <a:rPr lang="en-US" sz="800" b="1" baseline="30000" dirty="0">
                <a:solidFill>
                  <a:schemeClr val="accent3"/>
                </a:solidFill>
                <a:latin typeface="+mn-lt"/>
              </a:rPr>
              <a:t>1</a:t>
            </a:r>
          </a:p>
        </p:txBody>
      </p:sp>
      <p:sp>
        <p:nvSpPr>
          <p:cNvPr id="133" name="Rectangle 5"/>
          <p:cNvSpPr txBox="1">
            <a:spLocks noChangeArrowheads="1"/>
          </p:cNvSpPr>
          <p:nvPr>
            <p:custDataLst>
              <p:tags r:id="rId3"/>
            </p:custDataLst>
          </p:nvPr>
        </p:nvSpPr>
        <p:spPr bwMode="gray">
          <a:xfrm>
            <a:off x="476116" y="4518547"/>
            <a:ext cx="932345" cy="1596461"/>
          </a:xfrm>
          <a:prstGeom prst="rect">
            <a:avLst/>
          </a:prstGeom>
          <a:solidFill>
            <a:schemeClr val="accent2"/>
          </a:solidFill>
          <a:ln w="9525">
            <a:noFill/>
            <a:miter lim="800000"/>
            <a:headEnd/>
            <a:tailEnd/>
          </a:ln>
          <a:effectLst/>
          <a:extLst/>
        </p:spPr>
        <p:txBody>
          <a:bodyPr vert="horz" wrap="square" lIns="365760" tIns="72009" rIns="72009" bIns="72009" numCol="1" anchor="ctr" anchorCtr="0" compatLnSpc="1">
            <a:prstTxWarp prst="textNoShape">
              <a:avLst/>
            </a:prstTxWarp>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defTabSz="1019175"/>
            <a:r>
              <a:rPr lang="en-US" sz="800" b="1" dirty="0">
                <a:solidFill>
                  <a:schemeClr val="bg1"/>
                </a:solidFill>
              </a:rPr>
              <a:t>Served 7 out of top 10 largest mining houses globally</a:t>
            </a:r>
            <a:endParaRPr lang="en-US" sz="800" i="1" dirty="0">
              <a:solidFill>
                <a:schemeClr val="bg1"/>
              </a:solidFill>
            </a:endParaRPr>
          </a:p>
        </p:txBody>
      </p:sp>
      <p:cxnSp>
        <p:nvCxnSpPr>
          <p:cNvPr id="107" name="Straight Connector 106"/>
          <p:cNvCxnSpPr>
            <a:cxnSpLocks/>
          </p:cNvCxnSpPr>
          <p:nvPr/>
        </p:nvCxnSpPr>
        <p:spPr bwMode="gray">
          <a:xfrm>
            <a:off x="476116" y="2623029"/>
            <a:ext cx="8238473" cy="0"/>
          </a:xfrm>
          <a:prstGeom prst="line">
            <a:avLst/>
          </a:prstGeom>
          <a:ln w="19050">
            <a:solidFill>
              <a:schemeClr val="accent6"/>
            </a:solidFill>
            <a:prstDash val="sysDot"/>
          </a:ln>
        </p:spPr>
        <p:style>
          <a:lnRef idx="1">
            <a:schemeClr val="accent1"/>
          </a:lnRef>
          <a:fillRef idx="0">
            <a:schemeClr val="accent1"/>
          </a:fillRef>
          <a:effectRef idx="0">
            <a:schemeClr val="accent1"/>
          </a:effectRef>
          <a:fontRef idx="minor">
            <a:schemeClr val="tx1"/>
          </a:fontRef>
        </p:style>
      </p:cxnSp>
      <p:grpSp>
        <p:nvGrpSpPr>
          <p:cNvPr id="26" name="Group 25"/>
          <p:cNvGrpSpPr/>
          <p:nvPr/>
        </p:nvGrpSpPr>
        <p:grpSpPr>
          <a:xfrm>
            <a:off x="255814" y="5042721"/>
            <a:ext cx="548112" cy="548112"/>
            <a:chOff x="253645" y="5506136"/>
            <a:chExt cx="548112" cy="548112"/>
          </a:xfrm>
        </p:grpSpPr>
        <p:sp>
          <p:nvSpPr>
            <p:cNvPr id="188" name="Oval 18"/>
            <p:cNvSpPr>
              <a:spLocks noChangeArrowheads="1"/>
            </p:cNvSpPr>
            <p:nvPr>
              <p:custDataLst>
                <p:tags r:id="rId6"/>
              </p:custDataLst>
            </p:nvPr>
          </p:nvSpPr>
          <p:spPr bwMode="gray">
            <a:xfrm>
              <a:off x="253645" y="5506136"/>
              <a:ext cx="548112" cy="548112"/>
            </a:xfrm>
            <a:prstGeom prst="ellipse">
              <a:avLst/>
            </a:prstGeom>
            <a:solidFill>
              <a:schemeClr val="accent3"/>
            </a:solidFill>
            <a:ln w="9525">
              <a:noFill/>
            </a:ln>
            <a:effectLst>
              <a:outerShdw blurRad="63500" dist="12700" algn="tl" rotWithShape="0">
                <a:prstClr val="black">
                  <a:alpha val="40000"/>
                </a:prstClr>
              </a:outerShdw>
            </a:effectLs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800"/>
            </a:p>
          </p:txBody>
        </p:sp>
        <p:sp>
          <p:nvSpPr>
            <p:cNvPr id="190" name="Freeform 458"/>
            <p:cNvSpPr>
              <a:spLocks/>
            </p:cNvSpPr>
            <p:nvPr/>
          </p:nvSpPr>
          <p:spPr bwMode="gray">
            <a:xfrm>
              <a:off x="443525" y="5891794"/>
              <a:ext cx="56418" cy="56418"/>
            </a:xfrm>
            <a:custGeom>
              <a:avLst/>
              <a:gdLst>
                <a:gd name="T0" fmla="*/ 121 w 243"/>
                <a:gd name="T1" fmla="*/ 243 h 243"/>
                <a:gd name="T2" fmla="*/ 145 w 243"/>
                <a:gd name="T3" fmla="*/ 241 h 243"/>
                <a:gd name="T4" fmla="*/ 168 w 243"/>
                <a:gd name="T5" fmla="*/ 234 h 243"/>
                <a:gd name="T6" fmla="*/ 189 w 243"/>
                <a:gd name="T7" fmla="*/ 222 h 243"/>
                <a:gd name="T8" fmla="*/ 207 w 243"/>
                <a:gd name="T9" fmla="*/ 207 h 243"/>
                <a:gd name="T10" fmla="*/ 222 w 243"/>
                <a:gd name="T11" fmla="*/ 189 h 243"/>
                <a:gd name="T12" fmla="*/ 234 w 243"/>
                <a:gd name="T13" fmla="*/ 168 h 243"/>
                <a:gd name="T14" fmla="*/ 241 w 243"/>
                <a:gd name="T15" fmla="*/ 145 h 243"/>
                <a:gd name="T16" fmla="*/ 243 w 243"/>
                <a:gd name="T17" fmla="*/ 121 h 243"/>
                <a:gd name="T18" fmla="*/ 241 w 243"/>
                <a:gd name="T19" fmla="*/ 97 h 243"/>
                <a:gd name="T20" fmla="*/ 234 w 243"/>
                <a:gd name="T21" fmla="*/ 74 h 243"/>
                <a:gd name="T22" fmla="*/ 222 w 243"/>
                <a:gd name="T23" fmla="*/ 53 h 243"/>
                <a:gd name="T24" fmla="*/ 207 w 243"/>
                <a:gd name="T25" fmla="*/ 36 h 243"/>
                <a:gd name="T26" fmla="*/ 189 w 243"/>
                <a:gd name="T27" fmla="*/ 21 h 243"/>
                <a:gd name="T28" fmla="*/ 168 w 243"/>
                <a:gd name="T29" fmla="*/ 9 h 243"/>
                <a:gd name="T30" fmla="*/ 145 w 243"/>
                <a:gd name="T31" fmla="*/ 2 h 243"/>
                <a:gd name="T32" fmla="*/ 121 w 243"/>
                <a:gd name="T33" fmla="*/ 0 h 243"/>
                <a:gd name="T34" fmla="*/ 97 w 243"/>
                <a:gd name="T35" fmla="*/ 2 h 243"/>
                <a:gd name="T36" fmla="*/ 74 w 243"/>
                <a:gd name="T37" fmla="*/ 9 h 243"/>
                <a:gd name="T38" fmla="*/ 53 w 243"/>
                <a:gd name="T39" fmla="*/ 21 h 243"/>
                <a:gd name="T40" fmla="*/ 36 w 243"/>
                <a:gd name="T41" fmla="*/ 36 h 243"/>
                <a:gd name="T42" fmla="*/ 21 w 243"/>
                <a:gd name="T43" fmla="*/ 53 h 243"/>
                <a:gd name="T44" fmla="*/ 9 w 243"/>
                <a:gd name="T45" fmla="*/ 74 h 243"/>
                <a:gd name="T46" fmla="*/ 2 w 243"/>
                <a:gd name="T47" fmla="*/ 97 h 243"/>
                <a:gd name="T48" fmla="*/ 0 w 243"/>
                <a:gd name="T49" fmla="*/ 121 h 243"/>
                <a:gd name="T50" fmla="*/ 2 w 243"/>
                <a:gd name="T51" fmla="*/ 145 h 243"/>
                <a:gd name="T52" fmla="*/ 9 w 243"/>
                <a:gd name="T53" fmla="*/ 168 h 243"/>
                <a:gd name="T54" fmla="*/ 21 w 243"/>
                <a:gd name="T55" fmla="*/ 189 h 243"/>
                <a:gd name="T56" fmla="*/ 36 w 243"/>
                <a:gd name="T57" fmla="*/ 207 h 243"/>
                <a:gd name="T58" fmla="*/ 53 w 243"/>
                <a:gd name="T59" fmla="*/ 222 h 243"/>
                <a:gd name="T60" fmla="*/ 74 w 243"/>
                <a:gd name="T61" fmla="*/ 234 h 243"/>
                <a:gd name="T62" fmla="*/ 97 w 243"/>
                <a:gd name="T63" fmla="*/ 241 h 243"/>
                <a:gd name="T64" fmla="*/ 121 w 243"/>
                <a:gd name="T65" fmla="*/ 243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43" h="243">
                  <a:moveTo>
                    <a:pt x="121" y="243"/>
                  </a:moveTo>
                  <a:lnTo>
                    <a:pt x="145" y="241"/>
                  </a:lnTo>
                  <a:lnTo>
                    <a:pt x="168" y="234"/>
                  </a:lnTo>
                  <a:lnTo>
                    <a:pt x="189" y="222"/>
                  </a:lnTo>
                  <a:lnTo>
                    <a:pt x="207" y="207"/>
                  </a:lnTo>
                  <a:lnTo>
                    <a:pt x="222" y="189"/>
                  </a:lnTo>
                  <a:lnTo>
                    <a:pt x="234" y="168"/>
                  </a:lnTo>
                  <a:lnTo>
                    <a:pt x="241" y="145"/>
                  </a:lnTo>
                  <a:lnTo>
                    <a:pt x="243" y="121"/>
                  </a:lnTo>
                  <a:lnTo>
                    <a:pt x="241" y="97"/>
                  </a:lnTo>
                  <a:lnTo>
                    <a:pt x="234" y="74"/>
                  </a:lnTo>
                  <a:lnTo>
                    <a:pt x="222" y="53"/>
                  </a:lnTo>
                  <a:lnTo>
                    <a:pt x="207" y="36"/>
                  </a:lnTo>
                  <a:lnTo>
                    <a:pt x="189" y="21"/>
                  </a:lnTo>
                  <a:lnTo>
                    <a:pt x="168" y="9"/>
                  </a:lnTo>
                  <a:lnTo>
                    <a:pt x="145" y="2"/>
                  </a:lnTo>
                  <a:lnTo>
                    <a:pt x="121" y="0"/>
                  </a:lnTo>
                  <a:lnTo>
                    <a:pt x="97" y="2"/>
                  </a:lnTo>
                  <a:lnTo>
                    <a:pt x="74" y="9"/>
                  </a:lnTo>
                  <a:lnTo>
                    <a:pt x="53" y="21"/>
                  </a:lnTo>
                  <a:lnTo>
                    <a:pt x="36" y="36"/>
                  </a:lnTo>
                  <a:lnTo>
                    <a:pt x="21" y="53"/>
                  </a:lnTo>
                  <a:lnTo>
                    <a:pt x="9" y="74"/>
                  </a:lnTo>
                  <a:lnTo>
                    <a:pt x="2" y="97"/>
                  </a:lnTo>
                  <a:lnTo>
                    <a:pt x="0" y="121"/>
                  </a:lnTo>
                  <a:lnTo>
                    <a:pt x="2" y="145"/>
                  </a:lnTo>
                  <a:lnTo>
                    <a:pt x="9" y="168"/>
                  </a:lnTo>
                  <a:lnTo>
                    <a:pt x="21" y="189"/>
                  </a:lnTo>
                  <a:lnTo>
                    <a:pt x="36" y="207"/>
                  </a:lnTo>
                  <a:lnTo>
                    <a:pt x="53" y="222"/>
                  </a:lnTo>
                  <a:lnTo>
                    <a:pt x="74" y="234"/>
                  </a:lnTo>
                  <a:lnTo>
                    <a:pt x="97" y="241"/>
                  </a:lnTo>
                  <a:lnTo>
                    <a:pt x="121" y="243"/>
                  </a:lnTo>
                  <a:close/>
                </a:path>
              </a:pathLst>
            </a:custGeom>
            <a:solidFill>
              <a:schemeClr val="bg1"/>
            </a:solidFill>
            <a:ln>
              <a:noFill/>
            </a:ln>
          </p:spPr>
          <p:txBody>
            <a:bodyPr vert="horz" wrap="square" lIns="91440" tIns="45720" rIns="91440" bIns="45720" numCol="1" anchor="t" anchorCtr="0" compatLnSpc="1">
              <a:prstTxWarp prst="textNoShape">
                <a:avLst/>
              </a:prstTxWarp>
              <a:noAutofit/>
            </a:bodyPr>
            <a:lstStyle/>
            <a:p>
              <a:endParaRPr lang="en-US" sz="800">
                <a:latin typeface="+mn-lt"/>
              </a:endParaRPr>
            </a:p>
          </p:txBody>
        </p:sp>
        <p:sp>
          <p:nvSpPr>
            <p:cNvPr id="191" name="Freeform 459"/>
            <p:cNvSpPr>
              <a:spLocks/>
            </p:cNvSpPr>
            <p:nvPr/>
          </p:nvSpPr>
          <p:spPr bwMode="gray">
            <a:xfrm>
              <a:off x="558813" y="5891795"/>
              <a:ext cx="55956" cy="55956"/>
            </a:xfrm>
            <a:custGeom>
              <a:avLst/>
              <a:gdLst>
                <a:gd name="T0" fmla="*/ 121 w 243"/>
                <a:gd name="T1" fmla="*/ 243 h 243"/>
                <a:gd name="T2" fmla="*/ 145 w 243"/>
                <a:gd name="T3" fmla="*/ 241 h 243"/>
                <a:gd name="T4" fmla="*/ 168 w 243"/>
                <a:gd name="T5" fmla="*/ 234 h 243"/>
                <a:gd name="T6" fmla="*/ 189 w 243"/>
                <a:gd name="T7" fmla="*/ 223 h 243"/>
                <a:gd name="T8" fmla="*/ 207 w 243"/>
                <a:gd name="T9" fmla="*/ 208 h 243"/>
                <a:gd name="T10" fmla="*/ 222 w 243"/>
                <a:gd name="T11" fmla="*/ 190 h 243"/>
                <a:gd name="T12" fmla="*/ 234 w 243"/>
                <a:gd name="T13" fmla="*/ 170 h 243"/>
                <a:gd name="T14" fmla="*/ 241 w 243"/>
                <a:gd name="T15" fmla="*/ 147 h 243"/>
                <a:gd name="T16" fmla="*/ 243 w 243"/>
                <a:gd name="T17" fmla="*/ 122 h 243"/>
                <a:gd name="T18" fmla="*/ 241 w 243"/>
                <a:gd name="T19" fmla="*/ 98 h 243"/>
                <a:gd name="T20" fmla="*/ 234 w 243"/>
                <a:gd name="T21" fmla="*/ 75 h 243"/>
                <a:gd name="T22" fmla="*/ 222 w 243"/>
                <a:gd name="T23" fmla="*/ 54 h 243"/>
                <a:gd name="T24" fmla="*/ 207 w 243"/>
                <a:gd name="T25" fmla="*/ 36 h 243"/>
                <a:gd name="T26" fmla="*/ 189 w 243"/>
                <a:gd name="T27" fmla="*/ 21 h 243"/>
                <a:gd name="T28" fmla="*/ 168 w 243"/>
                <a:gd name="T29" fmla="*/ 9 h 243"/>
                <a:gd name="T30" fmla="*/ 145 w 243"/>
                <a:gd name="T31" fmla="*/ 2 h 243"/>
                <a:gd name="T32" fmla="*/ 121 w 243"/>
                <a:gd name="T33" fmla="*/ 0 h 243"/>
                <a:gd name="T34" fmla="*/ 97 w 243"/>
                <a:gd name="T35" fmla="*/ 2 h 243"/>
                <a:gd name="T36" fmla="*/ 73 w 243"/>
                <a:gd name="T37" fmla="*/ 9 h 243"/>
                <a:gd name="T38" fmla="*/ 53 w 243"/>
                <a:gd name="T39" fmla="*/ 21 h 243"/>
                <a:gd name="T40" fmla="*/ 35 w 243"/>
                <a:gd name="T41" fmla="*/ 36 h 243"/>
                <a:gd name="T42" fmla="*/ 20 w 243"/>
                <a:gd name="T43" fmla="*/ 54 h 243"/>
                <a:gd name="T44" fmla="*/ 9 w 243"/>
                <a:gd name="T45" fmla="*/ 75 h 243"/>
                <a:gd name="T46" fmla="*/ 2 w 243"/>
                <a:gd name="T47" fmla="*/ 98 h 243"/>
                <a:gd name="T48" fmla="*/ 0 w 243"/>
                <a:gd name="T49" fmla="*/ 122 h 243"/>
                <a:gd name="T50" fmla="*/ 2 w 243"/>
                <a:gd name="T51" fmla="*/ 147 h 243"/>
                <a:gd name="T52" fmla="*/ 9 w 243"/>
                <a:gd name="T53" fmla="*/ 170 h 243"/>
                <a:gd name="T54" fmla="*/ 20 w 243"/>
                <a:gd name="T55" fmla="*/ 190 h 243"/>
                <a:gd name="T56" fmla="*/ 35 w 243"/>
                <a:gd name="T57" fmla="*/ 208 h 243"/>
                <a:gd name="T58" fmla="*/ 53 w 243"/>
                <a:gd name="T59" fmla="*/ 223 h 243"/>
                <a:gd name="T60" fmla="*/ 73 w 243"/>
                <a:gd name="T61" fmla="*/ 234 h 243"/>
                <a:gd name="T62" fmla="*/ 97 w 243"/>
                <a:gd name="T63" fmla="*/ 241 h 243"/>
                <a:gd name="T64" fmla="*/ 121 w 243"/>
                <a:gd name="T65" fmla="*/ 243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43" h="243">
                  <a:moveTo>
                    <a:pt x="121" y="243"/>
                  </a:moveTo>
                  <a:lnTo>
                    <a:pt x="145" y="241"/>
                  </a:lnTo>
                  <a:lnTo>
                    <a:pt x="168" y="234"/>
                  </a:lnTo>
                  <a:lnTo>
                    <a:pt x="189" y="223"/>
                  </a:lnTo>
                  <a:lnTo>
                    <a:pt x="207" y="208"/>
                  </a:lnTo>
                  <a:lnTo>
                    <a:pt x="222" y="190"/>
                  </a:lnTo>
                  <a:lnTo>
                    <a:pt x="234" y="170"/>
                  </a:lnTo>
                  <a:lnTo>
                    <a:pt x="241" y="147"/>
                  </a:lnTo>
                  <a:lnTo>
                    <a:pt x="243" y="122"/>
                  </a:lnTo>
                  <a:lnTo>
                    <a:pt x="241" y="98"/>
                  </a:lnTo>
                  <a:lnTo>
                    <a:pt x="234" y="75"/>
                  </a:lnTo>
                  <a:lnTo>
                    <a:pt x="222" y="54"/>
                  </a:lnTo>
                  <a:lnTo>
                    <a:pt x="207" y="36"/>
                  </a:lnTo>
                  <a:lnTo>
                    <a:pt x="189" y="21"/>
                  </a:lnTo>
                  <a:lnTo>
                    <a:pt x="168" y="9"/>
                  </a:lnTo>
                  <a:lnTo>
                    <a:pt x="145" y="2"/>
                  </a:lnTo>
                  <a:lnTo>
                    <a:pt x="121" y="0"/>
                  </a:lnTo>
                  <a:lnTo>
                    <a:pt x="97" y="2"/>
                  </a:lnTo>
                  <a:lnTo>
                    <a:pt x="73" y="9"/>
                  </a:lnTo>
                  <a:lnTo>
                    <a:pt x="53" y="21"/>
                  </a:lnTo>
                  <a:lnTo>
                    <a:pt x="35" y="36"/>
                  </a:lnTo>
                  <a:lnTo>
                    <a:pt x="20" y="54"/>
                  </a:lnTo>
                  <a:lnTo>
                    <a:pt x="9" y="75"/>
                  </a:lnTo>
                  <a:lnTo>
                    <a:pt x="2" y="98"/>
                  </a:lnTo>
                  <a:lnTo>
                    <a:pt x="0" y="122"/>
                  </a:lnTo>
                  <a:lnTo>
                    <a:pt x="2" y="147"/>
                  </a:lnTo>
                  <a:lnTo>
                    <a:pt x="9" y="170"/>
                  </a:lnTo>
                  <a:lnTo>
                    <a:pt x="20" y="190"/>
                  </a:lnTo>
                  <a:lnTo>
                    <a:pt x="35" y="208"/>
                  </a:lnTo>
                  <a:lnTo>
                    <a:pt x="53" y="223"/>
                  </a:lnTo>
                  <a:lnTo>
                    <a:pt x="73" y="234"/>
                  </a:lnTo>
                  <a:lnTo>
                    <a:pt x="97" y="241"/>
                  </a:lnTo>
                  <a:lnTo>
                    <a:pt x="121" y="243"/>
                  </a:lnTo>
                  <a:close/>
                </a:path>
              </a:pathLst>
            </a:custGeom>
            <a:solidFill>
              <a:schemeClr val="bg1"/>
            </a:solidFill>
            <a:ln>
              <a:noFill/>
            </a:ln>
          </p:spPr>
          <p:txBody>
            <a:bodyPr vert="horz" wrap="square" lIns="91440" tIns="45720" rIns="91440" bIns="45720" numCol="1" anchor="t" anchorCtr="0" compatLnSpc="1">
              <a:prstTxWarp prst="textNoShape">
                <a:avLst/>
              </a:prstTxWarp>
              <a:noAutofit/>
            </a:bodyPr>
            <a:lstStyle/>
            <a:p>
              <a:endParaRPr lang="en-US" sz="800">
                <a:latin typeface="+mn-lt"/>
              </a:endParaRPr>
            </a:p>
          </p:txBody>
        </p:sp>
        <p:sp>
          <p:nvSpPr>
            <p:cNvPr id="192" name="Freeform 460"/>
            <p:cNvSpPr>
              <a:spLocks/>
            </p:cNvSpPr>
            <p:nvPr/>
          </p:nvSpPr>
          <p:spPr bwMode="gray">
            <a:xfrm>
              <a:off x="388159" y="5741412"/>
              <a:ext cx="281004" cy="137799"/>
            </a:xfrm>
            <a:custGeom>
              <a:avLst/>
              <a:gdLst>
                <a:gd name="T0" fmla="*/ 844 w 996"/>
                <a:gd name="T1" fmla="*/ 741 h 741"/>
                <a:gd name="T2" fmla="*/ 996 w 996"/>
                <a:gd name="T3" fmla="*/ 0 h 741"/>
                <a:gd name="T4" fmla="*/ 0 w 996"/>
                <a:gd name="T5" fmla="*/ 0 h 741"/>
                <a:gd name="T6" fmla="*/ 123 w 996"/>
                <a:gd name="T7" fmla="*/ 741 h 741"/>
                <a:gd name="T8" fmla="*/ 844 w 996"/>
                <a:gd name="T9" fmla="*/ 741 h 741"/>
              </a:gdLst>
              <a:ahLst/>
              <a:cxnLst>
                <a:cxn ang="0">
                  <a:pos x="T0" y="T1"/>
                </a:cxn>
                <a:cxn ang="0">
                  <a:pos x="T2" y="T3"/>
                </a:cxn>
                <a:cxn ang="0">
                  <a:pos x="T4" y="T5"/>
                </a:cxn>
                <a:cxn ang="0">
                  <a:pos x="T6" y="T7"/>
                </a:cxn>
                <a:cxn ang="0">
                  <a:pos x="T8" y="T9"/>
                </a:cxn>
              </a:cxnLst>
              <a:rect l="0" t="0" r="r" b="b"/>
              <a:pathLst>
                <a:path w="996" h="741">
                  <a:moveTo>
                    <a:pt x="844" y="741"/>
                  </a:moveTo>
                  <a:lnTo>
                    <a:pt x="996" y="0"/>
                  </a:lnTo>
                  <a:lnTo>
                    <a:pt x="0" y="0"/>
                  </a:lnTo>
                  <a:lnTo>
                    <a:pt x="123" y="741"/>
                  </a:lnTo>
                  <a:lnTo>
                    <a:pt x="844" y="741"/>
                  </a:lnTo>
                  <a:close/>
                </a:path>
              </a:pathLst>
            </a:custGeom>
            <a:solidFill>
              <a:schemeClr val="bg1"/>
            </a:solidFill>
            <a:ln w="9525">
              <a:solidFill>
                <a:schemeClr val="bg2"/>
              </a:solidFill>
              <a:round/>
              <a:headEnd/>
              <a:tailEnd/>
            </a:ln>
          </p:spPr>
          <p:txBody>
            <a:bodyPr vert="horz" wrap="square" lIns="91440" tIns="45720" rIns="91440" bIns="45720" numCol="1" anchor="t" anchorCtr="0" compatLnSpc="1">
              <a:prstTxWarp prst="textNoShape">
                <a:avLst/>
              </a:prstTxWarp>
              <a:noAutofit/>
            </a:bodyPr>
            <a:lstStyle/>
            <a:p>
              <a:endParaRPr lang="en-US" sz="800">
                <a:latin typeface="+mn-lt"/>
              </a:endParaRPr>
            </a:p>
          </p:txBody>
        </p:sp>
        <p:sp>
          <p:nvSpPr>
            <p:cNvPr id="193" name="Freeform 279"/>
            <p:cNvSpPr>
              <a:spLocks/>
            </p:cNvSpPr>
            <p:nvPr/>
          </p:nvSpPr>
          <p:spPr bwMode="gray">
            <a:xfrm rot="2185170">
              <a:off x="578904" y="5643608"/>
              <a:ext cx="101011" cy="67033"/>
            </a:xfrm>
            <a:custGeom>
              <a:avLst/>
              <a:gdLst>
                <a:gd name="T0" fmla="*/ 0 w 764"/>
                <a:gd name="T1" fmla="*/ 288 h 507"/>
                <a:gd name="T2" fmla="*/ 163 w 764"/>
                <a:gd name="T3" fmla="*/ 0 h 507"/>
                <a:gd name="T4" fmla="*/ 531 w 764"/>
                <a:gd name="T5" fmla="*/ 131 h 507"/>
                <a:gd name="T6" fmla="*/ 764 w 764"/>
                <a:gd name="T7" fmla="*/ 362 h 507"/>
                <a:gd name="T8" fmla="*/ 583 w 764"/>
                <a:gd name="T9" fmla="*/ 507 h 507"/>
                <a:gd name="T10" fmla="*/ 302 w 764"/>
                <a:gd name="T11" fmla="*/ 406 h 507"/>
                <a:gd name="T12" fmla="*/ 172 w 764"/>
                <a:gd name="T13" fmla="*/ 470 h 507"/>
                <a:gd name="T14" fmla="*/ 0 w 764"/>
                <a:gd name="T15" fmla="*/ 288 h 507"/>
                <a:gd name="T16" fmla="*/ 0 w 764"/>
                <a:gd name="T17" fmla="*/ 288 h 5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4" h="507">
                  <a:moveTo>
                    <a:pt x="0" y="288"/>
                  </a:moveTo>
                  <a:lnTo>
                    <a:pt x="163" y="0"/>
                  </a:lnTo>
                  <a:lnTo>
                    <a:pt x="531" y="131"/>
                  </a:lnTo>
                  <a:lnTo>
                    <a:pt x="764" y="362"/>
                  </a:lnTo>
                  <a:lnTo>
                    <a:pt x="583" y="507"/>
                  </a:lnTo>
                  <a:lnTo>
                    <a:pt x="302" y="406"/>
                  </a:lnTo>
                  <a:lnTo>
                    <a:pt x="172" y="470"/>
                  </a:lnTo>
                  <a:lnTo>
                    <a:pt x="0" y="288"/>
                  </a:lnTo>
                  <a:lnTo>
                    <a:pt x="0" y="288"/>
                  </a:lnTo>
                  <a:close/>
                </a:path>
              </a:pathLst>
            </a:custGeom>
            <a:solidFill>
              <a:schemeClr val="bg1"/>
            </a:solidFill>
            <a:ln>
              <a:noFill/>
            </a:ln>
          </p:spPr>
          <p:txBody>
            <a:bodyPr vert="horz" wrap="square" lIns="91440" tIns="45720" rIns="91440" bIns="45720" numCol="1" anchor="t" anchorCtr="0" compatLnSpc="1">
              <a:prstTxWarp prst="textNoShape">
                <a:avLst/>
              </a:prstTxWarp>
              <a:noAutofit/>
            </a:bodyPr>
            <a:lstStyle/>
            <a:p>
              <a:endParaRPr lang="en-US" sz="800">
                <a:latin typeface="+mn-lt"/>
              </a:endParaRPr>
            </a:p>
          </p:txBody>
        </p:sp>
        <p:sp>
          <p:nvSpPr>
            <p:cNvPr id="194" name="Freeform 281"/>
            <p:cNvSpPr>
              <a:spLocks/>
            </p:cNvSpPr>
            <p:nvPr/>
          </p:nvSpPr>
          <p:spPr bwMode="gray">
            <a:xfrm>
              <a:off x="416384" y="5645355"/>
              <a:ext cx="89510" cy="42838"/>
            </a:xfrm>
            <a:custGeom>
              <a:avLst/>
              <a:gdLst>
                <a:gd name="T0" fmla="*/ 0 w 677"/>
                <a:gd name="T1" fmla="*/ 258 h 324"/>
                <a:gd name="T2" fmla="*/ 414 w 677"/>
                <a:gd name="T3" fmla="*/ 324 h 324"/>
                <a:gd name="T4" fmla="*/ 677 w 677"/>
                <a:gd name="T5" fmla="*/ 103 h 324"/>
                <a:gd name="T6" fmla="*/ 453 w 677"/>
                <a:gd name="T7" fmla="*/ 7 h 324"/>
                <a:gd name="T8" fmla="*/ 179 w 677"/>
                <a:gd name="T9" fmla="*/ 0 h 324"/>
                <a:gd name="T10" fmla="*/ 0 w 677"/>
                <a:gd name="T11" fmla="*/ 258 h 324"/>
                <a:gd name="T12" fmla="*/ 0 w 677"/>
                <a:gd name="T13" fmla="*/ 258 h 324"/>
              </a:gdLst>
              <a:ahLst/>
              <a:cxnLst>
                <a:cxn ang="0">
                  <a:pos x="T0" y="T1"/>
                </a:cxn>
                <a:cxn ang="0">
                  <a:pos x="T2" y="T3"/>
                </a:cxn>
                <a:cxn ang="0">
                  <a:pos x="T4" y="T5"/>
                </a:cxn>
                <a:cxn ang="0">
                  <a:pos x="T6" y="T7"/>
                </a:cxn>
                <a:cxn ang="0">
                  <a:pos x="T8" y="T9"/>
                </a:cxn>
                <a:cxn ang="0">
                  <a:pos x="T10" y="T11"/>
                </a:cxn>
                <a:cxn ang="0">
                  <a:pos x="T12" y="T13"/>
                </a:cxn>
              </a:cxnLst>
              <a:rect l="0" t="0" r="r" b="b"/>
              <a:pathLst>
                <a:path w="677" h="324">
                  <a:moveTo>
                    <a:pt x="0" y="258"/>
                  </a:moveTo>
                  <a:lnTo>
                    <a:pt x="414" y="324"/>
                  </a:lnTo>
                  <a:lnTo>
                    <a:pt x="677" y="103"/>
                  </a:lnTo>
                  <a:lnTo>
                    <a:pt x="453" y="7"/>
                  </a:lnTo>
                  <a:lnTo>
                    <a:pt x="179" y="0"/>
                  </a:lnTo>
                  <a:lnTo>
                    <a:pt x="0" y="258"/>
                  </a:lnTo>
                  <a:lnTo>
                    <a:pt x="0" y="258"/>
                  </a:lnTo>
                  <a:close/>
                </a:path>
              </a:pathLst>
            </a:custGeom>
            <a:solidFill>
              <a:schemeClr val="bg1"/>
            </a:solidFill>
            <a:ln>
              <a:noFill/>
            </a:ln>
          </p:spPr>
          <p:txBody>
            <a:bodyPr vert="horz" wrap="square" lIns="91440" tIns="45720" rIns="91440" bIns="45720" numCol="1" anchor="t" anchorCtr="0" compatLnSpc="1">
              <a:prstTxWarp prst="textNoShape">
                <a:avLst/>
              </a:prstTxWarp>
              <a:noAutofit/>
            </a:bodyPr>
            <a:lstStyle/>
            <a:p>
              <a:endParaRPr lang="en-US" sz="800">
                <a:latin typeface="+mn-lt"/>
              </a:endParaRPr>
            </a:p>
          </p:txBody>
        </p:sp>
        <p:sp>
          <p:nvSpPr>
            <p:cNvPr id="195" name="Freeform 282"/>
            <p:cNvSpPr>
              <a:spLocks/>
            </p:cNvSpPr>
            <p:nvPr/>
          </p:nvSpPr>
          <p:spPr bwMode="gray">
            <a:xfrm>
              <a:off x="478260" y="5612172"/>
              <a:ext cx="104184" cy="45482"/>
            </a:xfrm>
            <a:custGeom>
              <a:avLst/>
              <a:gdLst>
                <a:gd name="T0" fmla="*/ 323 w 788"/>
                <a:gd name="T1" fmla="*/ 329 h 344"/>
                <a:gd name="T2" fmla="*/ 610 w 788"/>
                <a:gd name="T3" fmla="*/ 344 h 344"/>
                <a:gd name="T4" fmla="*/ 788 w 788"/>
                <a:gd name="T5" fmla="*/ 138 h 344"/>
                <a:gd name="T6" fmla="*/ 453 w 788"/>
                <a:gd name="T7" fmla="*/ 0 h 344"/>
                <a:gd name="T8" fmla="*/ 52 w 788"/>
                <a:gd name="T9" fmla="*/ 52 h 344"/>
                <a:gd name="T10" fmla="*/ 0 w 788"/>
                <a:gd name="T11" fmla="*/ 197 h 344"/>
                <a:gd name="T12" fmla="*/ 323 w 788"/>
                <a:gd name="T13" fmla="*/ 329 h 344"/>
                <a:gd name="T14" fmla="*/ 323 w 788"/>
                <a:gd name="T15" fmla="*/ 329 h 34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88" h="344">
                  <a:moveTo>
                    <a:pt x="323" y="329"/>
                  </a:moveTo>
                  <a:lnTo>
                    <a:pt x="610" y="344"/>
                  </a:lnTo>
                  <a:lnTo>
                    <a:pt x="788" y="138"/>
                  </a:lnTo>
                  <a:lnTo>
                    <a:pt x="453" y="0"/>
                  </a:lnTo>
                  <a:lnTo>
                    <a:pt x="52" y="52"/>
                  </a:lnTo>
                  <a:lnTo>
                    <a:pt x="0" y="197"/>
                  </a:lnTo>
                  <a:lnTo>
                    <a:pt x="323" y="329"/>
                  </a:lnTo>
                  <a:lnTo>
                    <a:pt x="323" y="329"/>
                  </a:lnTo>
                  <a:close/>
                </a:path>
              </a:pathLst>
            </a:custGeom>
            <a:solidFill>
              <a:schemeClr val="bg1"/>
            </a:solidFill>
            <a:ln>
              <a:noFill/>
            </a:ln>
          </p:spPr>
          <p:txBody>
            <a:bodyPr vert="horz" wrap="square" lIns="91440" tIns="45720" rIns="91440" bIns="45720" numCol="1" anchor="t" anchorCtr="0" compatLnSpc="1">
              <a:prstTxWarp prst="textNoShape">
                <a:avLst/>
              </a:prstTxWarp>
              <a:noAutofit/>
            </a:bodyPr>
            <a:lstStyle/>
            <a:p>
              <a:endParaRPr lang="en-US" sz="800">
                <a:latin typeface="+mn-lt"/>
              </a:endParaRPr>
            </a:p>
          </p:txBody>
        </p:sp>
        <p:sp>
          <p:nvSpPr>
            <p:cNvPr id="196" name="Freeform 282"/>
            <p:cNvSpPr>
              <a:spLocks/>
            </p:cNvSpPr>
            <p:nvPr/>
          </p:nvSpPr>
          <p:spPr bwMode="gray">
            <a:xfrm>
              <a:off x="490712" y="5682242"/>
              <a:ext cx="104184" cy="45482"/>
            </a:xfrm>
            <a:custGeom>
              <a:avLst/>
              <a:gdLst>
                <a:gd name="T0" fmla="*/ 323 w 788"/>
                <a:gd name="T1" fmla="*/ 329 h 344"/>
                <a:gd name="T2" fmla="*/ 610 w 788"/>
                <a:gd name="T3" fmla="*/ 344 h 344"/>
                <a:gd name="T4" fmla="*/ 788 w 788"/>
                <a:gd name="T5" fmla="*/ 138 h 344"/>
                <a:gd name="T6" fmla="*/ 453 w 788"/>
                <a:gd name="T7" fmla="*/ 0 h 344"/>
                <a:gd name="T8" fmla="*/ 52 w 788"/>
                <a:gd name="T9" fmla="*/ 52 h 344"/>
                <a:gd name="T10" fmla="*/ 0 w 788"/>
                <a:gd name="T11" fmla="*/ 197 h 344"/>
                <a:gd name="T12" fmla="*/ 323 w 788"/>
                <a:gd name="T13" fmla="*/ 329 h 344"/>
                <a:gd name="T14" fmla="*/ 323 w 788"/>
                <a:gd name="T15" fmla="*/ 329 h 34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88" h="344">
                  <a:moveTo>
                    <a:pt x="323" y="329"/>
                  </a:moveTo>
                  <a:lnTo>
                    <a:pt x="610" y="344"/>
                  </a:lnTo>
                  <a:lnTo>
                    <a:pt x="788" y="138"/>
                  </a:lnTo>
                  <a:lnTo>
                    <a:pt x="453" y="0"/>
                  </a:lnTo>
                  <a:lnTo>
                    <a:pt x="52" y="52"/>
                  </a:lnTo>
                  <a:lnTo>
                    <a:pt x="0" y="197"/>
                  </a:lnTo>
                  <a:lnTo>
                    <a:pt x="323" y="329"/>
                  </a:lnTo>
                  <a:lnTo>
                    <a:pt x="323" y="329"/>
                  </a:lnTo>
                  <a:close/>
                </a:path>
              </a:pathLst>
            </a:custGeom>
            <a:solidFill>
              <a:schemeClr val="bg1"/>
            </a:solidFill>
            <a:ln>
              <a:noFill/>
            </a:ln>
          </p:spPr>
          <p:txBody>
            <a:bodyPr vert="horz" wrap="square" lIns="91440" tIns="45720" rIns="91440" bIns="45720" numCol="1" anchor="t" anchorCtr="0" compatLnSpc="1">
              <a:prstTxWarp prst="textNoShape">
                <a:avLst/>
              </a:prstTxWarp>
              <a:noAutofit/>
            </a:bodyPr>
            <a:lstStyle/>
            <a:p>
              <a:endParaRPr lang="en-US" sz="800">
                <a:latin typeface="+mn-lt"/>
              </a:endParaRPr>
            </a:p>
          </p:txBody>
        </p:sp>
        <p:sp>
          <p:nvSpPr>
            <p:cNvPr id="197" name="Freeform 282"/>
            <p:cNvSpPr>
              <a:spLocks/>
            </p:cNvSpPr>
            <p:nvPr/>
          </p:nvSpPr>
          <p:spPr bwMode="gray">
            <a:xfrm>
              <a:off x="375488" y="5688481"/>
              <a:ext cx="104184" cy="45482"/>
            </a:xfrm>
            <a:custGeom>
              <a:avLst/>
              <a:gdLst>
                <a:gd name="T0" fmla="*/ 323 w 788"/>
                <a:gd name="T1" fmla="*/ 329 h 344"/>
                <a:gd name="T2" fmla="*/ 610 w 788"/>
                <a:gd name="T3" fmla="*/ 344 h 344"/>
                <a:gd name="T4" fmla="*/ 788 w 788"/>
                <a:gd name="T5" fmla="*/ 138 h 344"/>
                <a:gd name="T6" fmla="*/ 453 w 788"/>
                <a:gd name="T7" fmla="*/ 0 h 344"/>
                <a:gd name="T8" fmla="*/ 52 w 788"/>
                <a:gd name="T9" fmla="*/ 52 h 344"/>
                <a:gd name="T10" fmla="*/ 0 w 788"/>
                <a:gd name="T11" fmla="*/ 197 h 344"/>
                <a:gd name="T12" fmla="*/ 323 w 788"/>
                <a:gd name="T13" fmla="*/ 329 h 344"/>
                <a:gd name="T14" fmla="*/ 323 w 788"/>
                <a:gd name="T15" fmla="*/ 329 h 34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88" h="344">
                  <a:moveTo>
                    <a:pt x="323" y="329"/>
                  </a:moveTo>
                  <a:lnTo>
                    <a:pt x="610" y="344"/>
                  </a:lnTo>
                  <a:lnTo>
                    <a:pt x="788" y="138"/>
                  </a:lnTo>
                  <a:lnTo>
                    <a:pt x="453" y="0"/>
                  </a:lnTo>
                  <a:lnTo>
                    <a:pt x="52" y="52"/>
                  </a:lnTo>
                  <a:lnTo>
                    <a:pt x="0" y="197"/>
                  </a:lnTo>
                  <a:lnTo>
                    <a:pt x="323" y="329"/>
                  </a:lnTo>
                  <a:lnTo>
                    <a:pt x="323" y="329"/>
                  </a:lnTo>
                  <a:close/>
                </a:path>
              </a:pathLst>
            </a:custGeom>
            <a:solidFill>
              <a:schemeClr val="bg1"/>
            </a:solidFill>
            <a:ln>
              <a:noFill/>
            </a:ln>
          </p:spPr>
          <p:txBody>
            <a:bodyPr vert="horz" wrap="square" lIns="91440" tIns="45720" rIns="91440" bIns="45720" numCol="1" anchor="t" anchorCtr="0" compatLnSpc="1">
              <a:prstTxWarp prst="textNoShape">
                <a:avLst/>
              </a:prstTxWarp>
              <a:noAutofit/>
            </a:bodyPr>
            <a:lstStyle/>
            <a:p>
              <a:endParaRPr lang="en-US" sz="800">
                <a:latin typeface="+mn-lt"/>
              </a:endParaRPr>
            </a:p>
          </p:txBody>
        </p:sp>
      </p:grpSp>
      <p:cxnSp>
        <p:nvCxnSpPr>
          <p:cNvPr id="87" name="Straight Connector 86"/>
          <p:cNvCxnSpPr>
            <a:cxnSpLocks/>
          </p:cNvCxnSpPr>
          <p:nvPr/>
        </p:nvCxnSpPr>
        <p:spPr bwMode="gray">
          <a:xfrm>
            <a:off x="2624941" y="5293409"/>
            <a:ext cx="6089648" cy="0"/>
          </a:xfrm>
          <a:prstGeom prst="line">
            <a:avLst/>
          </a:prstGeom>
          <a:ln w="9525">
            <a:solidFill>
              <a:schemeClr val="accent6"/>
            </a:solidFill>
            <a:prstDash val="sysDot"/>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a:cxnSpLocks/>
          </p:cNvCxnSpPr>
          <p:nvPr/>
        </p:nvCxnSpPr>
        <p:spPr bwMode="gray">
          <a:xfrm>
            <a:off x="2624941" y="5718027"/>
            <a:ext cx="6089648" cy="0"/>
          </a:xfrm>
          <a:prstGeom prst="line">
            <a:avLst/>
          </a:prstGeom>
          <a:ln w="9525">
            <a:solidFill>
              <a:schemeClr val="accent6"/>
            </a:solidFill>
            <a:prstDash val="sysDot"/>
          </a:ln>
        </p:spPr>
        <p:style>
          <a:lnRef idx="1">
            <a:schemeClr val="accent1"/>
          </a:lnRef>
          <a:fillRef idx="0">
            <a:schemeClr val="accent1"/>
          </a:fillRef>
          <a:effectRef idx="0">
            <a:schemeClr val="accent1"/>
          </a:effectRef>
          <a:fontRef idx="minor">
            <a:schemeClr val="tx1"/>
          </a:fontRef>
        </p:style>
      </p:cxnSp>
      <p:cxnSp>
        <p:nvCxnSpPr>
          <p:cNvPr id="114" name="Straight Connector 113"/>
          <p:cNvCxnSpPr>
            <a:cxnSpLocks/>
          </p:cNvCxnSpPr>
          <p:nvPr/>
        </p:nvCxnSpPr>
        <p:spPr bwMode="gray">
          <a:xfrm>
            <a:off x="2624941" y="4868791"/>
            <a:ext cx="6089648" cy="0"/>
          </a:xfrm>
          <a:prstGeom prst="line">
            <a:avLst/>
          </a:prstGeom>
          <a:ln w="9525">
            <a:solidFill>
              <a:schemeClr val="accent6"/>
            </a:solidFill>
            <a:prstDash val="sysDot"/>
          </a:ln>
        </p:spPr>
        <p:style>
          <a:lnRef idx="1">
            <a:schemeClr val="accent1"/>
          </a:lnRef>
          <a:fillRef idx="0">
            <a:schemeClr val="accent1"/>
          </a:fillRef>
          <a:effectRef idx="0">
            <a:schemeClr val="accent1"/>
          </a:effectRef>
          <a:fontRef idx="minor">
            <a:schemeClr val="tx1"/>
          </a:fontRef>
        </p:style>
      </p:cxnSp>
      <p:cxnSp>
        <p:nvCxnSpPr>
          <p:cNvPr id="29" name="AutoShape 249"/>
          <p:cNvCxnSpPr>
            <a:cxnSpLocks noChangeShapeType="1"/>
          </p:cNvCxnSpPr>
          <p:nvPr/>
        </p:nvCxnSpPr>
        <p:spPr bwMode="gray">
          <a:xfrm>
            <a:off x="2624941" y="878317"/>
            <a:ext cx="6089648" cy="0"/>
          </a:xfrm>
          <a:prstGeom prst="straightConnector1">
            <a:avLst/>
          </a:prstGeom>
          <a:solidFill>
            <a:schemeClr val="bg1"/>
          </a:solidFill>
          <a:ln w="9525">
            <a:solidFill>
              <a:schemeClr val="accent3"/>
            </a:solidFill>
          </a:ln>
          <a:extLst/>
        </p:spPr>
      </p:cxnSp>
      <p:sp>
        <p:nvSpPr>
          <p:cNvPr id="30" name="AutoShape 250"/>
          <p:cNvSpPr>
            <a:spLocks noChangeArrowheads="1"/>
          </p:cNvSpPr>
          <p:nvPr/>
        </p:nvSpPr>
        <p:spPr bwMode="gray">
          <a:xfrm>
            <a:off x="2624941" y="736740"/>
            <a:ext cx="6089648" cy="141577"/>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18288" anchor="b">
            <a:spAutoFit/>
          </a:bodyPr>
          <a:lstStyle/>
          <a:p>
            <a:r>
              <a:rPr lang="en-US" sz="800" b="1" dirty="0">
                <a:solidFill>
                  <a:schemeClr val="accent3"/>
                </a:solidFill>
                <a:latin typeface="+mn-lt"/>
              </a:rPr>
              <a:t>Brief description of our work</a:t>
            </a:r>
          </a:p>
        </p:txBody>
      </p:sp>
      <p:cxnSp>
        <p:nvCxnSpPr>
          <p:cNvPr id="98" name="AutoShape 249"/>
          <p:cNvCxnSpPr>
            <a:cxnSpLocks noChangeShapeType="1"/>
          </p:cNvCxnSpPr>
          <p:nvPr/>
        </p:nvCxnSpPr>
        <p:spPr bwMode="gray">
          <a:xfrm>
            <a:off x="1459302" y="878317"/>
            <a:ext cx="1087463" cy="0"/>
          </a:xfrm>
          <a:prstGeom prst="straightConnector1">
            <a:avLst/>
          </a:prstGeom>
          <a:solidFill>
            <a:schemeClr val="bg1"/>
          </a:solidFill>
          <a:ln w="9525">
            <a:solidFill>
              <a:schemeClr val="accent3"/>
            </a:solidFill>
          </a:ln>
          <a:extLst/>
        </p:spPr>
      </p:cxnSp>
      <p:sp>
        <p:nvSpPr>
          <p:cNvPr id="99" name="AutoShape 250"/>
          <p:cNvSpPr>
            <a:spLocks noChangeArrowheads="1"/>
          </p:cNvSpPr>
          <p:nvPr/>
        </p:nvSpPr>
        <p:spPr bwMode="gray">
          <a:xfrm>
            <a:off x="1459302" y="736740"/>
            <a:ext cx="1087463" cy="141577"/>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18288" anchor="b">
            <a:spAutoFit/>
          </a:bodyPr>
          <a:lstStyle/>
          <a:p>
            <a:r>
              <a:rPr lang="en-US" sz="800" b="1" dirty="0">
                <a:solidFill>
                  <a:schemeClr val="accent3"/>
                </a:solidFill>
                <a:latin typeface="+mn-lt"/>
              </a:rPr>
              <a:t>Example client</a:t>
            </a:r>
          </a:p>
        </p:txBody>
      </p:sp>
      <p:sp>
        <p:nvSpPr>
          <p:cNvPr id="64" name="Rectangle 11"/>
          <p:cNvSpPr>
            <a:spLocks noChangeArrowheads="1"/>
          </p:cNvSpPr>
          <p:nvPr/>
        </p:nvSpPr>
        <p:spPr bwMode="gray">
          <a:xfrm>
            <a:off x="2624941" y="5321052"/>
            <a:ext cx="6089648"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algn="l" defTabSz="895350">
              <a:buClr>
                <a:schemeClr val="tx2"/>
              </a:buClr>
              <a:tabLst>
                <a:tab pos="177800" algn="l"/>
              </a:tabLst>
              <a:defRPr sz="1600">
                <a:solidFill>
                  <a:schemeClr val="tx1"/>
                </a:solidFill>
                <a:latin typeface="Arial" charset="0"/>
              </a:defRPr>
            </a:lvl1pPr>
            <a:lvl2pPr marL="179388" indent="-177800" algn="l" defTabSz="895350">
              <a:buClr>
                <a:schemeClr val="tx2"/>
              </a:buClr>
              <a:buSzPct val="125000"/>
              <a:buFont typeface="Arial" charset="0"/>
              <a:buChar char="▪"/>
              <a:tabLst>
                <a:tab pos="177800" algn="l"/>
              </a:tabLst>
              <a:defRPr sz="1600">
                <a:solidFill>
                  <a:schemeClr val="tx1"/>
                </a:solidFill>
                <a:latin typeface="Arial" charset="0"/>
              </a:defRPr>
            </a:lvl2pPr>
            <a:lvl3pPr marL="1192213" indent="-304800" algn="l" defTabSz="895350">
              <a:buClr>
                <a:schemeClr val="tx2"/>
              </a:buClr>
              <a:buSzPct val="120000"/>
              <a:buFont typeface="Arial" charset="0"/>
              <a:buChar char="–"/>
              <a:tabLst>
                <a:tab pos="177800" algn="l"/>
              </a:tabLst>
              <a:defRPr sz="1600">
                <a:solidFill>
                  <a:schemeClr val="tx1"/>
                </a:solidFill>
                <a:latin typeface="Arial" charset="0"/>
              </a:defRPr>
            </a:lvl3pPr>
            <a:lvl4pPr marL="1676400" indent="-304800" algn="l" defTabSz="895350">
              <a:buClr>
                <a:schemeClr val="tx2"/>
              </a:buClr>
              <a:buSzPct val="120000"/>
              <a:buFont typeface="Arial" charset="0"/>
              <a:buChar char="▫"/>
              <a:tabLst>
                <a:tab pos="177800" algn="l"/>
              </a:tabLst>
              <a:defRPr sz="1600">
                <a:solidFill>
                  <a:schemeClr val="tx1"/>
                </a:solidFill>
                <a:latin typeface="Arial" charset="0"/>
              </a:defRPr>
            </a:lvl4pPr>
            <a:lvl5pPr marL="2160588" indent="-304800" algn="l" defTabSz="895350">
              <a:buClr>
                <a:schemeClr val="tx2"/>
              </a:buClr>
              <a:buSzPct val="89000"/>
              <a:buFont typeface="Arial" charset="0"/>
              <a:buChar char="-"/>
              <a:tabLst>
                <a:tab pos="177800" algn="l"/>
              </a:tabLst>
              <a:defRPr sz="1600">
                <a:solidFill>
                  <a:schemeClr val="tx1"/>
                </a:solidFill>
                <a:latin typeface="Arial" charset="0"/>
              </a:defRPr>
            </a:lvl5pPr>
            <a:lvl6pPr marL="2617788" indent="-304800" defTabSz="895350" fontAlgn="base">
              <a:spcBef>
                <a:spcPct val="0"/>
              </a:spcBef>
              <a:spcAft>
                <a:spcPct val="0"/>
              </a:spcAft>
              <a:buClr>
                <a:schemeClr val="tx2"/>
              </a:buClr>
              <a:buSzPct val="89000"/>
              <a:buFont typeface="Arial" charset="0"/>
              <a:buChar char="-"/>
              <a:tabLst>
                <a:tab pos="177800" algn="l"/>
              </a:tabLst>
              <a:defRPr sz="1600">
                <a:solidFill>
                  <a:schemeClr val="tx1"/>
                </a:solidFill>
                <a:latin typeface="Arial" charset="0"/>
              </a:defRPr>
            </a:lvl6pPr>
            <a:lvl7pPr marL="3074988" indent="-304800" defTabSz="895350" fontAlgn="base">
              <a:spcBef>
                <a:spcPct val="0"/>
              </a:spcBef>
              <a:spcAft>
                <a:spcPct val="0"/>
              </a:spcAft>
              <a:buClr>
                <a:schemeClr val="tx2"/>
              </a:buClr>
              <a:buSzPct val="89000"/>
              <a:buFont typeface="Arial" charset="0"/>
              <a:buChar char="-"/>
              <a:tabLst>
                <a:tab pos="177800" algn="l"/>
              </a:tabLst>
              <a:defRPr sz="1600">
                <a:solidFill>
                  <a:schemeClr val="tx1"/>
                </a:solidFill>
                <a:latin typeface="Arial" charset="0"/>
              </a:defRPr>
            </a:lvl7pPr>
            <a:lvl8pPr marL="3532188" indent="-304800" defTabSz="895350" fontAlgn="base">
              <a:spcBef>
                <a:spcPct val="0"/>
              </a:spcBef>
              <a:spcAft>
                <a:spcPct val="0"/>
              </a:spcAft>
              <a:buClr>
                <a:schemeClr val="tx2"/>
              </a:buClr>
              <a:buSzPct val="89000"/>
              <a:buFont typeface="Arial" charset="0"/>
              <a:buChar char="-"/>
              <a:tabLst>
                <a:tab pos="177800" algn="l"/>
              </a:tabLst>
              <a:defRPr sz="1600">
                <a:solidFill>
                  <a:schemeClr val="tx1"/>
                </a:solidFill>
                <a:latin typeface="Arial" charset="0"/>
              </a:defRPr>
            </a:lvl8pPr>
            <a:lvl9pPr marL="3989388" indent="-304800" defTabSz="895350" fontAlgn="base">
              <a:spcBef>
                <a:spcPct val="0"/>
              </a:spcBef>
              <a:spcAft>
                <a:spcPct val="0"/>
              </a:spcAft>
              <a:buClr>
                <a:schemeClr val="tx2"/>
              </a:buClr>
              <a:buSzPct val="89000"/>
              <a:buFont typeface="Arial" charset="0"/>
              <a:buChar char="-"/>
              <a:tabLst>
                <a:tab pos="177800" algn="l"/>
              </a:tabLst>
              <a:defRPr sz="1600">
                <a:solidFill>
                  <a:schemeClr val="tx1"/>
                </a:solidFill>
                <a:latin typeface="Arial" charset="0"/>
              </a:defRPr>
            </a:lvl9pPr>
          </a:lstStyle>
          <a:p>
            <a:pPr lvl="1"/>
            <a:r>
              <a:rPr lang="en-US" sz="800" b="0" dirty="0">
                <a:latin typeface="+mn-lt"/>
              </a:rPr>
              <a:t>Helped to develop strategic development plans</a:t>
            </a:r>
          </a:p>
          <a:p>
            <a:pPr lvl="1"/>
            <a:r>
              <a:rPr lang="en-US" sz="800" dirty="0">
                <a:latin typeface="+mn-lt"/>
              </a:rPr>
              <a:t>Optimized operations performance</a:t>
            </a:r>
          </a:p>
          <a:p>
            <a:pPr lvl="1"/>
            <a:r>
              <a:rPr lang="en-US" sz="800" b="0" dirty="0">
                <a:latin typeface="+mn-lt"/>
              </a:rPr>
              <a:t>Optimized </a:t>
            </a:r>
            <a:r>
              <a:rPr lang="en-US" sz="800" b="0" dirty="0" err="1">
                <a:latin typeface="+mn-lt"/>
              </a:rPr>
              <a:t>capex</a:t>
            </a:r>
            <a:r>
              <a:rPr lang="en-US" sz="800" b="0" dirty="0">
                <a:latin typeface="+mn-lt"/>
              </a:rPr>
              <a:t> program planning and execution </a:t>
            </a:r>
          </a:p>
        </p:txBody>
      </p:sp>
      <p:sp>
        <p:nvSpPr>
          <p:cNvPr id="123" name="Rectangle 122"/>
          <p:cNvSpPr>
            <a:spLocks/>
          </p:cNvSpPr>
          <p:nvPr/>
        </p:nvSpPr>
        <p:spPr bwMode="gray">
          <a:xfrm>
            <a:off x="1459302" y="5321052"/>
            <a:ext cx="1087463" cy="369332"/>
          </a:xfrm>
          <a:prstGeom prst="rect">
            <a:avLst/>
          </a:prstGeom>
          <a:solidFill>
            <a:schemeClr val="bg1"/>
          </a:solid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54000" tIns="36000" rIns="54000" bIns="36000" rtlCol="0" anchor="ctr">
            <a:noAutofit/>
          </a:bodyPr>
          <a:lstStyle/>
          <a:p>
            <a:r>
              <a:rPr lang="en-US" sz="800">
                <a:solidFill>
                  <a:schemeClr val="tx1"/>
                </a:solidFill>
              </a:rPr>
              <a:t>A leading global mining company</a:t>
            </a:r>
            <a:endParaRPr lang="en-US" sz="800" dirty="0" err="1">
              <a:solidFill>
                <a:schemeClr val="tx1"/>
              </a:solidFill>
            </a:endParaRPr>
          </a:p>
        </p:txBody>
      </p:sp>
      <p:sp>
        <p:nvSpPr>
          <p:cNvPr id="101" name="Rectangle 11"/>
          <p:cNvSpPr>
            <a:spLocks noChangeArrowheads="1"/>
          </p:cNvSpPr>
          <p:nvPr/>
        </p:nvSpPr>
        <p:spPr bwMode="gray">
          <a:xfrm>
            <a:off x="2624941" y="4896434"/>
            <a:ext cx="6089648"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algn="l" defTabSz="895350">
              <a:buClr>
                <a:schemeClr val="tx2"/>
              </a:buClr>
              <a:tabLst>
                <a:tab pos="177800" algn="l"/>
              </a:tabLst>
              <a:defRPr sz="1600">
                <a:solidFill>
                  <a:schemeClr val="tx1"/>
                </a:solidFill>
                <a:latin typeface="Arial" charset="0"/>
              </a:defRPr>
            </a:lvl1pPr>
            <a:lvl2pPr marL="179388" indent="-177800" algn="l" defTabSz="895350">
              <a:buClr>
                <a:schemeClr val="tx2"/>
              </a:buClr>
              <a:buSzPct val="125000"/>
              <a:buFont typeface="Arial" charset="0"/>
              <a:buChar char="▪"/>
              <a:tabLst>
                <a:tab pos="177800" algn="l"/>
              </a:tabLst>
              <a:defRPr sz="1600">
                <a:solidFill>
                  <a:schemeClr val="tx1"/>
                </a:solidFill>
                <a:latin typeface="Arial" charset="0"/>
              </a:defRPr>
            </a:lvl2pPr>
            <a:lvl3pPr marL="1192213" indent="-304800" algn="l" defTabSz="895350">
              <a:buClr>
                <a:schemeClr val="tx2"/>
              </a:buClr>
              <a:buSzPct val="120000"/>
              <a:buFont typeface="Arial" charset="0"/>
              <a:buChar char="–"/>
              <a:tabLst>
                <a:tab pos="177800" algn="l"/>
              </a:tabLst>
              <a:defRPr sz="1600">
                <a:solidFill>
                  <a:schemeClr val="tx1"/>
                </a:solidFill>
                <a:latin typeface="Arial" charset="0"/>
              </a:defRPr>
            </a:lvl3pPr>
            <a:lvl4pPr marL="1676400" indent="-304800" algn="l" defTabSz="895350">
              <a:buClr>
                <a:schemeClr val="tx2"/>
              </a:buClr>
              <a:buSzPct val="120000"/>
              <a:buFont typeface="Arial" charset="0"/>
              <a:buChar char="▫"/>
              <a:tabLst>
                <a:tab pos="177800" algn="l"/>
              </a:tabLst>
              <a:defRPr sz="1600">
                <a:solidFill>
                  <a:schemeClr val="tx1"/>
                </a:solidFill>
                <a:latin typeface="Arial" charset="0"/>
              </a:defRPr>
            </a:lvl4pPr>
            <a:lvl5pPr marL="2160588" indent="-304800" algn="l" defTabSz="895350">
              <a:buClr>
                <a:schemeClr val="tx2"/>
              </a:buClr>
              <a:buSzPct val="89000"/>
              <a:buFont typeface="Arial" charset="0"/>
              <a:buChar char="-"/>
              <a:tabLst>
                <a:tab pos="177800" algn="l"/>
              </a:tabLst>
              <a:defRPr sz="1600">
                <a:solidFill>
                  <a:schemeClr val="tx1"/>
                </a:solidFill>
                <a:latin typeface="Arial" charset="0"/>
              </a:defRPr>
            </a:lvl5pPr>
            <a:lvl6pPr marL="2617788" indent="-304800" defTabSz="895350" fontAlgn="base">
              <a:spcBef>
                <a:spcPct val="0"/>
              </a:spcBef>
              <a:spcAft>
                <a:spcPct val="0"/>
              </a:spcAft>
              <a:buClr>
                <a:schemeClr val="tx2"/>
              </a:buClr>
              <a:buSzPct val="89000"/>
              <a:buFont typeface="Arial" charset="0"/>
              <a:buChar char="-"/>
              <a:tabLst>
                <a:tab pos="177800" algn="l"/>
              </a:tabLst>
              <a:defRPr sz="1600">
                <a:solidFill>
                  <a:schemeClr val="tx1"/>
                </a:solidFill>
                <a:latin typeface="Arial" charset="0"/>
              </a:defRPr>
            </a:lvl6pPr>
            <a:lvl7pPr marL="3074988" indent="-304800" defTabSz="895350" fontAlgn="base">
              <a:spcBef>
                <a:spcPct val="0"/>
              </a:spcBef>
              <a:spcAft>
                <a:spcPct val="0"/>
              </a:spcAft>
              <a:buClr>
                <a:schemeClr val="tx2"/>
              </a:buClr>
              <a:buSzPct val="89000"/>
              <a:buFont typeface="Arial" charset="0"/>
              <a:buChar char="-"/>
              <a:tabLst>
                <a:tab pos="177800" algn="l"/>
              </a:tabLst>
              <a:defRPr sz="1600">
                <a:solidFill>
                  <a:schemeClr val="tx1"/>
                </a:solidFill>
                <a:latin typeface="Arial" charset="0"/>
              </a:defRPr>
            </a:lvl7pPr>
            <a:lvl8pPr marL="3532188" indent="-304800" defTabSz="895350" fontAlgn="base">
              <a:spcBef>
                <a:spcPct val="0"/>
              </a:spcBef>
              <a:spcAft>
                <a:spcPct val="0"/>
              </a:spcAft>
              <a:buClr>
                <a:schemeClr val="tx2"/>
              </a:buClr>
              <a:buSzPct val="89000"/>
              <a:buFont typeface="Arial" charset="0"/>
              <a:buChar char="-"/>
              <a:tabLst>
                <a:tab pos="177800" algn="l"/>
              </a:tabLst>
              <a:defRPr sz="1600">
                <a:solidFill>
                  <a:schemeClr val="tx1"/>
                </a:solidFill>
                <a:latin typeface="Arial" charset="0"/>
              </a:defRPr>
            </a:lvl8pPr>
            <a:lvl9pPr marL="3989388" indent="-304800" defTabSz="895350" fontAlgn="base">
              <a:spcBef>
                <a:spcPct val="0"/>
              </a:spcBef>
              <a:spcAft>
                <a:spcPct val="0"/>
              </a:spcAft>
              <a:buClr>
                <a:schemeClr val="tx2"/>
              </a:buClr>
              <a:buSzPct val="89000"/>
              <a:buFont typeface="Arial" charset="0"/>
              <a:buChar char="-"/>
              <a:tabLst>
                <a:tab pos="177800" algn="l"/>
              </a:tabLst>
              <a:defRPr sz="1600">
                <a:solidFill>
                  <a:schemeClr val="tx1"/>
                </a:solidFill>
                <a:latin typeface="Arial" charset="0"/>
              </a:defRPr>
            </a:lvl9pPr>
          </a:lstStyle>
          <a:p>
            <a:pPr lvl="1"/>
            <a:r>
              <a:rPr lang="en-US" sz="800" dirty="0">
                <a:latin typeface="+mn-lt"/>
              </a:rPr>
              <a:t>Performed large-scale improvement programs of multiple operations</a:t>
            </a:r>
            <a:endParaRPr lang="en-US" sz="800" b="0" dirty="0">
              <a:latin typeface="+mn-lt"/>
            </a:endParaRPr>
          </a:p>
          <a:p>
            <a:pPr lvl="1"/>
            <a:r>
              <a:rPr lang="en-US" sz="800" dirty="0">
                <a:latin typeface="+mn-lt"/>
              </a:rPr>
              <a:t>Supported international growth </a:t>
            </a:r>
            <a:r>
              <a:rPr lang="en-US" sz="800" b="0" dirty="0">
                <a:latin typeface="+mn-lt"/>
              </a:rPr>
              <a:t>strategy </a:t>
            </a:r>
          </a:p>
          <a:p>
            <a:pPr lvl="1"/>
            <a:r>
              <a:rPr lang="en-US" sz="800" dirty="0">
                <a:latin typeface="+mn-lt"/>
              </a:rPr>
              <a:t>Ran large-scale operations transformation efforts</a:t>
            </a:r>
          </a:p>
        </p:txBody>
      </p:sp>
      <p:sp>
        <p:nvSpPr>
          <p:cNvPr id="132" name="Rectangle 131"/>
          <p:cNvSpPr>
            <a:spLocks/>
          </p:cNvSpPr>
          <p:nvPr/>
        </p:nvSpPr>
        <p:spPr bwMode="gray">
          <a:xfrm>
            <a:off x="1459302" y="4896434"/>
            <a:ext cx="1087463" cy="369332"/>
          </a:xfrm>
          <a:prstGeom prst="rect">
            <a:avLst/>
          </a:prstGeom>
          <a:solidFill>
            <a:schemeClr val="bg1"/>
          </a:solid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54000" tIns="36000" rIns="54000" bIns="36000" rtlCol="0" anchor="ctr">
            <a:noAutofit/>
          </a:bodyPr>
          <a:lstStyle/>
          <a:p>
            <a:r>
              <a:rPr lang="en-US" sz="800">
                <a:solidFill>
                  <a:schemeClr val="tx1"/>
                </a:solidFill>
              </a:rPr>
              <a:t>One of largest mining companies globally</a:t>
            </a:r>
            <a:endParaRPr lang="en-US" sz="800" dirty="0" err="1">
              <a:solidFill>
                <a:schemeClr val="tx1"/>
              </a:solidFill>
            </a:endParaRPr>
          </a:p>
        </p:txBody>
      </p:sp>
      <p:sp>
        <p:nvSpPr>
          <p:cNvPr id="73" name="Rectangle 11"/>
          <p:cNvSpPr>
            <a:spLocks noChangeArrowheads="1"/>
          </p:cNvSpPr>
          <p:nvPr/>
        </p:nvSpPr>
        <p:spPr bwMode="gray">
          <a:xfrm>
            <a:off x="2624941" y="5745676"/>
            <a:ext cx="6089648"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algn="l" defTabSz="895350">
              <a:buClr>
                <a:schemeClr val="tx2"/>
              </a:buClr>
              <a:tabLst>
                <a:tab pos="177800" algn="l"/>
              </a:tabLst>
              <a:defRPr sz="1600">
                <a:solidFill>
                  <a:schemeClr val="tx1"/>
                </a:solidFill>
                <a:latin typeface="Arial" charset="0"/>
              </a:defRPr>
            </a:lvl1pPr>
            <a:lvl2pPr marL="179388" indent="-177800" algn="l" defTabSz="895350">
              <a:buClr>
                <a:schemeClr val="tx2"/>
              </a:buClr>
              <a:buSzPct val="125000"/>
              <a:buFont typeface="Arial" charset="0"/>
              <a:buChar char="▪"/>
              <a:tabLst>
                <a:tab pos="177800" algn="l"/>
              </a:tabLst>
              <a:defRPr sz="1600">
                <a:solidFill>
                  <a:schemeClr val="tx1"/>
                </a:solidFill>
                <a:latin typeface="Arial" charset="0"/>
              </a:defRPr>
            </a:lvl2pPr>
            <a:lvl3pPr marL="1192213" indent="-304800" algn="l" defTabSz="895350">
              <a:buClr>
                <a:schemeClr val="tx2"/>
              </a:buClr>
              <a:buSzPct val="120000"/>
              <a:buFont typeface="Arial" charset="0"/>
              <a:buChar char="–"/>
              <a:tabLst>
                <a:tab pos="177800" algn="l"/>
              </a:tabLst>
              <a:defRPr sz="1600">
                <a:solidFill>
                  <a:schemeClr val="tx1"/>
                </a:solidFill>
                <a:latin typeface="Arial" charset="0"/>
              </a:defRPr>
            </a:lvl3pPr>
            <a:lvl4pPr marL="1676400" indent="-304800" algn="l" defTabSz="895350">
              <a:buClr>
                <a:schemeClr val="tx2"/>
              </a:buClr>
              <a:buSzPct val="120000"/>
              <a:buFont typeface="Arial" charset="0"/>
              <a:buChar char="▫"/>
              <a:tabLst>
                <a:tab pos="177800" algn="l"/>
              </a:tabLst>
              <a:defRPr sz="1600">
                <a:solidFill>
                  <a:schemeClr val="tx1"/>
                </a:solidFill>
                <a:latin typeface="Arial" charset="0"/>
              </a:defRPr>
            </a:lvl4pPr>
            <a:lvl5pPr marL="2160588" indent="-304800" algn="l" defTabSz="895350">
              <a:buClr>
                <a:schemeClr val="tx2"/>
              </a:buClr>
              <a:buSzPct val="89000"/>
              <a:buFont typeface="Arial" charset="0"/>
              <a:buChar char="-"/>
              <a:tabLst>
                <a:tab pos="177800" algn="l"/>
              </a:tabLst>
              <a:defRPr sz="1600">
                <a:solidFill>
                  <a:schemeClr val="tx1"/>
                </a:solidFill>
                <a:latin typeface="Arial" charset="0"/>
              </a:defRPr>
            </a:lvl5pPr>
            <a:lvl6pPr marL="2617788" indent="-304800" defTabSz="895350" fontAlgn="base">
              <a:spcBef>
                <a:spcPct val="0"/>
              </a:spcBef>
              <a:spcAft>
                <a:spcPct val="0"/>
              </a:spcAft>
              <a:buClr>
                <a:schemeClr val="tx2"/>
              </a:buClr>
              <a:buSzPct val="89000"/>
              <a:buFont typeface="Arial" charset="0"/>
              <a:buChar char="-"/>
              <a:tabLst>
                <a:tab pos="177800" algn="l"/>
              </a:tabLst>
              <a:defRPr sz="1600">
                <a:solidFill>
                  <a:schemeClr val="tx1"/>
                </a:solidFill>
                <a:latin typeface="Arial" charset="0"/>
              </a:defRPr>
            </a:lvl6pPr>
            <a:lvl7pPr marL="3074988" indent="-304800" defTabSz="895350" fontAlgn="base">
              <a:spcBef>
                <a:spcPct val="0"/>
              </a:spcBef>
              <a:spcAft>
                <a:spcPct val="0"/>
              </a:spcAft>
              <a:buClr>
                <a:schemeClr val="tx2"/>
              </a:buClr>
              <a:buSzPct val="89000"/>
              <a:buFont typeface="Arial" charset="0"/>
              <a:buChar char="-"/>
              <a:tabLst>
                <a:tab pos="177800" algn="l"/>
              </a:tabLst>
              <a:defRPr sz="1600">
                <a:solidFill>
                  <a:schemeClr val="tx1"/>
                </a:solidFill>
                <a:latin typeface="Arial" charset="0"/>
              </a:defRPr>
            </a:lvl7pPr>
            <a:lvl8pPr marL="3532188" indent="-304800" defTabSz="895350" fontAlgn="base">
              <a:spcBef>
                <a:spcPct val="0"/>
              </a:spcBef>
              <a:spcAft>
                <a:spcPct val="0"/>
              </a:spcAft>
              <a:buClr>
                <a:schemeClr val="tx2"/>
              </a:buClr>
              <a:buSzPct val="89000"/>
              <a:buFont typeface="Arial" charset="0"/>
              <a:buChar char="-"/>
              <a:tabLst>
                <a:tab pos="177800" algn="l"/>
              </a:tabLst>
              <a:defRPr sz="1600">
                <a:solidFill>
                  <a:schemeClr val="tx1"/>
                </a:solidFill>
                <a:latin typeface="Arial" charset="0"/>
              </a:defRPr>
            </a:lvl8pPr>
            <a:lvl9pPr marL="3989388" indent="-304800" defTabSz="895350" fontAlgn="base">
              <a:spcBef>
                <a:spcPct val="0"/>
              </a:spcBef>
              <a:spcAft>
                <a:spcPct val="0"/>
              </a:spcAft>
              <a:buClr>
                <a:schemeClr val="tx2"/>
              </a:buClr>
              <a:buSzPct val="89000"/>
              <a:buFont typeface="Arial" charset="0"/>
              <a:buChar char="-"/>
              <a:tabLst>
                <a:tab pos="177800" algn="l"/>
              </a:tabLst>
              <a:defRPr sz="1600">
                <a:solidFill>
                  <a:schemeClr val="tx1"/>
                </a:solidFill>
                <a:latin typeface="Arial" charset="0"/>
              </a:defRPr>
            </a:lvl9pPr>
          </a:lstStyle>
          <a:p>
            <a:pPr lvl="1"/>
            <a:r>
              <a:rPr lang="en-US" sz="800" b="0" dirty="0">
                <a:latin typeface="+mn-lt"/>
              </a:rPr>
              <a:t>Supported development of corporate strategy</a:t>
            </a:r>
          </a:p>
          <a:p>
            <a:pPr lvl="1"/>
            <a:r>
              <a:rPr lang="en-US" sz="800" dirty="0">
                <a:latin typeface="+mn-lt"/>
              </a:rPr>
              <a:t>Reviewed group organization, top talent development</a:t>
            </a:r>
          </a:p>
          <a:p>
            <a:pPr lvl="1"/>
            <a:r>
              <a:rPr lang="en-US" sz="800" b="0" dirty="0">
                <a:latin typeface="+mn-lt"/>
              </a:rPr>
              <a:t>Helped to identify productivity improvement areas and levers</a:t>
            </a:r>
          </a:p>
        </p:txBody>
      </p:sp>
      <p:sp>
        <p:nvSpPr>
          <p:cNvPr id="140" name="Rectangle 139"/>
          <p:cNvSpPr>
            <a:spLocks/>
          </p:cNvSpPr>
          <p:nvPr/>
        </p:nvSpPr>
        <p:spPr bwMode="gray">
          <a:xfrm>
            <a:off x="1459302" y="5745676"/>
            <a:ext cx="1087463" cy="369332"/>
          </a:xfrm>
          <a:prstGeom prst="rect">
            <a:avLst/>
          </a:prstGeom>
          <a:solidFill>
            <a:schemeClr val="bg1"/>
          </a:solid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54000" tIns="36000" rIns="54000" bIns="36000" rtlCol="0" anchor="ctr">
            <a:noAutofit/>
          </a:bodyPr>
          <a:lstStyle/>
          <a:p>
            <a:r>
              <a:rPr lang="en-US" sz="800" dirty="0">
                <a:solidFill>
                  <a:schemeClr val="tx1"/>
                </a:solidFill>
              </a:rPr>
              <a:t>A leading global mining company</a:t>
            </a:r>
          </a:p>
        </p:txBody>
      </p:sp>
      <p:sp>
        <p:nvSpPr>
          <p:cNvPr id="122" name="Rectangle 11"/>
          <p:cNvSpPr>
            <a:spLocks noChangeArrowheads="1"/>
          </p:cNvSpPr>
          <p:nvPr/>
        </p:nvSpPr>
        <p:spPr bwMode="gray">
          <a:xfrm>
            <a:off x="2624941" y="4518547"/>
            <a:ext cx="6089648"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algn="l" defTabSz="895350">
              <a:buClr>
                <a:schemeClr val="tx2"/>
              </a:buClr>
              <a:tabLst>
                <a:tab pos="177800" algn="l"/>
              </a:tabLst>
              <a:defRPr sz="1600">
                <a:solidFill>
                  <a:schemeClr val="tx1"/>
                </a:solidFill>
                <a:latin typeface="Arial" charset="0"/>
              </a:defRPr>
            </a:lvl1pPr>
            <a:lvl2pPr marL="179388" indent="-177800" algn="l" defTabSz="895350">
              <a:buClr>
                <a:schemeClr val="tx2"/>
              </a:buClr>
              <a:buSzPct val="125000"/>
              <a:buFont typeface="Arial" charset="0"/>
              <a:buChar char="▪"/>
              <a:tabLst>
                <a:tab pos="177800" algn="l"/>
              </a:tabLst>
              <a:defRPr sz="1600">
                <a:solidFill>
                  <a:schemeClr val="tx1"/>
                </a:solidFill>
                <a:latin typeface="Arial" charset="0"/>
              </a:defRPr>
            </a:lvl2pPr>
            <a:lvl3pPr marL="1192213" indent="-304800" algn="l" defTabSz="895350">
              <a:buClr>
                <a:schemeClr val="tx2"/>
              </a:buClr>
              <a:buSzPct val="120000"/>
              <a:buFont typeface="Arial" charset="0"/>
              <a:buChar char="–"/>
              <a:tabLst>
                <a:tab pos="177800" algn="l"/>
              </a:tabLst>
              <a:defRPr sz="1600">
                <a:solidFill>
                  <a:schemeClr val="tx1"/>
                </a:solidFill>
                <a:latin typeface="Arial" charset="0"/>
              </a:defRPr>
            </a:lvl3pPr>
            <a:lvl4pPr marL="1676400" indent="-304800" algn="l" defTabSz="895350">
              <a:buClr>
                <a:schemeClr val="tx2"/>
              </a:buClr>
              <a:buSzPct val="120000"/>
              <a:buFont typeface="Arial" charset="0"/>
              <a:buChar char="▫"/>
              <a:tabLst>
                <a:tab pos="177800" algn="l"/>
              </a:tabLst>
              <a:defRPr sz="1600">
                <a:solidFill>
                  <a:schemeClr val="tx1"/>
                </a:solidFill>
                <a:latin typeface="Arial" charset="0"/>
              </a:defRPr>
            </a:lvl4pPr>
            <a:lvl5pPr marL="2160588" indent="-304800" algn="l" defTabSz="895350">
              <a:buClr>
                <a:schemeClr val="tx2"/>
              </a:buClr>
              <a:buSzPct val="89000"/>
              <a:buFont typeface="Arial" charset="0"/>
              <a:buChar char="-"/>
              <a:tabLst>
                <a:tab pos="177800" algn="l"/>
              </a:tabLst>
              <a:defRPr sz="1600">
                <a:solidFill>
                  <a:schemeClr val="tx1"/>
                </a:solidFill>
                <a:latin typeface="Arial" charset="0"/>
              </a:defRPr>
            </a:lvl5pPr>
            <a:lvl6pPr marL="2617788" indent="-304800" defTabSz="895350" fontAlgn="base">
              <a:spcBef>
                <a:spcPct val="0"/>
              </a:spcBef>
              <a:spcAft>
                <a:spcPct val="0"/>
              </a:spcAft>
              <a:buClr>
                <a:schemeClr val="tx2"/>
              </a:buClr>
              <a:buSzPct val="89000"/>
              <a:buFont typeface="Arial" charset="0"/>
              <a:buChar char="-"/>
              <a:tabLst>
                <a:tab pos="177800" algn="l"/>
              </a:tabLst>
              <a:defRPr sz="1600">
                <a:solidFill>
                  <a:schemeClr val="tx1"/>
                </a:solidFill>
                <a:latin typeface="Arial" charset="0"/>
              </a:defRPr>
            </a:lvl6pPr>
            <a:lvl7pPr marL="3074988" indent="-304800" defTabSz="895350" fontAlgn="base">
              <a:spcBef>
                <a:spcPct val="0"/>
              </a:spcBef>
              <a:spcAft>
                <a:spcPct val="0"/>
              </a:spcAft>
              <a:buClr>
                <a:schemeClr val="tx2"/>
              </a:buClr>
              <a:buSzPct val="89000"/>
              <a:buFont typeface="Arial" charset="0"/>
              <a:buChar char="-"/>
              <a:tabLst>
                <a:tab pos="177800" algn="l"/>
              </a:tabLst>
              <a:defRPr sz="1600">
                <a:solidFill>
                  <a:schemeClr val="tx1"/>
                </a:solidFill>
                <a:latin typeface="Arial" charset="0"/>
              </a:defRPr>
            </a:lvl7pPr>
            <a:lvl8pPr marL="3532188" indent="-304800" defTabSz="895350" fontAlgn="base">
              <a:spcBef>
                <a:spcPct val="0"/>
              </a:spcBef>
              <a:spcAft>
                <a:spcPct val="0"/>
              </a:spcAft>
              <a:buClr>
                <a:schemeClr val="tx2"/>
              </a:buClr>
              <a:buSzPct val="89000"/>
              <a:buFont typeface="Arial" charset="0"/>
              <a:buChar char="-"/>
              <a:tabLst>
                <a:tab pos="177800" algn="l"/>
              </a:tabLst>
              <a:defRPr sz="1600">
                <a:solidFill>
                  <a:schemeClr val="tx1"/>
                </a:solidFill>
                <a:latin typeface="Arial" charset="0"/>
              </a:defRPr>
            </a:lvl8pPr>
            <a:lvl9pPr marL="3989388" indent="-304800" defTabSz="895350" fontAlgn="base">
              <a:spcBef>
                <a:spcPct val="0"/>
              </a:spcBef>
              <a:spcAft>
                <a:spcPct val="0"/>
              </a:spcAft>
              <a:buClr>
                <a:schemeClr val="tx2"/>
              </a:buClr>
              <a:buSzPct val="89000"/>
              <a:buFont typeface="Arial" charset="0"/>
              <a:buChar char="-"/>
              <a:tabLst>
                <a:tab pos="177800" algn="l"/>
              </a:tabLst>
              <a:defRPr sz="1600">
                <a:solidFill>
                  <a:schemeClr val="tx1"/>
                </a:solidFill>
                <a:latin typeface="Arial" charset="0"/>
              </a:defRPr>
            </a:lvl9pPr>
          </a:lstStyle>
          <a:p>
            <a:pPr lvl="1"/>
            <a:r>
              <a:rPr lang="en-US" sz="800" dirty="0">
                <a:latin typeface="+mn-lt"/>
              </a:rPr>
              <a:t>Performing large-scale improvement programs of Australian coal, iron ore and nickel assets</a:t>
            </a:r>
          </a:p>
          <a:p>
            <a:pPr lvl="1"/>
            <a:r>
              <a:rPr lang="en-US" sz="800" b="0" dirty="0">
                <a:latin typeface="+mn-lt"/>
              </a:rPr>
              <a:t>Transformation efforts through joint teams, focusing on Operations </a:t>
            </a:r>
            <a:r>
              <a:rPr lang="en-US" sz="800" dirty="0">
                <a:latin typeface="+mn-lt"/>
              </a:rPr>
              <a:t>improvement </a:t>
            </a:r>
            <a:r>
              <a:rPr lang="en-US" sz="800" b="0" dirty="0">
                <a:latin typeface="+mn-lt"/>
              </a:rPr>
              <a:t>and </a:t>
            </a:r>
            <a:r>
              <a:rPr lang="en-US" sz="800" b="0" dirty="0" err="1">
                <a:latin typeface="+mn-lt"/>
              </a:rPr>
              <a:t>Capex</a:t>
            </a:r>
            <a:r>
              <a:rPr lang="en-US" sz="800" b="0" dirty="0">
                <a:latin typeface="+mn-lt"/>
              </a:rPr>
              <a:t> optimization</a:t>
            </a:r>
          </a:p>
        </p:txBody>
      </p:sp>
      <p:sp>
        <p:nvSpPr>
          <p:cNvPr id="141" name="Rectangle 140"/>
          <p:cNvSpPr>
            <a:spLocks/>
          </p:cNvSpPr>
          <p:nvPr/>
        </p:nvSpPr>
        <p:spPr bwMode="gray">
          <a:xfrm>
            <a:off x="1459302" y="4518547"/>
            <a:ext cx="1087463" cy="322601"/>
          </a:xfrm>
          <a:prstGeom prst="rect">
            <a:avLst/>
          </a:prstGeom>
          <a:solidFill>
            <a:schemeClr val="bg1"/>
          </a:solid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54000" tIns="36000" rIns="54000" bIns="36000" rtlCol="0" anchor="ctr">
            <a:noAutofit/>
          </a:bodyPr>
          <a:lstStyle/>
          <a:p>
            <a:r>
              <a:rPr lang="en-US" sz="800">
                <a:solidFill>
                  <a:schemeClr val="tx1"/>
                </a:solidFill>
              </a:rPr>
              <a:t>One of largest mining companies globally</a:t>
            </a:r>
            <a:endParaRPr lang="en-US" sz="800" dirty="0" err="1">
              <a:solidFill>
                <a:schemeClr val="tx1"/>
              </a:solidFill>
            </a:endParaRPr>
          </a:p>
        </p:txBody>
      </p:sp>
      <p:sp>
        <p:nvSpPr>
          <p:cNvPr id="130" name="Rectangle 5"/>
          <p:cNvSpPr txBox="1">
            <a:spLocks noChangeArrowheads="1"/>
          </p:cNvSpPr>
          <p:nvPr>
            <p:custDataLst>
              <p:tags r:id="rId4"/>
            </p:custDataLst>
          </p:nvPr>
        </p:nvSpPr>
        <p:spPr bwMode="gray">
          <a:xfrm>
            <a:off x="476116" y="2665100"/>
            <a:ext cx="932345" cy="1807278"/>
          </a:xfrm>
          <a:prstGeom prst="rect">
            <a:avLst/>
          </a:prstGeom>
          <a:solidFill>
            <a:schemeClr val="accent2"/>
          </a:solidFill>
          <a:ln w="9525">
            <a:noFill/>
            <a:miter lim="800000"/>
            <a:headEnd/>
            <a:tailEnd/>
          </a:ln>
          <a:effectLst/>
          <a:extLst/>
        </p:spPr>
        <p:txBody>
          <a:bodyPr vert="horz" wrap="square" lIns="365760" tIns="72009" rIns="72009" bIns="72009" numCol="1" anchor="ctr" anchorCtr="0" compatLnSpc="1">
            <a:prstTxWarp prst="textNoShape">
              <a:avLst/>
            </a:prstTxWarp>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defTabSz="1019175"/>
            <a:r>
              <a:rPr lang="en-US" sz="800" b="1" dirty="0">
                <a:solidFill>
                  <a:schemeClr val="bg1"/>
                </a:solidFill>
              </a:rPr>
              <a:t>Served 8 out of top 10 steel players in Europe</a:t>
            </a:r>
            <a:endParaRPr lang="en-US" sz="800" i="1" dirty="0">
              <a:solidFill>
                <a:schemeClr val="bg1"/>
              </a:solidFill>
            </a:endParaRPr>
          </a:p>
        </p:txBody>
      </p:sp>
      <p:cxnSp>
        <p:nvCxnSpPr>
          <p:cNvPr id="135" name="Straight Connector 134"/>
          <p:cNvCxnSpPr>
            <a:cxnSpLocks/>
          </p:cNvCxnSpPr>
          <p:nvPr/>
        </p:nvCxnSpPr>
        <p:spPr bwMode="gray">
          <a:xfrm>
            <a:off x="476116" y="4502917"/>
            <a:ext cx="8238473" cy="0"/>
          </a:xfrm>
          <a:prstGeom prst="line">
            <a:avLst/>
          </a:prstGeom>
          <a:ln w="19050">
            <a:solidFill>
              <a:schemeClr val="accent6"/>
            </a:solidFill>
            <a:prstDash val="sysDot"/>
          </a:ln>
        </p:spPr>
        <p:style>
          <a:lnRef idx="1">
            <a:schemeClr val="accent1"/>
          </a:lnRef>
          <a:fillRef idx="0">
            <a:schemeClr val="accent1"/>
          </a:fillRef>
          <a:effectRef idx="0">
            <a:schemeClr val="accent1"/>
          </a:effectRef>
          <a:fontRef idx="minor">
            <a:schemeClr val="tx1"/>
          </a:fontRef>
        </p:style>
      </p:cxnSp>
      <p:grpSp>
        <p:nvGrpSpPr>
          <p:cNvPr id="27" name="Group 26"/>
          <p:cNvGrpSpPr/>
          <p:nvPr/>
        </p:nvGrpSpPr>
        <p:grpSpPr>
          <a:xfrm>
            <a:off x="255814" y="3294683"/>
            <a:ext cx="548112" cy="548112"/>
            <a:chOff x="231759" y="1758247"/>
            <a:chExt cx="548112" cy="548112"/>
          </a:xfrm>
        </p:grpSpPr>
        <p:sp>
          <p:nvSpPr>
            <p:cNvPr id="42" name="Oval 41"/>
            <p:cNvSpPr>
              <a:spLocks/>
            </p:cNvSpPr>
            <p:nvPr/>
          </p:nvSpPr>
          <p:spPr bwMode="gray">
            <a:xfrm>
              <a:off x="231759" y="1758247"/>
              <a:ext cx="548112" cy="548112"/>
            </a:xfrm>
            <a:prstGeom prst="ellipse">
              <a:avLst/>
            </a:prstGeom>
            <a:solidFill>
              <a:schemeClr val="accent3"/>
            </a:solidFill>
            <a:ln w="9525">
              <a:noFill/>
            </a:ln>
            <a:effectLst>
              <a:outerShdw blurRad="63500" dist="127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err="1">
                <a:solidFill>
                  <a:schemeClr val="tx1"/>
                </a:solidFill>
              </a:endParaRPr>
            </a:p>
          </p:txBody>
        </p:sp>
        <p:sp>
          <p:nvSpPr>
            <p:cNvPr id="176" name="Freeform 75"/>
            <p:cNvSpPr>
              <a:spLocks noEditPoints="1"/>
            </p:cNvSpPr>
            <p:nvPr/>
          </p:nvSpPr>
          <p:spPr bwMode="gray">
            <a:xfrm>
              <a:off x="310251" y="1862060"/>
              <a:ext cx="391128" cy="340486"/>
            </a:xfrm>
            <a:custGeom>
              <a:avLst/>
              <a:gdLst>
                <a:gd name="T0" fmla="*/ 2146 w 3908"/>
                <a:gd name="T1" fmla="*/ 452 h 3402"/>
                <a:gd name="T2" fmla="*/ 2078 w 3908"/>
                <a:gd name="T3" fmla="*/ 440 h 3402"/>
                <a:gd name="T4" fmla="*/ 1932 w 3908"/>
                <a:gd name="T5" fmla="*/ 344 h 3402"/>
                <a:gd name="T6" fmla="*/ 2018 w 3908"/>
                <a:gd name="T7" fmla="*/ 314 h 3402"/>
                <a:gd name="T8" fmla="*/ 2040 w 3908"/>
                <a:gd name="T9" fmla="*/ 128 h 3402"/>
                <a:gd name="T10" fmla="*/ 1982 w 3908"/>
                <a:gd name="T11" fmla="*/ 192 h 3402"/>
                <a:gd name="T12" fmla="*/ 1870 w 3908"/>
                <a:gd name="T13" fmla="*/ 272 h 3402"/>
                <a:gd name="T14" fmla="*/ 3470 w 3908"/>
                <a:gd name="T15" fmla="*/ 1876 h 3402"/>
                <a:gd name="T16" fmla="*/ 3828 w 3908"/>
                <a:gd name="T17" fmla="*/ 1558 h 3402"/>
                <a:gd name="T18" fmla="*/ 3434 w 3908"/>
                <a:gd name="T19" fmla="*/ 1104 h 3402"/>
                <a:gd name="T20" fmla="*/ 3008 w 3908"/>
                <a:gd name="T21" fmla="*/ 504 h 3402"/>
                <a:gd name="T22" fmla="*/ 2856 w 3908"/>
                <a:gd name="T23" fmla="*/ 858 h 3402"/>
                <a:gd name="T24" fmla="*/ 2636 w 3908"/>
                <a:gd name="T25" fmla="*/ 1112 h 3402"/>
                <a:gd name="T26" fmla="*/ 2454 w 3908"/>
                <a:gd name="T27" fmla="*/ 866 h 3402"/>
                <a:gd name="T28" fmla="*/ 2228 w 3908"/>
                <a:gd name="T29" fmla="*/ 790 h 3402"/>
                <a:gd name="T30" fmla="*/ 1968 w 3908"/>
                <a:gd name="T31" fmla="*/ 1122 h 3402"/>
                <a:gd name="T32" fmla="*/ 1856 w 3908"/>
                <a:gd name="T33" fmla="*/ 1724 h 3402"/>
                <a:gd name="T34" fmla="*/ 2168 w 3908"/>
                <a:gd name="T35" fmla="*/ 1660 h 3402"/>
                <a:gd name="T36" fmla="*/ 2276 w 3908"/>
                <a:gd name="T37" fmla="*/ 1272 h 3402"/>
                <a:gd name="T38" fmla="*/ 2502 w 3908"/>
                <a:gd name="T39" fmla="*/ 1524 h 3402"/>
                <a:gd name="T40" fmla="*/ 2300 w 3908"/>
                <a:gd name="T41" fmla="*/ 1742 h 3402"/>
                <a:gd name="T42" fmla="*/ 1916 w 3908"/>
                <a:gd name="T43" fmla="*/ 1972 h 3402"/>
                <a:gd name="T44" fmla="*/ 1826 w 3908"/>
                <a:gd name="T45" fmla="*/ 2018 h 3402"/>
                <a:gd name="T46" fmla="*/ 1358 w 3908"/>
                <a:gd name="T47" fmla="*/ 2340 h 3402"/>
                <a:gd name="T48" fmla="*/ 1344 w 3908"/>
                <a:gd name="T49" fmla="*/ 2566 h 3402"/>
                <a:gd name="T50" fmla="*/ 890 w 3908"/>
                <a:gd name="T51" fmla="*/ 3084 h 3402"/>
                <a:gd name="T52" fmla="*/ 1494 w 3908"/>
                <a:gd name="T53" fmla="*/ 2878 h 3402"/>
                <a:gd name="T54" fmla="*/ 2216 w 3908"/>
                <a:gd name="T55" fmla="*/ 3044 h 3402"/>
                <a:gd name="T56" fmla="*/ 1994 w 3908"/>
                <a:gd name="T57" fmla="*/ 2616 h 3402"/>
                <a:gd name="T58" fmla="*/ 2456 w 3908"/>
                <a:gd name="T59" fmla="*/ 3014 h 3402"/>
                <a:gd name="T60" fmla="*/ 2648 w 3908"/>
                <a:gd name="T61" fmla="*/ 3078 h 3402"/>
                <a:gd name="T62" fmla="*/ 2714 w 3908"/>
                <a:gd name="T63" fmla="*/ 2850 h 3402"/>
                <a:gd name="T64" fmla="*/ 2878 w 3908"/>
                <a:gd name="T65" fmla="*/ 3096 h 3402"/>
                <a:gd name="T66" fmla="*/ 3476 w 3908"/>
                <a:gd name="T67" fmla="*/ 2892 h 3402"/>
                <a:gd name="T68" fmla="*/ 3888 w 3908"/>
                <a:gd name="T69" fmla="*/ 2542 h 3402"/>
                <a:gd name="T70" fmla="*/ 3158 w 3908"/>
                <a:gd name="T71" fmla="*/ 2634 h 3402"/>
                <a:gd name="T72" fmla="*/ 2788 w 3908"/>
                <a:gd name="T73" fmla="*/ 2710 h 3402"/>
                <a:gd name="T74" fmla="*/ 3038 w 3908"/>
                <a:gd name="T75" fmla="*/ 2478 h 3402"/>
                <a:gd name="T76" fmla="*/ 3166 w 3908"/>
                <a:gd name="T77" fmla="*/ 2270 h 3402"/>
                <a:gd name="T78" fmla="*/ 960 w 3908"/>
                <a:gd name="T79" fmla="*/ 1188 h 3402"/>
                <a:gd name="T80" fmla="*/ 1102 w 3908"/>
                <a:gd name="T81" fmla="*/ 1038 h 3402"/>
                <a:gd name="T82" fmla="*/ 954 w 3908"/>
                <a:gd name="T83" fmla="*/ 962 h 3402"/>
                <a:gd name="T84" fmla="*/ 2706 w 3908"/>
                <a:gd name="T85" fmla="*/ 280 h 3402"/>
                <a:gd name="T86" fmla="*/ 2824 w 3908"/>
                <a:gd name="T87" fmla="*/ 548 h 3402"/>
                <a:gd name="T88" fmla="*/ 2794 w 3908"/>
                <a:gd name="T89" fmla="*/ 330 h 3402"/>
                <a:gd name="T90" fmla="*/ 2764 w 3908"/>
                <a:gd name="T91" fmla="*/ 58 h 3402"/>
                <a:gd name="T92" fmla="*/ 2062 w 3908"/>
                <a:gd name="T93" fmla="*/ 1942 h 3402"/>
                <a:gd name="T94" fmla="*/ 2186 w 3908"/>
                <a:gd name="T95" fmla="*/ 3090 h 3402"/>
                <a:gd name="T96" fmla="*/ 1834 w 3908"/>
                <a:gd name="T97" fmla="*/ 2850 h 3402"/>
                <a:gd name="T98" fmla="*/ 2750 w 3908"/>
                <a:gd name="T99" fmla="*/ 3058 h 3402"/>
                <a:gd name="T100" fmla="*/ 2856 w 3908"/>
                <a:gd name="T101" fmla="*/ 3134 h 3402"/>
                <a:gd name="T102" fmla="*/ 1294 w 3908"/>
                <a:gd name="T103" fmla="*/ 1672 h 3402"/>
                <a:gd name="T104" fmla="*/ 1252 w 3908"/>
                <a:gd name="T105" fmla="*/ 1764 h 3402"/>
                <a:gd name="T106" fmla="*/ 1328 w 3908"/>
                <a:gd name="T107" fmla="*/ 1926 h 3402"/>
                <a:gd name="T108" fmla="*/ 1318 w 3908"/>
                <a:gd name="T109" fmla="*/ 2156 h 3402"/>
                <a:gd name="T110" fmla="*/ 1420 w 3908"/>
                <a:gd name="T111" fmla="*/ 2220 h 3402"/>
                <a:gd name="T112" fmla="*/ 1416 w 3908"/>
                <a:gd name="T113" fmla="*/ 1876 h 3402"/>
                <a:gd name="T114" fmla="*/ 1432 w 3908"/>
                <a:gd name="T115" fmla="*/ 1614 h 3402"/>
                <a:gd name="T116" fmla="*/ 1040 w 3908"/>
                <a:gd name="T117" fmla="*/ 1994 h 3402"/>
                <a:gd name="T118" fmla="*/ 1214 w 3908"/>
                <a:gd name="T119" fmla="*/ 1854 h 3402"/>
                <a:gd name="T120" fmla="*/ 110 w 3908"/>
                <a:gd name="T121" fmla="*/ 2802 h 3402"/>
                <a:gd name="T122" fmla="*/ 580 w 3908"/>
                <a:gd name="T123" fmla="*/ 3338 h 3402"/>
                <a:gd name="T124" fmla="*/ 1504 w 3908"/>
                <a:gd name="T125" fmla="*/ 2966 h 34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908" h="3402">
                  <a:moveTo>
                    <a:pt x="2174" y="128"/>
                  </a:moveTo>
                  <a:lnTo>
                    <a:pt x="2174" y="128"/>
                  </a:lnTo>
                  <a:lnTo>
                    <a:pt x="2176" y="128"/>
                  </a:lnTo>
                  <a:lnTo>
                    <a:pt x="2176" y="130"/>
                  </a:lnTo>
                  <a:lnTo>
                    <a:pt x="2176" y="130"/>
                  </a:lnTo>
                  <a:lnTo>
                    <a:pt x="2176" y="130"/>
                  </a:lnTo>
                  <a:lnTo>
                    <a:pt x="2176" y="132"/>
                  </a:lnTo>
                  <a:lnTo>
                    <a:pt x="2176" y="132"/>
                  </a:lnTo>
                  <a:lnTo>
                    <a:pt x="2178" y="132"/>
                  </a:lnTo>
                  <a:lnTo>
                    <a:pt x="2178" y="134"/>
                  </a:lnTo>
                  <a:lnTo>
                    <a:pt x="2178" y="134"/>
                  </a:lnTo>
                  <a:lnTo>
                    <a:pt x="2180" y="134"/>
                  </a:lnTo>
                  <a:lnTo>
                    <a:pt x="2180" y="134"/>
                  </a:lnTo>
                  <a:lnTo>
                    <a:pt x="2180" y="134"/>
                  </a:lnTo>
                  <a:lnTo>
                    <a:pt x="2182" y="134"/>
                  </a:lnTo>
                  <a:lnTo>
                    <a:pt x="2184" y="134"/>
                  </a:lnTo>
                  <a:lnTo>
                    <a:pt x="2186" y="136"/>
                  </a:lnTo>
                  <a:lnTo>
                    <a:pt x="2186" y="136"/>
                  </a:lnTo>
                  <a:lnTo>
                    <a:pt x="2188" y="134"/>
                  </a:lnTo>
                  <a:lnTo>
                    <a:pt x="2188" y="132"/>
                  </a:lnTo>
                  <a:lnTo>
                    <a:pt x="2188" y="132"/>
                  </a:lnTo>
                  <a:lnTo>
                    <a:pt x="2188" y="132"/>
                  </a:lnTo>
                  <a:lnTo>
                    <a:pt x="2190" y="130"/>
                  </a:lnTo>
                  <a:lnTo>
                    <a:pt x="2190" y="128"/>
                  </a:lnTo>
                  <a:lnTo>
                    <a:pt x="2190" y="126"/>
                  </a:lnTo>
                  <a:lnTo>
                    <a:pt x="2192" y="126"/>
                  </a:lnTo>
                  <a:lnTo>
                    <a:pt x="2192" y="126"/>
                  </a:lnTo>
                  <a:lnTo>
                    <a:pt x="2192" y="126"/>
                  </a:lnTo>
                  <a:lnTo>
                    <a:pt x="2192" y="126"/>
                  </a:lnTo>
                  <a:lnTo>
                    <a:pt x="2194" y="126"/>
                  </a:lnTo>
                  <a:lnTo>
                    <a:pt x="2196" y="126"/>
                  </a:lnTo>
                  <a:lnTo>
                    <a:pt x="2198" y="126"/>
                  </a:lnTo>
                  <a:lnTo>
                    <a:pt x="2200" y="126"/>
                  </a:lnTo>
                  <a:lnTo>
                    <a:pt x="2200" y="126"/>
                  </a:lnTo>
                  <a:lnTo>
                    <a:pt x="2200" y="126"/>
                  </a:lnTo>
                  <a:lnTo>
                    <a:pt x="2202" y="126"/>
                  </a:lnTo>
                  <a:lnTo>
                    <a:pt x="2202" y="126"/>
                  </a:lnTo>
                  <a:lnTo>
                    <a:pt x="2202" y="124"/>
                  </a:lnTo>
                  <a:lnTo>
                    <a:pt x="2202" y="124"/>
                  </a:lnTo>
                  <a:lnTo>
                    <a:pt x="2202" y="124"/>
                  </a:lnTo>
                  <a:lnTo>
                    <a:pt x="2204" y="124"/>
                  </a:lnTo>
                  <a:lnTo>
                    <a:pt x="2204" y="122"/>
                  </a:lnTo>
                  <a:lnTo>
                    <a:pt x="2206" y="118"/>
                  </a:lnTo>
                  <a:lnTo>
                    <a:pt x="2206" y="116"/>
                  </a:lnTo>
                  <a:lnTo>
                    <a:pt x="2208" y="114"/>
                  </a:lnTo>
                  <a:lnTo>
                    <a:pt x="2208" y="114"/>
                  </a:lnTo>
                  <a:lnTo>
                    <a:pt x="2208" y="114"/>
                  </a:lnTo>
                  <a:lnTo>
                    <a:pt x="2208" y="112"/>
                  </a:lnTo>
                  <a:lnTo>
                    <a:pt x="2208" y="112"/>
                  </a:lnTo>
                  <a:lnTo>
                    <a:pt x="2208" y="110"/>
                  </a:lnTo>
                  <a:lnTo>
                    <a:pt x="2208" y="108"/>
                  </a:lnTo>
                  <a:lnTo>
                    <a:pt x="2208" y="108"/>
                  </a:lnTo>
                  <a:lnTo>
                    <a:pt x="2208" y="108"/>
                  </a:lnTo>
                  <a:lnTo>
                    <a:pt x="2206" y="106"/>
                  </a:lnTo>
                  <a:lnTo>
                    <a:pt x="2206" y="106"/>
                  </a:lnTo>
                  <a:lnTo>
                    <a:pt x="2206" y="104"/>
                  </a:lnTo>
                  <a:lnTo>
                    <a:pt x="2204" y="104"/>
                  </a:lnTo>
                  <a:lnTo>
                    <a:pt x="2204" y="104"/>
                  </a:lnTo>
                  <a:lnTo>
                    <a:pt x="2200" y="104"/>
                  </a:lnTo>
                  <a:lnTo>
                    <a:pt x="2196" y="106"/>
                  </a:lnTo>
                  <a:lnTo>
                    <a:pt x="2194" y="108"/>
                  </a:lnTo>
                  <a:lnTo>
                    <a:pt x="2192" y="110"/>
                  </a:lnTo>
                  <a:lnTo>
                    <a:pt x="2190" y="110"/>
                  </a:lnTo>
                  <a:lnTo>
                    <a:pt x="2190" y="110"/>
                  </a:lnTo>
                  <a:lnTo>
                    <a:pt x="2190" y="110"/>
                  </a:lnTo>
                  <a:lnTo>
                    <a:pt x="2190" y="110"/>
                  </a:lnTo>
                  <a:lnTo>
                    <a:pt x="2188" y="112"/>
                  </a:lnTo>
                  <a:lnTo>
                    <a:pt x="2188" y="112"/>
                  </a:lnTo>
                  <a:lnTo>
                    <a:pt x="2188" y="112"/>
                  </a:lnTo>
                  <a:lnTo>
                    <a:pt x="2188" y="112"/>
                  </a:lnTo>
                  <a:lnTo>
                    <a:pt x="2188" y="114"/>
                  </a:lnTo>
                  <a:lnTo>
                    <a:pt x="2186" y="116"/>
                  </a:lnTo>
                  <a:lnTo>
                    <a:pt x="2184" y="116"/>
                  </a:lnTo>
                  <a:lnTo>
                    <a:pt x="2182" y="118"/>
                  </a:lnTo>
                  <a:lnTo>
                    <a:pt x="2178" y="120"/>
                  </a:lnTo>
                  <a:lnTo>
                    <a:pt x="2176" y="122"/>
                  </a:lnTo>
                  <a:lnTo>
                    <a:pt x="2176" y="122"/>
                  </a:lnTo>
                  <a:lnTo>
                    <a:pt x="2174" y="124"/>
                  </a:lnTo>
                  <a:lnTo>
                    <a:pt x="2174" y="126"/>
                  </a:lnTo>
                  <a:lnTo>
                    <a:pt x="2174" y="128"/>
                  </a:lnTo>
                  <a:close/>
                  <a:moveTo>
                    <a:pt x="2152" y="252"/>
                  </a:moveTo>
                  <a:lnTo>
                    <a:pt x="2152" y="254"/>
                  </a:lnTo>
                  <a:lnTo>
                    <a:pt x="2152" y="254"/>
                  </a:lnTo>
                  <a:lnTo>
                    <a:pt x="2154" y="256"/>
                  </a:lnTo>
                  <a:lnTo>
                    <a:pt x="2154" y="256"/>
                  </a:lnTo>
                  <a:lnTo>
                    <a:pt x="2158" y="254"/>
                  </a:lnTo>
                  <a:lnTo>
                    <a:pt x="2158" y="252"/>
                  </a:lnTo>
                  <a:lnTo>
                    <a:pt x="2160" y="252"/>
                  </a:lnTo>
                  <a:lnTo>
                    <a:pt x="2160" y="250"/>
                  </a:lnTo>
                  <a:lnTo>
                    <a:pt x="2162" y="250"/>
                  </a:lnTo>
                  <a:lnTo>
                    <a:pt x="2166" y="250"/>
                  </a:lnTo>
                  <a:lnTo>
                    <a:pt x="2172" y="250"/>
                  </a:lnTo>
                  <a:lnTo>
                    <a:pt x="2172" y="250"/>
                  </a:lnTo>
                  <a:lnTo>
                    <a:pt x="2174" y="248"/>
                  </a:lnTo>
                  <a:lnTo>
                    <a:pt x="2174" y="246"/>
                  </a:lnTo>
                  <a:lnTo>
                    <a:pt x="2174" y="246"/>
                  </a:lnTo>
                  <a:lnTo>
                    <a:pt x="2176" y="246"/>
                  </a:lnTo>
                  <a:lnTo>
                    <a:pt x="2176" y="246"/>
                  </a:lnTo>
                  <a:lnTo>
                    <a:pt x="2176" y="246"/>
                  </a:lnTo>
                  <a:lnTo>
                    <a:pt x="2178" y="244"/>
                  </a:lnTo>
                  <a:lnTo>
                    <a:pt x="2180" y="244"/>
                  </a:lnTo>
                  <a:lnTo>
                    <a:pt x="2180" y="244"/>
                  </a:lnTo>
                  <a:lnTo>
                    <a:pt x="2182" y="244"/>
                  </a:lnTo>
                  <a:lnTo>
                    <a:pt x="2182" y="244"/>
                  </a:lnTo>
                  <a:lnTo>
                    <a:pt x="2184" y="242"/>
                  </a:lnTo>
                  <a:lnTo>
                    <a:pt x="2184" y="242"/>
                  </a:lnTo>
                  <a:lnTo>
                    <a:pt x="2182" y="240"/>
                  </a:lnTo>
                  <a:lnTo>
                    <a:pt x="2182" y="236"/>
                  </a:lnTo>
                  <a:lnTo>
                    <a:pt x="2182" y="236"/>
                  </a:lnTo>
                  <a:lnTo>
                    <a:pt x="2180" y="236"/>
                  </a:lnTo>
                  <a:lnTo>
                    <a:pt x="2178" y="234"/>
                  </a:lnTo>
                  <a:lnTo>
                    <a:pt x="2178" y="234"/>
                  </a:lnTo>
                  <a:lnTo>
                    <a:pt x="2178" y="234"/>
                  </a:lnTo>
                  <a:lnTo>
                    <a:pt x="2174" y="234"/>
                  </a:lnTo>
                  <a:lnTo>
                    <a:pt x="2174" y="234"/>
                  </a:lnTo>
                  <a:lnTo>
                    <a:pt x="2172" y="234"/>
                  </a:lnTo>
                  <a:lnTo>
                    <a:pt x="2170" y="234"/>
                  </a:lnTo>
                  <a:lnTo>
                    <a:pt x="2168" y="234"/>
                  </a:lnTo>
                  <a:lnTo>
                    <a:pt x="2164" y="236"/>
                  </a:lnTo>
                  <a:lnTo>
                    <a:pt x="2162" y="236"/>
                  </a:lnTo>
                  <a:lnTo>
                    <a:pt x="2158" y="236"/>
                  </a:lnTo>
                  <a:lnTo>
                    <a:pt x="2158" y="236"/>
                  </a:lnTo>
                  <a:lnTo>
                    <a:pt x="2158" y="236"/>
                  </a:lnTo>
                  <a:lnTo>
                    <a:pt x="2156" y="238"/>
                  </a:lnTo>
                  <a:lnTo>
                    <a:pt x="2156" y="238"/>
                  </a:lnTo>
                  <a:lnTo>
                    <a:pt x="2154" y="240"/>
                  </a:lnTo>
                  <a:lnTo>
                    <a:pt x="2152" y="242"/>
                  </a:lnTo>
                  <a:lnTo>
                    <a:pt x="2152" y="244"/>
                  </a:lnTo>
                  <a:lnTo>
                    <a:pt x="2152" y="246"/>
                  </a:lnTo>
                  <a:lnTo>
                    <a:pt x="2152" y="246"/>
                  </a:lnTo>
                  <a:lnTo>
                    <a:pt x="2152" y="246"/>
                  </a:lnTo>
                  <a:lnTo>
                    <a:pt x="2152" y="248"/>
                  </a:lnTo>
                  <a:lnTo>
                    <a:pt x="2152" y="248"/>
                  </a:lnTo>
                  <a:lnTo>
                    <a:pt x="2152" y="250"/>
                  </a:lnTo>
                  <a:lnTo>
                    <a:pt x="2152" y="252"/>
                  </a:lnTo>
                  <a:close/>
                  <a:moveTo>
                    <a:pt x="2128" y="256"/>
                  </a:moveTo>
                  <a:lnTo>
                    <a:pt x="2128" y="260"/>
                  </a:lnTo>
                  <a:lnTo>
                    <a:pt x="2128" y="260"/>
                  </a:lnTo>
                  <a:lnTo>
                    <a:pt x="2126" y="262"/>
                  </a:lnTo>
                  <a:lnTo>
                    <a:pt x="2128" y="264"/>
                  </a:lnTo>
                  <a:lnTo>
                    <a:pt x="2128" y="266"/>
                  </a:lnTo>
                  <a:lnTo>
                    <a:pt x="2128" y="266"/>
                  </a:lnTo>
                  <a:lnTo>
                    <a:pt x="2128" y="268"/>
                  </a:lnTo>
                  <a:lnTo>
                    <a:pt x="2130" y="272"/>
                  </a:lnTo>
                  <a:lnTo>
                    <a:pt x="2130" y="272"/>
                  </a:lnTo>
                  <a:lnTo>
                    <a:pt x="2130" y="272"/>
                  </a:lnTo>
                  <a:lnTo>
                    <a:pt x="2130" y="274"/>
                  </a:lnTo>
                  <a:lnTo>
                    <a:pt x="2130" y="274"/>
                  </a:lnTo>
                  <a:lnTo>
                    <a:pt x="2132" y="274"/>
                  </a:lnTo>
                  <a:lnTo>
                    <a:pt x="2132" y="274"/>
                  </a:lnTo>
                  <a:lnTo>
                    <a:pt x="2132" y="274"/>
                  </a:lnTo>
                  <a:lnTo>
                    <a:pt x="2132" y="274"/>
                  </a:lnTo>
                  <a:lnTo>
                    <a:pt x="2136" y="276"/>
                  </a:lnTo>
                  <a:lnTo>
                    <a:pt x="2136" y="276"/>
                  </a:lnTo>
                  <a:lnTo>
                    <a:pt x="2136" y="276"/>
                  </a:lnTo>
                  <a:lnTo>
                    <a:pt x="2138" y="276"/>
                  </a:lnTo>
                  <a:lnTo>
                    <a:pt x="2138" y="276"/>
                  </a:lnTo>
                  <a:lnTo>
                    <a:pt x="2138" y="276"/>
                  </a:lnTo>
                  <a:lnTo>
                    <a:pt x="2140" y="276"/>
                  </a:lnTo>
                  <a:lnTo>
                    <a:pt x="2144" y="274"/>
                  </a:lnTo>
                  <a:lnTo>
                    <a:pt x="2144" y="274"/>
                  </a:lnTo>
                  <a:lnTo>
                    <a:pt x="2146" y="270"/>
                  </a:lnTo>
                  <a:lnTo>
                    <a:pt x="2146" y="270"/>
                  </a:lnTo>
                  <a:lnTo>
                    <a:pt x="2146" y="270"/>
                  </a:lnTo>
                  <a:lnTo>
                    <a:pt x="2144" y="268"/>
                  </a:lnTo>
                  <a:lnTo>
                    <a:pt x="2144" y="268"/>
                  </a:lnTo>
                  <a:lnTo>
                    <a:pt x="2144" y="268"/>
                  </a:lnTo>
                  <a:lnTo>
                    <a:pt x="2144" y="266"/>
                  </a:lnTo>
                  <a:lnTo>
                    <a:pt x="2142" y="266"/>
                  </a:lnTo>
                  <a:lnTo>
                    <a:pt x="2142" y="264"/>
                  </a:lnTo>
                  <a:lnTo>
                    <a:pt x="2138" y="264"/>
                  </a:lnTo>
                  <a:lnTo>
                    <a:pt x="2136" y="262"/>
                  </a:lnTo>
                  <a:lnTo>
                    <a:pt x="2136" y="262"/>
                  </a:lnTo>
                  <a:lnTo>
                    <a:pt x="2136" y="260"/>
                  </a:lnTo>
                  <a:lnTo>
                    <a:pt x="2136" y="260"/>
                  </a:lnTo>
                  <a:lnTo>
                    <a:pt x="2136" y="260"/>
                  </a:lnTo>
                  <a:lnTo>
                    <a:pt x="2136" y="258"/>
                  </a:lnTo>
                  <a:lnTo>
                    <a:pt x="2136" y="258"/>
                  </a:lnTo>
                  <a:lnTo>
                    <a:pt x="2136" y="256"/>
                  </a:lnTo>
                  <a:lnTo>
                    <a:pt x="2134" y="252"/>
                  </a:lnTo>
                  <a:lnTo>
                    <a:pt x="2134" y="252"/>
                  </a:lnTo>
                  <a:lnTo>
                    <a:pt x="2134" y="252"/>
                  </a:lnTo>
                  <a:lnTo>
                    <a:pt x="2132" y="250"/>
                  </a:lnTo>
                  <a:lnTo>
                    <a:pt x="2132" y="250"/>
                  </a:lnTo>
                  <a:lnTo>
                    <a:pt x="2130" y="250"/>
                  </a:lnTo>
                  <a:lnTo>
                    <a:pt x="2130" y="252"/>
                  </a:lnTo>
                  <a:lnTo>
                    <a:pt x="2128" y="256"/>
                  </a:lnTo>
                  <a:close/>
                  <a:moveTo>
                    <a:pt x="2188" y="220"/>
                  </a:moveTo>
                  <a:lnTo>
                    <a:pt x="2188" y="220"/>
                  </a:lnTo>
                  <a:lnTo>
                    <a:pt x="2184" y="220"/>
                  </a:lnTo>
                  <a:lnTo>
                    <a:pt x="2180" y="222"/>
                  </a:lnTo>
                  <a:lnTo>
                    <a:pt x="2180" y="222"/>
                  </a:lnTo>
                  <a:lnTo>
                    <a:pt x="2178" y="224"/>
                  </a:lnTo>
                  <a:lnTo>
                    <a:pt x="2178" y="224"/>
                  </a:lnTo>
                  <a:lnTo>
                    <a:pt x="2178" y="226"/>
                  </a:lnTo>
                  <a:lnTo>
                    <a:pt x="2182" y="230"/>
                  </a:lnTo>
                  <a:lnTo>
                    <a:pt x="2182" y="230"/>
                  </a:lnTo>
                  <a:lnTo>
                    <a:pt x="2184" y="232"/>
                  </a:lnTo>
                  <a:lnTo>
                    <a:pt x="2184" y="232"/>
                  </a:lnTo>
                  <a:lnTo>
                    <a:pt x="2188" y="230"/>
                  </a:lnTo>
                  <a:lnTo>
                    <a:pt x="2188" y="230"/>
                  </a:lnTo>
                  <a:lnTo>
                    <a:pt x="2190" y="228"/>
                  </a:lnTo>
                  <a:lnTo>
                    <a:pt x="2190" y="228"/>
                  </a:lnTo>
                  <a:lnTo>
                    <a:pt x="2190" y="222"/>
                  </a:lnTo>
                  <a:lnTo>
                    <a:pt x="2190" y="222"/>
                  </a:lnTo>
                  <a:lnTo>
                    <a:pt x="2188" y="220"/>
                  </a:lnTo>
                  <a:lnTo>
                    <a:pt x="2188" y="220"/>
                  </a:lnTo>
                  <a:close/>
                  <a:moveTo>
                    <a:pt x="2248" y="96"/>
                  </a:moveTo>
                  <a:lnTo>
                    <a:pt x="2248" y="96"/>
                  </a:lnTo>
                  <a:lnTo>
                    <a:pt x="2248" y="98"/>
                  </a:lnTo>
                  <a:lnTo>
                    <a:pt x="2248" y="98"/>
                  </a:lnTo>
                  <a:lnTo>
                    <a:pt x="2248" y="98"/>
                  </a:lnTo>
                  <a:lnTo>
                    <a:pt x="2250" y="100"/>
                  </a:lnTo>
                  <a:lnTo>
                    <a:pt x="2252" y="100"/>
                  </a:lnTo>
                  <a:lnTo>
                    <a:pt x="2252" y="100"/>
                  </a:lnTo>
                  <a:lnTo>
                    <a:pt x="2254" y="100"/>
                  </a:lnTo>
                  <a:lnTo>
                    <a:pt x="2256" y="100"/>
                  </a:lnTo>
                  <a:lnTo>
                    <a:pt x="2256" y="100"/>
                  </a:lnTo>
                  <a:lnTo>
                    <a:pt x="2256" y="100"/>
                  </a:lnTo>
                  <a:lnTo>
                    <a:pt x="2258" y="100"/>
                  </a:lnTo>
                  <a:lnTo>
                    <a:pt x="2258" y="100"/>
                  </a:lnTo>
                  <a:lnTo>
                    <a:pt x="2258" y="98"/>
                  </a:lnTo>
                  <a:lnTo>
                    <a:pt x="2258" y="98"/>
                  </a:lnTo>
                  <a:lnTo>
                    <a:pt x="2258" y="98"/>
                  </a:lnTo>
                  <a:lnTo>
                    <a:pt x="2260" y="96"/>
                  </a:lnTo>
                  <a:lnTo>
                    <a:pt x="2260" y="94"/>
                  </a:lnTo>
                  <a:lnTo>
                    <a:pt x="2260" y="94"/>
                  </a:lnTo>
                  <a:lnTo>
                    <a:pt x="2258" y="94"/>
                  </a:lnTo>
                  <a:lnTo>
                    <a:pt x="2258" y="92"/>
                  </a:lnTo>
                  <a:lnTo>
                    <a:pt x="2256" y="88"/>
                  </a:lnTo>
                  <a:lnTo>
                    <a:pt x="2256" y="88"/>
                  </a:lnTo>
                  <a:lnTo>
                    <a:pt x="2254" y="86"/>
                  </a:lnTo>
                  <a:lnTo>
                    <a:pt x="2254" y="86"/>
                  </a:lnTo>
                  <a:lnTo>
                    <a:pt x="2252" y="86"/>
                  </a:lnTo>
                  <a:lnTo>
                    <a:pt x="2250" y="88"/>
                  </a:lnTo>
                  <a:lnTo>
                    <a:pt x="2250" y="90"/>
                  </a:lnTo>
                  <a:lnTo>
                    <a:pt x="2250" y="90"/>
                  </a:lnTo>
                  <a:lnTo>
                    <a:pt x="2248" y="90"/>
                  </a:lnTo>
                  <a:lnTo>
                    <a:pt x="2248" y="90"/>
                  </a:lnTo>
                  <a:lnTo>
                    <a:pt x="2248" y="90"/>
                  </a:lnTo>
                  <a:lnTo>
                    <a:pt x="2248" y="92"/>
                  </a:lnTo>
                  <a:lnTo>
                    <a:pt x="2248" y="92"/>
                  </a:lnTo>
                  <a:lnTo>
                    <a:pt x="2248" y="92"/>
                  </a:lnTo>
                  <a:lnTo>
                    <a:pt x="2246" y="94"/>
                  </a:lnTo>
                  <a:lnTo>
                    <a:pt x="2246" y="94"/>
                  </a:lnTo>
                  <a:lnTo>
                    <a:pt x="2246" y="94"/>
                  </a:lnTo>
                  <a:lnTo>
                    <a:pt x="2246" y="96"/>
                  </a:lnTo>
                  <a:lnTo>
                    <a:pt x="2248" y="96"/>
                  </a:lnTo>
                  <a:close/>
                  <a:moveTo>
                    <a:pt x="2144" y="462"/>
                  </a:moveTo>
                  <a:lnTo>
                    <a:pt x="2144" y="462"/>
                  </a:lnTo>
                  <a:lnTo>
                    <a:pt x="2144" y="464"/>
                  </a:lnTo>
                  <a:lnTo>
                    <a:pt x="2144" y="464"/>
                  </a:lnTo>
                  <a:lnTo>
                    <a:pt x="2146" y="466"/>
                  </a:lnTo>
                  <a:lnTo>
                    <a:pt x="2150" y="464"/>
                  </a:lnTo>
                  <a:lnTo>
                    <a:pt x="2150" y="464"/>
                  </a:lnTo>
                  <a:lnTo>
                    <a:pt x="2152" y="462"/>
                  </a:lnTo>
                  <a:lnTo>
                    <a:pt x="2154" y="458"/>
                  </a:lnTo>
                  <a:lnTo>
                    <a:pt x="2154" y="456"/>
                  </a:lnTo>
                  <a:lnTo>
                    <a:pt x="2154" y="454"/>
                  </a:lnTo>
                  <a:lnTo>
                    <a:pt x="2154" y="454"/>
                  </a:lnTo>
                  <a:lnTo>
                    <a:pt x="2154" y="452"/>
                  </a:lnTo>
                  <a:lnTo>
                    <a:pt x="2154" y="452"/>
                  </a:lnTo>
                  <a:lnTo>
                    <a:pt x="2156" y="450"/>
                  </a:lnTo>
                  <a:lnTo>
                    <a:pt x="2156" y="450"/>
                  </a:lnTo>
                  <a:lnTo>
                    <a:pt x="2156" y="450"/>
                  </a:lnTo>
                  <a:lnTo>
                    <a:pt x="2156" y="450"/>
                  </a:lnTo>
                  <a:lnTo>
                    <a:pt x="2158" y="448"/>
                  </a:lnTo>
                  <a:lnTo>
                    <a:pt x="2158" y="446"/>
                  </a:lnTo>
                  <a:lnTo>
                    <a:pt x="2160" y="444"/>
                  </a:lnTo>
                  <a:lnTo>
                    <a:pt x="2160" y="444"/>
                  </a:lnTo>
                  <a:lnTo>
                    <a:pt x="2160" y="442"/>
                  </a:lnTo>
                  <a:lnTo>
                    <a:pt x="2158" y="438"/>
                  </a:lnTo>
                  <a:lnTo>
                    <a:pt x="2158" y="436"/>
                  </a:lnTo>
                  <a:lnTo>
                    <a:pt x="2158" y="436"/>
                  </a:lnTo>
                  <a:lnTo>
                    <a:pt x="2158" y="436"/>
                  </a:lnTo>
                  <a:lnTo>
                    <a:pt x="2158" y="434"/>
                  </a:lnTo>
                  <a:lnTo>
                    <a:pt x="2158" y="434"/>
                  </a:lnTo>
                  <a:lnTo>
                    <a:pt x="2156" y="434"/>
                  </a:lnTo>
                  <a:lnTo>
                    <a:pt x="2156" y="432"/>
                  </a:lnTo>
                  <a:lnTo>
                    <a:pt x="2156" y="432"/>
                  </a:lnTo>
                  <a:lnTo>
                    <a:pt x="2154" y="432"/>
                  </a:lnTo>
                  <a:lnTo>
                    <a:pt x="2154" y="430"/>
                  </a:lnTo>
                  <a:lnTo>
                    <a:pt x="2154" y="430"/>
                  </a:lnTo>
                  <a:lnTo>
                    <a:pt x="2152" y="430"/>
                  </a:lnTo>
                  <a:lnTo>
                    <a:pt x="2150" y="430"/>
                  </a:lnTo>
                  <a:lnTo>
                    <a:pt x="2150" y="430"/>
                  </a:lnTo>
                  <a:lnTo>
                    <a:pt x="2148" y="430"/>
                  </a:lnTo>
                  <a:lnTo>
                    <a:pt x="2148" y="430"/>
                  </a:lnTo>
                  <a:lnTo>
                    <a:pt x="2148" y="432"/>
                  </a:lnTo>
                  <a:lnTo>
                    <a:pt x="2146" y="440"/>
                  </a:lnTo>
                  <a:lnTo>
                    <a:pt x="2146" y="446"/>
                  </a:lnTo>
                  <a:lnTo>
                    <a:pt x="2146" y="452"/>
                  </a:lnTo>
                  <a:lnTo>
                    <a:pt x="2144" y="458"/>
                  </a:lnTo>
                  <a:lnTo>
                    <a:pt x="2144" y="462"/>
                  </a:lnTo>
                  <a:close/>
                  <a:moveTo>
                    <a:pt x="2106" y="382"/>
                  </a:moveTo>
                  <a:lnTo>
                    <a:pt x="2110" y="378"/>
                  </a:lnTo>
                  <a:lnTo>
                    <a:pt x="2112" y="374"/>
                  </a:lnTo>
                  <a:lnTo>
                    <a:pt x="2114" y="372"/>
                  </a:lnTo>
                  <a:lnTo>
                    <a:pt x="2114" y="370"/>
                  </a:lnTo>
                  <a:lnTo>
                    <a:pt x="2114" y="370"/>
                  </a:lnTo>
                  <a:lnTo>
                    <a:pt x="2116" y="370"/>
                  </a:lnTo>
                  <a:lnTo>
                    <a:pt x="2116" y="364"/>
                  </a:lnTo>
                  <a:lnTo>
                    <a:pt x="2118" y="360"/>
                  </a:lnTo>
                  <a:lnTo>
                    <a:pt x="2118" y="356"/>
                  </a:lnTo>
                  <a:lnTo>
                    <a:pt x="2118" y="352"/>
                  </a:lnTo>
                  <a:lnTo>
                    <a:pt x="2118" y="352"/>
                  </a:lnTo>
                  <a:lnTo>
                    <a:pt x="2116" y="342"/>
                  </a:lnTo>
                  <a:lnTo>
                    <a:pt x="2116" y="342"/>
                  </a:lnTo>
                  <a:lnTo>
                    <a:pt x="2114" y="338"/>
                  </a:lnTo>
                  <a:lnTo>
                    <a:pt x="2112" y="338"/>
                  </a:lnTo>
                  <a:lnTo>
                    <a:pt x="2112" y="338"/>
                  </a:lnTo>
                  <a:lnTo>
                    <a:pt x="2112" y="338"/>
                  </a:lnTo>
                  <a:lnTo>
                    <a:pt x="2108" y="338"/>
                  </a:lnTo>
                  <a:lnTo>
                    <a:pt x="2108" y="338"/>
                  </a:lnTo>
                  <a:lnTo>
                    <a:pt x="2108" y="338"/>
                  </a:lnTo>
                  <a:lnTo>
                    <a:pt x="2106" y="338"/>
                  </a:lnTo>
                  <a:lnTo>
                    <a:pt x="2104" y="338"/>
                  </a:lnTo>
                  <a:lnTo>
                    <a:pt x="2100" y="340"/>
                  </a:lnTo>
                  <a:lnTo>
                    <a:pt x="2100" y="340"/>
                  </a:lnTo>
                  <a:lnTo>
                    <a:pt x="2100" y="340"/>
                  </a:lnTo>
                  <a:lnTo>
                    <a:pt x="2098" y="340"/>
                  </a:lnTo>
                  <a:lnTo>
                    <a:pt x="2098" y="340"/>
                  </a:lnTo>
                  <a:lnTo>
                    <a:pt x="2098" y="340"/>
                  </a:lnTo>
                  <a:lnTo>
                    <a:pt x="2098" y="340"/>
                  </a:lnTo>
                  <a:lnTo>
                    <a:pt x="2096" y="340"/>
                  </a:lnTo>
                  <a:lnTo>
                    <a:pt x="2096" y="338"/>
                  </a:lnTo>
                  <a:lnTo>
                    <a:pt x="2096" y="336"/>
                  </a:lnTo>
                  <a:lnTo>
                    <a:pt x="2094" y="334"/>
                  </a:lnTo>
                  <a:lnTo>
                    <a:pt x="2094" y="328"/>
                  </a:lnTo>
                  <a:lnTo>
                    <a:pt x="2092" y="326"/>
                  </a:lnTo>
                  <a:lnTo>
                    <a:pt x="2092" y="324"/>
                  </a:lnTo>
                  <a:lnTo>
                    <a:pt x="2090" y="320"/>
                  </a:lnTo>
                  <a:lnTo>
                    <a:pt x="2090" y="318"/>
                  </a:lnTo>
                  <a:lnTo>
                    <a:pt x="2090" y="318"/>
                  </a:lnTo>
                  <a:lnTo>
                    <a:pt x="2088" y="316"/>
                  </a:lnTo>
                  <a:lnTo>
                    <a:pt x="2088" y="314"/>
                  </a:lnTo>
                  <a:lnTo>
                    <a:pt x="2088" y="314"/>
                  </a:lnTo>
                  <a:lnTo>
                    <a:pt x="2086" y="314"/>
                  </a:lnTo>
                  <a:lnTo>
                    <a:pt x="2084" y="312"/>
                  </a:lnTo>
                  <a:lnTo>
                    <a:pt x="2084" y="312"/>
                  </a:lnTo>
                  <a:lnTo>
                    <a:pt x="2084" y="312"/>
                  </a:lnTo>
                  <a:lnTo>
                    <a:pt x="2080" y="310"/>
                  </a:lnTo>
                  <a:lnTo>
                    <a:pt x="2080" y="310"/>
                  </a:lnTo>
                  <a:lnTo>
                    <a:pt x="2078" y="312"/>
                  </a:lnTo>
                  <a:lnTo>
                    <a:pt x="2078" y="312"/>
                  </a:lnTo>
                  <a:lnTo>
                    <a:pt x="2076" y="312"/>
                  </a:lnTo>
                  <a:lnTo>
                    <a:pt x="2076" y="312"/>
                  </a:lnTo>
                  <a:lnTo>
                    <a:pt x="2076" y="312"/>
                  </a:lnTo>
                  <a:lnTo>
                    <a:pt x="2074" y="310"/>
                  </a:lnTo>
                  <a:lnTo>
                    <a:pt x="2072" y="306"/>
                  </a:lnTo>
                  <a:lnTo>
                    <a:pt x="2070" y="302"/>
                  </a:lnTo>
                  <a:lnTo>
                    <a:pt x="2070" y="300"/>
                  </a:lnTo>
                  <a:lnTo>
                    <a:pt x="2070" y="298"/>
                  </a:lnTo>
                  <a:lnTo>
                    <a:pt x="2066" y="292"/>
                  </a:lnTo>
                  <a:lnTo>
                    <a:pt x="2066" y="290"/>
                  </a:lnTo>
                  <a:lnTo>
                    <a:pt x="2064" y="288"/>
                  </a:lnTo>
                  <a:lnTo>
                    <a:pt x="2064" y="288"/>
                  </a:lnTo>
                  <a:lnTo>
                    <a:pt x="2064" y="288"/>
                  </a:lnTo>
                  <a:lnTo>
                    <a:pt x="2062" y="286"/>
                  </a:lnTo>
                  <a:lnTo>
                    <a:pt x="2062" y="286"/>
                  </a:lnTo>
                  <a:lnTo>
                    <a:pt x="2060" y="286"/>
                  </a:lnTo>
                  <a:lnTo>
                    <a:pt x="2060" y="286"/>
                  </a:lnTo>
                  <a:lnTo>
                    <a:pt x="2060" y="286"/>
                  </a:lnTo>
                  <a:lnTo>
                    <a:pt x="2058" y="286"/>
                  </a:lnTo>
                  <a:lnTo>
                    <a:pt x="2056" y="286"/>
                  </a:lnTo>
                  <a:lnTo>
                    <a:pt x="2056" y="286"/>
                  </a:lnTo>
                  <a:lnTo>
                    <a:pt x="2054" y="286"/>
                  </a:lnTo>
                  <a:lnTo>
                    <a:pt x="2052" y="288"/>
                  </a:lnTo>
                  <a:lnTo>
                    <a:pt x="2048" y="290"/>
                  </a:lnTo>
                  <a:lnTo>
                    <a:pt x="2044" y="292"/>
                  </a:lnTo>
                  <a:lnTo>
                    <a:pt x="2040" y="294"/>
                  </a:lnTo>
                  <a:lnTo>
                    <a:pt x="2036" y="296"/>
                  </a:lnTo>
                  <a:lnTo>
                    <a:pt x="2034" y="300"/>
                  </a:lnTo>
                  <a:lnTo>
                    <a:pt x="2032" y="302"/>
                  </a:lnTo>
                  <a:lnTo>
                    <a:pt x="2032" y="302"/>
                  </a:lnTo>
                  <a:lnTo>
                    <a:pt x="2032" y="302"/>
                  </a:lnTo>
                  <a:lnTo>
                    <a:pt x="2030" y="304"/>
                  </a:lnTo>
                  <a:lnTo>
                    <a:pt x="2030" y="304"/>
                  </a:lnTo>
                  <a:lnTo>
                    <a:pt x="2030" y="306"/>
                  </a:lnTo>
                  <a:lnTo>
                    <a:pt x="2032" y="308"/>
                  </a:lnTo>
                  <a:lnTo>
                    <a:pt x="2032" y="308"/>
                  </a:lnTo>
                  <a:lnTo>
                    <a:pt x="2032" y="308"/>
                  </a:lnTo>
                  <a:lnTo>
                    <a:pt x="2034" y="310"/>
                  </a:lnTo>
                  <a:lnTo>
                    <a:pt x="2034" y="310"/>
                  </a:lnTo>
                  <a:lnTo>
                    <a:pt x="2034" y="310"/>
                  </a:lnTo>
                  <a:lnTo>
                    <a:pt x="2036" y="312"/>
                  </a:lnTo>
                  <a:lnTo>
                    <a:pt x="2038" y="314"/>
                  </a:lnTo>
                  <a:lnTo>
                    <a:pt x="2040" y="316"/>
                  </a:lnTo>
                  <a:lnTo>
                    <a:pt x="2042" y="316"/>
                  </a:lnTo>
                  <a:lnTo>
                    <a:pt x="2042" y="318"/>
                  </a:lnTo>
                  <a:lnTo>
                    <a:pt x="2042" y="322"/>
                  </a:lnTo>
                  <a:lnTo>
                    <a:pt x="2042" y="324"/>
                  </a:lnTo>
                  <a:lnTo>
                    <a:pt x="2042" y="324"/>
                  </a:lnTo>
                  <a:lnTo>
                    <a:pt x="2042" y="324"/>
                  </a:lnTo>
                  <a:lnTo>
                    <a:pt x="2042" y="326"/>
                  </a:lnTo>
                  <a:lnTo>
                    <a:pt x="2042" y="326"/>
                  </a:lnTo>
                  <a:lnTo>
                    <a:pt x="2042" y="326"/>
                  </a:lnTo>
                  <a:lnTo>
                    <a:pt x="2042" y="330"/>
                  </a:lnTo>
                  <a:lnTo>
                    <a:pt x="2042" y="330"/>
                  </a:lnTo>
                  <a:lnTo>
                    <a:pt x="2042" y="330"/>
                  </a:lnTo>
                  <a:lnTo>
                    <a:pt x="2044" y="334"/>
                  </a:lnTo>
                  <a:lnTo>
                    <a:pt x="2044" y="334"/>
                  </a:lnTo>
                  <a:lnTo>
                    <a:pt x="2044" y="334"/>
                  </a:lnTo>
                  <a:lnTo>
                    <a:pt x="2046" y="336"/>
                  </a:lnTo>
                  <a:lnTo>
                    <a:pt x="2046" y="336"/>
                  </a:lnTo>
                  <a:lnTo>
                    <a:pt x="2046" y="336"/>
                  </a:lnTo>
                  <a:lnTo>
                    <a:pt x="2048" y="340"/>
                  </a:lnTo>
                  <a:lnTo>
                    <a:pt x="2048" y="340"/>
                  </a:lnTo>
                  <a:lnTo>
                    <a:pt x="2048" y="340"/>
                  </a:lnTo>
                  <a:lnTo>
                    <a:pt x="2050" y="342"/>
                  </a:lnTo>
                  <a:lnTo>
                    <a:pt x="2050" y="342"/>
                  </a:lnTo>
                  <a:lnTo>
                    <a:pt x="2050" y="342"/>
                  </a:lnTo>
                  <a:lnTo>
                    <a:pt x="2052" y="344"/>
                  </a:lnTo>
                  <a:lnTo>
                    <a:pt x="2052" y="344"/>
                  </a:lnTo>
                  <a:lnTo>
                    <a:pt x="2052" y="344"/>
                  </a:lnTo>
                  <a:lnTo>
                    <a:pt x="2054" y="344"/>
                  </a:lnTo>
                  <a:lnTo>
                    <a:pt x="2058" y="344"/>
                  </a:lnTo>
                  <a:lnTo>
                    <a:pt x="2060" y="346"/>
                  </a:lnTo>
                  <a:lnTo>
                    <a:pt x="2060" y="346"/>
                  </a:lnTo>
                  <a:lnTo>
                    <a:pt x="2062" y="346"/>
                  </a:lnTo>
                  <a:lnTo>
                    <a:pt x="2062" y="346"/>
                  </a:lnTo>
                  <a:lnTo>
                    <a:pt x="2062" y="346"/>
                  </a:lnTo>
                  <a:lnTo>
                    <a:pt x="2062" y="346"/>
                  </a:lnTo>
                  <a:lnTo>
                    <a:pt x="2062" y="348"/>
                  </a:lnTo>
                  <a:lnTo>
                    <a:pt x="2060" y="350"/>
                  </a:lnTo>
                  <a:lnTo>
                    <a:pt x="2060" y="352"/>
                  </a:lnTo>
                  <a:lnTo>
                    <a:pt x="2058" y="358"/>
                  </a:lnTo>
                  <a:lnTo>
                    <a:pt x="2058" y="360"/>
                  </a:lnTo>
                  <a:lnTo>
                    <a:pt x="2056" y="362"/>
                  </a:lnTo>
                  <a:lnTo>
                    <a:pt x="2056" y="362"/>
                  </a:lnTo>
                  <a:lnTo>
                    <a:pt x="2056" y="362"/>
                  </a:lnTo>
                  <a:lnTo>
                    <a:pt x="2056" y="376"/>
                  </a:lnTo>
                  <a:lnTo>
                    <a:pt x="2056" y="376"/>
                  </a:lnTo>
                  <a:lnTo>
                    <a:pt x="2056" y="376"/>
                  </a:lnTo>
                  <a:lnTo>
                    <a:pt x="2056" y="376"/>
                  </a:lnTo>
                  <a:lnTo>
                    <a:pt x="2054" y="376"/>
                  </a:lnTo>
                  <a:lnTo>
                    <a:pt x="2052" y="378"/>
                  </a:lnTo>
                  <a:lnTo>
                    <a:pt x="2052" y="378"/>
                  </a:lnTo>
                  <a:lnTo>
                    <a:pt x="2052" y="378"/>
                  </a:lnTo>
                  <a:lnTo>
                    <a:pt x="2052" y="380"/>
                  </a:lnTo>
                  <a:lnTo>
                    <a:pt x="2052" y="380"/>
                  </a:lnTo>
                  <a:lnTo>
                    <a:pt x="2050" y="382"/>
                  </a:lnTo>
                  <a:lnTo>
                    <a:pt x="2050" y="382"/>
                  </a:lnTo>
                  <a:lnTo>
                    <a:pt x="2050" y="382"/>
                  </a:lnTo>
                  <a:lnTo>
                    <a:pt x="2050" y="384"/>
                  </a:lnTo>
                  <a:lnTo>
                    <a:pt x="2052" y="384"/>
                  </a:lnTo>
                  <a:lnTo>
                    <a:pt x="2052" y="384"/>
                  </a:lnTo>
                  <a:lnTo>
                    <a:pt x="2052" y="384"/>
                  </a:lnTo>
                  <a:lnTo>
                    <a:pt x="2052" y="386"/>
                  </a:lnTo>
                  <a:lnTo>
                    <a:pt x="2052" y="386"/>
                  </a:lnTo>
                  <a:lnTo>
                    <a:pt x="2052" y="386"/>
                  </a:lnTo>
                  <a:lnTo>
                    <a:pt x="2054" y="388"/>
                  </a:lnTo>
                  <a:lnTo>
                    <a:pt x="2054" y="388"/>
                  </a:lnTo>
                  <a:lnTo>
                    <a:pt x="2056" y="390"/>
                  </a:lnTo>
                  <a:lnTo>
                    <a:pt x="2058" y="390"/>
                  </a:lnTo>
                  <a:lnTo>
                    <a:pt x="2058" y="390"/>
                  </a:lnTo>
                  <a:lnTo>
                    <a:pt x="2058" y="392"/>
                  </a:lnTo>
                  <a:lnTo>
                    <a:pt x="2060" y="392"/>
                  </a:lnTo>
                  <a:lnTo>
                    <a:pt x="2060" y="392"/>
                  </a:lnTo>
                  <a:lnTo>
                    <a:pt x="2060" y="392"/>
                  </a:lnTo>
                  <a:lnTo>
                    <a:pt x="2062" y="392"/>
                  </a:lnTo>
                  <a:lnTo>
                    <a:pt x="2062" y="392"/>
                  </a:lnTo>
                  <a:lnTo>
                    <a:pt x="2062" y="392"/>
                  </a:lnTo>
                  <a:lnTo>
                    <a:pt x="2064" y="392"/>
                  </a:lnTo>
                  <a:lnTo>
                    <a:pt x="2064" y="392"/>
                  </a:lnTo>
                  <a:lnTo>
                    <a:pt x="2064" y="392"/>
                  </a:lnTo>
                  <a:lnTo>
                    <a:pt x="2066" y="392"/>
                  </a:lnTo>
                  <a:lnTo>
                    <a:pt x="2066" y="392"/>
                  </a:lnTo>
                  <a:lnTo>
                    <a:pt x="2066" y="390"/>
                  </a:lnTo>
                  <a:lnTo>
                    <a:pt x="2070" y="388"/>
                  </a:lnTo>
                  <a:lnTo>
                    <a:pt x="2072" y="386"/>
                  </a:lnTo>
                  <a:lnTo>
                    <a:pt x="2074" y="384"/>
                  </a:lnTo>
                  <a:lnTo>
                    <a:pt x="2076" y="382"/>
                  </a:lnTo>
                  <a:lnTo>
                    <a:pt x="2078" y="380"/>
                  </a:lnTo>
                  <a:lnTo>
                    <a:pt x="2082" y="376"/>
                  </a:lnTo>
                  <a:lnTo>
                    <a:pt x="2084" y="376"/>
                  </a:lnTo>
                  <a:lnTo>
                    <a:pt x="2086" y="374"/>
                  </a:lnTo>
                  <a:lnTo>
                    <a:pt x="2086" y="374"/>
                  </a:lnTo>
                  <a:lnTo>
                    <a:pt x="2086" y="374"/>
                  </a:lnTo>
                  <a:lnTo>
                    <a:pt x="2086" y="376"/>
                  </a:lnTo>
                  <a:lnTo>
                    <a:pt x="2088" y="378"/>
                  </a:lnTo>
                  <a:lnTo>
                    <a:pt x="2088" y="382"/>
                  </a:lnTo>
                  <a:lnTo>
                    <a:pt x="2088" y="386"/>
                  </a:lnTo>
                  <a:lnTo>
                    <a:pt x="2086" y="390"/>
                  </a:lnTo>
                  <a:lnTo>
                    <a:pt x="2086" y="390"/>
                  </a:lnTo>
                  <a:lnTo>
                    <a:pt x="2086" y="394"/>
                  </a:lnTo>
                  <a:lnTo>
                    <a:pt x="2086" y="396"/>
                  </a:lnTo>
                  <a:lnTo>
                    <a:pt x="2086" y="398"/>
                  </a:lnTo>
                  <a:lnTo>
                    <a:pt x="2086" y="398"/>
                  </a:lnTo>
                  <a:lnTo>
                    <a:pt x="2086" y="398"/>
                  </a:lnTo>
                  <a:lnTo>
                    <a:pt x="2086" y="400"/>
                  </a:lnTo>
                  <a:lnTo>
                    <a:pt x="2086" y="400"/>
                  </a:lnTo>
                  <a:lnTo>
                    <a:pt x="2086" y="400"/>
                  </a:lnTo>
                  <a:lnTo>
                    <a:pt x="2086" y="402"/>
                  </a:lnTo>
                  <a:lnTo>
                    <a:pt x="2088" y="402"/>
                  </a:lnTo>
                  <a:lnTo>
                    <a:pt x="2088" y="402"/>
                  </a:lnTo>
                  <a:lnTo>
                    <a:pt x="2088" y="402"/>
                  </a:lnTo>
                  <a:lnTo>
                    <a:pt x="2090" y="404"/>
                  </a:lnTo>
                  <a:lnTo>
                    <a:pt x="2090" y="404"/>
                  </a:lnTo>
                  <a:lnTo>
                    <a:pt x="2090" y="404"/>
                  </a:lnTo>
                  <a:lnTo>
                    <a:pt x="2094" y="404"/>
                  </a:lnTo>
                  <a:lnTo>
                    <a:pt x="2094" y="404"/>
                  </a:lnTo>
                  <a:lnTo>
                    <a:pt x="2094" y="404"/>
                  </a:lnTo>
                  <a:lnTo>
                    <a:pt x="2096" y="404"/>
                  </a:lnTo>
                  <a:lnTo>
                    <a:pt x="2096" y="406"/>
                  </a:lnTo>
                  <a:lnTo>
                    <a:pt x="2096" y="406"/>
                  </a:lnTo>
                  <a:lnTo>
                    <a:pt x="2094" y="406"/>
                  </a:lnTo>
                  <a:lnTo>
                    <a:pt x="2094" y="406"/>
                  </a:lnTo>
                  <a:lnTo>
                    <a:pt x="2094" y="406"/>
                  </a:lnTo>
                  <a:lnTo>
                    <a:pt x="2092" y="408"/>
                  </a:lnTo>
                  <a:lnTo>
                    <a:pt x="2090" y="410"/>
                  </a:lnTo>
                  <a:lnTo>
                    <a:pt x="2090" y="410"/>
                  </a:lnTo>
                  <a:lnTo>
                    <a:pt x="2090" y="414"/>
                  </a:lnTo>
                  <a:lnTo>
                    <a:pt x="2090" y="414"/>
                  </a:lnTo>
                  <a:lnTo>
                    <a:pt x="2090" y="414"/>
                  </a:lnTo>
                  <a:lnTo>
                    <a:pt x="2092" y="416"/>
                  </a:lnTo>
                  <a:lnTo>
                    <a:pt x="2094" y="416"/>
                  </a:lnTo>
                  <a:lnTo>
                    <a:pt x="2094" y="416"/>
                  </a:lnTo>
                  <a:lnTo>
                    <a:pt x="2094" y="416"/>
                  </a:lnTo>
                  <a:lnTo>
                    <a:pt x="2096" y="416"/>
                  </a:lnTo>
                  <a:lnTo>
                    <a:pt x="2096" y="416"/>
                  </a:lnTo>
                  <a:lnTo>
                    <a:pt x="2096" y="416"/>
                  </a:lnTo>
                  <a:lnTo>
                    <a:pt x="2098" y="414"/>
                  </a:lnTo>
                  <a:lnTo>
                    <a:pt x="2100" y="414"/>
                  </a:lnTo>
                  <a:lnTo>
                    <a:pt x="2100" y="414"/>
                  </a:lnTo>
                  <a:lnTo>
                    <a:pt x="2104" y="412"/>
                  </a:lnTo>
                  <a:lnTo>
                    <a:pt x="2104" y="412"/>
                  </a:lnTo>
                  <a:lnTo>
                    <a:pt x="2106" y="410"/>
                  </a:lnTo>
                  <a:lnTo>
                    <a:pt x="2106" y="410"/>
                  </a:lnTo>
                  <a:lnTo>
                    <a:pt x="2106" y="406"/>
                  </a:lnTo>
                  <a:lnTo>
                    <a:pt x="2106" y="404"/>
                  </a:lnTo>
                  <a:lnTo>
                    <a:pt x="2106" y="404"/>
                  </a:lnTo>
                  <a:lnTo>
                    <a:pt x="2104" y="402"/>
                  </a:lnTo>
                  <a:lnTo>
                    <a:pt x="2104" y="402"/>
                  </a:lnTo>
                  <a:lnTo>
                    <a:pt x="2102" y="402"/>
                  </a:lnTo>
                  <a:lnTo>
                    <a:pt x="2102" y="402"/>
                  </a:lnTo>
                  <a:lnTo>
                    <a:pt x="2102" y="402"/>
                  </a:lnTo>
                  <a:lnTo>
                    <a:pt x="2104" y="402"/>
                  </a:lnTo>
                  <a:lnTo>
                    <a:pt x="2104" y="402"/>
                  </a:lnTo>
                  <a:lnTo>
                    <a:pt x="2104" y="400"/>
                  </a:lnTo>
                  <a:lnTo>
                    <a:pt x="2104" y="398"/>
                  </a:lnTo>
                  <a:lnTo>
                    <a:pt x="2104" y="398"/>
                  </a:lnTo>
                  <a:lnTo>
                    <a:pt x="2104" y="398"/>
                  </a:lnTo>
                  <a:lnTo>
                    <a:pt x="2104" y="394"/>
                  </a:lnTo>
                  <a:lnTo>
                    <a:pt x="2104" y="390"/>
                  </a:lnTo>
                  <a:lnTo>
                    <a:pt x="2106" y="386"/>
                  </a:lnTo>
                  <a:lnTo>
                    <a:pt x="2106" y="386"/>
                  </a:lnTo>
                  <a:lnTo>
                    <a:pt x="2106" y="384"/>
                  </a:lnTo>
                  <a:lnTo>
                    <a:pt x="2106" y="382"/>
                  </a:lnTo>
                  <a:close/>
                  <a:moveTo>
                    <a:pt x="2088" y="428"/>
                  </a:moveTo>
                  <a:lnTo>
                    <a:pt x="2088" y="428"/>
                  </a:lnTo>
                  <a:lnTo>
                    <a:pt x="2088" y="428"/>
                  </a:lnTo>
                  <a:lnTo>
                    <a:pt x="2090" y="426"/>
                  </a:lnTo>
                  <a:lnTo>
                    <a:pt x="2090" y="426"/>
                  </a:lnTo>
                  <a:lnTo>
                    <a:pt x="2088" y="422"/>
                  </a:lnTo>
                  <a:lnTo>
                    <a:pt x="2084" y="422"/>
                  </a:lnTo>
                  <a:lnTo>
                    <a:pt x="2084" y="422"/>
                  </a:lnTo>
                  <a:lnTo>
                    <a:pt x="2082" y="422"/>
                  </a:lnTo>
                  <a:lnTo>
                    <a:pt x="2082" y="422"/>
                  </a:lnTo>
                  <a:lnTo>
                    <a:pt x="2080" y="424"/>
                  </a:lnTo>
                  <a:lnTo>
                    <a:pt x="2078" y="426"/>
                  </a:lnTo>
                  <a:lnTo>
                    <a:pt x="2078" y="426"/>
                  </a:lnTo>
                  <a:lnTo>
                    <a:pt x="2078" y="426"/>
                  </a:lnTo>
                  <a:lnTo>
                    <a:pt x="2078" y="426"/>
                  </a:lnTo>
                  <a:lnTo>
                    <a:pt x="2078" y="430"/>
                  </a:lnTo>
                  <a:lnTo>
                    <a:pt x="2078" y="430"/>
                  </a:lnTo>
                  <a:lnTo>
                    <a:pt x="2078" y="430"/>
                  </a:lnTo>
                  <a:lnTo>
                    <a:pt x="2078" y="430"/>
                  </a:lnTo>
                  <a:lnTo>
                    <a:pt x="2076" y="430"/>
                  </a:lnTo>
                  <a:lnTo>
                    <a:pt x="2076" y="430"/>
                  </a:lnTo>
                  <a:lnTo>
                    <a:pt x="2074" y="430"/>
                  </a:lnTo>
                  <a:lnTo>
                    <a:pt x="2074" y="432"/>
                  </a:lnTo>
                  <a:lnTo>
                    <a:pt x="2074" y="432"/>
                  </a:lnTo>
                  <a:lnTo>
                    <a:pt x="2074" y="434"/>
                  </a:lnTo>
                  <a:lnTo>
                    <a:pt x="2074" y="434"/>
                  </a:lnTo>
                  <a:lnTo>
                    <a:pt x="2074" y="434"/>
                  </a:lnTo>
                  <a:lnTo>
                    <a:pt x="2074" y="436"/>
                  </a:lnTo>
                  <a:lnTo>
                    <a:pt x="2074" y="436"/>
                  </a:lnTo>
                  <a:lnTo>
                    <a:pt x="2074" y="436"/>
                  </a:lnTo>
                  <a:lnTo>
                    <a:pt x="2074" y="436"/>
                  </a:lnTo>
                  <a:lnTo>
                    <a:pt x="2076" y="438"/>
                  </a:lnTo>
                  <a:lnTo>
                    <a:pt x="2076" y="438"/>
                  </a:lnTo>
                  <a:lnTo>
                    <a:pt x="2076" y="438"/>
                  </a:lnTo>
                  <a:lnTo>
                    <a:pt x="2078" y="440"/>
                  </a:lnTo>
                  <a:lnTo>
                    <a:pt x="2078" y="440"/>
                  </a:lnTo>
                  <a:lnTo>
                    <a:pt x="2078" y="440"/>
                  </a:lnTo>
                  <a:lnTo>
                    <a:pt x="2080" y="442"/>
                  </a:lnTo>
                  <a:lnTo>
                    <a:pt x="2080" y="442"/>
                  </a:lnTo>
                  <a:lnTo>
                    <a:pt x="2080" y="442"/>
                  </a:lnTo>
                  <a:lnTo>
                    <a:pt x="2082" y="442"/>
                  </a:lnTo>
                  <a:lnTo>
                    <a:pt x="2082" y="442"/>
                  </a:lnTo>
                  <a:lnTo>
                    <a:pt x="2084" y="442"/>
                  </a:lnTo>
                  <a:lnTo>
                    <a:pt x="2086" y="438"/>
                  </a:lnTo>
                  <a:lnTo>
                    <a:pt x="2086" y="438"/>
                  </a:lnTo>
                  <a:lnTo>
                    <a:pt x="2088" y="436"/>
                  </a:lnTo>
                  <a:lnTo>
                    <a:pt x="2088" y="436"/>
                  </a:lnTo>
                  <a:lnTo>
                    <a:pt x="2086" y="434"/>
                  </a:lnTo>
                  <a:lnTo>
                    <a:pt x="2084" y="434"/>
                  </a:lnTo>
                  <a:lnTo>
                    <a:pt x="2084" y="434"/>
                  </a:lnTo>
                  <a:lnTo>
                    <a:pt x="2082" y="432"/>
                  </a:lnTo>
                  <a:lnTo>
                    <a:pt x="2082" y="432"/>
                  </a:lnTo>
                  <a:lnTo>
                    <a:pt x="2086" y="432"/>
                  </a:lnTo>
                  <a:lnTo>
                    <a:pt x="2086" y="432"/>
                  </a:lnTo>
                  <a:lnTo>
                    <a:pt x="2086" y="428"/>
                  </a:lnTo>
                  <a:lnTo>
                    <a:pt x="2086" y="428"/>
                  </a:lnTo>
                  <a:lnTo>
                    <a:pt x="2086" y="428"/>
                  </a:lnTo>
                  <a:lnTo>
                    <a:pt x="2088" y="428"/>
                  </a:lnTo>
                  <a:close/>
                  <a:moveTo>
                    <a:pt x="2120" y="138"/>
                  </a:moveTo>
                  <a:lnTo>
                    <a:pt x="2122" y="142"/>
                  </a:lnTo>
                  <a:lnTo>
                    <a:pt x="2122" y="142"/>
                  </a:lnTo>
                  <a:lnTo>
                    <a:pt x="2122" y="142"/>
                  </a:lnTo>
                  <a:lnTo>
                    <a:pt x="2122" y="142"/>
                  </a:lnTo>
                  <a:lnTo>
                    <a:pt x="2124" y="144"/>
                  </a:lnTo>
                  <a:lnTo>
                    <a:pt x="2124" y="144"/>
                  </a:lnTo>
                  <a:lnTo>
                    <a:pt x="2124" y="144"/>
                  </a:lnTo>
                  <a:lnTo>
                    <a:pt x="2126" y="144"/>
                  </a:lnTo>
                  <a:lnTo>
                    <a:pt x="2126" y="144"/>
                  </a:lnTo>
                  <a:lnTo>
                    <a:pt x="2128" y="144"/>
                  </a:lnTo>
                  <a:lnTo>
                    <a:pt x="2128" y="144"/>
                  </a:lnTo>
                  <a:lnTo>
                    <a:pt x="2128" y="144"/>
                  </a:lnTo>
                  <a:lnTo>
                    <a:pt x="2130" y="142"/>
                  </a:lnTo>
                  <a:lnTo>
                    <a:pt x="2130" y="142"/>
                  </a:lnTo>
                  <a:lnTo>
                    <a:pt x="2130" y="142"/>
                  </a:lnTo>
                  <a:lnTo>
                    <a:pt x="2130" y="140"/>
                  </a:lnTo>
                  <a:lnTo>
                    <a:pt x="2130" y="138"/>
                  </a:lnTo>
                  <a:lnTo>
                    <a:pt x="2130" y="138"/>
                  </a:lnTo>
                  <a:lnTo>
                    <a:pt x="2130" y="138"/>
                  </a:lnTo>
                  <a:lnTo>
                    <a:pt x="2128" y="138"/>
                  </a:lnTo>
                  <a:lnTo>
                    <a:pt x="2128" y="138"/>
                  </a:lnTo>
                  <a:lnTo>
                    <a:pt x="2128" y="136"/>
                  </a:lnTo>
                  <a:lnTo>
                    <a:pt x="2128" y="136"/>
                  </a:lnTo>
                  <a:lnTo>
                    <a:pt x="2126" y="134"/>
                  </a:lnTo>
                  <a:lnTo>
                    <a:pt x="2124" y="134"/>
                  </a:lnTo>
                  <a:lnTo>
                    <a:pt x="2124" y="134"/>
                  </a:lnTo>
                  <a:lnTo>
                    <a:pt x="2124" y="132"/>
                  </a:lnTo>
                  <a:lnTo>
                    <a:pt x="2124" y="132"/>
                  </a:lnTo>
                  <a:lnTo>
                    <a:pt x="2124" y="132"/>
                  </a:lnTo>
                  <a:lnTo>
                    <a:pt x="2120" y="132"/>
                  </a:lnTo>
                  <a:lnTo>
                    <a:pt x="2120" y="132"/>
                  </a:lnTo>
                  <a:lnTo>
                    <a:pt x="2120" y="136"/>
                  </a:lnTo>
                  <a:lnTo>
                    <a:pt x="2120" y="138"/>
                  </a:lnTo>
                  <a:lnTo>
                    <a:pt x="2120" y="138"/>
                  </a:lnTo>
                  <a:lnTo>
                    <a:pt x="2120" y="138"/>
                  </a:lnTo>
                  <a:lnTo>
                    <a:pt x="2120" y="138"/>
                  </a:lnTo>
                  <a:close/>
                  <a:moveTo>
                    <a:pt x="1866" y="234"/>
                  </a:moveTo>
                  <a:lnTo>
                    <a:pt x="1868" y="240"/>
                  </a:lnTo>
                  <a:lnTo>
                    <a:pt x="1870" y="244"/>
                  </a:lnTo>
                  <a:lnTo>
                    <a:pt x="1872" y="250"/>
                  </a:lnTo>
                  <a:lnTo>
                    <a:pt x="1872" y="254"/>
                  </a:lnTo>
                  <a:lnTo>
                    <a:pt x="1874" y="256"/>
                  </a:lnTo>
                  <a:lnTo>
                    <a:pt x="1876" y="258"/>
                  </a:lnTo>
                  <a:lnTo>
                    <a:pt x="1876" y="260"/>
                  </a:lnTo>
                  <a:lnTo>
                    <a:pt x="1876" y="260"/>
                  </a:lnTo>
                  <a:lnTo>
                    <a:pt x="1876" y="260"/>
                  </a:lnTo>
                  <a:lnTo>
                    <a:pt x="1878" y="262"/>
                  </a:lnTo>
                  <a:lnTo>
                    <a:pt x="1878" y="262"/>
                  </a:lnTo>
                  <a:lnTo>
                    <a:pt x="1880" y="262"/>
                  </a:lnTo>
                  <a:lnTo>
                    <a:pt x="1880" y="262"/>
                  </a:lnTo>
                  <a:lnTo>
                    <a:pt x="1880" y="262"/>
                  </a:lnTo>
                  <a:lnTo>
                    <a:pt x="1882" y="262"/>
                  </a:lnTo>
                  <a:lnTo>
                    <a:pt x="1884" y="262"/>
                  </a:lnTo>
                  <a:lnTo>
                    <a:pt x="1884" y="262"/>
                  </a:lnTo>
                  <a:lnTo>
                    <a:pt x="1884" y="262"/>
                  </a:lnTo>
                  <a:lnTo>
                    <a:pt x="1886" y="260"/>
                  </a:lnTo>
                  <a:lnTo>
                    <a:pt x="1886" y="262"/>
                  </a:lnTo>
                  <a:lnTo>
                    <a:pt x="1886" y="264"/>
                  </a:lnTo>
                  <a:lnTo>
                    <a:pt x="1886" y="264"/>
                  </a:lnTo>
                  <a:lnTo>
                    <a:pt x="1886" y="264"/>
                  </a:lnTo>
                  <a:lnTo>
                    <a:pt x="1886" y="266"/>
                  </a:lnTo>
                  <a:lnTo>
                    <a:pt x="1886" y="268"/>
                  </a:lnTo>
                  <a:lnTo>
                    <a:pt x="1886" y="268"/>
                  </a:lnTo>
                  <a:lnTo>
                    <a:pt x="1886" y="268"/>
                  </a:lnTo>
                  <a:lnTo>
                    <a:pt x="1888" y="268"/>
                  </a:lnTo>
                  <a:lnTo>
                    <a:pt x="1888" y="268"/>
                  </a:lnTo>
                  <a:lnTo>
                    <a:pt x="1886" y="268"/>
                  </a:lnTo>
                  <a:lnTo>
                    <a:pt x="1886" y="270"/>
                  </a:lnTo>
                  <a:lnTo>
                    <a:pt x="1886" y="270"/>
                  </a:lnTo>
                  <a:lnTo>
                    <a:pt x="1884" y="270"/>
                  </a:lnTo>
                  <a:lnTo>
                    <a:pt x="1884" y="272"/>
                  </a:lnTo>
                  <a:lnTo>
                    <a:pt x="1884" y="272"/>
                  </a:lnTo>
                  <a:lnTo>
                    <a:pt x="1884" y="272"/>
                  </a:lnTo>
                  <a:lnTo>
                    <a:pt x="1884" y="274"/>
                  </a:lnTo>
                  <a:lnTo>
                    <a:pt x="1884" y="274"/>
                  </a:lnTo>
                  <a:lnTo>
                    <a:pt x="1884" y="274"/>
                  </a:lnTo>
                  <a:lnTo>
                    <a:pt x="1882" y="278"/>
                  </a:lnTo>
                  <a:lnTo>
                    <a:pt x="1882" y="284"/>
                  </a:lnTo>
                  <a:lnTo>
                    <a:pt x="1882" y="288"/>
                  </a:lnTo>
                  <a:lnTo>
                    <a:pt x="1882" y="288"/>
                  </a:lnTo>
                  <a:lnTo>
                    <a:pt x="1884" y="288"/>
                  </a:lnTo>
                  <a:lnTo>
                    <a:pt x="1884" y="292"/>
                  </a:lnTo>
                  <a:lnTo>
                    <a:pt x="1884" y="294"/>
                  </a:lnTo>
                  <a:lnTo>
                    <a:pt x="1888" y="298"/>
                  </a:lnTo>
                  <a:lnTo>
                    <a:pt x="1890" y="304"/>
                  </a:lnTo>
                  <a:lnTo>
                    <a:pt x="1892" y="306"/>
                  </a:lnTo>
                  <a:lnTo>
                    <a:pt x="1894" y="308"/>
                  </a:lnTo>
                  <a:lnTo>
                    <a:pt x="1894" y="308"/>
                  </a:lnTo>
                  <a:lnTo>
                    <a:pt x="1894" y="308"/>
                  </a:lnTo>
                  <a:lnTo>
                    <a:pt x="1896" y="310"/>
                  </a:lnTo>
                  <a:lnTo>
                    <a:pt x="1896" y="310"/>
                  </a:lnTo>
                  <a:lnTo>
                    <a:pt x="1896" y="310"/>
                  </a:lnTo>
                  <a:lnTo>
                    <a:pt x="1900" y="312"/>
                  </a:lnTo>
                  <a:lnTo>
                    <a:pt x="1902" y="312"/>
                  </a:lnTo>
                  <a:lnTo>
                    <a:pt x="1902" y="314"/>
                  </a:lnTo>
                  <a:lnTo>
                    <a:pt x="1900" y="314"/>
                  </a:lnTo>
                  <a:lnTo>
                    <a:pt x="1900" y="316"/>
                  </a:lnTo>
                  <a:lnTo>
                    <a:pt x="1900" y="316"/>
                  </a:lnTo>
                  <a:lnTo>
                    <a:pt x="1900" y="318"/>
                  </a:lnTo>
                  <a:lnTo>
                    <a:pt x="1900" y="318"/>
                  </a:lnTo>
                  <a:lnTo>
                    <a:pt x="1900" y="318"/>
                  </a:lnTo>
                  <a:lnTo>
                    <a:pt x="1900" y="320"/>
                  </a:lnTo>
                  <a:lnTo>
                    <a:pt x="1900" y="320"/>
                  </a:lnTo>
                  <a:lnTo>
                    <a:pt x="1900" y="320"/>
                  </a:lnTo>
                  <a:lnTo>
                    <a:pt x="1900" y="322"/>
                  </a:lnTo>
                  <a:lnTo>
                    <a:pt x="1902" y="324"/>
                  </a:lnTo>
                  <a:lnTo>
                    <a:pt x="1902" y="326"/>
                  </a:lnTo>
                  <a:lnTo>
                    <a:pt x="1906" y="332"/>
                  </a:lnTo>
                  <a:lnTo>
                    <a:pt x="1908" y="334"/>
                  </a:lnTo>
                  <a:lnTo>
                    <a:pt x="1910" y="336"/>
                  </a:lnTo>
                  <a:lnTo>
                    <a:pt x="1912" y="338"/>
                  </a:lnTo>
                  <a:lnTo>
                    <a:pt x="1912" y="338"/>
                  </a:lnTo>
                  <a:lnTo>
                    <a:pt x="1912" y="338"/>
                  </a:lnTo>
                  <a:lnTo>
                    <a:pt x="1914" y="340"/>
                  </a:lnTo>
                  <a:lnTo>
                    <a:pt x="1914" y="340"/>
                  </a:lnTo>
                  <a:lnTo>
                    <a:pt x="1914" y="340"/>
                  </a:lnTo>
                  <a:lnTo>
                    <a:pt x="1916" y="340"/>
                  </a:lnTo>
                  <a:lnTo>
                    <a:pt x="1916" y="340"/>
                  </a:lnTo>
                  <a:lnTo>
                    <a:pt x="1916" y="342"/>
                  </a:lnTo>
                  <a:lnTo>
                    <a:pt x="1920" y="342"/>
                  </a:lnTo>
                  <a:lnTo>
                    <a:pt x="1920" y="342"/>
                  </a:lnTo>
                  <a:lnTo>
                    <a:pt x="1922" y="340"/>
                  </a:lnTo>
                  <a:lnTo>
                    <a:pt x="1924" y="340"/>
                  </a:lnTo>
                  <a:lnTo>
                    <a:pt x="1924" y="340"/>
                  </a:lnTo>
                  <a:lnTo>
                    <a:pt x="1926" y="340"/>
                  </a:lnTo>
                  <a:lnTo>
                    <a:pt x="1930" y="338"/>
                  </a:lnTo>
                  <a:lnTo>
                    <a:pt x="1932" y="338"/>
                  </a:lnTo>
                  <a:lnTo>
                    <a:pt x="1934" y="336"/>
                  </a:lnTo>
                  <a:lnTo>
                    <a:pt x="1934" y="336"/>
                  </a:lnTo>
                  <a:lnTo>
                    <a:pt x="1934" y="336"/>
                  </a:lnTo>
                  <a:lnTo>
                    <a:pt x="1936" y="334"/>
                  </a:lnTo>
                  <a:lnTo>
                    <a:pt x="1936" y="334"/>
                  </a:lnTo>
                  <a:lnTo>
                    <a:pt x="1936" y="334"/>
                  </a:lnTo>
                  <a:lnTo>
                    <a:pt x="1936" y="332"/>
                  </a:lnTo>
                  <a:lnTo>
                    <a:pt x="1936" y="332"/>
                  </a:lnTo>
                  <a:lnTo>
                    <a:pt x="1936" y="332"/>
                  </a:lnTo>
                  <a:lnTo>
                    <a:pt x="1936" y="328"/>
                  </a:lnTo>
                  <a:lnTo>
                    <a:pt x="1936" y="324"/>
                  </a:lnTo>
                  <a:lnTo>
                    <a:pt x="1936" y="324"/>
                  </a:lnTo>
                  <a:lnTo>
                    <a:pt x="1936" y="322"/>
                  </a:lnTo>
                  <a:lnTo>
                    <a:pt x="1936" y="322"/>
                  </a:lnTo>
                  <a:lnTo>
                    <a:pt x="1938" y="322"/>
                  </a:lnTo>
                  <a:lnTo>
                    <a:pt x="1940" y="320"/>
                  </a:lnTo>
                  <a:lnTo>
                    <a:pt x="1942" y="318"/>
                  </a:lnTo>
                  <a:lnTo>
                    <a:pt x="1942" y="318"/>
                  </a:lnTo>
                  <a:lnTo>
                    <a:pt x="1944" y="318"/>
                  </a:lnTo>
                  <a:lnTo>
                    <a:pt x="1944" y="316"/>
                  </a:lnTo>
                  <a:lnTo>
                    <a:pt x="1944" y="316"/>
                  </a:lnTo>
                  <a:lnTo>
                    <a:pt x="1944" y="316"/>
                  </a:lnTo>
                  <a:lnTo>
                    <a:pt x="1944" y="314"/>
                  </a:lnTo>
                  <a:lnTo>
                    <a:pt x="1944" y="314"/>
                  </a:lnTo>
                  <a:lnTo>
                    <a:pt x="1944" y="312"/>
                  </a:lnTo>
                  <a:lnTo>
                    <a:pt x="1944" y="312"/>
                  </a:lnTo>
                  <a:lnTo>
                    <a:pt x="1944" y="312"/>
                  </a:lnTo>
                  <a:lnTo>
                    <a:pt x="1944" y="310"/>
                  </a:lnTo>
                  <a:lnTo>
                    <a:pt x="1942" y="310"/>
                  </a:lnTo>
                  <a:lnTo>
                    <a:pt x="1942" y="310"/>
                  </a:lnTo>
                  <a:lnTo>
                    <a:pt x="1942" y="310"/>
                  </a:lnTo>
                  <a:lnTo>
                    <a:pt x="1940" y="310"/>
                  </a:lnTo>
                  <a:lnTo>
                    <a:pt x="1938" y="308"/>
                  </a:lnTo>
                  <a:lnTo>
                    <a:pt x="1936" y="308"/>
                  </a:lnTo>
                  <a:lnTo>
                    <a:pt x="1936" y="306"/>
                  </a:lnTo>
                  <a:lnTo>
                    <a:pt x="1936" y="306"/>
                  </a:lnTo>
                  <a:lnTo>
                    <a:pt x="1934" y="306"/>
                  </a:lnTo>
                  <a:lnTo>
                    <a:pt x="1934" y="304"/>
                  </a:lnTo>
                  <a:lnTo>
                    <a:pt x="1936" y="300"/>
                  </a:lnTo>
                  <a:lnTo>
                    <a:pt x="1936" y="298"/>
                  </a:lnTo>
                  <a:lnTo>
                    <a:pt x="1936" y="296"/>
                  </a:lnTo>
                  <a:lnTo>
                    <a:pt x="1938" y="298"/>
                  </a:lnTo>
                  <a:lnTo>
                    <a:pt x="1938" y="300"/>
                  </a:lnTo>
                  <a:lnTo>
                    <a:pt x="1940" y="302"/>
                  </a:lnTo>
                  <a:lnTo>
                    <a:pt x="1940" y="302"/>
                  </a:lnTo>
                  <a:lnTo>
                    <a:pt x="1940" y="302"/>
                  </a:lnTo>
                  <a:lnTo>
                    <a:pt x="1942" y="304"/>
                  </a:lnTo>
                  <a:lnTo>
                    <a:pt x="1942" y="304"/>
                  </a:lnTo>
                  <a:lnTo>
                    <a:pt x="1944" y="304"/>
                  </a:lnTo>
                  <a:lnTo>
                    <a:pt x="1944" y="304"/>
                  </a:lnTo>
                  <a:lnTo>
                    <a:pt x="1944" y="306"/>
                  </a:lnTo>
                  <a:lnTo>
                    <a:pt x="1944" y="308"/>
                  </a:lnTo>
                  <a:lnTo>
                    <a:pt x="1944" y="310"/>
                  </a:lnTo>
                  <a:lnTo>
                    <a:pt x="1944" y="310"/>
                  </a:lnTo>
                  <a:lnTo>
                    <a:pt x="1944" y="310"/>
                  </a:lnTo>
                  <a:lnTo>
                    <a:pt x="1944" y="312"/>
                  </a:lnTo>
                  <a:lnTo>
                    <a:pt x="1944" y="312"/>
                  </a:lnTo>
                  <a:lnTo>
                    <a:pt x="1946" y="312"/>
                  </a:lnTo>
                  <a:lnTo>
                    <a:pt x="1946" y="314"/>
                  </a:lnTo>
                  <a:lnTo>
                    <a:pt x="1946" y="314"/>
                  </a:lnTo>
                  <a:lnTo>
                    <a:pt x="1946" y="314"/>
                  </a:lnTo>
                  <a:lnTo>
                    <a:pt x="1948" y="316"/>
                  </a:lnTo>
                  <a:lnTo>
                    <a:pt x="1948" y="316"/>
                  </a:lnTo>
                  <a:lnTo>
                    <a:pt x="1948" y="316"/>
                  </a:lnTo>
                  <a:lnTo>
                    <a:pt x="1950" y="316"/>
                  </a:lnTo>
                  <a:lnTo>
                    <a:pt x="1950" y="316"/>
                  </a:lnTo>
                  <a:lnTo>
                    <a:pt x="1950" y="316"/>
                  </a:lnTo>
                  <a:lnTo>
                    <a:pt x="1952" y="318"/>
                  </a:lnTo>
                  <a:lnTo>
                    <a:pt x="1954" y="318"/>
                  </a:lnTo>
                  <a:lnTo>
                    <a:pt x="1956" y="316"/>
                  </a:lnTo>
                  <a:lnTo>
                    <a:pt x="1956" y="316"/>
                  </a:lnTo>
                  <a:lnTo>
                    <a:pt x="1956" y="316"/>
                  </a:lnTo>
                  <a:lnTo>
                    <a:pt x="1958" y="316"/>
                  </a:lnTo>
                  <a:lnTo>
                    <a:pt x="1958" y="316"/>
                  </a:lnTo>
                  <a:lnTo>
                    <a:pt x="1960" y="314"/>
                  </a:lnTo>
                  <a:lnTo>
                    <a:pt x="1962" y="312"/>
                  </a:lnTo>
                  <a:lnTo>
                    <a:pt x="1964" y="310"/>
                  </a:lnTo>
                  <a:lnTo>
                    <a:pt x="1966" y="306"/>
                  </a:lnTo>
                  <a:lnTo>
                    <a:pt x="1966" y="306"/>
                  </a:lnTo>
                  <a:lnTo>
                    <a:pt x="1968" y="304"/>
                  </a:lnTo>
                  <a:lnTo>
                    <a:pt x="1968" y="302"/>
                  </a:lnTo>
                  <a:lnTo>
                    <a:pt x="1968" y="304"/>
                  </a:lnTo>
                  <a:lnTo>
                    <a:pt x="1966" y="308"/>
                  </a:lnTo>
                  <a:lnTo>
                    <a:pt x="1966" y="312"/>
                  </a:lnTo>
                  <a:lnTo>
                    <a:pt x="1966" y="314"/>
                  </a:lnTo>
                  <a:lnTo>
                    <a:pt x="1966" y="314"/>
                  </a:lnTo>
                  <a:lnTo>
                    <a:pt x="1966" y="316"/>
                  </a:lnTo>
                  <a:lnTo>
                    <a:pt x="1966" y="316"/>
                  </a:lnTo>
                  <a:lnTo>
                    <a:pt x="1966" y="316"/>
                  </a:lnTo>
                  <a:lnTo>
                    <a:pt x="1968" y="318"/>
                  </a:lnTo>
                  <a:lnTo>
                    <a:pt x="1968" y="318"/>
                  </a:lnTo>
                  <a:lnTo>
                    <a:pt x="1968" y="318"/>
                  </a:lnTo>
                  <a:lnTo>
                    <a:pt x="1970" y="318"/>
                  </a:lnTo>
                  <a:lnTo>
                    <a:pt x="1970" y="318"/>
                  </a:lnTo>
                  <a:lnTo>
                    <a:pt x="1970" y="320"/>
                  </a:lnTo>
                  <a:lnTo>
                    <a:pt x="1968" y="320"/>
                  </a:lnTo>
                  <a:lnTo>
                    <a:pt x="1966" y="322"/>
                  </a:lnTo>
                  <a:lnTo>
                    <a:pt x="1964" y="322"/>
                  </a:lnTo>
                  <a:lnTo>
                    <a:pt x="1964" y="322"/>
                  </a:lnTo>
                  <a:lnTo>
                    <a:pt x="1962" y="320"/>
                  </a:lnTo>
                  <a:lnTo>
                    <a:pt x="1960" y="320"/>
                  </a:lnTo>
                  <a:lnTo>
                    <a:pt x="1960" y="320"/>
                  </a:lnTo>
                  <a:lnTo>
                    <a:pt x="1960" y="320"/>
                  </a:lnTo>
                  <a:lnTo>
                    <a:pt x="1958" y="320"/>
                  </a:lnTo>
                  <a:lnTo>
                    <a:pt x="1958" y="320"/>
                  </a:lnTo>
                  <a:lnTo>
                    <a:pt x="1958" y="320"/>
                  </a:lnTo>
                  <a:lnTo>
                    <a:pt x="1956" y="320"/>
                  </a:lnTo>
                  <a:lnTo>
                    <a:pt x="1956" y="320"/>
                  </a:lnTo>
                  <a:lnTo>
                    <a:pt x="1956" y="320"/>
                  </a:lnTo>
                  <a:lnTo>
                    <a:pt x="1954" y="322"/>
                  </a:lnTo>
                  <a:lnTo>
                    <a:pt x="1954" y="322"/>
                  </a:lnTo>
                  <a:lnTo>
                    <a:pt x="1954" y="322"/>
                  </a:lnTo>
                  <a:lnTo>
                    <a:pt x="1954" y="324"/>
                  </a:lnTo>
                  <a:lnTo>
                    <a:pt x="1954" y="324"/>
                  </a:lnTo>
                  <a:lnTo>
                    <a:pt x="1954" y="324"/>
                  </a:lnTo>
                  <a:lnTo>
                    <a:pt x="1952" y="328"/>
                  </a:lnTo>
                  <a:lnTo>
                    <a:pt x="1950" y="330"/>
                  </a:lnTo>
                  <a:lnTo>
                    <a:pt x="1950" y="332"/>
                  </a:lnTo>
                  <a:lnTo>
                    <a:pt x="1950" y="334"/>
                  </a:lnTo>
                  <a:lnTo>
                    <a:pt x="1948" y="336"/>
                  </a:lnTo>
                  <a:lnTo>
                    <a:pt x="1948" y="338"/>
                  </a:lnTo>
                  <a:lnTo>
                    <a:pt x="1948" y="338"/>
                  </a:lnTo>
                  <a:lnTo>
                    <a:pt x="1946" y="338"/>
                  </a:lnTo>
                  <a:lnTo>
                    <a:pt x="1944" y="340"/>
                  </a:lnTo>
                  <a:lnTo>
                    <a:pt x="1946" y="340"/>
                  </a:lnTo>
                  <a:lnTo>
                    <a:pt x="1942" y="340"/>
                  </a:lnTo>
                  <a:lnTo>
                    <a:pt x="1940" y="340"/>
                  </a:lnTo>
                  <a:lnTo>
                    <a:pt x="1940" y="340"/>
                  </a:lnTo>
                  <a:lnTo>
                    <a:pt x="1938" y="342"/>
                  </a:lnTo>
                  <a:lnTo>
                    <a:pt x="1936" y="342"/>
                  </a:lnTo>
                  <a:lnTo>
                    <a:pt x="1936" y="342"/>
                  </a:lnTo>
                  <a:lnTo>
                    <a:pt x="1936" y="344"/>
                  </a:lnTo>
                  <a:lnTo>
                    <a:pt x="1936" y="344"/>
                  </a:lnTo>
                  <a:lnTo>
                    <a:pt x="1936" y="344"/>
                  </a:lnTo>
                  <a:lnTo>
                    <a:pt x="1934" y="346"/>
                  </a:lnTo>
                  <a:lnTo>
                    <a:pt x="1934" y="348"/>
                  </a:lnTo>
                  <a:lnTo>
                    <a:pt x="1934" y="348"/>
                  </a:lnTo>
                  <a:lnTo>
                    <a:pt x="1934" y="348"/>
                  </a:lnTo>
                  <a:lnTo>
                    <a:pt x="1934" y="346"/>
                  </a:lnTo>
                  <a:lnTo>
                    <a:pt x="1932" y="344"/>
                  </a:lnTo>
                  <a:lnTo>
                    <a:pt x="1932" y="344"/>
                  </a:lnTo>
                  <a:lnTo>
                    <a:pt x="1932" y="344"/>
                  </a:lnTo>
                  <a:lnTo>
                    <a:pt x="1930" y="344"/>
                  </a:lnTo>
                  <a:lnTo>
                    <a:pt x="1930" y="344"/>
                  </a:lnTo>
                  <a:lnTo>
                    <a:pt x="1928" y="344"/>
                  </a:lnTo>
                  <a:lnTo>
                    <a:pt x="1928" y="344"/>
                  </a:lnTo>
                  <a:lnTo>
                    <a:pt x="1928" y="344"/>
                  </a:lnTo>
                  <a:lnTo>
                    <a:pt x="1926" y="344"/>
                  </a:lnTo>
                  <a:lnTo>
                    <a:pt x="1924" y="344"/>
                  </a:lnTo>
                  <a:lnTo>
                    <a:pt x="1924" y="344"/>
                  </a:lnTo>
                  <a:lnTo>
                    <a:pt x="1924" y="346"/>
                  </a:lnTo>
                  <a:lnTo>
                    <a:pt x="1922" y="348"/>
                  </a:lnTo>
                  <a:lnTo>
                    <a:pt x="1922" y="350"/>
                  </a:lnTo>
                  <a:lnTo>
                    <a:pt x="1920" y="352"/>
                  </a:lnTo>
                  <a:lnTo>
                    <a:pt x="1920" y="358"/>
                  </a:lnTo>
                  <a:lnTo>
                    <a:pt x="1920" y="362"/>
                  </a:lnTo>
                  <a:lnTo>
                    <a:pt x="1920" y="364"/>
                  </a:lnTo>
                  <a:lnTo>
                    <a:pt x="1920" y="364"/>
                  </a:lnTo>
                  <a:lnTo>
                    <a:pt x="1920" y="364"/>
                  </a:lnTo>
                  <a:lnTo>
                    <a:pt x="1920" y="368"/>
                  </a:lnTo>
                  <a:lnTo>
                    <a:pt x="1920" y="368"/>
                  </a:lnTo>
                  <a:lnTo>
                    <a:pt x="1920" y="368"/>
                  </a:lnTo>
                  <a:lnTo>
                    <a:pt x="1922" y="372"/>
                  </a:lnTo>
                  <a:lnTo>
                    <a:pt x="1922" y="372"/>
                  </a:lnTo>
                  <a:lnTo>
                    <a:pt x="1922" y="372"/>
                  </a:lnTo>
                  <a:lnTo>
                    <a:pt x="1924" y="376"/>
                  </a:lnTo>
                  <a:lnTo>
                    <a:pt x="1924" y="376"/>
                  </a:lnTo>
                  <a:lnTo>
                    <a:pt x="1926" y="376"/>
                  </a:lnTo>
                  <a:lnTo>
                    <a:pt x="1926" y="378"/>
                  </a:lnTo>
                  <a:lnTo>
                    <a:pt x="1926" y="378"/>
                  </a:lnTo>
                  <a:lnTo>
                    <a:pt x="1926" y="378"/>
                  </a:lnTo>
                  <a:lnTo>
                    <a:pt x="1928" y="380"/>
                  </a:lnTo>
                  <a:lnTo>
                    <a:pt x="1928" y="380"/>
                  </a:lnTo>
                  <a:lnTo>
                    <a:pt x="1928" y="380"/>
                  </a:lnTo>
                  <a:lnTo>
                    <a:pt x="1930" y="380"/>
                  </a:lnTo>
                  <a:lnTo>
                    <a:pt x="1930" y="380"/>
                  </a:lnTo>
                  <a:lnTo>
                    <a:pt x="1932" y="380"/>
                  </a:lnTo>
                  <a:lnTo>
                    <a:pt x="1932" y="380"/>
                  </a:lnTo>
                  <a:lnTo>
                    <a:pt x="1934" y="380"/>
                  </a:lnTo>
                  <a:lnTo>
                    <a:pt x="1938" y="380"/>
                  </a:lnTo>
                  <a:lnTo>
                    <a:pt x="1942" y="378"/>
                  </a:lnTo>
                  <a:lnTo>
                    <a:pt x="1944" y="378"/>
                  </a:lnTo>
                  <a:lnTo>
                    <a:pt x="1944" y="378"/>
                  </a:lnTo>
                  <a:lnTo>
                    <a:pt x="1944" y="376"/>
                  </a:lnTo>
                  <a:lnTo>
                    <a:pt x="1946" y="376"/>
                  </a:lnTo>
                  <a:lnTo>
                    <a:pt x="1946" y="376"/>
                  </a:lnTo>
                  <a:lnTo>
                    <a:pt x="1948" y="374"/>
                  </a:lnTo>
                  <a:lnTo>
                    <a:pt x="1948" y="372"/>
                  </a:lnTo>
                  <a:lnTo>
                    <a:pt x="1950" y="372"/>
                  </a:lnTo>
                  <a:lnTo>
                    <a:pt x="1950" y="370"/>
                  </a:lnTo>
                  <a:lnTo>
                    <a:pt x="1954" y="368"/>
                  </a:lnTo>
                  <a:lnTo>
                    <a:pt x="1952" y="368"/>
                  </a:lnTo>
                  <a:lnTo>
                    <a:pt x="1954" y="368"/>
                  </a:lnTo>
                  <a:lnTo>
                    <a:pt x="1956" y="368"/>
                  </a:lnTo>
                  <a:lnTo>
                    <a:pt x="1958" y="368"/>
                  </a:lnTo>
                  <a:lnTo>
                    <a:pt x="1960" y="368"/>
                  </a:lnTo>
                  <a:lnTo>
                    <a:pt x="1966" y="368"/>
                  </a:lnTo>
                  <a:lnTo>
                    <a:pt x="1972" y="368"/>
                  </a:lnTo>
                  <a:lnTo>
                    <a:pt x="1974" y="366"/>
                  </a:lnTo>
                  <a:lnTo>
                    <a:pt x="1976" y="366"/>
                  </a:lnTo>
                  <a:lnTo>
                    <a:pt x="1976" y="366"/>
                  </a:lnTo>
                  <a:lnTo>
                    <a:pt x="1976" y="366"/>
                  </a:lnTo>
                  <a:lnTo>
                    <a:pt x="1980" y="364"/>
                  </a:lnTo>
                  <a:lnTo>
                    <a:pt x="1980" y="364"/>
                  </a:lnTo>
                  <a:lnTo>
                    <a:pt x="1980" y="364"/>
                  </a:lnTo>
                  <a:lnTo>
                    <a:pt x="1982" y="362"/>
                  </a:lnTo>
                  <a:lnTo>
                    <a:pt x="1982" y="362"/>
                  </a:lnTo>
                  <a:lnTo>
                    <a:pt x="1984" y="362"/>
                  </a:lnTo>
                  <a:lnTo>
                    <a:pt x="1986" y="366"/>
                  </a:lnTo>
                  <a:lnTo>
                    <a:pt x="1986" y="366"/>
                  </a:lnTo>
                  <a:lnTo>
                    <a:pt x="1986" y="368"/>
                  </a:lnTo>
                  <a:lnTo>
                    <a:pt x="1984" y="368"/>
                  </a:lnTo>
                  <a:lnTo>
                    <a:pt x="1978" y="368"/>
                  </a:lnTo>
                  <a:lnTo>
                    <a:pt x="1978" y="368"/>
                  </a:lnTo>
                  <a:lnTo>
                    <a:pt x="1978" y="368"/>
                  </a:lnTo>
                  <a:lnTo>
                    <a:pt x="1976" y="368"/>
                  </a:lnTo>
                  <a:lnTo>
                    <a:pt x="1972" y="368"/>
                  </a:lnTo>
                  <a:lnTo>
                    <a:pt x="1970" y="370"/>
                  </a:lnTo>
                  <a:lnTo>
                    <a:pt x="1966" y="370"/>
                  </a:lnTo>
                  <a:lnTo>
                    <a:pt x="1958" y="374"/>
                  </a:lnTo>
                  <a:lnTo>
                    <a:pt x="1954" y="376"/>
                  </a:lnTo>
                  <a:lnTo>
                    <a:pt x="1950" y="378"/>
                  </a:lnTo>
                  <a:lnTo>
                    <a:pt x="1948" y="380"/>
                  </a:lnTo>
                  <a:lnTo>
                    <a:pt x="1948" y="380"/>
                  </a:lnTo>
                  <a:lnTo>
                    <a:pt x="1948" y="380"/>
                  </a:lnTo>
                  <a:lnTo>
                    <a:pt x="1948" y="380"/>
                  </a:lnTo>
                  <a:lnTo>
                    <a:pt x="1948" y="380"/>
                  </a:lnTo>
                  <a:lnTo>
                    <a:pt x="1946" y="382"/>
                  </a:lnTo>
                  <a:lnTo>
                    <a:pt x="1946" y="382"/>
                  </a:lnTo>
                  <a:lnTo>
                    <a:pt x="1946" y="382"/>
                  </a:lnTo>
                  <a:lnTo>
                    <a:pt x="1946" y="384"/>
                  </a:lnTo>
                  <a:lnTo>
                    <a:pt x="1946" y="384"/>
                  </a:lnTo>
                  <a:lnTo>
                    <a:pt x="1946" y="384"/>
                  </a:lnTo>
                  <a:lnTo>
                    <a:pt x="1948" y="386"/>
                  </a:lnTo>
                  <a:lnTo>
                    <a:pt x="1948" y="386"/>
                  </a:lnTo>
                  <a:lnTo>
                    <a:pt x="1948" y="386"/>
                  </a:lnTo>
                  <a:lnTo>
                    <a:pt x="1948" y="388"/>
                  </a:lnTo>
                  <a:lnTo>
                    <a:pt x="1950" y="388"/>
                  </a:lnTo>
                  <a:lnTo>
                    <a:pt x="1950" y="390"/>
                  </a:lnTo>
                  <a:lnTo>
                    <a:pt x="1950" y="390"/>
                  </a:lnTo>
                  <a:lnTo>
                    <a:pt x="1950" y="390"/>
                  </a:lnTo>
                  <a:lnTo>
                    <a:pt x="1948" y="390"/>
                  </a:lnTo>
                  <a:lnTo>
                    <a:pt x="1946" y="390"/>
                  </a:lnTo>
                  <a:lnTo>
                    <a:pt x="1946" y="390"/>
                  </a:lnTo>
                  <a:lnTo>
                    <a:pt x="1946" y="390"/>
                  </a:lnTo>
                  <a:lnTo>
                    <a:pt x="1944" y="392"/>
                  </a:lnTo>
                  <a:lnTo>
                    <a:pt x="1944" y="392"/>
                  </a:lnTo>
                  <a:lnTo>
                    <a:pt x="1944" y="392"/>
                  </a:lnTo>
                  <a:lnTo>
                    <a:pt x="1944" y="392"/>
                  </a:lnTo>
                  <a:lnTo>
                    <a:pt x="1944" y="392"/>
                  </a:lnTo>
                  <a:lnTo>
                    <a:pt x="1942" y="390"/>
                  </a:lnTo>
                  <a:lnTo>
                    <a:pt x="1942" y="390"/>
                  </a:lnTo>
                  <a:lnTo>
                    <a:pt x="1942" y="390"/>
                  </a:lnTo>
                  <a:lnTo>
                    <a:pt x="1942" y="388"/>
                  </a:lnTo>
                  <a:lnTo>
                    <a:pt x="1942" y="388"/>
                  </a:lnTo>
                  <a:lnTo>
                    <a:pt x="1940" y="388"/>
                  </a:lnTo>
                  <a:lnTo>
                    <a:pt x="1940" y="388"/>
                  </a:lnTo>
                  <a:lnTo>
                    <a:pt x="1940" y="388"/>
                  </a:lnTo>
                  <a:lnTo>
                    <a:pt x="1938" y="386"/>
                  </a:lnTo>
                  <a:lnTo>
                    <a:pt x="1938" y="386"/>
                  </a:lnTo>
                  <a:lnTo>
                    <a:pt x="1936" y="386"/>
                  </a:lnTo>
                  <a:lnTo>
                    <a:pt x="1936" y="386"/>
                  </a:lnTo>
                  <a:lnTo>
                    <a:pt x="1936" y="386"/>
                  </a:lnTo>
                  <a:lnTo>
                    <a:pt x="1932" y="386"/>
                  </a:lnTo>
                  <a:lnTo>
                    <a:pt x="1932" y="386"/>
                  </a:lnTo>
                  <a:lnTo>
                    <a:pt x="1932" y="388"/>
                  </a:lnTo>
                  <a:lnTo>
                    <a:pt x="1930" y="388"/>
                  </a:lnTo>
                  <a:lnTo>
                    <a:pt x="1930" y="388"/>
                  </a:lnTo>
                  <a:lnTo>
                    <a:pt x="1930" y="388"/>
                  </a:lnTo>
                  <a:lnTo>
                    <a:pt x="1928" y="388"/>
                  </a:lnTo>
                  <a:lnTo>
                    <a:pt x="1928" y="388"/>
                  </a:lnTo>
                  <a:lnTo>
                    <a:pt x="1928" y="390"/>
                  </a:lnTo>
                  <a:lnTo>
                    <a:pt x="1926" y="390"/>
                  </a:lnTo>
                  <a:lnTo>
                    <a:pt x="1926" y="390"/>
                  </a:lnTo>
                  <a:lnTo>
                    <a:pt x="1926" y="392"/>
                  </a:lnTo>
                  <a:lnTo>
                    <a:pt x="1926" y="394"/>
                  </a:lnTo>
                  <a:lnTo>
                    <a:pt x="1926" y="394"/>
                  </a:lnTo>
                  <a:lnTo>
                    <a:pt x="1926" y="394"/>
                  </a:lnTo>
                  <a:lnTo>
                    <a:pt x="1926" y="398"/>
                  </a:lnTo>
                  <a:lnTo>
                    <a:pt x="1926" y="402"/>
                  </a:lnTo>
                  <a:lnTo>
                    <a:pt x="1928" y="406"/>
                  </a:lnTo>
                  <a:lnTo>
                    <a:pt x="1930" y="410"/>
                  </a:lnTo>
                  <a:lnTo>
                    <a:pt x="1932" y="414"/>
                  </a:lnTo>
                  <a:lnTo>
                    <a:pt x="1934" y="418"/>
                  </a:lnTo>
                  <a:lnTo>
                    <a:pt x="1936" y="422"/>
                  </a:lnTo>
                  <a:lnTo>
                    <a:pt x="1938" y="424"/>
                  </a:lnTo>
                  <a:lnTo>
                    <a:pt x="1938" y="424"/>
                  </a:lnTo>
                  <a:lnTo>
                    <a:pt x="1938" y="426"/>
                  </a:lnTo>
                  <a:lnTo>
                    <a:pt x="1940" y="426"/>
                  </a:lnTo>
                  <a:lnTo>
                    <a:pt x="1940" y="426"/>
                  </a:lnTo>
                  <a:lnTo>
                    <a:pt x="1940" y="428"/>
                  </a:lnTo>
                  <a:lnTo>
                    <a:pt x="1942" y="428"/>
                  </a:lnTo>
                  <a:lnTo>
                    <a:pt x="1942" y="428"/>
                  </a:lnTo>
                  <a:lnTo>
                    <a:pt x="1942" y="428"/>
                  </a:lnTo>
                  <a:lnTo>
                    <a:pt x="1944" y="428"/>
                  </a:lnTo>
                  <a:lnTo>
                    <a:pt x="1944" y="428"/>
                  </a:lnTo>
                  <a:lnTo>
                    <a:pt x="1946" y="428"/>
                  </a:lnTo>
                  <a:lnTo>
                    <a:pt x="1950" y="428"/>
                  </a:lnTo>
                  <a:lnTo>
                    <a:pt x="1950" y="428"/>
                  </a:lnTo>
                  <a:lnTo>
                    <a:pt x="1952" y="428"/>
                  </a:lnTo>
                  <a:lnTo>
                    <a:pt x="1952" y="428"/>
                  </a:lnTo>
                  <a:lnTo>
                    <a:pt x="1952" y="430"/>
                  </a:lnTo>
                  <a:lnTo>
                    <a:pt x="1952" y="430"/>
                  </a:lnTo>
                  <a:lnTo>
                    <a:pt x="1954" y="434"/>
                  </a:lnTo>
                  <a:lnTo>
                    <a:pt x="1954" y="436"/>
                  </a:lnTo>
                  <a:lnTo>
                    <a:pt x="1956" y="438"/>
                  </a:lnTo>
                  <a:lnTo>
                    <a:pt x="1956" y="438"/>
                  </a:lnTo>
                  <a:lnTo>
                    <a:pt x="1956" y="438"/>
                  </a:lnTo>
                  <a:lnTo>
                    <a:pt x="1956" y="440"/>
                  </a:lnTo>
                  <a:lnTo>
                    <a:pt x="1956" y="440"/>
                  </a:lnTo>
                  <a:lnTo>
                    <a:pt x="1958" y="440"/>
                  </a:lnTo>
                  <a:lnTo>
                    <a:pt x="1958" y="442"/>
                  </a:lnTo>
                  <a:lnTo>
                    <a:pt x="1958" y="442"/>
                  </a:lnTo>
                  <a:lnTo>
                    <a:pt x="1960" y="442"/>
                  </a:lnTo>
                  <a:lnTo>
                    <a:pt x="1962" y="442"/>
                  </a:lnTo>
                  <a:lnTo>
                    <a:pt x="1964" y="442"/>
                  </a:lnTo>
                  <a:lnTo>
                    <a:pt x="1962" y="444"/>
                  </a:lnTo>
                  <a:lnTo>
                    <a:pt x="1962" y="444"/>
                  </a:lnTo>
                  <a:lnTo>
                    <a:pt x="1962" y="444"/>
                  </a:lnTo>
                  <a:lnTo>
                    <a:pt x="1962" y="446"/>
                  </a:lnTo>
                  <a:lnTo>
                    <a:pt x="1962" y="446"/>
                  </a:lnTo>
                  <a:lnTo>
                    <a:pt x="1962" y="448"/>
                  </a:lnTo>
                  <a:lnTo>
                    <a:pt x="1962" y="448"/>
                  </a:lnTo>
                  <a:lnTo>
                    <a:pt x="1962" y="448"/>
                  </a:lnTo>
                  <a:lnTo>
                    <a:pt x="1962" y="450"/>
                  </a:lnTo>
                  <a:lnTo>
                    <a:pt x="1964" y="452"/>
                  </a:lnTo>
                  <a:lnTo>
                    <a:pt x="1966" y="454"/>
                  </a:lnTo>
                  <a:lnTo>
                    <a:pt x="1968" y="456"/>
                  </a:lnTo>
                  <a:lnTo>
                    <a:pt x="1972" y="460"/>
                  </a:lnTo>
                  <a:lnTo>
                    <a:pt x="1974" y="462"/>
                  </a:lnTo>
                  <a:lnTo>
                    <a:pt x="1976" y="464"/>
                  </a:lnTo>
                  <a:lnTo>
                    <a:pt x="1976" y="462"/>
                  </a:lnTo>
                  <a:lnTo>
                    <a:pt x="1978" y="464"/>
                  </a:lnTo>
                  <a:lnTo>
                    <a:pt x="1980" y="468"/>
                  </a:lnTo>
                  <a:lnTo>
                    <a:pt x="1982" y="472"/>
                  </a:lnTo>
                  <a:lnTo>
                    <a:pt x="1982" y="476"/>
                  </a:lnTo>
                  <a:lnTo>
                    <a:pt x="1984" y="478"/>
                  </a:lnTo>
                  <a:lnTo>
                    <a:pt x="1984" y="478"/>
                  </a:lnTo>
                  <a:lnTo>
                    <a:pt x="1984" y="478"/>
                  </a:lnTo>
                  <a:lnTo>
                    <a:pt x="1986" y="480"/>
                  </a:lnTo>
                  <a:lnTo>
                    <a:pt x="1986" y="480"/>
                  </a:lnTo>
                  <a:lnTo>
                    <a:pt x="1986" y="480"/>
                  </a:lnTo>
                  <a:lnTo>
                    <a:pt x="1988" y="480"/>
                  </a:lnTo>
                  <a:lnTo>
                    <a:pt x="1988" y="480"/>
                  </a:lnTo>
                  <a:lnTo>
                    <a:pt x="1990" y="480"/>
                  </a:lnTo>
                  <a:lnTo>
                    <a:pt x="1992" y="480"/>
                  </a:lnTo>
                  <a:lnTo>
                    <a:pt x="1992" y="480"/>
                  </a:lnTo>
                  <a:lnTo>
                    <a:pt x="1992" y="478"/>
                  </a:lnTo>
                  <a:lnTo>
                    <a:pt x="1994" y="476"/>
                  </a:lnTo>
                  <a:lnTo>
                    <a:pt x="1994" y="476"/>
                  </a:lnTo>
                  <a:lnTo>
                    <a:pt x="1994" y="476"/>
                  </a:lnTo>
                  <a:lnTo>
                    <a:pt x="1994" y="474"/>
                  </a:lnTo>
                  <a:lnTo>
                    <a:pt x="1996" y="470"/>
                  </a:lnTo>
                  <a:lnTo>
                    <a:pt x="1998" y="464"/>
                  </a:lnTo>
                  <a:lnTo>
                    <a:pt x="1998" y="462"/>
                  </a:lnTo>
                  <a:lnTo>
                    <a:pt x="1998" y="460"/>
                  </a:lnTo>
                  <a:lnTo>
                    <a:pt x="1998" y="458"/>
                  </a:lnTo>
                  <a:lnTo>
                    <a:pt x="1998" y="456"/>
                  </a:lnTo>
                  <a:lnTo>
                    <a:pt x="1998" y="456"/>
                  </a:lnTo>
                  <a:lnTo>
                    <a:pt x="1998" y="456"/>
                  </a:lnTo>
                  <a:lnTo>
                    <a:pt x="1998" y="454"/>
                  </a:lnTo>
                  <a:lnTo>
                    <a:pt x="1998" y="454"/>
                  </a:lnTo>
                  <a:lnTo>
                    <a:pt x="1996" y="454"/>
                  </a:lnTo>
                  <a:lnTo>
                    <a:pt x="1994" y="452"/>
                  </a:lnTo>
                  <a:lnTo>
                    <a:pt x="1992" y="452"/>
                  </a:lnTo>
                  <a:lnTo>
                    <a:pt x="1992" y="452"/>
                  </a:lnTo>
                  <a:lnTo>
                    <a:pt x="1994" y="448"/>
                  </a:lnTo>
                  <a:lnTo>
                    <a:pt x="1994" y="444"/>
                  </a:lnTo>
                  <a:lnTo>
                    <a:pt x="1996" y="438"/>
                  </a:lnTo>
                  <a:lnTo>
                    <a:pt x="1998" y="432"/>
                  </a:lnTo>
                  <a:lnTo>
                    <a:pt x="1998" y="428"/>
                  </a:lnTo>
                  <a:lnTo>
                    <a:pt x="1998" y="424"/>
                  </a:lnTo>
                  <a:lnTo>
                    <a:pt x="1998" y="418"/>
                  </a:lnTo>
                  <a:lnTo>
                    <a:pt x="1998" y="412"/>
                  </a:lnTo>
                  <a:lnTo>
                    <a:pt x="2000" y="408"/>
                  </a:lnTo>
                  <a:lnTo>
                    <a:pt x="2000" y="404"/>
                  </a:lnTo>
                  <a:lnTo>
                    <a:pt x="2000" y="400"/>
                  </a:lnTo>
                  <a:lnTo>
                    <a:pt x="2002" y="396"/>
                  </a:lnTo>
                  <a:lnTo>
                    <a:pt x="2002" y="398"/>
                  </a:lnTo>
                  <a:lnTo>
                    <a:pt x="2004" y="398"/>
                  </a:lnTo>
                  <a:lnTo>
                    <a:pt x="2006" y="400"/>
                  </a:lnTo>
                  <a:lnTo>
                    <a:pt x="2008" y="400"/>
                  </a:lnTo>
                  <a:lnTo>
                    <a:pt x="2008" y="400"/>
                  </a:lnTo>
                  <a:lnTo>
                    <a:pt x="2008" y="400"/>
                  </a:lnTo>
                  <a:lnTo>
                    <a:pt x="2010" y="400"/>
                  </a:lnTo>
                  <a:lnTo>
                    <a:pt x="2010" y="400"/>
                  </a:lnTo>
                  <a:lnTo>
                    <a:pt x="2012" y="400"/>
                  </a:lnTo>
                  <a:lnTo>
                    <a:pt x="2012" y="398"/>
                  </a:lnTo>
                  <a:lnTo>
                    <a:pt x="2012" y="398"/>
                  </a:lnTo>
                  <a:lnTo>
                    <a:pt x="2012" y="398"/>
                  </a:lnTo>
                  <a:lnTo>
                    <a:pt x="2014" y="396"/>
                  </a:lnTo>
                  <a:lnTo>
                    <a:pt x="2014" y="396"/>
                  </a:lnTo>
                  <a:lnTo>
                    <a:pt x="2014" y="396"/>
                  </a:lnTo>
                  <a:lnTo>
                    <a:pt x="2014" y="396"/>
                  </a:lnTo>
                  <a:lnTo>
                    <a:pt x="2014" y="396"/>
                  </a:lnTo>
                  <a:lnTo>
                    <a:pt x="2014" y="394"/>
                  </a:lnTo>
                  <a:lnTo>
                    <a:pt x="2014" y="392"/>
                  </a:lnTo>
                  <a:lnTo>
                    <a:pt x="2014" y="388"/>
                  </a:lnTo>
                  <a:lnTo>
                    <a:pt x="2014" y="384"/>
                  </a:lnTo>
                  <a:lnTo>
                    <a:pt x="2014" y="378"/>
                  </a:lnTo>
                  <a:lnTo>
                    <a:pt x="2012" y="374"/>
                  </a:lnTo>
                  <a:lnTo>
                    <a:pt x="2012" y="368"/>
                  </a:lnTo>
                  <a:lnTo>
                    <a:pt x="2012" y="364"/>
                  </a:lnTo>
                  <a:lnTo>
                    <a:pt x="2010" y="360"/>
                  </a:lnTo>
                  <a:lnTo>
                    <a:pt x="2010" y="356"/>
                  </a:lnTo>
                  <a:lnTo>
                    <a:pt x="2010" y="352"/>
                  </a:lnTo>
                  <a:lnTo>
                    <a:pt x="2010" y="350"/>
                  </a:lnTo>
                  <a:lnTo>
                    <a:pt x="2012" y="350"/>
                  </a:lnTo>
                  <a:lnTo>
                    <a:pt x="2012" y="350"/>
                  </a:lnTo>
                  <a:lnTo>
                    <a:pt x="2012" y="350"/>
                  </a:lnTo>
                  <a:lnTo>
                    <a:pt x="2014" y="350"/>
                  </a:lnTo>
                  <a:lnTo>
                    <a:pt x="2014" y="350"/>
                  </a:lnTo>
                  <a:lnTo>
                    <a:pt x="2014" y="350"/>
                  </a:lnTo>
                  <a:lnTo>
                    <a:pt x="2016" y="350"/>
                  </a:lnTo>
                  <a:lnTo>
                    <a:pt x="2018" y="350"/>
                  </a:lnTo>
                  <a:lnTo>
                    <a:pt x="2018" y="350"/>
                  </a:lnTo>
                  <a:lnTo>
                    <a:pt x="2018" y="348"/>
                  </a:lnTo>
                  <a:lnTo>
                    <a:pt x="2020" y="346"/>
                  </a:lnTo>
                  <a:lnTo>
                    <a:pt x="2020" y="346"/>
                  </a:lnTo>
                  <a:lnTo>
                    <a:pt x="2020" y="346"/>
                  </a:lnTo>
                  <a:lnTo>
                    <a:pt x="2020" y="344"/>
                  </a:lnTo>
                  <a:lnTo>
                    <a:pt x="2020" y="342"/>
                  </a:lnTo>
                  <a:lnTo>
                    <a:pt x="2020" y="338"/>
                  </a:lnTo>
                  <a:lnTo>
                    <a:pt x="2018" y="334"/>
                  </a:lnTo>
                  <a:lnTo>
                    <a:pt x="2018" y="328"/>
                  </a:lnTo>
                  <a:lnTo>
                    <a:pt x="2016" y="324"/>
                  </a:lnTo>
                  <a:lnTo>
                    <a:pt x="2016" y="320"/>
                  </a:lnTo>
                  <a:lnTo>
                    <a:pt x="2016" y="316"/>
                  </a:lnTo>
                  <a:lnTo>
                    <a:pt x="2016" y="314"/>
                  </a:lnTo>
                  <a:lnTo>
                    <a:pt x="2016" y="314"/>
                  </a:lnTo>
                  <a:lnTo>
                    <a:pt x="2016" y="314"/>
                  </a:lnTo>
                  <a:lnTo>
                    <a:pt x="2016" y="314"/>
                  </a:lnTo>
                  <a:lnTo>
                    <a:pt x="2018" y="314"/>
                  </a:lnTo>
                  <a:lnTo>
                    <a:pt x="2020" y="314"/>
                  </a:lnTo>
                  <a:lnTo>
                    <a:pt x="2022" y="314"/>
                  </a:lnTo>
                  <a:lnTo>
                    <a:pt x="2022" y="314"/>
                  </a:lnTo>
                  <a:lnTo>
                    <a:pt x="2022" y="314"/>
                  </a:lnTo>
                  <a:lnTo>
                    <a:pt x="2024" y="314"/>
                  </a:lnTo>
                  <a:lnTo>
                    <a:pt x="2024" y="314"/>
                  </a:lnTo>
                  <a:lnTo>
                    <a:pt x="2026" y="314"/>
                  </a:lnTo>
                  <a:lnTo>
                    <a:pt x="2026" y="314"/>
                  </a:lnTo>
                  <a:lnTo>
                    <a:pt x="2026" y="314"/>
                  </a:lnTo>
                  <a:lnTo>
                    <a:pt x="2028" y="312"/>
                  </a:lnTo>
                  <a:lnTo>
                    <a:pt x="2028" y="312"/>
                  </a:lnTo>
                  <a:lnTo>
                    <a:pt x="2028" y="312"/>
                  </a:lnTo>
                  <a:lnTo>
                    <a:pt x="2028" y="310"/>
                  </a:lnTo>
                  <a:lnTo>
                    <a:pt x="2028" y="308"/>
                  </a:lnTo>
                  <a:lnTo>
                    <a:pt x="2028" y="308"/>
                  </a:lnTo>
                  <a:lnTo>
                    <a:pt x="2028" y="304"/>
                  </a:lnTo>
                  <a:lnTo>
                    <a:pt x="2028" y="300"/>
                  </a:lnTo>
                  <a:lnTo>
                    <a:pt x="2028" y="300"/>
                  </a:lnTo>
                  <a:lnTo>
                    <a:pt x="2028" y="298"/>
                  </a:lnTo>
                  <a:lnTo>
                    <a:pt x="2030" y="296"/>
                  </a:lnTo>
                  <a:lnTo>
                    <a:pt x="2032" y="296"/>
                  </a:lnTo>
                  <a:lnTo>
                    <a:pt x="2036" y="292"/>
                  </a:lnTo>
                  <a:lnTo>
                    <a:pt x="2042" y="290"/>
                  </a:lnTo>
                  <a:lnTo>
                    <a:pt x="2044" y="288"/>
                  </a:lnTo>
                  <a:lnTo>
                    <a:pt x="2044" y="288"/>
                  </a:lnTo>
                  <a:lnTo>
                    <a:pt x="2048" y="286"/>
                  </a:lnTo>
                  <a:lnTo>
                    <a:pt x="2050" y="286"/>
                  </a:lnTo>
                  <a:lnTo>
                    <a:pt x="2052" y="286"/>
                  </a:lnTo>
                  <a:lnTo>
                    <a:pt x="2052" y="286"/>
                  </a:lnTo>
                  <a:lnTo>
                    <a:pt x="2052" y="284"/>
                  </a:lnTo>
                  <a:lnTo>
                    <a:pt x="2054" y="284"/>
                  </a:lnTo>
                  <a:lnTo>
                    <a:pt x="2054" y="284"/>
                  </a:lnTo>
                  <a:lnTo>
                    <a:pt x="2054" y="282"/>
                  </a:lnTo>
                  <a:lnTo>
                    <a:pt x="2054" y="280"/>
                  </a:lnTo>
                  <a:lnTo>
                    <a:pt x="2054" y="278"/>
                  </a:lnTo>
                  <a:lnTo>
                    <a:pt x="2054" y="276"/>
                  </a:lnTo>
                  <a:lnTo>
                    <a:pt x="2054" y="276"/>
                  </a:lnTo>
                  <a:lnTo>
                    <a:pt x="2054" y="274"/>
                  </a:lnTo>
                  <a:lnTo>
                    <a:pt x="2052" y="272"/>
                  </a:lnTo>
                  <a:lnTo>
                    <a:pt x="2052" y="272"/>
                  </a:lnTo>
                  <a:lnTo>
                    <a:pt x="2052" y="272"/>
                  </a:lnTo>
                  <a:lnTo>
                    <a:pt x="2050" y="270"/>
                  </a:lnTo>
                  <a:lnTo>
                    <a:pt x="2050" y="270"/>
                  </a:lnTo>
                  <a:lnTo>
                    <a:pt x="2050" y="270"/>
                  </a:lnTo>
                  <a:lnTo>
                    <a:pt x="2050" y="268"/>
                  </a:lnTo>
                  <a:lnTo>
                    <a:pt x="2050" y="268"/>
                  </a:lnTo>
                  <a:lnTo>
                    <a:pt x="2048" y="268"/>
                  </a:lnTo>
                  <a:lnTo>
                    <a:pt x="2046" y="268"/>
                  </a:lnTo>
                  <a:lnTo>
                    <a:pt x="2046" y="268"/>
                  </a:lnTo>
                  <a:lnTo>
                    <a:pt x="2046" y="268"/>
                  </a:lnTo>
                  <a:lnTo>
                    <a:pt x="2044" y="266"/>
                  </a:lnTo>
                  <a:lnTo>
                    <a:pt x="2042" y="266"/>
                  </a:lnTo>
                  <a:lnTo>
                    <a:pt x="2042" y="266"/>
                  </a:lnTo>
                  <a:lnTo>
                    <a:pt x="2046" y="266"/>
                  </a:lnTo>
                  <a:lnTo>
                    <a:pt x="2050" y="264"/>
                  </a:lnTo>
                  <a:lnTo>
                    <a:pt x="2052" y="262"/>
                  </a:lnTo>
                  <a:lnTo>
                    <a:pt x="2054" y="262"/>
                  </a:lnTo>
                  <a:lnTo>
                    <a:pt x="2054" y="262"/>
                  </a:lnTo>
                  <a:lnTo>
                    <a:pt x="2054" y="260"/>
                  </a:lnTo>
                  <a:lnTo>
                    <a:pt x="2054" y="260"/>
                  </a:lnTo>
                  <a:lnTo>
                    <a:pt x="2054" y="260"/>
                  </a:lnTo>
                  <a:lnTo>
                    <a:pt x="2056" y="258"/>
                  </a:lnTo>
                  <a:lnTo>
                    <a:pt x="2054" y="256"/>
                  </a:lnTo>
                  <a:lnTo>
                    <a:pt x="2054" y="256"/>
                  </a:lnTo>
                  <a:lnTo>
                    <a:pt x="2054" y="256"/>
                  </a:lnTo>
                  <a:lnTo>
                    <a:pt x="2054" y="254"/>
                  </a:lnTo>
                  <a:lnTo>
                    <a:pt x="2054" y="254"/>
                  </a:lnTo>
                  <a:lnTo>
                    <a:pt x="2052" y="254"/>
                  </a:lnTo>
                  <a:lnTo>
                    <a:pt x="2050" y="252"/>
                  </a:lnTo>
                  <a:lnTo>
                    <a:pt x="2048" y="252"/>
                  </a:lnTo>
                  <a:lnTo>
                    <a:pt x="2044" y="248"/>
                  </a:lnTo>
                  <a:lnTo>
                    <a:pt x="2042" y="248"/>
                  </a:lnTo>
                  <a:lnTo>
                    <a:pt x="2040" y="248"/>
                  </a:lnTo>
                  <a:lnTo>
                    <a:pt x="2038" y="246"/>
                  </a:lnTo>
                  <a:lnTo>
                    <a:pt x="2036" y="244"/>
                  </a:lnTo>
                  <a:lnTo>
                    <a:pt x="2034" y="242"/>
                  </a:lnTo>
                  <a:lnTo>
                    <a:pt x="2034" y="242"/>
                  </a:lnTo>
                  <a:lnTo>
                    <a:pt x="2034" y="242"/>
                  </a:lnTo>
                  <a:lnTo>
                    <a:pt x="2030" y="242"/>
                  </a:lnTo>
                  <a:lnTo>
                    <a:pt x="2030" y="242"/>
                  </a:lnTo>
                  <a:lnTo>
                    <a:pt x="2030" y="242"/>
                  </a:lnTo>
                  <a:lnTo>
                    <a:pt x="2028" y="242"/>
                  </a:lnTo>
                  <a:lnTo>
                    <a:pt x="2028" y="242"/>
                  </a:lnTo>
                  <a:lnTo>
                    <a:pt x="2028" y="242"/>
                  </a:lnTo>
                  <a:lnTo>
                    <a:pt x="2026" y="242"/>
                  </a:lnTo>
                  <a:lnTo>
                    <a:pt x="2024" y="242"/>
                  </a:lnTo>
                  <a:lnTo>
                    <a:pt x="2026" y="240"/>
                  </a:lnTo>
                  <a:lnTo>
                    <a:pt x="2028" y="238"/>
                  </a:lnTo>
                  <a:lnTo>
                    <a:pt x="2028" y="238"/>
                  </a:lnTo>
                  <a:lnTo>
                    <a:pt x="2028" y="238"/>
                  </a:lnTo>
                  <a:lnTo>
                    <a:pt x="2030" y="236"/>
                  </a:lnTo>
                  <a:lnTo>
                    <a:pt x="2030" y="236"/>
                  </a:lnTo>
                  <a:lnTo>
                    <a:pt x="2030" y="236"/>
                  </a:lnTo>
                  <a:lnTo>
                    <a:pt x="2030" y="234"/>
                  </a:lnTo>
                  <a:lnTo>
                    <a:pt x="2030" y="234"/>
                  </a:lnTo>
                  <a:lnTo>
                    <a:pt x="2030" y="232"/>
                  </a:lnTo>
                  <a:lnTo>
                    <a:pt x="2030" y="230"/>
                  </a:lnTo>
                  <a:lnTo>
                    <a:pt x="2030" y="230"/>
                  </a:lnTo>
                  <a:lnTo>
                    <a:pt x="2030" y="230"/>
                  </a:lnTo>
                  <a:lnTo>
                    <a:pt x="2028" y="228"/>
                  </a:lnTo>
                  <a:lnTo>
                    <a:pt x="2028" y="228"/>
                  </a:lnTo>
                  <a:lnTo>
                    <a:pt x="2028" y="228"/>
                  </a:lnTo>
                  <a:lnTo>
                    <a:pt x="2026" y="226"/>
                  </a:lnTo>
                  <a:lnTo>
                    <a:pt x="2024" y="224"/>
                  </a:lnTo>
                  <a:lnTo>
                    <a:pt x="2022" y="224"/>
                  </a:lnTo>
                  <a:lnTo>
                    <a:pt x="2026" y="226"/>
                  </a:lnTo>
                  <a:lnTo>
                    <a:pt x="2028" y="226"/>
                  </a:lnTo>
                  <a:lnTo>
                    <a:pt x="2028" y="226"/>
                  </a:lnTo>
                  <a:lnTo>
                    <a:pt x="2028" y="226"/>
                  </a:lnTo>
                  <a:lnTo>
                    <a:pt x="2030" y="228"/>
                  </a:lnTo>
                  <a:lnTo>
                    <a:pt x="2030" y="230"/>
                  </a:lnTo>
                  <a:lnTo>
                    <a:pt x="2032" y="234"/>
                  </a:lnTo>
                  <a:lnTo>
                    <a:pt x="2032" y="234"/>
                  </a:lnTo>
                  <a:lnTo>
                    <a:pt x="2032" y="234"/>
                  </a:lnTo>
                  <a:lnTo>
                    <a:pt x="2032" y="234"/>
                  </a:lnTo>
                  <a:lnTo>
                    <a:pt x="2032" y="234"/>
                  </a:lnTo>
                  <a:lnTo>
                    <a:pt x="2034" y="236"/>
                  </a:lnTo>
                  <a:lnTo>
                    <a:pt x="2034" y="236"/>
                  </a:lnTo>
                  <a:lnTo>
                    <a:pt x="2034" y="236"/>
                  </a:lnTo>
                  <a:lnTo>
                    <a:pt x="2036" y="236"/>
                  </a:lnTo>
                  <a:lnTo>
                    <a:pt x="2038" y="236"/>
                  </a:lnTo>
                  <a:lnTo>
                    <a:pt x="2038" y="236"/>
                  </a:lnTo>
                  <a:lnTo>
                    <a:pt x="2038" y="236"/>
                  </a:lnTo>
                  <a:lnTo>
                    <a:pt x="2040" y="234"/>
                  </a:lnTo>
                  <a:lnTo>
                    <a:pt x="2040" y="234"/>
                  </a:lnTo>
                  <a:lnTo>
                    <a:pt x="2040" y="234"/>
                  </a:lnTo>
                  <a:lnTo>
                    <a:pt x="2042" y="232"/>
                  </a:lnTo>
                  <a:lnTo>
                    <a:pt x="2042" y="230"/>
                  </a:lnTo>
                  <a:lnTo>
                    <a:pt x="2044" y="228"/>
                  </a:lnTo>
                  <a:lnTo>
                    <a:pt x="2046" y="226"/>
                  </a:lnTo>
                  <a:lnTo>
                    <a:pt x="2046" y="226"/>
                  </a:lnTo>
                  <a:lnTo>
                    <a:pt x="2046" y="226"/>
                  </a:lnTo>
                  <a:lnTo>
                    <a:pt x="2048" y="224"/>
                  </a:lnTo>
                  <a:lnTo>
                    <a:pt x="2050" y="224"/>
                  </a:lnTo>
                  <a:lnTo>
                    <a:pt x="2054" y="224"/>
                  </a:lnTo>
                  <a:lnTo>
                    <a:pt x="2054" y="224"/>
                  </a:lnTo>
                  <a:lnTo>
                    <a:pt x="2054" y="224"/>
                  </a:lnTo>
                  <a:lnTo>
                    <a:pt x="2056" y="226"/>
                  </a:lnTo>
                  <a:lnTo>
                    <a:pt x="2058" y="226"/>
                  </a:lnTo>
                  <a:lnTo>
                    <a:pt x="2062" y="228"/>
                  </a:lnTo>
                  <a:lnTo>
                    <a:pt x="2064" y="232"/>
                  </a:lnTo>
                  <a:lnTo>
                    <a:pt x="2068" y="234"/>
                  </a:lnTo>
                  <a:lnTo>
                    <a:pt x="2070" y="234"/>
                  </a:lnTo>
                  <a:lnTo>
                    <a:pt x="2072" y="234"/>
                  </a:lnTo>
                  <a:lnTo>
                    <a:pt x="2074" y="234"/>
                  </a:lnTo>
                  <a:lnTo>
                    <a:pt x="2076" y="234"/>
                  </a:lnTo>
                  <a:lnTo>
                    <a:pt x="2078" y="234"/>
                  </a:lnTo>
                  <a:lnTo>
                    <a:pt x="2080" y="234"/>
                  </a:lnTo>
                  <a:lnTo>
                    <a:pt x="2080" y="234"/>
                  </a:lnTo>
                  <a:lnTo>
                    <a:pt x="2082" y="234"/>
                  </a:lnTo>
                  <a:lnTo>
                    <a:pt x="2084" y="234"/>
                  </a:lnTo>
                  <a:lnTo>
                    <a:pt x="2084" y="234"/>
                  </a:lnTo>
                  <a:lnTo>
                    <a:pt x="2086" y="234"/>
                  </a:lnTo>
                  <a:lnTo>
                    <a:pt x="2088" y="232"/>
                  </a:lnTo>
                  <a:lnTo>
                    <a:pt x="2088" y="232"/>
                  </a:lnTo>
                  <a:lnTo>
                    <a:pt x="2090" y="232"/>
                  </a:lnTo>
                  <a:lnTo>
                    <a:pt x="2090" y="228"/>
                  </a:lnTo>
                  <a:lnTo>
                    <a:pt x="2090" y="228"/>
                  </a:lnTo>
                  <a:lnTo>
                    <a:pt x="2092" y="228"/>
                  </a:lnTo>
                  <a:lnTo>
                    <a:pt x="2092" y="224"/>
                  </a:lnTo>
                  <a:lnTo>
                    <a:pt x="2094" y="222"/>
                  </a:lnTo>
                  <a:lnTo>
                    <a:pt x="2092" y="222"/>
                  </a:lnTo>
                  <a:lnTo>
                    <a:pt x="2094" y="220"/>
                  </a:lnTo>
                  <a:lnTo>
                    <a:pt x="2096" y="218"/>
                  </a:lnTo>
                  <a:lnTo>
                    <a:pt x="2098" y="218"/>
                  </a:lnTo>
                  <a:lnTo>
                    <a:pt x="2100" y="216"/>
                  </a:lnTo>
                  <a:lnTo>
                    <a:pt x="2102" y="214"/>
                  </a:lnTo>
                  <a:lnTo>
                    <a:pt x="2104" y="212"/>
                  </a:lnTo>
                  <a:lnTo>
                    <a:pt x="2106" y="210"/>
                  </a:lnTo>
                  <a:lnTo>
                    <a:pt x="2106" y="210"/>
                  </a:lnTo>
                  <a:lnTo>
                    <a:pt x="2106" y="210"/>
                  </a:lnTo>
                  <a:lnTo>
                    <a:pt x="2108" y="208"/>
                  </a:lnTo>
                  <a:lnTo>
                    <a:pt x="2108" y="208"/>
                  </a:lnTo>
                  <a:lnTo>
                    <a:pt x="2108" y="206"/>
                  </a:lnTo>
                  <a:lnTo>
                    <a:pt x="2110" y="204"/>
                  </a:lnTo>
                  <a:lnTo>
                    <a:pt x="2110" y="204"/>
                  </a:lnTo>
                  <a:lnTo>
                    <a:pt x="2110" y="202"/>
                  </a:lnTo>
                  <a:lnTo>
                    <a:pt x="2110" y="200"/>
                  </a:lnTo>
                  <a:lnTo>
                    <a:pt x="2110" y="196"/>
                  </a:lnTo>
                  <a:lnTo>
                    <a:pt x="2110" y="190"/>
                  </a:lnTo>
                  <a:lnTo>
                    <a:pt x="2110" y="184"/>
                  </a:lnTo>
                  <a:lnTo>
                    <a:pt x="2110" y="182"/>
                  </a:lnTo>
                  <a:lnTo>
                    <a:pt x="2110" y="182"/>
                  </a:lnTo>
                  <a:lnTo>
                    <a:pt x="2110" y="180"/>
                  </a:lnTo>
                  <a:lnTo>
                    <a:pt x="2110" y="178"/>
                  </a:lnTo>
                  <a:lnTo>
                    <a:pt x="2112" y="176"/>
                  </a:lnTo>
                  <a:lnTo>
                    <a:pt x="2114" y="174"/>
                  </a:lnTo>
                  <a:lnTo>
                    <a:pt x="2118" y="172"/>
                  </a:lnTo>
                  <a:lnTo>
                    <a:pt x="2118" y="172"/>
                  </a:lnTo>
                  <a:lnTo>
                    <a:pt x="2118" y="172"/>
                  </a:lnTo>
                  <a:lnTo>
                    <a:pt x="2120" y="170"/>
                  </a:lnTo>
                  <a:lnTo>
                    <a:pt x="2120" y="170"/>
                  </a:lnTo>
                  <a:lnTo>
                    <a:pt x="2120" y="170"/>
                  </a:lnTo>
                  <a:lnTo>
                    <a:pt x="2120" y="168"/>
                  </a:lnTo>
                  <a:lnTo>
                    <a:pt x="2120" y="168"/>
                  </a:lnTo>
                  <a:lnTo>
                    <a:pt x="2122" y="168"/>
                  </a:lnTo>
                  <a:lnTo>
                    <a:pt x="2122" y="164"/>
                  </a:lnTo>
                  <a:lnTo>
                    <a:pt x="2122" y="164"/>
                  </a:lnTo>
                  <a:lnTo>
                    <a:pt x="2122" y="164"/>
                  </a:lnTo>
                  <a:lnTo>
                    <a:pt x="2122" y="160"/>
                  </a:lnTo>
                  <a:lnTo>
                    <a:pt x="2122" y="160"/>
                  </a:lnTo>
                  <a:lnTo>
                    <a:pt x="2120" y="156"/>
                  </a:lnTo>
                  <a:lnTo>
                    <a:pt x="2120" y="154"/>
                  </a:lnTo>
                  <a:lnTo>
                    <a:pt x="2120" y="150"/>
                  </a:lnTo>
                  <a:lnTo>
                    <a:pt x="2118" y="146"/>
                  </a:lnTo>
                  <a:lnTo>
                    <a:pt x="2116" y="144"/>
                  </a:lnTo>
                  <a:lnTo>
                    <a:pt x="2116" y="144"/>
                  </a:lnTo>
                  <a:lnTo>
                    <a:pt x="2116" y="144"/>
                  </a:lnTo>
                  <a:lnTo>
                    <a:pt x="2114" y="142"/>
                  </a:lnTo>
                  <a:lnTo>
                    <a:pt x="2114" y="142"/>
                  </a:lnTo>
                  <a:lnTo>
                    <a:pt x="2114" y="140"/>
                  </a:lnTo>
                  <a:lnTo>
                    <a:pt x="2112" y="138"/>
                  </a:lnTo>
                  <a:lnTo>
                    <a:pt x="2112" y="138"/>
                  </a:lnTo>
                  <a:lnTo>
                    <a:pt x="2112" y="138"/>
                  </a:lnTo>
                  <a:lnTo>
                    <a:pt x="2108" y="138"/>
                  </a:lnTo>
                  <a:lnTo>
                    <a:pt x="2108" y="138"/>
                  </a:lnTo>
                  <a:lnTo>
                    <a:pt x="2108" y="138"/>
                  </a:lnTo>
                  <a:lnTo>
                    <a:pt x="2102" y="136"/>
                  </a:lnTo>
                  <a:lnTo>
                    <a:pt x="2102" y="136"/>
                  </a:lnTo>
                  <a:lnTo>
                    <a:pt x="2102" y="136"/>
                  </a:lnTo>
                  <a:lnTo>
                    <a:pt x="2098" y="134"/>
                  </a:lnTo>
                  <a:lnTo>
                    <a:pt x="2094" y="134"/>
                  </a:lnTo>
                  <a:lnTo>
                    <a:pt x="2092" y="134"/>
                  </a:lnTo>
                  <a:lnTo>
                    <a:pt x="2090" y="132"/>
                  </a:lnTo>
                  <a:lnTo>
                    <a:pt x="2088" y="132"/>
                  </a:lnTo>
                  <a:lnTo>
                    <a:pt x="2088" y="132"/>
                  </a:lnTo>
                  <a:lnTo>
                    <a:pt x="2086" y="128"/>
                  </a:lnTo>
                  <a:lnTo>
                    <a:pt x="2084" y="126"/>
                  </a:lnTo>
                  <a:lnTo>
                    <a:pt x="2084" y="126"/>
                  </a:lnTo>
                  <a:lnTo>
                    <a:pt x="2084" y="126"/>
                  </a:lnTo>
                  <a:lnTo>
                    <a:pt x="2084" y="124"/>
                  </a:lnTo>
                  <a:lnTo>
                    <a:pt x="2084" y="124"/>
                  </a:lnTo>
                  <a:lnTo>
                    <a:pt x="2084" y="124"/>
                  </a:lnTo>
                  <a:lnTo>
                    <a:pt x="2082" y="124"/>
                  </a:lnTo>
                  <a:lnTo>
                    <a:pt x="2082" y="124"/>
                  </a:lnTo>
                  <a:lnTo>
                    <a:pt x="2080" y="122"/>
                  </a:lnTo>
                  <a:lnTo>
                    <a:pt x="2080" y="122"/>
                  </a:lnTo>
                  <a:lnTo>
                    <a:pt x="2080" y="122"/>
                  </a:lnTo>
                  <a:lnTo>
                    <a:pt x="2078" y="124"/>
                  </a:lnTo>
                  <a:lnTo>
                    <a:pt x="2078" y="124"/>
                  </a:lnTo>
                  <a:lnTo>
                    <a:pt x="2078" y="124"/>
                  </a:lnTo>
                  <a:lnTo>
                    <a:pt x="2076" y="124"/>
                  </a:lnTo>
                  <a:lnTo>
                    <a:pt x="2074" y="126"/>
                  </a:lnTo>
                  <a:lnTo>
                    <a:pt x="2074" y="128"/>
                  </a:lnTo>
                  <a:lnTo>
                    <a:pt x="2074" y="128"/>
                  </a:lnTo>
                  <a:lnTo>
                    <a:pt x="2074" y="126"/>
                  </a:lnTo>
                  <a:lnTo>
                    <a:pt x="2072" y="124"/>
                  </a:lnTo>
                  <a:lnTo>
                    <a:pt x="2072" y="122"/>
                  </a:lnTo>
                  <a:lnTo>
                    <a:pt x="2070" y="120"/>
                  </a:lnTo>
                  <a:lnTo>
                    <a:pt x="2068" y="118"/>
                  </a:lnTo>
                  <a:lnTo>
                    <a:pt x="2068" y="118"/>
                  </a:lnTo>
                  <a:lnTo>
                    <a:pt x="2068" y="118"/>
                  </a:lnTo>
                  <a:lnTo>
                    <a:pt x="2068" y="116"/>
                  </a:lnTo>
                  <a:lnTo>
                    <a:pt x="2066" y="116"/>
                  </a:lnTo>
                  <a:lnTo>
                    <a:pt x="2066" y="116"/>
                  </a:lnTo>
                  <a:lnTo>
                    <a:pt x="2064" y="116"/>
                  </a:lnTo>
                  <a:lnTo>
                    <a:pt x="2062" y="116"/>
                  </a:lnTo>
                  <a:lnTo>
                    <a:pt x="2062" y="116"/>
                  </a:lnTo>
                  <a:lnTo>
                    <a:pt x="2062" y="116"/>
                  </a:lnTo>
                  <a:lnTo>
                    <a:pt x="2062" y="118"/>
                  </a:lnTo>
                  <a:lnTo>
                    <a:pt x="2062" y="120"/>
                  </a:lnTo>
                  <a:lnTo>
                    <a:pt x="2062" y="120"/>
                  </a:lnTo>
                  <a:lnTo>
                    <a:pt x="2062" y="122"/>
                  </a:lnTo>
                  <a:lnTo>
                    <a:pt x="2062" y="124"/>
                  </a:lnTo>
                  <a:lnTo>
                    <a:pt x="2062" y="128"/>
                  </a:lnTo>
                  <a:lnTo>
                    <a:pt x="2062" y="132"/>
                  </a:lnTo>
                  <a:lnTo>
                    <a:pt x="2062" y="134"/>
                  </a:lnTo>
                  <a:lnTo>
                    <a:pt x="2060" y="136"/>
                  </a:lnTo>
                  <a:lnTo>
                    <a:pt x="2060" y="142"/>
                  </a:lnTo>
                  <a:lnTo>
                    <a:pt x="2058" y="142"/>
                  </a:lnTo>
                  <a:lnTo>
                    <a:pt x="2058" y="140"/>
                  </a:lnTo>
                  <a:lnTo>
                    <a:pt x="2058" y="138"/>
                  </a:lnTo>
                  <a:lnTo>
                    <a:pt x="2058" y="132"/>
                  </a:lnTo>
                  <a:lnTo>
                    <a:pt x="2058" y="130"/>
                  </a:lnTo>
                  <a:lnTo>
                    <a:pt x="2058" y="126"/>
                  </a:lnTo>
                  <a:lnTo>
                    <a:pt x="2058" y="124"/>
                  </a:lnTo>
                  <a:lnTo>
                    <a:pt x="2058" y="124"/>
                  </a:lnTo>
                  <a:lnTo>
                    <a:pt x="2056" y="124"/>
                  </a:lnTo>
                  <a:lnTo>
                    <a:pt x="2056" y="122"/>
                  </a:lnTo>
                  <a:lnTo>
                    <a:pt x="2056" y="122"/>
                  </a:lnTo>
                  <a:lnTo>
                    <a:pt x="2054" y="122"/>
                  </a:lnTo>
                  <a:lnTo>
                    <a:pt x="2054" y="122"/>
                  </a:lnTo>
                  <a:lnTo>
                    <a:pt x="2054" y="122"/>
                  </a:lnTo>
                  <a:lnTo>
                    <a:pt x="2052" y="122"/>
                  </a:lnTo>
                  <a:lnTo>
                    <a:pt x="2050" y="122"/>
                  </a:lnTo>
                  <a:lnTo>
                    <a:pt x="2050" y="122"/>
                  </a:lnTo>
                  <a:lnTo>
                    <a:pt x="2050" y="122"/>
                  </a:lnTo>
                  <a:lnTo>
                    <a:pt x="2048" y="122"/>
                  </a:lnTo>
                  <a:lnTo>
                    <a:pt x="2046" y="124"/>
                  </a:lnTo>
                  <a:lnTo>
                    <a:pt x="2044" y="124"/>
                  </a:lnTo>
                  <a:lnTo>
                    <a:pt x="2042" y="126"/>
                  </a:lnTo>
                  <a:lnTo>
                    <a:pt x="2040" y="128"/>
                  </a:lnTo>
                  <a:lnTo>
                    <a:pt x="2040" y="128"/>
                  </a:lnTo>
                  <a:lnTo>
                    <a:pt x="2040" y="128"/>
                  </a:lnTo>
                  <a:lnTo>
                    <a:pt x="2040" y="130"/>
                  </a:lnTo>
                  <a:lnTo>
                    <a:pt x="2040" y="130"/>
                  </a:lnTo>
                  <a:lnTo>
                    <a:pt x="2038" y="130"/>
                  </a:lnTo>
                  <a:lnTo>
                    <a:pt x="2038" y="132"/>
                  </a:lnTo>
                  <a:lnTo>
                    <a:pt x="2038" y="132"/>
                  </a:lnTo>
                  <a:lnTo>
                    <a:pt x="2038" y="132"/>
                  </a:lnTo>
                  <a:lnTo>
                    <a:pt x="2040" y="134"/>
                  </a:lnTo>
                  <a:lnTo>
                    <a:pt x="2040" y="134"/>
                  </a:lnTo>
                  <a:lnTo>
                    <a:pt x="2040" y="134"/>
                  </a:lnTo>
                  <a:lnTo>
                    <a:pt x="2040" y="136"/>
                  </a:lnTo>
                  <a:lnTo>
                    <a:pt x="2042" y="138"/>
                  </a:lnTo>
                  <a:lnTo>
                    <a:pt x="2044" y="142"/>
                  </a:lnTo>
                  <a:lnTo>
                    <a:pt x="2044" y="144"/>
                  </a:lnTo>
                  <a:lnTo>
                    <a:pt x="2044" y="142"/>
                  </a:lnTo>
                  <a:lnTo>
                    <a:pt x="2044" y="144"/>
                  </a:lnTo>
                  <a:lnTo>
                    <a:pt x="2046" y="148"/>
                  </a:lnTo>
                  <a:lnTo>
                    <a:pt x="2046" y="150"/>
                  </a:lnTo>
                  <a:lnTo>
                    <a:pt x="2046" y="154"/>
                  </a:lnTo>
                  <a:lnTo>
                    <a:pt x="2046" y="158"/>
                  </a:lnTo>
                  <a:lnTo>
                    <a:pt x="2046" y="162"/>
                  </a:lnTo>
                  <a:lnTo>
                    <a:pt x="2046" y="164"/>
                  </a:lnTo>
                  <a:lnTo>
                    <a:pt x="2044" y="162"/>
                  </a:lnTo>
                  <a:lnTo>
                    <a:pt x="2042" y="156"/>
                  </a:lnTo>
                  <a:lnTo>
                    <a:pt x="2040" y="154"/>
                  </a:lnTo>
                  <a:lnTo>
                    <a:pt x="2040" y="152"/>
                  </a:lnTo>
                  <a:lnTo>
                    <a:pt x="2040" y="154"/>
                  </a:lnTo>
                  <a:lnTo>
                    <a:pt x="2038" y="150"/>
                  </a:lnTo>
                  <a:lnTo>
                    <a:pt x="2038" y="146"/>
                  </a:lnTo>
                  <a:lnTo>
                    <a:pt x="2038" y="144"/>
                  </a:lnTo>
                  <a:lnTo>
                    <a:pt x="2038" y="144"/>
                  </a:lnTo>
                  <a:lnTo>
                    <a:pt x="2036" y="142"/>
                  </a:lnTo>
                  <a:lnTo>
                    <a:pt x="2036" y="142"/>
                  </a:lnTo>
                  <a:lnTo>
                    <a:pt x="2036" y="142"/>
                  </a:lnTo>
                  <a:lnTo>
                    <a:pt x="2036" y="142"/>
                  </a:lnTo>
                  <a:lnTo>
                    <a:pt x="2034" y="140"/>
                  </a:lnTo>
                  <a:lnTo>
                    <a:pt x="2034" y="140"/>
                  </a:lnTo>
                  <a:lnTo>
                    <a:pt x="2032" y="140"/>
                  </a:lnTo>
                  <a:lnTo>
                    <a:pt x="2032" y="140"/>
                  </a:lnTo>
                  <a:lnTo>
                    <a:pt x="2032" y="140"/>
                  </a:lnTo>
                  <a:lnTo>
                    <a:pt x="2030" y="140"/>
                  </a:lnTo>
                  <a:lnTo>
                    <a:pt x="2028" y="142"/>
                  </a:lnTo>
                  <a:lnTo>
                    <a:pt x="2028" y="142"/>
                  </a:lnTo>
                  <a:lnTo>
                    <a:pt x="2028" y="142"/>
                  </a:lnTo>
                  <a:lnTo>
                    <a:pt x="2028" y="144"/>
                  </a:lnTo>
                  <a:lnTo>
                    <a:pt x="2026" y="146"/>
                  </a:lnTo>
                  <a:lnTo>
                    <a:pt x="2024" y="148"/>
                  </a:lnTo>
                  <a:lnTo>
                    <a:pt x="2024" y="146"/>
                  </a:lnTo>
                  <a:lnTo>
                    <a:pt x="2024" y="148"/>
                  </a:lnTo>
                  <a:lnTo>
                    <a:pt x="2022" y="148"/>
                  </a:lnTo>
                  <a:lnTo>
                    <a:pt x="2022" y="148"/>
                  </a:lnTo>
                  <a:lnTo>
                    <a:pt x="2022" y="148"/>
                  </a:lnTo>
                  <a:lnTo>
                    <a:pt x="2022" y="148"/>
                  </a:lnTo>
                  <a:lnTo>
                    <a:pt x="2022" y="148"/>
                  </a:lnTo>
                  <a:lnTo>
                    <a:pt x="2022" y="146"/>
                  </a:lnTo>
                  <a:lnTo>
                    <a:pt x="2020" y="144"/>
                  </a:lnTo>
                  <a:lnTo>
                    <a:pt x="2018" y="140"/>
                  </a:lnTo>
                  <a:lnTo>
                    <a:pt x="2016" y="136"/>
                  </a:lnTo>
                  <a:lnTo>
                    <a:pt x="2014" y="132"/>
                  </a:lnTo>
                  <a:lnTo>
                    <a:pt x="2012" y="128"/>
                  </a:lnTo>
                  <a:lnTo>
                    <a:pt x="2010" y="124"/>
                  </a:lnTo>
                  <a:lnTo>
                    <a:pt x="2010" y="124"/>
                  </a:lnTo>
                  <a:lnTo>
                    <a:pt x="2010" y="124"/>
                  </a:lnTo>
                  <a:lnTo>
                    <a:pt x="2008" y="124"/>
                  </a:lnTo>
                  <a:lnTo>
                    <a:pt x="2008" y="122"/>
                  </a:lnTo>
                  <a:lnTo>
                    <a:pt x="2008" y="122"/>
                  </a:lnTo>
                  <a:lnTo>
                    <a:pt x="2008" y="122"/>
                  </a:lnTo>
                  <a:lnTo>
                    <a:pt x="2006" y="122"/>
                  </a:lnTo>
                  <a:lnTo>
                    <a:pt x="2006" y="122"/>
                  </a:lnTo>
                  <a:lnTo>
                    <a:pt x="2004" y="122"/>
                  </a:lnTo>
                  <a:lnTo>
                    <a:pt x="2004" y="122"/>
                  </a:lnTo>
                  <a:lnTo>
                    <a:pt x="2004" y="122"/>
                  </a:lnTo>
                  <a:lnTo>
                    <a:pt x="2002" y="122"/>
                  </a:lnTo>
                  <a:lnTo>
                    <a:pt x="2002" y="124"/>
                  </a:lnTo>
                  <a:lnTo>
                    <a:pt x="2002" y="124"/>
                  </a:lnTo>
                  <a:lnTo>
                    <a:pt x="2000" y="124"/>
                  </a:lnTo>
                  <a:lnTo>
                    <a:pt x="2000" y="126"/>
                  </a:lnTo>
                  <a:lnTo>
                    <a:pt x="2000" y="126"/>
                  </a:lnTo>
                  <a:lnTo>
                    <a:pt x="2000" y="126"/>
                  </a:lnTo>
                  <a:lnTo>
                    <a:pt x="1998" y="130"/>
                  </a:lnTo>
                  <a:lnTo>
                    <a:pt x="1998" y="130"/>
                  </a:lnTo>
                  <a:lnTo>
                    <a:pt x="1998" y="134"/>
                  </a:lnTo>
                  <a:lnTo>
                    <a:pt x="1998" y="134"/>
                  </a:lnTo>
                  <a:lnTo>
                    <a:pt x="1998" y="134"/>
                  </a:lnTo>
                  <a:lnTo>
                    <a:pt x="1998" y="136"/>
                  </a:lnTo>
                  <a:lnTo>
                    <a:pt x="2000" y="140"/>
                  </a:lnTo>
                  <a:lnTo>
                    <a:pt x="2000" y="146"/>
                  </a:lnTo>
                  <a:lnTo>
                    <a:pt x="2002" y="148"/>
                  </a:lnTo>
                  <a:lnTo>
                    <a:pt x="2002" y="150"/>
                  </a:lnTo>
                  <a:lnTo>
                    <a:pt x="2000" y="148"/>
                  </a:lnTo>
                  <a:lnTo>
                    <a:pt x="1998" y="148"/>
                  </a:lnTo>
                  <a:lnTo>
                    <a:pt x="1996" y="148"/>
                  </a:lnTo>
                  <a:lnTo>
                    <a:pt x="1996" y="148"/>
                  </a:lnTo>
                  <a:lnTo>
                    <a:pt x="1996" y="148"/>
                  </a:lnTo>
                  <a:lnTo>
                    <a:pt x="1994" y="148"/>
                  </a:lnTo>
                  <a:lnTo>
                    <a:pt x="1994" y="148"/>
                  </a:lnTo>
                  <a:lnTo>
                    <a:pt x="1992" y="148"/>
                  </a:lnTo>
                  <a:lnTo>
                    <a:pt x="1992" y="148"/>
                  </a:lnTo>
                  <a:lnTo>
                    <a:pt x="1992" y="148"/>
                  </a:lnTo>
                  <a:lnTo>
                    <a:pt x="1992" y="148"/>
                  </a:lnTo>
                  <a:lnTo>
                    <a:pt x="1990" y="146"/>
                  </a:lnTo>
                  <a:lnTo>
                    <a:pt x="1986" y="144"/>
                  </a:lnTo>
                  <a:lnTo>
                    <a:pt x="1986" y="144"/>
                  </a:lnTo>
                  <a:lnTo>
                    <a:pt x="1986" y="142"/>
                  </a:lnTo>
                  <a:lnTo>
                    <a:pt x="1986" y="142"/>
                  </a:lnTo>
                  <a:lnTo>
                    <a:pt x="1986" y="142"/>
                  </a:lnTo>
                  <a:lnTo>
                    <a:pt x="1984" y="142"/>
                  </a:lnTo>
                  <a:lnTo>
                    <a:pt x="1984" y="142"/>
                  </a:lnTo>
                  <a:lnTo>
                    <a:pt x="1984" y="142"/>
                  </a:lnTo>
                  <a:lnTo>
                    <a:pt x="1982" y="142"/>
                  </a:lnTo>
                  <a:lnTo>
                    <a:pt x="1980" y="142"/>
                  </a:lnTo>
                  <a:lnTo>
                    <a:pt x="1980" y="142"/>
                  </a:lnTo>
                  <a:lnTo>
                    <a:pt x="1980" y="142"/>
                  </a:lnTo>
                  <a:lnTo>
                    <a:pt x="1978" y="144"/>
                  </a:lnTo>
                  <a:lnTo>
                    <a:pt x="1978" y="144"/>
                  </a:lnTo>
                  <a:lnTo>
                    <a:pt x="1978" y="146"/>
                  </a:lnTo>
                  <a:lnTo>
                    <a:pt x="1976" y="148"/>
                  </a:lnTo>
                  <a:lnTo>
                    <a:pt x="1976" y="150"/>
                  </a:lnTo>
                  <a:lnTo>
                    <a:pt x="1976" y="152"/>
                  </a:lnTo>
                  <a:lnTo>
                    <a:pt x="1976" y="158"/>
                  </a:lnTo>
                  <a:lnTo>
                    <a:pt x="1976" y="160"/>
                  </a:lnTo>
                  <a:lnTo>
                    <a:pt x="1976" y="160"/>
                  </a:lnTo>
                  <a:lnTo>
                    <a:pt x="1976" y="162"/>
                  </a:lnTo>
                  <a:lnTo>
                    <a:pt x="1976" y="164"/>
                  </a:lnTo>
                  <a:lnTo>
                    <a:pt x="1976" y="164"/>
                  </a:lnTo>
                  <a:lnTo>
                    <a:pt x="1976" y="164"/>
                  </a:lnTo>
                  <a:lnTo>
                    <a:pt x="1978" y="166"/>
                  </a:lnTo>
                  <a:lnTo>
                    <a:pt x="1978" y="166"/>
                  </a:lnTo>
                  <a:lnTo>
                    <a:pt x="1978" y="166"/>
                  </a:lnTo>
                  <a:lnTo>
                    <a:pt x="1980" y="168"/>
                  </a:lnTo>
                  <a:lnTo>
                    <a:pt x="1980" y="168"/>
                  </a:lnTo>
                  <a:lnTo>
                    <a:pt x="1980" y="168"/>
                  </a:lnTo>
                  <a:lnTo>
                    <a:pt x="1982" y="170"/>
                  </a:lnTo>
                  <a:lnTo>
                    <a:pt x="1984" y="170"/>
                  </a:lnTo>
                  <a:lnTo>
                    <a:pt x="1986" y="172"/>
                  </a:lnTo>
                  <a:lnTo>
                    <a:pt x="1988" y="172"/>
                  </a:lnTo>
                  <a:lnTo>
                    <a:pt x="1990" y="174"/>
                  </a:lnTo>
                  <a:lnTo>
                    <a:pt x="1990" y="174"/>
                  </a:lnTo>
                  <a:lnTo>
                    <a:pt x="1990" y="174"/>
                  </a:lnTo>
                  <a:lnTo>
                    <a:pt x="1988" y="174"/>
                  </a:lnTo>
                  <a:lnTo>
                    <a:pt x="1988" y="176"/>
                  </a:lnTo>
                  <a:lnTo>
                    <a:pt x="1986" y="178"/>
                  </a:lnTo>
                  <a:lnTo>
                    <a:pt x="1984" y="178"/>
                  </a:lnTo>
                  <a:lnTo>
                    <a:pt x="1984" y="178"/>
                  </a:lnTo>
                  <a:lnTo>
                    <a:pt x="1984" y="180"/>
                  </a:lnTo>
                  <a:lnTo>
                    <a:pt x="1984" y="180"/>
                  </a:lnTo>
                  <a:lnTo>
                    <a:pt x="1984" y="180"/>
                  </a:lnTo>
                  <a:lnTo>
                    <a:pt x="1982" y="182"/>
                  </a:lnTo>
                  <a:lnTo>
                    <a:pt x="1982" y="184"/>
                  </a:lnTo>
                  <a:lnTo>
                    <a:pt x="1982" y="184"/>
                  </a:lnTo>
                  <a:lnTo>
                    <a:pt x="1982" y="184"/>
                  </a:lnTo>
                  <a:lnTo>
                    <a:pt x="1984" y="186"/>
                  </a:lnTo>
                  <a:lnTo>
                    <a:pt x="1984" y="186"/>
                  </a:lnTo>
                  <a:lnTo>
                    <a:pt x="1984" y="186"/>
                  </a:lnTo>
                  <a:lnTo>
                    <a:pt x="1984" y="188"/>
                  </a:lnTo>
                  <a:lnTo>
                    <a:pt x="1984" y="188"/>
                  </a:lnTo>
                  <a:lnTo>
                    <a:pt x="1984" y="188"/>
                  </a:lnTo>
                  <a:lnTo>
                    <a:pt x="1986" y="192"/>
                  </a:lnTo>
                  <a:lnTo>
                    <a:pt x="1986" y="192"/>
                  </a:lnTo>
                  <a:lnTo>
                    <a:pt x="1988" y="192"/>
                  </a:lnTo>
                  <a:lnTo>
                    <a:pt x="1990" y="196"/>
                  </a:lnTo>
                  <a:lnTo>
                    <a:pt x="1990" y="196"/>
                  </a:lnTo>
                  <a:lnTo>
                    <a:pt x="1992" y="196"/>
                  </a:lnTo>
                  <a:lnTo>
                    <a:pt x="1992" y="196"/>
                  </a:lnTo>
                  <a:lnTo>
                    <a:pt x="1992" y="196"/>
                  </a:lnTo>
                  <a:lnTo>
                    <a:pt x="1994" y="196"/>
                  </a:lnTo>
                  <a:lnTo>
                    <a:pt x="1996" y="198"/>
                  </a:lnTo>
                  <a:lnTo>
                    <a:pt x="1996" y="198"/>
                  </a:lnTo>
                  <a:lnTo>
                    <a:pt x="1996" y="198"/>
                  </a:lnTo>
                  <a:lnTo>
                    <a:pt x="2000" y="198"/>
                  </a:lnTo>
                  <a:lnTo>
                    <a:pt x="2000" y="198"/>
                  </a:lnTo>
                  <a:lnTo>
                    <a:pt x="2000" y="198"/>
                  </a:lnTo>
                  <a:lnTo>
                    <a:pt x="2006" y="198"/>
                  </a:lnTo>
                  <a:lnTo>
                    <a:pt x="2010" y="196"/>
                  </a:lnTo>
                  <a:lnTo>
                    <a:pt x="2014" y="196"/>
                  </a:lnTo>
                  <a:lnTo>
                    <a:pt x="2018" y="194"/>
                  </a:lnTo>
                  <a:lnTo>
                    <a:pt x="2018" y="194"/>
                  </a:lnTo>
                  <a:lnTo>
                    <a:pt x="2018" y="194"/>
                  </a:lnTo>
                  <a:lnTo>
                    <a:pt x="2024" y="190"/>
                  </a:lnTo>
                  <a:lnTo>
                    <a:pt x="2022" y="190"/>
                  </a:lnTo>
                  <a:lnTo>
                    <a:pt x="2026" y="188"/>
                  </a:lnTo>
                  <a:lnTo>
                    <a:pt x="2026" y="188"/>
                  </a:lnTo>
                  <a:lnTo>
                    <a:pt x="2026" y="188"/>
                  </a:lnTo>
                  <a:lnTo>
                    <a:pt x="2028" y="188"/>
                  </a:lnTo>
                  <a:lnTo>
                    <a:pt x="2034" y="188"/>
                  </a:lnTo>
                  <a:lnTo>
                    <a:pt x="2034" y="188"/>
                  </a:lnTo>
                  <a:lnTo>
                    <a:pt x="2032" y="190"/>
                  </a:lnTo>
                  <a:lnTo>
                    <a:pt x="2030" y="192"/>
                  </a:lnTo>
                  <a:lnTo>
                    <a:pt x="2028" y="194"/>
                  </a:lnTo>
                  <a:lnTo>
                    <a:pt x="2026" y="196"/>
                  </a:lnTo>
                  <a:lnTo>
                    <a:pt x="2026" y="196"/>
                  </a:lnTo>
                  <a:lnTo>
                    <a:pt x="2026" y="196"/>
                  </a:lnTo>
                  <a:lnTo>
                    <a:pt x="2026" y="198"/>
                  </a:lnTo>
                  <a:lnTo>
                    <a:pt x="2026" y="198"/>
                  </a:lnTo>
                  <a:lnTo>
                    <a:pt x="2026" y="198"/>
                  </a:lnTo>
                  <a:lnTo>
                    <a:pt x="2026" y="200"/>
                  </a:lnTo>
                  <a:lnTo>
                    <a:pt x="2024" y="198"/>
                  </a:lnTo>
                  <a:lnTo>
                    <a:pt x="2024" y="198"/>
                  </a:lnTo>
                  <a:lnTo>
                    <a:pt x="2024" y="198"/>
                  </a:lnTo>
                  <a:lnTo>
                    <a:pt x="2022" y="198"/>
                  </a:lnTo>
                  <a:lnTo>
                    <a:pt x="2022" y="198"/>
                  </a:lnTo>
                  <a:lnTo>
                    <a:pt x="2020" y="198"/>
                  </a:lnTo>
                  <a:lnTo>
                    <a:pt x="2018" y="198"/>
                  </a:lnTo>
                  <a:lnTo>
                    <a:pt x="2018" y="198"/>
                  </a:lnTo>
                  <a:lnTo>
                    <a:pt x="2018" y="198"/>
                  </a:lnTo>
                  <a:lnTo>
                    <a:pt x="2016" y="200"/>
                  </a:lnTo>
                  <a:lnTo>
                    <a:pt x="2016" y="200"/>
                  </a:lnTo>
                  <a:lnTo>
                    <a:pt x="2016" y="200"/>
                  </a:lnTo>
                  <a:lnTo>
                    <a:pt x="2012" y="202"/>
                  </a:lnTo>
                  <a:lnTo>
                    <a:pt x="2012" y="202"/>
                  </a:lnTo>
                  <a:lnTo>
                    <a:pt x="2012" y="202"/>
                  </a:lnTo>
                  <a:lnTo>
                    <a:pt x="2010" y="204"/>
                  </a:lnTo>
                  <a:lnTo>
                    <a:pt x="2010" y="204"/>
                  </a:lnTo>
                  <a:lnTo>
                    <a:pt x="2010" y="204"/>
                  </a:lnTo>
                  <a:lnTo>
                    <a:pt x="2008" y="206"/>
                  </a:lnTo>
                  <a:lnTo>
                    <a:pt x="2008" y="206"/>
                  </a:lnTo>
                  <a:lnTo>
                    <a:pt x="2008" y="206"/>
                  </a:lnTo>
                  <a:lnTo>
                    <a:pt x="2008" y="208"/>
                  </a:lnTo>
                  <a:lnTo>
                    <a:pt x="2008" y="208"/>
                  </a:lnTo>
                  <a:lnTo>
                    <a:pt x="2008" y="210"/>
                  </a:lnTo>
                  <a:lnTo>
                    <a:pt x="2014" y="218"/>
                  </a:lnTo>
                  <a:lnTo>
                    <a:pt x="2014" y="218"/>
                  </a:lnTo>
                  <a:lnTo>
                    <a:pt x="2014" y="220"/>
                  </a:lnTo>
                  <a:lnTo>
                    <a:pt x="2016" y="220"/>
                  </a:lnTo>
                  <a:lnTo>
                    <a:pt x="2016" y="220"/>
                  </a:lnTo>
                  <a:lnTo>
                    <a:pt x="2016" y="220"/>
                  </a:lnTo>
                  <a:lnTo>
                    <a:pt x="2016" y="220"/>
                  </a:lnTo>
                  <a:lnTo>
                    <a:pt x="2014" y="220"/>
                  </a:lnTo>
                  <a:lnTo>
                    <a:pt x="2014" y="222"/>
                  </a:lnTo>
                  <a:lnTo>
                    <a:pt x="2014" y="222"/>
                  </a:lnTo>
                  <a:lnTo>
                    <a:pt x="2012" y="222"/>
                  </a:lnTo>
                  <a:lnTo>
                    <a:pt x="2012" y="224"/>
                  </a:lnTo>
                  <a:lnTo>
                    <a:pt x="2012" y="224"/>
                  </a:lnTo>
                  <a:lnTo>
                    <a:pt x="2010" y="224"/>
                  </a:lnTo>
                  <a:lnTo>
                    <a:pt x="2010" y="226"/>
                  </a:lnTo>
                  <a:lnTo>
                    <a:pt x="2010" y="228"/>
                  </a:lnTo>
                  <a:lnTo>
                    <a:pt x="2008" y="230"/>
                  </a:lnTo>
                  <a:lnTo>
                    <a:pt x="2006" y="232"/>
                  </a:lnTo>
                  <a:lnTo>
                    <a:pt x="2006" y="232"/>
                  </a:lnTo>
                  <a:lnTo>
                    <a:pt x="2004" y="234"/>
                  </a:lnTo>
                  <a:lnTo>
                    <a:pt x="2002" y="234"/>
                  </a:lnTo>
                  <a:lnTo>
                    <a:pt x="2002" y="234"/>
                  </a:lnTo>
                  <a:lnTo>
                    <a:pt x="2002" y="234"/>
                  </a:lnTo>
                  <a:lnTo>
                    <a:pt x="2002" y="232"/>
                  </a:lnTo>
                  <a:lnTo>
                    <a:pt x="2002" y="230"/>
                  </a:lnTo>
                  <a:lnTo>
                    <a:pt x="2002" y="226"/>
                  </a:lnTo>
                  <a:lnTo>
                    <a:pt x="2004" y="220"/>
                  </a:lnTo>
                  <a:lnTo>
                    <a:pt x="2004" y="218"/>
                  </a:lnTo>
                  <a:lnTo>
                    <a:pt x="2004" y="218"/>
                  </a:lnTo>
                  <a:lnTo>
                    <a:pt x="2004" y="218"/>
                  </a:lnTo>
                  <a:lnTo>
                    <a:pt x="2004" y="216"/>
                  </a:lnTo>
                  <a:lnTo>
                    <a:pt x="2004" y="216"/>
                  </a:lnTo>
                  <a:lnTo>
                    <a:pt x="2004" y="216"/>
                  </a:lnTo>
                  <a:lnTo>
                    <a:pt x="2002" y="214"/>
                  </a:lnTo>
                  <a:lnTo>
                    <a:pt x="2002" y="214"/>
                  </a:lnTo>
                  <a:lnTo>
                    <a:pt x="2002" y="212"/>
                  </a:lnTo>
                  <a:lnTo>
                    <a:pt x="2002" y="212"/>
                  </a:lnTo>
                  <a:lnTo>
                    <a:pt x="2002" y="212"/>
                  </a:lnTo>
                  <a:lnTo>
                    <a:pt x="2002" y="210"/>
                  </a:lnTo>
                  <a:lnTo>
                    <a:pt x="1998" y="208"/>
                  </a:lnTo>
                  <a:lnTo>
                    <a:pt x="1998" y="208"/>
                  </a:lnTo>
                  <a:lnTo>
                    <a:pt x="1998" y="208"/>
                  </a:lnTo>
                  <a:lnTo>
                    <a:pt x="1996" y="206"/>
                  </a:lnTo>
                  <a:lnTo>
                    <a:pt x="1996" y="206"/>
                  </a:lnTo>
                  <a:lnTo>
                    <a:pt x="1996" y="206"/>
                  </a:lnTo>
                  <a:lnTo>
                    <a:pt x="1994" y="206"/>
                  </a:lnTo>
                  <a:lnTo>
                    <a:pt x="1994" y="206"/>
                  </a:lnTo>
                  <a:lnTo>
                    <a:pt x="1992" y="206"/>
                  </a:lnTo>
                  <a:lnTo>
                    <a:pt x="1992" y="206"/>
                  </a:lnTo>
                  <a:lnTo>
                    <a:pt x="1992" y="206"/>
                  </a:lnTo>
                  <a:lnTo>
                    <a:pt x="1990" y="206"/>
                  </a:lnTo>
                  <a:lnTo>
                    <a:pt x="1988" y="206"/>
                  </a:lnTo>
                  <a:lnTo>
                    <a:pt x="1988" y="206"/>
                  </a:lnTo>
                  <a:lnTo>
                    <a:pt x="1988" y="206"/>
                  </a:lnTo>
                  <a:lnTo>
                    <a:pt x="1988" y="208"/>
                  </a:lnTo>
                  <a:lnTo>
                    <a:pt x="1988" y="208"/>
                  </a:lnTo>
                  <a:lnTo>
                    <a:pt x="1986" y="208"/>
                  </a:lnTo>
                  <a:lnTo>
                    <a:pt x="1986" y="208"/>
                  </a:lnTo>
                  <a:lnTo>
                    <a:pt x="1986" y="204"/>
                  </a:lnTo>
                  <a:lnTo>
                    <a:pt x="1986" y="202"/>
                  </a:lnTo>
                  <a:lnTo>
                    <a:pt x="1986" y="202"/>
                  </a:lnTo>
                  <a:lnTo>
                    <a:pt x="1986" y="200"/>
                  </a:lnTo>
                  <a:lnTo>
                    <a:pt x="1986" y="198"/>
                  </a:lnTo>
                  <a:lnTo>
                    <a:pt x="1986" y="198"/>
                  </a:lnTo>
                  <a:lnTo>
                    <a:pt x="1986" y="198"/>
                  </a:lnTo>
                  <a:lnTo>
                    <a:pt x="1984" y="196"/>
                  </a:lnTo>
                  <a:lnTo>
                    <a:pt x="1984" y="196"/>
                  </a:lnTo>
                  <a:lnTo>
                    <a:pt x="1984" y="196"/>
                  </a:lnTo>
                  <a:lnTo>
                    <a:pt x="1984" y="194"/>
                  </a:lnTo>
                  <a:lnTo>
                    <a:pt x="1984" y="194"/>
                  </a:lnTo>
                  <a:lnTo>
                    <a:pt x="1982" y="192"/>
                  </a:lnTo>
                  <a:lnTo>
                    <a:pt x="1982" y="192"/>
                  </a:lnTo>
                  <a:lnTo>
                    <a:pt x="1978" y="190"/>
                  </a:lnTo>
                  <a:lnTo>
                    <a:pt x="1974" y="186"/>
                  </a:lnTo>
                  <a:lnTo>
                    <a:pt x="1972" y="184"/>
                  </a:lnTo>
                  <a:lnTo>
                    <a:pt x="1970" y="182"/>
                  </a:lnTo>
                  <a:lnTo>
                    <a:pt x="1966" y="178"/>
                  </a:lnTo>
                  <a:lnTo>
                    <a:pt x="1962" y="176"/>
                  </a:lnTo>
                  <a:lnTo>
                    <a:pt x="1960" y="174"/>
                  </a:lnTo>
                  <a:lnTo>
                    <a:pt x="1960" y="174"/>
                  </a:lnTo>
                  <a:lnTo>
                    <a:pt x="1960" y="174"/>
                  </a:lnTo>
                  <a:lnTo>
                    <a:pt x="1958" y="174"/>
                  </a:lnTo>
                  <a:lnTo>
                    <a:pt x="1958" y="174"/>
                  </a:lnTo>
                  <a:lnTo>
                    <a:pt x="1956" y="172"/>
                  </a:lnTo>
                  <a:lnTo>
                    <a:pt x="1954" y="172"/>
                  </a:lnTo>
                  <a:lnTo>
                    <a:pt x="1954" y="172"/>
                  </a:lnTo>
                  <a:lnTo>
                    <a:pt x="1954" y="172"/>
                  </a:lnTo>
                  <a:lnTo>
                    <a:pt x="1952" y="172"/>
                  </a:lnTo>
                  <a:lnTo>
                    <a:pt x="1952" y="172"/>
                  </a:lnTo>
                  <a:lnTo>
                    <a:pt x="1952" y="172"/>
                  </a:lnTo>
                  <a:lnTo>
                    <a:pt x="1950" y="174"/>
                  </a:lnTo>
                  <a:lnTo>
                    <a:pt x="1950" y="174"/>
                  </a:lnTo>
                  <a:lnTo>
                    <a:pt x="1950" y="174"/>
                  </a:lnTo>
                  <a:lnTo>
                    <a:pt x="1948" y="176"/>
                  </a:lnTo>
                  <a:lnTo>
                    <a:pt x="1948" y="176"/>
                  </a:lnTo>
                  <a:lnTo>
                    <a:pt x="1948" y="176"/>
                  </a:lnTo>
                  <a:lnTo>
                    <a:pt x="1946" y="178"/>
                  </a:lnTo>
                  <a:lnTo>
                    <a:pt x="1946" y="178"/>
                  </a:lnTo>
                  <a:lnTo>
                    <a:pt x="1946" y="178"/>
                  </a:lnTo>
                  <a:lnTo>
                    <a:pt x="1946" y="180"/>
                  </a:lnTo>
                  <a:lnTo>
                    <a:pt x="1944" y="182"/>
                  </a:lnTo>
                  <a:lnTo>
                    <a:pt x="1944" y="182"/>
                  </a:lnTo>
                  <a:lnTo>
                    <a:pt x="1944" y="182"/>
                  </a:lnTo>
                  <a:lnTo>
                    <a:pt x="1944" y="188"/>
                  </a:lnTo>
                  <a:lnTo>
                    <a:pt x="1944" y="192"/>
                  </a:lnTo>
                  <a:lnTo>
                    <a:pt x="1944" y="196"/>
                  </a:lnTo>
                  <a:lnTo>
                    <a:pt x="1944" y="200"/>
                  </a:lnTo>
                  <a:lnTo>
                    <a:pt x="1944" y="204"/>
                  </a:lnTo>
                  <a:lnTo>
                    <a:pt x="1946" y="214"/>
                  </a:lnTo>
                  <a:lnTo>
                    <a:pt x="1950" y="226"/>
                  </a:lnTo>
                  <a:lnTo>
                    <a:pt x="1950" y="228"/>
                  </a:lnTo>
                  <a:lnTo>
                    <a:pt x="1950" y="232"/>
                  </a:lnTo>
                  <a:lnTo>
                    <a:pt x="1954" y="238"/>
                  </a:lnTo>
                  <a:lnTo>
                    <a:pt x="1958" y="254"/>
                  </a:lnTo>
                  <a:lnTo>
                    <a:pt x="1960" y="262"/>
                  </a:lnTo>
                  <a:lnTo>
                    <a:pt x="1962" y="264"/>
                  </a:lnTo>
                  <a:lnTo>
                    <a:pt x="1962" y="264"/>
                  </a:lnTo>
                  <a:lnTo>
                    <a:pt x="1958" y="260"/>
                  </a:lnTo>
                  <a:lnTo>
                    <a:pt x="1956" y="256"/>
                  </a:lnTo>
                  <a:lnTo>
                    <a:pt x="1954" y="252"/>
                  </a:lnTo>
                  <a:lnTo>
                    <a:pt x="1952" y="246"/>
                  </a:lnTo>
                  <a:lnTo>
                    <a:pt x="1950" y="238"/>
                  </a:lnTo>
                  <a:lnTo>
                    <a:pt x="1948" y="232"/>
                  </a:lnTo>
                  <a:lnTo>
                    <a:pt x="1944" y="226"/>
                  </a:lnTo>
                  <a:lnTo>
                    <a:pt x="1942" y="220"/>
                  </a:lnTo>
                  <a:lnTo>
                    <a:pt x="1942" y="212"/>
                  </a:lnTo>
                  <a:lnTo>
                    <a:pt x="1940" y="208"/>
                  </a:lnTo>
                  <a:lnTo>
                    <a:pt x="1938" y="206"/>
                  </a:lnTo>
                  <a:lnTo>
                    <a:pt x="1938" y="206"/>
                  </a:lnTo>
                  <a:lnTo>
                    <a:pt x="1938" y="204"/>
                  </a:lnTo>
                  <a:lnTo>
                    <a:pt x="1938" y="204"/>
                  </a:lnTo>
                  <a:lnTo>
                    <a:pt x="1938" y="204"/>
                  </a:lnTo>
                  <a:lnTo>
                    <a:pt x="1936" y="202"/>
                  </a:lnTo>
                  <a:lnTo>
                    <a:pt x="1934" y="200"/>
                  </a:lnTo>
                  <a:lnTo>
                    <a:pt x="1934" y="200"/>
                  </a:lnTo>
                  <a:lnTo>
                    <a:pt x="1934" y="200"/>
                  </a:lnTo>
                  <a:lnTo>
                    <a:pt x="1930" y="200"/>
                  </a:lnTo>
                  <a:lnTo>
                    <a:pt x="1930" y="200"/>
                  </a:lnTo>
                  <a:lnTo>
                    <a:pt x="1928" y="198"/>
                  </a:lnTo>
                  <a:lnTo>
                    <a:pt x="1926" y="200"/>
                  </a:lnTo>
                  <a:lnTo>
                    <a:pt x="1926" y="200"/>
                  </a:lnTo>
                  <a:lnTo>
                    <a:pt x="1924" y="200"/>
                  </a:lnTo>
                  <a:lnTo>
                    <a:pt x="1924" y="200"/>
                  </a:lnTo>
                  <a:lnTo>
                    <a:pt x="1924" y="200"/>
                  </a:lnTo>
                  <a:lnTo>
                    <a:pt x="1924" y="200"/>
                  </a:lnTo>
                  <a:lnTo>
                    <a:pt x="1924" y="198"/>
                  </a:lnTo>
                  <a:lnTo>
                    <a:pt x="1922" y="196"/>
                  </a:lnTo>
                  <a:lnTo>
                    <a:pt x="1922" y="196"/>
                  </a:lnTo>
                  <a:lnTo>
                    <a:pt x="1922" y="196"/>
                  </a:lnTo>
                  <a:lnTo>
                    <a:pt x="1920" y="194"/>
                  </a:lnTo>
                  <a:lnTo>
                    <a:pt x="1920" y="194"/>
                  </a:lnTo>
                  <a:lnTo>
                    <a:pt x="1918" y="192"/>
                  </a:lnTo>
                  <a:lnTo>
                    <a:pt x="1906" y="192"/>
                  </a:lnTo>
                  <a:lnTo>
                    <a:pt x="1906" y="192"/>
                  </a:lnTo>
                  <a:lnTo>
                    <a:pt x="1904" y="192"/>
                  </a:lnTo>
                  <a:lnTo>
                    <a:pt x="1902" y="194"/>
                  </a:lnTo>
                  <a:lnTo>
                    <a:pt x="1902" y="194"/>
                  </a:lnTo>
                  <a:lnTo>
                    <a:pt x="1902" y="194"/>
                  </a:lnTo>
                  <a:lnTo>
                    <a:pt x="1900" y="194"/>
                  </a:lnTo>
                  <a:lnTo>
                    <a:pt x="1898" y="198"/>
                  </a:lnTo>
                  <a:lnTo>
                    <a:pt x="1894" y="200"/>
                  </a:lnTo>
                  <a:lnTo>
                    <a:pt x="1894" y="200"/>
                  </a:lnTo>
                  <a:lnTo>
                    <a:pt x="1892" y="200"/>
                  </a:lnTo>
                  <a:lnTo>
                    <a:pt x="1892" y="200"/>
                  </a:lnTo>
                  <a:lnTo>
                    <a:pt x="1892" y="200"/>
                  </a:lnTo>
                  <a:lnTo>
                    <a:pt x="1888" y="198"/>
                  </a:lnTo>
                  <a:lnTo>
                    <a:pt x="1886" y="198"/>
                  </a:lnTo>
                  <a:lnTo>
                    <a:pt x="1886" y="198"/>
                  </a:lnTo>
                  <a:lnTo>
                    <a:pt x="1886" y="198"/>
                  </a:lnTo>
                  <a:lnTo>
                    <a:pt x="1884" y="196"/>
                  </a:lnTo>
                  <a:lnTo>
                    <a:pt x="1884" y="196"/>
                  </a:lnTo>
                  <a:lnTo>
                    <a:pt x="1884" y="196"/>
                  </a:lnTo>
                  <a:lnTo>
                    <a:pt x="1882" y="196"/>
                  </a:lnTo>
                  <a:lnTo>
                    <a:pt x="1882" y="196"/>
                  </a:lnTo>
                  <a:lnTo>
                    <a:pt x="1880" y="196"/>
                  </a:lnTo>
                  <a:lnTo>
                    <a:pt x="1878" y="198"/>
                  </a:lnTo>
                  <a:lnTo>
                    <a:pt x="1878" y="198"/>
                  </a:lnTo>
                  <a:lnTo>
                    <a:pt x="1878" y="198"/>
                  </a:lnTo>
                  <a:lnTo>
                    <a:pt x="1876" y="200"/>
                  </a:lnTo>
                  <a:lnTo>
                    <a:pt x="1876" y="200"/>
                  </a:lnTo>
                  <a:lnTo>
                    <a:pt x="1876" y="200"/>
                  </a:lnTo>
                  <a:lnTo>
                    <a:pt x="1874" y="202"/>
                  </a:lnTo>
                  <a:lnTo>
                    <a:pt x="1872" y="204"/>
                  </a:lnTo>
                  <a:lnTo>
                    <a:pt x="1870" y="208"/>
                  </a:lnTo>
                  <a:lnTo>
                    <a:pt x="1868" y="216"/>
                  </a:lnTo>
                  <a:lnTo>
                    <a:pt x="1866" y="218"/>
                  </a:lnTo>
                  <a:lnTo>
                    <a:pt x="1866" y="222"/>
                  </a:lnTo>
                  <a:lnTo>
                    <a:pt x="1866" y="226"/>
                  </a:lnTo>
                  <a:lnTo>
                    <a:pt x="1866" y="228"/>
                  </a:lnTo>
                  <a:lnTo>
                    <a:pt x="1866" y="228"/>
                  </a:lnTo>
                  <a:lnTo>
                    <a:pt x="1866" y="228"/>
                  </a:lnTo>
                  <a:lnTo>
                    <a:pt x="1866" y="234"/>
                  </a:lnTo>
                  <a:close/>
                  <a:moveTo>
                    <a:pt x="1914" y="214"/>
                  </a:moveTo>
                  <a:lnTo>
                    <a:pt x="1918" y="212"/>
                  </a:lnTo>
                  <a:lnTo>
                    <a:pt x="1920" y="210"/>
                  </a:lnTo>
                  <a:lnTo>
                    <a:pt x="1920" y="210"/>
                  </a:lnTo>
                  <a:lnTo>
                    <a:pt x="1920" y="210"/>
                  </a:lnTo>
                  <a:lnTo>
                    <a:pt x="1920" y="210"/>
                  </a:lnTo>
                  <a:lnTo>
                    <a:pt x="1920" y="210"/>
                  </a:lnTo>
                  <a:lnTo>
                    <a:pt x="1920" y="212"/>
                  </a:lnTo>
                  <a:lnTo>
                    <a:pt x="1920" y="224"/>
                  </a:lnTo>
                  <a:lnTo>
                    <a:pt x="1920" y="228"/>
                  </a:lnTo>
                  <a:lnTo>
                    <a:pt x="1920" y="232"/>
                  </a:lnTo>
                  <a:lnTo>
                    <a:pt x="1922" y="238"/>
                  </a:lnTo>
                  <a:lnTo>
                    <a:pt x="1922" y="240"/>
                  </a:lnTo>
                  <a:lnTo>
                    <a:pt x="1920" y="236"/>
                  </a:lnTo>
                  <a:lnTo>
                    <a:pt x="1918" y="234"/>
                  </a:lnTo>
                  <a:lnTo>
                    <a:pt x="1918" y="232"/>
                  </a:lnTo>
                  <a:lnTo>
                    <a:pt x="1916" y="228"/>
                  </a:lnTo>
                  <a:lnTo>
                    <a:pt x="1916" y="222"/>
                  </a:lnTo>
                  <a:lnTo>
                    <a:pt x="1916" y="218"/>
                  </a:lnTo>
                  <a:lnTo>
                    <a:pt x="1916" y="218"/>
                  </a:lnTo>
                  <a:lnTo>
                    <a:pt x="1916" y="218"/>
                  </a:lnTo>
                  <a:lnTo>
                    <a:pt x="1914" y="216"/>
                  </a:lnTo>
                  <a:lnTo>
                    <a:pt x="1914" y="216"/>
                  </a:lnTo>
                  <a:lnTo>
                    <a:pt x="1914" y="216"/>
                  </a:lnTo>
                  <a:lnTo>
                    <a:pt x="1914" y="214"/>
                  </a:lnTo>
                  <a:lnTo>
                    <a:pt x="1914" y="214"/>
                  </a:lnTo>
                  <a:lnTo>
                    <a:pt x="1912" y="214"/>
                  </a:lnTo>
                  <a:lnTo>
                    <a:pt x="1912" y="214"/>
                  </a:lnTo>
                  <a:lnTo>
                    <a:pt x="1914" y="214"/>
                  </a:lnTo>
                  <a:close/>
                  <a:moveTo>
                    <a:pt x="2090" y="122"/>
                  </a:moveTo>
                  <a:lnTo>
                    <a:pt x="2090" y="122"/>
                  </a:lnTo>
                  <a:lnTo>
                    <a:pt x="2090" y="124"/>
                  </a:lnTo>
                  <a:lnTo>
                    <a:pt x="2092" y="124"/>
                  </a:lnTo>
                  <a:lnTo>
                    <a:pt x="2092" y="124"/>
                  </a:lnTo>
                  <a:lnTo>
                    <a:pt x="2092" y="124"/>
                  </a:lnTo>
                  <a:lnTo>
                    <a:pt x="2094" y="124"/>
                  </a:lnTo>
                  <a:lnTo>
                    <a:pt x="2096" y="124"/>
                  </a:lnTo>
                  <a:lnTo>
                    <a:pt x="2098" y="124"/>
                  </a:lnTo>
                  <a:lnTo>
                    <a:pt x="2098" y="124"/>
                  </a:lnTo>
                  <a:lnTo>
                    <a:pt x="2100" y="122"/>
                  </a:lnTo>
                  <a:lnTo>
                    <a:pt x="2100" y="122"/>
                  </a:lnTo>
                  <a:lnTo>
                    <a:pt x="2100" y="120"/>
                  </a:lnTo>
                  <a:lnTo>
                    <a:pt x="2100" y="118"/>
                  </a:lnTo>
                  <a:lnTo>
                    <a:pt x="2098" y="118"/>
                  </a:lnTo>
                  <a:lnTo>
                    <a:pt x="2098" y="116"/>
                  </a:lnTo>
                  <a:lnTo>
                    <a:pt x="2098" y="116"/>
                  </a:lnTo>
                  <a:lnTo>
                    <a:pt x="2098" y="116"/>
                  </a:lnTo>
                  <a:lnTo>
                    <a:pt x="2098" y="116"/>
                  </a:lnTo>
                  <a:lnTo>
                    <a:pt x="2098" y="116"/>
                  </a:lnTo>
                  <a:lnTo>
                    <a:pt x="2098" y="114"/>
                  </a:lnTo>
                  <a:lnTo>
                    <a:pt x="2096" y="114"/>
                  </a:lnTo>
                  <a:lnTo>
                    <a:pt x="2094" y="112"/>
                  </a:lnTo>
                  <a:lnTo>
                    <a:pt x="2094" y="112"/>
                  </a:lnTo>
                  <a:lnTo>
                    <a:pt x="2092" y="110"/>
                  </a:lnTo>
                  <a:lnTo>
                    <a:pt x="2092" y="110"/>
                  </a:lnTo>
                  <a:lnTo>
                    <a:pt x="2090" y="112"/>
                  </a:lnTo>
                  <a:lnTo>
                    <a:pt x="2088" y="120"/>
                  </a:lnTo>
                  <a:lnTo>
                    <a:pt x="2088" y="120"/>
                  </a:lnTo>
                  <a:lnTo>
                    <a:pt x="2088" y="122"/>
                  </a:lnTo>
                  <a:lnTo>
                    <a:pt x="2090" y="122"/>
                  </a:lnTo>
                  <a:close/>
                  <a:moveTo>
                    <a:pt x="2004" y="110"/>
                  </a:moveTo>
                  <a:lnTo>
                    <a:pt x="2004" y="110"/>
                  </a:lnTo>
                  <a:lnTo>
                    <a:pt x="2004" y="110"/>
                  </a:lnTo>
                  <a:lnTo>
                    <a:pt x="2006" y="112"/>
                  </a:lnTo>
                  <a:lnTo>
                    <a:pt x="2006" y="112"/>
                  </a:lnTo>
                  <a:lnTo>
                    <a:pt x="2006" y="112"/>
                  </a:lnTo>
                  <a:lnTo>
                    <a:pt x="2008" y="114"/>
                  </a:lnTo>
                  <a:lnTo>
                    <a:pt x="2008" y="114"/>
                  </a:lnTo>
                  <a:lnTo>
                    <a:pt x="2008" y="114"/>
                  </a:lnTo>
                  <a:lnTo>
                    <a:pt x="2008" y="114"/>
                  </a:lnTo>
                  <a:lnTo>
                    <a:pt x="2008" y="116"/>
                  </a:lnTo>
                  <a:lnTo>
                    <a:pt x="2008" y="118"/>
                  </a:lnTo>
                  <a:lnTo>
                    <a:pt x="2008" y="118"/>
                  </a:lnTo>
                  <a:lnTo>
                    <a:pt x="2008" y="118"/>
                  </a:lnTo>
                  <a:lnTo>
                    <a:pt x="2010" y="120"/>
                  </a:lnTo>
                  <a:lnTo>
                    <a:pt x="2010" y="120"/>
                  </a:lnTo>
                  <a:lnTo>
                    <a:pt x="2010" y="120"/>
                  </a:lnTo>
                  <a:lnTo>
                    <a:pt x="2012" y="120"/>
                  </a:lnTo>
                  <a:lnTo>
                    <a:pt x="2012" y="120"/>
                  </a:lnTo>
                  <a:lnTo>
                    <a:pt x="2014" y="120"/>
                  </a:lnTo>
                  <a:lnTo>
                    <a:pt x="2016" y="120"/>
                  </a:lnTo>
                  <a:lnTo>
                    <a:pt x="2016" y="120"/>
                  </a:lnTo>
                  <a:lnTo>
                    <a:pt x="2016" y="120"/>
                  </a:lnTo>
                  <a:lnTo>
                    <a:pt x="2018" y="120"/>
                  </a:lnTo>
                  <a:lnTo>
                    <a:pt x="2020" y="118"/>
                  </a:lnTo>
                  <a:lnTo>
                    <a:pt x="2022" y="116"/>
                  </a:lnTo>
                  <a:lnTo>
                    <a:pt x="2022" y="116"/>
                  </a:lnTo>
                  <a:lnTo>
                    <a:pt x="2024" y="116"/>
                  </a:lnTo>
                  <a:lnTo>
                    <a:pt x="2024" y="112"/>
                  </a:lnTo>
                  <a:lnTo>
                    <a:pt x="2024" y="112"/>
                  </a:lnTo>
                  <a:lnTo>
                    <a:pt x="2024" y="110"/>
                  </a:lnTo>
                  <a:lnTo>
                    <a:pt x="2024" y="108"/>
                  </a:lnTo>
                  <a:lnTo>
                    <a:pt x="2024" y="108"/>
                  </a:lnTo>
                  <a:lnTo>
                    <a:pt x="2024" y="106"/>
                  </a:lnTo>
                  <a:lnTo>
                    <a:pt x="2022" y="104"/>
                  </a:lnTo>
                  <a:lnTo>
                    <a:pt x="2022" y="104"/>
                  </a:lnTo>
                  <a:lnTo>
                    <a:pt x="2022" y="104"/>
                  </a:lnTo>
                  <a:lnTo>
                    <a:pt x="2020" y="104"/>
                  </a:lnTo>
                  <a:lnTo>
                    <a:pt x="2018" y="102"/>
                  </a:lnTo>
                  <a:lnTo>
                    <a:pt x="2018" y="102"/>
                  </a:lnTo>
                  <a:lnTo>
                    <a:pt x="2016" y="102"/>
                  </a:lnTo>
                  <a:lnTo>
                    <a:pt x="2014" y="102"/>
                  </a:lnTo>
                  <a:lnTo>
                    <a:pt x="2012" y="98"/>
                  </a:lnTo>
                  <a:lnTo>
                    <a:pt x="2012" y="98"/>
                  </a:lnTo>
                  <a:lnTo>
                    <a:pt x="2010" y="96"/>
                  </a:lnTo>
                  <a:lnTo>
                    <a:pt x="2010" y="96"/>
                  </a:lnTo>
                  <a:lnTo>
                    <a:pt x="2008" y="98"/>
                  </a:lnTo>
                  <a:lnTo>
                    <a:pt x="2004" y="102"/>
                  </a:lnTo>
                  <a:lnTo>
                    <a:pt x="2004" y="102"/>
                  </a:lnTo>
                  <a:lnTo>
                    <a:pt x="2004" y="102"/>
                  </a:lnTo>
                  <a:lnTo>
                    <a:pt x="2004" y="104"/>
                  </a:lnTo>
                  <a:lnTo>
                    <a:pt x="2004" y="104"/>
                  </a:lnTo>
                  <a:lnTo>
                    <a:pt x="2004" y="104"/>
                  </a:lnTo>
                  <a:lnTo>
                    <a:pt x="2004" y="106"/>
                  </a:lnTo>
                  <a:lnTo>
                    <a:pt x="2004" y="106"/>
                  </a:lnTo>
                  <a:lnTo>
                    <a:pt x="2004" y="106"/>
                  </a:lnTo>
                  <a:lnTo>
                    <a:pt x="2004" y="108"/>
                  </a:lnTo>
                  <a:lnTo>
                    <a:pt x="2004" y="108"/>
                  </a:lnTo>
                  <a:lnTo>
                    <a:pt x="2004" y="110"/>
                  </a:lnTo>
                  <a:lnTo>
                    <a:pt x="2004" y="110"/>
                  </a:lnTo>
                  <a:close/>
                  <a:moveTo>
                    <a:pt x="1866" y="288"/>
                  </a:moveTo>
                  <a:lnTo>
                    <a:pt x="1866" y="296"/>
                  </a:lnTo>
                  <a:lnTo>
                    <a:pt x="1868" y="300"/>
                  </a:lnTo>
                  <a:lnTo>
                    <a:pt x="1868" y="304"/>
                  </a:lnTo>
                  <a:lnTo>
                    <a:pt x="1870" y="310"/>
                  </a:lnTo>
                  <a:lnTo>
                    <a:pt x="1872" y="316"/>
                  </a:lnTo>
                  <a:lnTo>
                    <a:pt x="1874" y="320"/>
                  </a:lnTo>
                  <a:lnTo>
                    <a:pt x="1878" y="326"/>
                  </a:lnTo>
                  <a:lnTo>
                    <a:pt x="1878" y="328"/>
                  </a:lnTo>
                  <a:lnTo>
                    <a:pt x="1880" y="330"/>
                  </a:lnTo>
                  <a:lnTo>
                    <a:pt x="1884" y="336"/>
                  </a:lnTo>
                  <a:lnTo>
                    <a:pt x="1886" y="338"/>
                  </a:lnTo>
                  <a:lnTo>
                    <a:pt x="1888" y="340"/>
                  </a:lnTo>
                  <a:lnTo>
                    <a:pt x="1888" y="340"/>
                  </a:lnTo>
                  <a:lnTo>
                    <a:pt x="1888" y="340"/>
                  </a:lnTo>
                  <a:lnTo>
                    <a:pt x="1890" y="342"/>
                  </a:lnTo>
                  <a:lnTo>
                    <a:pt x="1890" y="342"/>
                  </a:lnTo>
                  <a:lnTo>
                    <a:pt x="1892" y="342"/>
                  </a:lnTo>
                  <a:lnTo>
                    <a:pt x="1892" y="342"/>
                  </a:lnTo>
                  <a:lnTo>
                    <a:pt x="1892" y="342"/>
                  </a:lnTo>
                  <a:lnTo>
                    <a:pt x="1896" y="342"/>
                  </a:lnTo>
                  <a:lnTo>
                    <a:pt x="1896" y="340"/>
                  </a:lnTo>
                  <a:lnTo>
                    <a:pt x="1896" y="340"/>
                  </a:lnTo>
                  <a:lnTo>
                    <a:pt x="1896" y="340"/>
                  </a:lnTo>
                  <a:lnTo>
                    <a:pt x="1898" y="338"/>
                  </a:lnTo>
                  <a:lnTo>
                    <a:pt x="1898" y="338"/>
                  </a:lnTo>
                  <a:lnTo>
                    <a:pt x="1898" y="338"/>
                  </a:lnTo>
                  <a:lnTo>
                    <a:pt x="1898" y="334"/>
                  </a:lnTo>
                  <a:lnTo>
                    <a:pt x="1898" y="332"/>
                  </a:lnTo>
                  <a:lnTo>
                    <a:pt x="1898" y="324"/>
                  </a:lnTo>
                  <a:lnTo>
                    <a:pt x="1898" y="322"/>
                  </a:lnTo>
                  <a:lnTo>
                    <a:pt x="1898" y="320"/>
                  </a:lnTo>
                  <a:lnTo>
                    <a:pt x="1898" y="320"/>
                  </a:lnTo>
                  <a:lnTo>
                    <a:pt x="1896" y="318"/>
                  </a:lnTo>
                  <a:lnTo>
                    <a:pt x="1896" y="316"/>
                  </a:lnTo>
                  <a:lnTo>
                    <a:pt x="1896" y="316"/>
                  </a:lnTo>
                  <a:lnTo>
                    <a:pt x="1896" y="314"/>
                  </a:lnTo>
                  <a:lnTo>
                    <a:pt x="1892" y="312"/>
                  </a:lnTo>
                  <a:lnTo>
                    <a:pt x="1890" y="308"/>
                  </a:lnTo>
                  <a:lnTo>
                    <a:pt x="1888" y="306"/>
                  </a:lnTo>
                  <a:lnTo>
                    <a:pt x="1886" y="302"/>
                  </a:lnTo>
                  <a:lnTo>
                    <a:pt x="1884" y="296"/>
                  </a:lnTo>
                  <a:lnTo>
                    <a:pt x="1882" y="292"/>
                  </a:lnTo>
                  <a:lnTo>
                    <a:pt x="1880" y="288"/>
                  </a:lnTo>
                  <a:lnTo>
                    <a:pt x="1880" y="286"/>
                  </a:lnTo>
                  <a:lnTo>
                    <a:pt x="1878" y="284"/>
                  </a:lnTo>
                  <a:lnTo>
                    <a:pt x="1876" y="278"/>
                  </a:lnTo>
                  <a:lnTo>
                    <a:pt x="1874" y="276"/>
                  </a:lnTo>
                  <a:lnTo>
                    <a:pt x="1872" y="274"/>
                  </a:lnTo>
                  <a:lnTo>
                    <a:pt x="1872" y="274"/>
                  </a:lnTo>
                  <a:lnTo>
                    <a:pt x="1870" y="272"/>
                  </a:lnTo>
                  <a:lnTo>
                    <a:pt x="1870" y="272"/>
                  </a:lnTo>
                  <a:lnTo>
                    <a:pt x="1868" y="272"/>
                  </a:lnTo>
                  <a:lnTo>
                    <a:pt x="1868" y="272"/>
                  </a:lnTo>
                  <a:lnTo>
                    <a:pt x="1868" y="272"/>
                  </a:lnTo>
                  <a:lnTo>
                    <a:pt x="1866" y="274"/>
                  </a:lnTo>
                  <a:lnTo>
                    <a:pt x="1866" y="276"/>
                  </a:lnTo>
                  <a:lnTo>
                    <a:pt x="1866" y="276"/>
                  </a:lnTo>
                  <a:lnTo>
                    <a:pt x="1866" y="278"/>
                  </a:lnTo>
                  <a:lnTo>
                    <a:pt x="1866" y="280"/>
                  </a:lnTo>
                  <a:lnTo>
                    <a:pt x="1866" y="284"/>
                  </a:lnTo>
                  <a:lnTo>
                    <a:pt x="1866" y="288"/>
                  </a:lnTo>
                  <a:close/>
                  <a:moveTo>
                    <a:pt x="3906" y="2372"/>
                  </a:moveTo>
                  <a:lnTo>
                    <a:pt x="3902" y="2372"/>
                  </a:lnTo>
                  <a:lnTo>
                    <a:pt x="3898" y="2372"/>
                  </a:lnTo>
                  <a:lnTo>
                    <a:pt x="3896" y="2372"/>
                  </a:lnTo>
                  <a:lnTo>
                    <a:pt x="3892" y="2372"/>
                  </a:lnTo>
                  <a:lnTo>
                    <a:pt x="3892" y="2372"/>
                  </a:lnTo>
                  <a:lnTo>
                    <a:pt x="3892" y="2372"/>
                  </a:lnTo>
                  <a:lnTo>
                    <a:pt x="3886" y="2374"/>
                  </a:lnTo>
                  <a:lnTo>
                    <a:pt x="3882" y="2378"/>
                  </a:lnTo>
                  <a:lnTo>
                    <a:pt x="3878" y="2380"/>
                  </a:lnTo>
                  <a:lnTo>
                    <a:pt x="3872" y="2384"/>
                  </a:lnTo>
                  <a:lnTo>
                    <a:pt x="3872" y="2382"/>
                  </a:lnTo>
                  <a:lnTo>
                    <a:pt x="3868" y="2384"/>
                  </a:lnTo>
                  <a:lnTo>
                    <a:pt x="3866" y="2386"/>
                  </a:lnTo>
                  <a:lnTo>
                    <a:pt x="3862" y="2386"/>
                  </a:lnTo>
                  <a:lnTo>
                    <a:pt x="3860" y="2386"/>
                  </a:lnTo>
                  <a:lnTo>
                    <a:pt x="3856" y="2384"/>
                  </a:lnTo>
                  <a:lnTo>
                    <a:pt x="3854" y="2384"/>
                  </a:lnTo>
                  <a:lnTo>
                    <a:pt x="3854" y="2384"/>
                  </a:lnTo>
                  <a:lnTo>
                    <a:pt x="3852" y="2382"/>
                  </a:lnTo>
                  <a:lnTo>
                    <a:pt x="3852" y="2382"/>
                  </a:lnTo>
                  <a:lnTo>
                    <a:pt x="3852" y="2382"/>
                  </a:lnTo>
                  <a:lnTo>
                    <a:pt x="3850" y="2380"/>
                  </a:lnTo>
                  <a:lnTo>
                    <a:pt x="3850" y="2376"/>
                  </a:lnTo>
                  <a:lnTo>
                    <a:pt x="3848" y="2372"/>
                  </a:lnTo>
                  <a:lnTo>
                    <a:pt x="3848" y="2370"/>
                  </a:lnTo>
                  <a:lnTo>
                    <a:pt x="3846" y="2368"/>
                  </a:lnTo>
                  <a:lnTo>
                    <a:pt x="3844" y="2366"/>
                  </a:lnTo>
                  <a:lnTo>
                    <a:pt x="3842" y="2362"/>
                  </a:lnTo>
                  <a:lnTo>
                    <a:pt x="3838" y="2360"/>
                  </a:lnTo>
                  <a:lnTo>
                    <a:pt x="3834" y="2356"/>
                  </a:lnTo>
                  <a:lnTo>
                    <a:pt x="3828" y="2354"/>
                  </a:lnTo>
                  <a:lnTo>
                    <a:pt x="3824" y="2354"/>
                  </a:lnTo>
                  <a:lnTo>
                    <a:pt x="3814" y="2350"/>
                  </a:lnTo>
                  <a:lnTo>
                    <a:pt x="3804" y="2350"/>
                  </a:lnTo>
                  <a:lnTo>
                    <a:pt x="3794" y="2348"/>
                  </a:lnTo>
                  <a:lnTo>
                    <a:pt x="3784" y="2348"/>
                  </a:lnTo>
                  <a:lnTo>
                    <a:pt x="3774" y="2346"/>
                  </a:lnTo>
                  <a:lnTo>
                    <a:pt x="3768" y="2346"/>
                  </a:lnTo>
                  <a:lnTo>
                    <a:pt x="3768" y="2346"/>
                  </a:lnTo>
                  <a:lnTo>
                    <a:pt x="3766" y="2344"/>
                  </a:lnTo>
                  <a:lnTo>
                    <a:pt x="3762" y="2342"/>
                  </a:lnTo>
                  <a:lnTo>
                    <a:pt x="3760" y="2342"/>
                  </a:lnTo>
                  <a:lnTo>
                    <a:pt x="3758" y="2342"/>
                  </a:lnTo>
                  <a:lnTo>
                    <a:pt x="3756" y="2340"/>
                  </a:lnTo>
                  <a:lnTo>
                    <a:pt x="3756" y="2340"/>
                  </a:lnTo>
                  <a:lnTo>
                    <a:pt x="3750" y="2336"/>
                  </a:lnTo>
                  <a:lnTo>
                    <a:pt x="3746" y="2334"/>
                  </a:lnTo>
                  <a:lnTo>
                    <a:pt x="3742" y="2330"/>
                  </a:lnTo>
                  <a:lnTo>
                    <a:pt x="3738" y="2328"/>
                  </a:lnTo>
                  <a:lnTo>
                    <a:pt x="3734" y="2326"/>
                  </a:lnTo>
                  <a:lnTo>
                    <a:pt x="3728" y="2324"/>
                  </a:lnTo>
                  <a:lnTo>
                    <a:pt x="3724" y="2322"/>
                  </a:lnTo>
                  <a:lnTo>
                    <a:pt x="3716" y="2322"/>
                  </a:lnTo>
                  <a:lnTo>
                    <a:pt x="3718" y="2322"/>
                  </a:lnTo>
                  <a:lnTo>
                    <a:pt x="3712" y="2318"/>
                  </a:lnTo>
                  <a:lnTo>
                    <a:pt x="3706" y="2316"/>
                  </a:lnTo>
                  <a:lnTo>
                    <a:pt x="3702" y="2314"/>
                  </a:lnTo>
                  <a:lnTo>
                    <a:pt x="3700" y="2312"/>
                  </a:lnTo>
                  <a:lnTo>
                    <a:pt x="3696" y="2308"/>
                  </a:lnTo>
                  <a:lnTo>
                    <a:pt x="3692" y="2306"/>
                  </a:lnTo>
                  <a:lnTo>
                    <a:pt x="3690" y="2302"/>
                  </a:lnTo>
                  <a:lnTo>
                    <a:pt x="3686" y="2298"/>
                  </a:lnTo>
                  <a:lnTo>
                    <a:pt x="3682" y="2290"/>
                  </a:lnTo>
                  <a:lnTo>
                    <a:pt x="3676" y="2282"/>
                  </a:lnTo>
                  <a:lnTo>
                    <a:pt x="3670" y="2272"/>
                  </a:lnTo>
                  <a:lnTo>
                    <a:pt x="3666" y="2264"/>
                  </a:lnTo>
                  <a:lnTo>
                    <a:pt x="3664" y="2254"/>
                  </a:lnTo>
                  <a:lnTo>
                    <a:pt x="3660" y="2244"/>
                  </a:lnTo>
                  <a:lnTo>
                    <a:pt x="3660" y="2236"/>
                  </a:lnTo>
                  <a:lnTo>
                    <a:pt x="3658" y="2230"/>
                  </a:lnTo>
                  <a:lnTo>
                    <a:pt x="3660" y="2226"/>
                  </a:lnTo>
                  <a:lnTo>
                    <a:pt x="3660" y="2226"/>
                  </a:lnTo>
                  <a:lnTo>
                    <a:pt x="3658" y="2224"/>
                  </a:lnTo>
                  <a:lnTo>
                    <a:pt x="3658" y="2224"/>
                  </a:lnTo>
                  <a:lnTo>
                    <a:pt x="3656" y="2224"/>
                  </a:lnTo>
                  <a:lnTo>
                    <a:pt x="3652" y="2224"/>
                  </a:lnTo>
                  <a:lnTo>
                    <a:pt x="3652" y="2224"/>
                  </a:lnTo>
                  <a:lnTo>
                    <a:pt x="3652" y="2224"/>
                  </a:lnTo>
                  <a:lnTo>
                    <a:pt x="3650" y="2226"/>
                  </a:lnTo>
                  <a:lnTo>
                    <a:pt x="3650" y="2226"/>
                  </a:lnTo>
                  <a:lnTo>
                    <a:pt x="3650" y="2228"/>
                  </a:lnTo>
                  <a:lnTo>
                    <a:pt x="3648" y="2230"/>
                  </a:lnTo>
                  <a:lnTo>
                    <a:pt x="3648" y="2230"/>
                  </a:lnTo>
                  <a:lnTo>
                    <a:pt x="3648" y="2230"/>
                  </a:lnTo>
                  <a:lnTo>
                    <a:pt x="3646" y="2232"/>
                  </a:lnTo>
                  <a:lnTo>
                    <a:pt x="3646" y="2232"/>
                  </a:lnTo>
                  <a:lnTo>
                    <a:pt x="3646" y="2232"/>
                  </a:lnTo>
                  <a:lnTo>
                    <a:pt x="3644" y="2236"/>
                  </a:lnTo>
                  <a:lnTo>
                    <a:pt x="3644" y="2236"/>
                  </a:lnTo>
                  <a:lnTo>
                    <a:pt x="3644" y="2240"/>
                  </a:lnTo>
                  <a:lnTo>
                    <a:pt x="3644" y="2242"/>
                  </a:lnTo>
                  <a:lnTo>
                    <a:pt x="3644" y="2242"/>
                  </a:lnTo>
                  <a:lnTo>
                    <a:pt x="3638" y="2238"/>
                  </a:lnTo>
                  <a:lnTo>
                    <a:pt x="3624" y="2232"/>
                  </a:lnTo>
                  <a:lnTo>
                    <a:pt x="3618" y="2228"/>
                  </a:lnTo>
                  <a:lnTo>
                    <a:pt x="3610" y="2224"/>
                  </a:lnTo>
                  <a:lnTo>
                    <a:pt x="3602" y="2222"/>
                  </a:lnTo>
                  <a:lnTo>
                    <a:pt x="3598" y="2222"/>
                  </a:lnTo>
                  <a:lnTo>
                    <a:pt x="3598" y="2222"/>
                  </a:lnTo>
                  <a:lnTo>
                    <a:pt x="3598" y="2222"/>
                  </a:lnTo>
                  <a:lnTo>
                    <a:pt x="3598" y="2220"/>
                  </a:lnTo>
                  <a:lnTo>
                    <a:pt x="3600" y="2216"/>
                  </a:lnTo>
                  <a:lnTo>
                    <a:pt x="3602" y="2212"/>
                  </a:lnTo>
                  <a:lnTo>
                    <a:pt x="3602" y="2206"/>
                  </a:lnTo>
                  <a:lnTo>
                    <a:pt x="3602" y="2202"/>
                  </a:lnTo>
                  <a:lnTo>
                    <a:pt x="3602" y="2196"/>
                  </a:lnTo>
                  <a:lnTo>
                    <a:pt x="3600" y="2188"/>
                  </a:lnTo>
                  <a:lnTo>
                    <a:pt x="3600" y="2178"/>
                  </a:lnTo>
                  <a:lnTo>
                    <a:pt x="3600" y="2174"/>
                  </a:lnTo>
                  <a:lnTo>
                    <a:pt x="3600" y="2170"/>
                  </a:lnTo>
                  <a:lnTo>
                    <a:pt x="3602" y="2166"/>
                  </a:lnTo>
                  <a:lnTo>
                    <a:pt x="3602" y="2162"/>
                  </a:lnTo>
                  <a:lnTo>
                    <a:pt x="3604" y="2160"/>
                  </a:lnTo>
                  <a:lnTo>
                    <a:pt x="3604" y="2160"/>
                  </a:lnTo>
                  <a:lnTo>
                    <a:pt x="3608" y="2156"/>
                  </a:lnTo>
                  <a:lnTo>
                    <a:pt x="3608" y="2156"/>
                  </a:lnTo>
                  <a:lnTo>
                    <a:pt x="3608" y="2152"/>
                  </a:lnTo>
                  <a:lnTo>
                    <a:pt x="3606" y="2150"/>
                  </a:lnTo>
                  <a:lnTo>
                    <a:pt x="3606" y="2148"/>
                  </a:lnTo>
                  <a:lnTo>
                    <a:pt x="3606" y="2148"/>
                  </a:lnTo>
                  <a:lnTo>
                    <a:pt x="3604" y="2144"/>
                  </a:lnTo>
                  <a:lnTo>
                    <a:pt x="3604" y="2144"/>
                  </a:lnTo>
                  <a:lnTo>
                    <a:pt x="3604" y="2140"/>
                  </a:lnTo>
                  <a:lnTo>
                    <a:pt x="3604" y="2138"/>
                  </a:lnTo>
                  <a:lnTo>
                    <a:pt x="3606" y="2138"/>
                  </a:lnTo>
                  <a:lnTo>
                    <a:pt x="3610" y="2136"/>
                  </a:lnTo>
                  <a:lnTo>
                    <a:pt x="3610" y="2136"/>
                  </a:lnTo>
                  <a:lnTo>
                    <a:pt x="3612" y="2136"/>
                  </a:lnTo>
                  <a:lnTo>
                    <a:pt x="3614" y="2136"/>
                  </a:lnTo>
                  <a:lnTo>
                    <a:pt x="3614" y="2136"/>
                  </a:lnTo>
                  <a:lnTo>
                    <a:pt x="3614" y="2134"/>
                  </a:lnTo>
                  <a:lnTo>
                    <a:pt x="3616" y="2134"/>
                  </a:lnTo>
                  <a:lnTo>
                    <a:pt x="3616" y="2134"/>
                  </a:lnTo>
                  <a:lnTo>
                    <a:pt x="3618" y="2132"/>
                  </a:lnTo>
                  <a:lnTo>
                    <a:pt x="3620" y="2130"/>
                  </a:lnTo>
                  <a:lnTo>
                    <a:pt x="3620" y="2130"/>
                  </a:lnTo>
                  <a:lnTo>
                    <a:pt x="3620" y="2130"/>
                  </a:lnTo>
                  <a:lnTo>
                    <a:pt x="3620" y="2128"/>
                  </a:lnTo>
                  <a:lnTo>
                    <a:pt x="3620" y="2128"/>
                  </a:lnTo>
                  <a:lnTo>
                    <a:pt x="3620" y="2128"/>
                  </a:lnTo>
                  <a:lnTo>
                    <a:pt x="3622" y="2126"/>
                  </a:lnTo>
                  <a:lnTo>
                    <a:pt x="3622" y="2124"/>
                  </a:lnTo>
                  <a:lnTo>
                    <a:pt x="3622" y="2122"/>
                  </a:lnTo>
                  <a:lnTo>
                    <a:pt x="3622" y="2116"/>
                  </a:lnTo>
                  <a:lnTo>
                    <a:pt x="3620" y="2110"/>
                  </a:lnTo>
                  <a:lnTo>
                    <a:pt x="3620" y="2104"/>
                  </a:lnTo>
                  <a:lnTo>
                    <a:pt x="3620" y="2102"/>
                  </a:lnTo>
                  <a:lnTo>
                    <a:pt x="3622" y="2098"/>
                  </a:lnTo>
                  <a:lnTo>
                    <a:pt x="3622" y="2096"/>
                  </a:lnTo>
                  <a:lnTo>
                    <a:pt x="3622" y="2096"/>
                  </a:lnTo>
                  <a:lnTo>
                    <a:pt x="3622" y="2094"/>
                  </a:lnTo>
                  <a:lnTo>
                    <a:pt x="3630" y="2086"/>
                  </a:lnTo>
                  <a:lnTo>
                    <a:pt x="3630" y="2082"/>
                  </a:lnTo>
                  <a:lnTo>
                    <a:pt x="3632" y="2080"/>
                  </a:lnTo>
                  <a:lnTo>
                    <a:pt x="3632" y="2080"/>
                  </a:lnTo>
                  <a:lnTo>
                    <a:pt x="3632" y="2080"/>
                  </a:lnTo>
                  <a:lnTo>
                    <a:pt x="3632" y="2078"/>
                  </a:lnTo>
                  <a:lnTo>
                    <a:pt x="3632" y="2074"/>
                  </a:lnTo>
                  <a:lnTo>
                    <a:pt x="3632" y="2066"/>
                  </a:lnTo>
                  <a:lnTo>
                    <a:pt x="3630" y="2060"/>
                  </a:lnTo>
                  <a:lnTo>
                    <a:pt x="3630" y="2056"/>
                  </a:lnTo>
                  <a:lnTo>
                    <a:pt x="3630" y="2054"/>
                  </a:lnTo>
                  <a:lnTo>
                    <a:pt x="3630" y="2054"/>
                  </a:lnTo>
                  <a:lnTo>
                    <a:pt x="3630" y="2052"/>
                  </a:lnTo>
                  <a:lnTo>
                    <a:pt x="3628" y="2050"/>
                  </a:lnTo>
                  <a:lnTo>
                    <a:pt x="3624" y="2050"/>
                  </a:lnTo>
                  <a:lnTo>
                    <a:pt x="3622" y="2050"/>
                  </a:lnTo>
                  <a:lnTo>
                    <a:pt x="3622" y="2050"/>
                  </a:lnTo>
                  <a:lnTo>
                    <a:pt x="3616" y="2050"/>
                  </a:lnTo>
                  <a:lnTo>
                    <a:pt x="3616" y="2050"/>
                  </a:lnTo>
                  <a:lnTo>
                    <a:pt x="3616" y="2050"/>
                  </a:lnTo>
                  <a:lnTo>
                    <a:pt x="3610" y="2052"/>
                  </a:lnTo>
                  <a:lnTo>
                    <a:pt x="3606" y="2054"/>
                  </a:lnTo>
                  <a:lnTo>
                    <a:pt x="3602" y="2054"/>
                  </a:lnTo>
                  <a:lnTo>
                    <a:pt x="3596" y="2056"/>
                  </a:lnTo>
                  <a:lnTo>
                    <a:pt x="3596" y="2056"/>
                  </a:lnTo>
                  <a:lnTo>
                    <a:pt x="3592" y="2056"/>
                  </a:lnTo>
                  <a:lnTo>
                    <a:pt x="3590" y="2056"/>
                  </a:lnTo>
                  <a:lnTo>
                    <a:pt x="3590" y="2056"/>
                  </a:lnTo>
                  <a:lnTo>
                    <a:pt x="3592" y="2054"/>
                  </a:lnTo>
                  <a:lnTo>
                    <a:pt x="3594" y="2052"/>
                  </a:lnTo>
                  <a:lnTo>
                    <a:pt x="3596" y="2050"/>
                  </a:lnTo>
                  <a:lnTo>
                    <a:pt x="3596" y="2050"/>
                  </a:lnTo>
                  <a:lnTo>
                    <a:pt x="3598" y="2050"/>
                  </a:lnTo>
                  <a:lnTo>
                    <a:pt x="3602" y="2048"/>
                  </a:lnTo>
                  <a:lnTo>
                    <a:pt x="3608" y="2048"/>
                  </a:lnTo>
                  <a:lnTo>
                    <a:pt x="3608" y="2048"/>
                  </a:lnTo>
                  <a:lnTo>
                    <a:pt x="3610" y="2046"/>
                  </a:lnTo>
                  <a:lnTo>
                    <a:pt x="3610" y="2046"/>
                  </a:lnTo>
                  <a:lnTo>
                    <a:pt x="3610" y="2044"/>
                  </a:lnTo>
                  <a:lnTo>
                    <a:pt x="3606" y="2038"/>
                  </a:lnTo>
                  <a:lnTo>
                    <a:pt x="3602" y="2034"/>
                  </a:lnTo>
                  <a:lnTo>
                    <a:pt x="3596" y="2030"/>
                  </a:lnTo>
                  <a:lnTo>
                    <a:pt x="3590" y="2026"/>
                  </a:lnTo>
                  <a:lnTo>
                    <a:pt x="3576" y="2018"/>
                  </a:lnTo>
                  <a:lnTo>
                    <a:pt x="3570" y="2016"/>
                  </a:lnTo>
                  <a:lnTo>
                    <a:pt x="3564" y="2012"/>
                  </a:lnTo>
                  <a:lnTo>
                    <a:pt x="3560" y="2010"/>
                  </a:lnTo>
                  <a:lnTo>
                    <a:pt x="3556" y="2008"/>
                  </a:lnTo>
                  <a:lnTo>
                    <a:pt x="3554" y="2008"/>
                  </a:lnTo>
                  <a:lnTo>
                    <a:pt x="3550" y="2006"/>
                  </a:lnTo>
                  <a:lnTo>
                    <a:pt x="3544" y="2004"/>
                  </a:lnTo>
                  <a:lnTo>
                    <a:pt x="3542" y="2004"/>
                  </a:lnTo>
                  <a:lnTo>
                    <a:pt x="3536" y="2004"/>
                  </a:lnTo>
                  <a:lnTo>
                    <a:pt x="3530" y="2006"/>
                  </a:lnTo>
                  <a:lnTo>
                    <a:pt x="3522" y="2006"/>
                  </a:lnTo>
                  <a:lnTo>
                    <a:pt x="3516" y="2008"/>
                  </a:lnTo>
                  <a:lnTo>
                    <a:pt x="3508" y="2010"/>
                  </a:lnTo>
                  <a:lnTo>
                    <a:pt x="3508" y="2010"/>
                  </a:lnTo>
                  <a:lnTo>
                    <a:pt x="3506" y="2014"/>
                  </a:lnTo>
                  <a:lnTo>
                    <a:pt x="3506" y="2016"/>
                  </a:lnTo>
                  <a:lnTo>
                    <a:pt x="3504" y="2016"/>
                  </a:lnTo>
                  <a:lnTo>
                    <a:pt x="3498" y="2010"/>
                  </a:lnTo>
                  <a:lnTo>
                    <a:pt x="3492" y="2002"/>
                  </a:lnTo>
                  <a:lnTo>
                    <a:pt x="3486" y="1996"/>
                  </a:lnTo>
                  <a:lnTo>
                    <a:pt x="3482" y="1994"/>
                  </a:lnTo>
                  <a:lnTo>
                    <a:pt x="3478" y="1992"/>
                  </a:lnTo>
                  <a:lnTo>
                    <a:pt x="3474" y="1990"/>
                  </a:lnTo>
                  <a:lnTo>
                    <a:pt x="3474" y="1990"/>
                  </a:lnTo>
                  <a:lnTo>
                    <a:pt x="3474" y="1990"/>
                  </a:lnTo>
                  <a:lnTo>
                    <a:pt x="3470" y="1990"/>
                  </a:lnTo>
                  <a:lnTo>
                    <a:pt x="3470" y="1990"/>
                  </a:lnTo>
                  <a:lnTo>
                    <a:pt x="3470" y="1990"/>
                  </a:lnTo>
                  <a:lnTo>
                    <a:pt x="3466" y="1990"/>
                  </a:lnTo>
                  <a:lnTo>
                    <a:pt x="3466" y="1990"/>
                  </a:lnTo>
                  <a:lnTo>
                    <a:pt x="3462" y="1990"/>
                  </a:lnTo>
                  <a:lnTo>
                    <a:pt x="3462" y="1990"/>
                  </a:lnTo>
                  <a:lnTo>
                    <a:pt x="3462" y="1990"/>
                  </a:lnTo>
                  <a:lnTo>
                    <a:pt x="3458" y="1992"/>
                  </a:lnTo>
                  <a:lnTo>
                    <a:pt x="3458" y="1992"/>
                  </a:lnTo>
                  <a:lnTo>
                    <a:pt x="3458" y="1992"/>
                  </a:lnTo>
                  <a:lnTo>
                    <a:pt x="3458" y="1988"/>
                  </a:lnTo>
                  <a:lnTo>
                    <a:pt x="3456" y="1982"/>
                  </a:lnTo>
                  <a:lnTo>
                    <a:pt x="3456" y="1974"/>
                  </a:lnTo>
                  <a:lnTo>
                    <a:pt x="3456" y="1968"/>
                  </a:lnTo>
                  <a:lnTo>
                    <a:pt x="3454" y="1960"/>
                  </a:lnTo>
                  <a:lnTo>
                    <a:pt x="3454" y="1952"/>
                  </a:lnTo>
                  <a:lnTo>
                    <a:pt x="3452" y="1946"/>
                  </a:lnTo>
                  <a:lnTo>
                    <a:pt x="3452" y="1946"/>
                  </a:lnTo>
                  <a:lnTo>
                    <a:pt x="3452" y="1946"/>
                  </a:lnTo>
                  <a:lnTo>
                    <a:pt x="3448" y="1940"/>
                  </a:lnTo>
                  <a:lnTo>
                    <a:pt x="3448" y="1940"/>
                  </a:lnTo>
                  <a:lnTo>
                    <a:pt x="3446" y="1938"/>
                  </a:lnTo>
                  <a:lnTo>
                    <a:pt x="3442" y="1938"/>
                  </a:lnTo>
                  <a:lnTo>
                    <a:pt x="3438" y="1936"/>
                  </a:lnTo>
                  <a:lnTo>
                    <a:pt x="3434" y="1934"/>
                  </a:lnTo>
                  <a:lnTo>
                    <a:pt x="3432" y="1932"/>
                  </a:lnTo>
                  <a:lnTo>
                    <a:pt x="3432" y="1930"/>
                  </a:lnTo>
                  <a:lnTo>
                    <a:pt x="3430" y="1926"/>
                  </a:lnTo>
                  <a:lnTo>
                    <a:pt x="3430" y="1922"/>
                  </a:lnTo>
                  <a:lnTo>
                    <a:pt x="3428" y="1918"/>
                  </a:lnTo>
                  <a:lnTo>
                    <a:pt x="3430" y="1908"/>
                  </a:lnTo>
                  <a:lnTo>
                    <a:pt x="3430" y="1898"/>
                  </a:lnTo>
                  <a:lnTo>
                    <a:pt x="3430" y="1894"/>
                  </a:lnTo>
                  <a:lnTo>
                    <a:pt x="3430" y="1888"/>
                  </a:lnTo>
                  <a:lnTo>
                    <a:pt x="3430" y="1884"/>
                  </a:lnTo>
                  <a:lnTo>
                    <a:pt x="3430" y="1882"/>
                  </a:lnTo>
                  <a:lnTo>
                    <a:pt x="3430" y="1882"/>
                  </a:lnTo>
                  <a:lnTo>
                    <a:pt x="3428" y="1880"/>
                  </a:lnTo>
                  <a:lnTo>
                    <a:pt x="3428" y="1878"/>
                  </a:lnTo>
                  <a:lnTo>
                    <a:pt x="3424" y="1878"/>
                  </a:lnTo>
                  <a:lnTo>
                    <a:pt x="3424" y="1876"/>
                  </a:lnTo>
                  <a:lnTo>
                    <a:pt x="3422" y="1872"/>
                  </a:lnTo>
                  <a:lnTo>
                    <a:pt x="3422" y="1868"/>
                  </a:lnTo>
                  <a:lnTo>
                    <a:pt x="3420" y="1866"/>
                  </a:lnTo>
                  <a:lnTo>
                    <a:pt x="3420" y="1864"/>
                  </a:lnTo>
                  <a:lnTo>
                    <a:pt x="3420" y="1862"/>
                  </a:lnTo>
                  <a:lnTo>
                    <a:pt x="3422" y="1862"/>
                  </a:lnTo>
                  <a:lnTo>
                    <a:pt x="3422" y="1862"/>
                  </a:lnTo>
                  <a:lnTo>
                    <a:pt x="3422" y="1862"/>
                  </a:lnTo>
                  <a:lnTo>
                    <a:pt x="3424" y="1862"/>
                  </a:lnTo>
                  <a:lnTo>
                    <a:pt x="3428" y="1862"/>
                  </a:lnTo>
                  <a:lnTo>
                    <a:pt x="3428" y="1862"/>
                  </a:lnTo>
                  <a:lnTo>
                    <a:pt x="3432" y="1862"/>
                  </a:lnTo>
                  <a:lnTo>
                    <a:pt x="3438" y="1864"/>
                  </a:lnTo>
                  <a:lnTo>
                    <a:pt x="3446" y="1866"/>
                  </a:lnTo>
                  <a:lnTo>
                    <a:pt x="3452" y="1870"/>
                  </a:lnTo>
                  <a:lnTo>
                    <a:pt x="3458" y="1872"/>
                  </a:lnTo>
                  <a:lnTo>
                    <a:pt x="3464" y="1874"/>
                  </a:lnTo>
                  <a:lnTo>
                    <a:pt x="3470" y="1876"/>
                  </a:lnTo>
                  <a:lnTo>
                    <a:pt x="3476" y="1878"/>
                  </a:lnTo>
                  <a:lnTo>
                    <a:pt x="3476" y="1878"/>
                  </a:lnTo>
                  <a:lnTo>
                    <a:pt x="3476" y="1878"/>
                  </a:lnTo>
                  <a:lnTo>
                    <a:pt x="3480" y="1878"/>
                  </a:lnTo>
                  <a:lnTo>
                    <a:pt x="3480" y="1878"/>
                  </a:lnTo>
                  <a:lnTo>
                    <a:pt x="3480" y="1878"/>
                  </a:lnTo>
                  <a:lnTo>
                    <a:pt x="3482" y="1878"/>
                  </a:lnTo>
                  <a:lnTo>
                    <a:pt x="3482" y="1878"/>
                  </a:lnTo>
                  <a:lnTo>
                    <a:pt x="3482" y="1876"/>
                  </a:lnTo>
                  <a:lnTo>
                    <a:pt x="3484" y="1876"/>
                  </a:lnTo>
                  <a:lnTo>
                    <a:pt x="3484" y="1876"/>
                  </a:lnTo>
                  <a:lnTo>
                    <a:pt x="3484" y="1874"/>
                  </a:lnTo>
                  <a:lnTo>
                    <a:pt x="3486" y="1870"/>
                  </a:lnTo>
                  <a:lnTo>
                    <a:pt x="3486" y="1870"/>
                  </a:lnTo>
                  <a:lnTo>
                    <a:pt x="3488" y="1870"/>
                  </a:lnTo>
                  <a:lnTo>
                    <a:pt x="3488" y="1866"/>
                  </a:lnTo>
                  <a:lnTo>
                    <a:pt x="3488" y="1866"/>
                  </a:lnTo>
                  <a:lnTo>
                    <a:pt x="3488" y="1866"/>
                  </a:lnTo>
                  <a:lnTo>
                    <a:pt x="3488" y="1862"/>
                  </a:lnTo>
                  <a:lnTo>
                    <a:pt x="3488" y="1862"/>
                  </a:lnTo>
                  <a:lnTo>
                    <a:pt x="3488" y="1862"/>
                  </a:lnTo>
                  <a:lnTo>
                    <a:pt x="3488" y="1858"/>
                  </a:lnTo>
                  <a:lnTo>
                    <a:pt x="3488" y="1858"/>
                  </a:lnTo>
                  <a:lnTo>
                    <a:pt x="3488" y="1856"/>
                  </a:lnTo>
                  <a:lnTo>
                    <a:pt x="3486" y="1852"/>
                  </a:lnTo>
                  <a:lnTo>
                    <a:pt x="3484" y="1848"/>
                  </a:lnTo>
                  <a:lnTo>
                    <a:pt x="3482" y="1844"/>
                  </a:lnTo>
                  <a:lnTo>
                    <a:pt x="3480" y="1840"/>
                  </a:lnTo>
                  <a:lnTo>
                    <a:pt x="3474" y="1834"/>
                  </a:lnTo>
                  <a:lnTo>
                    <a:pt x="3468" y="1826"/>
                  </a:lnTo>
                  <a:lnTo>
                    <a:pt x="3464" y="1824"/>
                  </a:lnTo>
                  <a:lnTo>
                    <a:pt x="3462" y="1820"/>
                  </a:lnTo>
                  <a:lnTo>
                    <a:pt x="3460" y="1818"/>
                  </a:lnTo>
                  <a:lnTo>
                    <a:pt x="3460" y="1818"/>
                  </a:lnTo>
                  <a:lnTo>
                    <a:pt x="3460" y="1816"/>
                  </a:lnTo>
                  <a:lnTo>
                    <a:pt x="3466" y="1816"/>
                  </a:lnTo>
                  <a:lnTo>
                    <a:pt x="3472" y="1814"/>
                  </a:lnTo>
                  <a:lnTo>
                    <a:pt x="3476" y="1812"/>
                  </a:lnTo>
                  <a:lnTo>
                    <a:pt x="3476" y="1812"/>
                  </a:lnTo>
                  <a:lnTo>
                    <a:pt x="3478" y="1812"/>
                  </a:lnTo>
                  <a:lnTo>
                    <a:pt x="3480" y="1810"/>
                  </a:lnTo>
                  <a:lnTo>
                    <a:pt x="3478" y="1802"/>
                  </a:lnTo>
                  <a:lnTo>
                    <a:pt x="3478" y="1796"/>
                  </a:lnTo>
                  <a:lnTo>
                    <a:pt x="3478" y="1790"/>
                  </a:lnTo>
                  <a:lnTo>
                    <a:pt x="3478" y="1786"/>
                  </a:lnTo>
                  <a:lnTo>
                    <a:pt x="3478" y="1786"/>
                  </a:lnTo>
                  <a:lnTo>
                    <a:pt x="3478" y="1786"/>
                  </a:lnTo>
                  <a:lnTo>
                    <a:pt x="3478" y="1784"/>
                  </a:lnTo>
                  <a:lnTo>
                    <a:pt x="3480" y="1784"/>
                  </a:lnTo>
                  <a:lnTo>
                    <a:pt x="3480" y="1784"/>
                  </a:lnTo>
                  <a:lnTo>
                    <a:pt x="3480" y="1784"/>
                  </a:lnTo>
                  <a:lnTo>
                    <a:pt x="3482" y="1782"/>
                  </a:lnTo>
                  <a:lnTo>
                    <a:pt x="3482" y="1782"/>
                  </a:lnTo>
                  <a:lnTo>
                    <a:pt x="3482" y="1782"/>
                  </a:lnTo>
                  <a:lnTo>
                    <a:pt x="3482" y="1780"/>
                  </a:lnTo>
                  <a:lnTo>
                    <a:pt x="3482" y="1780"/>
                  </a:lnTo>
                  <a:lnTo>
                    <a:pt x="3482" y="1780"/>
                  </a:lnTo>
                  <a:lnTo>
                    <a:pt x="3482" y="1776"/>
                  </a:lnTo>
                  <a:lnTo>
                    <a:pt x="3482" y="1776"/>
                  </a:lnTo>
                  <a:lnTo>
                    <a:pt x="3482" y="1772"/>
                  </a:lnTo>
                  <a:lnTo>
                    <a:pt x="3482" y="1770"/>
                  </a:lnTo>
                  <a:lnTo>
                    <a:pt x="3482" y="1768"/>
                  </a:lnTo>
                  <a:lnTo>
                    <a:pt x="3482" y="1768"/>
                  </a:lnTo>
                  <a:lnTo>
                    <a:pt x="3482" y="1768"/>
                  </a:lnTo>
                  <a:lnTo>
                    <a:pt x="3484" y="1766"/>
                  </a:lnTo>
                  <a:lnTo>
                    <a:pt x="3484" y="1766"/>
                  </a:lnTo>
                  <a:lnTo>
                    <a:pt x="3486" y="1766"/>
                  </a:lnTo>
                  <a:lnTo>
                    <a:pt x="3486" y="1766"/>
                  </a:lnTo>
                  <a:lnTo>
                    <a:pt x="3486" y="1764"/>
                  </a:lnTo>
                  <a:lnTo>
                    <a:pt x="3488" y="1760"/>
                  </a:lnTo>
                  <a:lnTo>
                    <a:pt x="3488" y="1758"/>
                  </a:lnTo>
                  <a:lnTo>
                    <a:pt x="3488" y="1756"/>
                  </a:lnTo>
                  <a:lnTo>
                    <a:pt x="3488" y="1756"/>
                  </a:lnTo>
                  <a:lnTo>
                    <a:pt x="3488" y="1756"/>
                  </a:lnTo>
                  <a:lnTo>
                    <a:pt x="3490" y="1756"/>
                  </a:lnTo>
                  <a:lnTo>
                    <a:pt x="3494" y="1754"/>
                  </a:lnTo>
                  <a:lnTo>
                    <a:pt x="3494" y="1754"/>
                  </a:lnTo>
                  <a:lnTo>
                    <a:pt x="3496" y="1754"/>
                  </a:lnTo>
                  <a:lnTo>
                    <a:pt x="3496" y="1752"/>
                  </a:lnTo>
                  <a:lnTo>
                    <a:pt x="3496" y="1746"/>
                  </a:lnTo>
                  <a:lnTo>
                    <a:pt x="3496" y="1740"/>
                  </a:lnTo>
                  <a:lnTo>
                    <a:pt x="3494" y="1732"/>
                  </a:lnTo>
                  <a:lnTo>
                    <a:pt x="3494" y="1726"/>
                  </a:lnTo>
                  <a:lnTo>
                    <a:pt x="3494" y="1720"/>
                  </a:lnTo>
                  <a:lnTo>
                    <a:pt x="3494" y="1718"/>
                  </a:lnTo>
                  <a:lnTo>
                    <a:pt x="3494" y="1716"/>
                  </a:lnTo>
                  <a:lnTo>
                    <a:pt x="3496" y="1712"/>
                  </a:lnTo>
                  <a:lnTo>
                    <a:pt x="3496" y="1714"/>
                  </a:lnTo>
                  <a:lnTo>
                    <a:pt x="3498" y="1710"/>
                  </a:lnTo>
                  <a:lnTo>
                    <a:pt x="3498" y="1710"/>
                  </a:lnTo>
                  <a:lnTo>
                    <a:pt x="3500" y="1708"/>
                  </a:lnTo>
                  <a:lnTo>
                    <a:pt x="3502" y="1706"/>
                  </a:lnTo>
                  <a:lnTo>
                    <a:pt x="3504" y="1706"/>
                  </a:lnTo>
                  <a:lnTo>
                    <a:pt x="3506" y="1706"/>
                  </a:lnTo>
                  <a:lnTo>
                    <a:pt x="3508" y="1706"/>
                  </a:lnTo>
                  <a:lnTo>
                    <a:pt x="3512" y="1706"/>
                  </a:lnTo>
                  <a:lnTo>
                    <a:pt x="3518" y="1708"/>
                  </a:lnTo>
                  <a:lnTo>
                    <a:pt x="3522" y="1708"/>
                  </a:lnTo>
                  <a:lnTo>
                    <a:pt x="3528" y="1710"/>
                  </a:lnTo>
                  <a:lnTo>
                    <a:pt x="3530" y="1710"/>
                  </a:lnTo>
                  <a:lnTo>
                    <a:pt x="3534" y="1710"/>
                  </a:lnTo>
                  <a:lnTo>
                    <a:pt x="3536" y="1708"/>
                  </a:lnTo>
                  <a:lnTo>
                    <a:pt x="3536" y="1708"/>
                  </a:lnTo>
                  <a:lnTo>
                    <a:pt x="3536" y="1708"/>
                  </a:lnTo>
                  <a:lnTo>
                    <a:pt x="3540" y="1708"/>
                  </a:lnTo>
                  <a:lnTo>
                    <a:pt x="3540" y="1708"/>
                  </a:lnTo>
                  <a:lnTo>
                    <a:pt x="3540" y="1706"/>
                  </a:lnTo>
                  <a:lnTo>
                    <a:pt x="3542" y="1702"/>
                  </a:lnTo>
                  <a:lnTo>
                    <a:pt x="3542" y="1698"/>
                  </a:lnTo>
                  <a:lnTo>
                    <a:pt x="3542" y="1696"/>
                  </a:lnTo>
                  <a:lnTo>
                    <a:pt x="3544" y="1696"/>
                  </a:lnTo>
                  <a:lnTo>
                    <a:pt x="3544" y="1696"/>
                  </a:lnTo>
                  <a:lnTo>
                    <a:pt x="3546" y="1694"/>
                  </a:lnTo>
                  <a:lnTo>
                    <a:pt x="3548" y="1688"/>
                  </a:lnTo>
                  <a:lnTo>
                    <a:pt x="3550" y="1682"/>
                  </a:lnTo>
                  <a:lnTo>
                    <a:pt x="3554" y="1676"/>
                  </a:lnTo>
                  <a:lnTo>
                    <a:pt x="3554" y="1676"/>
                  </a:lnTo>
                  <a:lnTo>
                    <a:pt x="3556" y="1676"/>
                  </a:lnTo>
                  <a:lnTo>
                    <a:pt x="3556" y="1676"/>
                  </a:lnTo>
                  <a:lnTo>
                    <a:pt x="3556" y="1676"/>
                  </a:lnTo>
                  <a:lnTo>
                    <a:pt x="3558" y="1676"/>
                  </a:lnTo>
                  <a:lnTo>
                    <a:pt x="3558" y="1676"/>
                  </a:lnTo>
                  <a:lnTo>
                    <a:pt x="3560" y="1676"/>
                  </a:lnTo>
                  <a:lnTo>
                    <a:pt x="3562" y="1676"/>
                  </a:lnTo>
                  <a:lnTo>
                    <a:pt x="3564" y="1676"/>
                  </a:lnTo>
                  <a:lnTo>
                    <a:pt x="3564" y="1676"/>
                  </a:lnTo>
                  <a:lnTo>
                    <a:pt x="3566" y="1676"/>
                  </a:lnTo>
                  <a:lnTo>
                    <a:pt x="3570" y="1674"/>
                  </a:lnTo>
                  <a:lnTo>
                    <a:pt x="3570" y="1674"/>
                  </a:lnTo>
                  <a:lnTo>
                    <a:pt x="3570" y="1674"/>
                  </a:lnTo>
                  <a:lnTo>
                    <a:pt x="3572" y="1672"/>
                  </a:lnTo>
                  <a:lnTo>
                    <a:pt x="3576" y="1670"/>
                  </a:lnTo>
                  <a:lnTo>
                    <a:pt x="3580" y="1668"/>
                  </a:lnTo>
                  <a:lnTo>
                    <a:pt x="3584" y="1666"/>
                  </a:lnTo>
                  <a:lnTo>
                    <a:pt x="3588" y="1664"/>
                  </a:lnTo>
                  <a:lnTo>
                    <a:pt x="3592" y="1664"/>
                  </a:lnTo>
                  <a:lnTo>
                    <a:pt x="3594" y="1664"/>
                  </a:lnTo>
                  <a:lnTo>
                    <a:pt x="3598" y="1664"/>
                  </a:lnTo>
                  <a:lnTo>
                    <a:pt x="3606" y="1666"/>
                  </a:lnTo>
                  <a:lnTo>
                    <a:pt x="3614" y="1668"/>
                  </a:lnTo>
                  <a:lnTo>
                    <a:pt x="3614" y="1668"/>
                  </a:lnTo>
                  <a:lnTo>
                    <a:pt x="3614" y="1668"/>
                  </a:lnTo>
                  <a:lnTo>
                    <a:pt x="3628" y="1668"/>
                  </a:lnTo>
                  <a:lnTo>
                    <a:pt x="3634" y="1668"/>
                  </a:lnTo>
                  <a:lnTo>
                    <a:pt x="3638" y="1668"/>
                  </a:lnTo>
                  <a:lnTo>
                    <a:pt x="3642" y="1670"/>
                  </a:lnTo>
                  <a:lnTo>
                    <a:pt x="3644" y="1672"/>
                  </a:lnTo>
                  <a:lnTo>
                    <a:pt x="3652" y="1676"/>
                  </a:lnTo>
                  <a:lnTo>
                    <a:pt x="3656" y="1680"/>
                  </a:lnTo>
                  <a:lnTo>
                    <a:pt x="3660" y="1682"/>
                  </a:lnTo>
                  <a:lnTo>
                    <a:pt x="3664" y="1684"/>
                  </a:lnTo>
                  <a:lnTo>
                    <a:pt x="3668" y="1686"/>
                  </a:lnTo>
                  <a:lnTo>
                    <a:pt x="3668" y="1686"/>
                  </a:lnTo>
                  <a:lnTo>
                    <a:pt x="3668" y="1686"/>
                  </a:lnTo>
                  <a:lnTo>
                    <a:pt x="3674" y="1686"/>
                  </a:lnTo>
                  <a:lnTo>
                    <a:pt x="3674" y="1686"/>
                  </a:lnTo>
                  <a:lnTo>
                    <a:pt x="3678" y="1686"/>
                  </a:lnTo>
                  <a:lnTo>
                    <a:pt x="3678" y="1686"/>
                  </a:lnTo>
                  <a:lnTo>
                    <a:pt x="3680" y="1686"/>
                  </a:lnTo>
                  <a:lnTo>
                    <a:pt x="3680" y="1686"/>
                  </a:lnTo>
                  <a:lnTo>
                    <a:pt x="3680" y="1682"/>
                  </a:lnTo>
                  <a:lnTo>
                    <a:pt x="3678" y="1680"/>
                  </a:lnTo>
                  <a:lnTo>
                    <a:pt x="3676" y="1676"/>
                  </a:lnTo>
                  <a:lnTo>
                    <a:pt x="3674" y="1672"/>
                  </a:lnTo>
                  <a:lnTo>
                    <a:pt x="3672" y="1668"/>
                  </a:lnTo>
                  <a:lnTo>
                    <a:pt x="3668" y="1664"/>
                  </a:lnTo>
                  <a:lnTo>
                    <a:pt x="3668" y="1664"/>
                  </a:lnTo>
                  <a:lnTo>
                    <a:pt x="3668" y="1664"/>
                  </a:lnTo>
                  <a:lnTo>
                    <a:pt x="3666" y="1662"/>
                  </a:lnTo>
                  <a:lnTo>
                    <a:pt x="3666" y="1662"/>
                  </a:lnTo>
                  <a:lnTo>
                    <a:pt x="3664" y="1662"/>
                  </a:lnTo>
                  <a:lnTo>
                    <a:pt x="3660" y="1660"/>
                  </a:lnTo>
                  <a:lnTo>
                    <a:pt x="3660" y="1660"/>
                  </a:lnTo>
                  <a:lnTo>
                    <a:pt x="3660" y="1660"/>
                  </a:lnTo>
                  <a:lnTo>
                    <a:pt x="3658" y="1660"/>
                  </a:lnTo>
                  <a:lnTo>
                    <a:pt x="3658" y="1652"/>
                  </a:lnTo>
                  <a:lnTo>
                    <a:pt x="3658" y="1654"/>
                  </a:lnTo>
                  <a:lnTo>
                    <a:pt x="3664" y="1654"/>
                  </a:lnTo>
                  <a:lnTo>
                    <a:pt x="3672" y="1656"/>
                  </a:lnTo>
                  <a:lnTo>
                    <a:pt x="3682" y="1658"/>
                  </a:lnTo>
                  <a:lnTo>
                    <a:pt x="3690" y="1662"/>
                  </a:lnTo>
                  <a:lnTo>
                    <a:pt x="3690" y="1662"/>
                  </a:lnTo>
                  <a:lnTo>
                    <a:pt x="3690" y="1662"/>
                  </a:lnTo>
                  <a:lnTo>
                    <a:pt x="3694" y="1662"/>
                  </a:lnTo>
                  <a:lnTo>
                    <a:pt x="3698" y="1662"/>
                  </a:lnTo>
                  <a:lnTo>
                    <a:pt x="3704" y="1664"/>
                  </a:lnTo>
                  <a:lnTo>
                    <a:pt x="3706" y="1664"/>
                  </a:lnTo>
                  <a:lnTo>
                    <a:pt x="3710" y="1664"/>
                  </a:lnTo>
                  <a:lnTo>
                    <a:pt x="3718" y="1664"/>
                  </a:lnTo>
                  <a:lnTo>
                    <a:pt x="3718" y="1664"/>
                  </a:lnTo>
                  <a:lnTo>
                    <a:pt x="3720" y="1662"/>
                  </a:lnTo>
                  <a:lnTo>
                    <a:pt x="3722" y="1660"/>
                  </a:lnTo>
                  <a:lnTo>
                    <a:pt x="3722" y="1658"/>
                  </a:lnTo>
                  <a:lnTo>
                    <a:pt x="3720" y="1654"/>
                  </a:lnTo>
                  <a:lnTo>
                    <a:pt x="3720" y="1652"/>
                  </a:lnTo>
                  <a:lnTo>
                    <a:pt x="3720" y="1652"/>
                  </a:lnTo>
                  <a:lnTo>
                    <a:pt x="3720" y="1652"/>
                  </a:lnTo>
                  <a:lnTo>
                    <a:pt x="3720" y="1650"/>
                  </a:lnTo>
                  <a:lnTo>
                    <a:pt x="3720" y="1650"/>
                  </a:lnTo>
                  <a:lnTo>
                    <a:pt x="3720" y="1650"/>
                  </a:lnTo>
                  <a:lnTo>
                    <a:pt x="3718" y="1648"/>
                  </a:lnTo>
                  <a:lnTo>
                    <a:pt x="3718" y="1648"/>
                  </a:lnTo>
                  <a:lnTo>
                    <a:pt x="3718" y="1648"/>
                  </a:lnTo>
                  <a:lnTo>
                    <a:pt x="3716" y="1648"/>
                  </a:lnTo>
                  <a:lnTo>
                    <a:pt x="3716" y="1648"/>
                  </a:lnTo>
                  <a:lnTo>
                    <a:pt x="3716" y="1646"/>
                  </a:lnTo>
                  <a:lnTo>
                    <a:pt x="3714" y="1646"/>
                  </a:lnTo>
                  <a:lnTo>
                    <a:pt x="3714" y="1646"/>
                  </a:lnTo>
                  <a:lnTo>
                    <a:pt x="3714" y="1644"/>
                  </a:lnTo>
                  <a:lnTo>
                    <a:pt x="3714" y="1640"/>
                  </a:lnTo>
                  <a:lnTo>
                    <a:pt x="3716" y="1638"/>
                  </a:lnTo>
                  <a:lnTo>
                    <a:pt x="3718" y="1636"/>
                  </a:lnTo>
                  <a:lnTo>
                    <a:pt x="3722" y="1632"/>
                  </a:lnTo>
                  <a:lnTo>
                    <a:pt x="3724" y="1630"/>
                  </a:lnTo>
                  <a:lnTo>
                    <a:pt x="3732" y="1626"/>
                  </a:lnTo>
                  <a:lnTo>
                    <a:pt x="3732" y="1626"/>
                  </a:lnTo>
                  <a:lnTo>
                    <a:pt x="3734" y="1624"/>
                  </a:lnTo>
                  <a:lnTo>
                    <a:pt x="3734" y="1624"/>
                  </a:lnTo>
                  <a:lnTo>
                    <a:pt x="3732" y="1622"/>
                  </a:lnTo>
                  <a:lnTo>
                    <a:pt x="3730" y="1620"/>
                  </a:lnTo>
                  <a:lnTo>
                    <a:pt x="3728" y="1618"/>
                  </a:lnTo>
                  <a:lnTo>
                    <a:pt x="3726" y="1614"/>
                  </a:lnTo>
                  <a:lnTo>
                    <a:pt x="3726" y="1612"/>
                  </a:lnTo>
                  <a:lnTo>
                    <a:pt x="3726" y="1610"/>
                  </a:lnTo>
                  <a:lnTo>
                    <a:pt x="3726" y="1606"/>
                  </a:lnTo>
                  <a:lnTo>
                    <a:pt x="3726" y="1608"/>
                  </a:lnTo>
                  <a:lnTo>
                    <a:pt x="3726" y="1604"/>
                  </a:lnTo>
                  <a:lnTo>
                    <a:pt x="3726" y="1604"/>
                  </a:lnTo>
                  <a:lnTo>
                    <a:pt x="3728" y="1602"/>
                  </a:lnTo>
                  <a:lnTo>
                    <a:pt x="3730" y="1600"/>
                  </a:lnTo>
                  <a:lnTo>
                    <a:pt x="3732" y="1598"/>
                  </a:lnTo>
                  <a:lnTo>
                    <a:pt x="3734" y="1596"/>
                  </a:lnTo>
                  <a:lnTo>
                    <a:pt x="3736" y="1594"/>
                  </a:lnTo>
                  <a:lnTo>
                    <a:pt x="3738" y="1592"/>
                  </a:lnTo>
                  <a:lnTo>
                    <a:pt x="3742" y="1592"/>
                  </a:lnTo>
                  <a:lnTo>
                    <a:pt x="3746" y="1590"/>
                  </a:lnTo>
                  <a:lnTo>
                    <a:pt x="3746" y="1590"/>
                  </a:lnTo>
                  <a:lnTo>
                    <a:pt x="3746" y="1590"/>
                  </a:lnTo>
                  <a:lnTo>
                    <a:pt x="3746" y="1592"/>
                  </a:lnTo>
                  <a:lnTo>
                    <a:pt x="3746" y="1592"/>
                  </a:lnTo>
                  <a:lnTo>
                    <a:pt x="3746" y="1592"/>
                  </a:lnTo>
                  <a:lnTo>
                    <a:pt x="3746" y="1594"/>
                  </a:lnTo>
                  <a:lnTo>
                    <a:pt x="3748" y="1594"/>
                  </a:lnTo>
                  <a:lnTo>
                    <a:pt x="3748" y="1594"/>
                  </a:lnTo>
                  <a:lnTo>
                    <a:pt x="3748" y="1596"/>
                  </a:lnTo>
                  <a:lnTo>
                    <a:pt x="3748" y="1596"/>
                  </a:lnTo>
                  <a:lnTo>
                    <a:pt x="3750" y="1598"/>
                  </a:lnTo>
                  <a:lnTo>
                    <a:pt x="3750" y="1600"/>
                  </a:lnTo>
                  <a:lnTo>
                    <a:pt x="3752" y="1600"/>
                  </a:lnTo>
                  <a:lnTo>
                    <a:pt x="3752" y="1600"/>
                  </a:lnTo>
                  <a:lnTo>
                    <a:pt x="3754" y="1602"/>
                  </a:lnTo>
                  <a:lnTo>
                    <a:pt x="3754" y="1602"/>
                  </a:lnTo>
                  <a:lnTo>
                    <a:pt x="3756" y="1600"/>
                  </a:lnTo>
                  <a:lnTo>
                    <a:pt x="3760" y="1598"/>
                  </a:lnTo>
                  <a:lnTo>
                    <a:pt x="3764" y="1594"/>
                  </a:lnTo>
                  <a:lnTo>
                    <a:pt x="3768" y="1590"/>
                  </a:lnTo>
                  <a:lnTo>
                    <a:pt x="3772" y="1586"/>
                  </a:lnTo>
                  <a:lnTo>
                    <a:pt x="3772" y="1586"/>
                  </a:lnTo>
                  <a:lnTo>
                    <a:pt x="3772" y="1584"/>
                  </a:lnTo>
                  <a:lnTo>
                    <a:pt x="3772" y="1582"/>
                  </a:lnTo>
                  <a:lnTo>
                    <a:pt x="3770" y="1580"/>
                  </a:lnTo>
                  <a:lnTo>
                    <a:pt x="3768" y="1578"/>
                  </a:lnTo>
                  <a:lnTo>
                    <a:pt x="3768" y="1578"/>
                  </a:lnTo>
                  <a:lnTo>
                    <a:pt x="3768" y="1576"/>
                  </a:lnTo>
                  <a:lnTo>
                    <a:pt x="3768" y="1572"/>
                  </a:lnTo>
                  <a:lnTo>
                    <a:pt x="3766" y="1572"/>
                  </a:lnTo>
                  <a:lnTo>
                    <a:pt x="3768" y="1572"/>
                  </a:lnTo>
                  <a:lnTo>
                    <a:pt x="3772" y="1572"/>
                  </a:lnTo>
                  <a:lnTo>
                    <a:pt x="3774" y="1574"/>
                  </a:lnTo>
                  <a:lnTo>
                    <a:pt x="3774" y="1574"/>
                  </a:lnTo>
                  <a:lnTo>
                    <a:pt x="3778" y="1574"/>
                  </a:lnTo>
                  <a:lnTo>
                    <a:pt x="3778" y="1574"/>
                  </a:lnTo>
                  <a:lnTo>
                    <a:pt x="3778" y="1570"/>
                  </a:lnTo>
                  <a:lnTo>
                    <a:pt x="3778" y="1568"/>
                  </a:lnTo>
                  <a:lnTo>
                    <a:pt x="3778" y="1564"/>
                  </a:lnTo>
                  <a:lnTo>
                    <a:pt x="3778" y="1562"/>
                  </a:lnTo>
                  <a:lnTo>
                    <a:pt x="3780" y="1562"/>
                  </a:lnTo>
                  <a:lnTo>
                    <a:pt x="3782" y="1560"/>
                  </a:lnTo>
                  <a:lnTo>
                    <a:pt x="3784" y="1558"/>
                  </a:lnTo>
                  <a:lnTo>
                    <a:pt x="3788" y="1558"/>
                  </a:lnTo>
                  <a:lnTo>
                    <a:pt x="3796" y="1556"/>
                  </a:lnTo>
                  <a:lnTo>
                    <a:pt x="3804" y="1554"/>
                  </a:lnTo>
                  <a:lnTo>
                    <a:pt x="3810" y="1552"/>
                  </a:lnTo>
                  <a:lnTo>
                    <a:pt x="3810" y="1552"/>
                  </a:lnTo>
                  <a:lnTo>
                    <a:pt x="3810" y="1552"/>
                  </a:lnTo>
                  <a:lnTo>
                    <a:pt x="3814" y="1550"/>
                  </a:lnTo>
                  <a:lnTo>
                    <a:pt x="3814" y="1550"/>
                  </a:lnTo>
                  <a:lnTo>
                    <a:pt x="3814" y="1550"/>
                  </a:lnTo>
                  <a:lnTo>
                    <a:pt x="3818" y="1554"/>
                  </a:lnTo>
                  <a:lnTo>
                    <a:pt x="3820" y="1556"/>
                  </a:lnTo>
                  <a:lnTo>
                    <a:pt x="3824" y="1556"/>
                  </a:lnTo>
                  <a:lnTo>
                    <a:pt x="3828" y="1558"/>
                  </a:lnTo>
                  <a:lnTo>
                    <a:pt x="3830" y="1558"/>
                  </a:lnTo>
                  <a:lnTo>
                    <a:pt x="3830" y="1558"/>
                  </a:lnTo>
                  <a:lnTo>
                    <a:pt x="3832" y="1558"/>
                  </a:lnTo>
                  <a:lnTo>
                    <a:pt x="3838" y="1560"/>
                  </a:lnTo>
                  <a:lnTo>
                    <a:pt x="3838" y="1560"/>
                  </a:lnTo>
                  <a:lnTo>
                    <a:pt x="3844" y="1558"/>
                  </a:lnTo>
                  <a:lnTo>
                    <a:pt x="3844" y="1558"/>
                  </a:lnTo>
                  <a:lnTo>
                    <a:pt x="3846" y="1558"/>
                  </a:lnTo>
                  <a:lnTo>
                    <a:pt x="3852" y="1556"/>
                  </a:lnTo>
                  <a:lnTo>
                    <a:pt x="3852" y="1556"/>
                  </a:lnTo>
                  <a:lnTo>
                    <a:pt x="3852" y="1556"/>
                  </a:lnTo>
                  <a:lnTo>
                    <a:pt x="3858" y="1552"/>
                  </a:lnTo>
                  <a:lnTo>
                    <a:pt x="3858" y="1552"/>
                  </a:lnTo>
                  <a:lnTo>
                    <a:pt x="3858" y="1552"/>
                  </a:lnTo>
                  <a:lnTo>
                    <a:pt x="3862" y="1548"/>
                  </a:lnTo>
                  <a:lnTo>
                    <a:pt x="3862" y="1548"/>
                  </a:lnTo>
                  <a:lnTo>
                    <a:pt x="3862" y="1544"/>
                  </a:lnTo>
                  <a:lnTo>
                    <a:pt x="3862" y="1542"/>
                  </a:lnTo>
                  <a:lnTo>
                    <a:pt x="3862" y="1542"/>
                  </a:lnTo>
                  <a:lnTo>
                    <a:pt x="3862" y="1540"/>
                  </a:lnTo>
                  <a:lnTo>
                    <a:pt x="3862" y="1540"/>
                  </a:lnTo>
                  <a:lnTo>
                    <a:pt x="3860" y="1536"/>
                  </a:lnTo>
                  <a:lnTo>
                    <a:pt x="3860" y="1532"/>
                  </a:lnTo>
                  <a:lnTo>
                    <a:pt x="3860" y="1530"/>
                  </a:lnTo>
                  <a:lnTo>
                    <a:pt x="3860" y="1530"/>
                  </a:lnTo>
                  <a:lnTo>
                    <a:pt x="3864" y="1530"/>
                  </a:lnTo>
                  <a:lnTo>
                    <a:pt x="3864" y="1530"/>
                  </a:lnTo>
                  <a:lnTo>
                    <a:pt x="3864" y="1530"/>
                  </a:lnTo>
                  <a:lnTo>
                    <a:pt x="3866" y="1528"/>
                  </a:lnTo>
                  <a:lnTo>
                    <a:pt x="3866" y="1528"/>
                  </a:lnTo>
                  <a:lnTo>
                    <a:pt x="3868" y="1528"/>
                  </a:lnTo>
                  <a:lnTo>
                    <a:pt x="3870" y="1526"/>
                  </a:lnTo>
                  <a:lnTo>
                    <a:pt x="3870" y="1526"/>
                  </a:lnTo>
                  <a:lnTo>
                    <a:pt x="3870" y="1526"/>
                  </a:lnTo>
                  <a:lnTo>
                    <a:pt x="3872" y="1524"/>
                  </a:lnTo>
                  <a:lnTo>
                    <a:pt x="3874" y="1522"/>
                  </a:lnTo>
                  <a:lnTo>
                    <a:pt x="3878" y="1516"/>
                  </a:lnTo>
                  <a:lnTo>
                    <a:pt x="3880" y="1512"/>
                  </a:lnTo>
                  <a:lnTo>
                    <a:pt x="3884" y="1508"/>
                  </a:lnTo>
                  <a:lnTo>
                    <a:pt x="3884" y="1508"/>
                  </a:lnTo>
                  <a:lnTo>
                    <a:pt x="3886" y="1506"/>
                  </a:lnTo>
                  <a:lnTo>
                    <a:pt x="3886" y="1506"/>
                  </a:lnTo>
                  <a:lnTo>
                    <a:pt x="3888" y="1504"/>
                  </a:lnTo>
                  <a:lnTo>
                    <a:pt x="3890" y="1504"/>
                  </a:lnTo>
                  <a:lnTo>
                    <a:pt x="3892" y="1504"/>
                  </a:lnTo>
                  <a:lnTo>
                    <a:pt x="3892" y="1504"/>
                  </a:lnTo>
                  <a:lnTo>
                    <a:pt x="3894" y="1504"/>
                  </a:lnTo>
                  <a:lnTo>
                    <a:pt x="3896" y="1502"/>
                  </a:lnTo>
                  <a:lnTo>
                    <a:pt x="3896" y="1500"/>
                  </a:lnTo>
                  <a:lnTo>
                    <a:pt x="3896" y="1496"/>
                  </a:lnTo>
                  <a:lnTo>
                    <a:pt x="3898" y="1494"/>
                  </a:lnTo>
                  <a:lnTo>
                    <a:pt x="3898" y="1490"/>
                  </a:lnTo>
                  <a:lnTo>
                    <a:pt x="3900" y="1482"/>
                  </a:lnTo>
                  <a:lnTo>
                    <a:pt x="3902" y="1474"/>
                  </a:lnTo>
                  <a:lnTo>
                    <a:pt x="3902" y="1466"/>
                  </a:lnTo>
                  <a:lnTo>
                    <a:pt x="3902" y="1462"/>
                  </a:lnTo>
                  <a:lnTo>
                    <a:pt x="3902" y="1458"/>
                  </a:lnTo>
                  <a:lnTo>
                    <a:pt x="3902" y="1454"/>
                  </a:lnTo>
                  <a:lnTo>
                    <a:pt x="3902" y="1454"/>
                  </a:lnTo>
                  <a:lnTo>
                    <a:pt x="3902" y="1454"/>
                  </a:lnTo>
                  <a:lnTo>
                    <a:pt x="3900" y="1452"/>
                  </a:lnTo>
                  <a:lnTo>
                    <a:pt x="3900" y="1452"/>
                  </a:lnTo>
                  <a:lnTo>
                    <a:pt x="3900" y="1450"/>
                  </a:lnTo>
                  <a:lnTo>
                    <a:pt x="3898" y="1448"/>
                  </a:lnTo>
                  <a:lnTo>
                    <a:pt x="3898" y="1448"/>
                  </a:lnTo>
                  <a:lnTo>
                    <a:pt x="3898" y="1448"/>
                  </a:lnTo>
                  <a:lnTo>
                    <a:pt x="3896" y="1446"/>
                  </a:lnTo>
                  <a:lnTo>
                    <a:pt x="3894" y="1444"/>
                  </a:lnTo>
                  <a:lnTo>
                    <a:pt x="3894" y="1444"/>
                  </a:lnTo>
                  <a:lnTo>
                    <a:pt x="3894" y="1444"/>
                  </a:lnTo>
                  <a:lnTo>
                    <a:pt x="3892" y="1444"/>
                  </a:lnTo>
                  <a:lnTo>
                    <a:pt x="3892" y="1444"/>
                  </a:lnTo>
                  <a:lnTo>
                    <a:pt x="3890" y="1444"/>
                  </a:lnTo>
                  <a:lnTo>
                    <a:pt x="3888" y="1442"/>
                  </a:lnTo>
                  <a:lnTo>
                    <a:pt x="3888" y="1442"/>
                  </a:lnTo>
                  <a:lnTo>
                    <a:pt x="3888" y="1442"/>
                  </a:lnTo>
                  <a:lnTo>
                    <a:pt x="3886" y="1444"/>
                  </a:lnTo>
                  <a:lnTo>
                    <a:pt x="3886" y="1444"/>
                  </a:lnTo>
                  <a:lnTo>
                    <a:pt x="3886" y="1444"/>
                  </a:lnTo>
                  <a:lnTo>
                    <a:pt x="3884" y="1444"/>
                  </a:lnTo>
                  <a:lnTo>
                    <a:pt x="3884" y="1444"/>
                  </a:lnTo>
                  <a:lnTo>
                    <a:pt x="3884" y="1444"/>
                  </a:lnTo>
                  <a:lnTo>
                    <a:pt x="3882" y="1446"/>
                  </a:lnTo>
                  <a:lnTo>
                    <a:pt x="3882" y="1446"/>
                  </a:lnTo>
                  <a:lnTo>
                    <a:pt x="3882" y="1446"/>
                  </a:lnTo>
                  <a:lnTo>
                    <a:pt x="3878" y="1448"/>
                  </a:lnTo>
                  <a:lnTo>
                    <a:pt x="3876" y="1452"/>
                  </a:lnTo>
                  <a:lnTo>
                    <a:pt x="3874" y="1456"/>
                  </a:lnTo>
                  <a:lnTo>
                    <a:pt x="3872" y="1458"/>
                  </a:lnTo>
                  <a:lnTo>
                    <a:pt x="3868" y="1460"/>
                  </a:lnTo>
                  <a:lnTo>
                    <a:pt x="3866" y="1462"/>
                  </a:lnTo>
                  <a:lnTo>
                    <a:pt x="3862" y="1462"/>
                  </a:lnTo>
                  <a:lnTo>
                    <a:pt x="3854" y="1464"/>
                  </a:lnTo>
                  <a:lnTo>
                    <a:pt x="3848" y="1466"/>
                  </a:lnTo>
                  <a:lnTo>
                    <a:pt x="3844" y="1466"/>
                  </a:lnTo>
                  <a:lnTo>
                    <a:pt x="3840" y="1466"/>
                  </a:lnTo>
                  <a:lnTo>
                    <a:pt x="3826" y="1470"/>
                  </a:lnTo>
                  <a:lnTo>
                    <a:pt x="3820" y="1470"/>
                  </a:lnTo>
                  <a:lnTo>
                    <a:pt x="3812" y="1470"/>
                  </a:lnTo>
                  <a:lnTo>
                    <a:pt x="3806" y="1470"/>
                  </a:lnTo>
                  <a:lnTo>
                    <a:pt x="3806" y="1470"/>
                  </a:lnTo>
                  <a:lnTo>
                    <a:pt x="3800" y="1468"/>
                  </a:lnTo>
                  <a:lnTo>
                    <a:pt x="3800" y="1470"/>
                  </a:lnTo>
                  <a:lnTo>
                    <a:pt x="3798" y="1468"/>
                  </a:lnTo>
                  <a:lnTo>
                    <a:pt x="3796" y="1466"/>
                  </a:lnTo>
                  <a:lnTo>
                    <a:pt x="3792" y="1466"/>
                  </a:lnTo>
                  <a:lnTo>
                    <a:pt x="3790" y="1464"/>
                  </a:lnTo>
                  <a:lnTo>
                    <a:pt x="3790" y="1462"/>
                  </a:lnTo>
                  <a:lnTo>
                    <a:pt x="3788" y="1460"/>
                  </a:lnTo>
                  <a:lnTo>
                    <a:pt x="3788" y="1458"/>
                  </a:lnTo>
                  <a:lnTo>
                    <a:pt x="3786" y="1454"/>
                  </a:lnTo>
                  <a:lnTo>
                    <a:pt x="3786" y="1452"/>
                  </a:lnTo>
                  <a:lnTo>
                    <a:pt x="3786" y="1452"/>
                  </a:lnTo>
                  <a:lnTo>
                    <a:pt x="3786" y="1452"/>
                  </a:lnTo>
                  <a:lnTo>
                    <a:pt x="3784" y="1448"/>
                  </a:lnTo>
                  <a:lnTo>
                    <a:pt x="3784" y="1448"/>
                  </a:lnTo>
                  <a:lnTo>
                    <a:pt x="3784" y="1448"/>
                  </a:lnTo>
                  <a:lnTo>
                    <a:pt x="3782" y="1446"/>
                  </a:lnTo>
                  <a:lnTo>
                    <a:pt x="3782" y="1446"/>
                  </a:lnTo>
                  <a:lnTo>
                    <a:pt x="3782" y="1444"/>
                  </a:lnTo>
                  <a:lnTo>
                    <a:pt x="3780" y="1444"/>
                  </a:lnTo>
                  <a:lnTo>
                    <a:pt x="3780" y="1444"/>
                  </a:lnTo>
                  <a:lnTo>
                    <a:pt x="3780" y="1444"/>
                  </a:lnTo>
                  <a:lnTo>
                    <a:pt x="3778" y="1444"/>
                  </a:lnTo>
                  <a:lnTo>
                    <a:pt x="3778" y="1444"/>
                  </a:lnTo>
                  <a:lnTo>
                    <a:pt x="3776" y="1444"/>
                  </a:lnTo>
                  <a:lnTo>
                    <a:pt x="3774" y="1444"/>
                  </a:lnTo>
                  <a:lnTo>
                    <a:pt x="3772" y="1444"/>
                  </a:lnTo>
                  <a:lnTo>
                    <a:pt x="3772" y="1444"/>
                  </a:lnTo>
                  <a:lnTo>
                    <a:pt x="3770" y="1444"/>
                  </a:lnTo>
                  <a:lnTo>
                    <a:pt x="3768" y="1444"/>
                  </a:lnTo>
                  <a:lnTo>
                    <a:pt x="3768" y="1444"/>
                  </a:lnTo>
                  <a:lnTo>
                    <a:pt x="3768" y="1444"/>
                  </a:lnTo>
                  <a:lnTo>
                    <a:pt x="3766" y="1446"/>
                  </a:lnTo>
                  <a:lnTo>
                    <a:pt x="3766" y="1446"/>
                  </a:lnTo>
                  <a:lnTo>
                    <a:pt x="3766" y="1448"/>
                  </a:lnTo>
                  <a:lnTo>
                    <a:pt x="3764" y="1450"/>
                  </a:lnTo>
                  <a:lnTo>
                    <a:pt x="3762" y="1452"/>
                  </a:lnTo>
                  <a:lnTo>
                    <a:pt x="3760" y="1456"/>
                  </a:lnTo>
                  <a:lnTo>
                    <a:pt x="3758" y="1458"/>
                  </a:lnTo>
                  <a:lnTo>
                    <a:pt x="3756" y="1460"/>
                  </a:lnTo>
                  <a:lnTo>
                    <a:pt x="3754" y="1462"/>
                  </a:lnTo>
                  <a:lnTo>
                    <a:pt x="3754" y="1460"/>
                  </a:lnTo>
                  <a:lnTo>
                    <a:pt x="3752" y="1458"/>
                  </a:lnTo>
                  <a:lnTo>
                    <a:pt x="3752" y="1458"/>
                  </a:lnTo>
                  <a:lnTo>
                    <a:pt x="3752" y="1458"/>
                  </a:lnTo>
                  <a:lnTo>
                    <a:pt x="3748" y="1456"/>
                  </a:lnTo>
                  <a:lnTo>
                    <a:pt x="3748" y="1456"/>
                  </a:lnTo>
                  <a:lnTo>
                    <a:pt x="3748" y="1454"/>
                  </a:lnTo>
                  <a:lnTo>
                    <a:pt x="3742" y="1452"/>
                  </a:lnTo>
                  <a:lnTo>
                    <a:pt x="3736" y="1450"/>
                  </a:lnTo>
                  <a:lnTo>
                    <a:pt x="3730" y="1448"/>
                  </a:lnTo>
                  <a:lnTo>
                    <a:pt x="3724" y="1444"/>
                  </a:lnTo>
                  <a:lnTo>
                    <a:pt x="3718" y="1442"/>
                  </a:lnTo>
                  <a:lnTo>
                    <a:pt x="3714" y="1438"/>
                  </a:lnTo>
                  <a:lnTo>
                    <a:pt x="3714" y="1436"/>
                  </a:lnTo>
                  <a:lnTo>
                    <a:pt x="3712" y="1434"/>
                  </a:lnTo>
                  <a:lnTo>
                    <a:pt x="3708" y="1428"/>
                  </a:lnTo>
                  <a:lnTo>
                    <a:pt x="3704" y="1422"/>
                  </a:lnTo>
                  <a:lnTo>
                    <a:pt x="3700" y="1416"/>
                  </a:lnTo>
                  <a:lnTo>
                    <a:pt x="3696" y="1410"/>
                  </a:lnTo>
                  <a:lnTo>
                    <a:pt x="3692" y="1402"/>
                  </a:lnTo>
                  <a:lnTo>
                    <a:pt x="3690" y="1396"/>
                  </a:lnTo>
                  <a:lnTo>
                    <a:pt x="3690" y="1392"/>
                  </a:lnTo>
                  <a:lnTo>
                    <a:pt x="3688" y="1390"/>
                  </a:lnTo>
                  <a:lnTo>
                    <a:pt x="3688" y="1386"/>
                  </a:lnTo>
                  <a:lnTo>
                    <a:pt x="3690" y="1382"/>
                  </a:lnTo>
                  <a:lnTo>
                    <a:pt x="3690" y="1380"/>
                  </a:lnTo>
                  <a:lnTo>
                    <a:pt x="3692" y="1376"/>
                  </a:lnTo>
                  <a:lnTo>
                    <a:pt x="3692" y="1372"/>
                  </a:lnTo>
                  <a:lnTo>
                    <a:pt x="3692" y="1372"/>
                  </a:lnTo>
                  <a:lnTo>
                    <a:pt x="3692" y="1372"/>
                  </a:lnTo>
                  <a:lnTo>
                    <a:pt x="3694" y="1368"/>
                  </a:lnTo>
                  <a:lnTo>
                    <a:pt x="3694" y="1368"/>
                  </a:lnTo>
                  <a:lnTo>
                    <a:pt x="3694" y="1368"/>
                  </a:lnTo>
                  <a:lnTo>
                    <a:pt x="3692" y="1364"/>
                  </a:lnTo>
                  <a:lnTo>
                    <a:pt x="3692" y="1364"/>
                  </a:lnTo>
                  <a:lnTo>
                    <a:pt x="3692" y="1364"/>
                  </a:lnTo>
                  <a:lnTo>
                    <a:pt x="3692" y="1360"/>
                  </a:lnTo>
                  <a:lnTo>
                    <a:pt x="3690" y="1358"/>
                  </a:lnTo>
                  <a:lnTo>
                    <a:pt x="3690" y="1358"/>
                  </a:lnTo>
                  <a:lnTo>
                    <a:pt x="3690" y="1356"/>
                  </a:lnTo>
                  <a:lnTo>
                    <a:pt x="3690" y="1356"/>
                  </a:lnTo>
                  <a:lnTo>
                    <a:pt x="3690" y="1356"/>
                  </a:lnTo>
                  <a:lnTo>
                    <a:pt x="3690" y="1354"/>
                  </a:lnTo>
                  <a:lnTo>
                    <a:pt x="3688" y="1354"/>
                  </a:lnTo>
                  <a:lnTo>
                    <a:pt x="3686" y="1352"/>
                  </a:lnTo>
                  <a:lnTo>
                    <a:pt x="3682" y="1348"/>
                  </a:lnTo>
                  <a:lnTo>
                    <a:pt x="3682" y="1348"/>
                  </a:lnTo>
                  <a:lnTo>
                    <a:pt x="3680" y="1346"/>
                  </a:lnTo>
                  <a:lnTo>
                    <a:pt x="3680" y="1346"/>
                  </a:lnTo>
                  <a:lnTo>
                    <a:pt x="3680" y="1346"/>
                  </a:lnTo>
                  <a:lnTo>
                    <a:pt x="3682" y="1342"/>
                  </a:lnTo>
                  <a:lnTo>
                    <a:pt x="3682" y="1338"/>
                  </a:lnTo>
                  <a:lnTo>
                    <a:pt x="3682" y="1338"/>
                  </a:lnTo>
                  <a:lnTo>
                    <a:pt x="3682" y="1336"/>
                  </a:lnTo>
                  <a:lnTo>
                    <a:pt x="3682" y="1336"/>
                  </a:lnTo>
                  <a:lnTo>
                    <a:pt x="3682" y="1334"/>
                  </a:lnTo>
                  <a:lnTo>
                    <a:pt x="3680" y="1334"/>
                  </a:lnTo>
                  <a:lnTo>
                    <a:pt x="3680" y="1332"/>
                  </a:lnTo>
                  <a:lnTo>
                    <a:pt x="3680" y="1330"/>
                  </a:lnTo>
                  <a:lnTo>
                    <a:pt x="3680" y="1326"/>
                  </a:lnTo>
                  <a:lnTo>
                    <a:pt x="3678" y="1322"/>
                  </a:lnTo>
                  <a:lnTo>
                    <a:pt x="3678" y="1322"/>
                  </a:lnTo>
                  <a:lnTo>
                    <a:pt x="3678" y="1322"/>
                  </a:lnTo>
                  <a:lnTo>
                    <a:pt x="3678" y="1320"/>
                  </a:lnTo>
                  <a:lnTo>
                    <a:pt x="3678" y="1320"/>
                  </a:lnTo>
                  <a:lnTo>
                    <a:pt x="3678" y="1318"/>
                  </a:lnTo>
                  <a:lnTo>
                    <a:pt x="3676" y="1316"/>
                  </a:lnTo>
                  <a:lnTo>
                    <a:pt x="3676" y="1316"/>
                  </a:lnTo>
                  <a:lnTo>
                    <a:pt x="3674" y="1316"/>
                  </a:lnTo>
                  <a:lnTo>
                    <a:pt x="3674" y="1316"/>
                  </a:lnTo>
                  <a:lnTo>
                    <a:pt x="3674" y="1316"/>
                  </a:lnTo>
                  <a:lnTo>
                    <a:pt x="3672" y="1316"/>
                  </a:lnTo>
                  <a:lnTo>
                    <a:pt x="3672" y="1314"/>
                  </a:lnTo>
                  <a:lnTo>
                    <a:pt x="3670" y="1314"/>
                  </a:lnTo>
                  <a:lnTo>
                    <a:pt x="3668" y="1314"/>
                  </a:lnTo>
                  <a:lnTo>
                    <a:pt x="3668" y="1314"/>
                  </a:lnTo>
                  <a:lnTo>
                    <a:pt x="3668" y="1316"/>
                  </a:lnTo>
                  <a:lnTo>
                    <a:pt x="3666" y="1316"/>
                  </a:lnTo>
                  <a:lnTo>
                    <a:pt x="3666" y="1316"/>
                  </a:lnTo>
                  <a:lnTo>
                    <a:pt x="3666" y="1316"/>
                  </a:lnTo>
                  <a:lnTo>
                    <a:pt x="3664" y="1316"/>
                  </a:lnTo>
                  <a:lnTo>
                    <a:pt x="3664" y="1316"/>
                  </a:lnTo>
                  <a:lnTo>
                    <a:pt x="3664" y="1316"/>
                  </a:lnTo>
                  <a:lnTo>
                    <a:pt x="3662" y="1318"/>
                  </a:lnTo>
                  <a:lnTo>
                    <a:pt x="3662" y="1318"/>
                  </a:lnTo>
                  <a:lnTo>
                    <a:pt x="3662" y="1318"/>
                  </a:lnTo>
                  <a:lnTo>
                    <a:pt x="3660" y="1320"/>
                  </a:lnTo>
                  <a:lnTo>
                    <a:pt x="3660" y="1320"/>
                  </a:lnTo>
                  <a:lnTo>
                    <a:pt x="3660" y="1320"/>
                  </a:lnTo>
                  <a:lnTo>
                    <a:pt x="3660" y="1322"/>
                  </a:lnTo>
                  <a:lnTo>
                    <a:pt x="3660" y="1322"/>
                  </a:lnTo>
                  <a:lnTo>
                    <a:pt x="3660" y="1322"/>
                  </a:lnTo>
                  <a:lnTo>
                    <a:pt x="3660" y="1324"/>
                  </a:lnTo>
                  <a:lnTo>
                    <a:pt x="3660" y="1324"/>
                  </a:lnTo>
                  <a:lnTo>
                    <a:pt x="3660" y="1326"/>
                  </a:lnTo>
                  <a:lnTo>
                    <a:pt x="3660" y="1328"/>
                  </a:lnTo>
                  <a:lnTo>
                    <a:pt x="3662" y="1332"/>
                  </a:lnTo>
                  <a:lnTo>
                    <a:pt x="3662" y="1334"/>
                  </a:lnTo>
                  <a:lnTo>
                    <a:pt x="3662" y="1338"/>
                  </a:lnTo>
                  <a:lnTo>
                    <a:pt x="3662" y="1340"/>
                  </a:lnTo>
                  <a:lnTo>
                    <a:pt x="3662" y="1338"/>
                  </a:lnTo>
                  <a:lnTo>
                    <a:pt x="3662" y="1342"/>
                  </a:lnTo>
                  <a:lnTo>
                    <a:pt x="3660" y="1344"/>
                  </a:lnTo>
                  <a:lnTo>
                    <a:pt x="3660" y="1344"/>
                  </a:lnTo>
                  <a:lnTo>
                    <a:pt x="3660" y="1346"/>
                  </a:lnTo>
                  <a:lnTo>
                    <a:pt x="3658" y="1346"/>
                  </a:lnTo>
                  <a:lnTo>
                    <a:pt x="3656" y="1348"/>
                  </a:lnTo>
                  <a:lnTo>
                    <a:pt x="3654" y="1350"/>
                  </a:lnTo>
                  <a:lnTo>
                    <a:pt x="3654" y="1350"/>
                  </a:lnTo>
                  <a:lnTo>
                    <a:pt x="3654" y="1350"/>
                  </a:lnTo>
                  <a:lnTo>
                    <a:pt x="3652" y="1352"/>
                  </a:lnTo>
                  <a:lnTo>
                    <a:pt x="3652" y="1352"/>
                  </a:lnTo>
                  <a:lnTo>
                    <a:pt x="3652" y="1354"/>
                  </a:lnTo>
                  <a:lnTo>
                    <a:pt x="3650" y="1358"/>
                  </a:lnTo>
                  <a:lnTo>
                    <a:pt x="3648" y="1364"/>
                  </a:lnTo>
                  <a:lnTo>
                    <a:pt x="3646" y="1368"/>
                  </a:lnTo>
                  <a:lnTo>
                    <a:pt x="3644" y="1372"/>
                  </a:lnTo>
                  <a:lnTo>
                    <a:pt x="3642" y="1374"/>
                  </a:lnTo>
                  <a:lnTo>
                    <a:pt x="3640" y="1374"/>
                  </a:lnTo>
                  <a:lnTo>
                    <a:pt x="3638" y="1378"/>
                  </a:lnTo>
                  <a:lnTo>
                    <a:pt x="3638" y="1378"/>
                  </a:lnTo>
                  <a:lnTo>
                    <a:pt x="3638" y="1378"/>
                  </a:lnTo>
                  <a:lnTo>
                    <a:pt x="3638" y="1378"/>
                  </a:lnTo>
                  <a:lnTo>
                    <a:pt x="3634" y="1378"/>
                  </a:lnTo>
                  <a:lnTo>
                    <a:pt x="3634" y="1378"/>
                  </a:lnTo>
                  <a:lnTo>
                    <a:pt x="3630" y="1378"/>
                  </a:lnTo>
                  <a:lnTo>
                    <a:pt x="3578" y="1386"/>
                  </a:lnTo>
                  <a:lnTo>
                    <a:pt x="3518" y="1356"/>
                  </a:lnTo>
                  <a:lnTo>
                    <a:pt x="3562" y="1262"/>
                  </a:lnTo>
                  <a:lnTo>
                    <a:pt x="3562" y="1262"/>
                  </a:lnTo>
                  <a:lnTo>
                    <a:pt x="3562" y="1260"/>
                  </a:lnTo>
                  <a:lnTo>
                    <a:pt x="3550" y="1228"/>
                  </a:lnTo>
                  <a:lnTo>
                    <a:pt x="3550" y="1228"/>
                  </a:lnTo>
                  <a:lnTo>
                    <a:pt x="3546" y="1226"/>
                  </a:lnTo>
                  <a:lnTo>
                    <a:pt x="3486" y="1232"/>
                  </a:lnTo>
                  <a:lnTo>
                    <a:pt x="3466" y="1186"/>
                  </a:lnTo>
                  <a:lnTo>
                    <a:pt x="3450" y="1108"/>
                  </a:lnTo>
                  <a:lnTo>
                    <a:pt x="3450" y="1108"/>
                  </a:lnTo>
                  <a:lnTo>
                    <a:pt x="3450" y="1106"/>
                  </a:lnTo>
                  <a:lnTo>
                    <a:pt x="3448" y="1106"/>
                  </a:lnTo>
                  <a:lnTo>
                    <a:pt x="3446" y="1106"/>
                  </a:lnTo>
                  <a:lnTo>
                    <a:pt x="3444" y="1106"/>
                  </a:lnTo>
                  <a:lnTo>
                    <a:pt x="3440" y="1108"/>
                  </a:lnTo>
                  <a:lnTo>
                    <a:pt x="3438" y="1108"/>
                  </a:lnTo>
                  <a:lnTo>
                    <a:pt x="3436" y="1108"/>
                  </a:lnTo>
                  <a:lnTo>
                    <a:pt x="3436" y="1108"/>
                  </a:lnTo>
                  <a:lnTo>
                    <a:pt x="3436" y="1108"/>
                  </a:lnTo>
                  <a:lnTo>
                    <a:pt x="3436" y="1108"/>
                  </a:lnTo>
                  <a:lnTo>
                    <a:pt x="3434" y="1106"/>
                  </a:lnTo>
                  <a:lnTo>
                    <a:pt x="3434" y="1104"/>
                  </a:lnTo>
                  <a:lnTo>
                    <a:pt x="3432" y="1102"/>
                  </a:lnTo>
                  <a:lnTo>
                    <a:pt x="3430" y="1100"/>
                  </a:lnTo>
                  <a:lnTo>
                    <a:pt x="3430" y="1098"/>
                  </a:lnTo>
                  <a:lnTo>
                    <a:pt x="3430" y="1098"/>
                  </a:lnTo>
                  <a:lnTo>
                    <a:pt x="3428" y="1094"/>
                  </a:lnTo>
                  <a:lnTo>
                    <a:pt x="3428" y="1088"/>
                  </a:lnTo>
                  <a:lnTo>
                    <a:pt x="3430" y="1084"/>
                  </a:lnTo>
                  <a:lnTo>
                    <a:pt x="3430" y="1078"/>
                  </a:lnTo>
                  <a:lnTo>
                    <a:pt x="3432" y="1072"/>
                  </a:lnTo>
                  <a:lnTo>
                    <a:pt x="3432" y="1066"/>
                  </a:lnTo>
                  <a:lnTo>
                    <a:pt x="3432" y="1066"/>
                  </a:lnTo>
                  <a:lnTo>
                    <a:pt x="3432" y="1060"/>
                  </a:lnTo>
                  <a:lnTo>
                    <a:pt x="3432" y="1060"/>
                  </a:lnTo>
                  <a:lnTo>
                    <a:pt x="3432" y="1060"/>
                  </a:lnTo>
                  <a:lnTo>
                    <a:pt x="3430" y="1058"/>
                  </a:lnTo>
                  <a:lnTo>
                    <a:pt x="3430" y="1056"/>
                  </a:lnTo>
                  <a:lnTo>
                    <a:pt x="3426" y="1050"/>
                  </a:lnTo>
                  <a:lnTo>
                    <a:pt x="3424" y="1044"/>
                  </a:lnTo>
                  <a:lnTo>
                    <a:pt x="3422" y="1042"/>
                  </a:lnTo>
                  <a:lnTo>
                    <a:pt x="3422" y="1040"/>
                  </a:lnTo>
                  <a:lnTo>
                    <a:pt x="3420" y="1036"/>
                  </a:lnTo>
                  <a:lnTo>
                    <a:pt x="3418" y="1028"/>
                  </a:lnTo>
                  <a:lnTo>
                    <a:pt x="3418" y="1024"/>
                  </a:lnTo>
                  <a:lnTo>
                    <a:pt x="3418" y="1024"/>
                  </a:lnTo>
                  <a:lnTo>
                    <a:pt x="3418" y="1022"/>
                  </a:lnTo>
                  <a:lnTo>
                    <a:pt x="3416" y="1020"/>
                  </a:lnTo>
                  <a:lnTo>
                    <a:pt x="3414" y="1018"/>
                  </a:lnTo>
                  <a:lnTo>
                    <a:pt x="3414" y="1018"/>
                  </a:lnTo>
                  <a:lnTo>
                    <a:pt x="3414" y="1016"/>
                  </a:lnTo>
                  <a:lnTo>
                    <a:pt x="3410" y="1014"/>
                  </a:lnTo>
                  <a:lnTo>
                    <a:pt x="3410" y="1014"/>
                  </a:lnTo>
                  <a:lnTo>
                    <a:pt x="3410" y="1014"/>
                  </a:lnTo>
                  <a:lnTo>
                    <a:pt x="3406" y="1012"/>
                  </a:lnTo>
                  <a:lnTo>
                    <a:pt x="3402" y="1010"/>
                  </a:lnTo>
                  <a:lnTo>
                    <a:pt x="3400" y="1008"/>
                  </a:lnTo>
                  <a:lnTo>
                    <a:pt x="3396" y="1006"/>
                  </a:lnTo>
                  <a:lnTo>
                    <a:pt x="3392" y="1004"/>
                  </a:lnTo>
                  <a:lnTo>
                    <a:pt x="3390" y="1002"/>
                  </a:lnTo>
                  <a:lnTo>
                    <a:pt x="3388" y="998"/>
                  </a:lnTo>
                  <a:lnTo>
                    <a:pt x="3384" y="994"/>
                  </a:lnTo>
                  <a:lnTo>
                    <a:pt x="3382" y="988"/>
                  </a:lnTo>
                  <a:lnTo>
                    <a:pt x="3378" y="980"/>
                  </a:lnTo>
                  <a:lnTo>
                    <a:pt x="3376" y="974"/>
                  </a:lnTo>
                  <a:lnTo>
                    <a:pt x="3372" y="970"/>
                  </a:lnTo>
                  <a:lnTo>
                    <a:pt x="3368" y="966"/>
                  </a:lnTo>
                  <a:lnTo>
                    <a:pt x="3366" y="962"/>
                  </a:lnTo>
                  <a:lnTo>
                    <a:pt x="3360" y="954"/>
                  </a:lnTo>
                  <a:lnTo>
                    <a:pt x="3354" y="946"/>
                  </a:lnTo>
                  <a:lnTo>
                    <a:pt x="3348" y="940"/>
                  </a:lnTo>
                  <a:lnTo>
                    <a:pt x="3342" y="934"/>
                  </a:lnTo>
                  <a:lnTo>
                    <a:pt x="3338" y="930"/>
                  </a:lnTo>
                  <a:lnTo>
                    <a:pt x="3334" y="926"/>
                  </a:lnTo>
                  <a:lnTo>
                    <a:pt x="3326" y="920"/>
                  </a:lnTo>
                  <a:lnTo>
                    <a:pt x="3320" y="914"/>
                  </a:lnTo>
                  <a:lnTo>
                    <a:pt x="3316" y="912"/>
                  </a:lnTo>
                  <a:lnTo>
                    <a:pt x="3312" y="908"/>
                  </a:lnTo>
                  <a:lnTo>
                    <a:pt x="3310" y="904"/>
                  </a:lnTo>
                  <a:lnTo>
                    <a:pt x="3308" y="902"/>
                  </a:lnTo>
                  <a:lnTo>
                    <a:pt x="3306" y="896"/>
                  </a:lnTo>
                  <a:lnTo>
                    <a:pt x="3302" y="892"/>
                  </a:lnTo>
                  <a:lnTo>
                    <a:pt x="3300" y="888"/>
                  </a:lnTo>
                  <a:lnTo>
                    <a:pt x="3300" y="888"/>
                  </a:lnTo>
                  <a:lnTo>
                    <a:pt x="3300" y="888"/>
                  </a:lnTo>
                  <a:lnTo>
                    <a:pt x="3296" y="884"/>
                  </a:lnTo>
                  <a:lnTo>
                    <a:pt x="3296" y="884"/>
                  </a:lnTo>
                  <a:lnTo>
                    <a:pt x="3296" y="884"/>
                  </a:lnTo>
                  <a:lnTo>
                    <a:pt x="3294" y="884"/>
                  </a:lnTo>
                  <a:lnTo>
                    <a:pt x="3294" y="884"/>
                  </a:lnTo>
                  <a:lnTo>
                    <a:pt x="3294" y="884"/>
                  </a:lnTo>
                  <a:lnTo>
                    <a:pt x="3292" y="882"/>
                  </a:lnTo>
                  <a:lnTo>
                    <a:pt x="3292" y="882"/>
                  </a:lnTo>
                  <a:lnTo>
                    <a:pt x="3290" y="882"/>
                  </a:lnTo>
                  <a:lnTo>
                    <a:pt x="3288" y="882"/>
                  </a:lnTo>
                  <a:lnTo>
                    <a:pt x="3288" y="882"/>
                  </a:lnTo>
                  <a:lnTo>
                    <a:pt x="3288" y="882"/>
                  </a:lnTo>
                  <a:lnTo>
                    <a:pt x="3288" y="882"/>
                  </a:lnTo>
                  <a:lnTo>
                    <a:pt x="3288" y="878"/>
                  </a:lnTo>
                  <a:lnTo>
                    <a:pt x="3286" y="874"/>
                  </a:lnTo>
                  <a:lnTo>
                    <a:pt x="3284" y="868"/>
                  </a:lnTo>
                  <a:lnTo>
                    <a:pt x="3282" y="860"/>
                  </a:lnTo>
                  <a:lnTo>
                    <a:pt x="3276" y="850"/>
                  </a:lnTo>
                  <a:lnTo>
                    <a:pt x="3274" y="844"/>
                  </a:lnTo>
                  <a:lnTo>
                    <a:pt x="3272" y="840"/>
                  </a:lnTo>
                  <a:lnTo>
                    <a:pt x="3270" y="836"/>
                  </a:lnTo>
                  <a:lnTo>
                    <a:pt x="3266" y="832"/>
                  </a:lnTo>
                  <a:lnTo>
                    <a:pt x="3264" y="830"/>
                  </a:lnTo>
                  <a:lnTo>
                    <a:pt x="3264" y="830"/>
                  </a:lnTo>
                  <a:lnTo>
                    <a:pt x="3264" y="830"/>
                  </a:lnTo>
                  <a:lnTo>
                    <a:pt x="3262" y="828"/>
                  </a:lnTo>
                  <a:lnTo>
                    <a:pt x="3262" y="828"/>
                  </a:lnTo>
                  <a:lnTo>
                    <a:pt x="3260" y="828"/>
                  </a:lnTo>
                  <a:lnTo>
                    <a:pt x="3258" y="826"/>
                  </a:lnTo>
                  <a:lnTo>
                    <a:pt x="3258" y="826"/>
                  </a:lnTo>
                  <a:lnTo>
                    <a:pt x="3258" y="826"/>
                  </a:lnTo>
                  <a:lnTo>
                    <a:pt x="3256" y="826"/>
                  </a:lnTo>
                  <a:lnTo>
                    <a:pt x="3254" y="820"/>
                  </a:lnTo>
                  <a:lnTo>
                    <a:pt x="3248" y="814"/>
                  </a:lnTo>
                  <a:lnTo>
                    <a:pt x="3244" y="808"/>
                  </a:lnTo>
                  <a:lnTo>
                    <a:pt x="3242" y="802"/>
                  </a:lnTo>
                  <a:lnTo>
                    <a:pt x="3238" y="796"/>
                  </a:lnTo>
                  <a:lnTo>
                    <a:pt x="3238" y="796"/>
                  </a:lnTo>
                  <a:lnTo>
                    <a:pt x="3236" y="790"/>
                  </a:lnTo>
                  <a:lnTo>
                    <a:pt x="3236" y="786"/>
                  </a:lnTo>
                  <a:lnTo>
                    <a:pt x="3234" y="782"/>
                  </a:lnTo>
                  <a:lnTo>
                    <a:pt x="3234" y="778"/>
                  </a:lnTo>
                  <a:lnTo>
                    <a:pt x="3234" y="776"/>
                  </a:lnTo>
                  <a:lnTo>
                    <a:pt x="3236" y="776"/>
                  </a:lnTo>
                  <a:lnTo>
                    <a:pt x="3240" y="776"/>
                  </a:lnTo>
                  <a:lnTo>
                    <a:pt x="3246" y="776"/>
                  </a:lnTo>
                  <a:lnTo>
                    <a:pt x="3248" y="776"/>
                  </a:lnTo>
                  <a:lnTo>
                    <a:pt x="3248" y="776"/>
                  </a:lnTo>
                  <a:lnTo>
                    <a:pt x="3248" y="776"/>
                  </a:lnTo>
                  <a:lnTo>
                    <a:pt x="3250" y="776"/>
                  </a:lnTo>
                  <a:lnTo>
                    <a:pt x="3250" y="776"/>
                  </a:lnTo>
                  <a:lnTo>
                    <a:pt x="3252" y="774"/>
                  </a:lnTo>
                  <a:lnTo>
                    <a:pt x="3254" y="774"/>
                  </a:lnTo>
                  <a:lnTo>
                    <a:pt x="3254" y="774"/>
                  </a:lnTo>
                  <a:lnTo>
                    <a:pt x="3254" y="772"/>
                  </a:lnTo>
                  <a:lnTo>
                    <a:pt x="3254" y="770"/>
                  </a:lnTo>
                  <a:lnTo>
                    <a:pt x="3254" y="770"/>
                  </a:lnTo>
                  <a:lnTo>
                    <a:pt x="3256" y="770"/>
                  </a:lnTo>
                  <a:lnTo>
                    <a:pt x="3256" y="768"/>
                  </a:lnTo>
                  <a:lnTo>
                    <a:pt x="3256" y="768"/>
                  </a:lnTo>
                  <a:lnTo>
                    <a:pt x="3256" y="764"/>
                  </a:lnTo>
                  <a:lnTo>
                    <a:pt x="3256" y="762"/>
                  </a:lnTo>
                  <a:lnTo>
                    <a:pt x="3256" y="754"/>
                  </a:lnTo>
                  <a:lnTo>
                    <a:pt x="3254" y="748"/>
                  </a:lnTo>
                  <a:lnTo>
                    <a:pt x="3252" y="740"/>
                  </a:lnTo>
                  <a:lnTo>
                    <a:pt x="3252" y="734"/>
                  </a:lnTo>
                  <a:lnTo>
                    <a:pt x="3250" y="726"/>
                  </a:lnTo>
                  <a:lnTo>
                    <a:pt x="3250" y="712"/>
                  </a:lnTo>
                  <a:lnTo>
                    <a:pt x="3250" y="698"/>
                  </a:lnTo>
                  <a:lnTo>
                    <a:pt x="3250" y="692"/>
                  </a:lnTo>
                  <a:lnTo>
                    <a:pt x="3250" y="686"/>
                  </a:lnTo>
                  <a:lnTo>
                    <a:pt x="3250" y="676"/>
                  </a:lnTo>
                  <a:lnTo>
                    <a:pt x="3248" y="670"/>
                  </a:lnTo>
                  <a:lnTo>
                    <a:pt x="3248" y="662"/>
                  </a:lnTo>
                  <a:lnTo>
                    <a:pt x="3246" y="656"/>
                  </a:lnTo>
                  <a:lnTo>
                    <a:pt x="3244" y="648"/>
                  </a:lnTo>
                  <a:lnTo>
                    <a:pt x="3244" y="642"/>
                  </a:lnTo>
                  <a:lnTo>
                    <a:pt x="3242" y="636"/>
                  </a:lnTo>
                  <a:lnTo>
                    <a:pt x="3242" y="628"/>
                  </a:lnTo>
                  <a:lnTo>
                    <a:pt x="3242" y="626"/>
                  </a:lnTo>
                  <a:lnTo>
                    <a:pt x="3244" y="626"/>
                  </a:lnTo>
                  <a:lnTo>
                    <a:pt x="3244" y="624"/>
                  </a:lnTo>
                  <a:lnTo>
                    <a:pt x="3244" y="622"/>
                  </a:lnTo>
                  <a:lnTo>
                    <a:pt x="3244" y="616"/>
                  </a:lnTo>
                  <a:lnTo>
                    <a:pt x="3244" y="610"/>
                  </a:lnTo>
                  <a:lnTo>
                    <a:pt x="3244" y="604"/>
                  </a:lnTo>
                  <a:lnTo>
                    <a:pt x="3244" y="596"/>
                  </a:lnTo>
                  <a:lnTo>
                    <a:pt x="3246" y="588"/>
                  </a:lnTo>
                  <a:lnTo>
                    <a:pt x="3246" y="580"/>
                  </a:lnTo>
                  <a:lnTo>
                    <a:pt x="3246" y="572"/>
                  </a:lnTo>
                  <a:lnTo>
                    <a:pt x="3246" y="564"/>
                  </a:lnTo>
                  <a:lnTo>
                    <a:pt x="3246" y="556"/>
                  </a:lnTo>
                  <a:lnTo>
                    <a:pt x="3246" y="550"/>
                  </a:lnTo>
                  <a:lnTo>
                    <a:pt x="3246" y="544"/>
                  </a:lnTo>
                  <a:lnTo>
                    <a:pt x="3246" y="542"/>
                  </a:lnTo>
                  <a:lnTo>
                    <a:pt x="3244" y="540"/>
                  </a:lnTo>
                  <a:lnTo>
                    <a:pt x="3244" y="538"/>
                  </a:lnTo>
                  <a:lnTo>
                    <a:pt x="3244" y="538"/>
                  </a:lnTo>
                  <a:lnTo>
                    <a:pt x="3244" y="538"/>
                  </a:lnTo>
                  <a:lnTo>
                    <a:pt x="3244" y="536"/>
                  </a:lnTo>
                  <a:lnTo>
                    <a:pt x="3244" y="536"/>
                  </a:lnTo>
                  <a:lnTo>
                    <a:pt x="3244" y="536"/>
                  </a:lnTo>
                  <a:lnTo>
                    <a:pt x="3244" y="536"/>
                  </a:lnTo>
                  <a:lnTo>
                    <a:pt x="3244" y="536"/>
                  </a:lnTo>
                  <a:lnTo>
                    <a:pt x="3242" y="534"/>
                  </a:lnTo>
                  <a:lnTo>
                    <a:pt x="3242" y="534"/>
                  </a:lnTo>
                  <a:lnTo>
                    <a:pt x="3242" y="534"/>
                  </a:lnTo>
                  <a:lnTo>
                    <a:pt x="3240" y="534"/>
                  </a:lnTo>
                  <a:lnTo>
                    <a:pt x="3238" y="534"/>
                  </a:lnTo>
                  <a:lnTo>
                    <a:pt x="3236" y="534"/>
                  </a:lnTo>
                  <a:lnTo>
                    <a:pt x="3236" y="532"/>
                  </a:lnTo>
                  <a:lnTo>
                    <a:pt x="3234" y="530"/>
                  </a:lnTo>
                  <a:lnTo>
                    <a:pt x="3234" y="532"/>
                  </a:lnTo>
                  <a:lnTo>
                    <a:pt x="3234" y="530"/>
                  </a:lnTo>
                  <a:lnTo>
                    <a:pt x="3232" y="528"/>
                  </a:lnTo>
                  <a:lnTo>
                    <a:pt x="3230" y="522"/>
                  </a:lnTo>
                  <a:lnTo>
                    <a:pt x="3230" y="518"/>
                  </a:lnTo>
                  <a:lnTo>
                    <a:pt x="3230" y="518"/>
                  </a:lnTo>
                  <a:lnTo>
                    <a:pt x="3228" y="516"/>
                  </a:lnTo>
                  <a:lnTo>
                    <a:pt x="3228" y="514"/>
                  </a:lnTo>
                  <a:lnTo>
                    <a:pt x="3228" y="514"/>
                  </a:lnTo>
                  <a:lnTo>
                    <a:pt x="3228" y="514"/>
                  </a:lnTo>
                  <a:lnTo>
                    <a:pt x="3226" y="512"/>
                  </a:lnTo>
                  <a:lnTo>
                    <a:pt x="3226" y="512"/>
                  </a:lnTo>
                  <a:lnTo>
                    <a:pt x="3226" y="512"/>
                  </a:lnTo>
                  <a:lnTo>
                    <a:pt x="3224" y="510"/>
                  </a:lnTo>
                  <a:lnTo>
                    <a:pt x="3224" y="510"/>
                  </a:lnTo>
                  <a:lnTo>
                    <a:pt x="3222" y="510"/>
                  </a:lnTo>
                  <a:lnTo>
                    <a:pt x="3220" y="510"/>
                  </a:lnTo>
                  <a:lnTo>
                    <a:pt x="3220" y="510"/>
                  </a:lnTo>
                  <a:lnTo>
                    <a:pt x="3220" y="510"/>
                  </a:lnTo>
                  <a:lnTo>
                    <a:pt x="3216" y="508"/>
                  </a:lnTo>
                  <a:lnTo>
                    <a:pt x="3216" y="508"/>
                  </a:lnTo>
                  <a:lnTo>
                    <a:pt x="3216" y="510"/>
                  </a:lnTo>
                  <a:lnTo>
                    <a:pt x="3212" y="510"/>
                  </a:lnTo>
                  <a:lnTo>
                    <a:pt x="3212" y="510"/>
                  </a:lnTo>
                  <a:lnTo>
                    <a:pt x="3210" y="512"/>
                  </a:lnTo>
                  <a:lnTo>
                    <a:pt x="3210" y="514"/>
                  </a:lnTo>
                  <a:lnTo>
                    <a:pt x="3210" y="514"/>
                  </a:lnTo>
                  <a:lnTo>
                    <a:pt x="3210" y="516"/>
                  </a:lnTo>
                  <a:lnTo>
                    <a:pt x="3208" y="518"/>
                  </a:lnTo>
                  <a:lnTo>
                    <a:pt x="3208" y="518"/>
                  </a:lnTo>
                  <a:lnTo>
                    <a:pt x="3208" y="518"/>
                  </a:lnTo>
                  <a:lnTo>
                    <a:pt x="3208" y="520"/>
                  </a:lnTo>
                  <a:lnTo>
                    <a:pt x="3206" y="520"/>
                  </a:lnTo>
                  <a:lnTo>
                    <a:pt x="3206" y="520"/>
                  </a:lnTo>
                  <a:lnTo>
                    <a:pt x="3204" y="520"/>
                  </a:lnTo>
                  <a:lnTo>
                    <a:pt x="3204" y="520"/>
                  </a:lnTo>
                  <a:lnTo>
                    <a:pt x="3202" y="520"/>
                  </a:lnTo>
                  <a:lnTo>
                    <a:pt x="3198" y="518"/>
                  </a:lnTo>
                  <a:lnTo>
                    <a:pt x="3200" y="518"/>
                  </a:lnTo>
                  <a:lnTo>
                    <a:pt x="3196" y="518"/>
                  </a:lnTo>
                  <a:lnTo>
                    <a:pt x="3198" y="518"/>
                  </a:lnTo>
                  <a:lnTo>
                    <a:pt x="3196" y="516"/>
                  </a:lnTo>
                  <a:lnTo>
                    <a:pt x="3192" y="512"/>
                  </a:lnTo>
                  <a:lnTo>
                    <a:pt x="3188" y="508"/>
                  </a:lnTo>
                  <a:lnTo>
                    <a:pt x="3186" y="502"/>
                  </a:lnTo>
                  <a:lnTo>
                    <a:pt x="3182" y="496"/>
                  </a:lnTo>
                  <a:lnTo>
                    <a:pt x="3180" y="492"/>
                  </a:lnTo>
                  <a:lnTo>
                    <a:pt x="3180" y="492"/>
                  </a:lnTo>
                  <a:lnTo>
                    <a:pt x="3178" y="492"/>
                  </a:lnTo>
                  <a:lnTo>
                    <a:pt x="3176" y="490"/>
                  </a:lnTo>
                  <a:lnTo>
                    <a:pt x="3174" y="488"/>
                  </a:lnTo>
                  <a:lnTo>
                    <a:pt x="3168" y="484"/>
                  </a:lnTo>
                  <a:lnTo>
                    <a:pt x="3168" y="484"/>
                  </a:lnTo>
                  <a:lnTo>
                    <a:pt x="3168" y="484"/>
                  </a:lnTo>
                  <a:lnTo>
                    <a:pt x="3162" y="482"/>
                  </a:lnTo>
                  <a:lnTo>
                    <a:pt x="3162" y="482"/>
                  </a:lnTo>
                  <a:lnTo>
                    <a:pt x="3160" y="482"/>
                  </a:lnTo>
                  <a:lnTo>
                    <a:pt x="3158" y="480"/>
                  </a:lnTo>
                  <a:lnTo>
                    <a:pt x="3154" y="480"/>
                  </a:lnTo>
                  <a:lnTo>
                    <a:pt x="3154" y="480"/>
                  </a:lnTo>
                  <a:lnTo>
                    <a:pt x="3154" y="480"/>
                  </a:lnTo>
                  <a:lnTo>
                    <a:pt x="3152" y="480"/>
                  </a:lnTo>
                  <a:lnTo>
                    <a:pt x="3152" y="480"/>
                  </a:lnTo>
                  <a:lnTo>
                    <a:pt x="3150" y="480"/>
                  </a:lnTo>
                  <a:lnTo>
                    <a:pt x="3148" y="480"/>
                  </a:lnTo>
                  <a:lnTo>
                    <a:pt x="3148" y="480"/>
                  </a:lnTo>
                  <a:lnTo>
                    <a:pt x="3148" y="482"/>
                  </a:lnTo>
                  <a:lnTo>
                    <a:pt x="3146" y="482"/>
                  </a:lnTo>
                  <a:lnTo>
                    <a:pt x="3146" y="482"/>
                  </a:lnTo>
                  <a:lnTo>
                    <a:pt x="3144" y="482"/>
                  </a:lnTo>
                  <a:lnTo>
                    <a:pt x="3142" y="484"/>
                  </a:lnTo>
                  <a:lnTo>
                    <a:pt x="3142" y="484"/>
                  </a:lnTo>
                  <a:lnTo>
                    <a:pt x="3142" y="486"/>
                  </a:lnTo>
                  <a:lnTo>
                    <a:pt x="3140" y="488"/>
                  </a:lnTo>
                  <a:lnTo>
                    <a:pt x="3140" y="488"/>
                  </a:lnTo>
                  <a:lnTo>
                    <a:pt x="3140" y="488"/>
                  </a:lnTo>
                  <a:lnTo>
                    <a:pt x="3140" y="490"/>
                  </a:lnTo>
                  <a:lnTo>
                    <a:pt x="3140" y="490"/>
                  </a:lnTo>
                  <a:lnTo>
                    <a:pt x="3140" y="492"/>
                  </a:lnTo>
                  <a:lnTo>
                    <a:pt x="3140" y="496"/>
                  </a:lnTo>
                  <a:lnTo>
                    <a:pt x="3140" y="496"/>
                  </a:lnTo>
                  <a:lnTo>
                    <a:pt x="3140" y="496"/>
                  </a:lnTo>
                  <a:lnTo>
                    <a:pt x="3140" y="496"/>
                  </a:lnTo>
                  <a:lnTo>
                    <a:pt x="3140" y="496"/>
                  </a:lnTo>
                  <a:lnTo>
                    <a:pt x="3138" y="494"/>
                  </a:lnTo>
                  <a:lnTo>
                    <a:pt x="3138" y="494"/>
                  </a:lnTo>
                  <a:lnTo>
                    <a:pt x="3138" y="494"/>
                  </a:lnTo>
                  <a:lnTo>
                    <a:pt x="3136" y="492"/>
                  </a:lnTo>
                  <a:lnTo>
                    <a:pt x="3134" y="488"/>
                  </a:lnTo>
                  <a:lnTo>
                    <a:pt x="3134" y="484"/>
                  </a:lnTo>
                  <a:lnTo>
                    <a:pt x="3132" y="476"/>
                  </a:lnTo>
                  <a:lnTo>
                    <a:pt x="3132" y="470"/>
                  </a:lnTo>
                  <a:lnTo>
                    <a:pt x="3130" y="464"/>
                  </a:lnTo>
                  <a:lnTo>
                    <a:pt x="3130" y="462"/>
                  </a:lnTo>
                  <a:lnTo>
                    <a:pt x="3128" y="458"/>
                  </a:lnTo>
                  <a:lnTo>
                    <a:pt x="3128" y="458"/>
                  </a:lnTo>
                  <a:lnTo>
                    <a:pt x="3128" y="458"/>
                  </a:lnTo>
                  <a:lnTo>
                    <a:pt x="3126" y="456"/>
                  </a:lnTo>
                  <a:lnTo>
                    <a:pt x="3118" y="458"/>
                  </a:lnTo>
                  <a:lnTo>
                    <a:pt x="3110" y="460"/>
                  </a:lnTo>
                  <a:lnTo>
                    <a:pt x="3102" y="462"/>
                  </a:lnTo>
                  <a:lnTo>
                    <a:pt x="3094" y="464"/>
                  </a:lnTo>
                  <a:lnTo>
                    <a:pt x="3084" y="466"/>
                  </a:lnTo>
                  <a:lnTo>
                    <a:pt x="3076" y="470"/>
                  </a:lnTo>
                  <a:lnTo>
                    <a:pt x="3068" y="472"/>
                  </a:lnTo>
                  <a:lnTo>
                    <a:pt x="3060" y="476"/>
                  </a:lnTo>
                  <a:lnTo>
                    <a:pt x="3054" y="480"/>
                  </a:lnTo>
                  <a:lnTo>
                    <a:pt x="3048" y="484"/>
                  </a:lnTo>
                  <a:lnTo>
                    <a:pt x="3042" y="488"/>
                  </a:lnTo>
                  <a:lnTo>
                    <a:pt x="3038" y="490"/>
                  </a:lnTo>
                  <a:lnTo>
                    <a:pt x="3034" y="492"/>
                  </a:lnTo>
                  <a:lnTo>
                    <a:pt x="3032" y="494"/>
                  </a:lnTo>
                  <a:lnTo>
                    <a:pt x="3028" y="496"/>
                  </a:lnTo>
                  <a:lnTo>
                    <a:pt x="3020" y="500"/>
                  </a:lnTo>
                  <a:lnTo>
                    <a:pt x="3012" y="502"/>
                  </a:lnTo>
                  <a:lnTo>
                    <a:pt x="3008" y="504"/>
                  </a:lnTo>
                  <a:lnTo>
                    <a:pt x="3008" y="504"/>
                  </a:lnTo>
                  <a:lnTo>
                    <a:pt x="3008" y="504"/>
                  </a:lnTo>
                  <a:lnTo>
                    <a:pt x="3008" y="504"/>
                  </a:lnTo>
                  <a:lnTo>
                    <a:pt x="3008" y="502"/>
                  </a:lnTo>
                  <a:lnTo>
                    <a:pt x="3006" y="500"/>
                  </a:lnTo>
                  <a:lnTo>
                    <a:pt x="3006" y="500"/>
                  </a:lnTo>
                  <a:lnTo>
                    <a:pt x="3006" y="500"/>
                  </a:lnTo>
                  <a:lnTo>
                    <a:pt x="3002" y="498"/>
                  </a:lnTo>
                  <a:lnTo>
                    <a:pt x="3000" y="498"/>
                  </a:lnTo>
                  <a:lnTo>
                    <a:pt x="2996" y="496"/>
                  </a:lnTo>
                  <a:lnTo>
                    <a:pt x="2988" y="494"/>
                  </a:lnTo>
                  <a:lnTo>
                    <a:pt x="2980" y="492"/>
                  </a:lnTo>
                  <a:lnTo>
                    <a:pt x="2974" y="492"/>
                  </a:lnTo>
                  <a:lnTo>
                    <a:pt x="2970" y="492"/>
                  </a:lnTo>
                  <a:lnTo>
                    <a:pt x="2966" y="494"/>
                  </a:lnTo>
                  <a:lnTo>
                    <a:pt x="2964" y="494"/>
                  </a:lnTo>
                  <a:lnTo>
                    <a:pt x="2964" y="494"/>
                  </a:lnTo>
                  <a:lnTo>
                    <a:pt x="2964" y="494"/>
                  </a:lnTo>
                  <a:lnTo>
                    <a:pt x="2962" y="496"/>
                  </a:lnTo>
                  <a:lnTo>
                    <a:pt x="2962" y="496"/>
                  </a:lnTo>
                  <a:lnTo>
                    <a:pt x="2962" y="498"/>
                  </a:lnTo>
                  <a:lnTo>
                    <a:pt x="2962" y="498"/>
                  </a:lnTo>
                  <a:lnTo>
                    <a:pt x="2962" y="500"/>
                  </a:lnTo>
                  <a:lnTo>
                    <a:pt x="2966" y="504"/>
                  </a:lnTo>
                  <a:lnTo>
                    <a:pt x="2968" y="508"/>
                  </a:lnTo>
                  <a:lnTo>
                    <a:pt x="2972" y="510"/>
                  </a:lnTo>
                  <a:lnTo>
                    <a:pt x="2974" y="514"/>
                  </a:lnTo>
                  <a:lnTo>
                    <a:pt x="2978" y="520"/>
                  </a:lnTo>
                  <a:lnTo>
                    <a:pt x="2980" y="522"/>
                  </a:lnTo>
                  <a:lnTo>
                    <a:pt x="2982" y="524"/>
                  </a:lnTo>
                  <a:lnTo>
                    <a:pt x="2982" y="524"/>
                  </a:lnTo>
                  <a:lnTo>
                    <a:pt x="2982" y="524"/>
                  </a:lnTo>
                  <a:lnTo>
                    <a:pt x="2984" y="526"/>
                  </a:lnTo>
                  <a:lnTo>
                    <a:pt x="2984" y="526"/>
                  </a:lnTo>
                  <a:lnTo>
                    <a:pt x="2984" y="526"/>
                  </a:lnTo>
                  <a:lnTo>
                    <a:pt x="2988" y="526"/>
                  </a:lnTo>
                  <a:lnTo>
                    <a:pt x="2988" y="526"/>
                  </a:lnTo>
                  <a:lnTo>
                    <a:pt x="2988" y="526"/>
                  </a:lnTo>
                  <a:lnTo>
                    <a:pt x="2990" y="528"/>
                  </a:lnTo>
                  <a:lnTo>
                    <a:pt x="2990" y="528"/>
                  </a:lnTo>
                  <a:lnTo>
                    <a:pt x="2992" y="528"/>
                  </a:lnTo>
                  <a:lnTo>
                    <a:pt x="2994" y="528"/>
                  </a:lnTo>
                  <a:lnTo>
                    <a:pt x="3000" y="528"/>
                  </a:lnTo>
                  <a:lnTo>
                    <a:pt x="3004" y="526"/>
                  </a:lnTo>
                  <a:lnTo>
                    <a:pt x="3010" y="526"/>
                  </a:lnTo>
                  <a:lnTo>
                    <a:pt x="3014" y="524"/>
                  </a:lnTo>
                  <a:lnTo>
                    <a:pt x="3016" y="526"/>
                  </a:lnTo>
                  <a:lnTo>
                    <a:pt x="3020" y="528"/>
                  </a:lnTo>
                  <a:lnTo>
                    <a:pt x="3028" y="532"/>
                  </a:lnTo>
                  <a:lnTo>
                    <a:pt x="3036" y="534"/>
                  </a:lnTo>
                  <a:lnTo>
                    <a:pt x="3042" y="538"/>
                  </a:lnTo>
                  <a:lnTo>
                    <a:pt x="3050" y="540"/>
                  </a:lnTo>
                  <a:lnTo>
                    <a:pt x="3052" y="542"/>
                  </a:lnTo>
                  <a:lnTo>
                    <a:pt x="3056" y="544"/>
                  </a:lnTo>
                  <a:lnTo>
                    <a:pt x="3058" y="546"/>
                  </a:lnTo>
                  <a:lnTo>
                    <a:pt x="3058" y="546"/>
                  </a:lnTo>
                  <a:lnTo>
                    <a:pt x="3062" y="548"/>
                  </a:lnTo>
                  <a:lnTo>
                    <a:pt x="3064" y="552"/>
                  </a:lnTo>
                  <a:lnTo>
                    <a:pt x="3066" y="556"/>
                  </a:lnTo>
                  <a:lnTo>
                    <a:pt x="3068" y="560"/>
                  </a:lnTo>
                  <a:lnTo>
                    <a:pt x="3068" y="564"/>
                  </a:lnTo>
                  <a:lnTo>
                    <a:pt x="3068" y="568"/>
                  </a:lnTo>
                  <a:lnTo>
                    <a:pt x="3068" y="572"/>
                  </a:lnTo>
                  <a:lnTo>
                    <a:pt x="3066" y="576"/>
                  </a:lnTo>
                  <a:lnTo>
                    <a:pt x="3066" y="576"/>
                  </a:lnTo>
                  <a:lnTo>
                    <a:pt x="3064" y="578"/>
                  </a:lnTo>
                  <a:lnTo>
                    <a:pt x="3062" y="582"/>
                  </a:lnTo>
                  <a:lnTo>
                    <a:pt x="3062" y="582"/>
                  </a:lnTo>
                  <a:lnTo>
                    <a:pt x="3060" y="584"/>
                  </a:lnTo>
                  <a:lnTo>
                    <a:pt x="3058" y="586"/>
                  </a:lnTo>
                  <a:lnTo>
                    <a:pt x="3054" y="588"/>
                  </a:lnTo>
                  <a:lnTo>
                    <a:pt x="3052" y="588"/>
                  </a:lnTo>
                  <a:lnTo>
                    <a:pt x="3048" y="588"/>
                  </a:lnTo>
                  <a:lnTo>
                    <a:pt x="3048" y="588"/>
                  </a:lnTo>
                  <a:lnTo>
                    <a:pt x="3044" y="588"/>
                  </a:lnTo>
                  <a:lnTo>
                    <a:pt x="3044" y="588"/>
                  </a:lnTo>
                  <a:lnTo>
                    <a:pt x="3042" y="586"/>
                  </a:lnTo>
                  <a:lnTo>
                    <a:pt x="3038" y="584"/>
                  </a:lnTo>
                  <a:lnTo>
                    <a:pt x="3034" y="580"/>
                  </a:lnTo>
                  <a:lnTo>
                    <a:pt x="3034" y="580"/>
                  </a:lnTo>
                  <a:lnTo>
                    <a:pt x="3032" y="580"/>
                  </a:lnTo>
                  <a:lnTo>
                    <a:pt x="3032" y="580"/>
                  </a:lnTo>
                  <a:lnTo>
                    <a:pt x="3030" y="582"/>
                  </a:lnTo>
                  <a:lnTo>
                    <a:pt x="3028" y="584"/>
                  </a:lnTo>
                  <a:lnTo>
                    <a:pt x="3026" y="588"/>
                  </a:lnTo>
                  <a:lnTo>
                    <a:pt x="3020" y="596"/>
                  </a:lnTo>
                  <a:lnTo>
                    <a:pt x="3016" y="604"/>
                  </a:lnTo>
                  <a:lnTo>
                    <a:pt x="3014" y="608"/>
                  </a:lnTo>
                  <a:lnTo>
                    <a:pt x="3014" y="610"/>
                  </a:lnTo>
                  <a:lnTo>
                    <a:pt x="3008" y="610"/>
                  </a:lnTo>
                  <a:lnTo>
                    <a:pt x="3008" y="610"/>
                  </a:lnTo>
                  <a:lnTo>
                    <a:pt x="3006" y="610"/>
                  </a:lnTo>
                  <a:lnTo>
                    <a:pt x="3006" y="612"/>
                  </a:lnTo>
                  <a:lnTo>
                    <a:pt x="3006" y="624"/>
                  </a:lnTo>
                  <a:lnTo>
                    <a:pt x="3006" y="626"/>
                  </a:lnTo>
                  <a:lnTo>
                    <a:pt x="3006" y="628"/>
                  </a:lnTo>
                  <a:lnTo>
                    <a:pt x="3006" y="630"/>
                  </a:lnTo>
                  <a:lnTo>
                    <a:pt x="3004" y="632"/>
                  </a:lnTo>
                  <a:lnTo>
                    <a:pt x="3002" y="634"/>
                  </a:lnTo>
                  <a:lnTo>
                    <a:pt x="3000" y="636"/>
                  </a:lnTo>
                  <a:lnTo>
                    <a:pt x="2998" y="636"/>
                  </a:lnTo>
                  <a:lnTo>
                    <a:pt x="2994" y="638"/>
                  </a:lnTo>
                  <a:lnTo>
                    <a:pt x="2992" y="640"/>
                  </a:lnTo>
                  <a:lnTo>
                    <a:pt x="2988" y="642"/>
                  </a:lnTo>
                  <a:lnTo>
                    <a:pt x="2984" y="644"/>
                  </a:lnTo>
                  <a:lnTo>
                    <a:pt x="2982" y="646"/>
                  </a:lnTo>
                  <a:lnTo>
                    <a:pt x="2980" y="648"/>
                  </a:lnTo>
                  <a:lnTo>
                    <a:pt x="2980" y="648"/>
                  </a:lnTo>
                  <a:lnTo>
                    <a:pt x="2978" y="650"/>
                  </a:lnTo>
                  <a:lnTo>
                    <a:pt x="2978" y="652"/>
                  </a:lnTo>
                  <a:lnTo>
                    <a:pt x="2978" y="652"/>
                  </a:lnTo>
                  <a:lnTo>
                    <a:pt x="2976" y="652"/>
                  </a:lnTo>
                  <a:lnTo>
                    <a:pt x="2976" y="654"/>
                  </a:lnTo>
                  <a:lnTo>
                    <a:pt x="2976" y="654"/>
                  </a:lnTo>
                  <a:lnTo>
                    <a:pt x="2976" y="654"/>
                  </a:lnTo>
                  <a:lnTo>
                    <a:pt x="2976" y="656"/>
                  </a:lnTo>
                  <a:lnTo>
                    <a:pt x="2976" y="656"/>
                  </a:lnTo>
                  <a:lnTo>
                    <a:pt x="2974" y="656"/>
                  </a:lnTo>
                  <a:lnTo>
                    <a:pt x="2974" y="658"/>
                  </a:lnTo>
                  <a:lnTo>
                    <a:pt x="2974" y="658"/>
                  </a:lnTo>
                  <a:lnTo>
                    <a:pt x="2974" y="662"/>
                  </a:lnTo>
                  <a:lnTo>
                    <a:pt x="2976" y="666"/>
                  </a:lnTo>
                  <a:lnTo>
                    <a:pt x="2976" y="670"/>
                  </a:lnTo>
                  <a:lnTo>
                    <a:pt x="2976" y="674"/>
                  </a:lnTo>
                  <a:lnTo>
                    <a:pt x="2976" y="678"/>
                  </a:lnTo>
                  <a:lnTo>
                    <a:pt x="2976" y="680"/>
                  </a:lnTo>
                  <a:lnTo>
                    <a:pt x="2976" y="682"/>
                  </a:lnTo>
                  <a:lnTo>
                    <a:pt x="2976" y="682"/>
                  </a:lnTo>
                  <a:lnTo>
                    <a:pt x="2976" y="682"/>
                  </a:lnTo>
                  <a:lnTo>
                    <a:pt x="2976" y="682"/>
                  </a:lnTo>
                  <a:lnTo>
                    <a:pt x="2972" y="682"/>
                  </a:lnTo>
                  <a:lnTo>
                    <a:pt x="2972" y="682"/>
                  </a:lnTo>
                  <a:lnTo>
                    <a:pt x="2972" y="682"/>
                  </a:lnTo>
                  <a:lnTo>
                    <a:pt x="2970" y="684"/>
                  </a:lnTo>
                  <a:lnTo>
                    <a:pt x="2970" y="684"/>
                  </a:lnTo>
                  <a:lnTo>
                    <a:pt x="2968" y="684"/>
                  </a:lnTo>
                  <a:lnTo>
                    <a:pt x="2968" y="686"/>
                  </a:lnTo>
                  <a:lnTo>
                    <a:pt x="2968" y="686"/>
                  </a:lnTo>
                  <a:lnTo>
                    <a:pt x="2966" y="686"/>
                  </a:lnTo>
                  <a:lnTo>
                    <a:pt x="2964" y="690"/>
                  </a:lnTo>
                  <a:lnTo>
                    <a:pt x="2964" y="690"/>
                  </a:lnTo>
                  <a:lnTo>
                    <a:pt x="2964" y="690"/>
                  </a:lnTo>
                  <a:lnTo>
                    <a:pt x="2962" y="694"/>
                  </a:lnTo>
                  <a:lnTo>
                    <a:pt x="2960" y="700"/>
                  </a:lnTo>
                  <a:lnTo>
                    <a:pt x="2956" y="704"/>
                  </a:lnTo>
                  <a:lnTo>
                    <a:pt x="2956" y="704"/>
                  </a:lnTo>
                  <a:lnTo>
                    <a:pt x="2956" y="704"/>
                  </a:lnTo>
                  <a:lnTo>
                    <a:pt x="2956" y="704"/>
                  </a:lnTo>
                  <a:lnTo>
                    <a:pt x="2954" y="706"/>
                  </a:lnTo>
                  <a:lnTo>
                    <a:pt x="2954" y="702"/>
                  </a:lnTo>
                  <a:lnTo>
                    <a:pt x="2954" y="702"/>
                  </a:lnTo>
                  <a:lnTo>
                    <a:pt x="2954" y="702"/>
                  </a:lnTo>
                  <a:lnTo>
                    <a:pt x="2954" y="698"/>
                  </a:lnTo>
                  <a:lnTo>
                    <a:pt x="2954" y="698"/>
                  </a:lnTo>
                  <a:lnTo>
                    <a:pt x="2954" y="698"/>
                  </a:lnTo>
                  <a:lnTo>
                    <a:pt x="2952" y="694"/>
                  </a:lnTo>
                  <a:lnTo>
                    <a:pt x="2952" y="694"/>
                  </a:lnTo>
                  <a:lnTo>
                    <a:pt x="2952" y="694"/>
                  </a:lnTo>
                  <a:lnTo>
                    <a:pt x="2950" y="692"/>
                  </a:lnTo>
                  <a:lnTo>
                    <a:pt x="2950" y="692"/>
                  </a:lnTo>
                  <a:lnTo>
                    <a:pt x="2950" y="690"/>
                  </a:lnTo>
                  <a:lnTo>
                    <a:pt x="2946" y="690"/>
                  </a:lnTo>
                  <a:lnTo>
                    <a:pt x="2946" y="690"/>
                  </a:lnTo>
                  <a:lnTo>
                    <a:pt x="2946" y="688"/>
                  </a:lnTo>
                  <a:lnTo>
                    <a:pt x="2942" y="688"/>
                  </a:lnTo>
                  <a:lnTo>
                    <a:pt x="2940" y="688"/>
                  </a:lnTo>
                  <a:lnTo>
                    <a:pt x="2940" y="684"/>
                  </a:lnTo>
                  <a:lnTo>
                    <a:pt x="2940" y="680"/>
                  </a:lnTo>
                  <a:lnTo>
                    <a:pt x="2942" y="674"/>
                  </a:lnTo>
                  <a:lnTo>
                    <a:pt x="2942" y="670"/>
                  </a:lnTo>
                  <a:lnTo>
                    <a:pt x="2942" y="666"/>
                  </a:lnTo>
                  <a:lnTo>
                    <a:pt x="2942" y="664"/>
                  </a:lnTo>
                  <a:lnTo>
                    <a:pt x="2942" y="660"/>
                  </a:lnTo>
                  <a:lnTo>
                    <a:pt x="2942" y="660"/>
                  </a:lnTo>
                  <a:lnTo>
                    <a:pt x="2942" y="660"/>
                  </a:lnTo>
                  <a:lnTo>
                    <a:pt x="2942" y="658"/>
                  </a:lnTo>
                  <a:lnTo>
                    <a:pt x="2942" y="658"/>
                  </a:lnTo>
                  <a:lnTo>
                    <a:pt x="2940" y="658"/>
                  </a:lnTo>
                  <a:lnTo>
                    <a:pt x="2940" y="656"/>
                  </a:lnTo>
                  <a:lnTo>
                    <a:pt x="2940" y="656"/>
                  </a:lnTo>
                  <a:lnTo>
                    <a:pt x="2940" y="656"/>
                  </a:lnTo>
                  <a:lnTo>
                    <a:pt x="2938" y="654"/>
                  </a:lnTo>
                  <a:lnTo>
                    <a:pt x="2938" y="654"/>
                  </a:lnTo>
                  <a:lnTo>
                    <a:pt x="2938" y="654"/>
                  </a:lnTo>
                  <a:lnTo>
                    <a:pt x="2936" y="652"/>
                  </a:lnTo>
                  <a:lnTo>
                    <a:pt x="2936" y="652"/>
                  </a:lnTo>
                  <a:lnTo>
                    <a:pt x="2932" y="650"/>
                  </a:lnTo>
                  <a:lnTo>
                    <a:pt x="2930" y="652"/>
                  </a:lnTo>
                  <a:lnTo>
                    <a:pt x="2930" y="652"/>
                  </a:lnTo>
                  <a:lnTo>
                    <a:pt x="2930" y="652"/>
                  </a:lnTo>
                  <a:lnTo>
                    <a:pt x="2928" y="654"/>
                  </a:lnTo>
                  <a:lnTo>
                    <a:pt x="2928" y="654"/>
                  </a:lnTo>
                  <a:lnTo>
                    <a:pt x="2928" y="654"/>
                  </a:lnTo>
                  <a:lnTo>
                    <a:pt x="2926" y="656"/>
                  </a:lnTo>
                  <a:lnTo>
                    <a:pt x="2924" y="658"/>
                  </a:lnTo>
                  <a:lnTo>
                    <a:pt x="2924" y="658"/>
                  </a:lnTo>
                  <a:lnTo>
                    <a:pt x="2924" y="658"/>
                  </a:lnTo>
                  <a:lnTo>
                    <a:pt x="2920" y="664"/>
                  </a:lnTo>
                  <a:lnTo>
                    <a:pt x="2918" y="670"/>
                  </a:lnTo>
                  <a:lnTo>
                    <a:pt x="2916" y="678"/>
                  </a:lnTo>
                  <a:lnTo>
                    <a:pt x="2914" y="684"/>
                  </a:lnTo>
                  <a:lnTo>
                    <a:pt x="2914" y="690"/>
                  </a:lnTo>
                  <a:lnTo>
                    <a:pt x="2914" y="696"/>
                  </a:lnTo>
                  <a:lnTo>
                    <a:pt x="2914" y="696"/>
                  </a:lnTo>
                  <a:lnTo>
                    <a:pt x="2914" y="698"/>
                  </a:lnTo>
                  <a:lnTo>
                    <a:pt x="2916" y="698"/>
                  </a:lnTo>
                  <a:lnTo>
                    <a:pt x="2920" y="698"/>
                  </a:lnTo>
                  <a:lnTo>
                    <a:pt x="2922" y="698"/>
                  </a:lnTo>
                  <a:lnTo>
                    <a:pt x="2924" y="700"/>
                  </a:lnTo>
                  <a:lnTo>
                    <a:pt x="2924" y="702"/>
                  </a:lnTo>
                  <a:lnTo>
                    <a:pt x="2924" y="706"/>
                  </a:lnTo>
                  <a:lnTo>
                    <a:pt x="2924" y="708"/>
                  </a:lnTo>
                  <a:lnTo>
                    <a:pt x="2922" y="708"/>
                  </a:lnTo>
                  <a:lnTo>
                    <a:pt x="2922" y="708"/>
                  </a:lnTo>
                  <a:lnTo>
                    <a:pt x="2922" y="706"/>
                  </a:lnTo>
                  <a:lnTo>
                    <a:pt x="2920" y="706"/>
                  </a:lnTo>
                  <a:lnTo>
                    <a:pt x="2918" y="704"/>
                  </a:lnTo>
                  <a:lnTo>
                    <a:pt x="2918" y="704"/>
                  </a:lnTo>
                  <a:lnTo>
                    <a:pt x="2916" y="704"/>
                  </a:lnTo>
                  <a:lnTo>
                    <a:pt x="2916" y="704"/>
                  </a:lnTo>
                  <a:lnTo>
                    <a:pt x="2914" y="706"/>
                  </a:lnTo>
                  <a:lnTo>
                    <a:pt x="2914" y="706"/>
                  </a:lnTo>
                  <a:lnTo>
                    <a:pt x="2914" y="706"/>
                  </a:lnTo>
                  <a:lnTo>
                    <a:pt x="2914" y="706"/>
                  </a:lnTo>
                  <a:lnTo>
                    <a:pt x="2910" y="706"/>
                  </a:lnTo>
                  <a:lnTo>
                    <a:pt x="2910" y="706"/>
                  </a:lnTo>
                  <a:lnTo>
                    <a:pt x="2908" y="706"/>
                  </a:lnTo>
                  <a:lnTo>
                    <a:pt x="2906" y="708"/>
                  </a:lnTo>
                  <a:lnTo>
                    <a:pt x="2906" y="708"/>
                  </a:lnTo>
                  <a:lnTo>
                    <a:pt x="2904" y="708"/>
                  </a:lnTo>
                  <a:lnTo>
                    <a:pt x="2902" y="710"/>
                  </a:lnTo>
                  <a:lnTo>
                    <a:pt x="2898" y="712"/>
                  </a:lnTo>
                  <a:lnTo>
                    <a:pt x="2894" y="714"/>
                  </a:lnTo>
                  <a:lnTo>
                    <a:pt x="2888" y="720"/>
                  </a:lnTo>
                  <a:lnTo>
                    <a:pt x="2888" y="720"/>
                  </a:lnTo>
                  <a:lnTo>
                    <a:pt x="2888" y="722"/>
                  </a:lnTo>
                  <a:lnTo>
                    <a:pt x="2888" y="726"/>
                  </a:lnTo>
                  <a:lnTo>
                    <a:pt x="2890" y="728"/>
                  </a:lnTo>
                  <a:lnTo>
                    <a:pt x="2890" y="732"/>
                  </a:lnTo>
                  <a:lnTo>
                    <a:pt x="2890" y="734"/>
                  </a:lnTo>
                  <a:lnTo>
                    <a:pt x="2890" y="734"/>
                  </a:lnTo>
                  <a:lnTo>
                    <a:pt x="2890" y="738"/>
                  </a:lnTo>
                  <a:lnTo>
                    <a:pt x="2888" y="744"/>
                  </a:lnTo>
                  <a:lnTo>
                    <a:pt x="2888" y="744"/>
                  </a:lnTo>
                  <a:lnTo>
                    <a:pt x="2886" y="748"/>
                  </a:lnTo>
                  <a:lnTo>
                    <a:pt x="2882" y="752"/>
                  </a:lnTo>
                  <a:lnTo>
                    <a:pt x="2880" y="758"/>
                  </a:lnTo>
                  <a:lnTo>
                    <a:pt x="2876" y="762"/>
                  </a:lnTo>
                  <a:lnTo>
                    <a:pt x="2876" y="762"/>
                  </a:lnTo>
                  <a:lnTo>
                    <a:pt x="2876" y="762"/>
                  </a:lnTo>
                  <a:lnTo>
                    <a:pt x="2874" y="770"/>
                  </a:lnTo>
                  <a:lnTo>
                    <a:pt x="2872" y="774"/>
                  </a:lnTo>
                  <a:lnTo>
                    <a:pt x="2870" y="780"/>
                  </a:lnTo>
                  <a:lnTo>
                    <a:pt x="2868" y="784"/>
                  </a:lnTo>
                  <a:lnTo>
                    <a:pt x="2864" y="786"/>
                  </a:lnTo>
                  <a:lnTo>
                    <a:pt x="2862" y="788"/>
                  </a:lnTo>
                  <a:lnTo>
                    <a:pt x="2860" y="788"/>
                  </a:lnTo>
                  <a:lnTo>
                    <a:pt x="2858" y="790"/>
                  </a:lnTo>
                  <a:lnTo>
                    <a:pt x="2854" y="790"/>
                  </a:lnTo>
                  <a:lnTo>
                    <a:pt x="2850" y="792"/>
                  </a:lnTo>
                  <a:lnTo>
                    <a:pt x="2846" y="792"/>
                  </a:lnTo>
                  <a:lnTo>
                    <a:pt x="2846" y="792"/>
                  </a:lnTo>
                  <a:lnTo>
                    <a:pt x="2844" y="794"/>
                  </a:lnTo>
                  <a:lnTo>
                    <a:pt x="2844" y="796"/>
                  </a:lnTo>
                  <a:lnTo>
                    <a:pt x="2844" y="806"/>
                  </a:lnTo>
                  <a:lnTo>
                    <a:pt x="2844" y="806"/>
                  </a:lnTo>
                  <a:lnTo>
                    <a:pt x="2844" y="808"/>
                  </a:lnTo>
                  <a:lnTo>
                    <a:pt x="2846" y="808"/>
                  </a:lnTo>
                  <a:lnTo>
                    <a:pt x="2854" y="808"/>
                  </a:lnTo>
                  <a:lnTo>
                    <a:pt x="2854" y="810"/>
                  </a:lnTo>
                  <a:lnTo>
                    <a:pt x="2854" y="812"/>
                  </a:lnTo>
                  <a:lnTo>
                    <a:pt x="2854" y="814"/>
                  </a:lnTo>
                  <a:lnTo>
                    <a:pt x="2854" y="816"/>
                  </a:lnTo>
                  <a:lnTo>
                    <a:pt x="2852" y="818"/>
                  </a:lnTo>
                  <a:lnTo>
                    <a:pt x="2850" y="818"/>
                  </a:lnTo>
                  <a:lnTo>
                    <a:pt x="2848" y="820"/>
                  </a:lnTo>
                  <a:lnTo>
                    <a:pt x="2846" y="820"/>
                  </a:lnTo>
                  <a:lnTo>
                    <a:pt x="2846" y="820"/>
                  </a:lnTo>
                  <a:lnTo>
                    <a:pt x="2844" y="822"/>
                  </a:lnTo>
                  <a:lnTo>
                    <a:pt x="2844" y="824"/>
                  </a:lnTo>
                  <a:lnTo>
                    <a:pt x="2844" y="828"/>
                  </a:lnTo>
                  <a:lnTo>
                    <a:pt x="2844" y="828"/>
                  </a:lnTo>
                  <a:lnTo>
                    <a:pt x="2844" y="828"/>
                  </a:lnTo>
                  <a:lnTo>
                    <a:pt x="2846" y="832"/>
                  </a:lnTo>
                  <a:lnTo>
                    <a:pt x="2846" y="836"/>
                  </a:lnTo>
                  <a:lnTo>
                    <a:pt x="2848" y="838"/>
                  </a:lnTo>
                  <a:lnTo>
                    <a:pt x="2850" y="844"/>
                  </a:lnTo>
                  <a:lnTo>
                    <a:pt x="2852" y="848"/>
                  </a:lnTo>
                  <a:lnTo>
                    <a:pt x="2854" y="852"/>
                  </a:lnTo>
                  <a:lnTo>
                    <a:pt x="2854" y="852"/>
                  </a:lnTo>
                  <a:lnTo>
                    <a:pt x="2854" y="852"/>
                  </a:lnTo>
                  <a:lnTo>
                    <a:pt x="2854" y="856"/>
                  </a:lnTo>
                  <a:lnTo>
                    <a:pt x="2856" y="858"/>
                  </a:lnTo>
                  <a:lnTo>
                    <a:pt x="2856" y="860"/>
                  </a:lnTo>
                  <a:lnTo>
                    <a:pt x="2858" y="862"/>
                  </a:lnTo>
                  <a:lnTo>
                    <a:pt x="2858" y="864"/>
                  </a:lnTo>
                  <a:lnTo>
                    <a:pt x="2858" y="864"/>
                  </a:lnTo>
                  <a:lnTo>
                    <a:pt x="2858" y="866"/>
                  </a:lnTo>
                  <a:lnTo>
                    <a:pt x="2858" y="866"/>
                  </a:lnTo>
                  <a:lnTo>
                    <a:pt x="2856" y="868"/>
                  </a:lnTo>
                  <a:lnTo>
                    <a:pt x="2854" y="870"/>
                  </a:lnTo>
                  <a:lnTo>
                    <a:pt x="2854" y="872"/>
                  </a:lnTo>
                  <a:lnTo>
                    <a:pt x="2854" y="872"/>
                  </a:lnTo>
                  <a:lnTo>
                    <a:pt x="2852" y="872"/>
                  </a:lnTo>
                  <a:lnTo>
                    <a:pt x="2852" y="872"/>
                  </a:lnTo>
                  <a:lnTo>
                    <a:pt x="2848" y="872"/>
                  </a:lnTo>
                  <a:lnTo>
                    <a:pt x="2844" y="874"/>
                  </a:lnTo>
                  <a:lnTo>
                    <a:pt x="2844" y="874"/>
                  </a:lnTo>
                  <a:lnTo>
                    <a:pt x="2844" y="874"/>
                  </a:lnTo>
                  <a:lnTo>
                    <a:pt x="2842" y="874"/>
                  </a:lnTo>
                  <a:lnTo>
                    <a:pt x="2842" y="874"/>
                  </a:lnTo>
                  <a:lnTo>
                    <a:pt x="2840" y="874"/>
                  </a:lnTo>
                  <a:lnTo>
                    <a:pt x="2840" y="876"/>
                  </a:lnTo>
                  <a:lnTo>
                    <a:pt x="2840" y="876"/>
                  </a:lnTo>
                  <a:lnTo>
                    <a:pt x="2838" y="876"/>
                  </a:lnTo>
                  <a:lnTo>
                    <a:pt x="2838" y="878"/>
                  </a:lnTo>
                  <a:lnTo>
                    <a:pt x="2838" y="878"/>
                  </a:lnTo>
                  <a:lnTo>
                    <a:pt x="2838" y="878"/>
                  </a:lnTo>
                  <a:lnTo>
                    <a:pt x="2838" y="880"/>
                  </a:lnTo>
                  <a:lnTo>
                    <a:pt x="2838" y="880"/>
                  </a:lnTo>
                  <a:lnTo>
                    <a:pt x="2838" y="880"/>
                  </a:lnTo>
                  <a:lnTo>
                    <a:pt x="2838" y="882"/>
                  </a:lnTo>
                  <a:lnTo>
                    <a:pt x="2838" y="886"/>
                  </a:lnTo>
                  <a:lnTo>
                    <a:pt x="2838" y="890"/>
                  </a:lnTo>
                  <a:lnTo>
                    <a:pt x="2838" y="890"/>
                  </a:lnTo>
                  <a:lnTo>
                    <a:pt x="2838" y="892"/>
                  </a:lnTo>
                  <a:lnTo>
                    <a:pt x="2838" y="892"/>
                  </a:lnTo>
                  <a:lnTo>
                    <a:pt x="2836" y="894"/>
                  </a:lnTo>
                  <a:lnTo>
                    <a:pt x="2834" y="898"/>
                  </a:lnTo>
                  <a:lnTo>
                    <a:pt x="2832" y="900"/>
                  </a:lnTo>
                  <a:lnTo>
                    <a:pt x="2832" y="900"/>
                  </a:lnTo>
                  <a:lnTo>
                    <a:pt x="2828" y="894"/>
                  </a:lnTo>
                  <a:lnTo>
                    <a:pt x="2828" y="894"/>
                  </a:lnTo>
                  <a:lnTo>
                    <a:pt x="2828" y="892"/>
                  </a:lnTo>
                  <a:lnTo>
                    <a:pt x="2826" y="892"/>
                  </a:lnTo>
                  <a:lnTo>
                    <a:pt x="2822" y="892"/>
                  </a:lnTo>
                  <a:lnTo>
                    <a:pt x="2822" y="892"/>
                  </a:lnTo>
                  <a:lnTo>
                    <a:pt x="2820" y="894"/>
                  </a:lnTo>
                  <a:lnTo>
                    <a:pt x="2818" y="892"/>
                  </a:lnTo>
                  <a:lnTo>
                    <a:pt x="2816" y="892"/>
                  </a:lnTo>
                  <a:lnTo>
                    <a:pt x="2814" y="892"/>
                  </a:lnTo>
                  <a:lnTo>
                    <a:pt x="2812" y="890"/>
                  </a:lnTo>
                  <a:lnTo>
                    <a:pt x="2810" y="886"/>
                  </a:lnTo>
                  <a:lnTo>
                    <a:pt x="2808" y="882"/>
                  </a:lnTo>
                  <a:lnTo>
                    <a:pt x="2804" y="880"/>
                  </a:lnTo>
                  <a:lnTo>
                    <a:pt x="2804" y="880"/>
                  </a:lnTo>
                  <a:lnTo>
                    <a:pt x="2804" y="878"/>
                  </a:lnTo>
                  <a:lnTo>
                    <a:pt x="2800" y="876"/>
                  </a:lnTo>
                  <a:lnTo>
                    <a:pt x="2800" y="876"/>
                  </a:lnTo>
                  <a:lnTo>
                    <a:pt x="2798" y="876"/>
                  </a:lnTo>
                  <a:lnTo>
                    <a:pt x="2794" y="878"/>
                  </a:lnTo>
                  <a:lnTo>
                    <a:pt x="2794" y="878"/>
                  </a:lnTo>
                  <a:lnTo>
                    <a:pt x="2790" y="880"/>
                  </a:lnTo>
                  <a:lnTo>
                    <a:pt x="2790" y="880"/>
                  </a:lnTo>
                  <a:lnTo>
                    <a:pt x="2788" y="880"/>
                  </a:lnTo>
                  <a:lnTo>
                    <a:pt x="2788" y="880"/>
                  </a:lnTo>
                  <a:lnTo>
                    <a:pt x="2788" y="878"/>
                  </a:lnTo>
                  <a:lnTo>
                    <a:pt x="2788" y="876"/>
                  </a:lnTo>
                  <a:lnTo>
                    <a:pt x="2788" y="876"/>
                  </a:lnTo>
                  <a:lnTo>
                    <a:pt x="2788" y="874"/>
                  </a:lnTo>
                  <a:lnTo>
                    <a:pt x="2788" y="868"/>
                  </a:lnTo>
                  <a:lnTo>
                    <a:pt x="2790" y="860"/>
                  </a:lnTo>
                  <a:lnTo>
                    <a:pt x="2790" y="858"/>
                  </a:lnTo>
                  <a:lnTo>
                    <a:pt x="2790" y="854"/>
                  </a:lnTo>
                  <a:lnTo>
                    <a:pt x="2792" y="852"/>
                  </a:lnTo>
                  <a:lnTo>
                    <a:pt x="2792" y="850"/>
                  </a:lnTo>
                  <a:lnTo>
                    <a:pt x="2792" y="850"/>
                  </a:lnTo>
                  <a:lnTo>
                    <a:pt x="2794" y="848"/>
                  </a:lnTo>
                  <a:lnTo>
                    <a:pt x="2796" y="844"/>
                  </a:lnTo>
                  <a:lnTo>
                    <a:pt x="2798" y="842"/>
                  </a:lnTo>
                  <a:lnTo>
                    <a:pt x="2800" y="840"/>
                  </a:lnTo>
                  <a:lnTo>
                    <a:pt x="2804" y="836"/>
                  </a:lnTo>
                  <a:lnTo>
                    <a:pt x="2808" y="832"/>
                  </a:lnTo>
                  <a:lnTo>
                    <a:pt x="2808" y="832"/>
                  </a:lnTo>
                  <a:lnTo>
                    <a:pt x="2808" y="832"/>
                  </a:lnTo>
                  <a:lnTo>
                    <a:pt x="2810" y="830"/>
                  </a:lnTo>
                  <a:lnTo>
                    <a:pt x="2810" y="830"/>
                  </a:lnTo>
                  <a:lnTo>
                    <a:pt x="2810" y="830"/>
                  </a:lnTo>
                  <a:lnTo>
                    <a:pt x="2810" y="828"/>
                  </a:lnTo>
                  <a:lnTo>
                    <a:pt x="2810" y="828"/>
                  </a:lnTo>
                  <a:lnTo>
                    <a:pt x="2810" y="828"/>
                  </a:lnTo>
                  <a:lnTo>
                    <a:pt x="2810" y="826"/>
                  </a:lnTo>
                  <a:lnTo>
                    <a:pt x="2810" y="826"/>
                  </a:lnTo>
                  <a:lnTo>
                    <a:pt x="2810" y="824"/>
                  </a:lnTo>
                  <a:lnTo>
                    <a:pt x="2810" y="822"/>
                  </a:lnTo>
                  <a:lnTo>
                    <a:pt x="2810" y="822"/>
                  </a:lnTo>
                  <a:lnTo>
                    <a:pt x="2810" y="822"/>
                  </a:lnTo>
                  <a:lnTo>
                    <a:pt x="2808" y="820"/>
                  </a:lnTo>
                  <a:lnTo>
                    <a:pt x="2806" y="816"/>
                  </a:lnTo>
                  <a:lnTo>
                    <a:pt x="2804" y="814"/>
                  </a:lnTo>
                  <a:lnTo>
                    <a:pt x="2800" y="810"/>
                  </a:lnTo>
                  <a:lnTo>
                    <a:pt x="2796" y="804"/>
                  </a:lnTo>
                  <a:lnTo>
                    <a:pt x="2790" y="802"/>
                  </a:lnTo>
                  <a:lnTo>
                    <a:pt x="2790" y="802"/>
                  </a:lnTo>
                  <a:lnTo>
                    <a:pt x="2790" y="802"/>
                  </a:lnTo>
                  <a:lnTo>
                    <a:pt x="2784" y="798"/>
                  </a:lnTo>
                  <a:lnTo>
                    <a:pt x="2784" y="798"/>
                  </a:lnTo>
                  <a:lnTo>
                    <a:pt x="2784" y="798"/>
                  </a:lnTo>
                  <a:lnTo>
                    <a:pt x="2778" y="796"/>
                  </a:lnTo>
                  <a:lnTo>
                    <a:pt x="2778" y="796"/>
                  </a:lnTo>
                  <a:lnTo>
                    <a:pt x="2774" y="796"/>
                  </a:lnTo>
                  <a:lnTo>
                    <a:pt x="2772" y="796"/>
                  </a:lnTo>
                  <a:lnTo>
                    <a:pt x="2768" y="796"/>
                  </a:lnTo>
                  <a:lnTo>
                    <a:pt x="2762" y="798"/>
                  </a:lnTo>
                  <a:lnTo>
                    <a:pt x="2756" y="800"/>
                  </a:lnTo>
                  <a:lnTo>
                    <a:pt x="2748" y="800"/>
                  </a:lnTo>
                  <a:lnTo>
                    <a:pt x="2742" y="802"/>
                  </a:lnTo>
                  <a:lnTo>
                    <a:pt x="2736" y="804"/>
                  </a:lnTo>
                  <a:lnTo>
                    <a:pt x="2730" y="808"/>
                  </a:lnTo>
                  <a:lnTo>
                    <a:pt x="2724" y="810"/>
                  </a:lnTo>
                  <a:lnTo>
                    <a:pt x="2718" y="810"/>
                  </a:lnTo>
                  <a:lnTo>
                    <a:pt x="2712" y="812"/>
                  </a:lnTo>
                  <a:lnTo>
                    <a:pt x="2714" y="812"/>
                  </a:lnTo>
                  <a:lnTo>
                    <a:pt x="2710" y="812"/>
                  </a:lnTo>
                  <a:lnTo>
                    <a:pt x="2708" y="812"/>
                  </a:lnTo>
                  <a:lnTo>
                    <a:pt x="2708" y="812"/>
                  </a:lnTo>
                  <a:lnTo>
                    <a:pt x="2704" y="812"/>
                  </a:lnTo>
                  <a:lnTo>
                    <a:pt x="2704" y="812"/>
                  </a:lnTo>
                  <a:lnTo>
                    <a:pt x="2704" y="816"/>
                  </a:lnTo>
                  <a:lnTo>
                    <a:pt x="2710" y="820"/>
                  </a:lnTo>
                  <a:lnTo>
                    <a:pt x="2716" y="824"/>
                  </a:lnTo>
                  <a:lnTo>
                    <a:pt x="2722" y="828"/>
                  </a:lnTo>
                  <a:lnTo>
                    <a:pt x="2726" y="830"/>
                  </a:lnTo>
                  <a:lnTo>
                    <a:pt x="2732" y="834"/>
                  </a:lnTo>
                  <a:lnTo>
                    <a:pt x="2736" y="838"/>
                  </a:lnTo>
                  <a:lnTo>
                    <a:pt x="2736" y="836"/>
                  </a:lnTo>
                  <a:lnTo>
                    <a:pt x="2742" y="842"/>
                  </a:lnTo>
                  <a:lnTo>
                    <a:pt x="2744" y="844"/>
                  </a:lnTo>
                  <a:lnTo>
                    <a:pt x="2746" y="848"/>
                  </a:lnTo>
                  <a:lnTo>
                    <a:pt x="2748" y="854"/>
                  </a:lnTo>
                  <a:lnTo>
                    <a:pt x="2752" y="860"/>
                  </a:lnTo>
                  <a:lnTo>
                    <a:pt x="2754" y="868"/>
                  </a:lnTo>
                  <a:lnTo>
                    <a:pt x="2754" y="874"/>
                  </a:lnTo>
                  <a:lnTo>
                    <a:pt x="2756" y="882"/>
                  </a:lnTo>
                  <a:lnTo>
                    <a:pt x="2756" y="890"/>
                  </a:lnTo>
                  <a:lnTo>
                    <a:pt x="2756" y="906"/>
                  </a:lnTo>
                  <a:lnTo>
                    <a:pt x="2756" y="906"/>
                  </a:lnTo>
                  <a:lnTo>
                    <a:pt x="2758" y="908"/>
                  </a:lnTo>
                  <a:lnTo>
                    <a:pt x="2760" y="908"/>
                  </a:lnTo>
                  <a:lnTo>
                    <a:pt x="2766" y="910"/>
                  </a:lnTo>
                  <a:lnTo>
                    <a:pt x="2770" y="910"/>
                  </a:lnTo>
                  <a:lnTo>
                    <a:pt x="2776" y="912"/>
                  </a:lnTo>
                  <a:lnTo>
                    <a:pt x="2780" y="912"/>
                  </a:lnTo>
                  <a:lnTo>
                    <a:pt x="2780" y="914"/>
                  </a:lnTo>
                  <a:lnTo>
                    <a:pt x="2780" y="918"/>
                  </a:lnTo>
                  <a:lnTo>
                    <a:pt x="2782" y="922"/>
                  </a:lnTo>
                  <a:lnTo>
                    <a:pt x="2784" y="926"/>
                  </a:lnTo>
                  <a:lnTo>
                    <a:pt x="2786" y="934"/>
                  </a:lnTo>
                  <a:lnTo>
                    <a:pt x="2790" y="940"/>
                  </a:lnTo>
                  <a:lnTo>
                    <a:pt x="2794" y="948"/>
                  </a:lnTo>
                  <a:lnTo>
                    <a:pt x="2796" y="950"/>
                  </a:lnTo>
                  <a:lnTo>
                    <a:pt x="2796" y="954"/>
                  </a:lnTo>
                  <a:lnTo>
                    <a:pt x="2798" y="958"/>
                  </a:lnTo>
                  <a:lnTo>
                    <a:pt x="2798" y="962"/>
                  </a:lnTo>
                  <a:lnTo>
                    <a:pt x="2798" y="960"/>
                  </a:lnTo>
                  <a:lnTo>
                    <a:pt x="2798" y="966"/>
                  </a:lnTo>
                  <a:lnTo>
                    <a:pt x="2796" y="966"/>
                  </a:lnTo>
                  <a:lnTo>
                    <a:pt x="2792" y="966"/>
                  </a:lnTo>
                  <a:lnTo>
                    <a:pt x="2784" y="968"/>
                  </a:lnTo>
                  <a:lnTo>
                    <a:pt x="2778" y="968"/>
                  </a:lnTo>
                  <a:lnTo>
                    <a:pt x="2770" y="970"/>
                  </a:lnTo>
                  <a:lnTo>
                    <a:pt x="2762" y="970"/>
                  </a:lnTo>
                  <a:lnTo>
                    <a:pt x="2758" y="970"/>
                  </a:lnTo>
                  <a:lnTo>
                    <a:pt x="2754" y="968"/>
                  </a:lnTo>
                  <a:lnTo>
                    <a:pt x="2752" y="968"/>
                  </a:lnTo>
                  <a:lnTo>
                    <a:pt x="2752" y="968"/>
                  </a:lnTo>
                  <a:lnTo>
                    <a:pt x="2750" y="966"/>
                  </a:lnTo>
                  <a:lnTo>
                    <a:pt x="2746" y="964"/>
                  </a:lnTo>
                  <a:lnTo>
                    <a:pt x="2748" y="964"/>
                  </a:lnTo>
                  <a:lnTo>
                    <a:pt x="2746" y="962"/>
                  </a:lnTo>
                  <a:lnTo>
                    <a:pt x="2746" y="962"/>
                  </a:lnTo>
                  <a:lnTo>
                    <a:pt x="2744" y="960"/>
                  </a:lnTo>
                  <a:lnTo>
                    <a:pt x="2742" y="960"/>
                  </a:lnTo>
                  <a:lnTo>
                    <a:pt x="2742" y="960"/>
                  </a:lnTo>
                  <a:lnTo>
                    <a:pt x="2740" y="962"/>
                  </a:lnTo>
                  <a:lnTo>
                    <a:pt x="2740" y="968"/>
                  </a:lnTo>
                  <a:lnTo>
                    <a:pt x="2740" y="968"/>
                  </a:lnTo>
                  <a:lnTo>
                    <a:pt x="2736" y="968"/>
                  </a:lnTo>
                  <a:lnTo>
                    <a:pt x="2734" y="968"/>
                  </a:lnTo>
                  <a:lnTo>
                    <a:pt x="2734" y="968"/>
                  </a:lnTo>
                  <a:lnTo>
                    <a:pt x="2732" y="968"/>
                  </a:lnTo>
                  <a:lnTo>
                    <a:pt x="2730" y="970"/>
                  </a:lnTo>
                  <a:lnTo>
                    <a:pt x="2730" y="970"/>
                  </a:lnTo>
                  <a:lnTo>
                    <a:pt x="2728" y="972"/>
                  </a:lnTo>
                  <a:lnTo>
                    <a:pt x="2728" y="976"/>
                  </a:lnTo>
                  <a:lnTo>
                    <a:pt x="2728" y="982"/>
                  </a:lnTo>
                  <a:lnTo>
                    <a:pt x="2726" y="990"/>
                  </a:lnTo>
                  <a:lnTo>
                    <a:pt x="2724" y="998"/>
                  </a:lnTo>
                  <a:lnTo>
                    <a:pt x="2722" y="1004"/>
                  </a:lnTo>
                  <a:lnTo>
                    <a:pt x="2720" y="1012"/>
                  </a:lnTo>
                  <a:lnTo>
                    <a:pt x="2718" y="1020"/>
                  </a:lnTo>
                  <a:lnTo>
                    <a:pt x="2714" y="1028"/>
                  </a:lnTo>
                  <a:lnTo>
                    <a:pt x="2712" y="1036"/>
                  </a:lnTo>
                  <a:lnTo>
                    <a:pt x="2710" y="1040"/>
                  </a:lnTo>
                  <a:lnTo>
                    <a:pt x="2708" y="1044"/>
                  </a:lnTo>
                  <a:lnTo>
                    <a:pt x="2706" y="1054"/>
                  </a:lnTo>
                  <a:lnTo>
                    <a:pt x="2706" y="1058"/>
                  </a:lnTo>
                  <a:lnTo>
                    <a:pt x="2706" y="1062"/>
                  </a:lnTo>
                  <a:lnTo>
                    <a:pt x="2706" y="1066"/>
                  </a:lnTo>
                  <a:lnTo>
                    <a:pt x="2706" y="1066"/>
                  </a:lnTo>
                  <a:lnTo>
                    <a:pt x="2706" y="1066"/>
                  </a:lnTo>
                  <a:lnTo>
                    <a:pt x="2708" y="1070"/>
                  </a:lnTo>
                  <a:lnTo>
                    <a:pt x="2708" y="1070"/>
                  </a:lnTo>
                  <a:lnTo>
                    <a:pt x="2708" y="1072"/>
                  </a:lnTo>
                  <a:lnTo>
                    <a:pt x="2710" y="1074"/>
                  </a:lnTo>
                  <a:lnTo>
                    <a:pt x="2712" y="1076"/>
                  </a:lnTo>
                  <a:lnTo>
                    <a:pt x="2712" y="1076"/>
                  </a:lnTo>
                  <a:lnTo>
                    <a:pt x="2712" y="1076"/>
                  </a:lnTo>
                  <a:lnTo>
                    <a:pt x="2716" y="1078"/>
                  </a:lnTo>
                  <a:lnTo>
                    <a:pt x="2716" y="1078"/>
                  </a:lnTo>
                  <a:lnTo>
                    <a:pt x="2716" y="1080"/>
                  </a:lnTo>
                  <a:lnTo>
                    <a:pt x="2720" y="1080"/>
                  </a:lnTo>
                  <a:lnTo>
                    <a:pt x="2720" y="1080"/>
                  </a:lnTo>
                  <a:lnTo>
                    <a:pt x="2722" y="1080"/>
                  </a:lnTo>
                  <a:lnTo>
                    <a:pt x="2726" y="1082"/>
                  </a:lnTo>
                  <a:lnTo>
                    <a:pt x="2730" y="1082"/>
                  </a:lnTo>
                  <a:lnTo>
                    <a:pt x="2734" y="1084"/>
                  </a:lnTo>
                  <a:lnTo>
                    <a:pt x="2738" y="1084"/>
                  </a:lnTo>
                  <a:lnTo>
                    <a:pt x="2738" y="1084"/>
                  </a:lnTo>
                  <a:lnTo>
                    <a:pt x="2738" y="1086"/>
                  </a:lnTo>
                  <a:lnTo>
                    <a:pt x="2738" y="1086"/>
                  </a:lnTo>
                  <a:lnTo>
                    <a:pt x="2738" y="1088"/>
                  </a:lnTo>
                  <a:lnTo>
                    <a:pt x="2736" y="1094"/>
                  </a:lnTo>
                  <a:lnTo>
                    <a:pt x="2736" y="1094"/>
                  </a:lnTo>
                  <a:lnTo>
                    <a:pt x="2736" y="1102"/>
                  </a:lnTo>
                  <a:lnTo>
                    <a:pt x="2736" y="1104"/>
                  </a:lnTo>
                  <a:lnTo>
                    <a:pt x="2736" y="1104"/>
                  </a:lnTo>
                  <a:lnTo>
                    <a:pt x="2734" y="1104"/>
                  </a:lnTo>
                  <a:lnTo>
                    <a:pt x="2732" y="1104"/>
                  </a:lnTo>
                  <a:lnTo>
                    <a:pt x="2732" y="1104"/>
                  </a:lnTo>
                  <a:lnTo>
                    <a:pt x="2730" y="1104"/>
                  </a:lnTo>
                  <a:lnTo>
                    <a:pt x="2728" y="1106"/>
                  </a:lnTo>
                  <a:lnTo>
                    <a:pt x="2728" y="1106"/>
                  </a:lnTo>
                  <a:lnTo>
                    <a:pt x="2728" y="1106"/>
                  </a:lnTo>
                  <a:lnTo>
                    <a:pt x="2726" y="1108"/>
                  </a:lnTo>
                  <a:lnTo>
                    <a:pt x="2726" y="1108"/>
                  </a:lnTo>
                  <a:lnTo>
                    <a:pt x="2724" y="1108"/>
                  </a:lnTo>
                  <a:lnTo>
                    <a:pt x="2724" y="1112"/>
                  </a:lnTo>
                  <a:lnTo>
                    <a:pt x="2724" y="1112"/>
                  </a:lnTo>
                  <a:lnTo>
                    <a:pt x="2724" y="1112"/>
                  </a:lnTo>
                  <a:lnTo>
                    <a:pt x="2722" y="1114"/>
                  </a:lnTo>
                  <a:lnTo>
                    <a:pt x="2722" y="1114"/>
                  </a:lnTo>
                  <a:lnTo>
                    <a:pt x="2722" y="1116"/>
                  </a:lnTo>
                  <a:lnTo>
                    <a:pt x="2722" y="1118"/>
                  </a:lnTo>
                  <a:lnTo>
                    <a:pt x="2722" y="1120"/>
                  </a:lnTo>
                  <a:lnTo>
                    <a:pt x="2722" y="1120"/>
                  </a:lnTo>
                  <a:lnTo>
                    <a:pt x="2722" y="1120"/>
                  </a:lnTo>
                  <a:lnTo>
                    <a:pt x="2716" y="1120"/>
                  </a:lnTo>
                  <a:lnTo>
                    <a:pt x="2706" y="1122"/>
                  </a:lnTo>
                  <a:lnTo>
                    <a:pt x="2702" y="1124"/>
                  </a:lnTo>
                  <a:lnTo>
                    <a:pt x="2696" y="1124"/>
                  </a:lnTo>
                  <a:lnTo>
                    <a:pt x="2690" y="1126"/>
                  </a:lnTo>
                  <a:lnTo>
                    <a:pt x="2690" y="1128"/>
                  </a:lnTo>
                  <a:lnTo>
                    <a:pt x="2690" y="1128"/>
                  </a:lnTo>
                  <a:lnTo>
                    <a:pt x="2690" y="1128"/>
                  </a:lnTo>
                  <a:lnTo>
                    <a:pt x="2688" y="1124"/>
                  </a:lnTo>
                  <a:lnTo>
                    <a:pt x="2686" y="1122"/>
                  </a:lnTo>
                  <a:lnTo>
                    <a:pt x="2686" y="1122"/>
                  </a:lnTo>
                  <a:lnTo>
                    <a:pt x="2686" y="1120"/>
                  </a:lnTo>
                  <a:lnTo>
                    <a:pt x="2686" y="1120"/>
                  </a:lnTo>
                  <a:lnTo>
                    <a:pt x="2686" y="1118"/>
                  </a:lnTo>
                  <a:lnTo>
                    <a:pt x="2684" y="1118"/>
                  </a:lnTo>
                  <a:lnTo>
                    <a:pt x="2680" y="1118"/>
                  </a:lnTo>
                  <a:lnTo>
                    <a:pt x="2674" y="1116"/>
                  </a:lnTo>
                  <a:lnTo>
                    <a:pt x="2670" y="1114"/>
                  </a:lnTo>
                  <a:lnTo>
                    <a:pt x="2666" y="1112"/>
                  </a:lnTo>
                  <a:lnTo>
                    <a:pt x="2660" y="1110"/>
                  </a:lnTo>
                  <a:lnTo>
                    <a:pt x="2656" y="1108"/>
                  </a:lnTo>
                  <a:lnTo>
                    <a:pt x="2652" y="1106"/>
                  </a:lnTo>
                  <a:lnTo>
                    <a:pt x="2652" y="1106"/>
                  </a:lnTo>
                  <a:lnTo>
                    <a:pt x="2652" y="1106"/>
                  </a:lnTo>
                  <a:lnTo>
                    <a:pt x="2648" y="1106"/>
                  </a:lnTo>
                  <a:lnTo>
                    <a:pt x="2644" y="1106"/>
                  </a:lnTo>
                  <a:lnTo>
                    <a:pt x="2642" y="1108"/>
                  </a:lnTo>
                  <a:lnTo>
                    <a:pt x="2642" y="1108"/>
                  </a:lnTo>
                  <a:lnTo>
                    <a:pt x="2642" y="1108"/>
                  </a:lnTo>
                  <a:lnTo>
                    <a:pt x="2640" y="1108"/>
                  </a:lnTo>
                  <a:lnTo>
                    <a:pt x="2640" y="1108"/>
                  </a:lnTo>
                  <a:lnTo>
                    <a:pt x="2638" y="1108"/>
                  </a:lnTo>
                  <a:lnTo>
                    <a:pt x="2638" y="1110"/>
                  </a:lnTo>
                  <a:lnTo>
                    <a:pt x="2638" y="1110"/>
                  </a:lnTo>
                  <a:lnTo>
                    <a:pt x="2636" y="1110"/>
                  </a:lnTo>
                  <a:lnTo>
                    <a:pt x="2636" y="1112"/>
                  </a:lnTo>
                  <a:lnTo>
                    <a:pt x="2636" y="1112"/>
                  </a:lnTo>
                  <a:lnTo>
                    <a:pt x="2636" y="1112"/>
                  </a:lnTo>
                  <a:lnTo>
                    <a:pt x="2634" y="1114"/>
                  </a:lnTo>
                  <a:lnTo>
                    <a:pt x="2634" y="1114"/>
                  </a:lnTo>
                  <a:lnTo>
                    <a:pt x="2634" y="1114"/>
                  </a:lnTo>
                  <a:lnTo>
                    <a:pt x="2634" y="1116"/>
                  </a:lnTo>
                  <a:lnTo>
                    <a:pt x="2634" y="1116"/>
                  </a:lnTo>
                  <a:lnTo>
                    <a:pt x="2634" y="1116"/>
                  </a:lnTo>
                  <a:lnTo>
                    <a:pt x="2634" y="1118"/>
                  </a:lnTo>
                  <a:lnTo>
                    <a:pt x="2634" y="1118"/>
                  </a:lnTo>
                  <a:lnTo>
                    <a:pt x="2634" y="1118"/>
                  </a:lnTo>
                  <a:lnTo>
                    <a:pt x="2636" y="1122"/>
                  </a:lnTo>
                  <a:lnTo>
                    <a:pt x="2636" y="1122"/>
                  </a:lnTo>
                  <a:lnTo>
                    <a:pt x="2636" y="1124"/>
                  </a:lnTo>
                  <a:lnTo>
                    <a:pt x="2638" y="1126"/>
                  </a:lnTo>
                  <a:lnTo>
                    <a:pt x="2638" y="1126"/>
                  </a:lnTo>
                  <a:lnTo>
                    <a:pt x="2638" y="1128"/>
                  </a:lnTo>
                  <a:lnTo>
                    <a:pt x="2642" y="1130"/>
                  </a:lnTo>
                  <a:lnTo>
                    <a:pt x="2642" y="1130"/>
                  </a:lnTo>
                  <a:lnTo>
                    <a:pt x="2642" y="1132"/>
                  </a:lnTo>
                  <a:lnTo>
                    <a:pt x="2644" y="1132"/>
                  </a:lnTo>
                  <a:lnTo>
                    <a:pt x="2642" y="1134"/>
                  </a:lnTo>
                  <a:lnTo>
                    <a:pt x="2640" y="1136"/>
                  </a:lnTo>
                  <a:lnTo>
                    <a:pt x="2638" y="1140"/>
                  </a:lnTo>
                  <a:lnTo>
                    <a:pt x="2636" y="1140"/>
                  </a:lnTo>
                  <a:lnTo>
                    <a:pt x="2636" y="1142"/>
                  </a:lnTo>
                  <a:lnTo>
                    <a:pt x="2636" y="1142"/>
                  </a:lnTo>
                  <a:lnTo>
                    <a:pt x="2634" y="1144"/>
                  </a:lnTo>
                  <a:lnTo>
                    <a:pt x="2634" y="1144"/>
                  </a:lnTo>
                  <a:lnTo>
                    <a:pt x="2634" y="1146"/>
                  </a:lnTo>
                  <a:lnTo>
                    <a:pt x="2638" y="1150"/>
                  </a:lnTo>
                  <a:lnTo>
                    <a:pt x="2638" y="1150"/>
                  </a:lnTo>
                  <a:lnTo>
                    <a:pt x="2638" y="1150"/>
                  </a:lnTo>
                  <a:lnTo>
                    <a:pt x="2642" y="1152"/>
                  </a:lnTo>
                  <a:lnTo>
                    <a:pt x="2642" y="1152"/>
                  </a:lnTo>
                  <a:lnTo>
                    <a:pt x="2644" y="1152"/>
                  </a:lnTo>
                  <a:lnTo>
                    <a:pt x="2648" y="1154"/>
                  </a:lnTo>
                  <a:lnTo>
                    <a:pt x="2652" y="1156"/>
                  </a:lnTo>
                  <a:lnTo>
                    <a:pt x="2656" y="1158"/>
                  </a:lnTo>
                  <a:lnTo>
                    <a:pt x="2662" y="1160"/>
                  </a:lnTo>
                  <a:lnTo>
                    <a:pt x="2666" y="1162"/>
                  </a:lnTo>
                  <a:lnTo>
                    <a:pt x="2664" y="1162"/>
                  </a:lnTo>
                  <a:lnTo>
                    <a:pt x="2666" y="1164"/>
                  </a:lnTo>
                  <a:lnTo>
                    <a:pt x="2668" y="1166"/>
                  </a:lnTo>
                  <a:lnTo>
                    <a:pt x="2668" y="1166"/>
                  </a:lnTo>
                  <a:lnTo>
                    <a:pt x="2672" y="1166"/>
                  </a:lnTo>
                  <a:lnTo>
                    <a:pt x="2672" y="1166"/>
                  </a:lnTo>
                  <a:lnTo>
                    <a:pt x="2674" y="1164"/>
                  </a:lnTo>
                  <a:lnTo>
                    <a:pt x="2676" y="1162"/>
                  </a:lnTo>
                  <a:lnTo>
                    <a:pt x="2678" y="1158"/>
                  </a:lnTo>
                  <a:lnTo>
                    <a:pt x="2680" y="1156"/>
                  </a:lnTo>
                  <a:lnTo>
                    <a:pt x="2678" y="1156"/>
                  </a:lnTo>
                  <a:lnTo>
                    <a:pt x="2682" y="1156"/>
                  </a:lnTo>
                  <a:lnTo>
                    <a:pt x="2682" y="1154"/>
                  </a:lnTo>
                  <a:lnTo>
                    <a:pt x="2684" y="1154"/>
                  </a:lnTo>
                  <a:lnTo>
                    <a:pt x="2686" y="1156"/>
                  </a:lnTo>
                  <a:lnTo>
                    <a:pt x="2686" y="1156"/>
                  </a:lnTo>
                  <a:lnTo>
                    <a:pt x="2686" y="1156"/>
                  </a:lnTo>
                  <a:lnTo>
                    <a:pt x="2688" y="1158"/>
                  </a:lnTo>
                  <a:lnTo>
                    <a:pt x="2690" y="1158"/>
                  </a:lnTo>
                  <a:lnTo>
                    <a:pt x="2690" y="1160"/>
                  </a:lnTo>
                  <a:lnTo>
                    <a:pt x="2690" y="1160"/>
                  </a:lnTo>
                  <a:lnTo>
                    <a:pt x="2690" y="1162"/>
                  </a:lnTo>
                  <a:lnTo>
                    <a:pt x="2690" y="1164"/>
                  </a:lnTo>
                  <a:lnTo>
                    <a:pt x="2690" y="1166"/>
                  </a:lnTo>
                  <a:lnTo>
                    <a:pt x="2688" y="1168"/>
                  </a:lnTo>
                  <a:lnTo>
                    <a:pt x="2690" y="1168"/>
                  </a:lnTo>
                  <a:lnTo>
                    <a:pt x="2688" y="1170"/>
                  </a:lnTo>
                  <a:lnTo>
                    <a:pt x="2688" y="1170"/>
                  </a:lnTo>
                  <a:lnTo>
                    <a:pt x="2688" y="1174"/>
                  </a:lnTo>
                  <a:lnTo>
                    <a:pt x="2688" y="1174"/>
                  </a:lnTo>
                  <a:lnTo>
                    <a:pt x="2690" y="1174"/>
                  </a:lnTo>
                  <a:lnTo>
                    <a:pt x="2692" y="1174"/>
                  </a:lnTo>
                  <a:lnTo>
                    <a:pt x="2694" y="1174"/>
                  </a:lnTo>
                  <a:lnTo>
                    <a:pt x="2696" y="1174"/>
                  </a:lnTo>
                  <a:lnTo>
                    <a:pt x="2696" y="1174"/>
                  </a:lnTo>
                  <a:lnTo>
                    <a:pt x="2698" y="1176"/>
                  </a:lnTo>
                  <a:lnTo>
                    <a:pt x="2698" y="1176"/>
                  </a:lnTo>
                  <a:lnTo>
                    <a:pt x="2698" y="1180"/>
                  </a:lnTo>
                  <a:lnTo>
                    <a:pt x="2698" y="1184"/>
                  </a:lnTo>
                  <a:lnTo>
                    <a:pt x="2698" y="1188"/>
                  </a:lnTo>
                  <a:lnTo>
                    <a:pt x="2694" y="1192"/>
                  </a:lnTo>
                  <a:lnTo>
                    <a:pt x="2692" y="1196"/>
                  </a:lnTo>
                  <a:lnTo>
                    <a:pt x="2692" y="1196"/>
                  </a:lnTo>
                  <a:lnTo>
                    <a:pt x="2690" y="1196"/>
                  </a:lnTo>
                  <a:lnTo>
                    <a:pt x="2688" y="1198"/>
                  </a:lnTo>
                  <a:lnTo>
                    <a:pt x="2682" y="1198"/>
                  </a:lnTo>
                  <a:lnTo>
                    <a:pt x="2678" y="1200"/>
                  </a:lnTo>
                  <a:lnTo>
                    <a:pt x="2672" y="1200"/>
                  </a:lnTo>
                  <a:lnTo>
                    <a:pt x="2666" y="1200"/>
                  </a:lnTo>
                  <a:lnTo>
                    <a:pt x="2662" y="1200"/>
                  </a:lnTo>
                  <a:lnTo>
                    <a:pt x="2660" y="1200"/>
                  </a:lnTo>
                  <a:lnTo>
                    <a:pt x="2660" y="1200"/>
                  </a:lnTo>
                  <a:lnTo>
                    <a:pt x="2660" y="1196"/>
                  </a:lnTo>
                  <a:lnTo>
                    <a:pt x="2660" y="1196"/>
                  </a:lnTo>
                  <a:lnTo>
                    <a:pt x="2660" y="1196"/>
                  </a:lnTo>
                  <a:lnTo>
                    <a:pt x="2658" y="1190"/>
                  </a:lnTo>
                  <a:lnTo>
                    <a:pt x="2658" y="1190"/>
                  </a:lnTo>
                  <a:lnTo>
                    <a:pt x="2658" y="1190"/>
                  </a:lnTo>
                  <a:lnTo>
                    <a:pt x="2656" y="1188"/>
                  </a:lnTo>
                  <a:lnTo>
                    <a:pt x="2656" y="1188"/>
                  </a:lnTo>
                  <a:lnTo>
                    <a:pt x="2656" y="1188"/>
                  </a:lnTo>
                  <a:lnTo>
                    <a:pt x="2654" y="1186"/>
                  </a:lnTo>
                  <a:lnTo>
                    <a:pt x="2654" y="1186"/>
                  </a:lnTo>
                  <a:lnTo>
                    <a:pt x="2654" y="1186"/>
                  </a:lnTo>
                  <a:lnTo>
                    <a:pt x="2652" y="1184"/>
                  </a:lnTo>
                  <a:lnTo>
                    <a:pt x="2652" y="1184"/>
                  </a:lnTo>
                  <a:lnTo>
                    <a:pt x="2652" y="1184"/>
                  </a:lnTo>
                  <a:lnTo>
                    <a:pt x="2650" y="1182"/>
                  </a:lnTo>
                  <a:lnTo>
                    <a:pt x="2650" y="1182"/>
                  </a:lnTo>
                  <a:lnTo>
                    <a:pt x="2646" y="1182"/>
                  </a:lnTo>
                  <a:lnTo>
                    <a:pt x="2644" y="1184"/>
                  </a:lnTo>
                  <a:lnTo>
                    <a:pt x="2642" y="1184"/>
                  </a:lnTo>
                  <a:lnTo>
                    <a:pt x="2644" y="1184"/>
                  </a:lnTo>
                  <a:lnTo>
                    <a:pt x="2640" y="1186"/>
                  </a:lnTo>
                  <a:lnTo>
                    <a:pt x="2636" y="1188"/>
                  </a:lnTo>
                  <a:lnTo>
                    <a:pt x="2636" y="1184"/>
                  </a:lnTo>
                  <a:lnTo>
                    <a:pt x="2636" y="1184"/>
                  </a:lnTo>
                  <a:lnTo>
                    <a:pt x="2636" y="1180"/>
                  </a:lnTo>
                  <a:lnTo>
                    <a:pt x="2636" y="1180"/>
                  </a:lnTo>
                  <a:lnTo>
                    <a:pt x="2636" y="1180"/>
                  </a:lnTo>
                  <a:lnTo>
                    <a:pt x="2634" y="1178"/>
                  </a:lnTo>
                  <a:lnTo>
                    <a:pt x="2634" y="1178"/>
                  </a:lnTo>
                  <a:lnTo>
                    <a:pt x="2634" y="1178"/>
                  </a:lnTo>
                  <a:lnTo>
                    <a:pt x="2632" y="1176"/>
                  </a:lnTo>
                  <a:lnTo>
                    <a:pt x="2632" y="1176"/>
                  </a:lnTo>
                  <a:lnTo>
                    <a:pt x="2632" y="1176"/>
                  </a:lnTo>
                  <a:lnTo>
                    <a:pt x="2630" y="1174"/>
                  </a:lnTo>
                  <a:lnTo>
                    <a:pt x="2630" y="1174"/>
                  </a:lnTo>
                  <a:lnTo>
                    <a:pt x="2630" y="1174"/>
                  </a:lnTo>
                  <a:lnTo>
                    <a:pt x="2628" y="1174"/>
                  </a:lnTo>
                  <a:lnTo>
                    <a:pt x="2626" y="1174"/>
                  </a:lnTo>
                  <a:lnTo>
                    <a:pt x="2624" y="1174"/>
                  </a:lnTo>
                  <a:lnTo>
                    <a:pt x="2622" y="1174"/>
                  </a:lnTo>
                  <a:lnTo>
                    <a:pt x="2618" y="1176"/>
                  </a:lnTo>
                  <a:lnTo>
                    <a:pt x="2614" y="1178"/>
                  </a:lnTo>
                  <a:lnTo>
                    <a:pt x="2608" y="1180"/>
                  </a:lnTo>
                  <a:lnTo>
                    <a:pt x="2606" y="1180"/>
                  </a:lnTo>
                  <a:lnTo>
                    <a:pt x="2606" y="1180"/>
                  </a:lnTo>
                  <a:lnTo>
                    <a:pt x="2604" y="1174"/>
                  </a:lnTo>
                  <a:lnTo>
                    <a:pt x="2602" y="1166"/>
                  </a:lnTo>
                  <a:lnTo>
                    <a:pt x="2600" y="1160"/>
                  </a:lnTo>
                  <a:lnTo>
                    <a:pt x="2598" y="1154"/>
                  </a:lnTo>
                  <a:lnTo>
                    <a:pt x="2596" y="1152"/>
                  </a:lnTo>
                  <a:lnTo>
                    <a:pt x="2594" y="1150"/>
                  </a:lnTo>
                  <a:lnTo>
                    <a:pt x="2594" y="1150"/>
                  </a:lnTo>
                  <a:lnTo>
                    <a:pt x="2594" y="1148"/>
                  </a:lnTo>
                  <a:lnTo>
                    <a:pt x="2592" y="1146"/>
                  </a:lnTo>
                  <a:lnTo>
                    <a:pt x="2592" y="1146"/>
                  </a:lnTo>
                  <a:lnTo>
                    <a:pt x="2592" y="1146"/>
                  </a:lnTo>
                  <a:lnTo>
                    <a:pt x="2588" y="1146"/>
                  </a:lnTo>
                  <a:lnTo>
                    <a:pt x="2588" y="1146"/>
                  </a:lnTo>
                  <a:lnTo>
                    <a:pt x="2588" y="1146"/>
                  </a:lnTo>
                  <a:lnTo>
                    <a:pt x="2586" y="1144"/>
                  </a:lnTo>
                  <a:lnTo>
                    <a:pt x="2586" y="1144"/>
                  </a:lnTo>
                  <a:lnTo>
                    <a:pt x="2586" y="1144"/>
                  </a:lnTo>
                  <a:lnTo>
                    <a:pt x="2586" y="1142"/>
                  </a:lnTo>
                  <a:lnTo>
                    <a:pt x="2584" y="1136"/>
                  </a:lnTo>
                  <a:lnTo>
                    <a:pt x="2584" y="1132"/>
                  </a:lnTo>
                  <a:lnTo>
                    <a:pt x="2584" y="1132"/>
                  </a:lnTo>
                  <a:lnTo>
                    <a:pt x="2584" y="1130"/>
                  </a:lnTo>
                  <a:lnTo>
                    <a:pt x="2584" y="1130"/>
                  </a:lnTo>
                  <a:lnTo>
                    <a:pt x="2584" y="1128"/>
                  </a:lnTo>
                  <a:lnTo>
                    <a:pt x="2582" y="1126"/>
                  </a:lnTo>
                  <a:lnTo>
                    <a:pt x="2580" y="1124"/>
                  </a:lnTo>
                  <a:lnTo>
                    <a:pt x="2580" y="1122"/>
                  </a:lnTo>
                  <a:lnTo>
                    <a:pt x="2580" y="1120"/>
                  </a:lnTo>
                  <a:lnTo>
                    <a:pt x="2580" y="1114"/>
                  </a:lnTo>
                  <a:lnTo>
                    <a:pt x="2580" y="1108"/>
                  </a:lnTo>
                  <a:lnTo>
                    <a:pt x="2580" y="1100"/>
                  </a:lnTo>
                  <a:lnTo>
                    <a:pt x="2580" y="1098"/>
                  </a:lnTo>
                  <a:lnTo>
                    <a:pt x="2578" y="1094"/>
                  </a:lnTo>
                  <a:lnTo>
                    <a:pt x="2578" y="1090"/>
                  </a:lnTo>
                  <a:lnTo>
                    <a:pt x="2578" y="1090"/>
                  </a:lnTo>
                  <a:lnTo>
                    <a:pt x="2578" y="1090"/>
                  </a:lnTo>
                  <a:lnTo>
                    <a:pt x="2576" y="1086"/>
                  </a:lnTo>
                  <a:lnTo>
                    <a:pt x="2576" y="1086"/>
                  </a:lnTo>
                  <a:lnTo>
                    <a:pt x="2576" y="1086"/>
                  </a:lnTo>
                  <a:lnTo>
                    <a:pt x="2574" y="1084"/>
                  </a:lnTo>
                  <a:lnTo>
                    <a:pt x="2574" y="1084"/>
                  </a:lnTo>
                  <a:lnTo>
                    <a:pt x="2574" y="1082"/>
                  </a:lnTo>
                  <a:lnTo>
                    <a:pt x="2570" y="1080"/>
                  </a:lnTo>
                  <a:lnTo>
                    <a:pt x="2570" y="1080"/>
                  </a:lnTo>
                  <a:lnTo>
                    <a:pt x="2570" y="1080"/>
                  </a:lnTo>
                  <a:lnTo>
                    <a:pt x="2566" y="1078"/>
                  </a:lnTo>
                  <a:lnTo>
                    <a:pt x="2566" y="1078"/>
                  </a:lnTo>
                  <a:lnTo>
                    <a:pt x="2566" y="1078"/>
                  </a:lnTo>
                  <a:lnTo>
                    <a:pt x="2560" y="1076"/>
                  </a:lnTo>
                  <a:lnTo>
                    <a:pt x="2554" y="1074"/>
                  </a:lnTo>
                  <a:lnTo>
                    <a:pt x="2546" y="1074"/>
                  </a:lnTo>
                  <a:lnTo>
                    <a:pt x="2532" y="1072"/>
                  </a:lnTo>
                  <a:lnTo>
                    <a:pt x="2526" y="1070"/>
                  </a:lnTo>
                  <a:lnTo>
                    <a:pt x="2522" y="1070"/>
                  </a:lnTo>
                  <a:lnTo>
                    <a:pt x="2522" y="1068"/>
                  </a:lnTo>
                  <a:lnTo>
                    <a:pt x="2522" y="1068"/>
                  </a:lnTo>
                  <a:lnTo>
                    <a:pt x="2522" y="1068"/>
                  </a:lnTo>
                  <a:lnTo>
                    <a:pt x="2520" y="1066"/>
                  </a:lnTo>
                  <a:lnTo>
                    <a:pt x="2520" y="1062"/>
                  </a:lnTo>
                  <a:lnTo>
                    <a:pt x="2516" y="1058"/>
                  </a:lnTo>
                  <a:lnTo>
                    <a:pt x="2514" y="1056"/>
                  </a:lnTo>
                  <a:lnTo>
                    <a:pt x="2512" y="1052"/>
                  </a:lnTo>
                  <a:lnTo>
                    <a:pt x="2504" y="1046"/>
                  </a:lnTo>
                  <a:lnTo>
                    <a:pt x="2498" y="1040"/>
                  </a:lnTo>
                  <a:lnTo>
                    <a:pt x="2490" y="1034"/>
                  </a:lnTo>
                  <a:lnTo>
                    <a:pt x="2488" y="1032"/>
                  </a:lnTo>
                  <a:lnTo>
                    <a:pt x="2498" y="1034"/>
                  </a:lnTo>
                  <a:lnTo>
                    <a:pt x="2502" y="1036"/>
                  </a:lnTo>
                  <a:lnTo>
                    <a:pt x="2506" y="1036"/>
                  </a:lnTo>
                  <a:lnTo>
                    <a:pt x="2510" y="1038"/>
                  </a:lnTo>
                  <a:lnTo>
                    <a:pt x="2514" y="1040"/>
                  </a:lnTo>
                  <a:lnTo>
                    <a:pt x="2514" y="1040"/>
                  </a:lnTo>
                  <a:lnTo>
                    <a:pt x="2516" y="1040"/>
                  </a:lnTo>
                  <a:lnTo>
                    <a:pt x="2516" y="1040"/>
                  </a:lnTo>
                  <a:lnTo>
                    <a:pt x="2518" y="1040"/>
                  </a:lnTo>
                  <a:lnTo>
                    <a:pt x="2518" y="1038"/>
                  </a:lnTo>
                  <a:lnTo>
                    <a:pt x="2520" y="1038"/>
                  </a:lnTo>
                  <a:lnTo>
                    <a:pt x="2520" y="1038"/>
                  </a:lnTo>
                  <a:lnTo>
                    <a:pt x="2520" y="1036"/>
                  </a:lnTo>
                  <a:lnTo>
                    <a:pt x="2522" y="1038"/>
                  </a:lnTo>
                  <a:lnTo>
                    <a:pt x="2526" y="1040"/>
                  </a:lnTo>
                  <a:lnTo>
                    <a:pt x="2530" y="1042"/>
                  </a:lnTo>
                  <a:lnTo>
                    <a:pt x="2536" y="1044"/>
                  </a:lnTo>
                  <a:lnTo>
                    <a:pt x="2540" y="1046"/>
                  </a:lnTo>
                  <a:lnTo>
                    <a:pt x="2544" y="1046"/>
                  </a:lnTo>
                  <a:lnTo>
                    <a:pt x="2552" y="1048"/>
                  </a:lnTo>
                  <a:lnTo>
                    <a:pt x="2562" y="1046"/>
                  </a:lnTo>
                  <a:lnTo>
                    <a:pt x="2570" y="1046"/>
                  </a:lnTo>
                  <a:lnTo>
                    <a:pt x="2578" y="1046"/>
                  </a:lnTo>
                  <a:lnTo>
                    <a:pt x="2582" y="1046"/>
                  </a:lnTo>
                  <a:lnTo>
                    <a:pt x="2588" y="1046"/>
                  </a:lnTo>
                  <a:lnTo>
                    <a:pt x="2598" y="1048"/>
                  </a:lnTo>
                  <a:lnTo>
                    <a:pt x="2608" y="1048"/>
                  </a:lnTo>
                  <a:lnTo>
                    <a:pt x="2616" y="1048"/>
                  </a:lnTo>
                  <a:lnTo>
                    <a:pt x="2624" y="1046"/>
                  </a:lnTo>
                  <a:lnTo>
                    <a:pt x="2632" y="1046"/>
                  </a:lnTo>
                  <a:lnTo>
                    <a:pt x="2640" y="1044"/>
                  </a:lnTo>
                  <a:lnTo>
                    <a:pt x="2650" y="1042"/>
                  </a:lnTo>
                  <a:lnTo>
                    <a:pt x="2658" y="1038"/>
                  </a:lnTo>
                  <a:lnTo>
                    <a:pt x="2658" y="1038"/>
                  </a:lnTo>
                  <a:lnTo>
                    <a:pt x="2660" y="1038"/>
                  </a:lnTo>
                  <a:lnTo>
                    <a:pt x="2664" y="1036"/>
                  </a:lnTo>
                  <a:lnTo>
                    <a:pt x="2670" y="1034"/>
                  </a:lnTo>
                  <a:lnTo>
                    <a:pt x="2674" y="1030"/>
                  </a:lnTo>
                  <a:lnTo>
                    <a:pt x="2680" y="1026"/>
                  </a:lnTo>
                  <a:lnTo>
                    <a:pt x="2684" y="1022"/>
                  </a:lnTo>
                  <a:lnTo>
                    <a:pt x="2688" y="1018"/>
                  </a:lnTo>
                  <a:lnTo>
                    <a:pt x="2694" y="1012"/>
                  </a:lnTo>
                  <a:lnTo>
                    <a:pt x="2698" y="1008"/>
                  </a:lnTo>
                  <a:lnTo>
                    <a:pt x="2702" y="1002"/>
                  </a:lnTo>
                  <a:lnTo>
                    <a:pt x="2704" y="996"/>
                  </a:lnTo>
                  <a:lnTo>
                    <a:pt x="2708" y="990"/>
                  </a:lnTo>
                  <a:lnTo>
                    <a:pt x="2710" y="984"/>
                  </a:lnTo>
                  <a:lnTo>
                    <a:pt x="2712" y="978"/>
                  </a:lnTo>
                  <a:lnTo>
                    <a:pt x="2712" y="972"/>
                  </a:lnTo>
                  <a:lnTo>
                    <a:pt x="2712" y="966"/>
                  </a:lnTo>
                  <a:lnTo>
                    <a:pt x="2712" y="960"/>
                  </a:lnTo>
                  <a:lnTo>
                    <a:pt x="2710" y="954"/>
                  </a:lnTo>
                  <a:lnTo>
                    <a:pt x="2710" y="948"/>
                  </a:lnTo>
                  <a:lnTo>
                    <a:pt x="2708" y="942"/>
                  </a:lnTo>
                  <a:lnTo>
                    <a:pt x="2704" y="936"/>
                  </a:lnTo>
                  <a:lnTo>
                    <a:pt x="2702" y="930"/>
                  </a:lnTo>
                  <a:lnTo>
                    <a:pt x="2698" y="926"/>
                  </a:lnTo>
                  <a:lnTo>
                    <a:pt x="2694" y="920"/>
                  </a:lnTo>
                  <a:lnTo>
                    <a:pt x="2690" y="916"/>
                  </a:lnTo>
                  <a:lnTo>
                    <a:pt x="2682" y="908"/>
                  </a:lnTo>
                  <a:lnTo>
                    <a:pt x="2682" y="908"/>
                  </a:lnTo>
                  <a:lnTo>
                    <a:pt x="2682" y="908"/>
                  </a:lnTo>
                  <a:lnTo>
                    <a:pt x="2672" y="902"/>
                  </a:lnTo>
                  <a:lnTo>
                    <a:pt x="2660" y="896"/>
                  </a:lnTo>
                  <a:lnTo>
                    <a:pt x="2648" y="892"/>
                  </a:lnTo>
                  <a:lnTo>
                    <a:pt x="2642" y="890"/>
                  </a:lnTo>
                  <a:lnTo>
                    <a:pt x="2636" y="888"/>
                  </a:lnTo>
                  <a:lnTo>
                    <a:pt x="2624" y="886"/>
                  </a:lnTo>
                  <a:lnTo>
                    <a:pt x="2618" y="886"/>
                  </a:lnTo>
                  <a:lnTo>
                    <a:pt x="2612" y="884"/>
                  </a:lnTo>
                  <a:lnTo>
                    <a:pt x="2606" y="882"/>
                  </a:lnTo>
                  <a:lnTo>
                    <a:pt x="2600" y="880"/>
                  </a:lnTo>
                  <a:lnTo>
                    <a:pt x="2590" y="876"/>
                  </a:lnTo>
                  <a:lnTo>
                    <a:pt x="2578" y="872"/>
                  </a:lnTo>
                  <a:lnTo>
                    <a:pt x="2566" y="870"/>
                  </a:lnTo>
                  <a:lnTo>
                    <a:pt x="2554" y="868"/>
                  </a:lnTo>
                  <a:lnTo>
                    <a:pt x="2542" y="866"/>
                  </a:lnTo>
                  <a:lnTo>
                    <a:pt x="2532" y="866"/>
                  </a:lnTo>
                  <a:lnTo>
                    <a:pt x="2520" y="864"/>
                  </a:lnTo>
                  <a:lnTo>
                    <a:pt x="2506" y="862"/>
                  </a:lnTo>
                  <a:lnTo>
                    <a:pt x="2494" y="860"/>
                  </a:lnTo>
                  <a:lnTo>
                    <a:pt x="2480" y="858"/>
                  </a:lnTo>
                  <a:lnTo>
                    <a:pt x="2468" y="858"/>
                  </a:lnTo>
                  <a:lnTo>
                    <a:pt x="2454" y="858"/>
                  </a:lnTo>
                  <a:lnTo>
                    <a:pt x="2454" y="858"/>
                  </a:lnTo>
                  <a:lnTo>
                    <a:pt x="2452" y="860"/>
                  </a:lnTo>
                  <a:lnTo>
                    <a:pt x="2452" y="860"/>
                  </a:lnTo>
                  <a:lnTo>
                    <a:pt x="2452" y="862"/>
                  </a:lnTo>
                  <a:lnTo>
                    <a:pt x="2454" y="866"/>
                  </a:lnTo>
                  <a:lnTo>
                    <a:pt x="2454" y="868"/>
                  </a:lnTo>
                  <a:lnTo>
                    <a:pt x="2454" y="872"/>
                  </a:lnTo>
                  <a:lnTo>
                    <a:pt x="2454" y="872"/>
                  </a:lnTo>
                  <a:lnTo>
                    <a:pt x="2454" y="874"/>
                  </a:lnTo>
                  <a:lnTo>
                    <a:pt x="2452" y="878"/>
                  </a:lnTo>
                  <a:lnTo>
                    <a:pt x="2452" y="878"/>
                  </a:lnTo>
                  <a:lnTo>
                    <a:pt x="2450" y="880"/>
                  </a:lnTo>
                  <a:lnTo>
                    <a:pt x="2450" y="878"/>
                  </a:lnTo>
                  <a:lnTo>
                    <a:pt x="2450" y="876"/>
                  </a:lnTo>
                  <a:lnTo>
                    <a:pt x="2450" y="876"/>
                  </a:lnTo>
                  <a:lnTo>
                    <a:pt x="2450" y="874"/>
                  </a:lnTo>
                  <a:lnTo>
                    <a:pt x="2448" y="874"/>
                  </a:lnTo>
                  <a:lnTo>
                    <a:pt x="2448" y="874"/>
                  </a:lnTo>
                  <a:lnTo>
                    <a:pt x="2448" y="872"/>
                  </a:lnTo>
                  <a:lnTo>
                    <a:pt x="2446" y="872"/>
                  </a:lnTo>
                  <a:lnTo>
                    <a:pt x="2444" y="872"/>
                  </a:lnTo>
                  <a:lnTo>
                    <a:pt x="2440" y="870"/>
                  </a:lnTo>
                  <a:lnTo>
                    <a:pt x="2436" y="866"/>
                  </a:lnTo>
                  <a:lnTo>
                    <a:pt x="2430" y="864"/>
                  </a:lnTo>
                  <a:lnTo>
                    <a:pt x="2426" y="862"/>
                  </a:lnTo>
                  <a:lnTo>
                    <a:pt x="2424" y="862"/>
                  </a:lnTo>
                  <a:lnTo>
                    <a:pt x="2424" y="860"/>
                  </a:lnTo>
                  <a:lnTo>
                    <a:pt x="2424" y="860"/>
                  </a:lnTo>
                  <a:lnTo>
                    <a:pt x="2422" y="860"/>
                  </a:lnTo>
                  <a:lnTo>
                    <a:pt x="2422" y="858"/>
                  </a:lnTo>
                  <a:lnTo>
                    <a:pt x="2424" y="856"/>
                  </a:lnTo>
                  <a:lnTo>
                    <a:pt x="2424" y="856"/>
                  </a:lnTo>
                  <a:lnTo>
                    <a:pt x="2424" y="856"/>
                  </a:lnTo>
                  <a:lnTo>
                    <a:pt x="2426" y="854"/>
                  </a:lnTo>
                  <a:lnTo>
                    <a:pt x="2426" y="854"/>
                  </a:lnTo>
                  <a:lnTo>
                    <a:pt x="2430" y="854"/>
                  </a:lnTo>
                  <a:lnTo>
                    <a:pt x="2436" y="854"/>
                  </a:lnTo>
                  <a:lnTo>
                    <a:pt x="2442" y="854"/>
                  </a:lnTo>
                  <a:lnTo>
                    <a:pt x="2446" y="854"/>
                  </a:lnTo>
                  <a:lnTo>
                    <a:pt x="2448" y="854"/>
                  </a:lnTo>
                  <a:lnTo>
                    <a:pt x="2450" y="852"/>
                  </a:lnTo>
                  <a:lnTo>
                    <a:pt x="2450" y="852"/>
                  </a:lnTo>
                  <a:lnTo>
                    <a:pt x="2450" y="852"/>
                  </a:lnTo>
                  <a:lnTo>
                    <a:pt x="2452" y="852"/>
                  </a:lnTo>
                  <a:lnTo>
                    <a:pt x="2452" y="852"/>
                  </a:lnTo>
                  <a:lnTo>
                    <a:pt x="2454" y="848"/>
                  </a:lnTo>
                  <a:lnTo>
                    <a:pt x="2454" y="848"/>
                  </a:lnTo>
                  <a:lnTo>
                    <a:pt x="2452" y="846"/>
                  </a:lnTo>
                  <a:lnTo>
                    <a:pt x="2448" y="844"/>
                  </a:lnTo>
                  <a:lnTo>
                    <a:pt x="2444" y="842"/>
                  </a:lnTo>
                  <a:lnTo>
                    <a:pt x="2438" y="840"/>
                  </a:lnTo>
                  <a:lnTo>
                    <a:pt x="2434" y="838"/>
                  </a:lnTo>
                  <a:lnTo>
                    <a:pt x="2428" y="836"/>
                  </a:lnTo>
                  <a:lnTo>
                    <a:pt x="2428" y="836"/>
                  </a:lnTo>
                  <a:lnTo>
                    <a:pt x="2428" y="836"/>
                  </a:lnTo>
                  <a:lnTo>
                    <a:pt x="2424" y="836"/>
                  </a:lnTo>
                  <a:lnTo>
                    <a:pt x="2424" y="836"/>
                  </a:lnTo>
                  <a:lnTo>
                    <a:pt x="2422" y="836"/>
                  </a:lnTo>
                  <a:lnTo>
                    <a:pt x="2418" y="836"/>
                  </a:lnTo>
                  <a:lnTo>
                    <a:pt x="2418" y="836"/>
                  </a:lnTo>
                  <a:lnTo>
                    <a:pt x="2418" y="836"/>
                  </a:lnTo>
                  <a:lnTo>
                    <a:pt x="2416" y="836"/>
                  </a:lnTo>
                  <a:lnTo>
                    <a:pt x="2416" y="836"/>
                  </a:lnTo>
                  <a:lnTo>
                    <a:pt x="2414" y="836"/>
                  </a:lnTo>
                  <a:lnTo>
                    <a:pt x="2412" y="838"/>
                  </a:lnTo>
                  <a:lnTo>
                    <a:pt x="2410" y="838"/>
                  </a:lnTo>
                  <a:lnTo>
                    <a:pt x="2408" y="840"/>
                  </a:lnTo>
                  <a:lnTo>
                    <a:pt x="2408" y="840"/>
                  </a:lnTo>
                  <a:lnTo>
                    <a:pt x="2408" y="840"/>
                  </a:lnTo>
                  <a:lnTo>
                    <a:pt x="2406" y="842"/>
                  </a:lnTo>
                  <a:lnTo>
                    <a:pt x="2406" y="842"/>
                  </a:lnTo>
                  <a:lnTo>
                    <a:pt x="2406" y="842"/>
                  </a:lnTo>
                  <a:lnTo>
                    <a:pt x="2404" y="844"/>
                  </a:lnTo>
                  <a:lnTo>
                    <a:pt x="2404" y="844"/>
                  </a:lnTo>
                  <a:lnTo>
                    <a:pt x="2404" y="844"/>
                  </a:lnTo>
                  <a:lnTo>
                    <a:pt x="2404" y="848"/>
                  </a:lnTo>
                  <a:lnTo>
                    <a:pt x="2404" y="848"/>
                  </a:lnTo>
                  <a:lnTo>
                    <a:pt x="2402" y="848"/>
                  </a:lnTo>
                  <a:lnTo>
                    <a:pt x="2402" y="852"/>
                  </a:lnTo>
                  <a:lnTo>
                    <a:pt x="2402" y="856"/>
                  </a:lnTo>
                  <a:lnTo>
                    <a:pt x="2402" y="860"/>
                  </a:lnTo>
                  <a:lnTo>
                    <a:pt x="2400" y="862"/>
                  </a:lnTo>
                  <a:lnTo>
                    <a:pt x="2396" y="856"/>
                  </a:lnTo>
                  <a:lnTo>
                    <a:pt x="2392" y="852"/>
                  </a:lnTo>
                  <a:lnTo>
                    <a:pt x="2390" y="850"/>
                  </a:lnTo>
                  <a:lnTo>
                    <a:pt x="2388" y="848"/>
                  </a:lnTo>
                  <a:lnTo>
                    <a:pt x="2388" y="848"/>
                  </a:lnTo>
                  <a:lnTo>
                    <a:pt x="2386" y="846"/>
                  </a:lnTo>
                  <a:lnTo>
                    <a:pt x="2386" y="846"/>
                  </a:lnTo>
                  <a:lnTo>
                    <a:pt x="2384" y="846"/>
                  </a:lnTo>
                  <a:lnTo>
                    <a:pt x="2382" y="850"/>
                  </a:lnTo>
                  <a:lnTo>
                    <a:pt x="2382" y="850"/>
                  </a:lnTo>
                  <a:lnTo>
                    <a:pt x="2382" y="850"/>
                  </a:lnTo>
                  <a:lnTo>
                    <a:pt x="2380" y="852"/>
                  </a:lnTo>
                  <a:lnTo>
                    <a:pt x="2380" y="852"/>
                  </a:lnTo>
                  <a:lnTo>
                    <a:pt x="2380" y="852"/>
                  </a:lnTo>
                  <a:lnTo>
                    <a:pt x="2380" y="854"/>
                  </a:lnTo>
                  <a:lnTo>
                    <a:pt x="2380" y="854"/>
                  </a:lnTo>
                  <a:lnTo>
                    <a:pt x="2380" y="856"/>
                  </a:lnTo>
                  <a:lnTo>
                    <a:pt x="2380" y="856"/>
                  </a:lnTo>
                  <a:lnTo>
                    <a:pt x="2380" y="856"/>
                  </a:lnTo>
                  <a:lnTo>
                    <a:pt x="2380" y="858"/>
                  </a:lnTo>
                  <a:lnTo>
                    <a:pt x="2382" y="860"/>
                  </a:lnTo>
                  <a:lnTo>
                    <a:pt x="2382" y="860"/>
                  </a:lnTo>
                  <a:lnTo>
                    <a:pt x="2382" y="860"/>
                  </a:lnTo>
                  <a:lnTo>
                    <a:pt x="2384" y="862"/>
                  </a:lnTo>
                  <a:lnTo>
                    <a:pt x="2384" y="862"/>
                  </a:lnTo>
                  <a:lnTo>
                    <a:pt x="2384" y="862"/>
                  </a:lnTo>
                  <a:lnTo>
                    <a:pt x="2386" y="864"/>
                  </a:lnTo>
                  <a:lnTo>
                    <a:pt x="2388" y="864"/>
                  </a:lnTo>
                  <a:lnTo>
                    <a:pt x="2388" y="866"/>
                  </a:lnTo>
                  <a:lnTo>
                    <a:pt x="2388" y="866"/>
                  </a:lnTo>
                  <a:lnTo>
                    <a:pt x="2386" y="870"/>
                  </a:lnTo>
                  <a:lnTo>
                    <a:pt x="2384" y="874"/>
                  </a:lnTo>
                  <a:lnTo>
                    <a:pt x="2382" y="872"/>
                  </a:lnTo>
                  <a:lnTo>
                    <a:pt x="2382" y="872"/>
                  </a:lnTo>
                  <a:lnTo>
                    <a:pt x="2382" y="872"/>
                  </a:lnTo>
                  <a:lnTo>
                    <a:pt x="2380" y="870"/>
                  </a:lnTo>
                  <a:lnTo>
                    <a:pt x="2380" y="870"/>
                  </a:lnTo>
                  <a:lnTo>
                    <a:pt x="2380" y="870"/>
                  </a:lnTo>
                  <a:lnTo>
                    <a:pt x="2378" y="868"/>
                  </a:lnTo>
                  <a:lnTo>
                    <a:pt x="2378" y="868"/>
                  </a:lnTo>
                  <a:lnTo>
                    <a:pt x="2374" y="868"/>
                  </a:lnTo>
                  <a:lnTo>
                    <a:pt x="2374" y="868"/>
                  </a:lnTo>
                  <a:lnTo>
                    <a:pt x="2372" y="866"/>
                  </a:lnTo>
                  <a:lnTo>
                    <a:pt x="2372" y="866"/>
                  </a:lnTo>
                  <a:lnTo>
                    <a:pt x="2372" y="866"/>
                  </a:lnTo>
                  <a:lnTo>
                    <a:pt x="2370" y="864"/>
                  </a:lnTo>
                  <a:lnTo>
                    <a:pt x="2370" y="864"/>
                  </a:lnTo>
                  <a:lnTo>
                    <a:pt x="2370" y="864"/>
                  </a:lnTo>
                  <a:lnTo>
                    <a:pt x="2366" y="864"/>
                  </a:lnTo>
                  <a:lnTo>
                    <a:pt x="2366" y="864"/>
                  </a:lnTo>
                  <a:lnTo>
                    <a:pt x="2364" y="864"/>
                  </a:lnTo>
                  <a:lnTo>
                    <a:pt x="2364" y="866"/>
                  </a:lnTo>
                  <a:lnTo>
                    <a:pt x="2362" y="868"/>
                  </a:lnTo>
                  <a:lnTo>
                    <a:pt x="2362" y="870"/>
                  </a:lnTo>
                  <a:lnTo>
                    <a:pt x="2362" y="870"/>
                  </a:lnTo>
                  <a:lnTo>
                    <a:pt x="2362" y="870"/>
                  </a:lnTo>
                  <a:lnTo>
                    <a:pt x="2360" y="870"/>
                  </a:lnTo>
                  <a:lnTo>
                    <a:pt x="2360" y="866"/>
                  </a:lnTo>
                  <a:lnTo>
                    <a:pt x="2360" y="866"/>
                  </a:lnTo>
                  <a:lnTo>
                    <a:pt x="2360" y="866"/>
                  </a:lnTo>
                  <a:lnTo>
                    <a:pt x="2360" y="864"/>
                  </a:lnTo>
                  <a:lnTo>
                    <a:pt x="2358" y="862"/>
                  </a:lnTo>
                  <a:lnTo>
                    <a:pt x="2358" y="862"/>
                  </a:lnTo>
                  <a:lnTo>
                    <a:pt x="2356" y="860"/>
                  </a:lnTo>
                  <a:lnTo>
                    <a:pt x="2356" y="860"/>
                  </a:lnTo>
                  <a:lnTo>
                    <a:pt x="2356" y="860"/>
                  </a:lnTo>
                  <a:lnTo>
                    <a:pt x="2356" y="858"/>
                  </a:lnTo>
                  <a:lnTo>
                    <a:pt x="2356" y="858"/>
                  </a:lnTo>
                  <a:lnTo>
                    <a:pt x="2354" y="858"/>
                  </a:lnTo>
                  <a:lnTo>
                    <a:pt x="2346" y="858"/>
                  </a:lnTo>
                  <a:lnTo>
                    <a:pt x="2342" y="856"/>
                  </a:lnTo>
                  <a:lnTo>
                    <a:pt x="2340" y="856"/>
                  </a:lnTo>
                  <a:lnTo>
                    <a:pt x="2336" y="856"/>
                  </a:lnTo>
                  <a:lnTo>
                    <a:pt x="2336" y="854"/>
                  </a:lnTo>
                  <a:lnTo>
                    <a:pt x="2334" y="852"/>
                  </a:lnTo>
                  <a:lnTo>
                    <a:pt x="2338" y="850"/>
                  </a:lnTo>
                  <a:lnTo>
                    <a:pt x="2348" y="848"/>
                  </a:lnTo>
                  <a:lnTo>
                    <a:pt x="2356" y="846"/>
                  </a:lnTo>
                  <a:lnTo>
                    <a:pt x="2364" y="844"/>
                  </a:lnTo>
                  <a:lnTo>
                    <a:pt x="2364" y="844"/>
                  </a:lnTo>
                  <a:lnTo>
                    <a:pt x="2366" y="842"/>
                  </a:lnTo>
                  <a:lnTo>
                    <a:pt x="2366" y="842"/>
                  </a:lnTo>
                  <a:lnTo>
                    <a:pt x="2366" y="840"/>
                  </a:lnTo>
                  <a:lnTo>
                    <a:pt x="2366" y="840"/>
                  </a:lnTo>
                  <a:lnTo>
                    <a:pt x="2366" y="838"/>
                  </a:lnTo>
                  <a:lnTo>
                    <a:pt x="2366" y="838"/>
                  </a:lnTo>
                  <a:lnTo>
                    <a:pt x="2368" y="834"/>
                  </a:lnTo>
                  <a:lnTo>
                    <a:pt x="2368" y="834"/>
                  </a:lnTo>
                  <a:lnTo>
                    <a:pt x="2368" y="834"/>
                  </a:lnTo>
                  <a:lnTo>
                    <a:pt x="2368" y="832"/>
                  </a:lnTo>
                  <a:lnTo>
                    <a:pt x="2368" y="832"/>
                  </a:lnTo>
                  <a:lnTo>
                    <a:pt x="2368" y="832"/>
                  </a:lnTo>
                  <a:lnTo>
                    <a:pt x="2372" y="830"/>
                  </a:lnTo>
                  <a:lnTo>
                    <a:pt x="2372" y="830"/>
                  </a:lnTo>
                  <a:lnTo>
                    <a:pt x="2372" y="830"/>
                  </a:lnTo>
                  <a:lnTo>
                    <a:pt x="2374" y="828"/>
                  </a:lnTo>
                  <a:lnTo>
                    <a:pt x="2374" y="828"/>
                  </a:lnTo>
                  <a:lnTo>
                    <a:pt x="2374" y="828"/>
                  </a:lnTo>
                  <a:lnTo>
                    <a:pt x="2376" y="826"/>
                  </a:lnTo>
                  <a:lnTo>
                    <a:pt x="2376" y="826"/>
                  </a:lnTo>
                  <a:lnTo>
                    <a:pt x="2376" y="824"/>
                  </a:lnTo>
                  <a:lnTo>
                    <a:pt x="2376" y="824"/>
                  </a:lnTo>
                  <a:lnTo>
                    <a:pt x="2376" y="822"/>
                  </a:lnTo>
                  <a:lnTo>
                    <a:pt x="2376" y="820"/>
                  </a:lnTo>
                  <a:lnTo>
                    <a:pt x="2376" y="820"/>
                  </a:lnTo>
                  <a:lnTo>
                    <a:pt x="2376" y="820"/>
                  </a:lnTo>
                  <a:lnTo>
                    <a:pt x="2374" y="818"/>
                  </a:lnTo>
                  <a:lnTo>
                    <a:pt x="2374" y="818"/>
                  </a:lnTo>
                  <a:lnTo>
                    <a:pt x="2374" y="818"/>
                  </a:lnTo>
                  <a:lnTo>
                    <a:pt x="2372" y="816"/>
                  </a:lnTo>
                  <a:lnTo>
                    <a:pt x="2372" y="816"/>
                  </a:lnTo>
                  <a:lnTo>
                    <a:pt x="2372" y="816"/>
                  </a:lnTo>
                  <a:lnTo>
                    <a:pt x="2370" y="812"/>
                  </a:lnTo>
                  <a:lnTo>
                    <a:pt x="2364" y="810"/>
                  </a:lnTo>
                  <a:lnTo>
                    <a:pt x="2360" y="808"/>
                  </a:lnTo>
                  <a:lnTo>
                    <a:pt x="2356" y="804"/>
                  </a:lnTo>
                  <a:lnTo>
                    <a:pt x="2356" y="804"/>
                  </a:lnTo>
                  <a:lnTo>
                    <a:pt x="2356" y="804"/>
                  </a:lnTo>
                  <a:lnTo>
                    <a:pt x="2352" y="802"/>
                  </a:lnTo>
                  <a:lnTo>
                    <a:pt x="2348" y="800"/>
                  </a:lnTo>
                  <a:lnTo>
                    <a:pt x="2344" y="800"/>
                  </a:lnTo>
                  <a:lnTo>
                    <a:pt x="2340" y="800"/>
                  </a:lnTo>
                  <a:lnTo>
                    <a:pt x="2336" y="798"/>
                  </a:lnTo>
                  <a:lnTo>
                    <a:pt x="2332" y="798"/>
                  </a:lnTo>
                  <a:lnTo>
                    <a:pt x="2328" y="798"/>
                  </a:lnTo>
                  <a:lnTo>
                    <a:pt x="2322" y="796"/>
                  </a:lnTo>
                  <a:lnTo>
                    <a:pt x="2320" y="794"/>
                  </a:lnTo>
                  <a:lnTo>
                    <a:pt x="2318" y="794"/>
                  </a:lnTo>
                  <a:lnTo>
                    <a:pt x="2312" y="792"/>
                  </a:lnTo>
                  <a:lnTo>
                    <a:pt x="2308" y="790"/>
                  </a:lnTo>
                  <a:lnTo>
                    <a:pt x="2306" y="788"/>
                  </a:lnTo>
                  <a:lnTo>
                    <a:pt x="2304" y="788"/>
                  </a:lnTo>
                  <a:lnTo>
                    <a:pt x="2302" y="784"/>
                  </a:lnTo>
                  <a:lnTo>
                    <a:pt x="2298" y="782"/>
                  </a:lnTo>
                  <a:lnTo>
                    <a:pt x="2298" y="782"/>
                  </a:lnTo>
                  <a:lnTo>
                    <a:pt x="2298" y="780"/>
                  </a:lnTo>
                  <a:lnTo>
                    <a:pt x="2296" y="780"/>
                  </a:lnTo>
                  <a:lnTo>
                    <a:pt x="2296" y="780"/>
                  </a:lnTo>
                  <a:lnTo>
                    <a:pt x="2296" y="780"/>
                  </a:lnTo>
                  <a:lnTo>
                    <a:pt x="2294" y="778"/>
                  </a:lnTo>
                  <a:lnTo>
                    <a:pt x="2294" y="778"/>
                  </a:lnTo>
                  <a:lnTo>
                    <a:pt x="2294" y="778"/>
                  </a:lnTo>
                  <a:lnTo>
                    <a:pt x="2292" y="776"/>
                  </a:lnTo>
                  <a:lnTo>
                    <a:pt x="2292" y="776"/>
                  </a:lnTo>
                  <a:lnTo>
                    <a:pt x="2290" y="776"/>
                  </a:lnTo>
                  <a:lnTo>
                    <a:pt x="2288" y="776"/>
                  </a:lnTo>
                  <a:lnTo>
                    <a:pt x="2288" y="776"/>
                  </a:lnTo>
                  <a:lnTo>
                    <a:pt x="2284" y="778"/>
                  </a:lnTo>
                  <a:lnTo>
                    <a:pt x="2284" y="778"/>
                  </a:lnTo>
                  <a:lnTo>
                    <a:pt x="2284" y="782"/>
                  </a:lnTo>
                  <a:lnTo>
                    <a:pt x="2286" y="782"/>
                  </a:lnTo>
                  <a:lnTo>
                    <a:pt x="2286" y="782"/>
                  </a:lnTo>
                  <a:lnTo>
                    <a:pt x="2286" y="784"/>
                  </a:lnTo>
                  <a:lnTo>
                    <a:pt x="2284" y="786"/>
                  </a:lnTo>
                  <a:lnTo>
                    <a:pt x="2284" y="786"/>
                  </a:lnTo>
                  <a:lnTo>
                    <a:pt x="2282" y="786"/>
                  </a:lnTo>
                  <a:lnTo>
                    <a:pt x="2282" y="786"/>
                  </a:lnTo>
                  <a:lnTo>
                    <a:pt x="2278" y="788"/>
                  </a:lnTo>
                  <a:lnTo>
                    <a:pt x="2276" y="788"/>
                  </a:lnTo>
                  <a:lnTo>
                    <a:pt x="2272" y="788"/>
                  </a:lnTo>
                  <a:lnTo>
                    <a:pt x="2272" y="788"/>
                  </a:lnTo>
                  <a:lnTo>
                    <a:pt x="2272" y="788"/>
                  </a:lnTo>
                  <a:lnTo>
                    <a:pt x="2266" y="790"/>
                  </a:lnTo>
                  <a:lnTo>
                    <a:pt x="2266" y="790"/>
                  </a:lnTo>
                  <a:lnTo>
                    <a:pt x="2266" y="790"/>
                  </a:lnTo>
                  <a:lnTo>
                    <a:pt x="2264" y="792"/>
                  </a:lnTo>
                  <a:lnTo>
                    <a:pt x="2264" y="792"/>
                  </a:lnTo>
                  <a:lnTo>
                    <a:pt x="2264" y="792"/>
                  </a:lnTo>
                  <a:lnTo>
                    <a:pt x="2262" y="794"/>
                  </a:lnTo>
                  <a:lnTo>
                    <a:pt x="2262" y="794"/>
                  </a:lnTo>
                  <a:lnTo>
                    <a:pt x="2262" y="794"/>
                  </a:lnTo>
                  <a:lnTo>
                    <a:pt x="2262" y="796"/>
                  </a:lnTo>
                  <a:lnTo>
                    <a:pt x="2262" y="796"/>
                  </a:lnTo>
                  <a:lnTo>
                    <a:pt x="2262" y="796"/>
                  </a:lnTo>
                  <a:lnTo>
                    <a:pt x="2260" y="798"/>
                  </a:lnTo>
                  <a:lnTo>
                    <a:pt x="2260" y="798"/>
                  </a:lnTo>
                  <a:lnTo>
                    <a:pt x="2260" y="800"/>
                  </a:lnTo>
                  <a:lnTo>
                    <a:pt x="2260" y="802"/>
                  </a:lnTo>
                  <a:lnTo>
                    <a:pt x="2260" y="802"/>
                  </a:lnTo>
                  <a:lnTo>
                    <a:pt x="2260" y="804"/>
                  </a:lnTo>
                  <a:lnTo>
                    <a:pt x="2260" y="804"/>
                  </a:lnTo>
                  <a:lnTo>
                    <a:pt x="2260" y="804"/>
                  </a:lnTo>
                  <a:lnTo>
                    <a:pt x="2256" y="804"/>
                  </a:lnTo>
                  <a:lnTo>
                    <a:pt x="2256" y="804"/>
                  </a:lnTo>
                  <a:lnTo>
                    <a:pt x="2252" y="804"/>
                  </a:lnTo>
                  <a:lnTo>
                    <a:pt x="2248" y="804"/>
                  </a:lnTo>
                  <a:lnTo>
                    <a:pt x="2248" y="802"/>
                  </a:lnTo>
                  <a:lnTo>
                    <a:pt x="2248" y="798"/>
                  </a:lnTo>
                  <a:lnTo>
                    <a:pt x="2248" y="798"/>
                  </a:lnTo>
                  <a:lnTo>
                    <a:pt x="2248" y="798"/>
                  </a:lnTo>
                  <a:lnTo>
                    <a:pt x="2248" y="796"/>
                  </a:lnTo>
                  <a:lnTo>
                    <a:pt x="2248" y="796"/>
                  </a:lnTo>
                  <a:lnTo>
                    <a:pt x="2248" y="794"/>
                  </a:lnTo>
                  <a:lnTo>
                    <a:pt x="2246" y="792"/>
                  </a:lnTo>
                  <a:lnTo>
                    <a:pt x="2246" y="792"/>
                  </a:lnTo>
                  <a:lnTo>
                    <a:pt x="2246" y="792"/>
                  </a:lnTo>
                  <a:lnTo>
                    <a:pt x="2244" y="790"/>
                  </a:lnTo>
                  <a:lnTo>
                    <a:pt x="2244" y="790"/>
                  </a:lnTo>
                  <a:lnTo>
                    <a:pt x="2244" y="790"/>
                  </a:lnTo>
                  <a:lnTo>
                    <a:pt x="2242" y="788"/>
                  </a:lnTo>
                  <a:lnTo>
                    <a:pt x="2242" y="788"/>
                  </a:lnTo>
                  <a:lnTo>
                    <a:pt x="2242" y="788"/>
                  </a:lnTo>
                  <a:lnTo>
                    <a:pt x="2240" y="786"/>
                  </a:lnTo>
                  <a:lnTo>
                    <a:pt x="2240" y="786"/>
                  </a:lnTo>
                  <a:lnTo>
                    <a:pt x="2238" y="786"/>
                  </a:lnTo>
                  <a:lnTo>
                    <a:pt x="2238" y="786"/>
                  </a:lnTo>
                  <a:lnTo>
                    <a:pt x="2236" y="786"/>
                  </a:lnTo>
                  <a:lnTo>
                    <a:pt x="2236" y="788"/>
                  </a:lnTo>
                  <a:lnTo>
                    <a:pt x="2234" y="790"/>
                  </a:lnTo>
                  <a:lnTo>
                    <a:pt x="2234" y="792"/>
                  </a:lnTo>
                  <a:lnTo>
                    <a:pt x="2232" y="792"/>
                  </a:lnTo>
                  <a:lnTo>
                    <a:pt x="2232" y="792"/>
                  </a:lnTo>
                  <a:lnTo>
                    <a:pt x="2232" y="790"/>
                  </a:lnTo>
                  <a:lnTo>
                    <a:pt x="2230" y="790"/>
                  </a:lnTo>
                  <a:lnTo>
                    <a:pt x="2228" y="790"/>
                  </a:lnTo>
                  <a:lnTo>
                    <a:pt x="2224" y="790"/>
                  </a:lnTo>
                  <a:lnTo>
                    <a:pt x="2222" y="790"/>
                  </a:lnTo>
                  <a:lnTo>
                    <a:pt x="2222" y="790"/>
                  </a:lnTo>
                  <a:lnTo>
                    <a:pt x="2222" y="790"/>
                  </a:lnTo>
                  <a:lnTo>
                    <a:pt x="2218" y="792"/>
                  </a:lnTo>
                  <a:lnTo>
                    <a:pt x="2218" y="792"/>
                  </a:lnTo>
                  <a:lnTo>
                    <a:pt x="2216" y="794"/>
                  </a:lnTo>
                  <a:lnTo>
                    <a:pt x="2216" y="796"/>
                  </a:lnTo>
                  <a:lnTo>
                    <a:pt x="2214" y="796"/>
                  </a:lnTo>
                  <a:lnTo>
                    <a:pt x="2214" y="796"/>
                  </a:lnTo>
                  <a:lnTo>
                    <a:pt x="2214" y="796"/>
                  </a:lnTo>
                  <a:lnTo>
                    <a:pt x="2210" y="796"/>
                  </a:lnTo>
                  <a:lnTo>
                    <a:pt x="2210" y="796"/>
                  </a:lnTo>
                  <a:lnTo>
                    <a:pt x="2208" y="796"/>
                  </a:lnTo>
                  <a:lnTo>
                    <a:pt x="2208" y="796"/>
                  </a:lnTo>
                  <a:lnTo>
                    <a:pt x="2206" y="796"/>
                  </a:lnTo>
                  <a:lnTo>
                    <a:pt x="2204" y="796"/>
                  </a:lnTo>
                  <a:lnTo>
                    <a:pt x="2204" y="796"/>
                  </a:lnTo>
                  <a:lnTo>
                    <a:pt x="2202" y="796"/>
                  </a:lnTo>
                  <a:lnTo>
                    <a:pt x="2200" y="798"/>
                  </a:lnTo>
                  <a:lnTo>
                    <a:pt x="2200" y="798"/>
                  </a:lnTo>
                  <a:lnTo>
                    <a:pt x="2200" y="800"/>
                  </a:lnTo>
                  <a:lnTo>
                    <a:pt x="2198" y="802"/>
                  </a:lnTo>
                  <a:lnTo>
                    <a:pt x="2198" y="802"/>
                  </a:lnTo>
                  <a:lnTo>
                    <a:pt x="2196" y="802"/>
                  </a:lnTo>
                  <a:lnTo>
                    <a:pt x="2196" y="806"/>
                  </a:lnTo>
                  <a:lnTo>
                    <a:pt x="2196" y="806"/>
                  </a:lnTo>
                  <a:lnTo>
                    <a:pt x="2196" y="808"/>
                  </a:lnTo>
                  <a:lnTo>
                    <a:pt x="2196" y="812"/>
                  </a:lnTo>
                  <a:lnTo>
                    <a:pt x="2196" y="812"/>
                  </a:lnTo>
                  <a:lnTo>
                    <a:pt x="2196" y="812"/>
                  </a:lnTo>
                  <a:lnTo>
                    <a:pt x="2198" y="816"/>
                  </a:lnTo>
                  <a:lnTo>
                    <a:pt x="2198" y="816"/>
                  </a:lnTo>
                  <a:lnTo>
                    <a:pt x="2198" y="816"/>
                  </a:lnTo>
                  <a:lnTo>
                    <a:pt x="2202" y="818"/>
                  </a:lnTo>
                  <a:lnTo>
                    <a:pt x="2202" y="818"/>
                  </a:lnTo>
                  <a:lnTo>
                    <a:pt x="2202" y="818"/>
                  </a:lnTo>
                  <a:lnTo>
                    <a:pt x="2206" y="820"/>
                  </a:lnTo>
                  <a:lnTo>
                    <a:pt x="2206" y="820"/>
                  </a:lnTo>
                  <a:lnTo>
                    <a:pt x="2206" y="820"/>
                  </a:lnTo>
                  <a:lnTo>
                    <a:pt x="2210" y="822"/>
                  </a:lnTo>
                  <a:lnTo>
                    <a:pt x="2214" y="822"/>
                  </a:lnTo>
                  <a:lnTo>
                    <a:pt x="2218" y="824"/>
                  </a:lnTo>
                  <a:lnTo>
                    <a:pt x="2218" y="824"/>
                  </a:lnTo>
                  <a:lnTo>
                    <a:pt x="2218" y="824"/>
                  </a:lnTo>
                  <a:lnTo>
                    <a:pt x="2218" y="824"/>
                  </a:lnTo>
                  <a:lnTo>
                    <a:pt x="2218" y="824"/>
                  </a:lnTo>
                  <a:lnTo>
                    <a:pt x="2218" y="824"/>
                  </a:lnTo>
                  <a:lnTo>
                    <a:pt x="2216" y="824"/>
                  </a:lnTo>
                  <a:lnTo>
                    <a:pt x="2212" y="824"/>
                  </a:lnTo>
                  <a:lnTo>
                    <a:pt x="2210" y="822"/>
                  </a:lnTo>
                  <a:lnTo>
                    <a:pt x="2206" y="822"/>
                  </a:lnTo>
                  <a:lnTo>
                    <a:pt x="2206" y="822"/>
                  </a:lnTo>
                  <a:lnTo>
                    <a:pt x="2206" y="822"/>
                  </a:lnTo>
                  <a:lnTo>
                    <a:pt x="2202" y="822"/>
                  </a:lnTo>
                  <a:lnTo>
                    <a:pt x="2202" y="822"/>
                  </a:lnTo>
                  <a:lnTo>
                    <a:pt x="2202" y="822"/>
                  </a:lnTo>
                  <a:lnTo>
                    <a:pt x="2202" y="822"/>
                  </a:lnTo>
                  <a:lnTo>
                    <a:pt x="2202" y="822"/>
                  </a:lnTo>
                  <a:lnTo>
                    <a:pt x="2202" y="822"/>
                  </a:lnTo>
                  <a:lnTo>
                    <a:pt x="2200" y="822"/>
                  </a:lnTo>
                  <a:lnTo>
                    <a:pt x="2200" y="822"/>
                  </a:lnTo>
                  <a:lnTo>
                    <a:pt x="2198" y="822"/>
                  </a:lnTo>
                  <a:lnTo>
                    <a:pt x="2196" y="824"/>
                  </a:lnTo>
                  <a:lnTo>
                    <a:pt x="2190" y="824"/>
                  </a:lnTo>
                  <a:lnTo>
                    <a:pt x="2186" y="826"/>
                  </a:lnTo>
                  <a:lnTo>
                    <a:pt x="2184" y="828"/>
                  </a:lnTo>
                  <a:lnTo>
                    <a:pt x="2184" y="828"/>
                  </a:lnTo>
                  <a:lnTo>
                    <a:pt x="2184" y="828"/>
                  </a:lnTo>
                  <a:lnTo>
                    <a:pt x="2182" y="830"/>
                  </a:lnTo>
                  <a:lnTo>
                    <a:pt x="2182" y="830"/>
                  </a:lnTo>
                  <a:lnTo>
                    <a:pt x="2182" y="830"/>
                  </a:lnTo>
                  <a:lnTo>
                    <a:pt x="2178" y="828"/>
                  </a:lnTo>
                  <a:lnTo>
                    <a:pt x="2176" y="828"/>
                  </a:lnTo>
                  <a:lnTo>
                    <a:pt x="2172" y="828"/>
                  </a:lnTo>
                  <a:lnTo>
                    <a:pt x="2172" y="828"/>
                  </a:lnTo>
                  <a:lnTo>
                    <a:pt x="2168" y="828"/>
                  </a:lnTo>
                  <a:lnTo>
                    <a:pt x="2168" y="828"/>
                  </a:lnTo>
                  <a:lnTo>
                    <a:pt x="2164" y="830"/>
                  </a:lnTo>
                  <a:lnTo>
                    <a:pt x="2164" y="830"/>
                  </a:lnTo>
                  <a:lnTo>
                    <a:pt x="2162" y="830"/>
                  </a:lnTo>
                  <a:lnTo>
                    <a:pt x="2160" y="832"/>
                  </a:lnTo>
                  <a:lnTo>
                    <a:pt x="2160" y="832"/>
                  </a:lnTo>
                  <a:lnTo>
                    <a:pt x="2158" y="832"/>
                  </a:lnTo>
                  <a:lnTo>
                    <a:pt x="2156" y="836"/>
                  </a:lnTo>
                  <a:lnTo>
                    <a:pt x="2156" y="836"/>
                  </a:lnTo>
                  <a:lnTo>
                    <a:pt x="2154" y="836"/>
                  </a:lnTo>
                  <a:lnTo>
                    <a:pt x="2152" y="840"/>
                  </a:lnTo>
                  <a:lnTo>
                    <a:pt x="2152" y="840"/>
                  </a:lnTo>
                  <a:lnTo>
                    <a:pt x="2150" y="842"/>
                  </a:lnTo>
                  <a:lnTo>
                    <a:pt x="2150" y="842"/>
                  </a:lnTo>
                  <a:lnTo>
                    <a:pt x="2154" y="844"/>
                  </a:lnTo>
                  <a:lnTo>
                    <a:pt x="2156" y="844"/>
                  </a:lnTo>
                  <a:lnTo>
                    <a:pt x="2158" y="846"/>
                  </a:lnTo>
                  <a:lnTo>
                    <a:pt x="2162" y="846"/>
                  </a:lnTo>
                  <a:lnTo>
                    <a:pt x="2162" y="848"/>
                  </a:lnTo>
                  <a:lnTo>
                    <a:pt x="2164" y="848"/>
                  </a:lnTo>
                  <a:lnTo>
                    <a:pt x="2164" y="850"/>
                  </a:lnTo>
                  <a:lnTo>
                    <a:pt x="2166" y="852"/>
                  </a:lnTo>
                  <a:lnTo>
                    <a:pt x="2166" y="854"/>
                  </a:lnTo>
                  <a:lnTo>
                    <a:pt x="2162" y="854"/>
                  </a:lnTo>
                  <a:lnTo>
                    <a:pt x="2162" y="854"/>
                  </a:lnTo>
                  <a:lnTo>
                    <a:pt x="2162" y="854"/>
                  </a:lnTo>
                  <a:lnTo>
                    <a:pt x="2160" y="854"/>
                  </a:lnTo>
                  <a:lnTo>
                    <a:pt x="2160" y="854"/>
                  </a:lnTo>
                  <a:lnTo>
                    <a:pt x="2160" y="854"/>
                  </a:lnTo>
                  <a:lnTo>
                    <a:pt x="2156" y="854"/>
                  </a:lnTo>
                  <a:lnTo>
                    <a:pt x="2154" y="854"/>
                  </a:lnTo>
                  <a:lnTo>
                    <a:pt x="2152" y="856"/>
                  </a:lnTo>
                  <a:lnTo>
                    <a:pt x="2148" y="856"/>
                  </a:lnTo>
                  <a:lnTo>
                    <a:pt x="2144" y="858"/>
                  </a:lnTo>
                  <a:lnTo>
                    <a:pt x="2144" y="858"/>
                  </a:lnTo>
                  <a:lnTo>
                    <a:pt x="2142" y="860"/>
                  </a:lnTo>
                  <a:lnTo>
                    <a:pt x="2142" y="860"/>
                  </a:lnTo>
                  <a:lnTo>
                    <a:pt x="2144" y="862"/>
                  </a:lnTo>
                  <a:lnTo>
                    <a:pt x="2146" y="864"/>
                  </a:lnTo>
                  <a:lnTo>
                    <a:pt x="2146" y="864"/>
                  </a:lnTo>
                  <a:lnTo>
                    <a:pt x="2146" y="864"/>
                  </a:lnTo>
                  <a:lnTo>
                    <a:pt x="2148" y="866"/>
                  </a:lnTo>
                  <a:lnTo>
                    <a:pt x="2150" y="866"/>
                  </a:lnTo>
                  <a:lnTo>
                    <a:pt x="2150" y="866"/>
                  </a:lnTo>
                  <a:lnTo>
                    <a:pt x="2148" y="870"/>
                  </a:lnTo>
                  <a:lnTo>
                    <a:pt x="2146" y="872"/>
                  </a:lnTo>
                  <a:lnTo>
                    <a:pt x="2144" y="874"/>
                  </a:lnTo>
                  <a:lnTo>
                    <a:pt x="2142" y="876"/>
                  </a:lnTo>
                  <a:lnTo>
                    <a:pt x="2142" y="878"/>
                  </a:lnTo>
                  <a:lnTo>
                    <a:pt x="2138" y="878"/>
                  </a:lnTo>
                  <a:lnTo>
                    <a:pt x="2136" y="880"/>
                  </a:lnTo>
                  <a:lnTo>
                    <a:pt x="2132" y="880"/>
                  </a:lnTo>
                  <a:lnTo>
                    <a:pt x="2128" y="880"/>
                  </a:lnTo>
                  <a:lnTo>
                    <a:pt x="2124" y="878"/>
                  </a:lnTo>
                  <a:lnTo>
                    <a:pt x="2120" y="876"/>
                  </a:lnTo>
                  <a:lnTo>
                    <a:pt x="2116" y="874"/>
                  </a:lnTo>
                  <a:lnTo>
                    <a:pt x="2112" y="872"/>
                  </a:lnTo>
                  <a:lnTo>
                    <a:pt x="2108" y="872"/>
                  </a:lnTo>
                  <a:lnTo>
                    <a:pt x="2102" y="870"/>
                  </a:lnTo>
                  <a:lnTo>
                    <a:pt x="2096" y="868"/>
                  </a:lnTo>
                  <a:lnTo>
                    <a:pt x="2096" y="868"/>
                  </a:lnTo>
                  <a:lnTo>
                    <a:pt x="2096" y="868"/>
                  </a:lnTo>
                  <a:lnTo>
                    <a:pt x="2092" y="868"/>
                  </a:lnTo>
                  <a:lnTo>
                    <a:pt x="2090" y="868"/>
                  </a:lnTo>
                  <a:lnTo>
                    <a:pt x="2086" y="870"/>
                  </a:lnTo>
                  <a:lnTo>
                    <a:pt x="2086" y="870"/>
                  </a:lnTo>
                  <a:lnTo>
                    <a:pt x="2084" y="872"/>
                  </a:lnTo>
                  <a:lnTo>
                    <a:pt x="2084" y="872"/>
                  </a:lnTo>
                  <a:lnTo>
                    <a:pt x="2084" y="874"/>
                  </a:lnTo>
                  <a:lnTo>
                    <a:pt x="2084" y="876"/>
                  </a:lnTo>
                  <a:lnTo>
                    <a:pt x="2084" y="880"/>
                  </a:lnTo>
                  <a:lnTo>
                    <a:pt x="2084" y="886"/>
                  </a:lnTo>
                  <a:lnTo>
                    <a:pt x="2084" y="892"/>
                  </a:lnTo>
                  <a:lnTo>
                    <a:pt x="2084" y="896"/>
                  </a:lnTo>
                  <a:lnTo>
                    <a:pt x="2082" y="896"/>
                  </a:lnTo>
                  <a:lnTo>
                    <a:pt x="2082" y="896"/>
                  </a:lnTo>
                  <a:lnTo>
                    <a:pt x="2082" y="896"/>
                  </a:lnTo>
                  <a:lnTo>
                    <a:pt x="2080" y="896"/>
                  </a:lnTo>
                  <a:lnTo>
                    <a:pt x="2080" y="896"/>
                  </a:lnTo>
                  <a:lnTo>
                    <a:pt x="2080" y="896"/>
                  </a:lnTo>
                  <a:lnTo>
                    <a:pt x="2076" y="898"/>
                  </a:lnTo>
                  <a:lnTo>
                    <a:pt x="2074" y="900"/>
                  </a:lnTo>
                  <a:lnTo>
                    <a:pt x="2074" y="900"/>
                  </a:lnTo>
                  <a:lnTo>
                    <a:pt x="2074" y="900"/>
                  </a:lnTo>
                  <a:lnTo>
                    <a:pt x="2072" y="902"/>
                  </a:lnTo>
                  <a:lnTo>
                    <a:pt x="2068" y="906"/>
                  </a:lnTo>
                  <a:lnTo>
                    <a:pt x="2068" y="906"/>
                  </a:lnTo>
                  <a:lnTo>
                    <a:pt x="2068" y="908"/>
                  </a:lnTo>
                  <a:lnTo>
                    <a:pt x="2064" y="914"/>
                  </a:lnTo>
                  <a:lnTo>
                    <a:pt x="2062" y="920"/>
                  </a:lnTo>
                  <a:lnTo>
                    <a:pt x="2058" y="928"/>
                  </a:lnTo>
                  <a:lnTo>
                    <a:pt x="2056" y="934"/>
                  </a:lnTo>
                  <a:lnTo>
                    <a:pt x="2050" y="950"/>
                  </a:lnTo>
                  <a:lnTo>
                    <a:pt x="2046" y="958"/>
                  </a:lnTo>
                  <a:lnTo>
                    <a:pt x="2042" y="964"/>
                  </a:lnTo>
                  <a:lnTo>
                    <a:pt x="2038" y="970"/>
                  </a:lnTo>
                  <a:lnTo>
                    <a:pt x="2032" y="974"/>
                  </a:lnTo>
                  <a:lnTo>
                    <a:pt x="2034" y="974"/>
                  </a:lnTo>
                  <a:lnTo>
                    <a:pt x="2030" y="976"/>
                  </a:lnTo>
                  <a:lnTo>
                    <a:pt x="2028" y="976"/>
                  </a:lnTo>
                  <a:lnTo>
                    <a:pt x="2026" y="978"/>
                  </a:lnTo>
                  <a:lnTo>
                    <a:pt x="2026" y="976"/>
                  </a:lnTo>
                  <a:lnTo>
                    <a:pt x="2026" y="970"/>
                  </a:lnTo>
                  <a:lnTo>
                    <a:pt x="2024" y="962"/>
                  </a:lnTo>
                  <a:lnTo>
                    <a:pt x="2024" y="960"/>
                  </a:lnTo>
                  <a:lnTo>
                    <a:pt x="2024" y="960"/>
                  </a:lnTo>
                  <a:lnTo>
                    <a:pt x="2026" y="956"/>
                  </a:lnTo>
                  <a:lnTo>
                    <a:pt x="2026" y="956"/>
                  </a:lnTo>
                  <a:lnTo>
                    <a:pt x="2024" y="954"/>
                  </a:lnTo>
                  <a:lnTo>
                    <a:pt x="2024" y="954"/>
                  </a:lnTo>
                  <a:lnTo>
                    <a:pt x="2020" y="954"/>
                  </a:lnTo>
                  <a:lnTo>
                    <a:pt x="2016" y="958"/>
                  </a:lnTo>
                  <a:lnTo>
                    <a:pt x="2012" y="960"/>
                  </a:lnTo>
                  <a:lnTo>
                    <a:pt x="2008" y="966"/>
                  </a:lnTo>
                  <a:lnTo>
                    <a:pt x="2002" y="970"/>
                  </a:lnTo>
                  <a:lnTo>
                    <a:pt x="1996" y="974"/>
                  </a:lnTo>
                  <a:lnTo>
                    <a:pt x="1992" y="980"/>
                  </a:lnTo>
                  <a:lnTo>
                    <a:pt x="1988" y="984"/>
                  </a:lnTo>
                  <a:lnTo>
                    <a:pt x="1986" y="986"/>
                  </a:lnTo>
                  <a:lnTo>
                    <a:pt x="1986" y="988"/>
                  </a:lnTo>
                  <a:lnTo>
                    <a:pt x="1984" y="994"/>
                  </a:lnTo>
                  <a:lnTo>
                    <a:pt x="1982" y="998"/>
                  </a:lnTo>
                  <a:lnTo>
                    <a:pt x="1982" y="1002"/>
                  </a:lnTo>
                  <a:lnTo>
                    <a:pt x="1982" y="1008"/>
                  </a:lnTo>
                  <a:lnTo>
                    <a:pt x="1980" y="1012"/>
                  </a:lnTo>
                  <a:lnTo>
                    <a:pt x="1980" y="1016"/>
                  </a:lnTo>
                  <a:lnTo>
                    <a:pt x="1980" y="1020"/>
                  </a:lnTo>
                  <a:lnTo>
                    <a:pt x="1978" y="1024"/>
                  </a:lnTo>
                  <a:lnTo>
                    <a:pt x="1978" y="1024"/>
                  </a:lnTo>
                  <a:lnTo>
                    <a:pt x="1978" y="1024"/>
                  </a:lnTo>
                  <a:lnTo>
                    <a:pt x="1978" y="1024"/>
                  </a:lnTo>
                  <a:lnTo>
                    <a:pt x="1976" y="1024"/>
                  </a:lnTo>
                  <a:lnTo>
                    <a:pt x="1974" y="1026"/>
                  </a:lnTo>
                  <a:lnTo>
                    <a:pt x="1970" y="1026"/>
                  </a:lnTo>
                  <a:lnTo>
                    <a:pt x="1964" y="1028"/>
                  </a:lnTo>
                  <a:lnTo>
                    <a:pt x="1962" y="1030"/>
                  </a:lnTo>
                  <a:lnTo>
                    <a:pt x="1962" y="1030"/>
                  </a:lnTo>
                  <a:lnTo>
                    <a:pt x="1962" y="1030"/>
                  </a:lnTo>
                  <a:lnTo>
                    <a:pt x="1960" y="1032"/>
                  </a:lnTo>
                  <a:lnTo>
                    <a:pt x="1960" y="1032"/>
                  </a:lnTo>
                  <a:lnTo>
                    <a:pt x="1958" y="1034"/>
                  </a:lnTo>
                  <a:lnTo>
                    <a:pt x="1958" y="1036"/>
                  </a:lnTo>
                  <a:lnTo>
                    <a:pt x="1958" y="1036"/>
                  </a:lnTo>
                  <a:lnTo>
                    <a:pt x="1958" y="1036"/>
                  </a:lnTo>
                  <a:lnTo>
                    <a:pt x="1956" y="1038"/>
                  </a:lnTo>
                  <a:lnTo>
                    <a:pt x="1956" y="1044"/>
                  </a:lnTo>
                  <a:lnTo>
                    <a:pt x="1954" y="1050"/>
                  </a:lnTo>
                  <a:lnTo>
                    <a:pt x="1954" y="1052"/>
                  </a:lnTo>
                  <a:lnTo>
                    <a:pt x="1954" y="1052"/>
                  </a:lnTo>
                  <a:lnTo>
                    <a:pt x="1952" y="1054"/>
                  </a:lnTo>
                  <a:lnTo>
                    <a:pt x="1948" y="1060"/>
                  </a:lnTo>
                  <a:lnTo>
                    <a:pt x="1944" y="1064"/>
                  </a:lnTo>
                  <a:lnTo>
                    <a:pt x="1940" y="1070"/>
                  </a:lnTo>
                  <a:lnTo>
                    <a:pt x="1936" y="1074"/>
                  </a:lnTo>
                  <a:lnTo>
                    <a:pt x="1932" y="1080"/>
                  </a:lnTo>
                  <a:lnTo>
                    <a:pt x="1928" y="1086"/>
                  </a:lnTo>
                  <a:lnTo>
                    <a:pt x="1928" y="1086"/>
                  </a:lnTo>
                  <a:lnTo>
                    <a:pt x="1928" y="1086"/>
                  </a:lnTo>
                  <a:lnTo>
                    <a:pt x="1926" y="1092"/>
                  </a:lnTo>
                  <a:lnTo>
                    <a:pt x="1926" y="1092"/>
                  </a:lnTo>
                  <a:lnTo>
                    <a:pt x="1926" y="1092"/>
                  </a:lnTo>
                  <a:lnTo>
                    <a:pt x="1924" y="1100"/>
                  </a:lnTo>
                  <a:lnTo>
                    <a:pt x="1924" y="1100"/>
                  </a:lnTo>
                  <a:lnTo>
                    <a:pt x="1924" y="1102"/>
                  </a:lnTo>
                  <a:lnTo>
                    <a:pt x="1924" y="1102"/>
                  </a:lnTo>
                  <a:lnTo>
                    <a:pt x="1928" y="1104"/>
                  </a:lnTo>
                  <a:lnTo>
                    <a:pt x="1932" y="1102"/>
                  </a:lnTo>
                  <a:lnTo>
                    <a:pt x="1936" y="1102"/>
                  </a:lnTo>
                  <a:lnTo>
                    <a:pt x="1940" y="1100"/>
                  </a:lnTo>
                  <a:lnTo>
                    <a:pt x="1940" y="1100"/>
                  </a:lnTo>
                  <a:lnTo>
                    <a:pt x="1940" y="1100"/>
                  </a:lnTo>
                  <a:lnTo>
                    <a:pt x="1942" y="1100"/>
                  </a:lnTo>
                  <a:lnTo>
                    <a:pt x="1942" y="1100"/>
                  </a:lnTo>
                  <a:lnTo>
                    <a:pt x="1944" y="1100"/>
                  </a:lnTo>
                  <a:lnTo>
                    <a:pt x="1946" y="1098"/>
                  </a:lnTo>
                  <a:lnTo>
                    <a:pt x="1948" y="1094"/>
                  </a:lnTo>
                  <a:lnTo>
                    <a:pt x="1948" y="1094"/>
                  </a:lnTo>
                  <a:lnTo>
                    <a:pt x="1948" y="1094"/>
                  </a:lnTo>
                  <a:lnTo>
                    <a:pt x="1952" y="1090"/>
                  </a:lnTo>
                  <a:lnTo>
                    <a:pt x="1952" y="1090"/>
                  </a:lnTo>
                  <a:lnTo>
                    <a:pt x="1952" y="1090"/>
                  </a:lnTo>
                  <a:lnTo>
                    <a:pt x="1956" y="1084"/>
                  </a:lnTo>
                  <a:lnTo>
                    <a:pt x="1958" y="1078"/>
                  </a:lnTo>
                  <a:lnTo>
                    <a:pt x="1962" y="1072"/>
                  </a:lnTo>
                  <a:lnTo>
                    <a:pt x="1966" y="1066"/>
                  </a:lnTo>
                  <a:lnTo>
                    <a:pt x="1970" y="1060"/>
                  </a:lnTo>
                  <a:lnTo>
                    <a:pt x="1978" y="1054"/>
                  </a:lnTo>
                  <a:lnTo>
                    <a:pt x="1984" y="1050"/>
                  </a:lnTo>
                  <a:lnTo>
                    <a:pt x="1990" y="1046"/>
                  </a:lnTo>
                  <a:lnTo>
                    <a:pt x="1998" y="1044"/>
                  </a:lnTo>
                  <a:lnTo>
                    <a:pt x="1998" y="1044"/>
                  </a:lnTo>
                  <a:lnTo>
                    <a:pt x="1996" y="1044"/>
                  </a:lnTo>
                  <a:lnTo>
                    <a:pt x="1994" y="1048"/>
                  </a:lnTo>
                  <a:lnTo>
                    <a:pt x="1992" y="1050"/>
                  </a:lnTo>
                  <a:lnTo>
                    <a:pt x="1990" y="1054"/>
                  </a:lnTo>
                  <a:lnTo>
                    <a:pt x="1988" y="1060"/>
                  </a:lnTo>
                  <a:lnTo>
                    <a:pt x="1986" y="1068"/>
                  </a:lnTo>
                  <a:lnTo>
                    <a:pt x="1986" y="1072"/>
                  </a:lnTo>
                  <a:lnTo>
                    <a:pt x="1986" y="1076"/>
                  </a:lnTo>
                  <a:lnTo>
                    <a:pt x="1984" y="1082"/>
                  </a:lnTo>
                  <a:lnTo>
                    <a:pt x="1984" y="1086"/>
                  </a:lnTo>
                  <a:lnTo>
                    <a:pt x="1982" y="1092"/>
                  </a:lnTo>
                  <a:lnTo>
                    <a:pt x="1980" y="1098"/>
                  </a:lnTo>
                  <a:lnTo>
                    <a:pt x="1978" y="1102"/>
                  </a:lnTo>
                  <a:lnTo>
                    <a:pt x="1978" y="1106"/>
                  </a:lnTo>
                  <a:lnTo>
                    <a:pt x="1976" y="1108"/>
                  </a:lnTo>
                  <a:lnTo>
                    <a:pt x="1976" y="1110"/>
                  </a:lnTo>
                  <a:lnTo>
                    <a:pt x="1974" y="1112"/>
                  </a:lnTo>
                  <a:lnTo>
                    <a:pt x="1974" y="1114"/>
                  </a:lnTo>
                  <a:lnTo>
                    <a:pt x="1974" y="1116"/>
                  </a:lnTo>
                  <a:lnTo>
                    <a:pt x="1974" y="1116"/>
                  </a:lnTo>
                  <a:lnTo>
                    <a:pt x="1974" y="1118"/>
                  </a:lnTo>
                  <a:lnTo>
                    <a:pt x="1970" y="1120"/>
                  </a:lnTo>
                  <a:lnTo>
                    <a:pt x="1966" y="1122"/>
                  </a:lnTo>
                  <a:lnTo>
                    <a:pt x="1968" y="1122"/>
                  </a:lnTo>
                  <a:lnTo>
                    <a:pt x="1964" y="1124"/>
                  </a:lnTo>
                  <a:lnTo>
                    <a:pt x="1960" y="1126"/>
                  </a:lnTo>
                  <a:lnTo>
                    <a:pt x="1956" y="1128"/>
                  </a:lnTo>
                  <a:lnTo>
                    <a:pt x="1950" y="1128"/>
                  </a:lnTo>
                  <a:lnTo>
                    <a:pt x="1950" y="1128"/>
                  </a:lnTo>
                  <a:lnTo>
                    <a:pt x="1950" y="1130"/>
                  </a:lnTo>
                  <a:lnTo>
                    <a:pt x="1948" y="1132"/>
                  </a:lnTo>
                  <a:lnTo>
                    <a:pt x="1948" y="1132"/>
                  </a:lnTo>
                  <a:lnTo>
                    <a:pt x="1946" y="1132"/>
                  </a:lnTo>
                  <a:lnTo>
                    <a:pt x="1944" y="1134"/>
                  </a:lnTo>
                  <a:lnTo>
                    <a:pt x="1938" y="1142"/>
                  </a:lnTo>
                  <a:lnTo>
                    <a:pt x="1938" y="1142"/>
                  </a:lnTo>
                  <a:lnTo>
                    <a:pt x="1938" y="1142"/>
                  </a:lnTo>
                  <a:lnTo>
                    <a:pt x="1934" y="1150"/>
                  </a:lnTo>
                  <a:lnTo>
                    <a:pt x="1930" y="1158"/>
                  </a:lnTo>
                  <a:lnTo>
                    <a:pt x="1928" y="1168"/>
                  </a:lnTo>
                  <a:lnTo>
                    <a:pt x="1926" y="1178"/>
                  </a:lnTo>
                  <a:lnTo>
                    <a:pt x="1924" y="1188"/>
                  </a:lnTo>
                  <a:lnTo>
                    <a:pt x="1922" y="1198"/>
                  </a:lnTo>
                  <a:lnTo>
                    <a:pt x="1920" y="1208"/>
                  </a:lnTo>
                  <a:lnTo>
                    <a:pt x="1918" y="1216"/>
                  </a:lnTo>
                  <a:lnTo>
                    <a:pt x="1916" y="1224"/>
                  </a:lnTo>
                  <a:lnTo>
                    <a:pt x="1914" y="1232"/>
                  </a:lnTo>
                  <a:lnTo>
                    <a:pt x="1914" y="1232"/>
                  </a:lnTo>
                  <a:lnTo>
                    <a:pt x="1910" y="1238"/>
                  </a:lnTo>
                  <a:lnTo>
                    <a:pt x="1904" y="1244"/>
                  </a:lnTo>
                  <a:lnTo>
                    <a:pt x="1902" y="1246"/>
                  </a:lnTo>
                  <a:lnTo>
                    <a:pt x="1898" y="1248"/>
                  </a:lnTo>
                  <a:lnTo>
                    <a:pt x="1896" y="1248"/>
                  </a:lnTo>
                  <a:lnTo>
                    <a:pt x="1892" y="1250"/>
                  </a:lnTo>
                  <a:lnTo>
                    <a:pt x="1886" y="1250"/>
                  </a:lnTo>
                  <a:lnTo>
                    <a:pt x="1882" y="1250"/>
                  </a:lnTo>
                  <a:lnTo>
                    <a:pt x="1882" y="1250"/>
                  </a:lnTo>
                  <a:lnTo>
                    <a:pt x="1880" y="1252"/>
                  </a:lnTo>
                  <a:lnTo>
                    <a:pt x="1880" y="1252"/>
                  </a:lnTo>
                  <a:lnTo>
                    <a:pt x="1880" y="1254"/>
                  </a:lnTo>
                  <a:lnTo>
                    <a:pt x="1884" y="1260"/>
                  </a:lnTo>
                  <a:lnTo>
                    <a:pt x="1886" y="1264"/>
                  </a:lnTo>
                  <a:lnTo>
                    <a:pt x="1888" y="1268"/>
                  </a:lnTo>
                  <a:lnTo>
                    <a:pt x="1888" y="1274"/>
                  </a:lnTo>
                  <a:lnTo>
                    <a:pt x="1890" y="1280"/>
                  </a:lnTo>
                  <a:lnTo>
                    <a:pt x="1890" y="1286"/>
                  </a:lnTo>
                  <a:lnTo>
                    <a:pt x="1890" y="1292"/>
                  </a:lnTo>
                  <a:lnTo>
                    <a:pt x="1888" y="1298"/>
                  </a:lnTo>
                  <a:lnTo>
                    <a:pt x="1886" y="1304"/>
                  </a:lnTo>
                  <a:lnTo>
                    <a:pt x="1884" y="1308"/>
                  </a:lnTo>
                  <a:lnTo>
                    <a:pt x="1882" y="1314"/>
                  </a:lnTo>
                  <a:lnTo>
                    <a:pt x="1878" y="1318"/>
                  </a:lnTo>
                  <a:lnTo>
                    <a:pt x="1874" y="1322"/>
                  </a:lnTo>
                  <a:lnTo>
                    <a:pt x="1870" y="1326"/>
                  </a:lnTo>
                  <a:lnTo>
                    <a:pt x="1866" y="1328"/>
                  </a:lnTo>
                  <a:lnTo>
                    <a:pt x="1860" y="1330"/>
                  </a:lnTo>
                  <a:lnTo>
                    <a:pt x="1860" y="1330"/>
                  </a:lnTo>
                  <a:lnTo>
                    <a:pt x="1858" y="1332"/>
                  </a:lnTo>
                  <a:lnTo>
                    <a:pt x="1858" y="1336"/>
                  </a:lnTo>
                  <a:lnTo>
                    <a:pt x="1858" y="1336"/>
                  </a:lnTo>
                  <a:lnTo>
                    <a:pt x="1856" y="1342"/>
                  </a:lnTo>
                  <a:lnTo>
                    <a:pt x="1856" y="1340"/>
                  </a:lnTo>
                  <a:lnTo>
                    <a:pt x="1856" y="1344"/>
                  </a:lnTo>
                  <a:lnTo>
                    <a:pt x="1852" y="1348"/>
                  </a:lnTo>
                  <a:lnTo>
                    <a:pt x="1850" y="1350"/>
                  </a:lnTo>
                  <a:lnTo>
                    <a:pt x="1846" y="1352"/>
                  </a:lnTo>
                  <a:lnTo>
                    <a:pt x="1842" y="1352"/>
                  </a:lnTo>
                  <a:lnTo>
                    <a:pt x="1842" y="1352"/>
                  </a:lnTo>
                  <a:lnTo>
                    <a:pt x="1842" y="1352"/>
                  </a:lnTo>
                  <a:lnTo>
                    <a:pt x="1844" y="1348"/>
                  </a:lnTo>
                  <a:lnTo>
                    <a:pt x="1848" y="1340"/>
                  </a:lnTo>
                  <a:lnTo>
                    <a:pt x="1852" y="1330"/>
                  </a:lnTo>
                  <a:lnTo>
                    <a:pt x="1856" y="1322"/>
                  </a:lnTo>
                  <a:lnTo>
                    <a:pt x="1856" y="1322"/>
                  </a:lnTo>
                  <a:lnTo>
                    <a:pt x="1854" y="1320"/>
                  </a:lnTo>
                  <a:lnTo>
                    <a:pt x="1854" y="1320"/>
                  </a:lnTo>
                  <a:lnTo>
                    <a:pt x="1852" y="1318"/>
                  </a:lnTo>
                  <a:lnTo>
                    <a:pt x="1844" y="1322"/>
                  </a:lnTo>
                  <a:lnTo>
                    <a:pt x="1838" y="1326"/>
                  </a:lnTo>
                  <a:lnTo>
                    <a:pt x="1834" y="1332"/>
                  </a:lnTo>
                  <a:lnTo>
                    <a:pt x="1830" y="1336"/>
                  </a:lnTo>
                  <a:lnTo>
                    <a:pt x="1826" y="1340"/>
                  </a:lnTo>
                  <a:lnTo>
                    <a:pt x="1822" y="1346"/>
                  </a:lnTo>
                  <a:lnTo>
                    <a:pt x="1816" y="1354"/>
                  </a:lnTo>
                  <a:lnTo>
                    <a:pt x="1810" y="1364"/>
                  </a:lnTo>
                  <a:lnTo>
                    <a:pt x="1804" y="1374"/>
                  </a:lnTo>
                  <a:lnTo>
                    <a:pt x="1800" y="1384"/>
                  </a:lnTo>
                  <a:lnTo>
                    <a:pt x="1796" y="1388"/>
                  </a:lnTo>
                  <a:lnTo>
                    <a:pt x="1794" y="1392"/>
                  </a:lnTo>
                  <a:lnTo>
                    <a:pt x="1784" y="1400"/>
                  </a:lnTo>
                  <a:lnTo>
                    <a:pt x="1776" y="1408"/>
                  </a:lnTo>
                  <a:lnTo>
                    <a:pt x="1766" y="1416"/>
                  </a:lnTo>
                  <a:lnTo>
                    <a:pt x="1758" y="1422"/>
                  </a:lnTo>
                  <a:lnTo>
                    <a:pt x="1748" y="1428"/>
                  </a:lnTo>
                  <a:lnTo>
                    <a:pt x="1740" y="1434"/>
                  </a:lnTo>
                  <a:lnTo>
                    <a:pt x="1730" y="1442"/>
                  </a:lnTo>
                  <a:lnTo>
                    <a:pt x="1722" y="1448"/>
                  </a:lnTo>
                  <a:lnTo>
                    <a:pt x="1716" y="1452"/>
                  </a:lnTo>
                  <a:lnTo>
                    <a:pt x="1712" y="1458"/>
                  </a:lnTo>
                  <a:lnTo>
                    <a:pt x="1708" y="1462"/>
                  </a:lnTo>
                  <a:lnTo>
                    <a:pt x="1706" y="1468"/>
                  </a:lnTo>
                  <a:lnTo>
                    <a:pt x="1702" y="1472"/>
                  </a:lnTo>
                  <a:lnTo>
                    <a:pt x="1700" y="1478"/>
                  </a:lnTo>
                  <a:lnTo>
                    <a:pt x="1698" y="1484"/>
                  </a:lnTo>
                  <a:lnTo>
                    <a:pt x="1698" y="1490"/>
                  </a:lnTo>
                  <a:lnTo>
                    <a:pt x="1696" y="1494"/>
                  </a:lnTo>
                  <a:lnTo>
                    <a:pt x="1696" y="1494"/>
                  </a:lnTo>
                  <a:lnTo>
                    <a:pt x="1696" y="1498"/>
                  </a:lnTo>
                  <a:lnTo>
                    <a:pt x="1698" y="1502"/>
                  </a:lnTo>
                  <a:lnTo>
                    <a:pt x="1698" y="1504"/>
                  </a:lnTo>
                  <a:lnTo>
                    <a:pt x="1700" y="1510"/>
                  </a:lnTo>
                  <a:lnTo>
                    <a:pt x="1702" y="1512"/>
                  </a:lnTo>
                  <a:lnTo>
                    <a:pt x="1702" y="1512"/>
                  </a:lnTo>
                  <a:lnTo>
                    <a:pt x="1702" y="1514"/>
                  </a:lnTo>
                  <a:lnTo>
                    <a:pt x="1700" y="1516"/>
                  </a:lnTo>
                  <a:lnTo>
                    <a:pt x="1700" y="1516"/>
                  </a:lnTo>
                  <a:lnTo>
                    <a:pt x="1698" y="1518"/>
                  </a:lnTo>
                  <a:lnTo>
                    <a:pt x="1696" y="1522"/>
                  </a:lnTo>
                  <a:lnTo>
                    <a:pt x="1694" y="1524"/>
                  </a:lnTo>
                  <a:lnTo>
                    <a:pt x="1692" y="1528"/>
                  </a:lnTo>
                  <a:lnTo>
                    <a:pt x="1692" y="1528"/>
                  </a:lnTo>
                  <a:lnTo>
                    <a:pt x="1692" y="1528"/>
                  </a:lnTo>
                  <a:lnTo>
                    <a:pt x="1690" y="1530"/>
                  </a:lnTo>
                  <a:lnTo>
                    <a:pt x="1690" y="1530"/>
                  </a:lnTo>
                  <a:lnTo>
                    <a:pt x="1690" y="1532"/>
                  </a:lnTo>
                  <a:lnTo>
                    <a:pt x="1690" y="1534"/>
                  </a:lnTo>
                  <a:lnTo>
                    <a:pt x="1692" y="1536"/>
                  </a:lnTo>
                  <a:lnTo>
                    <a:pt x="1692" y="1536"/>
                  </a:lnTo>
                  <a:lnTo>
                    <a:pt x="1692" y="1538"/>
                  </a:lnTo>
                  <a:lnTo>
                    <a:pt x="1692" y="1540"/>
                  </a:lnTo>
                  <a:lnTo>
                    <a:pt x="1692" y="1540"/>
                  </a:lnTo>
                  <a:lnTo>
                    <a:pt x="1692" y="1540"/>
                  </a:lnTo>
                  <a:lnTo>
                    <a:pt x="1694" y="1542"/>
                  </a:lnTo>
                  <a:lnTo>
                    <a:pt x="1696" y="1546"/>
                  </a:lnTo>
                  <a:lnTo>
                    <a:pt x="1698" y="1548"/>
                  </a:lnTo>
                  <a:lnTo>
                    <a:pt x="1700" y="1550"/>
                  </a:lnTo>
                  <a:lnTo>
                    <a:pt x="1702" y="1552"/>
                  </a:lnTo>
                  <a:lnTo>
                    <a:pt x="1702" y="1552"/>
                  </a:lnTo>
                  <a:lnTo>
                    <a:pt x="1702" y="1554"/>
                  </a:lnTo>
                  <a:lnTo>
                    <a:pt x="1700" y="1556"/>
                  </a:lnTo>
                  <a:lnTo>
                    <a:pt x="1700" y="1560"/>
                  </a:lnTo>
                  <a:lnTo>
                    <a:pt x="1698" y="1566"/>
                  </a:lnTo>
                  <a:lnTo>
                    <a:pt x="1698" y="1568"/>
                  </a:lnTo>
                  <a:lnTo>
                    <a:pt x="1698" y="1572"/>
                  </a:lnTo>
                  <a:lnTo>
                    <a:pt x="1698" y="1572"/>
                  </a:lnTo>
                  <a:lnTo>
                    <a:pt x="1698" y="1574"/>
                  </a:lnTo>
                  <a:lnTo>
                    <a:pt x="1700" y="1576"/>
                  </a:lnTo>
                  <a:lnTo>
                    <a:pt x="1700" y="1576"/>
                  </a:lnTo>
                  <a:lnTo>
                    <a:pt x="1700" y="1576"/>
                  </a:lnTo>
                  <a:lnTo>
                    <a:pt x="1698" y="1578"/>
                  </a:lnTo>
                  <a:lnTo>
                    <a:pt x="1698" y="1582"/>
                  </a:lnTo>
                  <a:lnTo>
                    <a:pt x="1696" y="1586"/>
                  </a:lnTo>
                  <a:lnTo>
                    <a:pt x="1696" y="1586"/>
                  </a:lnTo>
                  <a:lnTo>
                    <a:pt x="1696" y="1586"/>
                  </a:lnTo>
                  <a:lnTo>
                    <a:pt x="1696" y="1588"/>
                  </a:lnTo>
                  <a:lnTo>
                    <a:pt x="1696" y="1588"/>
                  </a:lnTo>
                  <a:lnTo>
                    <a:pt x="1696" y="1590"/>
                  </a:lnTo>
                  <a:lnTo>
                    <a:pt x="1698" y="1592"/>
                  </a:lnTo>
                  <a:lnTo>
                    <a:pt x="1698" y="1592"/>
                  </a:lnTo>
                  <a:lnTo>
                    <a:pt x="1698" y="1592"/>
                  </a:lnTo>
                  <a:lnTo>
                    <a:pt x="1700" y="1598"/>
                  </a:lnTo>
                  <a:lnTo>
                    <a:pt x="1700" y="1598"/>
                  </a:lnTo>
                  <a:lnTo>
                    <a:pt x="1700" y="1598"/>
                  </a:lnTo>
                  <a:lnTo>
                    <a:pt x="1702" y="1602"/>
                  </a:lnTo>
                  <a:lnTo>
                    <a:pt x="1706" y="1606"/>
                  </a:lnTo>
                  <a:lnTo>
                    <a:pt x="1708" y="1608"/>
                  </a:lnTo>
                  <a:lnTo>
                    <a:pt x="1708" y="1608"/>
                  </a:lnTo>
                  <a:lnTo>
                    <a:pt x="1708" y="1610"/>
                  </a:lnTo>
                  <a:lnTo>
                    <a:pt x="1708" y="1610"/>
                  </a:lnTo>
                  <a:lnTo>
                    <a:pt x="1708" y="1612"/>
                  </a:lnTo>
                  <a:lnTo>
                    <a:pt x="1708" y="1614"/>
                  </a:lnTo>
                  <a:lnTo>
                    <a:pt x="1706" y="1616"/>
                  </a:lnTo>
                  <a:lnTo>
                    <a:pt x="1704" y="1618"/>
                  </a:lnTo>
                  <a:lnTo>
                    <a:pt x="1702" y="1622"/>
                  </a:lnTo>
                  <a:lnTo>
                    <a:pt x="1702" y="1622"/>
                  </a:lnTo>
                  <a:lnTo>
                    <a:pt x="1702" y="1624"/>
                  </a:lnTo>
                  <a:lnTo>
                    <a:pt x="1702" y="1624"/>
                  </a:lnTo>
                  <a:lnTo>
                    <a:pt x="1704" y="1626"/>
                  </a:lnTo>
                  <a:lnTo>
                    <a:pt x="1708" y="1626"/>
                  </a:lnTo>
                  <a:lnTo>
                    <a:pt x="1708" y="1626"/>
                  </a:lnTo>
                  <a:lnTo>
                    <a:pt x="1712" y="1628"/>
                  </a:lnTo>
                  <a:lnTo>
                    <a:pt x="1716" y="1628"/>
                  </a:lnTo>
                  <a:lnTo>
                    <a:pt x="1714" y="1630"/>
                  </a:lnTo>
                  <a:lnTo>
                    <a:pt x="1714" y="1630"/>
                  </a:lnTo>
                  <a:lnTo>
                    <a:pt x="1714" y="1630"/>
                  </a:lnTo>
                  <a:lnTo>
                    <a:pt x="1712" y="1632"/>
                  </a:lnTo>
                  <a:lnTo>
                    <a:pt x="1712" y="1632"/>
                  </a:lnTo>
                  <a:lnTo>
                    <a:pt x="1712" y="1632"/>
                  </a:lnTo>
                  <a:lnTo>
                    <a:pt x="1710" y="1636"/>
                  </a:lnTo>
                  <a:lnTo>
                    <a:pt x="1710" y="1636"/>
                  </a:lnTo>
                  <a:lnTo>
                    <a:pt x="1710" y="1636"/>
                  </a:lnTo>
                  <a:lnTo>
                    <a:pt x="1710" y="1638"/>
                  </a:lnTo>
                  <a:lnTo>
                    <a:pt x="1710" y="1642"/>
                  </a:lnTo>
                  <a:lnTo>
                    <a:pt x="1710" y="1646"/>
                  </a:lnTo>
                  <a:lnTo>
                    <a:pt x="1710" y="1650"/>
                  </a:lnTo>
                  <a:lnTo>
                    <a:pt x="1710" y="1654"/>
                  </a:lnTo>
                  <a:lnTo>
                    <a:pt x="1710" y="1654"/>
                  </a:lnTo>
                  <a:lnTo>
                    <a:pt x="1710" y="1656"/>
                  </a:lnTo>
                  <a:lnTo>
                    <a:pt x="1712" y="1658"/>
                  </a:lnTo>
                  <a:lnTo>
                    <a:pt x="1712" y="1658"/>
                  </a:lnTo>
                  <a:lnTo>
                    <a:pt x="1712" y="1658"/>
                  </a:lnTo>
                  <a:lnTo>
                    <a:pt x="1714" y="1662"/>
                  </a:lnTo>
                  <a:lnTo>
                    <a:pt x="1716" y="1664"/>
                  </a:lnTo>
                  <a:lnTo>
                    <a:pt x="1720" y="1670"/>
                  </a:lnTo>
                  <a:lnTo>
                    <a:pt x="1722" y="1672"/>
                  </a:lnTo>
                  <a:lnTo>
                    <a:pt x="1722" y="1674"/>
                  </a:lnTo>
                  <a:lnTo>
                    <a:pt x="1722" y="1676"/>
                  </a:lnTo>
                  <a:lnTo>
                    <a:pt x="1722" y="1678"/>
                  </a:lnTo>
                  <a:lnTo>
                    <a:pt x="1720" y="1680"/>
                  </a:lnTo>
                  <a:lnTo>
                    <a:pt x="1718" y="1682"/>
                  </a:lnTo>
                  <a:lnTo>
                    <a:pt x="1716" y="1684"/>
                  </a:lnTo>
                  <a:lnTo>
                    <a:pt x="1714" y="1686"/>
                  </a:lnTo>
                  <a:lnTo>
                    <a:pt x="1714" y="1686"/>
                  </a:lnTo>
                  <a:lnTo>
                    <a:pt x="1714" y="1688"/>
                  </a:lnTo>
                  <a:lnTo>
                    <a:pt x="1712" y="1690"/>
                  </a:lnTo>
                  <a:lnTo>
                    <a:pt x="1712" y="1690"/>
                  </a:lnTo>
                  <a:lnTo>
                    <a:pt x="1712" y="1690"/>
                  </a:lnTo>
                  <a:lnTo>
                    <a:pt x="1712" y="1692"/>
                  </a:lnTo>
                  <a:lnTo>
                    <a:pt x="1712" y="1692"/>
                  </a:lnTo>
                  <a:lnTo>
                    <a:pt x="1712" y="1696"/>
                  </a:lnTo>
                  <a:lnTo>
                    <a:pt x="1712" y="1696"/>
                  </a:lnTo>
                  <a:lnTo>
                    <a:pt x="1712" y="1698"/>
                  </a:lnTo>
                  <a:lnTo>
                    <a:pt x="1712" y="1700"/>
                  </a:lnTo>
                  <a:lnTo>
                    <a:pt x="1712" y="1700"/>
                  </a:lnTo>
                  <a:lnTo>
                    <a:pt x="1714" y="1700"/>
                  </a:lnTo>
                  <a:lnTo>
                    <a:pt x="1714" y="1704"/>
                  </a:lnTo>
                  <a:lnTo>
                    <a:pt x="1716" y="1706"/>
                  </a:lnTo>
                  <a:lnTo>
                    <a:pt x="1718" y="1708"/>
                  </a:lnTo>
                  <a:lnTo>
                    <a:pt x="1718" y="1710"/>
                  </a:lnTo>
                  <a:lnTo>
                    <a:pt x="1720" y="1712"/>
                  </a:lnTo>
                  <a:lnTo>
                    <a:pt x="1718" y="1714"/>
                  </a:lnTo>
                  <a:lnTo>
                    <a:pt x="1718" y="1716"/>
                  </a:lnTo>
                  <a:lnTo>
                    <a:pt x="1718" y="1716"/>
                  </a:lnTo>
                  <a:lnTo>
                    <a:pt x="1718" y="1718"/>
                  </a:lnTo>
                  <a:lnTo>
                    <a:pt x="1720" y="1720"/>
                  </a:lnTo>
                  <a:lnTo>
                    <a:pt x="1722" y="1720"/>
                  </a:lnTo>
                  <a:lnTo>
                    <a:pt x="1724" y="1722"/>
                  </a:lnTo>
                  <a:lnTo>
                    <a:pt x="1726" y="1724"/>
                  </a:lnTo>
                  <a:lnTo>
                    <a:pt x="1724" y="1722"/>
                  </a:lnTo>
                  <a:lnTo>
                    <a:pt x="1726" y="1726"/>
                  </a:lnTo>
                  <a:lnTo>
                    <a:pt x="1728" y="1730"/>
                  </a:lnTo>
                  <a:lnTo>
                    <a:pt x="1728" y="1730"/>
                  </a:lnTo>
                  <a:lnTo>
                    <a:pt x="1728" y="1732"/>
                  </a:lnTo>
                  <a:lnTo>
                    <a:pt x="1728" y="1736"/>
                  </a:lnTo>
                  <a:lnTo>
                    <a:pt x="1728" y="1736"/>
                  </a:lnTo>
                  <a:lnTo>
                    <a:pt x="1730" y="1738"/>
                  </a:lnTo>
                  <a:lnTo>
                    <a:pt x="1732" y="1738"/>
                  </a:lnTo>
                  <a:lnTo>
                    <a:pt x="1736" y="1738"/>
                  </a:lnTo>
                  <a:lnTo>
                    <a:pt x="1740" y="1738"/>
                  </a:lnTo>
                  <a:lnTo>
                    <a:pt x="1746" y="1738"/>
                  </a:lnTo>
                  <a:lnTo>
                    <a:pt x="1750" y="1738"/>
                  </a:lnTo>
                  <a:lnTo>
                    <a:pt x="1754" y="1738"/>
                  </a:lnTo>
                  <a:lnTo>
                    <a:pt x="1758" y="1740"/>
                  </a:lnTo>
                  <a:lnTo>
                    <a:pt x="1760" y="1740"/>
                  </a:lnTo>
                  <a:lnTo>
                    <a:pt x="1760" y="1740"/>
                  </a:lnTo>
                  <a:lnTo>
                    <a:pt x="1762" y="1742"/>
                  </a:lnTo>
                  <a:lnTo>
                    <a:pt x="1764" y="1742"/>
                  </a:lnTo>
                  <a:lnTo>
                    <a:pt x="1764" y="1746"/>
                  </a:lnTo>
                  <a:lnTo>
                    <a:pt x="1766" y="1748"/>
                  </a:lnTo>
                  <a:lnTo>
                    <a:pt x="1770" y="1754"/>
                  </a:lnTo>
                  <a:lnTo>
                    <a:pt x="1772" y="1756"/>
                  </a:lnTo>
                  <a:lnTo>
                    <a:pt x="1772" y="1756"/>
                  </a:lnTo>
                  <a:lnTo>
                    <a:pt x="1772" y="1758"/>
                  </a:lnTo>
                  <a:lnTo>
                    <a:pt x="1774" y="1758"/>
                  </a:lnTo>
                  <a:lnTo>
                    <a:pt x="1774" y="1758"/>
                  </a:lnTo>
                  <a:lnTo>
                    <a:pt x="1776" y="1760"/>
                  </a:lnTo>
                  <a:lnTo>
                    <a:pt x="1780" y="1760"/>
                  </a:lnTo>
                  <a:lnTo>
                    <a:pt x="1780" y="1760"/>
                  </a:lnTo>
                  <a:lnTo>
                    <a:pt x="1780" y="1760"/>
                  </a:lnTo>
                  <a:lnTo>
                    <a:pt x="1786" y="1760"/>
                  </a:lnTo>
                  <a:lnTo>
                    <a:pt x="1790" y="1760"/>
                  </a:lnTo>
                  <a:lnTo>
                    <a:pt x="1796" y="1758"/>
                  </a:lnTo>
                  <a:lnTo>
                    <a:pt x="1802" y="1756"/>
                  </a:lnTo>
                  <a:lnTo>
                    <a:pt x="1808" y="1754"/>
                  </a:lnTo>
                  <a:lnTo>
                    <a:pt x="1812" y="1752"/>
                  </a:lnTo>
                  <a:lnTo>
                    <a:pt x="1818" y="1752"/>
                  </a:lnTo>
                  <a:lnTo>
                    <a:pt x="1818" y="1752"/>
                  </a:lnTo>
                  <a:lnTo>
                    <a:pt x="1820" y="1748"/>
                  </a:lnTo>
                  <a:lnTo>
                    <a:pt x="1820" y="1746"/>
                  </a:lnTo>
                  <a:lnTo>
                    <a:pt x="1820" y="1746"/>
                  </a:lnTo>
                  <a:lnTo>
                    <a:pt x="1820" y="1742"/>
                  </a:lnTo>
                  <a:lnTo>
                    <a:pt x="1822" y="1740"/>
                  </a:lnTo>
                  <a:lnTo>
                    <a:pt x="1822" y="1740"/>
                  </a:lnTo>
                  <a:lnTo>
                    <a:pt x="1828" y="1738"/>
                  </a:lnTo>
                  <a:lnTo>
                    <a:pt x="1834" y="1738"/>
                  </a:lnTo>
                  <a:lnTo>
                    <a:pt x="1838" y="1736"/>
                  </a:lnTo>
                  <a:lnTo>
                    <a:pt x="1842" y="1734"/>
                  </a:lnTo>
                  <a:lnTo>
                    <a:pt x="1846" y="1732"/>
                  </a:lnTo>
                  <a:lnTo>
                    <a:pt x="1846" y="1732"/>
                  </a:lnTo>
                  <a:lnTo>
                    <a:pt x="1848" y="1732"/>
                  </a:lnTo>
                  <a:lnTo>
                    <a:pt x="1852" y="1728"/>
                  </a:lnTo>
                  <a:lnTo>
                    <a:pt x="1852" y="1728"/>
                  </a:lnTo>
                  <a:lnTo>
                    <a:pt x="1852" y="1728"/>
                  </a:lnTo>
                  <a:lnTo>
                    <a:pt x="1854" y="1724"/>
                  </a:lnTo>
                  <a:lnTo>
                    <a:pt x="1854" y="1724"/>
                  </a:lnTo>
                  <a:lnTo>
                    <a:pt x="1856" y="1724"/>
                  </a:lnTo>
                  <a:lnTo>
                    <a:pt x="1858" y="1720"/>
                  </a:lnTo>
                  <a:lnTo>
                    <a:pt x="1858" y="1720"/>
                  </a:lnTo>
                  <a:lnTo>
                    <a:pt x="1858" y="1720"/>
                  </a:lnTo>
                  <a:lnTo>
                    <a:pt x="1858" y="1716"/>
                  </a:lnTo>
                  <a:lnTo>
                    <a:pt x="1860" y="1712"/>
                  </a:lnTo>
                  <a:lnTo>
                    <a:pt x="1860" y="1708"/>
                  </a:lnTo>
                  <a:lnTo>
                    <a:pt x="1862" y="1706"/>
                  </a:lnTo>
                  <a:lnTo>
                    <a:pt x="1862" y="1702"/>
                  </a:lnTo>
                  <a:lnTo>
                    <a:pt x="1864" y="1700"/>
                  </a:lnTo>
                  <a:lnTo>
                    <a:pt x="1866" y="1698"/>
                  </a:lnTo>
                  <a:lnTo>
                    <a:pt x="1868" y="1696"/>
                  </a:lnTo>
                  <a:lnTo>
                    <a:pt x="1872" y="1694"/>
                  </a:lnTo>
                  <a:lnTo>
                    <a:pt x="1876" y="1694"/>
                  </a:lnTo>
                  <a:lnTo>
                    <a:pt x="1880" y="1692"/>
                  </a:lnTo>
                  <a:lnTo>
                    <a:pt x="1884" y="1692"/>
                  </a:lnTo>
                  <a:lnTo>
                    <a:pt x="1888" y="1690"/>
                  </a:lnTo>
                  <a:lnTo>
                    <a:pt x="1888" y="1690"/>
                  </a:lnTo>
                  <a:lnTo>
                    <a:pt x="1888" y="1690"/>
                  </a:lnTo>
                  <a:lnTo>
                    <a:pt x="1892" y="1688"/>
                  </a:lnTo>
                  <a:lnTo>
                    <a:pt x="1892" y="1688"/>
                  </a:lnTo>
                  <a:lnTo>
                    <a:pt x="1892" y="1688"/>
                  </a:lnTo>
                  <a:lnTo>
                    <a:pt x="1894" y="1686"/>
                  </a:lnTo>
                  <a:lnTo>
                    <a:pt x="1894" y="1686"/>
                  </a:lnTo>
                  <a:lnTo>
                    <a:pt x="1894" y="1686"/>
                  </a:lnTo>
                  <a:lnTo>
                    <a:pt x="1896" y="1684"/>
                  </a:lnTo>
                  <a:lnTo>
                    <a:pt x="1896" y="1684"/>
                  </a:lnTo>
                  <a:lnTo>
                    <a:pt x="1896" y="1684"/>
                  </a:lnTo>
                  <a:lnTo>
                    <a:pt x="1896" y="1682"/>
                  </a:lnTo>
                  <a:lnTo>
                    <a:pt x="1896" y="1682"/>
                  </a:lnTo>
                  <a:lnTo>
                    <a:pt x="1896" y="1680"/>
                  </a:lnTo>
                  <a:lnTo>
                    <a:pt x="1896" y="1678"/>
                  </a:lnTo>
                  <a:lnTo>
                    <a:pt x="1896" y="1678"/>
                  </a:lnTo>
                  <a:lnTo>
                    <a:pt x="1896" y="1678"/>
                  </a:lnTo>
                  <a:lnTo>
                    <a:pt x="1896" y="1674"/>
                  </a:lnTo>
                  <a:lnTo>
                    <a:pt x="1896" y="1668"/>
                  </a:lnTo>
                  <a:lnTo>
                    <a:pt x="1894" y="1664"/>
                  </a:lnTo>
                  <a:lnTo>
                    <a:pt x="1894" y="1660"/>
                  </a:lnTo>
                  <a:lnTo>
                    <a:pt x="1894" y="1658"/>
                  </a:lnTo>
                  <a:lnTo>
                    <a:pt x="1894" y="1658"/>
                  </a:lnTo>
                  <a:lnTo>
                    <a:pt x="1894" y="1656"/>
                  </a:lnTo>
                  <a:lnTo>
                    <a:pt x="1894" y="1656"/>
                  </a:lnTo>
                  <a:lnTo>
                    <a:pt x="1896" y="1662"/>
                  </a:lnTo>
                  <a:lnTo>
                    <a:pt x="1898" y="1666"/>
                  </a:lnTo>
                  <a:lnTo>
                    <a:pt x="1900" y="1672"/>
                  </a:lnTo>
                  <a:lnTo>
                    <a:pt x="1904" y="1682"/>
                  </a:lnTo>
                  <a:lnTo>
                    <a:pt x="1906" y="1688"/>
                  </a:lnTo>
                  <a:lnTo>
                    <a:pt x="1908" y="1694"/>
                  </a:lnTo>
                  <a:lnTo>
                    <a:pt x="1908" y="1694"/>
                  </a:lnTo>
                  <a:lnTo>
                    <a:pt x="1908" y="1696"/>
                  </a:lnTo>
                  <a:lnTo>
                    <a:pt x="1910" y="1698"/>
                  </a:lnTo>
                  <a:lnTo>
                    <a:pt x="1910" y="1700"/>
                  </a:lnTo>
                  <a:lnTo>
                    <a:pt x="1912" y="1704"/>
                  </a:lnTo>
                  <a:lnTo>
                    <a:pt x="1912" y="1704"/>
                  </a:lnTo>
                  <a:lnTo>
                    <a:pt x="1912" y="1708"/>
                  </a:lnTo>
                  <a:lnTo>
                    <a:pt x="1912" y="1708"/>
                  </a:lnTo>
                  <a:lnTo>
                    <a:pt x="1912" y="1710"/>
                  </a:lnTo>
                  <a:lnTo>
                    <a:pt x="1914" y="1712"/>
                  </a:lnTo>
                  <a:lnTo>
                    <a:pt x="1918" y="1712"/>
                  </a:lnTo>
                  <a:lnTo>
                    <a:pt x="1916" y="1712"/>
                  </a:lnTo>
                  <a:lnTo>
                    <a:pt x="1916" y="1712"/>
                  </a:lnTo>
                  <a:lnTo>
                    <a:pt x="1916" y="1714"/>
                  </a:lnTo>
                  <a:lnTo>
                    <a:pt x="1916" y="1718"/>
                  </a:lnTo>
                  <a:lnTo>
                    <a:pt x="1916" y="1718"/>
                  </a:lnTo>
                  <a:lnTo>
                    <a:pt x="1916" y="1718"/>
                  </a:lnTo>
                  <a:lnTo>
                    <a:pt x="1916" y="1722"/>
                  </a:lnTo>
                  <a:lnTo>
                    <a:pt x="1916" y="1722"/>
                  </a:lnTo>
                  <a:lnTo>
                    <a:pt x="1916" y="1724"/>
                  </a:lnTo>
                  <a:lnTo>
                    <a:pt x="1916" y="1728"/>
                  </a:lnTo>
                  <a:lnTo>
                    <a:pt x="1918" y="1732"/>
                  </a:lnTo>
                  <a:lnTo>
                    <a:pt x="1920" y="1736"/>
                  </a:lnTo>
                  <a:lnTo>
                    <a:pt x="1922" y="1742"/>
                  </a:lnTo>
                  <a:lnTo>
                    <a:pt x="1924" y="1744"/>
                  </a:lnTo>
                  <a:lnTo>
                    <a:pt x="1922" y="1746"/>
                  </a:lnTo>
                  <a:lnTo>
                    <a:pt x="1922" y="1748"/>
                  </a:lnTo>
                  <a:lnTo>
                    <a:pt x="1922" y="1748"/>
                  </a:lnTo>
                  <a:lnTo>
                    <a:pt x="1922" y="1750"/>
                  </a:lnTo>
                  <a:lnTo>
                    <a:pt x="1920" y="1752"/>
                  </a:lnTo>
                  <a:lnTo>
                    <a:pt x="1920" y="1752"/>
                  </a:lnTo>
                  <a:lnTo>
                    <a:pt x="1920" y="1754"/>
                  </a:lnTo>
                  <a:lnTo>
                    <a:pt x="1920" y="1754"/>
                  </a:lnTo>
                  <a:lnTo>
                    <a:pt x="1920" y="1756"/>
                  </a:lnTo>
                  <a:lnTo>
                    <a:pt x="1920" y="1758"/>
                  </a:lnTo>
                  <a:lnTo>
                    <a:pt x="1922" y="1760"/>
                  </a:lnTo>
                  <a:lnTo>
                    <a:pt x="1922" y="1764"/>
                  </a:lnTo>
                  <a:lnTo>
                    <a:pt x="1922" y="1766"/>
                  </a:lnTo>
                  <a:lnTo>
                    <a:pt x="1922" y="1766"/>
                  </a:lnTo>
                  <a:lnTo>
                    <a:pt x="1924" y="1768"/>
                  </a:lnTo>
                  <a:lnTo>
                    <a:pt x="1924" y="1768"/>
                  </a:lnTo>
                  <a:lnTo>
                    <a:pt x="1926" y="1768"/>
                  </a:lnTo>
                  <a:lnTo>
                    <a:pt x="1926" y="1770"/>
                  </a:lnTo>
                  <a:lnTo>
                    <a:pt x="1930" y="1772"/>
                  </a:lnTo>
                  <a:lnTo>
                    <a:pt x="1930" y="1772"/>
                  </a:lnTo>
                  <a:lnTo>
                    <a:pt x="1930" y="1774"/>
                  </a:lnTo>
                  <a:lnTo>
                    <a:pt x="1930" y="1776"/>
                  </a:lnTo>
                  <a:lnTo>
                    <a:pt x="1930" y="1776"/>
                  </a:lnTo>
                  <a:lnTo>
                    <a:pt x="1930" y="1776"/>
                  </a:lnTo>
                  <a:lnTo>
                    <a:pt x="1930" y="1780"/>
                  </a:lnTo>
                  <a:lnTo>
                    <a:pt x="1930" y="1780"/>
                  </a:lnTo>
                  <a:lnTo>
                    <a:pt x="1930" y="1780"/>
                  </a:lnTo>
                  <a:lnTo>
                    <a:pt x="1930" y="1782"/>
                  </a:lnTo>
                  <a:lnTo>
                    <a:pt x="1930" y="1782"/>
                  </a:lnTo>
                  <a:lnTo>
                    <a:pt x="1930" y="1782"/>
                  </a:lnTo>
                  <a:lnTo>
                    <a:pt x="1932" y="1784"/>
                  </a:lnTo>
                  <a:lnTo>
                    <a:pt x="1934" y="1792"/>
                  </a:lnTo>
                  <a:lnTo>
                    <a:pt x="1938" y="1802"/>
                  </a:lnTo>
                  <a:lnTo>
                    <a:pt x="1938" y="1806"/>
                  </a:lnTo>
                  <a:lnTo>
                    <a:pt x="1940" y="1810"/>
                  </a:lnTo>
                  <a:lnTo>
                    <a:pt x="1940" y="1816"/>
                  </a:lnTo>
                  <a:lnTo>
                    <a:pt x="1940" y="1820"/>
                  </a:lnTo>
                  <a:lnTo>
                    <a:pt x="1940" y="1820"/>
                  </a:lnTo>
                  <a:lnTo>
                    <a:pt x="1940" y="1822"/>
                  </a:lnTo>
                  <a:lnTo>
                    <a:pt x="1942" y="1824"/>
                  </a:lnTo>
                  <a:lnTo>
                    <a:pt x="1946" y="1824"/>
                  </a:lnTo>
                  <a:lnTo>
                    <a:pt x="1950" y="1826"/>
                  </a:lnTo>
                  <a:lnTo>
                    <a:pt x="1952" y="1826"/>
                  </a:lnTo>
                  <a:lnTo>
                    <a:pt x="1954" y="1826"/>
                  </a:lnTo>
                  <a:lnTo>
                    <a:pt x="1956" y="1828"/>
                  </a:lnTo>
                  <a:lnTo>
                    <a:pt x="1958" y="1828"/>
                  </a:lnTo>
                  <a:lnTo>
                    <a:pt x="1958" y="1828"/>
                  </a:lnTo>
                  <a:lnTo>
                    <a:pt x="1960" y="1832"/>
                  </a:lnTo>
                  <a:lnTo>
                    <a:pt x="1960" y="1830"/>
                  </a:lnTo>
                  <a:lnTo>
                    <a:pt x="1962" y="1834"/>
                  </a:lnTo>
                  <a:lnTo>
                    <a:pt x="1964" y="1838"/>
                  </a:lnTo>
                  <a:lnTo>
                    <a:pt x="1968" y="1842"/>
                  </a:lnTo>
                  <a:lnTo>
                    <a:pt x="1970" y="1844"/>
                  </a:lnTo>
                  <a:lnTo>
                    <a:pt x="1972" y="1848"/>
                  </a:lnTo>
                  <a:lnTo>
                    <a:pt x="1972" y="1848"/>
                  </a:lnTo>
                  <a:lnTo>
                    <a:pt x="1972" y="1848"/>
                  </a:lnTo>
                  <a:lnTo>
                    <a:pt x="1974" y="1850"/>
                  </a:lnTo>
                  <a:lnTo>
                    <a:pt x="1974" y="1850"/>
                  </a:lnTo>
                  <a:lnTo>
                    <a:pt x="1974" y="1850"/>
                  </a:lnTo>
                  <a:lnTo>
                    <a:pt x="1976" y="1852"/>
                  </a:lnTo>
                  <a:lnTo>
                    <a:pt x="1976" y="1852"/>
                  </a:lnTo>
                  <a:lnTo>
                    <a:pt x="1978" y="1852"/>
                  </a:lnTo>
                  <a:lnTo>
                    <a:pt x="1980" y="1854"/>
                  </a:lnTo>
                  <a:lnTo>
                    <a:pt x="1982" y="1854"/>
                  </a:lnTo>
                  <a:lnTo>
                    <a:pt x="1984" y="1854"/>
                  </a:lnTo>
                  <a:lnTo>
                    <a:pt x="1984" y="1854"/>
                  </a:lnTo>
                  <a:lnTo>
                    <a:pt x="1986" y="1854"/>
                  </a:lnTo>
                  <a:lnTo>
                    <a:pt x="1984" y="1860"/>
                  </a:lnTo>
                  <a:lnTo>
                    <a:pt x="1984" y="1860"/>
                  </a:lnTo>
                  <a:lnTo>
                    <a:pt x="1982" y="1862"/>
                  </a:lnTo>
                  <a:lnTo>
                    <a:pt x="1980" y="1862"/>
                  </a:lnTo>
                  <a:lnTo>
                    <a:pt x="1978" y="1864"/>
                  </a:lnTo>
                  <a:lnTo>
                    <a:pt x="1974" y="1866"/>
                  </a:lnTo>
                  <a:lnTo>
                    <a:pt x="1970" y="1866"/>
                  </a:lnTo>
                  <a:lnTo>
                    <a:pt x="1968" y="1868"/>
                  </a:lnTo>
                  <a:lnTo>
                    <a:pt x="1968" y="1868"/>
                  </a:lnTo>
                  <a:lnTo>
                    <a:pt x="1968" y="1868"/>
                  </a:lnTo>
                  <a:lnTo>
                    <a:pt x="1966" y="1870"/>
                  </a:lnTo>
                  <a:lnTo>
                    <a:pt x="1966" y="1870"/>
                  </a:lnTo>
                  <a:lnTo>
                    <a:pt x="1964" y="1872"/>
                  </a:lnTo>
                  <a:lnTo>
                    <a:pt x="1964" y="1872"/>
                  </a:lnTo>
                  <a:lnTo>
                    <a:pt x="1966" y="1874"/>
                  </a:lnTo>
                  <a:lnTo>
                    <a:pt x="1968" y="1876"/>
                  </a:lnTo>
                  <a:lnTo>
                    <a:pt x="1968" y="1876"/>
                  </a:lnTo>
                  <a:lnTo>
                    <a:pt x="1968" y="1876"/>
                  </a:lnTo>
                  <a:lnTo>
                    <a:pt x="1968" y="1876"/>
                  </a:lnTo>
                  <a:lnTo>
                    <a:pt x="1966" y="1876"/>
                  </a:lnTo>
                  <a:lnTo>
                    <a:pt x="1966" y="1876"/>
                  </a:lnTo>
                  <a:lnTo>
                    <a:pt x="1964" y="1878"/>
                  </a:lnTo>
                  <a:lnTo>
                    <a:pt x="1966" y="1882"/>
                  </a:lnTo>
                  <a:lnTo>
                    <a:pt x="1966" y="1884"/>
                  </a:lnTo>
                  <a:lnTo>
                    <a:pt x="1966" y="1888"/>
                  </a:lnTo>
                  <a:lnTo>
                    <a:pt x="1964" y="1890"/>
                  </a:lnTo>
                  <a:lnTo>
                    <a:pt x="1964" y="1892"/>
                  </a:lnTo>
                  <a:lnTo>
                    <a:pt x="1964" y="1892"/>
                  </a:lnTo>
                  <a:lnTo>
                    <a:pt x="1964" y="1894"/>
                  </a:lnTo>
                  <a:lnTo>
                    <a:pt x="1964" y="1898"/>
                  </a:lnTo>
                  <a:lnTo>
                    <a:pt x="1966" y="1900"/>
                  </a:lnTo>
                  <a:lnTo>
                    <a:pt x="1968" y="1902"/>
                  </a:lnTo>
                  <a:lnTo>
                    <a:pt x="1970" y="1904"/>
                  </a:lnTo>
                  <a:lnTo>
                    <a:pt x="1970" y="1904"/>
                  </a:lnTo>
                  <a:lnTo>
                    <a:pt x="1970" y="1904"/>
                  </a:lnTo>
                  <a:lnTo>
                    <a:pt x="1976" y="1908"/>
                  </a:lnTo>
                  <a:lnTo>
                    <a:pt x="1980" y="1912"/>
                  </a:lnTo>
                  <a:lnTo>
                    <a:pt x="1986" y="1916"/>
                  </a:lnTo>
                  <a:lnTo>
                    <a:pt x="1990" y="1920"/>
                  </a:lnTo>
                  <a:lnTo>
                    <a:pt x="1990" y="1920"/>
                  </a:lnTo>
                  <a:lnTo>
                    <a:pt x="1990" y="1920"/>
                  </a:lnTo>
                  <a:lnTo>
                    <a:pt x="1996" y="1924"/>
                  </a:lnTo>
                  <a:lnTo>
                    <a:pt x="1996" y="1924"/>
                  </a:lnTo>
                  <a:lnTo>
                    <a:pt x="1996" y="1924"/>
                  </a:lnTo>
                  <a:lnTo>
                    <a:pt x="2000" y="1924"/>
                  </a:lnTo>
                  <a:lnTo>
                    <a:pt x="2000" y="1924"/>
                  </a:lnTo>
                  <a:lnTo>
                    <a:pt x="2000" y="1924"/>
                  </a:lnTo>
                  <a:lnTo>
                    <a:pt x="2004" y="1924"/>
                  </a:lnTo>
                  <a:lnTo>
                    <a:pt x="2008" y="1924"/>
                  </a:lnTo>
                  <a:lnTo>
                    <a:pt x="2012" y="1924"/>
                  </a:lnTo>
                  <a:lnTo>
                    <a:pt x="2018" y="1922"/>
                  </a:lnTo>
                  <a:lnTo>
                    <a:pt x="2024" y="1922"/>
                  </a:lnTo>
                  <a:lnTo>
                    <a:pt x="2032" y="1918"/>
                  </a:lnTo>
                  <a:lnTo>
                    <a:pt x="2040" y="1914"/>
                  </a:lnTo>
                  <a:lnTo>
                    <a:pt x="2044" y="1912"/>
                  </a:lnTo>
                  <a:lnTo>
                    <a:pt x="2048" y="1908"/>
                  </a:lnTo>
                  <a:lnTo>
                    <a:pt x="2050" y="1906"/>
                  </a:lnTo>
                  <a:lnTo>
                    <a:pt x="2052" y="1902"/>
                  </a:lnTo>
                  <a:lnTo>
                    <a:pt x="2054" y="1900"/>
                  </a:lnTo>
                  <a:lnTo>
                    <a:pt x="2054" y="1900"/>
                  </a:lnTo>
                  <a:lnTo>
                    <a:pt x="2056" y="1900"/>
                  </a:lnTo>
                  <a:lnTo>
                    <a:pt x="2056" y="1896"/>
                  </a:lnTo>
                  <a:lnTo>
                    <a:pt x="2056" y="1896"/>
                  </a:lnTo>
                  <a:lnTo>
                    <a:pt x="2056" y="1896"/>
                  </a:lnTo>
                  <a:lnTo>
                    <a:pt x="2056" y="1892"/>
                  </a:lnTo>
                  <a:lnTo>
                    <a:pt x="2056" y="1892"/>
                  </a:lnTo>
                  <a:lnTo>
                    <a:pt x="2056" y="1888"/>
                  </a:lnTo>
                  <a:lnTo>
                    <a:pt x="2056" y="1888"/>
                  </a:lnTo>
                  <a:lnTo>
                    <a:pt x="2056" y="1888"/>
                  </a:lnTo>
                  <a:lnTo>
                    <a:pt x="2054" y="1884"/>
                  </a:lnTo>
                  <a:lnTo>
                    <a:pt x="2054" y="1884"/>
                  </a:lnTo>
                  <a:lnTo>
                    <a:pt x="2054" y="1884"/>
                  </a:lnTo>
                  <a:lnTo>
                    <a:pt x="2052" y="1880"/>
                  </a:lnTo>
                  <a:lnTo>
                    <a:pt x="2052" y="1880"/>
                  </a:lnTo>
                  <a:lnTo>
                    <a:pt x="2050" y="1880"/>
                  </a:lnTo>
                  <a:lnTo>
                    <a:pt x="2046" y="1876"/>
                  </a:lnTo>
                  <a:lnTo>
                    <a:pt x="2046" y="1876"/>
                  </a:lnTo>
                  <a:lnTo>
                    <a:pt x="2048" y="1876"/>
                  </a:lnTo>
                  <a:lnTo>
                    <a:pt x="2052" y="1874"/>
                  </a:lnTo>
                  <a:lnTo>
                    <a:pt x="2058" y="1872"/>
                  </a:lnTo>
                  <a:lnTo>
                    <a:pt x="2064" y="1872"/>
                  </a:lnTo>
                  <a:lnTo>
                    <a:pt x="2074" y="1870"/>
                  </a:lnTo>
                  <a:lnTo>
                    <a:pt x="2080" y="1868"/>
                  </a:lnTo>
                  <a:lnTo>
                    <a:pt x="2084" y="1868"/>
                  </a:lnTo>
                  <a:lnTo>
                    <a:pt x="2090" y="1866"/>
                  </a:lnTo>
                  <a:lnTo>
                    <a:pt x="2094" y="1864"/>
                  </a:lnTo>
                  <a:lnTo>
                    <a:pt x="2094" y="1864"/>
                  </a:lnTo>
                  <a:lnTo>
                    <a:pt x="2094" y="1864"/>
                  </a:lnTo>
                  <a:lnTo>
                    <a:pt x="2098" y="1860"/>
                  </a:lnTo>
                  <a:lnTo>
                    <a:pt x="2098" y="1860"/>
                  </a:lnTo>
                  <a:lnTo>
                    <a:pt x="2098" y="1860"/>
                  </a:lnTo>
                  <a:lnTo>
                    <a:pt x="2102" y="1858"/>
                  </a:lnTo>
                  <a:lnTo>
                    <a:pt x="2102" y="1858"/>
                  </a:lnTo>
                  <a:lnTo>
                    <a:pt x="2102" y="1856"/>
                  </a:lnTo>
                  <a:lnTo>
                    <a:pt x="2106" y="1852"/>
                  </a:lnTo>
                  <a:lnTo>
                    <a:pt x="2110" y="1846"/>
                  </a:lnTo>
                  <a:lnTo>
                    <a:pt x="2112" y="1842"/>
                  </a:lnTo>
                  <a:lnTo>
                    <a:pt x="2114" y="1838"/>
                  </a:lnTo>
                  <a:lnTo>
                    <a:pt x="2116" y="1834"/>
                  </a:lnTo>
                  <a:lnTo>
                    <a:pt x="2116" y="1830"/>
                  </a:lnTo>
                  <a:lnTo>
                    <a:pt x="2118" y="1826"/>
                  </a:lnTo>
                  <a:lnTo>
                    <a:pt x="2120" y="1820"/>
                  </a:lnTo>
                  <a:lnTo>
                    <a:pt x="2122" y="1808"/>
                  </a:lnTo>
                  <a:lnTo>
                    <a:pt x="2124" y="1796"/>
                  </a:lnTo>
                  <a:lnTo>
                    <a:pt x="2124" y="1782"/>
                  </a:lnTo>
                  <a:lnTo>
                    <a:pt x="2122" y="1770"/>
                  </a:lnTo>
                  <a:lnTo>
                    <a:pt x="2120" y="1758"/>
                  </a:lnTo>
                  <a:lnTo>
                    <a:pt x="2118" y="1754"/>
                  </a:lnTo>
                  <a:lnTo>
                    <a:pt x="2116" y="1748"/>
                  </a:lnTo>
                  <a:lnTo>
                    <a:pt x="2112" y="1742"/>
                  </a:lnTo>
                  <a:lnTo>
                    <a:pt x="2112" y="1742"/>
                  </a:lnTo>
                  <a:lnTo>
                    <a:pt x="2114" y="1740"/>
                  </a:lnTo>
                  <a:lnTo>
                    <a:pt x="2122" y="1738"/>
                  </a:lnTo>
                  <a:lnTo>
                    <a:pt x="2124" y="1736"/>
                  </a:lnTo>
                  <a:lnTo>
                    <a:pt x="2128" y="1736"/>
                  </a:lnTo>
                  <a:lnTo>
                    <a:pt x="2130" y="1734"/>
                  </a:lnTo>
                  <a:lnTo>
                    <a:pt x="2132" y="1734"/>
                  </a:lnTo>
                  <a:lnTo>
                    <a:pt x="2132" y="1734"/>
                  </a:lnTo>
                  <a:lnTo>
                    <a:pt x="2134" y="1734"/>
                  </a:lnTo>
                  <a:lnTo>
                    <a:pt x="2134" y="1732"/>
                  </a:lnTo>
                  <a:lnTo>
                    <a:pt x="2134" y="1732"/>
                  </a:lnTo>
                  <a:lnTo>
                    <a:pt x="2134" y="1730"/>
                  </a:lnTo>
                  <a:lnTo>
                    <a:pt x="2132" y="1728"/>
                  </a:lnTo>
                  <a:lnTo>
                    <a:pt x="2128" y="1728"/>
                  </a:lnTo>
                  <a:lnTo>
                    <a:pt x="2124" y="1728"/>
                  </a:lnTo>
                  <a:lnTo>
                    <a:pt x="2118" y="1726"/>
                  </a:lnTo>
                  <a:lnTo>
                    <a:pt x="2114" y="1724"/>
                  </a:lnTo>
                  <a:lnTo>
                    <a:pt x="2112" y="1722"/>
                  </a:lnTo>
                  <a:lnTo>
                    <a:pt x="2110" y="1722"/>
                  </a:lnTo>
                  <a:lnTo>
                    <a:pt x="2112" y="1720"/>
                  </a:lnTo>
                  <a:lnTo>
                    <a:pt x="2116" y="1714"/>
                  </a:lnTo>
                  <a:lnTo>
                    <a:pt x="2122" y="1710"/>
                  </a:lnTo>
                  <a:lnTo>
                    <a:pt x="2126" y="1704"/>
                  </a:lnTo>
                  <a:lnTo>
                    <a:pt x="2130" y="1700"/>
                  </a:lnTo>
                  <a:lnTo>
                    <a:pt x="2134" y="1694"/>
                  </a:lnTo>
                  <a:lnTo>
                    <a:pt x="2134" y="1694"/>
                  </a:lnTo>
                  <a:lnTo>
                    <a:pt x="2134" y="1694"/>
                  </a:lnTo>
                  <a:lnTo>
                    <a:pt x="2136" y="1692"/>
                  </a:lnTo>
                  <a:lnTo>
                    <a:pt x="2136" y="1688"/>
                  </a:lnTo>
                  <a:lnTo>
                    <a:pt x="2136" y="1688"/>
                  </a:lnTo>
                  <a:lnTo>
                    <a:pt x="2136" y="1686"/>
                  </a:lnTo>
                  <a:lnTo>
                    <a:pt x="2136" y="1686"/>
                  </a:lnTo>
                  <a:lnTo>
                    <a:pt x="2136" y="1684"/>
                  </a:lnTo>
                  <a:lnTo>
                    <a:pt x="2138" y="1680"/>
                  </a:lnTo>
                  <a:lnTo>
                    <a:pt x="2142" y="1678"/>
                  </a:lnTo>
                  <a:lnTo>
                    <a:pt x="2150" y="1670"/>
                  </a:lnTo>
                  <a:lnTo>
                    <a:pt x="2152" y="1668"/>
                  </a:lnTo>
                  <a:lnTo>
                    <a:pt x="2156" y="1666"/>
                  </a:lnTo>
                  <a:lnTo>
                    <a:pt x="2160" y="1664"/>
                  </a:lnTo>
                  <a:lnTo>
                    <a:pt x="2166" y="1662"/>
                  </a:lnTo>
                  <a:lnTo>
                    <a:pt x="2166" y="1662"/>
                  </a:lnTo>
                  <a:lnTo>
                    <a:pt x="2168" y="1660"/>
                  </a:lnTo>
                  <a:lnTo>
                    <a:pt x="2168" y="1660"/>
                  </a:lnTo>
                  <a:lnTo>
                    <a:pt x="2168" y="1660"/>
                  </a:lnTo>
                  <a:lnTo>
                    <a:pt x="2168" y="1660"/>
                  </a:lnTo>
                  <a:lnTo>
                    <a:pt x="2168" y="1658"/>
                  </a:lnTo>
                  <a:lnTo>
                    <a:pt x="2168" y="1658"/>
                  </a:lnTo>
                  <a:lnTo>
                    <a:pt x="2168" y="1658"/>
                  </a:lnTo>
                  <a:lnTo>
                    <a:pt x="2168" y="1654"/>
                  </a:lnTo>
                  <a:lnTo>
                    <a:pt x="2168" y="1652"/>
                  </a:lnTo>
                  <a:lnTo>
                    <a:pt x="2168" y="1652"/>
                  </a:lnTo>
                  <a:lnTo>
                    <a:pt x="2170" y="1652"/>
                  </a:lnTo>
                  <a:lnTo>
                    <a:pt x="2170" y="1650"/>
                  </a:lnTo>
                  <a:lnTo>
                    <a:pt x="2172" y="1648"/>
                  </a:lnTo>
                  <a:lnTo>
                    <a:pt x="2174" y="1646"/>
                  </a:lnTo>
                  <a:lnTo>
                    <a:pt x="2176" y="1644"/>
                  </a:lnTo>
                  <a:lnTo>
                    <a:pt x="2178" y="1642"/>
                  </a:lnTo>
                  <a:lnTo>
                    <a:pt x="2178" y="1642"/>
                  </a:lnTo>
                  <a:lnTo>
                    <a:pt x="2178" y="1640"/>
                  </a:lnTo>
                  <a:lnTo>
                    <a:pt x="2178" y="1638"/>
                  </a:lnTo>
                  <a:lnTo>
                    <a:pt x="2178" y="1638"/>
                  </a:lnTo>
                  <a:lnTo>
                    <a:pt x="2178" y="1638"/>
                  </a:lnTo>
                  <a:lnTo>
                    <a:pt x="2178" y="1636"/>
                  </a:lnTo>
                  <a:lnTo>
                    <a:pt x="2178" y="1636"/>
                  </a:lnTo>
                  <a:lnTo>
                    <a:pt x="2178" y="1636"/>
                  </a:lnTo>
                  <a:lnTo>
                    <a:pt x="2176" y="1636"/>
                  </a:lnTo>
                  <a:lnTo>
                    <a:pt x="2176" y="1636"/>
                  </a:lnTo>
                  <a:lnTo>
                    <a:pt x="2176" y="1634"/>
                  </a:lnTo>
                  <a:lnTo>
                    <a:pt x="2176" y="1634"/>
                  </a:lnTo>
                  <a:lnTo>
                    <a:pt x="2174" y="1632"/>
                  </a:lnTo>
                  <a:lnTo>
                    <a:pt x="2172" y="1630"/>
                  </a:lnTo>
                  <a:lnTo>
                    <a:pt x="2174" y="1628"/>
                  </a:lnTo>
                  <a:lnTo>
                    <a:pt x="2176" y="1624"/>
                  </a:lnTo>
                  <a:lnTo>
                    <a:pt x="2180" y="1622"/>
                  </a:lnTo>
                  <a:lnTo>
                    <a:pt x="2180" y="1620"/>
                  </a:lnTo>
                  <a:lnTo>
                    <a:pt x="2184" y="1620"/>
                  </a:lnTo>
                  <a:lnTo>
                    <a:pt x="2186" y="1620"/>
                  </a:lnTo>
                  <a:lnTo>
                    <a:pt x="2186" y="1620"/>
                  </a:lnTo>
                  <a:lnTo>
                    <a:pt x="2188" y="1618"/>
                  </a:lnTo>
                  <a:lnTo>
                    <a:pt x="2190" y="1616"/>
                  </a:lnTo>
                  <a:lnTo>
                    <a:pt x="2188" y="1610"/>
                  </a:lnTo>
                  <a:lnTo>
                    <a:pt x="2188" y="1604"/>
                  </a:lnTo>
                  <a:lnTo>
                    <a:pt x="2188" y="1600"/>
                  </a:lnTo>
                  <a:lnTo>
                    <a:pt x="2186" y="1594"/>
                  </a:lnTo>
                  <a:lnTo>
                    <a:pt x="2184" y="1590"/>
                  </a:lnTo>
                  <a:lnTo>
                    <a:pt x="2182" y="1586"/>
                  </a:lnTo>
                  <a:lnTo>
                    <a:pt x="2178" y="1580"/>
                  </a:lnTo>
                  <a:lnTo>
                    <a:pt x="2176" y="1576"/>
                  </a:lnTo>
                  <a:lnTo>
                    <a:pt x="2176" y="1576"/>
                  </a:lnTo>
                  <a:lnTo>
                    <a:pt x="2174" y="1576"/>
                  </a:lnTo>
                  <a:lnTo>
                    <a:pt x="2170" y="1574"/>
                  </a:lnTo>
                  <a:lnTo>
                    <a:pt x="2166" y="1572"/>
                  </a:lnTo>
                  <a:lnTo>
                    <a:pt x="2164" y="1572"/>
                  </a:lnTo>
                  <a:lnTo>
                    <a:pt x="2164" y="1572"/>
                  </a:lnTo>
                  <a:lnTo>
                    <a:pt x="2162" y="1572"/>
                  </a:lnTo>
                  <a:lnTo>
                    <a:pt x="2162" y="1570"/>
                  </a:lnTo>
                  <a:lnTo>
                    <a:pt x="2162" y="1570"/>
                  </a:lnTo>
                  <a:lnTo>
                    <a:pt x="2160" y="1568"/>
                  </a:lnTo>
                  <a:lnTo>
                    <a:pt x="2160" y="1566"/>
                  </a:lnTo>
                  <a:lnTo>
                    <a:pt x="2160" y="1562"/>
                  </a:lnTo>
                  <a:lnTo>
                    <a:pt x="2160" y="1562"/>
                  </a:lnTo>
                  <a:lnTo>
                    <a:pt x="2156" y="1560"/>
                  </a:lnTo>
                  <a:lnTo>
                    <a:pt x="2150" y="1560"/>
                  </a:lnTo>
                  <a:lnTo>
                    <a:pt x="2144" y="1558"/>
                  </a:lnTo>
                  <a:lnTo>
                    <a:pt x="2138" y="1556"/>
                  </a:lnTo>
                  <a:lnTo>
                    <a:pt x="2140" y="1556"/>
                  </a:lnTo>
                  <a:lnTo>
                    <a:pt x="2136" y="1554"/>
                  </a:lnTo>
                  <a:lnTo>
                    <a:pt x="2132" y="1550"/>
                  </a:lnTo>
                  <a:lnTo>
                    <a:pt x="2132" y="1550"/>
                  </a:lnTo>
                  <a:lnTo>
                    <a:pt x="2128" y="1546"/>
                  </a:lnTo>
                  <a:lnTo>
                    <a:pt x="2124" y="1542"/>
                  </a:lnTo>
                  <a:lnTo>
                    <a:pt x="2122" y="1538"/>
                  </a:lnTo>
                  <a:lnTo>
                    <a:pt x="2118" y="1528"/>
                  </a:lnTo>
                  <a:lnTo>
                    <a:pt x="2112" y="1518"/>
                  </a:lnTo>
                  <a:lnTo>
                    <a:pt x="2106" y="1506"/>
                  </a:lnTo>
                  <a:lnTo>
                    <a:pt x="2104" y="1500"/>
                  </a:lnTo>
                  <a:lnTo>
                    <a:pt x="2100" y="1498"/>
                  </a:lnTo>
                  <a:lnTo>
                    <a:pt x="2104" y="1492"/>
                  </a:lnTo>
                  <a:lnTo>
                    <a:pt x="2106" y="1484"/>
                  </a:lnTo>
                  <a:lnTo>
                    <a:pt x="2110" y="1474"/>
                  </a:lnTo>
                  <a:lnTo>
                    <a:pt x="2112" y="1466"/>
                  </a:lnTo>
                  <a:lnTo>
                    <a:pt x="2114" y="1456"/>
                  </a:lnTo>
                  <a:lnTo>
                    <a:pt x="2114" y="1450"/>
                  </a:lnTo>
                  <a:lnTo>
                    <a:pt x="2114" y="1446"/>
                  </a:lnTo>
                  <a:lnTo>
                    <a:pt x="2114" y="1442"/>
                  </a:lnTo>
                  <a:lnTo>
                    <a:pt x="2112" y="1438"/>
                  </a:lnTo>
                  <a:lnTo>
                    <a:pt x="2110" y="1432"/>
                  </a:lnTo>
                  <a:lnTo>
                    <a:pt x="2110" y="1432"/>
                  </a:lnTo>
                  <a:lnTo>
                    <a:pt x="2110" y="1432"/>
                  </a:lnTo>
                  <a:lnTo>
                    <a:pt x="2114" y="1430"/>
                  </a:lnTo>
                  <a:lnTo>
                    <a:pt x="2120" y="1428"/>
                  </a:lnTo>
                  <a:lnTo>
                    <a:pt x="2124" y="1428"/>
                  </a:lnTo>
                  <a:lnTo>
                    <a:pt x="2124" y="1428"/>
                  </a:lnTo>
                  <a:lnTo>
                    <a:pt x="2128" y="1426"/>
                  </a:lnTo>
                  <a:lnTo>
                    <a:pt x="2128" y="1426"/>
                  </a:lnTo>
                  <a:lnTo>
                    <a:pt x="2128" y="1424"/>
                  </a:lnTo>
                  <a:lnTo>
                    <a:pt x="2126" y="1420"/>
                  </a:lnTo>
                  <a:lnTo>
                    <a:pt x="2124" y="1418"/>
                  </a:lnTo>
                  <a:lnTo>
                    <a:pt x="2124" y="1414"/>
                  </a:lnTo>
                  <a:lnTo>
                    <a:pt x="2124" y="1408"/>
                  </a:lnTo>
                  <a:lnTo>
                    <a:pt x="2122" y="1404"/>
                  </a:lnTo>
                  <a:lnTo>
                    <a:pt x="2122" y="1400"/>
                  </a:lnTo>
                  <a:lnTo>
                    <a:pt x="2120" y="1396"/>
                  </a:lnTo>
                  <a:lnTo>
                    <a:pt x="2122" y="1396"/>
                  </a:lnTo>
                  <a:lnTo>
                    <a:pt x="2128" y="1398"/>
                  </a:lnTo>
                  <a:lnTo>
                    <a:pt x="2134" y="1398"/>
                  </a:lnTo>
                  <a:lnTo>
                    <a:pt x="2134" y="1398"/>
                  </a:lnTo>
                  <a:lnTo>
                    <a:pt x="2136" y="1398"/>
                  </a:lnTo>
                  <a:lnTo>
                    <a:pt x="2136" y="1398"/>
                  </a:lnTo>
                  <a:lnTo>
                    <a:pt x="2138" y="1396"/>
                  </a:lnTo>
                  <a:lnTo>
                    <a:pt x="2140" y="1388"/>
                  </a:lnTo>
                  <a:lnTo>
                    <a:pt x="2142" y="1382"/>
                  </a:lnTo>
                  <a:lnTo>
                    <a:pt x="2144" y="1376"/>
                  </a:lnTo>
                  <a:lnTo>
                    <a:pt x="2146" y="1372"/>
                  </a:lnTo>
                  <a:lnTo>
                    <a:pt x="2150" y="1366"/>
                  </a:lnTo>
                  <a:lnTo>
                    <a:pt x="2154" y="1362"/>
                  </a:lnTo>
                  <a:lnTo>
                    <a:pt x="2158" y="1360"/>
                  </a:lnTo>
                  <a:lnTo>
                    <a:pt x="2162" y="1356"/>
                  </a:lnTo>
                  <a:lnTo>
                    <a:pt x="2172" y="1350"/>
                  </a:lnTo>
                  <a:lnTo>
                    <a:pt x="2182" y="1342"/>
                  </a:lnTo>
                  <a:lnTo>
                    <a:pt x="2188" y="1340"/>
                  </a:lnTo>
                  <a:lnTo>
                    <a:pt x="2194" y="1334"/>
                  </a:lnTo>
                  <a:lnTo>
                    <a:pt x="2198" y="1330"/>
                  </a:lnTo>
                  <a:lnTo>
                    <a:pt x="2204" y="1326"/>
                  </a:lnTo>
                  <a:lnTo>
                    <a:pt x="2204" y="1326"/>
                  </a:lnTo>
                  <a:lnTo>
                    <a:pt x="2204" y="1324"/>
                  </a:lnTo>
                  <a:lnTo>
                    <a:pt x="2204" y="1318"/>
                  </a:lnTo>
                  <a:lnTo>
                    <a:pt x="2204" y="1318"/>
                  </a:lnTo>
                  <a:lnTo>
                    <a:pt x="2202" y="1312"/>
                  </a:lnTo>
                  <a:lnTo>
                    <a:pt x="2202" y="1312"/>
                  </a:lnTo>
                  <a:lnTo>
                    <a:pt x="2202" y="1312"/>
                  </a:lnTo>
                  <a:lnTo>
                    <a:pt x="2202" y="1310"/>
                  </a:lnTo>
                  <a:lnTo>
                    <a:pt x="2200" y="1308"/>
                  </a:lnTo>
                  <a:lnTo>
                    <a:pt x="2200" y="1308"/>
                  </a:lnTo>
                  <a:lnTo>
                    <a:pt x="2200" y="1308"/>
                  </a:lnTo>
                  <a:lnTo>
                    <a:pt x="2200" y="1308"/>
                  </a:lnTo>
                  <a:lnTo>
                    <a:pt x="2200" y="1308"/>
                  </a:lnTo>
                  <a:lnTo>
                    <a:pt x="2204" y="1304"/>
                  </a:lnTo>
                  <a:lnTo>
                    <a:pt x="2204" y="1304"/>
                  </a:lnTo>
                  <a:lnTo>
                    <a:pt x="2204" y="1304"/>
                  </a:lnTo>
                  <a:lnTo>
                    <a:pt x="2208" y="1302"/>
                  </a:lnTo>
                  <a:lnTo>
                    <a:pt x="2212" y="1298"/>
                  </a:lnTo>
                  <a:lnTo>
                    <a:pt x="2214" y="1294"/>
                  </a:lnTo>
                  <a:lnTo>
                    <a:pt x="2216" y="1290"/>
                  </a:lnTo>
                  <a:lnTo>
                    <a:pt x="2218" y="1286"/>
                  </a:lnTo>
                  <a:lnTo>
                    <a:pt x="2218" y="1286"/>
                  </a:lnTo>
                  <a:lnTo>
                    <a:pt x="2218" y="1286"/>
                  </a:lnTo>
                  <a:lnTo>
                    <a:pt x="2218" y="1282"/>
                  </a:lnTo>
                  <a:lnTo>
                    <a:pt x="2218" y="1282"/>
                  </a:lnTo>
                  <a:lnTo>
                    <a:pt x="2220" y="1278"/>
                  </a:lnTo>
                  <a:lnTo>
                    <a:pt x="2220" y="1278"/>
                  </a:lnTo>
                  <a:lnTo>
                    <a:pt x="2218" y="1274"/>
                  </a:lnTo>
                  <a:lnTo>
                    <a:pt x="2218" y="1274"/>
                  </a:lnTo>
                  <a:lnTo>
                    <a:pt x="2218" y="1272"/>
                  </a:lnTo>
                  <a:lnTo>
                    <a:pt x="2218" y="1270"/>
                  </a:lnTo>
                  <a:lnTo>
                    <a:pt x="2218" y="1270"/>
                  </a:lnTo>
                  <a:lnTo>
                    <a:pt x="2216" y="1268"/>
                  </a:lnTo>
                  <a:lnTo>
                    <a:pt x="2214" y="1266"/>
                  </a:lnTo>
                  <a:lnTo>
                    <a:pt x="2214" y="1266"/>
                  </a:lnTo>
                  <a:lnTo>
                    <a:pt x="2214" y="1264"/>
                  </a:lnTo>
                  <a:lnTo>
                    <a:pt x="2212" y="1262"/>
                  </a:lnTo>
                  <a:lnTo>
                    <a:pt x="2212" y="1262"/>
                  </a:lnTo>
                  <a:lnTo>
                    <a:pt x="2210" y="1262"/>
                  </a:lnTo>
                  <a:lnTo>
                    <a:pt x="2206" y="1258"/>
                  </a:lnTo>
                  <a:lnTo>
                    <a:pt x="2206" y="1258"/>
                  </a:lnTo>
                  <a:lnTo>
                    <a:pt x="2206" y="1258"/>
                  </a:lnTo>
                  <a:lnTo>
                    <a:pt x="2202" y="1256"/>
                  </a:lnTo>
                  <a:lnTo>
                    <a:pt x="2202" y="1256"/>
                  </a:lnTo>
                  <a:lnTo>
                    <a:pt x="2202" y="1256"/>
                  </a:lnTo>
                  <a:lnTo>
                    <a:pt x="2200" y="1256"/>
                  </a:lnTo>
                  <a:lnTo>
                    <a:pt x="2200" y="1254"/>
                  </a:lnTo>
                  <a:lnTo>
                    <a:pt x="2204" y="1248"/>
                  </a:lnTo>
                  <a:lnTo>
                    <a:pt x="2208" y="1242"/>
                  </a:lnTo>
                  <a:lnTo>
                    <a:pt x="2212" y="1238"/>
                  </a:lnTo>
                  <a:lnTo>
                    <a:pt x="2216" y="1232"/>
                  </a:lnTo>
                  <a:lnTo>
                    <a:pt x="2216" y="1232"/>
                  </a:lnTo>
                  <a:lnTo>
                    <a:pt x="2216" y="1232"/>
                  </a:lnTo>
                  <a:lnTo>
                    <a:pt x="2220" y="1226"/>
                  </a:lnTo>
                  <a:lnTo>
                    <a:pt x="2220" y="1224"/>
                  </a:lnTo>
                  <a:lnTo>
                    <a:pt x="2220" y="1220"/>
                  </a:lnTo>
                  <a:lnTo>
                    <a:pt x="2220" y="1216"/>
                  </a:lnTo>
                  <a:lnTo>
                    <a:pt x="2220" y="1214"/>
                  </a:lnTo>
                  <a:lnTo>
                    <a:pt x="2222" y="1214"/>
                  </a:lnTo>
                  <a:lnTo>
                    <a:pt x="2222" y="1214"/>
                  </a:lnTo>
                  <a:lnTo>
                    <a:pt x="2222" y="1212"/>
                  </a:lnTo>
                  <a:lnTo>
                    <a:pt x="2222" y="1212"/>
                  </a:lnTo>
                  <a:lnTo>
                    <a:pt x="2224" y="1214"/>
                  </a:lnTo>
                  <a:lnTo>
                    <a:pt x="2226" y="1214"/>
                  </a:lnTo>
                  <a:lnTo>
                    <a:pt x="2226" y="1214"/>
                  </a:lnTo>
                  <a:lnTo>
                    <a:pt x="2226" y="1212"/>
                  </a:lnTo>
                  <a:lnTo>
                    <a:pt x="2228" y="1212"/>
                  </a:lnTo>
                  <a:lnTo>
                    <a:pt x="2228" y="1212"/>
                  </a:lnTo>
                  <a:lnTo>
                    <a:pt x="2230" y="1210"/>
                  </a:lnTo>
                  <a:lnTo>
                    <a:pt x="2230" y="1210"/>
                  </a:lnTo>
                  <a:lnTo>
                    <a:pt x="2230" y="1210"/>
                  </a:lnTo>
                  <a:lnTo>
                    <a:pt x="2230" y="1208"/>
                  </a:lnTo>
                  <a:lnTo>
                    <a:pt x="2230" y="1202"/>
                  </a:lnTo>
                  <a:lnTo>
                    <a:pt x="2230" y="1196"/>
                  </a:lnTo>
                  <a:lnTo>
                    <a:pt x="2228" y="1192"/>
                  </a:lnTo>
                  <a:lnTo>
                    <a:pt x="2230" y="1192"/>
                  </a:lnTo>
                  <a:lnTo>
                    <a:pt x="2234" y="1196"/>
                  </a:lnTo>
                  <a:lnTo>
                    <a:pt x="2240" y="1200"/>
                  </a:lnTo>
                  <a:lnTo>
                    <a:pt x="2240" y="1200"/>
                  </a:lnTo>
                  <a:lnTo>
                    <a:pt x="2242" y="1202"/>
                  </a:lnTo>
                  <a:lnTo>
                    <a:pt x="2242" y="1202"/>
                  </a:lnTo>
                  <a:lnTo>
                    <a:pt x="2244" y="1200"/>
                  </a:lnTo>
                  <a:lnTo>
                    <a:pt x="2246" y="1194"/>
                  </a:lnTo>
                  <a:lnTo>
                    <a:pt x="2248" y="1190"/>
                  </a:lnTo>
                  <a:lnTo>
                    <a:pt x="2248" y="1186"/>
                  </a:lnTo>
                  <a:lnTo>
                    <a:pt x="2248" y="1186"/>
                  </a:lnTo>
                  <a:lnTo>
                    <a:pt x="2248" y="1186"/>
                  </a:lnTo>
                  <a:lnTo>
                    <a:pt x="2248" y="1184"/>
                  </a:lnTo>
                  <a:lnTo>
                    <a:pt x="2250" y="1186"/>
                  </a:lnTo>
                  <a:lnTo>
                    <a:pt x="2250" y="1186"/>
                  </a:lnTo>
                  <a:lnTo>
                    <a:pt x="2252" y="1186"/>
                  </a:lnTo>
                  <a:lnTo>
                    <a:pt x="2256" y="1186"/>
                  </a:lnTo>
                  <a:lnTo>
                    <a:pt x="2256" y="1186"/>
                  </a:lnTo>
                  <a:lnTo>
                    <a:pt x="2256" y="1186"/>
                  </a:lnTo>
                  <a:lnTo>
                    <a:pt x="2262" y="1186"/>
                  </a:lnTo>
                  <a:lnTo>
                    <a:pt x="2262" y="1186"/>
                  </a:lnTo>
                  <a:lnTo>
                    <a:pt x="2262" y="1186"/>
                  </a:lnTo>
                  <a:lnTo>
                    <a:pt x="2266" y="1184"/>
                  </a:lnTo>
                  <a:lnTo>
                    <a:pt x="2266" y="1184"/>
                  </a:lnTo>
                  <a:lnTo>
                    <a:pt x="2268" y="1184"/>
                  </a:lnTo>
                  <a:lnTo>
                    <a:pt x="2270" y="1182"/>
                  </a:lnTo>
                  <a:lnTo>
                    <a:pt x="2270" y="1182"/>
                  </a:lnTo>
                  <a:lnTo>
                    <a:pt x="2272" y="1182"/>
                  </a:lnTo>
                  <a:lnTo>
                    <a:pt x="2272" y="1182"/>
                  </a:lnTo>
                  <a:lnTo>
                    <a:pt x="2272" y="1182"/>
                  </a:lnTo>
                  <a:lnTo>
                    <a:pt x="2272" y="1182"/>
                  </a:lnTo>
                  <a:lnTo>
                    <a:pt x="2274" y="1182"/>
                  </a:lnTo>
                  <a:lnTo>
                    <a:pt x="2276" y="1182"/>
                  </a:lnTo>
                  <a:lnTo>
                    <a:pt x="2276" y="1182"/>
                  </a:lnTo>
                  <a:lnTo>
                    <a:pt x="2278" y="1182"/>
                  </a:lnTo>
                  <a:lnTo>
                    <a:pt x="2278" y="1182"/>
                  </a:lnTo>
                  <a:lnTo>
                    <a:pt x="2280" y="1182"/>
                  </a:lnTo>
                  <a:lnTo>
                    <a:pt x="2282" y="1184"/>
                  </a:lnTo>
                  <a:lnTo>
                    <a:pt x="2284" y="1186"/>
                  </a:lnTo>
                  <a:lnTo>
                    <a:pt x="2286" y="1188"/>
                  </a:lnTo>
                  <a:lnTo>
                    <a:pt x="2286" y="1188"/>
                  </a:lnTo>
                  <a:lnTo>
                    <a:pt x="2288" y="1188"/>
                  </a:lnTo>
                  <a:lnTo>
                    <a:pt x="2288" y="1188"/>
                  </a:lnTo>
                  <a:lnTo>
                    <a:pt x="2290" y="1186"/>
                  </a:lnTo>
                  <a:lnTo>
                    <a:pt x="2290" y="1182"/>
                  </a:lnTo>
                  <a:lnTo>
                    <a:pt x="2294" y="1186"/>
                  </a:lnTo>
                  <a:lnTo>
                    <a:pt x="2296" y="1190"/>
                  </a:lnTo>
                  <a:lnTo>
                    <a:pt x="2300" y="1194"/>
                  </a:lnTo>
                  <a:lnTo>
                    <a:pt x="2300" y="1200"/>
                  </a:lnTo>
                  <a:lnTo>
                    <a:pt x="2302" y="1202"/>
                  </a:lnTo>
                  <a:lnTo>
                    <a:pt x="2302" y="1204"/>
                  </a:lnTo>
                  <a:lnTo>
                    <a:pt x="2302" y="1206"/>
                  </a:lnTo>
                  <a:lnTo>
                    <a:pt x="2300" y="1210"/>
                  </a:lnTo>
                  <a:lnTo>
                    <a:pt x="2300" y="1212"/>
                  </a:lnTo>
                  <a:lnTo>
                    <a:pt x="2298" y="1216"/>
                  </a:lnTo>
                  <a:lnTo>
                    <a:pt x="2298" y="1216"/>
                  </a:lnTo>
                  <a:lnTo>
                    <a:pt x="2298" y="1218"/>
                  </a:lnTo>
                  <a:lnTo>
                    <a:pt x="2298" y="1218"/>
                  </a:lnTo>
                  <a:lnTo>
                    <a:pt x="2300" y="1220"/>
                  </a:lnTo>
                  <a:lnTo>
                    <a:pt x="2302" y="1220"/>
                  </a:lnTo>
                  <a:lnTo>
                    <a:pt x="2302" y="1220"/>
                  </a:lnTo>
                  <a:lnTo>
                    <a:pt x="2300" y="1222"/>
                  </a:lnTo>
                  <a:lnTo>
                    <a:pt x="2296" y="1222"/>
                  </a:lnTo>
                  <a:lnTo>
                    <a:pt x="2294" y="1224"/>
                  </a:lnTo>
                  <a:lnTo>
                    <a:pt x="2294" y="1224"/>
                  </a:lnTo>
                  <a:lnTo>
                    <a:pt x="2294" y="1224"/>
                  </a:lnTo>
                  <a:lnTo>
                    <a:pt x="2294" y="1226"/>
                  </a:lnTo>
                  <a:lnTo>
                    <a:pt x="2294" y="1228"/>
                  </a:lnTo>
                  <a:lnTo>
                    <a:pt x="2294" y="1230"/>
                  </a:lnTo>
                  <a:lnTo>
                    <a:pt x="2296" y="1234"/>
                  </a:lnTo>
                  <a:lnTo>
                    <a:pt x="2298" y="1238"/>
                  </a:lnTo>
                  <a:lnTo>
                    <a:pt x="2296" y="1238"/>
                  </a:lnTo>
                  <a:lnTo>
                    <a:pt x="2296" y="1238"/>
                  </a:lnTo>
                  <a:lnTo>
                    <a:pt x="2296" y="1238"/>
                  </a:lnTo>
                  <a:lnTo>
                    <a:pt x="2294" y="1238"/>
                  </a:lnTo>
                  <a:lnTo>
                    <a:pt x="2294" y="1238"/>
                  </a:lnTo>
                  <a:lnTo>
                    <a:pt x="2294" y="1238"/>
                  </a:lnTo>
                  <a:lnTo>
                    <a:pt x="2292" y="1238"/>
                  </a:lnTo>
                  <a:lnTo>
                    <a:pt x="2292" y="1238"/>
                  </a:lnTo>
                  <a:lnTo>
                    <a:pt x="2292" y="1240"/>
                  </a:lnTo>
                  <a:lnTo>
                    <a:pt x="2290" y="1244"/>
                  </a:lnTo>
                  <a:lnTo>
                    <a:pt x="2290" y="1246"/>
                  </a:lnTo>
                  <a:lnTo>
                    <a:pt x="2286" y="1250"/>
                  </a:lnTo>
                  <a:lnTo>
                    <a:pt x="2284" y="1254"/>
                  </a:lnTo>
                  <a:lnTo>
                    <a:pt x="2280" y="1258"/>
                  </a:lnTo>
                  <a:lnTo>
                    <a:pt x="2278" y="1260"/>
                  </a:lnTo>
                  <a:lnTo>
                    <a:pt x="2276" y="1262"/>
                  </a:lnTo>
                  <a:lnTo>
                    <a:pt x="2276" y="1262"/>
                  </a:lnTo>
                  <a:lnTo>
                    <a:pt x="2276" y="1264"/>
                  </a:lnTo>
                  <a:lnTo>
                    <a:pt x="2276" y="1266"/>
                  </a:lnTo>
                  <a:lnTo>
                    <a:pt x="2276" y="1266"/>
                  </a:lnTo>
                  <a:lnTo>
                    <a:pt x="2276" y="1266"/>
                  </a:lnTo>
                  <a:lnTo>
                    <a:pt x="2276" y="1268"/>
                  </a:lnTo>
                  <a:lnTo>
                    <a:pt x="2276" y="1268"/>
                  </a:lnTo>
                  <a:lnTo>
                    <a:pt x="2276" y="1268"/>
                  </a:lnTo>
                  <a:lnTo>
                    <a:pt x="2276" y="1272"/>
                  </a:lnTo>
                  <a:lnTo>
                    <a:pt x="2276" y="1272"/>
                  </a:lnTo>
                  <a:lnTo>
                    <a:pt x="2276" y="1272"/>
                  </a:lnTo>
                  <a:lnTo>
                    <a:pt x="2278" y="1274"/>
                  </a:lnTo>
                  <a:lnTo>
                    <a:pt x="2278" y="1274"/>
                  </a:lnTo>
                  <a:lnTo>
                    <a:pt x="2278" y="1274"/>
                  </a:lnTo>
                  <a:lnTo>
                    <a:pt x="2280" y="1278"/>
                  </a:lnTo>
                  <a:lnTo>
                    <a:pt x="2282" y="1278"/>
                  </a:lnTo>
                  <a:lnTo>
                    <a:pt x="2280" y="1282"/>
                  </a:lnTo>
                  <a:lnTo>
                    <a:pt x="2276" y="1286"/>
                  </a:lnTo>
                  <a:lnTo>
                    <a:pt x="2270" y="1296"/>
                  </a:lnTo>
                  <a:lnTo>
                    <a:pt x="2264" y="1304"/>
                  </a:lnTo>
                  <a:lnTo>
                    <a:pt x="2260" y="1310"/>
                  </a:lnTo>
                  <a:lnTo>
                    <a:pt x="2258" y="1314"/>
                  </a:lnTo>
                  <a:lnTo>
                    <a:pt x="2258" y="1314"/>
                  </a:lnTo>
                  <a:lnTo>
                    <a:pt x="2256" y="1314"/>
                  </a:lnTo>
                  <a:lnTo>
                    <a:pt x="2254" y="1314"/>
                  </a:lnTo>
                  <a:lnTo>
                    <a:pt x="2250" y="1314"/>
                  </a:lnTo>
                  <a:lnTo>
                    <a:pt x="2250" y="1314"/>
                  </a:lnTo>
                  <a:lnTo>
                    <a:pt x="2248" y="1316"/>
                  </a:lnTo>
                  <a:lnTo>
                    <a:pt x="2248" y="1316"/>
                  </a:lnTo>
                  <a:lnTo>
                    <a:pt x="2246" y="1318"/>
                  </a:lnTo>
                  <a:lnTo>
                    <a:pt x="2248" y="1322"/>
                  </a:lnTo>
                  <a:lnTo>
                    <a:pt x="2250" y="1328"/>
                  </a:lnTo>
                  <a:lnTo>
                    <a:pt x="2252" y="1334"/>
                  </a:lnTo>
                  <a:lnTo>
                    <a:pt x="2252" y="1334"/>
                  </a:lnTo>
                  <a:lnTo>
                    <a:pt x="2250" y="1334"/>
                  </a:lnTo>
                  <a:lnTo>
                    <a:pt x="2250" y="1334"/>
                  </a:lnTo>
                  <a:lnTo>
                    <a:pt x="2248" y="1334"/>
                  </a:lnTo>
                  <a:lnTo>
                    <a:pt x="2246" y="1334"/>
                  </a:lnTo>
                  <a:lnTo>
                    <a:pt x="2246" y="1334"/>
                  </a:lnTo>
                  <a:lnTo>
                    <a:pt x="2246" y="1334"/>
                  </a:lnTo>
                  <a:lnTo>
                    <a:pt x="2244" y="1336"/>
                  </a:lnTo>
                  <a:lnTo>
                    <a:pt x="2244" y="1336"/>
                  </a:lnTo>
                  <a:lnTo>
                    <a:pt x="2242" y="1338"/>
                  </a:lnTo>
                  <a:lnTo>
                    <a:pt x="2242" y="1340"/>
                  </a:lnTo>
                  <a:lnTo>
                    <a:pt x="2240" y="1344"/>
                  </a:lnTo>
                  <a:lnTo>
                    <a:pt x="2240" y="1346"/>
                  </a:lnTo>
                  <a:lnTo>
                    <a:pt x="2238" y="1350"/>
                  </a:lnTo>
                  <a:lnTo>
                    <a:pt x="2234" y="1354"/>
                  </a:lnTo>
                  <a:lnTo>
                    <a:pt x="2234" y="1356"/>
                  </a:lnTo>
                  <a:lnTo>
                    <a:pt x="2230" y="1356"/>
                  </a:lnTo>
                  <a:lnTo>
                    <a:pt x="2228" y="1354"/>
                  </a:lnTo>
                  <a:lnTo>
                    <a:pt x="2226" y="1352"/>
                  </a:lnTo>
                  <a:lnTo>
                    <a:pt x="2220" y="1352"/>
                  </a:lnTo>
                  <a:lnTo>
                    <a:pt x="2218" y="1350"/>
                  </a:lnTo>
                  <a:lnTo>
                    <a:pt x="2216" y="1350"/>
                  </a:lnTo>
                  <a:lnTo>
                    <a:pt x="2216" y="1350"/>
                  </a:lnTo>
                  <a:lnTo>
                    <a:pt x="2214" y="1350"/>
                  </a:lnTo>
                  <a:lnTo>
                    <a:pt x="2212" y="1352"/>
                  </a:lnTo>
                  <a:lnTo>
                    <a:pt x="2212" y="1352"/>
                  </a:lnTo>
                  <a:lnTo>
                    <a:pt x="2212" y="1352"/>
                  </a:lnTo>
                  <a:lnTo>
                    <a:pt x="2212" y="1354"/>
                  </a:lnTo>
                  <a:lnTo>
                    <a:pt x="2212" y="1354"/>
                  </a:lnTo>
                  <a:lnTo>
                    <a:pt x="2212" y="1354"/>
                  </a:lnTo>
                  <a:lnTo>
                    <a:pt x="2212" y="1356"/>
                  </a:lnTo>
                  <a:lnTo>
                    <a:pt x="2212" y="1356"/>
                  </a:lnTo>
                  <a:lnTo>
                    <a:pt x="2212" y="1356"/>
                  </a:lnTo>
                  <a:lnTo>
                    <a:pt x="2212" y="1356"/>
                  </a:lnTo>
                  <a:lnTo>
                    <a:pt x="2212" y="1356"/>
                  </a:lnTo>
                  <a:lnTo>
                    <a:pt x="2208" y="1356"/>
                  </a:lnTo>
                  <a:lnTo>
                    <a:pt x="2208" y="1356"/>
                  </a:lnTo>
                  <a:lnTo>
                    <a:pt x="2206" y="1356"/>
                  </a:lnTo>
                  <a:lnTo>
                    <a:pt x="2204" y="1356"/>
                  </a:lnTo>
                  <a:lnTo>
                    <a:pt x="2204" y="1356"/>
                  </a:lnTo>
                  <a:lnTo>
                    <a:pt x="2202" y="1356"/>
                  </a:lnTo>
                  <a:lnTo>
                    <a:pt x="2202" y="1356"/>
                  </a:lnTo>
                  <a:lnTo>
                    <a:pt x="2200" y="1360"/>
                  </a:lnTo>
                  <a:lnTo>
                    <a:pt x="2200" y="1362"/>
                  </a:lnTo>
                  <a:lnTo>
                    <a:pt x="2200" y="1362"/>
                  </a:lnTo>
                  <a:lnTo>
                    <a:pt x="2200" y="1362"/>
                  </a:lnTo>
                  <a:lnTo>
                    <a:pt x="2200" y="1366"/>
                  </a:lnTo>
                  <a:lnTo>
                    <a:pt x="2200" y="1370"/>
                  </a:lnTo>
                  <a:lnTo>
                    <a:pt x="2202" y="1374"/>
                  </a:lnTo>
                  <a:lnTo>
                    <a:pt x="2204" y="1380"/>
                  </a:lnTo>
                  <a:lnTo>
                    <a:pt x="2206" y="1382"/>
                  </a:lnTo>
                  <a:lnTo>
                    <a:pt x="2208" y="1384"/>
                  </a:lnTo>
                  <a:lnTo>
                    <a:pt x="2208" y="1386"/>
                  </a:lnTo>
                  <a:lnTo>
                    <a:pt x="2210" y="1388"/>
                  </a:lnTo>
                  <a:lnTo>
                    <a:pt x="2210" y="1388"/>
                  </a:lnTo>
                  <a:lnTo>
                    <a:pt x="2210" y="1388"/>
                  </a:lnTo>
                  <a:lnTo>
                    <a:pt x="2212" y="1388"/>
                  </a:lnTo>
                  <a:lnTo>
                    <a:pt x="2212" y="1388"/>
                  </a:lnTo>
                  <a:lnTo>
                    <a:pt x="2214" y="1388"/>
                  </a:lnTo>
                  <a:lnTo>
                    <a:pt x="2214" y="1388"/>
                  </a:lnTo>
                  <a:lnTo>
                    <a:pt x="2214" y="1388"/>
                  </a:lnTo>
                  <a:lnTo>
                    <a:pt x="2216" y="1388"/>
                  </a:lnTo>
                  <a:lnTo>
                    <a:pt x="2218" y="1394"/>
                  </a:lnTo>
                  <a:lnTo>
                    <a:pt x="2220" y="1400"/>
                  </a:lnTo>
                  <a:lnTo>
                    <a:pt x="2224" y="1408"/>
                  </a:lnTo>
                  <a:lnTo>
                    <a:pt x="2226" y="1416"/>
                  </a:lnTo>
                  <a:lnTo>
                    <a:pt x="2228" y="1424"/>
                  </a:lnTo>
                  <a:lnTo>
                    <a:pt x="2232" y="1432"/>
                  </a:lnTo>
                  <a:lnTo>
                    <a:pt x="2234" y="1436"/>
                  </a:lnTo>
                  <a:lnTo>
                    <a:pt x="2232" y="1438"/>
                  </a:lnTo>
                  <a:lnTo>
                    <a:pt x="2230" y="1440"/>
                  </a:lnTo>
                  <a:lnTo>
                    <a:pt x="2228" y="1442"/>
                  </a:lnTo>
                  <a:lnTo>
                    <a:pt x="2228" y="1442"/>
                  </a:lnTo>
                  <a:lnTo>
                    <a:pt x="2228" y="1446"/>
                  </a:lnTo>
                  <a:lnTo>
                    <a:pt x="2228" y="1448"/>
                  </a:lnTo>
                  <a:lnTo>
                    <a:pt x="2230" y="1452"/>
                  </a:lnTo>
                  <a:lnTo>
                    <a:pt x="2230" y="1454"/>
                  </a:lnTo>
                  <a:lnTo>
                    <a:pt x="2232" y="1456"/>
                  </a:lnTo>
                  <a:lnTo>
                    <a:pt x="2234" y="1460"/>
                  </a:lnTo>
                  <a:lnTo>
                    <a:pt x="2234" y="1460"/>
                  </a:lnTo>
                  <a:lnTo>
                    <a:pt x="2234" y="1460"/>
                  </a:lnTo>
                  <a:lnTo>
                    <a:pt x="2236" y="1464"/>
                  </a:lnTo>
                  <a:lnTo>
                    <a:pt x="2236" y="1464"/>
                  </a:lnTo>
                  <a:lnTo>
                    <a:pt x="2236" y="1464"/>
                  </a:lnTo>
                  <a:lnTo>
                    <a:pt x="2238" y="1466"/>
                  </a:lnTo>
                  <a:lnTo>
                    <a:pt x="2242" y="1468"/>
                  </a:lnTo>
                  <a:lnTo>
                    <a:pt x="2240" y="1470"/>
                  </a:lnTo>
                  <a:lnTo>
                    <a:pt x="2238" y="1474"/>
                  </a:lnTo>
                  <a:lnTo>
                    <a:pt x="2238" y="1474"/>
                  </a:lnTo>
                  <a:lnTo>
                    <a:pt x="2238" y="1476"/>
                  </a:lnTo>
                  <a:lnTo>
                    <a:pt x="2236" y="1480"/>
                  </a:lnTo>
                  <a:lnTo>
                    <a:pt x="2236" y="1480"/>
                  </a:lnTo>
                  <a:lnTo>
                    <a:pt x="2236" y="1480"/>
                  </a:lnTo>
                  <a:lnTo>
                    <a:pt x="2236" y="1484"/>
                  </a:lnTo>
                  <a:lnTo>
                    <a:pt x="2236" y="1484"/>
                  </a:lnTo>
                  <a:lnTo>
                    <a:pt x="2236" y="1488"/>
                  </a:lnTo>
                  <a:lnTo>
                    <a:pt x="2236" y="1488"/>
                  </a:lnTo>
                  <a:lnTo>
                    <a:pt x="2238" y="1488"/>
                  </a:lnTo>
                  <a:lnTo>
                    <a:pt x="2238" y="1492"/>
                  </a:lnTo>
                  <a:lnTo>
                    <a:pt x="2238" y="1492"/>
                  </a:lnTo>
                  <a:lnTo>
                    <a:pt x="2238" y="1492"/>
                  </a:lnTo>
                  <a:lnTo>
                    <a:pt x="2242" y="1496"/>
                  </a:lnTo>
                  <a:lnTo>
                    <a:pt x="2244" y="1498"/>
                  </a:lnTo>
                  <a:lnTo>
                    <a:pt x="2242" y="1498"/>
                  </a:lnTo>
                  <a:lnTo>
                    <a:pt x="2242" y="1498"/>
                  </a:lnTo>
                  <a:lnTo>
                    <a:pt x="2240" y="1500"/>
                  </a:lnTo>
                  <a:lnTo>
                    <a:pt x="2238" y="1500"/>
                  </a:lnTo>
                  <a:lnTo>
                    <a:pt x="2238" y="1500"/>
                  </a:lnTo>
                  <a:lnTo>
                    <a:pt x="2238" y="1502"/>
                  </a:lnTo>
                  <a:lnTo>
                    <a:pt x="2236" y="1502"/>
                  </a:lnTo>
                  <a:lnTo>
                    <a:pt x="2236" y="1502"/>
                  </a:lnTo>
                  <a:lnTo>
                    <a:pt x="2236" y="1504"/>
                  </a:lnTo>
                  <a:lnTo>
                    <a:pt x="2236" y="1506"/>
                  </a:lnTo>
                  <a:lnTo>
                    <a:pt x="2236" y="1506"/>
                  </a:lnTo>
                  <a:lnTo>
                    <a:pt x="2236" y="1508"/>
                  </a:lnTo>
                  <a:lnTo>
                    <a:pt x="2240" y="1512"/>
                  </a:lnTo>
                  <a:lnTo>
                    <a:pt x="2240" y="1512"/>
                  </a:lnTo>
                  <a:lnTo>
                    <a:pt x="2242" y="1516"/>
                  </a:lnTo>
                  <a:lnTo>
                    <a:pt x="2242" y="1518"/>
                  </a:lnTo>
                  <a:lnTo>
                    <a:pt x="2242" y="1520"/>
                  </a:lnTo>
                  <a:lnTo>
                    <a:pt x="2240" y="1520"/>
                  </a:lnTo>
                  <a:lnTo>
                    <a:pt x="2238" y="1522"/>
                  </a:lnTo>
                  <a:lnTo>
                    <a:pt x="2232" y="1524"/>
                  </a:lnTo>
                  <a:lnTo>
                    <a:pt x="2228" y="1524"/>
                  </a:lnTo>
                  <a:lnTo>
                    <a:pt x="2228" y="1524"/>
                  </a:lnTo>
                  <a:lnTo>
                    <a:pt x="2226" y="1526"/>
                  </a:lnTo>
                  <a:lnTo>
                    <a:pt x="2226" y="1526"/>
                  </a:lnTo>
                  <a:lnTo>
                    <a:pt x="2226" y="1530"/>
                  </a:lnTo>
                  <a:lnTo>
                    <a:pt x="2228" y="1530"/>
                  </a:lnTo>
                  <a:lnTo>
                    <a:pt x="2228" y="1532"/>
                  </a:lnTo>
                  <a:lnTo>
                    <a:pt x="2228" y="1532"/>
                  </a:lnTo>
                  <a:lnTo>
                    <a:pt x="2230" y="1534"/>
                  </a:lnTo>
                  <a:lnTo>
                    <a:pt x="2230" y="1538"/>
                  </a:lnTo>
                  <a:lnTo>
                    <a:pt x="2234" y="1542"/>
                  </a:lnTo>
                  <a:lnTo>
                    <a:pt x="2234" y="1546"/>
                  </a:lnTo>
                  <a:lnTo>
                    <a:pt x="2232" y="1546"/>
                  </a:lnTo>
                  <a:lnTo>
                    <a:pt x="2228" y="1548"/>
                  </a:lnTo>
                  <a:lnTo>
                    <a:pt x="2220" y="1552"/>
                  </a:lnTo>
                  <a:lnTo>
                    <a:pt x="2210" y="1556"/>
                  </a:lnTo>
                  <a:lnTo>
                    <a:pt x="2204" y="1558"/>
                  </a:lnTo>
                  <a:lnTo>
                    <a:pt x="2200" y="1560"/>
                  </a:lnTo>
                  <a:lnTo>
                    <a:pt x="2200" y="1560"/>
                  </a:lnTo>
                  <a:lnTo>
                    <a:pt x="2198" y="1562"/>
                  </a:lnTo>
                  <a:lnTo>
                    <a:pt x="2198" y="1564"/>
                  </a:lnTo>
                  <a:lnTo>
                    <a:pt x="2198" y="1564"/>
                  </a:lnTo>
                  <a:lnTo>
                    <a:pt x="2198" y="1566"/>
                  </a:lnTo>
                  <a:lnTo>
                    <a:pt x="2200" y="1566"/>
                  </a:lnTo>
                  <a:lnTo>
                    <a:pt x="2202" y="1566"/>
                  </a:lnTo>
                  <a:lnTo>
                    <a:pt x="2204" y="1566"/>
                  </a:lnTo>
                  <a:lnTo>
                    <a:pt x="2210" y="1568"/>
                  </a:lnTo>
                  <a:lnTo>
                    <a:pt x="2216" y="1568"/>
                  </a:lnTo>
                  <a:lnTo>
                    <a:pt x="2220" y="1568"/>
                  </a:lnTo>
                  <a:lnTo>
                    <a:pt x="2220" y="1568"/>
                  </a:lnTo>
                  <a:lnTo>
                    <a:pt x="2220" y="1576"/>
                  </a:lnTo>
                  <a:lnTo>
                    <a:pt x="2220" y="1576"/>
                  </a:lnTo>
                  <a:lnTo>
                    <a:pt x="2218" y="1578"/>
                  </a:lnTo>
                  <a:lnTo>
                    <a:pt x="2216" y="1578"/>
                  </a:lnTo>
                  <a:lnTo>
                    <a:pt x="2214" y="1580"/>
                  </a:lnTo>
                  <a:lnTo>
                    <a:pt x="2212" y="1580"/>
                  </a:lnTo>
                  <a:lnTo>
                    <a:pt x="2210" y="1580"/>
                  </a:lnTo>
                  <a:lnTo>
                    <a:pt x="2210" y="1580"/>
                  </a:lnTo>
                  <a:lnTo>
                    <a:pt x="2210" y="1582"/>
                  </a:lnTo>
                  <a:lnTo>
                    <a:pt x="2208" y="1582"/>
                  </a:lnTo>
                  <a:lnTo>
                    <a:pt x="2208" y="1582"/>
                  </a:lnTo>
                  <a:lnTo>
                    <a:pt x="2208" y="1584"/>
                  </a:lnTo>
                  <a:lnTo>
                    <a:pt x="2208" y="1586"/>
                  </a:lnTo>
                  <a:lnTo>
                    <a:pt x="2208" y="1586"/>
                  </a:lnTo>
                  <a:lnTo>
                    <a:pt x="2208" y="1588"/>
                  </a:lnTo>
                  <a:lnTo>
                    <a:pt x="2210" y="1588"/>
                  </a:lnTo>
                  <a:lnTo>
                    <a:pt x="2210" y="1588"/>
                  </a:lnTo>
                  <a:lnTo>
                    <a:pt x="2210" y="1590"/>
                  </a:lnTo>
                  <a:lnTo>
                    <a:pt x="2212" y="1590"/>
                  </a:lnTo>
                  <a:lnTo>
                    <a:pt x="2212" y="1590"/>
                  </a:lnTo>
                  <a:lnTo>
                    <a:pt x="2212" y="1590"/>
                  </a:lnTo>
                  <a:lnTo>
                    <a:pt x="2214" y="1592"/>
                  </a:lnTo>
                  <a:lnTo>
                    <a:pt x="2218" y="1592"/>
                  </a:lnTo>
                  <a:lnTo>
                    <a:pt x="2220" y="1592"/>
                  </a:lnTo>
                  <a:lnTo>
                    <a:pt x="2226" y="1594"/>
                  </a:lnTo>
                  <a:lnTo>
                    <a:pt x="2230" y="1594"/>
                  </a:lnTo>
                  <a:lnTo>
                    <a:pt x="2232" y="1594"/>
                  </a:lnTo>
                  <a:lnTo>
                    <a:pt x="2232" y="1596"/>
                  </a:lnTo>
                  <a:lnTo>
                    <a:pt x="2234" y="1596"/>
                  </a:lnTo>
                  <a:lnTo>
                    <a:pt x="2234" y="1596"/>
                  </a:lnTo>
                  <a:lnTo>
                    <a:pt x="2234" y="1596"/>
                  </a:lnTo>
                  <a:lnTo>
                    <a:pt x="2240" y="1596"/>
                  </a:lnTo>
                  <a:lnTo>
                    <a:pt x="2246" y="1596"/>
                  </a:lnTo>
                  <a:lnTo>
                    <a:pt x="2258" y="1594"/>
                  </a:lnTo>
                  <a:lnTo>
                    <a:pt x="2268" y="1592"/>
                  </a:lnTo>
                  <a:lnTo>
                    <a:pt x="2272" y="1592"/>
                  </a:lnTo>
                  <a:lnTo>
                    <a:pt x="2272" y="1592"/>
                  </a:lnTo>
                  <a:lnTo>
                    <a:pt x="2272" y="1592"/>
                  </a:lnTo>
                  <a:lnTo>
                    <a:pt x="2272" y="1592"/>
                  </a:lnTo>
                  <a:lnTo>
                    <a:pt x="2272" y="1592"/>
                  </a:lnTo>
                  <a:lnTo>
                    <a:pt x="2272" y="1594"/>
                  </a:lnTo>
                  <a:lnTo>
                    <a:pt x="2272" y="1594"/>
                  </a:lnTo>
                  <a:lnTo>
                    <a:pt x="2272" y="1594"/>
                  </a:lnTo>
                  <a:lnTo>
                    <a:pt x="2272" y="1596"/>
                  </a:lnTo>
                  <a:lnTo>
                    <a:pt x="2272" y="1596"/>
                  </a:lnTo>
                  <a:lnTo>
                    <a:pt x="2274" y="1598"/>
                  </a:lnTo>
                  <a:lnTo>
                    <a:pt x="2278" y="1598"/>
                  </a:lnTo>
                  <a:lnTo>
                    <a:pt x="2282" y="1598"/>
                  </a:lnTo>
                  <a:lnTo>
                    <a:pt x="2282" y="1598"/>
                  </a:lnTo>
                  <a:lnTo>
                    <a:pt x="2286" y="1598"/>
                  </a:lnTo>
                  <a:lnTo>
                    <a:pt x="2286" y="1598"/>
                  </a:lnTo>
                  <a:lnTo>
                    <a:pt x="2288" y="1596"/>
                  </a:lnTo>
                  <a:lnTo>
                    <a:pt x="2292" y="1596"/>
                  </a:lnTo>
                  <a:lnTo>
                    <a:pt x="2292" y="1596"/>
                  </a:lnTo>
                  <a:lnTo>
                    <a:pt x="2292" y="1594"/>
                  </a:lnTo>
                  <a:lnTo>
                    <a:pt x="2294" y="1592"/>
                  </a:lnTo>
                  <a:lnTo>
                    <a:pt x="2298" y="1590"/>
                  </a:lnTo>
                  <a:lnTo>
                    <a:pt x="2300" y="1586"/>
                  </a:lnTo>
                  <a:lnTo>
                    <a:pt x="2304" y="1584"/>
                  </a:lnTo>
                  <a:lnTo>
                    <a:pt x="2308" y="1582"/>
                  </a:lnTo>
                  <a:lnTo>
                    <a:pt x="2312" y="1582"/>
                  </a:lnTo>
                  <a:lnTo>
                    <a:pt x="2318" y="1582"/>
                  </a:lnTo>
                  <a:lnTo>
                    <a:pt x="2328" y="1582"/>
                  </a:lnTo>
                  <a:lnTo>
                    <a:pt x="2334" y="1582"/>
                  </a:lnTo>
                  <a:lnTo>
                    <a:pt x="2338" y="1582"/>
                  </a:lnTo>
                  <a:lnTo>
                    <a:pt x="2344" y="1582"/>
                  </a:lnTo>
                  <a:lnTo>
                    <a:pt x="2352" y="1584"/>
                  </a:lnTo>
                  <a:lnTo>
                    <a:pt x="2352" y="1584"/>
                  </a:lnTo>
                  <a:lnTo>
                    <a:pt x="2354" y="1582"/>
                  </a:lnTo>
                  <a:lnTo>
                    <a:pt x="2354" y="1582"/>
                  </a:lnTo>
                  <a:lnTo>
                    <a:pt x="2354" y="1580"/>
                  </a:lnTo>
                  <a:lnTo>
                    <a:pt x="2354" y="1574"/>
                  </a:lnTo>
                  <a:lnTo>
                    <a:pt x="2358" y="1572"/>
                  </a:lnTo>
                  <a:lnTo>
                    <a:pt x="2364" y="1570"/>
                  </a:lnTo>
                  <a:lnTo>
                    <a:pt x="2370" y="1566"/>
                  </a:lnTo>
                  <a:lnTo>
                    <a:pt x="2374" y="1564"/>
                  </a:lnTo>
                  <a:lnTo>
                    <a:pt x="2386" y="1556"/>
                  </a:lnTo>
                  <a:lnTo>
                    <a:pt x="2396" y="1546"/>
                  </a:lnTo>
                  <a:lnTo>
                    <a:pt x="2406" y="1538"/>
                  </a:lnTo>
                  <a:lnTo>
                    <a:pt x="2416" y="1530"/>
                  </a:lnTo>
                  <a:lnTo>
                    <a:pt x="2420" y="1526"/>
                  </a:lnTo>
                  <a:lnTo>
                    <a:pt x="2424" y="1522"/>
                  </a:lnTo>
                  <a:lnTo>
                    <a:pt x="2424" y="1522"/>
                  </a:lnTo>
                  <a:lnTo>
                    <a:pt x="2424" y="1522"/>
                  </a:lnTo>
                  <a:lnTo>
                    <a:pt x="2430" y="1522"/>
                  </a:lnTo>
                  <a:lnTo>
                    <a:pt x="2436" y="1522"/>
                  </a:lnTo>
                  <a:lnTo>
                    <a:pt x="2442" y="1520"/>
                  </a:lnTo>
                  <a:lnTo>
                    <a:pt x="2444" y="1520"/>
                  </a:lnTo>
                  <a:lnTo>
                    <a:pt x="2444" y="1520"/>
                  </a:lnTo>
                  <a:lnTo>
                    <a:pt x="2444" y="1522"/>
                  </a:lnTo>
                  <a:lnTo>
                    <a:pt x="2444" y="1522"/>
                  </a:lnTo>
                  <a:lnTo>
                    <a:pt x="2444" y="1524"/>
                  </a:lnTo>
                  <a:lnTo>
                    <a:pt x="2444" y="1524"/>
                  </a:lnTo>
                  <a:lnTo>
                    <a:pt x="2444" y="1524"/>
                  </a:lnTo>
                  <a:lnTo>
                    <a:pt x="2444" y="1524"/>
                  </a:lnTo>
                  <a:lnTo>
                    <a:pt x="2446" y="1526"/>
                  </a:lnTo>
                  <a:lnTo>
                    <a:pt x="2446" y="1526"/>
                  </a:lnTo>
                  <a:lnTo>
                    <a:pt x="2448" y="1526"/>
                  </a:lnTo>
                  <a:lnTo>
                    <a:pt x="2450" y="1526"/>
                  </a:lnTo>
                  <a:lnTo>
                    <a:pt x="2456" y="1522"/>
                  </a:lnTo>
                  <a:lnTo>
                    <a:pt x="2462" y="1520"/>
                  </a:lnTo>
                  <a:lnTo>
                    <a:pt x="2472" y="1512"/>
                  </a:lnTo>
                  <a:lnTo>
                    <a:pt x="2478" y="1508"/>
                  </a:lnTo>
                  <a:lnTo>
                    <a:pt x="2484" y="1504"/>
                  </a:lnTo>
                  <a:lnTo>
                    <a:pt x="2490" y="1500"/>
                  </a:lnTo>
                  <a:lnTo>
                    <a:pt x="2492" y="1500"/>
                  </a:lnTo>
                  <a:lnTo>
                    <a:pt x="2492" y="1500"/>
                  </a:lnTo>
                  <a:lnTo>
                    <a:pt x="2492" y="1504"/>
                  </a:lnTo>
                  <a:lnTo>
                    <a:pt x="2492" y="1508"/>
                  </a:lnTo>
                  <a:lnTo>
                    <a:pt x="2494" y="1514"/>
                  </a:lnTo>
                  <a:lnTo>
                    <a:pt x="2496" y="1520"/>
                  </a:lnTo>
                  <a:lnTo>
                    <a:pt x="2496" y="1520"/>
                  </a:lnTo>
                  <a:lnTo>
                    <a:pt x="2498" y="1522"/>
                  </a:lnTo>
                  <a:lnTo>
                    <a:pt x="2502" y="1524"/>
                  </a:lnTo>
                  <a:lnTo>
                    <a:pt x="2502" y="1524"/>
                  </a:lnTo>
                  <a:lnTo>
                    <a:pt x="2502" y="1524"/>
                  </a:lnTo>
                  <a:lnTo>
                    <a:pt x="2508" y="1526"/>
                  </a:lnTo>
                  <a:lnTo>
                    <a:pt x="2508" y="1526"/>
                  </a:lnTo>
                  <a:lnTo>
                    <a:pt x="2512" y="1526"/>
                  </a:lnTo>
                  <a:lnTo>
                    <a:pt x="2512" y="1526"/>
                  </a:lnTo>
                  <a:lnTo>
                    <a:pt x="2518" y="1524"/>
                  </a:lnTo>
                  <a:lnTo>
                    <a:pt x="2520" y="1522"/>
                  </a:lnTo>
                  <a:lnTo>
                    <a:pt x="2524" y="1520"/>
                  </a:lnTo>
                  <a:lnTo>
                    <a:pt x="2532" y="1516"/>
                  </a:lnTo>
                  <a:lnTo>
                    <a:pt x="2534" y="1516"/>
                  </a:lnTo>
                  <a:lnTo>
                    <a:pt x="2538" y="1514"/>
                  </a:lnTo>
                  <a:lnTo>
                    <a:pt x="2540" y="1514"/>
                  </a:lnTo>
                  <a:lnTo>
                    <a:pt x="2544" y="1516"/>
                  </a:lnTo>
                  <a:lnTo>
                    <a:pt x="2546" y="1518"/>
                  </a:lnTo>
                  <a:lnTo>
                    <a:pt x="2546" y="1518"/>
                  </a:lnTo>
                  <a:lnTo>
                    <a:pt x="2548" y="1518"/>
                  </a:lnTo>
                  <a:lnTo>
                    <a:pt x="2550" y="1520"/>
                  </a:lnTo>
                  <a:lnTo>
                    <a:pt x="2552" y="1522"/>
                  </a:lnTo>
                  <a:lnTo>
                    <a:pt x="2554" y="1526"/>
                  </a:lnTo>
                  <a:lnTo>
                    <a:pt x="2554" y="1526"/>
                  </a:lnTo>
                  <a:lnTo>
                    <a:pt x="2550" y="1526"/>
                  </a:lnTo>
                  <a:lnTo>
                    <a:pt x="2546" y="1526"/>
                  </a:lnTo>
                  <a:lnTo>
                    <a:pt x="2540" y="1526"/>
                  </a:lnTo>
                  <a:lnTo>
                    <a:pt x="2530" y="1526"/>
                  </a:lnTo>
                  <a:lnTo>
                    <a:pt x="2520" y="1528"/>
                  </a:lnTo>
                  <a:lnTo>
                    <a:pt x="2520" y="1528"/>
                  </a:lnTo>
                  <a:lnTo>
                    <a:pt x="2518" y="1530"/>
                  </a:lnTo>
                  <a:lnTo>
                    <a:pt x="2518" y="1530"/>
                  </a:lnTo>
                  <a:lnTo>
                    <a:pt x="2518" y="1532"/>
                  </a:lnTo>
                  <a:lnTo>
                    <a:pt x="2518" y="1532"/>
                  </a:lnTo>
                  <a:lnTo>
                    <a:pt x="2518" y="1532"/>
                  </a:lnTo>
                  <a:lnTo>
                    <a:pt x="2518" y="1534"/>
                  </a:lnTo>
                  <a:lnTo>
                    <a:pt x="2518" y="1534"/>
                  </a:lnTo>
                  <a:lnTo>
                    <a:pt x="2518" y="1534"/>
                  </a:lnTo>
                  <a:lnTo>
                    <a:pt x="2520" y="1534"/>
                  </a:lnTo>
                  <a:lnTo>
                    <a:pt x="2520" y="1536"/>
                  </a:lnTo>
                  <a:lnTo>
                    <a:pt x="2522" y="1536"/>
                  </a:lnTo>
                  <a:lnTo>
                    <a:pt x="2522" y="1538"/>
                  </a:lnTo>
                  <a:lnTo>
                    <a:pt x="2520" y="1538"/>
                  </a:lnTo>
                  <a:lnTo>
                    <a:pt x="2516" y="1538"/>
                  </a:lnTo>
                  <a:lnTo>
                    <a:pt x="2514" y="1538"/>
                  </a:lnTo>
                  <a:lnTo>
                    <a:pt x="2510" y="1536"/>
                  </a:lnTo>
                  <a:lnTo>
                    <a:pt x="2510" y="1536"/>
                  </a:lnTo>
                  <a:lnTo>
                    <a:pt x="2508" y="1536"/>
                  </a:lnTo>
                  <a:lnTo>
                    <a:pt x="2508" y="1536"/>
                  </a:lnTo>
                  <a:lnTo>
                    <a:pt x="2506" y="1538"/>
                  </a:lnTo>
                  <a:lnTo>
                    <a:pt x="2506" y="1540"/>
                  </a:lnTo>
                  <a:lnTo>
                    <a:pt x="2506" y="1542"/>
                  </a:lnTo>
                  <a:lnTo>
                    <a:pt x="2506" y="1544"/>
                  </a:lnTo>
                  <a:lnTo>
                    <a:pt x="2506" y="1546"/>
                  </a:lnTo>
                  <a:lnTo>
                    <a:pt x="2506" y="1546"/>
                  </a:lnTo>
                  <a:lnTo>
                    <a:pt x="2504" y="1546"/>
                  </a:lnTo>
                  <a:lnTo>
                    <a:pt x="2500" y="1546"/>
                  </a:lnTo>
                  <a:lnTo>
                    <a:pt x="2496" y="1548"/>
                  </a:lnTo>
                  <a:lnTo>
                    <a:pt x="2494" y="1548"/>
                  </a:lnTo>
                  <a:lnTo>
                    <a:pt x="2490" y="1548"/>
                  </a:lnTo>
                  <a:lnTo>
                    <a:pt x="2488" y="1550"/>
                  </a:lnTo>
                  <a:lnTo>
                    <a:pt x="2484" y="1550"/>
                  </a:lnTo>
                  <a:lnTo>
                    <a:pt x="2482" y="1552"/>
                  </a:lnTo>
                  <a:lnTo>
                    <a:pt x="2482" y="1552"/>
                  </a:lnTo>
                  <a:lnTo>
                    <a:pt x="2478" y="1554"/>
                  </a:lnTo>
                  <a:lnTo>
                    <a:pt x="2478" y="1554"/>
                  </a:lnTo>
                  <a:lnTo>
                    <a:pt x="2480" y="1556"/>
                  </a:lnTo>
                  <a:lnTo>
                    <a:pt x="2482" y="1558"/>
                  </a:lnTo>
                  <a:lnTo>
                    <a:pt x="2484" y="1562"/>
                  </a:lnTo>
                  <a:lnTo>
                    <a:pt x="2484" y="1562"/>
                  </a:lnTo>
                  <a:lnTo>
                    <a:pt x="2486" y="1568"/>
                  </a:lnTo>
                  <a:lnTo>
                    <a:pt x="2490" y="1576"/>
                  </a:lnTo>
                  <a:lnTo>
                    <a:pt x="2490" y="1578"/>
                  </a:lnTo>
                  <a:lnTo>
                    <a:pt x="2484" y="1576"/>
                  </a:lnTo>
                  <a:lnTo>
                    <a:pt x="2484" y="1576"/>
                  </a:lnTo>
                  <a:lnTo>
                    <a:pt x="2484" y="1576"/>
                  </a:lnTo>
                  <a:lnTo>
                    <a:pt x="2478" y="1574"/>
                  </a:lnTo>
                  <a:lnTo>
                    <a:pt x="2478" y="1574"/>
                  </a:lnTo>
                  <a:lnTo>
                    <a:pt x="2478" y="1574"/>
                  </a:lnTo>
                  <a:lnTo>
                    <a:pt x="2472" y="1574"/>
                  </a:lnTo>
                  <a:lnTo>
                    <a:pt x="2472" y="1574"/>
                  </a:lnTo>
                  <a:lnTo>
                    <a:pt x="2472" y="1574"/>
                  </a:lnTo>
                  <a:lnTo>
                    <a:pt x="2466" y="1576"/>
                  </a:lnTo>
                  <a:lnTo>
                    <a:pt x="2466" y="1576"/>
                  </a:lnTo>
                  <a:lnTo>
                    <a:pt x="2466" y="1576"/>
                  </a:lnTo>
                  <a:lnTo>
                    <a:pt x="2460" y="1578"/>
                  </a:lnTo>
                  <a:lnTo>
                    <a:pt x="2460" y="1578"/>
                  </a:lnTo>
                  <a:lnTo>
                    <a:pt x="2460" y="1578"/>
                  </a:lnTo>
                  <a:lnTo>
                    <a:pt x="2454" y="1582"/>
                  </a:lnTo>
                  <a:lnTo>
                    <a:pt x="2454" y="1582"/>
                  </a:lnTo>
                  <a:lnTo>
                    <a:pt x="2454" y="1582"/>
                  </a:lnTo>
                  <a:lnTo>
                    <a:pt x="2452" y="1586"/>
                  </a:lnTo>
                  <a:lnTo>
                    <a:pt x="2450" y="1584"/>
                  </a:lnTo>
                  <a:lnTo>
                    <a:pt x="2450" y="1584"/>
                  </a:lnTo>
                  <a:lnTo>
                    <a:pt x="2450" y="1584"/>
                  </a:lnTo>
                  <a:lnTo>
                    <a:pt x="2446" y="1584"/>
                  </a:lnTo>
                  <a:lnTo>
                    <a:pt x="2444" y="1582"/>
                  </a:lnTo>
                  <a:lnTo>
                    <a:pt x="2440" y="1580"/>
                  </a:lnTo>
                  <a:lnTo>
                    <a:pt x="2436" y="1580"/>
                  </a:lnTo>
                  <a:lnTo>
                    <a:pt x="2434" y="1580"/>
                  </a:lnTo>
                  <a:lnTo>
                    <a:pt x="2430" y="1578"/>
                  </a:lnTo>
                  <a:lnTo>
                    <a:pt x="2432" y="1578"/>
                  </a:lnTo>
                  <a:lnTo>
                    <a:pt x="2428" y="1576"/>
                  </a:lnTo>
                  <a:lnTo>
                    <a:pt x="2428" y="1576"/>
                  </a:lnTo>
                  <a:lnTo>
                    <a:pt x="2426" y="1576"/>
                  </a:lnTo>
                  <a:lnTo>
                    <a:pt x="2418" y="1578"/>
                  </a:lnTo>
                  <a:lnTo>
                    <a:pt x="2410" y="1580"/>
                  </a:lnTo>
                  <a:lnTo>
                    <a:pt x="2404" y="1584"/>
                  </a:lnTo>
                  <a:lnTo>
                    <a:pt x="2400" y="1584"/>
                  </a:lnTo>
                  <a:lnTo>
                    <a:pt x="2398" y="1586"/>
                  </a:lnTo>
                  <a:lnTo>
                    <a:pt x="2398" y="1586"/>
                  </a:lnTo>
                  <a:lnTo>
                    <a:pt x="2396" y="1586"/>
                  </a:lnTo>
                  <a:lnTo>
                    <a:pt x="2396" y="1586"/>
                  </a:lnTo>
                  <a:lnTo>
                    <a:pt x="2396" y="1586"/>
                  </a:lnTo>
                  <a:lnTo>
                    <a:pt x="2394" y="1584"/>
                  </a:lnTo>
                  <a:lnTo>
                    <a:pt x="2392" y="1584"/>
                  </a:lnTo>
                  <a:lnTo>
                    <a:pt x="2392" y="1584"/>
                  </a:lnTo>
                  <a:lnTo>
                    <a:pt x="2392" y="1584"/>
                  </a:lnTo>
                  <a:lnTo>
                    <a:pt x="2390" y="1584"/>
                  </a:lnTo>
                  <a:lnTo>
                    <a:pt x="2390" y="1584"/>
                  </a:lnTo>
                  <a:lnTo>
                    <a:pt x="2390" y="1584"/>
                  </a:lnTo>
                  <a:lnTo>
                    <a:pt x="2388" y="1584"/>
                  </a:lnTo>
                  <a:lnTo>
                    <a:pt x="2388" y="1584"/>
                  </a:lnTo>
                  <a:lnTo>
                    <a:pt x="2386" y="1586"/>
                  </a:lnTo>
                  <a:lnTo>
                    <a:pt x="2386" y="1586"/>
                  </a:lnTo>
                  <a:lnTo>
                    <a:pt x="2386" y="1588"/>
                  </a:lnTo>
                  <a:lnTo>
                    <a:pt x="2384" y="1588"/>
                  </a:lnTo>
                  <a:lnTo>
                    <a:pt x="2384" y="1590"/>
                  </a:lnTo>
                  <a:lnTo>
                    <a:pt x="2384" y="1594"/>
                  </a:lnTo>
                  <a:lnTo>
                    <a:pt x="2382" y="1592"/>
                  </a:lnTo>
                  <a:lnTo>
                    <a:pt x="2382" y="1592"/>
                  </a:lnTo>
                  <a:lnTo>
                    <a:pt x="2382" y="1592"/>
                  </a:lnTo>
                  <a:lnTo>
                    <a:pt x="2380" y="1592"/>
                  </a:lnTo>
                  <a:lnTo>
                    <a:pt x="2378" y="1590"/>
                  </a:lnTo>
                  <a:lnTo>
                    <a:pt x="2376" y="1590"/>
                  </a:lnTo>
                  <a:lnTo>
                    <a:pt x="2372" y="1590"/>
                  </a:lnTo>
                  <a:lnTo>
                    <a:pt x="2370" y="1588"/>
                  </a:lnTo>
                  <a:lnTo>
                    <a:pt x="2370" y="1588"/>
                  </a:lnTo>
                  <a:lnTo>
                    <a:pt x="2368" y="1590"/>
                  </a:lnTo>
                  <a:lnTo>
                    <a:pt x="2368" y="1590"/>
                  </a:lnTo>
                  <a:lnTo>
                    <a:pt x="2366" y="1592"/>
                  </a:lnTo>
                  <a:lnTo>
                    <a:pt x="2366" y="1606"/>
                  </a:lnTo>
                  <a:lnTo>
                    <a:pt x="2360" y="1610"/>
                  </a:lnTo>
                  <a:lnTo>
                    <a:pt x="2350" y="1614"/>
                  </a:lnTo>
                  <a:lnTo>
                    <a:pt x="2342" y="1618"/>
                  </a:lnTo>
                  <a:lnTo>
                    <a:pt x="2334" y="1622"/>
                  </a:lnTo>
                  <a:lnTo>
                    <a:pt x="2334" y="1622"/>
                  </a:lnTo>
                  <a:lnTo>
                    <a:pt x="2332" y="1626"/>
                  </a:lnTo>
                  <a:lnTo>
                    <a:pt x="2332" y="1626"/>
                  </a:lnTo>
                  <a:lnTo>
                    <a:pt x="2334" y="1628"/>
                  </a:lnTo>
                  <a:lnTo>
                    <a:pt x="2336" y="1628"/>
                  </a:lnTo>
                  <a:lnTo>
                    <a:pt x="2338" y="1628"/>
                  </a:lnTo>
                  <a:lnTo>
                    <a:pt x="2340" y="1628"/>
                  </a:lnTo>
                  <a:lnTo>
                    <a:pt x="2340" y="1628"/>
                  </a:lnTo>
                  <a:lnTo>
                    <a:pt x="2340" y="1630"/>
                  </a:lnTo>
                  <a:lnTo>
                    <a:pt x="2336" y="1632"/>
                  </a:lnTo>
                  <a:lnTo>
                    <a:pt x="2334" y="1632"/>
                  </a:lnTo>
                  <a:lnTo>
                    <a:pt x="2334" y="1632"/>
                  </a:lnTo>
                  <a:lnTo>
                    <a:pt x="2332" y="1632"/>
                  </a:lnTo>
                  <a:lnTo>
                    <a:pt x="2330" y="1632"/>
                  </a:lnTo>
                  <a:lnTo>
                    <a:pt x="2326" y="1632"/>
                  </a:lnTo>
                  <a:lnTo>
                    <a:pt x="2320" y="1632"/>
                  </a:lnTo>
                  <a:lnTo>
                    <a:pt x="2320" y="1632"/>
                  </a:lnTo>
                  <a:lnTo>
                    <a:pt x="2320" y="1632"/>
                  </a:lnTo>
                  <a:lnTo>
                    <a:pt x="2318" y="1632"/>
                  </a:lnTo>
                  <a:lnTo>
                    <a:pt x="2316" y="1638"/>
                  </a:lnTo>
                  <a:lnTo>
                    <a:pt x="2312" y="1640"/>
                  </a:lnTo>
                  <a:lnTo>
                    <a:pt x="2310" y="1642"/>
                  </a:lnTo>
                  <a:lnTo>
                    <a:pt x="2308" y="1644"/>
                  </a:lnTo>
                  <a:lnTo>
                    <a:pt x="2306" y="1646"/>
                  </a:lnTo>
                  <a:lnTo>
                    <a:pt x="2306" y="1646"/>
                  </a:lnTo>
                  <a:lnTo>
                    <a:pt x="2302" y="1648"/>
                  </a:lnTo>
                  <a:lnTo>
                    <a:pt x="2298" y="1648"/>
                  </a:lnTo>
                  <a:lnTo>
                    <a:pt x="2294" y="1648"/>
                  </a:lnTo>
                  <a:lnTo>
                    <a:pt x="2294" y="1648"/>
                  </a:lnTo>
                  <a:lnTo>
                    <a:pt x="2292" y="1650"/>
                  </a:lnTo>
                  <a:lnTo>
                    <a:pt x="2292" y="1650"/>
                  </a:lnTo>
                  <a:lnTo>
                    <a:pt x="2292" y="1654"/>
                  </a:lnTo>
                  <a:lnTo>
                    <a:pt x="2294" y="1654"/>
                  </a:lnTo>
                  <a:lnTo>
                    <a:pt x="2296" y="1656"/>
                  </a:lnTo>
                  <a:lnTo>
                    <a:pt x="2298" y="1658"/>
                  </a:lnTo>
                  <a:lnTo>
                    <a:pt x="2302" y="1658"/>
                  </a:lnTo>
                  <a:lnTo>
                    <a:pt x="2308" y="1662"/>
                  </a:lnTo>
                  <a:lnTo>
                    <a:pt x="2312" y="1664"/>
                  </a:lnTo>
                  <a:lnTo>
                    <a:pt x="2312" y="1664"/>
                  </a:lnTo>
                  <a:lnTo>
                    <a:pt x="2310" y="1666"/>
                  </a:lnTo>
                  <a:lnTo>
                    <a:pt x="2308" y="1670"/>
                  </a:lnTo>
                  <a:lnTo>
                    <a:pt x="2306" y="1676"/>
                  </a:lnTo>
                  <a:lnTo>
                    <a:pt x="2304" y="1680"/>
                  </a:lnTo>
                  <a:lnTo>
                    <a:pt x="2302" y="1682"/>
                  </a:lnTo>
                  <a:lnTo>
                    <a:pt x="2300" y="1686"/>
                  </a:lnTo>
                  <a:lnTo>
                    <a:pt x="2296" y="1690"/>
                  </a:lnTo>
                  <a:lnTo>
                    <a:pt x="2292" y="1694"/>
                  </a:lnTo>
                  <a:lnTo>
                    <a:pt x="2292" y="1694"/>
                  </a:lnTo>
                  <a:lnTo>
                    <a:pt x="2292" y="1696"/>
                  </a:lnTo>
                  <a:lnTo>
                    <a:pt x="2292" y="1700"/>
                  </a:lnTo>
                  <a:lnTo>
                    <a:pt x="2294" y="1702"/>
                  </a:lnTo>
                  <a:lnTo>
                    <a:pt x="2294" y="1706"/>
                  </a:lnTo>
                  <a:lnTo>
                    <a:pt x="2296" y="1710"/>
                  </a:lnTo>
                  <a:lnTo>
                    <a:pt x="2296" y="1714"/>
                  </a:lnTo>
                  <a:lnTo>
                    <a:pt x="2296" y="1718"/>
                  </a:lnTo>
                  <a:lnTo>
                    <a:pt x="2298" y="1722"/>
                  </a:lnTo>
                  <a:lnTo>
                    <a:pt x="2298" y="1724"/>
                  </a:lnTo>
                  <a:lnTo>
                    <a:pt x="2298" y="1724"/>
                  </a:lnTo>
                  <a:lnTo>
                    <a:pt x="2300" y="1726"/>
                  </a:lnTo>
                  <a:lnTo>
                    <a:pt x="2300" y="1726"/>
                  </a:lnTo>
                  <a:lnTo>
                    <a:pt x="2302" y="1726"/>
                  </a:lnTo>
                  <a:lnTo>
                    <a:pt x="2304" y="1724"/>
                  </a:lnTo>
                  <a:lnTo>
                    <a:pt x="2306" y="1720"/>
                  </a:lnTo>
                  <a:lnTo>
                    <a:pt x="2308" y="1718"/>
                  </a:lnTo>
                  <a:lnTo>
                    <a:pt x="2310" y="1714"/>
                  </a:lnTo>
                  <a:lnTo>
                    <a:pt x="2312" y="1710"/>
                  </a:lnTo>
                  <a:lnTo>
                    <a:pt x="2320" y="1706"/>
                  </a:lnTo>
                  <a:lnTo>
                    <a:pt x="2328" y="1702"/>
                  </a:lnTo>
                  <a:lnTo>
                    <a:pt x="2332" y="1698"/>
                  </a:lnTo>
                  <a:lnTo>
                    <a:pt x="2334" y="1696"/>
                  </a:lnTo>
                  <a:lnTo>
                    <a:pt x="2338" y="1694"/>
                  </a:lnTo>
                  <a:lnTo>
                    <a:pt x="2340" y="1690"/>
                  </a:lnTo>
                  <a:lnTo>
                    <a:pt x="2340" y="1690"/>
                  </a:lnTo>
                  <a:lnTo>
                    <a:pt x="2342" y="1690"/>
                  </a:lnTo>
                  <a:lnTo>
                    <a:pt x="2344" y="1686"/>
                  </a:lnTo>
                  <a:lnTo>
                    <a:pt x="2344" y="1686"/>
                  </a:lnTo>
                  <a:lnTo>
                    <a:pt x="2344" y="1686"/>
                  </a:lnTo>
                  <a:lnTo>
                    <a:pt x="2344" y="1682"/>
                  </a:lnTo>
                  <a:lnTo>
                    <a:pt x="2344" y="1682"/>
                  </a:lnTo>
                  <a:lnTo>
                    <a:pt x="2344" y="1682"/>
                  </a:lnTo>
                  <a:lnTo>
                    <a:pt x="2344" y="1678"/>
                  </a:lnTo>
                  <a:lnTo>
                    <a:pt x="2344" y="1678"/>
                  </a:lnTo>
                  <a:lnTo>
                    <a:pt x="2344" y="1676"/>
                  </a:lnTo>
                  <a:lnTo>
                    <a:pt x="2344" y="1676"/>
                  </a:lnTo>
                  <a:lnTo>
                    <a:pt x="2348" y="1676"/>
                  </a:lnTo>
                  <a:lnTo>
                    <a:pt x="2352" y="1676"/>
                  </a:lnTo>
                  <a:lnTo>
                    <a:pt x="2358" y="1678"/>
                  </a:lnTo>
                  <a:lnTo>
                    <a:pt x="2362" y="1680"/>
                  </a:lnTo>
                  <a:lnTo>
                    <a:pt x="2366" y="1684"/>
                  </a:lnTo>
                  <a:lnTo>
                    <a:pt x="2368" y="1686"/>
                  </a:lnTo>
                  <a:lnTo>
                    <a:pt x="2372" y="1690"/>
                  </a:lnTo>
                  <a:lnTo>
                    <a:pt x="2376" y="1696"/>
                  </a:lnTo>
                  <a:lnTo>
                    <a:pt x="2376" y="1696"/>
                  </a:lnTo>
                  <a:lnTo>
                    <a:pt x="2378" y="1696"/>
                  </a:lnTo>
                  <a:lnTo>
                    <a:pt x="2378" y="1696"/>
                  </a:lnTo>
                  <a:lnTo>
                    <a:pt x="2380" y="1694"/>
                  </a:lnTo>
                  <a:lnTo>
                    <a:pt x="2382" y="1690"/>
                  </a:lnTo>
                  <a:lnTo>
                    <a:pt x="2384" y="1686"/>
                  </a:lnTo>
                  <a:lnTo>
                    <a:pt x="2386" y="1684"/>
                  </a:lnTo>
                  <a:lnTo>
                    <a:pt x="2388" y="1690"/>
                  </a:lnTo>
                  <a:lnTo>
                    <a:pt x="2390" y="1700"/>
                  </a:lnTo>
                  <a:lnTo>
                    <a:pt x="2392" y="1708"/>
                  </a:lnTo>
                  <a:lnTo>
                    <a:pt x="2392" y="1708"/>
                  </a:lnTo>
                  <a:lnTo>
                    <a:pt x="2390" y="1710"/>
                  </a:lnTo>
                  <a:lnTo>
                    <a:pt x="2392" y="1724"/>
                  </a:lnTo>
                  <a:lnTo>
                    <a:pt x="2392" y="1736"/>
                  </a:lnTo>
                  <a:lnTo>
                    <a:pt x="2392" y="1742"/>
                  </a:lnTo>
                  <a:lnTo>
                    <a:pt x="2392" y="1746"/>
                  </a:lnTo>
                  <a:lnTo>
                    <a:pt x="2390" y="1752"/>
                  </a:lnTo>
                  <a:lnTo>
                    <a:pt x="2388" y="1756"/>
                  </a:lnTo>
                  <a:lnTo>
                    <a:pt x="2390" y="1756"/>
                  </a:lnTo>
                  <a:lnTo>
                    <a:pt x="2388" y="1760"/>
                  </a:lnTo>
                  <a:lnTo>
                    <a:pt x="2384" y="1762"/>
                  </a:lnTo>
                  <a:lnTo>
                    <a:pt x="2382" y="1766"/>
                  </a:lnTo>
                  <a:lnTo>
                    <a:pt x="2378" y="1768"/>
                  </a:lnTo>
                  <a:lnTo>
                    <a:pt x="2374" y="1768"/>
                  </a:lnTo>
                  <a:lnTo>
                    <a:pt x="2370" y="1768"/>
                  </a:lnTo>
                  <a:lnTo>
                    <a:pt x="2364" y="1768"/>
                  </a:lnTo>
                  <a:lnTo>
                    <a:pt x="2360" y="1768"/>
                  </a:lnTo>
                  <a:lnTo>
                    <a:pt x="2360" y="1766"/>
                  </a:lnTo>
                  <a:lnTo>
                    <a:pt x="2360" y="1766"/>
                  </a:lnTo>
                  <a:lnTo>
                    <a:pt x="2360" y="1766"/>
                  </a:lnTo>
                  <a:lnTo>
                    <a:pt x="2358" y="1764"/>
                  </a:lnTo>
                  <a:lnTo>
                    <a:pt x="2358" y="1764"/>
                  </a:lnTo>
                  <a:lnTo>
                    <a:pt x="2358" y="1762"/>
                  </a:lnTo>
                  <a:lnTo>
                    <a:pt x="2356" y="1760"/>
                  </a:lnTo>
                  <a:lnTo>
                    <a:pt x="2354" y="1756"/>
                  </a:lnTo>
                  <a:lnTo>
                    <a:pt x="2352" y="1752"/>
                  </a:lnTo>
                  <a:lnTo>
                    <a:pt x="2348" y="1750"/>
                  </a:lnTo>
                  <a:lnTo>
                    <a:pt x="2342" y="1744"/>
                  </a:lnTo>
                  <a:lnTo>
                    <a:pt x="2334" y="1738"/>
                  </a:lnTo>
                  <a:lnTo>
                    <a:pt x="2330" y="1736"/>
                  </a:lnTo>
                  <a:lnTo>
                    <a:pt x="2326" y="1734"/>
                  </a:lnTo>
                  <a:lnTo>
                    <a:pt x="2322" y="1734"/>
                  </a:lnTo>
                  <a:lnTo>
                    <a:pt x="2318" y="1732"/>
                  </a:lnTo>
                  <a:lnTo>
                    <a:pt x="2318" y="1732"/>
                  </a:lnTo>
                  <a:lnTo>
                    <a:pt x="2316" y="1732"/>
                  </a:lnTo>
                  <a:lnTo>
                    <a:pt x="2314" y="1732"/>
                  </a:lnTo>
                  <a:lnTo>
                    <a:pt x="2312" y="1734"/>
                  </a:lnTo>
                  <a:lnTo>
                    <a:pt x="2312" y="1734"/>
                  </a:lnTo>
                  <a:lnTo>
                    <a:pt x="2312" y="1734"/>
                  </a:lnTo>
                  <a:lnTo>
                    <a:pt x="2308" y="1734"/>
                  </a:lnTo>
                  <a:lnTo>
                    <a:pt x="2308" y="1734"/>
                  </a:lnTo>
                  <a:lnTo>
                    <a:pt x="2308" y="1734"/>
                  </a:lnTo>
                  <a:lnTo>
                    <a:pt x="2304" y="1736"/>
                  </a:lnTo>
                  <a:lnTo>
                    <a:pt x="2304" y="1736"/>
                  </a:lnTo>
                  <a:lnTo>
                    <a:pt x="2304" y="1738"/>
                  </a:lnTo>
                  <a:lnTo>
                    <a:pt x="2302" y="1740"/>
                  </a:lnTo>
                  <a:lnTo>
                    <a:pt x="2300" y="1742"/>
                  </a:lnTo>
                  <a:lnTo>
                    <a:pt x="2300" y="1742"/>
                  </a:lnTo>
                  <a:lnTo>
                    <a:pt x="2300" y="1742"/>
                  </a:lnTo>
                  <a:lnTo>
                    <a:pt x="2296" y="1748"/>
                  </a:lnTo>
                  <a:lnTo>
                    <a:pt x="2296" y="1748"/>
                  </a:lnTo>
                  <a:lnTo>
                    <a:pt x="2296" y="1748"/>
                  </a:lnTo>
                  <a:lnTo>
                    <a:pt x="2294" y="1756"/>
                  </a:lnTo>
                  <a:lnTo>
                    <a:pt x="2292" y="1762"/>
                  </a:lnTo>
                  <a:lnTo>
                    <a:pt x="2290" y="1770"/>
                  </a:lnTo>
                  <a:lnTo>
                    <a:pt x="2290" y="1776"/>
                  </a:lnTo>
                  <a:lnTo>
                    <a:pt x="2288" y="1778"/>
                  </a:lnTo>
                  <a:lnTo>
                    <a:pt x="2288" y="1780"/>
                  </a:lnTo>
                  <a:lnTo>
                    <a:pt x="2288" y="1788"/>
                  </a:lnTo>
                  <a:lnTo>
                    <a:pt x="2286" y="1796"/>
                  </a:lnTo>
                  <a:lnTo>
                    <a:pt x="2284" y="1804"/>
                  </a:lnTo>
                  <a:lnTo>
                    <a:pt x="2284" y="1810"/>
                  </a:lnTo>
                  <a:lnTo>
                    <a:pt x="2284" y="1824"/>
                  </a:lnTo>
                  <a:lnTo>
                    <a:pt x="2284" y="1832"/>
                  </a:lnTo>
                  <a:lnTo>
                    <a:pt x="2284" y="1840"/>
                  </a:lnTo>
                  <a:lnTo>
                    <a:pt x="2284" y="1846"/>
                  </a:lnTo>
                  <a:lnTo>
                    <a:pt x="2284" y="1846"/>
                  </a:lnTo>
                  <a:lnTo>
                    <a:pt x="2286" y="1848"/>
                  </a:lnTo>
                  <a:lnTo>
                    <a:pt x="2286" y="1848"/>
                  </a:lnTo>
                  <a:lnTo>
                    <a:pt x="2286" y="1848"/>
                  </a:lnTo>
                  <a:lnTo>
                    <a:pt x="2286" y="1854"/>
                  </a:lnTo>
                  <a:lnTo>
                    <a:pt x="2288" y="1860"/>
                  </a:lnTo>
                  <a:lnTo>
                    <a:pt x="2290" y="1868"/>
                  </a:lnTo>
                  <a:lnTo>
                    <a:pt x="2292" y="1874"/>
                  </a:lnTo>
                  <a:lnTo>
                    <a:pt x="2294" y="1880"/>
                  </a:lnTo>
                  <a:lnTo>
                    <a:pt x="2294" y="1886"/>
                  </a:lnTo>
                  <a:lnTo>
                    <a:pt x="2294" y="1892"/>
                  </a:lnTo>
                  <a:lnTo>
                    <a:pt x="2294" y="1892"/>
                  </a:lnTo>
                  <a:lnTo>
                    <a:pt x="2294" y="1896"/>
                  </a:lnTo>
                  <a:lnTo>
                    <a:pt x="2294" y="1896"/>
                  </a:lnTo>
                  <a:lnTo>
                    <a:pt x="2292" y="1898"/>
                  </a:lnTo>
                  <a:lnTo>
                    <a:pt x="2292" y="1898"/>
                  </a:lnTo>
                  <a:lnTo>
                    <a:pt x="2292" y="1898"/>
                  </a:lnTo>
                  <a:lnTo>
                    <a:pt x="2292" y="1900"/>
                  </a:lnTo>
                  <a:lnTo>
                    <a:pt x="2292" y="1900"/>
                  </a:lnTo>
                  <a:lnTo>
                    <a:pt x="2292" y="1900"/>
                  </a:lnTo>
                  <a:lnTo>
                    <a:pt x="2292" y="1900"/>
                  </a:lnTo>
                  <a:lnTo>
                    <a:pt x="2292" y="1900"/>
                  </a:lnTo>
                  <a:lnTo>
                    <a:pt x="2294" y="1904"/>
                  </a:lnTo>
                  <a:lnTo>
                    <a:pt x="2296" y="1906"/>
                  </a:lnTo>
                  <a:lnTo>
                    <a:pt x="2300" y="1908"/>
                  </a:lnTo>
                  <a:lnTo>
                    <a:pt x="2304" y="1910"/>
                  </a:lnTo>
                  <a:lnTo>
                    <a:pt x="2306" y="1912"/>
                  </a:lnTo>
                  <a:lnTo>
                    <a:pt x="2308" y="1914"/>
                  </a:lnTo>
                  <a:lnTo>
                    <a:pt x="2310" y="1918"/>
                  </a:lnTo>
                  <a:lnTo>
                    <a:pt x="2312" y="1922"/>
                  </a:lnTo>
                  <a:lnTo>
                    <a:pt x="2312" y="1922"/>
                  </a:lnTo>
                  <a:lnTo>
                    <a:pt x="2312" y="1922"/>
                  </a:lnTo>
                  <a:lnTo>
                    <a:pt x="2308" y="1924"/>
                  </a:lnTo>
                  <a:lnTo>
                    <a:pt x="2300" y="1926"/>
                  </a:lnTo>
                  <a:lnTo>
                    <a:pt x="2294" y="1928"/>
                  </a:lnTo>
                  <a:lnTo>
                    <a:pt x="2290" y="1928"/>
                  </a:lnTo>
                  <a:lnTo>
                    <a:pt x="2286" y="1928"/>
                  </a:lnTo>
                  <a:lnTo>
                    <a:pt x="2282" y="1930"/>
                  </a:lnTo>
                  <a:lnTo>
                    <a:pt x="2278" y="1930"/>
                  </a:lnTo>
                  <a:lnTo>
                    <a:pt x="2276" y="1930"/>
                  </a:lnTo>
                  <a:lnTo>
                    <a:pt x="2276" y="1930"/>
                  </a:lnTo>
                  <a:lnTo>
                    <a:pt x="2274" y="1930"/>
                  </a:lnTo>
                  <a:lnTo>
                    <a:pt x="2272" y="1930"/>
                  </a:lnTo>
                  <a:lnTo>
                    <a:pt x="2272" y="1930"/>
                  </a:lnTo>
                  <a:lnTo>
                    <a:pt x="2272" y="1930"/>
                  </a:lnTo>
                  <a:lnTo>
                    <a:pt x="2270" y="1932"/>
                  </a:lnTo>
                  <a:lnTo>
                    <a:pt x="2270" y="1932"/>
                  </a:lnTo>
                  <a:lnTo>
                    <a:pt x="2268" y="1934"/>
                  </a:lnTo>
                  <a:lnTo>
                    <a:pt x="2268" y="1936"/>
                  </a:lnTo>
                  <a:lnTo>
                    <a:pt x="2268" y="1936"/>
                  </a:lnTo>
                  <a:lnTo>
                    <a:pt x="2268" y="1936"/>
                  </a:lnTo>
                  <a:lnTo>
                    <a:pt x="2266" y="1938"/>
                  </a:lnTo>
                  <a:lnTo>
                    <a:pt x="2266" y="1938"/>
                  </a:lnTo>
                  <a:lnTo>
                    <a:pt x="2266" y="1940"/>
                  </a:lnTo>
                  <a:lnTo>
                    <a:pt x="2266" y="1944"/>
                  </a:lnTo>
                  <a:lnTo>
                    <a:pt x="2266" y="1946"/>
                  </a:lnTo>
                  <a:lnTo>
                    <a:pt x="2266" y="1948"/>
                  </a:lnTo>
                  <a:lnTo>
                    <a:pt x="2266" y="1952"/>
                  </a:lnTo>
                  <a:lnTo>
                    <a:pt x="2266" y="1956"/>
                  </a:lnTo>
                  <a:lnTo>
                    <a:pt x="2266" y="1960"/>
                  </a:lnTo>
                  <a:lnTo>
                    <a:pt x="2266" y="1962"/>
                  </a:lnTo>
                  <a:lnTo>
                    <a:pt x="2266" y="1962"/>
                  </a:lnTo>
                  <a:lnTo>
                    <a:pt x="2262" y="1962"/>
                  </a:lnTo>
                  <a:lnTo>
                    <a:pt x="2256" y="1964"/>
                  </a:lnTo>
                  <a:lnTo>
                    <a:pt x="2252" y="1966"/>
                  </a:lnTo>
                  <a:lnTo>
                    <a:pt x="2250" y="1966"/>
                  </a:lnTo>
                  <a:lnTo>
                    <a:pt x="2248" y="1966"/>
                  </a:lnTo>
                  <a:lnTo>
                    <a:pt x="2248" y="1966"/>
                  </a:lnTo>
                  <a:lnTo>
                    <a:pt x="2246" y="1968"/>
                  </a:lnTo>
                  <a:lnTo>
                    <a:pt x="2246" y="1968"/>
                  </a:lnTo>
                  <a:lnTo>
                    <a:pt x="2244" y="1970"/>
                  </a:lnTo>
                  <a:lnTo>
                    <a:pt x="2244" y="1970"/>
                  </a:lnTo>
                  <a:lnTo>
                    <a:pt x="2244" y="1970"/>
                  </a:lnTo>
                  <a:lnTo>
                    <a:pt x="2244" y="1970"/>
                  </a:lnTo>
                  <a:lnTo>
                    <a:pt x="2246" y="1970"/>
                  </a:lnTo>
                  <a:lnTo>
                    <a:pt x="2246" y="1970"/>
                  </a:lnTo>
                  <a:lnTo>
                    <a:pt x="2246" y="1972"/>
                  </a:lnTo>
                  <a:lnTo>
                    <a:pt x="2246" y="1972"/>
                  </a:lnTo>
                  <a:lnTo>
                    <a:pt x="2246" y="1972"/>
                  </a:lnTo>
                  <a:lnTo>
                    <a:pt x="2246" y="1972"/>
                  </a:lnTo>
                  <a:lnTo>
                    <a:pt x="2244" y="1974"/>
                  </a:lnTo>
                  <a:lnTo>
                    <a:pt x="2246" y="1974"/>
                  </a:lnTo>
                  <a:lnTo>
                    <a:pt x="2242" y="1976"/>
                  </a:lnTo>
                  <a:lnTo>
                    <a:pt x="2238" y="1978"/>
                  </a:lnTo>
                  <a:lnTo>
                    <a:pt x="2240" y="1978"/>
                  </a:lnTo>
                  <a:lnTo>
                    <a:pt x="2236" y="1978"/>
                  </a:lnTo>
                  <a:lnTo>
                    <a:pt x="2236" y="1978"/>
                  </a:lnTo>
                  <a:lnTo>
                    <a:pt x="2232" y="1978"/>
                  </a:lnTo>
                  <a:lnTo>
                    <a:pt x="2228" y="1978"/>
                  </a:lnTo>
                  <a:lnTo>
                    <a:pt x="2224" y="1978"/>
                  </a:lnTo>
                  <a:lnTo>
                    <a:pt x="2220" y="1976"/>
                  </a:lnTo>
                  <a:lnTo>
                    <a:pt x="2218" y="1974"/>
                  </a:lnTo>
                  <a:lnTo>
                    <a:pt x="2214" y="1972"/>
                  </a:lnTo>
                  <a:lnTo>
                    <a:pt x="2212" y="1970"/>
                  </a:lnTo>
                  <a:lnTo>
                    <a:pt x="2208" y="1966"/>
                  </a:lnTo>
                  <a:lnTo>
                    <a:pt x="2210" y="1966"/>
                  </a:lnTo>
                  <a:lnTo>
                    <a:pt x="2206" y="1964"/>
                  </a:lnTo>
                  <a:lnTo>
                    <a:pt x="2206" y="1964"/>
                  </a:lnTo>
                  <a:lnTo>
                    <a:pt x="2206" y="1960"/>
                  </a:lnTo>
                  <a:lnTo>
                    <a:pt x="2206" y="1960"/>
                  </a:lnTo>
                  <a:lnTo>
                    <a:pt x="2204" y="1956"/>
                  </a:lnTo>
                  <a:lnTo>
                    <a:pt x="2204" y="1956"/>
                  </a:lnTo>
                  <a:lnTo>
                    <a:pt x="2204" y="1952"/>
                  </a:lnTo>
                  <a:lnTo>
                    <a:pt x="2204" y="1952"/>
                  </a:lnTo>
                  <a:lnTo>
                    <a:pt x="2202" y="1950"/>
                  </a:lnTo>
                  <a:lnTo>
                    <a:pt x="2202" y="1950"/>
                  </a:lnTo>
                  <a:lnTo>
                    <a:pt x="2200" y="1950"/>
                  </a:lnTo>
                  <a:lnTo>
                    <a:pt x="2196" y="1950"/>
                  </a:lnTo>
                  <a:lnTo>
                    <a:pt x="2190" y="1952"/>
                  </a:lnTo>
                  <a:lnTo>
                    <a:pt x="2186" y="1952"/>
                  </a:lnTo>
                  <a:lnTo>
                    <a:pt x="2180" y="1954"/>
                  </a:lnTo>
                  <a:lnTo>
                    <a:pt x="2166" y="1960"/>
                  </a:lnTo>
                  <a:lnTo>
                    <a:pt x="2154" y="1966"/>
                  </a:lnTo>
                  <a:lnTo>
                    <a:pt x="2148" y="1968"/>
                  </a:lnTo>
                  <a:lnTo>
                    <a:pt x="2144" y="1972"/>
                  </a:lnTo>
                  <a:lnTo>
                    <a:pt x="2138" y="1976"/>
                  </a:lnTo>
                  <a:lnTo>
                    <a:pt x="2134" y="1980"/>
                  </a:lnTo>
                  <a:lnTo>
                    <a:pt x="2130" y="1986"/>
                  </a:lnTo>
                  <a:lnTo>
                    <a:pt x="2128" y="1990"/>
                  </a:lnTo>
                  <a:lnTo>
                    <a:pt x="2128" y="1990"/>
                  </a:lnTo>
                  <a:lnTo>
                    <a:pt x="2128" y="1990"/>
                  </a:lnTo>
                  <a:lnTo>
                    <a:pt x="2126" y="1996"/>
                  </a:lnTo>
                  <a:lnTo>
                    <a:pt x="2126" y="1996"/>
                  </a:lnTo>
                  <a:lnTo>
                    <a:pt x="2124" y="1996"/>
                  </a:lnTo>
                  <a:lnTo>
                    <a:pt x="2124" y="1998"/>
                  </a:lnTo>
                  <a:lnTo>
                    <a:pt x="2114" y="2000"/>
                  </a:lnTo>
                  <a:lnTo>
                    <a:pt x="2108" y="2002"/>
                  </a:lnTo>
                  <a:lnTo>
                    <a:pt x="2100" y="2002"/>
                  </a:lnTo>
                  <a:lnTo>
                    <a:pt x="2094" y="2004"/>
                  </a:lnTo>
                  <a:lnTo>
                    <a:pt x="2088" y="2008"/>
                  </a:lnTo>
                  <a:lnTo>
                    <a:pt x="2088" y="2008"/>
                  </a:lnTo>
                  <a:lnTo>
                    <a:pt x="2088" y="2008"/>
                  </a:lnTo>
                  <a:lnTo>
                    <a:pt x="2082" y="2012"/>
                  </a:lnTo>
                  <a:lnTo>
                    <a:pt x="2082" y="2012"/>
                  </a:lnTo>
                  <a:lnTo>
                    <a:pt x="2082" y="2012"/>
                  </a:lnTo>
                  <a:lnTo>
                    <a:pt x="2078" y="2016"/>
                  </a:lnTo>
                  <a:lnTo>
                    <a:pt x="2078" y="2016"/>
                  </a:lnTo>
                  <a:lnTo>
                    <a:pt x="2074" y="2014"/>
                  </a:lnTo>
                  <a:lnTo>
                    <a:pt x="2074" y="2014"/>
                  </a:lnTo>
                  <a:lnTo>
                    <a:pt x="2074" y="2014"/>
                  </a:lnTo>
                  <a:lnTo>
                    <a:pt x="2074" y="2014"/>
                  </a:lnTo>
                  <a:lnTo>
                    <a:pt x="2072" y="2014"/>
                  </a:lnTo>
                  <a:lnTo>
                    <a:pt x="2072" y="2014"/>
                  </a:lnTo>
                  <a:lnTo>
                    <a:pt x="2070" y="2014"/>
                  </a:lnTo>
                  <a:lnTo>
                    <a:pt x="2068" y="2016"/>
                  </a:lnTo>
                  <a:lnTo>
                    <a:pt x="2068" y="2016"/>
                  </a:lnTo>
                  <a:lnTo>
                    <a:pt x="2068" y="2016"/>
                  </a:lnTo>
                  <a:lnTo>
                    <a:pt x="2068" y="2018"/>
                  </a:lnTo>
                  <a:lnTo>
                    <a:pt x="2068" y="2018"/>
                  </a:lnTo>
                  <a:lnTo>
                    <a:pt x="2066" y="2018"/>
                  </a:lnTo>
                  <a:lnTo>
                    <a:pt x="2066" y="2020"/>
                  </a:lnTo>
                  <a:lnTo>
                    <a:pt x="2064" y="2018"/>
                  </a:lnTo>
                  <a:lnTo>
                    <a:pt x="2062" y="2014"/>
                  </a:lnTo>
                  <a:lnTo>
                    <a:pt x="2060" y="2014"/>
                  </a:lnTo>
                  <a:lnTo>
                    <a:pt x="2060" y="2010"/>
                  </a:lnTo>
                  <a:lnTo>
                    <a:pt x="2060" y="2010"/>
                  </a:lnTo>
                  <a:lnTo>
                    <a:pt x="2058" y="2010"/>
                  </a:lnTo>
                  <a:lnTo>
                    <a:pt x="2056" y="2010"/>
                  </a:lnTo>
                  <a:lnTo>
                    <a:pt x="2056" y="2010"/>
                  </a:lnTo>
                  <a:lnTo>
                    <a:pt x="2054" y="2010"/>
                  </a:lnTo>
                  <a:lnTo>
                    <a:pt x="2054" y="2012"/>
                  </a:lnTo>
                  <a:lnTo>
                    <a:pt x="2056" y="2018"/>
                  </a:lnTo>
                  <a:lnTo>
                    <a:pt x="2056" y="2022"/>
                  </a:lnTo>
                  <a:lnTo>
                    <a:pt x="2056" y="2024"/>
                  </a:lnTo>
                  <a:lnTo>
                    <a:pt x="2056" y="2028"/>
                  </a:lnTo>
                  <a:lnTo>
                    <a:pt x="2054" y="2030"/>
                  </a:lnTo>
                  <a:lnTo>
                    <a:pt x="2054" y="2030"/>
                  </a:lnTo>
                  <a:lnTo>
                    <a:pt x="2054" y="2032"/>
                  </a:lnTo>
                  <a:lnTo>
                    <a:pt x="2050" y="2036"/>
                  </a:lnTo>
                  <a:lnTo>
                    <a:pt x="2048" y="2040"/>
                  </a:lnTo>
                  <a:lnTo>
                    <a:pt x="2042" y="2042"/>
                  </a:lnTo>
                  <a:lnTo>
                    <a:pt x="2038" y="2042"/>
                  </a:lnTo>
                  <a:lnTo>
                    <a:pt x="2038" y="2042"/>
                  </a:lnTo>
                  <a:lnTo>
                    <a:pt x="2032" y="2044"/>
                  </a:lnTo>
                  <a:lnTo>
                    <a:pt x="2032" y="2044"/>
                  </a:lnTo>
                  <a:lnTo>
                    <a:pt x="2030" y="2044"/>
                  </a:lnTo>
                  <a:lnTo>
                    <a:pt x="2030" y="2042"/>
                  </a:lnTo>
                  <a:lnTo>
                    <a:pt x="2028" y="2042"/>
                  </a:lnTo>
                  <a:lnTo>
                    <a:pt x="2028" y="2042"/>
                  </a:lnTo>
                  <a:lnTo>
                    <a:pt x="2026" y="2040"/>
                  </a:lnTo>
                  <a:lnTo>
                    <a:pt x="2026" y="2040"/>
                  </a:lnTo>
                  <a:lnTo>
                    <a:pt x="2024" y="2032"/>
                  </a:lnTo>
                  <a:lnTo>
                    <a:pt x="2020" y="2026"/>
                  </a:lnTo>
                  <a:lnTo>
                    <a:pt x="2018" y="2020"/>
                  </a:lnTo>
                  <a:lnTo>
                    <a:pt x="2016" y="2012"/>
                  </a:lnTo>
                  <a:lnTo>
                    <a:pt x="2014" y="2006"/>
                  </a:lnTo>
                  <a:lnTo>
                    <a:pt x="2012" y="1998"/>
                  </a:lnTo>
                  <a:lnTo>
                    <a:pt x="2008" y="1990"/>
                  </a:lnTo>
                  <a:lnTo>
                    <a:pt x="2006" y="1980"/>
                  </a:lnTo>
                  <a:lnTo>
                    <a:pt x="2006" y="1980"/>
                  </a:lnTo>
                  <a:lnTo>
                    <a:pt x="2004" y="1980"/>
                  </a:lnTo>
                  <a:lnTo>
                    <a:pt x="2002" y="1978"/>
                  </a:lnTo>
                  <a:lnTo>
                    <a:pt x="1998" y="1980"/>
                  </a:lnTo>
                  <a:lnTo>
                    <a:pt x="1992" y="1982"/>
                  </a:lnTo>
                  <a:lnTo>
                    <a:pt x="1982" y="1986"/>
                  </a:lnTo>
                  <a:lnTo>
                    <a:pt x="1970" y="1992"/>
                  </a:lnTo>
                  <a:lnTo>
                    <a:pt x="1960" y="1998"/>
                  </a:lnTo>
                  <a:lnTo>
                    <a:pt x="1950" y="2004"/>
                  </a:lnTo>
                  <a:lnTo>
                    <a:pt x="1944" y="2008"/>
                  </a:lnTo>
                  <a:lnTo>
                    <a:pt x="1940" y="2012"/>
                  </a:lnTo>
                  <a:lnTo>
                    <a:pt x="1936" y="2016"/>
                  </a:lnTo>
                  <a:lnTo>
                    <a:pt x="1932" y="2020"/>
                  </a:lnTo>
                  <a:lnTo>
                    <a:pt x="1928" y="2024"/>
                  </a:lnTo>
                  <a:lnTo>
                    <a:pt x="1928" y="2028"/>
                  </a:lnTo>
                  <a:lnTo>
                    <a:pt x="1926" y="2026"/>
                  </a:lnTo>
                  <a:lnTo>
                    <a:pt x="1926" y="2026"/>
                  </a:lnTo>
                  <a:lnTo>
                    <a:pt x="1922" y="2024"/>
                  </a:lnTo>
                  <a:lnTo>
                    <a:pt x="1918" y="2020"/>
                  </a:lnTo>
                  <a:lnTo>
                    <a:pt x="1916" y="2020"/>
                  </a:lnTo>
                  <a:lnTo>
                    <a:pt x="1916" y="2020"/>
                  </a:lnTo>
                  <a:lnTo>
                    <a:pt x="1916" y="2018"/>
                  </a:lnTo>
                  <a:lnTo>
                    <a:pt x="1918" y="2014"/>
                  </a:lnTo>
                  <a:lnTo>
                    <a:pt x="1920" y="2006"/>
                  </a:lnTo>
                  <a:lnTo>
                    <a:pt x="1922" y="2004"/>
                  </a:lnTo>
                  <a:lnTo>
                    <a:pt x="1922" y="2000"/>
                  </a:lnTo>
                  <a:lnTo>
                    <a:pt x="1924" y="1998"/>
                  </a:lnTo>
                  <a:lnTo>
                    <a:pt x="1924" y="1996"/>
                  </a:lnTo>
                  <a:lnTo>
                    <a:pt x="1924" y="1996"/>
                  </a:lnTo>
                  <a:lnTo>
                    <a:pt x="1926" y="1994"/>
                  </a:lnTo>
                  <a:lnTo>
                    <a:pt x="1926" y="1994"/>
                  </a:lnTo>
                  <a:lnTo>
                    <a:pt x="1922" y="1992"/>
                  </a:lnTo>
                  <a:lnTo>
                    <a:pt x="1918" y="1992"/>
                  </a:lnTo>
                  <a:lnTo>
                    <a:pt x="1914" y="1990"/>
                  </a:lnTo>
                  <a:lnTo>
                    <a:pt x="1904" y="1990"/>
                  </a:lnTo>
                  <a:lnTo>
                    <a:pt x="1900" y="1988"/>
                  </a:lnTo>
                  <a:lnTo>
                    <a:pt x="1894" y="1988"/>
                  </a:lnTo>
                  <a:lnTo>
                    <a:pt x="1894" y="1988"/>
                  </a:lnTo>
                  <a:lnTo>
                    <a:pt x="1894" y="1990"/>
                  </a:lnTo>
                  <a:lnTo>
                    <a:pt x="1888" y="1990"/>
                  </a:lnTo>
                  <a:lnTo>
                    <a:pt x="1888" y="1990"/>
                  </a:lnTo>
                  <a:lnTo>
                    <a:pt x="1888" y="1990"/>
                  </a:lnTo>
                  <a:lnTo>
                    <a:pt x="1888" y="1990"/>
                  </a:lnTo>
                  <a:lnTo>
                    <a:pt x="1888" y="1978"/>
                  </a:lnTo>
                  <a:lnTo>
                    <a:pt x="1888" y="1978"/>
                  </a:lnTo>
                  <a:lnTo>
                    <a:pt x="1886" y="1976"/>
                  </a:lnTo>
                  <a:lnTo>
                    <a:pt x="1884" y="1974"/>
                  </a:lnTo>
                  <a:lnTo>
                    <a:pt x="1884" y="1974"/>
                  </a:lnTo>
                  <a:lnTo>
                    <a:pt x="1884" y="1974"/>
                  </a:lnTo>
                  <a:lnTo>
                    <a:pt x="1882" y="1972"/>
                  </a:lnTo>
                  <a:lnTo>
                    <a:pt x="1882" y="1972"/>
                  </a:lnTo>
                  <a:lnTo>
                    <a:pt x="1882" y="1972"/>
                  </a:lnTo>
                  <a:lnTo>
                    <a:pt x="1882" y="1972"/>
                  </a:lnTo>
                  <a:lnTo>
                    <a:pt x="1880" y="1972"/>
                  </a:lnTo>
                  <a:lnTo>
                    <a:pt x="1880" y="1972"/>
                  </a:lnTo>
                  <a:lnTo>
                    <a:pt x="1878" y="1972"/>
                  </a:lnTo>
                  <a:lnTo>
                    <a:pt x="1876" y="1972"/>
                  </a:lnTo>
                  <a:lnTo>
                    <a:pt x="1874" y="1972"/>
                  </a:lnTo>
                  <a:lnTo>
                    <a:pt x="1874" y="1972"/>
                  </a:lnTo>
                  <a:lnTo>
                    <a:pt x="1874" y="1968"/>
                  </a:lnTo>
                  <a:lnTo>
                    <a:pt x="1874" y="1968"/>
                  </a:lnTo>
                  <a:lnTo>
                    <a:pt x="1874" y="1968"/>
                  </a:lnTo>
                  <a:lnTo>
                    <a:pt x="1874" y="1966"/>
                  </a:lnTo>
                  <a:lnTo>
                    <a:pt x="1874" y="1966"/>
                  </a:lnTo>
                  <a:lnTo>
                    <a:pt x="1880" y="1968"/>
                  </a:lnTo>
                  <a:lnTo>
                    <a:pt x="1886" y="1970"/>
                  </a:lnTo>
                  <a:lnTo>
                    <a:pt x="1888" y="1972"/>
                  </a:lnTo>
                  <a:lnTo>
                    <a:pt x="1890" y="1972"/>
                  </a:lnTo>
                  <a:lnTo>
                    <a:pt x="1890" y="1972"/>
                  </a:lnTo>
                  <a:lnTo>
                    <a:pt x="1894" y="1972"/>
                  </a:lnTo>
                  <a:lnTo>
                    <a:pt x="1894" y="1972"/>
                  </a:lnTo>
                  <a:lnTo>
                    <a:pt x="1896" y="1972"/>
                  </a:lnTo>
                  <a:lnTo>
                    <a:pt x="1896" y="1968"/>
                  </a:lnTo>
                  <a:lnTo>
                    <a:pt x="1898" y="1966"/>
                  </a:lnTo>
                  <a:lnTo>
                    <a:pt x="1898" y="1966"/>
                  </a:lnTo>
                  <a:lnTo>
                    <a:pt x="1902" y="1962"/>
                  </a:lnTo>
                  <a:lnTo>
                    <a:pt x="1904" y="1956"/>
                  </a:lnTo>
                  <a:lnTo>
                    <a:pt x="1904" y="1956"/>
                  </a:lnTo>
                  <a:lnTo>
                    <a:pt x="1904" y="1956"/>
                  </a:lnTo>
                  <a:lnTo>
                    <a:pt x="1908" y="1962"/>
                  </a:lnTo>
                  <a:lnTo>
                    <a:pt x="1908" y="1962"/>
                  </a:lnTo>
                  <a:lnTo>
                    <a:pt x="1908" y="1964"/>
                  </a:lnTo>
                  <a:lnTo>
                    <a:pt x="1912" y="1968"/>
                  </a:lnTo>
                  <a:lnTo>
                    <a:pt x="1916" y="1972"/>
                  </a:lnTo>
                  <a:lnTo>
                    <a:pt x="1916" y="1972"/>
                  </a:lnTo>
                  <a:lnTo>
                    <a:pt x="1916" y="1972"/>
                  </a:lnTo>
                  <a:lnTo>
                    <a:pt x="1922" y="1976"/>
                  </a:lnTo>
                  <a:lnTo>
                    <a:pt x="1922" y="1976"/>
                  </a:lnTo>
                  <a:lnTo>
                    <a:pt x="1922" y="1976"/>
                  </a:lnTo>
                  <a:lnTo>
                    <a:pt x="1926" y="1978"/>
                  </a:lnTo>
                  <a:lnTo>
                    <a:pt x="1926" y="1978"/>
                  </a:lnTo>
                  <a:lnTo>
                    <a:pt x="1926" y="1978"/>
                  </a:lnTo>
                  <a:lnTo>
                    <a:pt x="1930" y="1980"/>
                  </a:lnTo>
                  <a:lnTo>
                    <a:pt x="1930" y="1980"/>
                  </a:lnTo>
                  <a:lnTo>
                    <a:pt x="1932" y="1980"/>
                  </a:lnTo>
                  <a:lnTo>
                    <a:pt x="1936" y="1980"/>
                  </a:lnTo>
                  <a:lnTo>
                    <a:pt x="1936" y="1980"/>
                  </a:lnTo>
                  <a:lnTo>
                    <a:pt x="1936" y="1980"/>
                  </a:lnTo>
                  <a:lnTo>
                    <a:pt x="1940" y="1980"/>
                  </a:lnTo>
                  <a:lnTo>
                    <a:pt x="1940" y="1980"/>
                  </a:lnTo>
                  <a:lnTo>
                    <a:pt x="1940" y="1980"/>
                  </a:lnTo>
                  <a:lnTo>
                    <a:pt x="1944" y="1978"/>
                  </a:lnTo>
                  <a:lnTo>
                    <a:pt x="1944" y="1978"/>
                  </a:lnTo>
                  <a:lnTo>
                    <a:pt x="1944" y="1976"/>
                  </a:lnTo>
                  <a:lnTo>
                    <a:pt x="1948" y="1974"/>
                  </a:lnTo>
                  <a:lnTo>
                    <a:pt x="1948" y="1974"/>
                  </a:lnTo>
                  <a:lnTo>
                    <a:pt x="1948" y="1974"/>
                  </a:lnTo>
                  <a:lnTo>
                    <a:pt x="1950" y="1970"/>
                  </a:lnTo>
                  <a:lnTo>
                    <a:pt x="1950" y="1970"/>
                  </a:lnTo>
                  <a:lnTo>
                    <a:pt x="1950" y="1970"/>
                  </a:lnTo>
                  <a:lnTo>
                    <a:pt x="1952" y="1964"/>
                  </a:lnTo>
                  <a:lnTo>
                    <a:pt x="1952" y="1964"/>
                  </a:lnTo>
                  <a:lnTo>
                    <a:pt x="1952" y="1964"/>
                  </a:lnTo>
                  <a:lnTo>
                    <a:pt x="1952" y="1958"/>
                  </a:lnTo>
                  <a:lnTo>
                    <a:pt x="1952" y="1958"/>
                  </a:lnTo>
                  <a:lnTo>
                    <a:pt x="1952" y="1952"/>
                  </a:lnTo>
                  <a:lnTo>
                    <a:pt x="1950" y="1948"/>
                  </a:lnTo>
                  <a:lnTo>
                    <a:pt x="1952" y="1948"/>
                  </a:lnTo>
                  <a:lnTo>
                    <a:pt x="1958" y="1948"/>
                  </a:lnTo>
                  <a:lnTo>
                    <a:pt x="1964" y="1948"/>
                  </a:lnTo>
                  <a:lnTo>
                    <a:pt x="1966" y="1948"/>
                  </a:lnTo>
                  <a:lnTo>
                    <a:pt x="1968" y="1950"/>
                  </a:lnTo>
                  <a:lnTo>
                    <a:pt x="1968" y="1950"/>
                  </a:lnTo>
                  <a:lnTo>
                    <a:pt x="1970" y="1950"/>
                  </a:lnTo>
                  <a:lnTo>
                    <a:pt x="1970" y="1950"/>
                  </a:lnTo>
                  <a:lnTo>
                    <a:pt x="1972" y="1948"/>
                  </a:lnTo>
                  <a:lnTo>
                    <a:pt x="1972" y="1940"/>
                  </a:lnTo>
                  <a:lnTo>
                    <a:pt x="1972" y="1934"/>
                  </a:lnTo>
                  <a:lnTo>
                    <a:pt x="1972" y="1934"/>
                  </a:lnTo>
                  <a:lnTo>
                    <a:pt x="1972" y="1930"/>
                  </a:lnTo>
                  <a:lnTo>
                    <a:pt x="1972" y="1924"/>
                  </a:lnTo>
                  <a:lnTo>
                    <a:pt x="1970" y="1920"/>
                  </a:lnTo>
                  <a:lnTo>
                    <a:pt x="1968" y="1914"/>
                  </a:lnTo>
                  <a:lnTo>
                    <a:pt x="1964" y="1910"/>
                  </a:lnTo>
                  <a:lnTo>
                    <a:pt x="1962" y="1906"/>
                  </a:lnTo>
                  <a:lnTo>
                    <a:pt x="1956" y="1900"/>
                  </a:lnTo>
                  <a:lnTo>
                    <a:pt x="1948" y="1894"/>
                  </a:lnTo>
                  <a:lnTo>
                    <a:pt x="1942" y="1888"/>
                  </a:lnTo>
                  <a:lnTo>
                    <a:pt x="1940" y="1886"/>
                  </a:lnTo>
                  <a:lnTo>
                    <a:pt x="1936" y="1882"/>
                  </a:lnTo>
                  <a:lnTo>
                    <a:pt x="1936" y="1882"/>
                  </a:lnTo>
                  <a:lnTo>
                    <a:pt x="1934" y="1882"/>
                  </a:lnTo>
                  <a:lnTo>
                    <a:pt x="1934" y="1882"/>
                  </a:lnTo>
                  <a:lnTo>
                    <a:pt x="1932" y="1884"/>
                  </a:lnTo>
                  <a:lnTo>
                    <a:pt x="1932" y="1888"/>
                  </a:lnTo>
                  <a:lnTo>
                    <a:pt x="1930" y="1892"/>
                  </a:lnTo>
                  <a:lnTo>
                    <a:pt x="1930" y="1896"/>
                  </a:lnTo>
                  <a:lnTo>
                    <a:pt x="1930" y="1896"/>
                  </a:lnTo>
                  <a:lnTo>
                    <a:pt x="1930" y="1896"/>
                  </a:lnTo>
                  <a:lnTo>
                    <a:pt x="1928" y="1894"/>
                  </a:lnTo>
                  <a:lnTo>
                    <a:pt x="1926" y="1894"/>
                  </a:lnTo>
                  <a:lnTo>
                    <a:pt x="1926" y="1894"/>
                  </a:lnTo>
                  <a:lnTo>
                    <a:pt x="1926" y="1894"/>
                  </a:lnTo>
                  <a:lnTo>
                    <a:pt x="1924" y="1894"/>
                  </a:lnTo>
                  <a:lnTo>
                    <a:pt x="1924" y="1894"/>
                  </a:lnTo>
                  <a:lnTo>
                    <a:pt x="1922" y="1894"/>
                  </a:lnTo>
                  <a:lnTo>
                    <a:pt x="1920" y="1894"/>
                  </a:lnTo>
                  <a:lnTo>
                    <a:pt x="1920" y="1894"/>
                  </a:lnTo>
                  <a:lnTo>
                    <a:pt x="1920" y="1894"/>
                  </a:lnTo>
                  <a:lnTo>
                    <a:pt x="1918" y="1896"/>
                  </a:lnTo>
                  <a:lnTo>
                    <a:pt x="1918" y="1896"/>
                  </a:lnTo>
                  <a:lnTo>
                    <a:pt x="1918" y="1896"/>
                  </a:lnTo>
                  <a:lnTo>
                    <a:pt x="1916" y="1898"/>
                  </a:lnTo>
                  <a:lnTo>
                    <a:pt x="1916" y="1900"/>
                  </a:lnTo>
                  <a:lnTo>
                    <a:pt x="1914" y="1904"/>
                  </a:lnTo>
                  <a:lnTo>
                    <a:pt x="1914" y="1908"/>
                  </a:lnTo>
                  <a:lnTo>
                    <a:pt x="1912" y="1912"/>
                  </a:lnTo>
                  <a:lnTo>
                    <a:pt x="1912" y="1914"/>
                  </a:lnTo>
                  <a:lnTo>
                    <a:pt x="1910" y="1914"/>
                  </a:lnTo>
                  <a:lnTo>
                    <a:pt x="1910" y="1916"/>
                  </a:lnTo>
                  <a:lnTo>
                    <a:pt x="1908" y="1916"/>
                  </a:lnTo>
                  <a:lnTo>
                    <a:pt x="1908" y="1914"/>
                  </a:lnTo>
                  <a:lnTo>
                    <a:pt x="1908" y="1910"/>
                  </a:lnTo>
                  <a:lnTo>
                    <a:pt x="1908" y="1902"/>
                  </a:lnTo>
                  <a:lnTo>
                    <a:pt x="1906" y="1898"/>
                  </a:lnTo>
                  <a:lnTo>
                    <a:pt x="1906" y="1894"/>
                  </a:lnTo>
                  <a:lnTo>
                    <a:pt x="1906" y="1890"/>
                  </a:lnTo>
                  <a:lnTo>
                    <a:pt x="1906" y="1890"/>
                  </a:lnTo>
                  <a:lnTo>
                    <a:pt x="1908" y="1886"/>
                  </a:lnTo>
                  <a:lnTo>
                    <a:pt x="1910" y="1882"/>
                  </a:lnTo>
                  <a:lnTo>
                    <a:pt x="1910" y="1876"/>
                  </a:lnTo>
                  <a:lnTo>
                    <a:pt x="1914" y="1872"/>
                  </a:lnTo>
                  <a:lnTo>
                    <a:pt x="1916" y="1866"/>
                  </a:lnTo>
                  <a:lnTo>
                    <a:pt x="1916" y="1862"/>
                  </a:lnTo>
                  <a:lnTo>
                    <a:pt x="1916" y="1860"/>
                  </a:lnTo>
                  <a:lnTo>
                    <a:pt x="1916" y="1858"/>
                  </a:lnTo>
                  <a:lnTo>
                    <a:pt x="1916" y="1858"/>
                  </a:lnTo>
                  <a:lnTo>
                    <a:pt x="1916" y="1858"/>
                  </a:lnTo>
                  <a:lnTo>
                    <a:pt x="1916" y="1856"/>
                  </a:lnTo>
                  <a:lnTo>
                    <a:pt x="1916" y="1856"/>
                  </a:lnTo>
                  <a:lnTo>
                    <a:pt x="1916" y="1856"/>
                  </a:lnTo>
                  <a:lnTo>
                    <a:pt x="1916" y="1854"/>
                  </a:lnTo>
                  <a:lnTo>
                    <a:pt x="1916" y="1854"/>
                  </a:lnTo>
                  <a:lnTo>
                    <a:pt x="1914" y="1854"/>
                  </a:lnTo>
                  <a:lnTo>
                    <a:pt x="1914" y="1852"/>
                  </a:lnTo>
                  <a:lnTo>
                    <a:pt x="1914" y="1852"/>
                  </a:lnTo>
                  <a:lnTo>
                    <a:pt x="1912" y="1852"/>
                  </a:lnTo>
                  <a:lnTo>
                    <a:pt x="1910" y="1850"/>
                  </a:lnTo>
                  <a:lnTo>
                    <a:pt x="1910" y="1850"/>
                  </a:lnTo>
                  <a:lnTo>
                    <a:pt x="1910" y="1850"/>
                  </a:lnTo>
                  <a:lnTo>
                    <a:pt x="1910" y="1850"/>
                  </a:lnTo>
                  <a:lnTo>
                    <a:pt x="1908" y="1848"/>
                  </a:lnTo>
                  <a:lnTo>
                    <a:pt x="1906" y="1846"/>
                  </a:lnTo>
                  <a:lnTo>
                    <a:pt x="1904" y="1842"/>
                  </a:lnTo>
                  <a:lnTo>
                    <a:pt x="1904" y="1838"/>
                  </a:lnTo>
                  <a:lnTo>
                    <a:pt x="1902" y="1834"/>
                  </a:lnTo>
                  <a:lnTo>
                    <a:pt x="1902" y="1832"/>
                  </a:lnTo>
                  <a:lnTo>
                    <a:pt x="1902" y="1828"/>
                  </a:lnTo>
                  <a:lnTo>
                    <a:pt x="1902" y="1824"/>
                  </a:lnTo>
                  <a:lnTo>
                    <a:pt x="1904" y="1822"/>
                  </a:lnTo>
                  <a:lnTo>
                    <a:pt x="1904" y="1818"/>
                  </a:lnTo>
                  <a:lnTo>
                    <a:pt x="1904" y="1812"/>
                  </a:lnTo>
                  <a:lnTo>
                    <a:pt x="1906" y="1806"/>
                  </a:lnTo>
                  <a:lnTo>
                    <a:pt x="1910" y="1792"/>
                  </a:lnTo>
                  <a:lnTo>
                    <a:pt x="1910" y="1786"/>
                  </a:lnTo>
                  <a:lnTo>
                    <a:pt x="1910" y="1780"/>
                  </a:lnTo>
                  <a:lnTo>
                    <a:pt x="1910" y="1774"/>
                  </a:lnTo>
                  <a:lnTo>
                    <a:pt x="1910" y="1774"/>
                  </a:lnTo>
                  <a:lnTo>
                    <a:pt x="1910" y="1772"/>
                  </a:lnTo>
                  <a:lnTo>
                    <a:pt x="1910" y="1768"/>
                  </a:lnTo>
                  <a:lnTo>
                    <a:pt x="1910" y="1768"/>
                  </a:lnTo>
                  <a:lnTo>
                    <a:pt x="1908" y="1766"/>
                  </a:lnTo>
                  <a:lnTo>
                    <a:pt x="1902" y="1766"/>
                  </a:lnTo>
                  <a:lnTo>
                    <a:pt x="1898" y="1766"/>
                  </a:lnTo>
                  <a:lnTo>
                    <a:pt x="1898" y="1766"/>
                  </a:lnTo>
                  <a:lnTo>
                    <a:pt x="1898" y="1766"/>
                  </a:lnTo>
                  <a:lnTo>
                    <a:pt x="1894" y="1768"/>
                  </a:lnTo>
                  <a:lnTo>
                    <a:pt x="1894" y="1768"/>
                  </a:lnTo>
                  <a:lnTo>
                    <a:pt x="1894" y="1768"/>
                  </a:lnTo>
                  <a:lnTo>
                    <a:pt x="1890" y="1770"/>
                  </a:lnTo>
                  <a:lnTo>
                    <a:pt x="1886" y="1772"/>
                  </a:lnTo>
                  <a:lnTo>
                    <a:pt x="1884" y="1774"/>
                  </a:lnTo>
                  <a:lnTo>
                    <a:pt x="1878" y="1780"/>
                  </a:lnTo>
                  <a:lnTo>
                    <a:pt x="1872" y="1786"/>
                  </a:lnTo>
                  <a:lnTo>
                    <a:pt x="1868" y="1792"/>
                  </a:lnTo>
                  <a:lnTo>
                    <a:pt x="1864" y="1798"/>
                  </a:lnTo>
                  <a:lnTo>
                    <a:pt x="1860" y="1802"/>
                  </a:lnTo>
                  <a:lnTo>
                    <a:pt x="1858" y="1804"/>
                  </a:lnTo>
                  <a:lnTo>
                    <a:pt x="1856" y="1804"/>
                  </a:lnTo>
                  <a:lnTo>
                    <a:pt x="1854" y="1804"/>
                  </a:lnTo>
                  <a:lnTo>
                    <a:pt x="1850" y="1806"/>
                  </a:lnTo>
                  <a:lnTo>
                    <a:pt x="1848" y="1806"/>
                  </a:lnTo>
                  <a:lnTo>
                    <a:pt x="1844" y="1808"/>
                  </a:lnTo>
                  <a:lnTo>
                    <a:pt x="1844" y="1808"/>
                  </a:lnTo>
                  <a:lnTo>
                    <a:pt x="1842" y="1808"/>
                  </a:lnTo>
                  <a:lnTo>
                    <a:pt x="1842" y="1808"/>
                  </a:lnTo>
                  <a:lnTo>
                    <a:pt x="1842" y="1810"/>
                  </a:lnTo>
                  <a:lnTo>
                    <a:pt x="1842" y="1810"/>
                  </a:lnTo>
                  <a:lnTo>
                    <a:pt x="1842" y="1810"/>
                  </a:lnTo>
                  <a:lnTo>
                    <a:pt x="1842" y="1810"/>
                  </a:lnTo>
                  <a:lnTo>
                    <a:pt x="1842" y="1810"/>
                  </a:lnTo>
                  <a:lnTo>
                    <a:pt x="1840" y="1810"/>
                  </a:lnTo>
                  <a:lnTo>
                    <a:pt x="1838" y="1812"/>
                  </a:lnTo>
                  <a:lnTo>
                    <a:pt x="1836" y="1814"/>
                  </a:lnTo>
                  <a:lnTo>
                    <a:pt x="1836" y="1814"/>
                  </a:lnTo>
                  <a:lnTo>
                    <a:pt x="1834" y="1816"/>
                  </a:lnTo>
                  <a:lnTo>
                    <a:pt x="1834" y="1814"/>
                  </a:lnTo>
                  <a:lnTo>
                    <a:pt x="1830" y="1814"/>
                  </a:lnTo>
                  <a:lnTo>
                    <a:pt x="1828" y="1814"/>
                  </a:lnTo>
                  <a:lnTo>
                    <a:pt x="1828" y="1814"/>
                  </a:lnTo>
                  <a:lnTo>
                    <a:pt x="1828" y="1814"/>
                  </a:lnTo>
                  <a:lnTo>
                    <a:pt x="1826" y="1814"/>
                  </a:lnTo>
                  <a:lnTo>
                    <a:pt x="1826" y="1814"/>
                  </a:lnTo>
                  <a:lnTo>
                    <a:pt x="1826" y="1814"/>
                  </a:lnTo>
                  <a:lnTo>
                    <a:pt x="1824" y="1814"/>
                  </a:lnTo>
                  <a:lnTo>
                    <a:pt x="1824" y="1814"/>
                  </a:lnTo>
                  <a:lnTo>
                    <a:pt x="1822" y="1814"/>
                  </a:lnTo>
                  <a:lnTo>
                    <a:pt x="1820" y="1816"/>
                  </a:lnTo>
                  <a:lnTo>
                    <a:pt x="1820" y="1816"/>
                  </a:lnTo>
                  <a:lnTo>
                    <a:pt x="1820" y="1816"/>
                  </a:lnTo>
                  <a:lnTo>
                    <a:pt x="1820" y="1818"/>
                  </a:lnTo>
                  <a:lnTo>
                    <a:pt x="1818" y="1820"/>
                  </a:lnTo>
                  <a:lnTo>
                    <a:pt x="1818" y="1820"/>
                  </a:lnTo>
                  <a:lnTo>
                    <a:pt x="1818" y="1820"/>
                  </a:lnTo>
                  <a:lnTo>
                    <a:pt x="1818" y="1822"/>
                  </a:lnTo>
                  <a:lnTo>
                    <a:pt x="1818" y="1826"/>
                  </a:lnTo>
                  <a:lnTo>
                    <a:pt x="1818" y="1828"/>
                  </a:lnTo>
                  <a:lnTo>
                    <a:pt x="1818" y="1832"/>
                  </a:lnTo>
                  <a:lnTo>
                    <a:pt x="1818" y="1832"/>
                  </a:lnTo>
                  <a:lnTo>
                    <a:pt x="1816" y="1832"/>
                  </a:lnTo>
                  <a:lnTo>
                    <a:pt x="1816" y="1832"/>
                  </a:lnTo>
                  <a:lnTo>
                    <a:pt x="1816" y="1832"/>
                  </a:lnTo>
                  <a:lnTo>
                    <a:pt x="1814" y="1834"/>
                  </a:lnTo>
                  <a:lnTo>
                    <a:pt x="1814" y="1834"/>
                  </a:lnTo>
                  <a:lnTo>
                    <a:pt x="1812" y="1834"/>
                  </a:lnTo>
                  <a:lnTo>
                    <a:pt x="1810" y="1836"/>
                  </a:lnTo>
                  <a:lnTo>
                    <a:pt x="1810" y="1836"/>
                  </a:lnTo>
                  <a:lnTo>
                    <a:pt x="1810" y="1836"/>
                  </a:lnTo>
                  <a:lnTo>
                    <a:pt x="1808" y="1838"/>
                  </a:lnTo>
                  <a:lnTo>
                    <a:pt x="1808" y="1838"/>
                  </a:lnTo>
                  <a:lnTo>
                    <a:pt x="1808" y="1840"/>
                  </a:lnTo>
                  <a:lnTo>
                    <a:pt x="1808" y="1842"/>
                  </a:lnTo>
                  <a:lnTo>
                    <a:pt x="1808" y="1842"/>
                  </a:lnTo>
                  <a:lnTo>
                    <a:pt x="1808" y="1842"/>
                  </a:lnTo>
                  <a:lnTo>
                    <a:pt x="1808" y="1844"/>
                  </a:lnTo>
                  <a:lnTo>
                    <a:pt x="1808" y="1850"/>
                  </a:lnTo>
                  <a:lnTo>
                    <a:pt x="1808" y="1850"/>
                  </a:lnTo>
                  <a:lnTo>
                    <a:pt x="1808" y="1850"/>
                  </a:lnTo>
                  <a:lnTo>
                    <a:pt x="1808" y="1852"/>
                  </a:lnTo>
                  <a:lnTo>
                    <a:pt x="1808" y="1854"/>
                  </a:lnTo>
                  <a:lnTo>
                    <a:pt x="1808" y="1854"/>
                  </a:lnTo>
                  <a:lnTo>
                    <a:pt x="1808" y="1854"/>
                  </a:lnTo>
                  <a:lnTo>
                    <a:pt x="1808" y="1856"/>
                  </a:lnTo>
                  <a:lnTo>
                    <a:pt x="1810" y="1856"/>
                  </a:lnTo>
                  <a:lnTo>
                    <a:pt x="1812" y="1860"/>
                  </a:lnTo>
                  <a:lnTo>
                    <a:pt x="1812" y="1860"/>
                  </a:lnTo>
                  <a:lnTo>
                    <a:pt x="1814" y="1860"/>
                  </a:lnTo>
                  <a:lnTo>
                    <a:pt x="1814" y="1862"/>
                  </a:lnTo>
                  <a:lnTo>
                    <a:pt x="1814" y="1862"/>
                  </a:lnTo>
                  <a:lnTo>
                    <a:pt x="1812" y="1864"/>
                  </a:lnTo>
                  <a:lnTo>
                    <a:pt x="1812" y="1864"/>
                  </a:lnTo>
                  <a:lnTo>
                    <a:pt x="1812" y="1864"/>
                  </a:lnTo>
                  <a:lnTo>
                    <a:pt x="1812" y="1864"/>
                  </a:lnTo>
                  <a:lnTo>
                    <a:pt x="1810" y="1866"/>
                  </a:lnTo>
                  <a:lnTo>
                    <a:pt x="1810" y="1866"/>
                  </a:lnTo>
                  <a:lnTo>
                    <a:pt x="1810" y="1866"/>
                  </a:lnTo>
                  <a:lnTo>
                    <a:pt x="1808" y="1866"/>
                  </a:lnTo>
                  <a:lnTo>
                    <a:pt x="1808" y="1866"/>
                  </a:lnTo>
                  <a:lnTo>
                    <a:pt x="1808" y="1868"/>
                  </a:lnTo>
                  <a:lnTo>
                    <a:pt x="1808" y="1868"/>
                  </a:lnTo>
                  <a:lnTo>
                    <a:pt x="1808" y="1868"/>
                  </a:lnTo>
                  <a:lnTo>
                    <a:pt x="1808" y="1868"/>
                  </a:lnTo>
                  <a:lnTo>
                    <a:pt x="1806" y="1874"/>
                  </a:lnTo>
                  <a:lnTo>
                    <a:pt x="1804" y="1880"/>
                  </a:lnTo>
                  <a:lnTo>
                    <a:pt x="1802" y="1886"/>
                  </a:lnTo>
                  <a:lnTo>
                    <a:pt x="1800" y="1892"/>
                  </a:lnTo>
                  <a:lnTo>
                    <a:pt x="1800" y="1900"/>
                  </a:lnTo>
                  <a:lnTo>
                    <a:pt x="1800" y="1902"/>
                  </a:lnTo>
                  <a:lnTo>
                    <a:pt x="1800" y="1902"/>
                  </a:lnTo>
                  <a:lnTo>
                    <a:pt x="1800" y="1902"/>
                  </a:lnTo>
                  <a:lnTo>
                    <a:pt x="1800" y="1906"/>
                  </a:lnTo>
                  <a:lnTo>
                    <a:pt x="1800" y="1906"/>
                  </a:lnTo>
                  <a:lnTo>
                    <a:pt x="1800" y="1906"/>
                  </a:lnTo>
                  <a:lnTo>
                    <a:pt x="1802" y="1908"/>
                  </a:lnTo>
                  <a:lnTo>
                    <a:pt x="1802" y="1908"/>
                  </a:lnTo>
                  <a:lnTo>
                    <a:pt x="1802" y="1908"/>
                  </a:lnTo>
                  <a:lnTo>
                    <a:pt x="1804" y="1910"/>
                  </a:lnTo>
                  <a:lnTo>
                    <a:pt x="1804" y="1910"/>
                  </a:lnTo>
                  <a:lnTo>
                    <a:pt x="1804" y="1912"/>
                  </a:lnTo>
                  <a:lnTo>
                    <a:pt x="1806" y="1914"/>
                  </a:lnTo>
                  <a:lnTo>
                    <a:pt x="1806" y="1914"/>
                  </a:lnTo>
                  <a:lnTo>
                    <a:pt x="1806" y="1914"/>
                  </a:lnTo>
                  <a:lnTo>
                    <a:pt x="1808" y="1914"/>
                  </a:lnTo>
                  <a:lnTo>
                    <a:pt x="1808" y="1916"/>
                  </a:lnTo>
                  <a:lnTo>
                    <a:pt x="1808" y="1922"/>
                  </a:lnTo>
                  <a:lnTo>
                    <a:pt x="1808" y="1926"/>
                  </a:lnTo>
                  <a:lnTo>
                    <a:pt x="1808" y="1932"/>
                  </a:lnTo>
                  <a:lnTo>
                    <a:pt x="1810" y="1938"/>
                  </a:lnTo>
                  <a:lnTo>
                    <a:pt x="1810" y="1944"/>
                  </a:lnTo>
                  <a:lnTo>
                    <a:pt x="1812" y="1948"/>
                  </a:lnTo>
                  <a:lnTo>
                    <a:pt x="1812" y="1950"/>
                  </a:lnTo>
                  <a:lnTo>
                    <a:pt x="1814" y="1952"/>
                  </a:lnTo>
                  <a:lnTo>
                    <a:pt x="1810" y="1956"/>
                  </a:lnTo>
                  <a:lnTo>
                    <a:pt x="1810" y="1962"/>
                  </a:lnTo>
                  <a:lnTo>
                    <a:pt x="1810" y="1964"/>
                  </a:lnTo>
                  <a:lnTo>
                    <a:pt x="1808" y="1968"/>
                  </a:lnTo>
                  <a:lnTo>
                    <a:pt x="1808" y="1968"/>
                  </a:lnTo>
                  <a:lnTo>
                    <a:pt x="1808" y="1970"/>
                  </a:lnTo>
                  <a:lnTo>
                    <a:pt x="1808" y="1972"/>
                  </a:lnTo>
                  <a:lnTo>
                    <a:pt x="1808" y="1972"/>
                  </a:lnTo>
                  <a:lnTo>
                    <a:pt x="1810" y="1976"/>
                  </a:lnTo>
                  <a:lnTo>
                    <a:pt x="1810" y="1976"/>
                  </a:lnTo>
                  <a:lnTo>
                    <a:pt x="1810" y="1976"/>
                  </a:lnTo>
                  <a:lnTo>
                    <a:pt x="1810" y="1978"/>
                  </a:lnTo>
                  <a:lnTo>
                    <a:pt x="1812" y="1982"/>
                  </a:lnTo>
                  <a:lnTo>
                    <a:pt x="1814" y="1986"/>
                  </a:lnTo>
                  <a:lnTo>
                    <a:pt x="1816" y="1990"/>
                  </a:lnTo>
                  <a:lnTo>
                    <a:pt x="1822" y="1998"/>
                  </a:lnTo>
                  <a:lnTo>
                    <a:pt x="1826" y="2002"/>
                  </a:lnTo>
                  <a:lnTo>
                    <a:pt x="1824" y="2004"/>
                  </a:lnTo>
                  <a:lnTo>
                    <a:pt x="1822" y="2006"/>
                  </a:lnTo>
                  <a:lnTo>
                    <a:pt x="1820" y="2008"/>
                  </a:lnTo>
                  <a:lnTo>
                    <a:pt x="1820" y="2008"/>
                  </a:lnTo>
                  <a:lnTo>
                    <a:pt x="1820" y="2010"/>
                  </a:lnTo>
                  <a:lnTo>
                    <a:pt x="1820" y="2012"/>
                  </a:lnTo>
                  <a:lnTo>
                    <a:pt x="1824" y="2014"/>
                  </a:lnTo>
                  <a:lnTo>
                    <a:pt x="1826" y="2018"/>
                  </a:lnTo>
                  <a:lnTo>
                    <a:pt x="1828" y="2022"/>
                  </a:lnTo>
                  <a:lnTo>
                    <a:pt x="1830" y="2026"/>
                  </a:lnTo>
                  <a:lnTo>
                    <a:pt x="1830" y="2028"/>
                  </a:lnTo>
                  <a:lnTo>
                    <a:pt x="1828" y="2028"/>
                  </a:lnTo>
                  <a:lnTo>
                    <a:pt x="1828" y="2028"/>
                  </a:lnTo>
                  <a:lnTo>
                    <a:pt x="1828" y="2030"/>
                  </a:lnTo>
                  <a:lnTo>
                    <a:pt x="1826" y="2030"/>
                  </a:lnTo>
                  <a:lnTo>
                    <a:pt x="1826" y="2030"/>
                  </a:lnTo>
                  <a:lnTo>
                    <a:pt x="1824" y="2032"/>
                  </a:lnTo>
                  <a:lnTo>
                    <a:pt x="1822" y="2032"/>
                  </a:lnTo>
                  <a:lnTo>
                    <a:pt x="1824" y="2032"/>
                  </a:lnTo>
                  <a:lnTo>
                    <a:pt x="1820" y="2032"/>
                  </a:lnTo>
                  <a:lnTo>
                    <a:pt x="1820" y="2032"/>
                  </a:lnTo>
                  <a:lnTo>
                    <a:pt x="1818" y="2034"/>
                  </a:lnTo>
                  <a:lnTo>
                    <a:pt x="1818" y="2034"/>
                  </a:lnTo>
                  <a:lnTo>
                    <a:pt x="1818" y="2036"/>
                  </a:lnTo>
                  <a:lnTo>
                    <a:pt x="1818" y="2038"/>
                  </a:lnTo>
                  <a:lnTo>
                    <a:pt x="1820" y="2042"/>
                  </a:lnTo>
                  <a:lnTo>
                    <a:pt x="1820" y="2046"/>
                  </a:lnTo>
                  <a:lnTo>
                    <a:pt x="1820" y="2048"/>
                  </a:lnTo>
                  <a:lnTo>
                    <a:pt x="1818" y="2050"/>
                  </a:lnTo>
                  <a:lnTo>
                    <a:pt x="1818" y="2052"/>
                  </a:lnTo>
                  <a:lnTo>
                    <a:pt x="1816" y="2052"/>
                  </a:lnTo>
                  <a:lnTo>
                    <a:pt x="1814" y="2052"/>
                  </a:lnTo>
                  <a:lnTo>
                    <a:pt x="1814" y="2052"/>
                  </a:lnTo>
                  <a:lnTo>
                    <a:pt x="1814" y="2046"/>
                  </a:lnTo>
                  <a:lnTo>
                    <a:pt x="1814" y="2042"/>
                  </a:lnTo>
                  <a:lnTo>
                    <a:pt x="1812" y="2036"/>
                  </a:lnTo>
                  <a:lnTo>
                    <a:pt x="1812" y="2036"/>
                  </a:lnTo>
                  <a:lnTo>
                    <a:pt x="1812" y="2034"/>
                  </a:lnTo>
                  <a:lnTo>
                    <a:pt x="1812" y="2034"/>
                  </a:lnTo>
                  <a:lnTo>
                    <a:pt x="1810" y="2034"/>
                  </a:lnTo>
                  <a:lnTo>
                    <a:pt x="1806" y="2034"/>
                  </a:lnTo>
                  <a:lnTo>
                    <a:pt x="1802" y="2034"/>
                  </a:lnTo>
                  <a:lnTo>
                    <a:pt x="1792" y="2034"/>
                  </a:lnTo>
                  <a:lnTo>
                    <a:pt x="1788" y="2034"/>
                  </a:lnTo>
                  <a:lnTo>
                    <a:pt x="1782" y="2034"/>
                  </a:lnTo>
                  <a:lnTo>
                    <a:pt x="1778" y="2036"/>
                  </a:lnTo>
                  <a:lnTo>
                    <a:pt x="1778" y="2036"/>
                  </a:lnTo>
                  <a:lnTo>
                    <a:pt x="1774" y="2036"/>
                  </a:lnTo>
                  <a:lnTo>
                    <a:pt x="1770" y="2038"/>
                  </a:lnTo>
                  <a:lnTo>
                    <a:pt x="1768" y="2038"/>
                  </a:lnTo>
                  <a:lnTo>
                    <a:pt x="1762" y="2042"/>
                  </a:lnTo>
                  <a:lnTo>
                    <a:pt x="1762" y="2042"/>
                  </a:lnTo>
                  <a:lnTo>
                    <a:pt x="1762" y="2042"/>
                  </a:lnTo>
                  <a:lnTo>
                    <a:pt x="1758" y="2046"/>
                  </a:lnTo>
                  <a:lnTo>
                    <a:pt x="1752" y="2050"/>
                  </a:lnTo>
                  <a:lnTo>
                    <a:pt x="1752" y="2050"/>
                  </a:lnTo>
                  <a:lnTo>
                    <a:pt x="1752" y="2050"/>
                  </a:lnTo>
                  <a:lnTo>
                    <a:pt x="1752" y="2050"/>
                  </a:lnTo>
                  <a:lnTo>
                    <a:pt x="1752" y="2050"/>
                  </a:lnTo>
                  <a:lnTo>
                    <a:pt x="1750" y="2052"/>
                  </a:lnTo>
                  <a:lnTo>
                    <a:pt x="1746" y="2054"/>
                  </a:lnTo>
                  <a:lnTo>
                    <a:pt x="1742" y="2056"/>
                  </a:lnTo>
                  <a:lnTo>
                    <a:pt x="1740" y="2056"/>
                  </a:lnTo>
                  <a:lnTo>
                    <a:pt x="1742" y="2056"/>
                  </a:lnTo>
                  <a:lnTo>
                    <a:pt x="1740" y="2056"/>
                  </a:lnTo>
                  <a:lnTo>
                    <a:pt x="1734" y="2056"/>
                  </a:lnTo>
                  <a:lnTo>
                    <a:pt x="1730" y="2056"/>
                  </a:lnTo>
                  <a:lnTo>
                    <a:pt x="1720" y="2056"/>
                  </a:lnTo>
                  <a:lnTo>
                    <a:pt x="1710" y="2056"/>
                  </a:lnTo>
                  <a:lnTo>
                    <a:pt x="1706" y="2056"/>
                  </a:lnTo>
                  <a:lnTo>
                    <a:pt x="1700" y="2056"/>
                  </a:lnTo>
                  <a:lnTo>
                    <a:pt x="1696" y="2056"/>
                  </a:lnTo>
                  <a:lnTo>
                    <a:pt x="1692" y="2058"/>
                  </a:lnTo>
                  <a:lnTo>
                    <a:pt x="1684" y="2060"/>
                  </a:lnTo>
                  <a:lnTo>
                    <a:pt x="1676" y="2064"/>
                  </a:lnTo>
                  <a:lnTo>
                    <a:pt x="1668" y="2066"/>
                  </a:lnTo>
                  <a:lnTo>
                    <a:pt x="1668" y="2066"/>
                  </a:lnTo>
                  <a:lnTo>
                    <a:pt x="1666" y="2070"/>
                  </a:lnTo>
                  <a:lnTo>
                    <a:pt x="1666" y="2072"/>
                  </a:lnTo>
                  <a:lnTo>
                    <a:pt x="1666" y="2074"/>
                  </a:lnTo>
                  <a:lnTo>
                    <a:pt x="1664" y="2076"/>
                  </a:lnTo>
                  <a:lnTo>
                    <a:pt x="1664" y="2080"/>
                  </a:lnTo>
                  <a:lnTo>
                    <a:pt x="1660" y="2086"/>
                  </a:lnTo>
                  <a:lnTo>
                    <a:pt x="1656" y="2094"/>
                  </a:lnTo>
                  <a:lnTo>
                    <a:pt x="1654" y="2098"/>
                  </a:lnTo>
                  <a:lnTo>
                    <a:pt x="1652" y="2102"/>
                  </a:lnTo>
                  <a:lnTo>
                    <a:pt x="1652" y="2106"/>
                  </a:lnTo>
                  <a:lnTo>
                    <a:pt x="1652" y="2110"/>
                  </a:lnTo>
                  <a:lnTo>
                    <a:pt x="1652" y="2110"/>
                  </a:lnTo>
                  <a:lnTo>
                    <a:pt x="1650" y="2114"/>
                  </a:lnTo>
                  <a:lnTo>
                    <a:pt x="1650" y="2114"/>
                  </a:lnTo>
                  <a:lnTo>
                    <a:pt x="1652" y="2114"/>
                  </a:lnTo>
                  <a:lnTo>
                    <a:pt x="1652" y="2118"/>
                  </a:lnTo>
                  <a:lnTo>
                    <a:pt x="1652" y="2118"/>
                  </a:lnTo>
                  <a:lnTo>
                    <a:pt x="1652" y="2118"/>
                  </a:lnTo>
                  <a:lnTo>
                    <a:pt x="1654" y="2120"/>
                  </a:lnTo>
                  <a:lnTo>
                    <a:pt x="1654" y="2120"/>
                  </a:lnTo>
                  <a:lnTo>
                    <a:pt x="1654" y="2122"/>
                  </a:lnTo>
                  <a:lnTo>
                    <a:pt x="1654" y="2122"/>
                  </a:lnTo>
                  <a:lnTo>
                    <a:pt x="1650" y="2124"/>
                  </a:lnTo>
                  <a:lnTo>
                    <a:pt x="1646" y="2128"/>
                  </a:lnTo>
                  <a:lnTo>
                    <a:pt x="1642" y="2134"/>
                  </a:lnTo>
                  <a:lnTo>
                    <a:pt x="1638" y="2138"/>
                  </a:lnTo>
                  <a:lnTo>
                    <a:pt x="1634" y="2142"/>
                  </a:lnTo>
                  <a:lnTo>
                    <a:pt x="1630" y="2146"/>
                  </a:lnTo>
                  <a:lnTo>
                    <a:pt x="1624" y="2150"/>
                  </a:lnTo>
                  <a:lnTo>
                    <a:pt x="1622" y="2152"/>
                  </a:lnTo>
                  <a:lnTo>
                    <a:pt x="1618" y="2154"/>
                  </a:lnTo>
                  <a:lnTo>
                    <a:pt x="1618" y="2154"/>
                  </a:lnTo>
                  <a:lnTo>
                    <a:pt x="1616" y="2156"/>
                  </a:lnTo>
                  <a:lnTo>
                    <a:pt x="1616" y="2156"/>
                  </a:lnTo>
                  <a:lnTo>
                    <a:pt x="1618" y="2160"/>
                  </a:lnTo>
                  <a:lnTo>
                    <a:pt x="1622" y="2160"/>
                  </a:lnTo>
                  <a:lnTo>
                    <a:pt x="1620" y="2160"/>
                  </a:lnTo>
                  <a:lnTo>
                    <a:pt x="1622" y="2162"/>
                  </a:lnTo>
                  <a:lnTo>
                    <a:pt x="1624" y="2164"/>
                  </a:lnTo>
                  <a:lnTo>
                    <a:pt x="1622" y="2164"/>
                  </a:lnTo>
                  <a:lnTo>
                    <a:pt x="1618" y="2164"/>
                  </a:lnTo>
                  <a:lnTo>
                    <a:pt x="1616" y="2164"/>
                  </a:lnTo>
                  <a:lnTo>
                    <a:pt x="1616" y="2164"/>
                  </a:lnTo>
                  <a:lnTo>
                    <a:pt x="1614" y="2166"/>
                  </a:lnTo>
                  <a:lnTo>
                    <a:pt x="1612" y="2168"/>
                  </a:lnTo>
                  <a:lnTo>
                    <a:pt x="1612" y="2176"/>
                  </a:lnTo>
                  <a:lnTo>
                    <a:pt x="1612" y="2176"/>
                  </a:lnTo>
                  <a:lnTo>
                    <a:pt x="1614" y="2178"/>
                  </a:lnTo>
                  <a:lnTo>
                    <a:pt x="1614" y="2178"/>
                  </a:lnTo>
                  <a:lnTo>
                    <a:pt x="1612" y="2180"/>
                  </a:lnTo>
                  <a:lnTo>
                    <a:pt x="1612" y="2182"/>
                  </a:lnTo>
                  <a:lnTo>
                    <a:pt x="1610" y="2182"/>
                  </a:lnTo>
                  <a:lnTo>
                    <a:pt x="1610" y="2182"/>
                  </a:lnTo>
                  <a:lnTo>
                    <a:pt x="1608" y="2184"/>
                  </a:lnTo>
                  <a:lnTo>
                    <a:pt x="1606" y="2184"/>
                  </a:lnTo>
                  <a:lnTo>
                    <a:pt x="1604" y="2184"/>
                  </a:lnTo>
                  <a:lnTo>
                    <a:pt x="1598" y="2182"/>
                  </a:lnTo>
                  <a:lnTo>
                    <a:pt x="1592" y="2182"/>
                  </a:lnTo>
                  <a:lnTo>
                    <a:pt x="1586" y="2180"/>
                  </a:lnTo>
                  <a:lnTo>
                    <a:pt x="1580" y="2178"/>
                  </a:lnTo>
                  <a:lnTo>
                    <a:pt x="1580" y="2178"/>
                  </a:lnTo>
                  <a:lnTo>
                    <a:pt x="1578" y="2180"/>
                  </a:lnTo>
                  <a:lnTo>
                    <a:pt x="1578" y="2180"/>
                  </a:lnTo>
                  <a:lnTo>
                    <a:pt x="1576" y="2186"/>
                  </a:lnTo>
                  <a:lnTo>
                    <a:pt x="1574" y="2190"/>
                  </a:lnTo>
                  <a:lnTo>
                    <a:pt x="1572" y="2194"/>
                  </a:lnTo>
                  <a:lnTo>
                    <a:pt x="1570" y="2198"/>
                  </a:lnTo>
                  <a:lnTo>
                    <a:pt x="1568" y="2200"/>
                  </a:lnTo>
                  <a:lnTo>
                    <a:pt x="1564" y="2204"/>
                  </a:lnTo>
                  <a:lnTo>
                    <a:pt x="1560" y="2206"/>
                  </a:lnTo>
                  <a:lnTo>
                    <a:pt x="1556" y="2208"/>
                  </a:lnTo>
                  <a:lnTo>
                    <a:pt x="1556" y="2208"/>
                  </a:lnTo>
                  <a:lnTo>
                    <a:pt x="1556" y="2210"/>
                  </a:lnTo>
                  <a:lnTo>
                    <a:pt x="1548" y="2214"/>
                  </a:lnTo>
                  <a:lnTo>
                    <a:pt x="1544" y="2214"/>
                  </a:lnTo>
                  <a:lnTo>
                    <a:pt x="1540" y="2216"/>
                  </a:lnTo>
                  <a:lnTo>
                    <a:pt x="1536" y="2218"/>
                  </a:lnTo>
                  <a:lnTo>
                    <a:pt x="1532" y="2218"/>
                  </a:lnTo>
                  <a:lnTo>
                    <a:pt x="1528" y="2218"/>
                  </a:lnTo>
                  <a:lnTo>
                    <a:pt x="1526" y="2218"/>
                  </a:lnTo>
                  <a:lnTo>
                    <a:pt x="1526" y="2218"/>
                  </a:lnTo>
                  <a:lnTo>
                    <a:pt x="1524" y="2218"/>
                  </a:lnTo>
                  <a:lnTo>
                    <a:pt x="1522" y="2218"/>
                  </a:lnTo>
                  <a:lnTo>
                    <a:pt x="1520" y="2224"/>
                  </a:lnTo>
                  <a:lnTo>
                    <a:pt x="1518" y="2228"/>
                  </a:lnTo>
                  <a:lnTo>
                    <a:pt x="1512" y="2238"/>
                  </a:lnTo>
                  <a:lnTo>
                    <a:pt x="1510" y="2244"/>
                  </a:lnTo>
                  <a:lnTo>
                    <a:pt x="1508" y="2250"/>
                  </a:lnTo>
                  <a:lnTo>
                    <a:pt x="1508" y="2254"/>
                  </a:lnTo>
                  <a:lnTo>
                    <a:pt x="1508" y="2254"/>
                  </a:lnTo>
                  <a:lnTo>
                    <a:pt x="1508" y="2254"/>
                  </a:lnTo>
                  <a:lnTo>
                    <a:pt x="1508" y="2258"/>
                  </a:lnTo>
                  <a:lnTo>
                    <a:pt x="1508" y="2258"/>
                  </a:lnTo>
                  <a:lnTo>
                    <a:pt x="1508" y="2260"/>
                  </a:lnTo>
                  <a:lnTo>
                    <a:pt x="1508" y="2262"/>
                  </a:lnTo>
                  <a:lnTo>
                    <a:pt x="1508" y="2262"/>
                  </a:lnTo>
                  <a:lnTo>
                    <a:pt x="1508" y="2262"/>
                  </a:lnTo>
                  <a:lnTo>
                    <a:pt x="1510" y="2264"/>
                  </a:lnTo>
                  <a:lnTo>
                    <a:pt x="1510" y="2264"/>
                  </a:lnTo>
                  <a:lnTo>
                    <a:pt x="1510" y="2264"/>
                  </a:lnTo>
                  <a:lnTo>
                    <a:pt x="1514" y="2266"/>
                  </a:lnTo>
                  <a:lnTo>
                    <a:pt x="1516" y="2266"/>
                  </a:lnTo>
                  <a:lnTo>
                    <a:pt x="1518" y="2268"/>
                  </a:lnTo>
                  <a:lnTo>
                    <a:pt x="1520" y="2268"/>
                  </a:lnTo>
                  <a:lnTo>
                    <a:pt x="1520" y="2270"/>
                  </a:lnTo>
                  <a:lnTo>
                    <a:pt x="1520" y="2272"/>
                  </a:lnTo>
                  <a:lnTo>
                    <a:pt x="1520" y="2272"/>
                  </a:lnTo>
                  <a:lnTo>
                    <a:pt x="1520" y="2274"/>
                  </a:lnTo>
                  <a:lnTo>
                    <a:pt x="1518" y="2274"/>
                  </a:lnTo>
                  <a:lnTo>
                    <a:pt x="1518" y="2276"/>
                  </a:lnTo>
                  <a:lnTo>
                    <a:pt x="1516" y="2276"/>
                  </a:lnTo>
                  <a:lnTo>
                    <a:pt x="1516" y="2276"/>
                  </a:lnTo>
                  <a:lnTo>
                    <a:pt x="1514" y="2276"/>
                  </a:lnTo>
                  <a:lnTo>
                    <a:pt x="1510" y="2276"/>
                  </a:lnTo>
                  <a:lnTo>
                    <a:pt x="1508" y="2276"/>
                  </a:lnTo>
                  <a:lnTo>
                    <a:pt x="1508" y="2276"/>
                  </a:lnTo>
                  <a:lnTo>
                    <a:pt x="1508" y="2276"/>
                  </a:lnTo>
                  <a:lnTo>
                    <a:pt x="1504" y="2276"/>
                  </a:lnTo>
                  <a:lnTo>
                    <a:pt x="1504" y="2278"/>
                  </a:lnTo>
                  <a:lnTo>
                    <a:pt x="1502" y="2278"/>
                  </a:lnTo>
                  <a:lnTo>
                    <a:pt x="1498" y="2278"/>
                  </a:lnTo>
                  <a:lnTo>
                    <a:pt x="1494" y="2280"/>
                  </a:lnTo>
                  <a:lnTo>
                    <a:pt x="1488" y="2280"/>
                  </a:lnTo>
                  <a:lnTo>
                    <a:pt x="1482" y="2282"/>
                  </a:lnTo>
                  <a:lnTo>
                    <a:pt x="1476" y="2284"/>
                  </a:lnTo>
                  <a:lnTo>
                    <a:pt x="1470" y="2286"/>
                  </a:lnTo>
                  <a:lnTo>
                    <a:pt x="1464" y="2286"/>
                  </a:lnTo>
                  <a:lnTo>
                    <a:pt x="1458" y="2288"/>
                  </a:lnTo>
                  <a:lnTo>
                    <a:pt x="1454" y="2290"/>
                  </a:lnTo>
                  <a:lnTo>
                    <a:pt x="1450" y="2292"/>
                  </a:lnTo>
                  <a:lnTo>
                    <a:pt x="1450" y="2292"/>
                  </a:lnTo>
                  <a:lnTo>
                    <a:pt x="1450" y="2294"/>
                  </a:lnTo>
                  <a:lnTo>
                    <a:pt x="1450" y="2294"/>
                  </a:lnTo>
                  <a:lnTo>
                    <a:pt x="1450" y="2294"/>
                  </a:lnTo>
                  <a:lnTo>
                    <a:pt x="1448" y="2294"/>
                  </a:lnTo>
                  <a:lnTo>
                    <a:pt x="1448" y="2296"/>
                  </a:lnTo>
                  <a:lnTo>
                    <a:pt x="1448" y="2296"/>
                  </a:lnTo>
                  <a:lnTo>
                    <a:pt x="1448" y="2296"/>
                  </a:lnTo>
                  <a:lnTo>
                    <a:pt x="1448" y="2298"/>
                  </a:lnTo>
                  <a:lnTo>
                    <a:pt x="1448" y="2298"/>
                  </a:lnTo>
                  <a:lnTo>
                    <a:pt x="1448" y="2298"/>
                  </a:lnTo>
                  <a:lnTo>
                    <a:pt x="1448" y="2300"/>
                  </a:lnTo>
                  <a:lnTo>
                    <a:pt x="1448" y="2300"/>
                  </a:lnTo>
                  <a:lnTo>
                    <a:pt x="1448" y="2300"/>
                  </a:lnTo>
                  <a:lnTo>
                    <a:pt x="1448" y="2302"/>
                  </a:lnTo>
                  <a:lnTo>
                    <a:pt x="1448" y="2302"/>
                  </a:lnTo>
                  <a:lnTo>
                    <a:pt x="1448" y="2302"/>
                  </a:lnTo>
                  <a:lnTo>
                    <a:pt x="1450" y="2304"/>
                  </a:lnTo>
                  <a:lnTo>
                    <a:pt x="1450" y="2304"/>
                  </a:lnTo>
                  <a:lnTo>
                    <a:pt x="1450" y="2304"/>
                  </a:lnTo>
                  <a:lnTo>
                    <a:pt x="1452" y="2306"/>
                  </a:lnTo>
                  <a:lnTo>
                    <a:pt x="1452" y="2306"/>
                  </a:lnTo>
                  <a:lnTo>
                    <a:pt x="1450" y="2306"/>
                  </a:lnTo>
                  <a:lnTo>
                    <a:pt x="1440" y="2308"/>
                  </a:lnTo>
                  <a:lnTo>
                    <a:pt x="1432" y="2308"/>
                  </a:lnTo>
                  <a:lnTo>
                    <a:pt x="1426" y="2308"/>
                  </a:lnTo>
                  <a:lnTo>
                    <a:pt x="1422" y="2308"/>
                  </a:lnTo>
                  <a:lnTo>
                    <a:pt x="1422" y="2308"/>
                  </a:lnTo>
                  <a:lnTo>
                    <a:pt x="1422" y="2306"/>
                  </a:lnTo>
                  <a:lnTo>
                    <a:pt x="1422" y="2306"/>
                  </a:lnTo>
                  <a:lnTo>
                    <a:pt x="1422" y="2306"/>
                  </a:lnTo>
                  <a:lnTo>
                    <a:pt x="1422" y="2304"/>
                  </a:lnTo>
                  <a:lnTo>
                    <a:pt x="1422" y="2304"/>
                  </a:lnTo>
                  <a:lnTo>
                    <a:pt x="1422" y="2304"/>
                  </a:lnTo>
                  <a:lnTo>
                    <a:pt x="1420" y="2304"/>
                  </a:lnTo>
                  <a:lnTo>
                    <a:pt x="1420" y="2304"/>
                  </a:lnTo>
                  <a:lnTo>
                    <a:pt x="1418" y="2302"/>
                  </a:lnTo>
                  <a:lnTo>
                    <a:pt x="1416" y="2302"/>
                  </a:lnTo>
                  <a:lnTo>
                    <a:pt x="1414" y="2302"/>
                  </a:lnTo>
                  <a:lnTo>
                    <a:pt x="1412" y="2302"/>
                  </a:lnTo>
                  <a:lnTo>
                    <a:pt x="1410" y="2302"/>
                  </a:lnTo>
                  <a:lnTo>
                    <a:pt x="1404" y="2300"/>
                  </a:lnTo>
                  <a:lnTo>
                    <a:pt x="1398" y="2296"/>
                  </a:lnTo>
                  <a:lnTo>
                    <a:pt x="1392" y="2294"/>
                  </a:lnTo>
                  <a:lnTo>
                    <a:pt x="1390" y="2292"/>
                  </a:lnTo>
                  <a:lnTo>
                    <a:pt x="1388" y="2290"/>
                  </a:lnTo>
                  <a:lnTo>
                    <a:pt x="1386" y="2288"/>
                  </a:lnTo>
                  <a:lnTo>
                    <a:pt x="1384" y="2286"/>
                  </a:lnTo>
                  <a:lnTo>
                    <a:pt x="1384" y="2284"/>
                  </a:lnTo>
                  <a:lnTo>
                    <a:pt x="1382" y="2284"/>
                  </a:lnTo>
                  <a:lnTo>
                    <a:pt x="1382" y="2284"/>
                  </a:lnTo>
                  <a:lnTo>
                    <a:pt x="1382" y="2282"/>
                  </a:lnTo>
                  <a:lnTo>
                    <a:pt x="1380" y="2282"/>
                  </a:lnTo>
                  <a:lnTo>
                    <a:pt x="1370" y="2280"/>
                  </a:lnTo>
                  <a:lnTo>
                    <a:pt x="1366" y="2280"/>
                  </a:lnTo>
                  <a:lnTo>
                    <a:pt x="1362" y="2280"/>
                  </a:lnTo>
                  <a:lnTo>
                    <a:pt x="1358" y="2280"/>
                  </a:lnTo>
                  <a:lnTo>
                    <a:pt x="1354" y="2278"/>
                  </a:lnTo>
                  <a:lnTo>
                    <a:pt x="1354" y="2278"/>
                  </a:lnTo>
                  <a:lnTo>
                    <a:pt x="1350" y="2276"/>
                  </a:lnTo>
                  <a:lnTo>
                    <a:pt x="1352" y="2276"/>
                  </a:lnTo>
                  <a:lnTo>
                    <a:pt x="1348" y="2274"/>
                  </a:lnTo>
                  <a:lnTo>
                    <a:pt x="1348" y="2274"/>
                  </a:lnTo>
                  <a:lnTo>
                    <a:pt x="1346" y="2272"/>
                  </a:lnTo>
                  <a:lnTo>
                    <a:pt x="1346" y="2272"/>
                  </a:lnTo>
                  <a:lnTo>
                    <a:pt x="1344" y="2276"/>
                  </a:lnTo>
                  <a:lnTo>
                    <a:pt x="1344" y="2280"/>
                  </a:lnTo>
                  <a:lnTo>
                    <a:pt x="1344" y="2280"/>
                  </a:lnTo>
                  <a:lnTo>
                    <a:pt x="1344" y="2280"/>
                  </a:lnTo>
                  <a:lnTo>
                    <a:pt x="1344" y="2284"/>
                  </a:lnTo>
                  <a:lnTo>
                    <a:pt x="1344" y="2284"/>
                  </a:lnTo>
                  <a:lnTo>
                    <a:pt x="1344" y="2284"/>
                  </a:lnTo>
                  <a:lnTo>
                    <a:pt x="1346" y="2288"/>
                  </a:lnTo>
                  <a:lnTo>
                    <a:pt x="1350" y="2292"/>
                  </a:lnTo>
                  <a:lnTo>
                    <a:pt x="1354" y="2298"/>
                  </a:lnTo>
                  <a:lnTo>
                    <a:pt x="1356" y="2302"/>
                  </a:lnTo>
                  <a:lnTo>
                    <a:pt x="1358" y="2304"/>
                  </a:lnTo>
                  <a:lnTo>
                    <a:pt x="1358" y="2304"/>
                  </a:lnTo>
                  <a:lnTo>
                    <a:pt x="1360" y="2308"/>
                  </a:lnTo>
                  <a:lnTo>
                    <a:pt x="1360" y="2310"/>
                  </a:lnTo>
                  <a:lnTo>
                    <a:pt x="1362" y="2318"/>
                  </a:lnTo>
                  <a:lnTo>
                    <a:pt x="1364" y="2326"/>
                  </a:lnTo>
                  <a:lnTo>
                    <a:pt x="1366" y="2330"/>
                  </a:lnTo>
                  <a:lnTo>
                    <a:pt x="1362" y="2330"/>
                  </a:lnTo>
                  <a:lnTo>
                    <a:pt x="1362" y="2330"/>
                  </a:lnTo>
                  <a:lnTo>
                    <a:pt x="1358" y="2332"/>
                  </a:lnTo>
                  <a:lnTo>
                    <a:pt x="1358" y="2334"/>
                  </a:lnTo>
                  <a:lnTo>
                    <a:pt x="1358" y="2334"/>
                  </a:lnTo>
                  <a:lnTo>
                    <a:pt x="1358" y="2334"/>
                  </a:lnTo>
                  <a:lnTo>
                    <a:pt x="1356" y="2336"/>
                  </a:lnTo>
                  <a:lnTo>
                    <a:pt x="1356" y="2338"/>
                  </a:lnTo>
                  <a:lnTo>
                    <a:pt x="1358" y="2340"/>
                  </a:lnTo>
                  <a:lnTo>
                    <a:pt x="1358" y="2340"/>
                  </a:lnTo>
                  <a:lnTo>
                    <a:pt x="1358" y="2342"/>
                  </a:lnTo>
                  <a:lnTo>
                    <a:pt x="1358" y="2344"/>
                  </a:lnTo>
                  <a:lnTo>
                    <a:pt x="1358" y="2344"/>
                  </a:lnTo>
                  <a:lnTo>
                    <a:pt x="1362" y="2346"/>
                  </a:lnTo>
                  <a:lnTo>
                    <a:pt x="1364" y="2346"/>
                  </a:lnTo>
                  <a:lnTo>
                    <a:pt x="1366" y="2346"/>
                  </a:lnTo>
                  <a:lnTo>
                    <a:pt x="1366" y="2346"/>
                  </a:lnTo>
                  <a:lnTo>
                    <a:pt x="1368" y="2346"/>
                  </a:lnTo>
                  <a:lnTo>
                    <a:pt x="1370" y="2348"/>
                  </a:lnTo>
                  <a:lnTo>
                    <a:pt x="1372" y="2348"/>
                  </a:lnTo>
                  <a:lnTo>
                    <a:pt x="1372" y="2350"/>
                  </a:lnTo>
                  <a:lnTo>
                    <a:pt x="1372" y="2350"/>
                  </a:lnTo>
                  <a:lnTo>
                    <a:pt x="1374" y="2350"/>
                  </a:lnTo>
                  <a:lnTo>
                    <a:pt x="1374" y="2352"/>
                  </a:lnTo>
                  <a:lnTo>
                    <a:pt x="1372" y="2352"/>
                  </a:lnTo>
                  <a:lnTo>
                    <a:pt x="1372" y="2352"/>
                  </a:lnTo>
                  <a:lnTo>
                    <a:pt x="1372" y="2354"/>
                  </a:lnTo>
                  <a:lnTo>
                    <a:pt x="1370" y="2354"/>
                  </a:lnTo>
                  <a:lnTo>
                    <a:pt x="1368" y="2354"/>
                  </a:lnTo>
                  <a:lnTo>
                    <a:pt x="1364" y="2354"/>
                  </a:lnTo>
                  <a:lnTo>
                    <a:pt x="1360" y="2354"/>
                  </a:lnTo>
                  <a:lnTo>
                    <a:pt x="1356" y="2354"/>
                  </a:lnTo>
                  <a:lnTo>
                    <a:pt x="1356" y="2354"/>
                  </a:lnTo>
                  <a:lnTo>
                    <a:pt x="1354" y="2352"/>
                  </a:lnTo>
                  <a:lnTo>
                    <a:pt x="1348" y="2350"/>
                  </a:lnTo>
                  <a:lnTo>
                    <a:pt x="1342" y="2348"/>
                  </a:lnTo>
                  <a:lnTo>
                    <a:pt x="1340" y="2348"/>
                  </a:lnTo>
                  <a:lnTo>
                    <a:pt x="1338" y="2348"/>
                  </a:lnTo>
                  <a:lnTo>
                    <a:pt x="1336" y="2346"/>
                  </a:lnTo>
                  <a:lnTo>
                    <a:pt x="1336" y="2346"/>
                  </a:lnTo>
                  <a:lnTo>
                    <a:pt x="1332" y="2348"/>
                  </a:lnTo>
                  <a:lnTo>
                    <a:pt x="1330" y="2348"/>
                  </a:lnTo>
                  <a:lnTo>
                    <a:pt x="1326" y="2348"/>
                  </a:lnTo>
                  <a:lnTo>
                    <a:pt x="1320" y="2350"/>
                  </a:lnTo>
                  <a:lnTo>
                    <a:pt x="1322" y="2350"/>
                  </a:lnTo>
                  <a:lnTo>
                    <a:pt x="1318" y="2350"/>
                  </a:lnTo>
                  <a:lnTo>
                    <a:pt x="1316" y="2350"/>
                  </a:lnTo>
                  <a:lnTo>
                    <a:pt x="1318" y="2350"/>
                  </a:lnTo>
                  <a:lnTo>
                    <a:pt x="1314" y="2348"/>
                  </a:lnTo>
                  <a:lnTo>
                    <a:pt x="1314" y="2348"/>
                  </a:lnTo>
                  <a:lnTo>
                    <a:pt x="1312" y="2346"/>
                  </a:lnTo>
                  <a:lnTo>
                    <a:pt x="1310" y="2344"/>
                  </a:lnTo>
                  <a:lnTo>
                    <a:pt x="1310" y="2344"/>
                  </a:lnTo>
                  <a:lnTo>
                    <a:pt x="1308" y="2342"/>
                  </a:lnTo>
                  <a:lnTo>
                    <a:pt x="1306" y="2336"/>
                  </a:lnTo>
                  <a:lnTo>
                    <a:pt x="1304" y="2334"/>
                  </a:lnTo>
                  <a:lnTo>
                    <a:pt x="1304" y="2334"/>
                  </a:lnTo>
                  <a:lnTo>
                    <a:pt x="1304" y="2334"/>
                  </a:lnTo>
                  <a:lnTo>
                    <a:pt x="1302" y="2332"/>
                  </a:lnTo>
                  <a:lnTo>
                    <a:pt x="1298" y="2330"/>
                  </a:lnTo>
                  <a:lnTo>
                    <a:pt x="1298" y="2330"/>
                  </a:lnTo>
                  <a:lnTo>
                    <a:pt x="1298" y="2330"/>
                  </a:lnTo>
                  <a:lnTo>
                    <a:pt x="1296" y="2328"/>
                  </a:lnTo>
                  <a:lnTo>
                    <a:pt x="1292" y="2326"/>
                  </a:lnTo>
                  <a:lnTo>
                    <a:pt x="1290" y="2326"/>
                  </a:lnTo>
                  <a:lnTo>
                    <a:pt x="1288" y="2324"/>
                  </a:lnTo>
                  <a:lnTo>
                    <a:pt x="1286" y="2324"/>
                  </a:lnTo>
                  <a:lnTo>
                    <a:pt x="1284" y="2320"/>
                  </a:lnTo>
                  <a:lnTo>
                    <a:pt x="1284" y="2320"/>
                  </a:lnTo>
                  <a:lnTo>
                    <a:pt x="1282" y="2320"/>
                  </a:lnTo>
                  <a:lnTo>
                    <a:pt x="1282" y="2320"/>
                  </a:lnTo>
                  <a:lnTo>
                    <a:pt x="1280" y="2320"/>
                  </a:lnTo>
                  <a:lnTo>
                    <a:pt x="1278" y="2324"/>
                  </a:lnTo>
                  <a:lnTo>
                    <a:pt x="1274" y="2326"/>
                  </a:lnTo>
                  <a:lnTo>
                    <a:pt x="1276" y="2326"/>
                  </a:lnTo>
                  <a:lnTo>
                    <a:pt x="1272" y="2328"/>
                  </a:lnTo>
                  <a:lnTo>
                    <a:pt x="1270" y="2328"/>
                  </a:lnTo>
                  <a:lnTo>
                    <a:pt x="1268" y="2328"/>
                  </a:lnTo>
                  <a:lnTo>
                    <a:pt x="1266" y="2328"/>
                  </a:lnTo>
                  <a:lnTo>
                    <a:pt x="1266" y="2328"/>
                  </a:lnTo>
                  <a:lnTo>
                    <a:pt x="1266" y="2326"/>
                  </a:lnTo>
                  <a:lnTo>
                    <a:pt x="1266" y="2326"/>
                  </a:lnTo>
                  <a:lnTo>
                    <a:pt x="1264" y="2324"/>
                  </a:lnTo>
                  <a:lnTo>
                    <a:pt x="1264" y="2326"/>
                  </a:lnTo>
                  <a:lnTo>
                    <a:pt x="1264" y="2324"/>
                  </a:lnTo>
                  <a:lnTo>
                    <a:pt x="1264" y="2324"/>
                  </a:lnTo>
                  <a:lnTo>
                    <a:pt x="1262" y="2322"/>
                  </a:lnTo>
                  <a:lnTo>
                    <a:pt x="1260" y="2320"/>
                  </a:lnTo>
                  <a:lnTo>
                    <a:pt x="1256" y="2320"/>
                  </a:lnTo>
                  <a:lnTo>
                    <a:pt x="1252" y="2320"/>
                  </a:lnTo>
                  <a:lnTo>
                    <a:pt x="1248" y="2320"/>
                  </a:lnTo>
                  <a:lnTo>
                    <a:pt x="1244" y="2320"/>
                  </a:lnTo>
                  <a:lnTo>
                    <a:pt x="1240" y="2320"/>
                  </a:lnTo>
                  <a:lnTo>
                    <a:pt x="1230" y="2320"/>
                  </a:lnTo>
                  <a:lnTo>
                    <a:pt x="1226" y="2320"/>
                  </a:lnTo>
                  <a:lnTo>
                    <a:pt x="1220" y="2322"/>
                  </a:lnTo>
                  <a:lnTo>
                    <a:pt x="1216" y="2322"/>
                  </a:lnTo>
                  <a:lnTo>
                    <a:pt x="1212" y="2324"/>
                  </a:lnTo>
                  <a:lnTo>
                    <a:pt x="1210" y="2326"/>
                  </a:lnTo>
                  <a:lnTo>
                    <a:pt x="1210" y="2326"/>
                  </a:lnTo>
                  <a:lnTo>
                    <a:pt x="1210" y="2326"/>
                  </a:lnTo>
                  <a:lnTo>
                    <a:pt x="1208" y="2326"/>
                  </a:lnTo>
                  <a:lnTo>
                    <a:pt x="1208" y="2326"/>
                  </a:lnTo>
                  <a:lnTo>
                    <a:pt x="1206" y="2328"/>
                  </a:lnTo>
                  <a:lnTo>
                    <a:pt x="1206" y="2330"/>
                  </a:lnTo>
                  <a:lnTo>
                    <a:pt x="1206" y="2330"/>
                  </a:lnTo>
                  <a:lnTo>
                    <a:pt x="1206" y="2330"/>
                  </a:lnTo>
                  <a:lnTo>
                    <a:pt x="1204" y="2332"/>
                  </a:lnTo>
                  <a:lnTo>
                    <a:pt x="1204" y="2334"/>
                  </a:lnTo>
                  <a:lnTo>
                    <a:pt x="1206" y="2336"/>
                  </a:lnTo>
                  <a:lnTo>
                    <a:pt x="1206" y="2336"/>
                  </a:lnTo>
                  <a:lnTo>
                    <a:pt x="1206" y="2336"/>
                  </a:lnTo>
                  <a:lnTo>
                    <a:pt x="1206" y="2338"/>
                  </a:lnTo>
                  <a:lnTo>
                    <a:pt x="1206" y="2338"/>
                  </a:lnTo>
                  <a:lnTo>
                    <a:pt x="1206" y="2340"/>
                  </a:lnTo>
                  <a:lnTo>
                    <a:pt x="1208" y="2342"/>
                  </a:lnTo>
                  <a:lnTo>
                    <a:pt x="1208" y="2342"/>
                  </a:lnTo>
                  <a:lnTo>
                    <a:pt x="1210" y="2342"/>
                  </a:lnTo>
                  <a:lnTo>
                    <a:pt x="1212" y="2342"/>
                  </a:lnTo>
                  <a:lnTo>
                    <a:pt x="1212" y="2342"/>
                  </a:lnTo>
                  <a:lnTo>
                    <a:pt x="1212" y="2342"/>
                  </a:lnTo>
                  <a:lnTo>
                    <a:pt x="1214" y="2344"/>
                  </a:lnTo>
                  <a:lnTo>
                    <a:pt x="1214" y="2344"/>
                  </a:lnTo>
                  <a:lnTo>
                    <a:pt x="1214" y="2344"/>
                  </a:lnTo>
                  <a:lnTo>
                    <a:pt x="1216" y="2344"/>
                  </a:lnTo>
                  <a:lnTo>
                    <a:pt x="1222" y="2344"/>
                  </a:lnTo>
                  <a:lnTo>
                    <a:pt x="1228" y="2344"/>
                  </a:lnTo>
                  <a:lnTo>
                    <a:pt x="1230" y="2346"/>
                  </a:lnTo>
                  <a:lnTo>
                    <a:pt x="1230" y="2346"/>
                  </a:lnTo>
                  <a:lnTo>
                    <a:pt x="1232" y="2346"/>
                  </a:lnTo>
                  <a:lnTo>
                    <a:pt x="1232" y="2348"/>
                  </a:lnTo>
                  <a:lnTo>
                    <a:pt x="1232" y="2348"/>
                  </a:lnTo>
                  <a:lnTo>
                    <a:pt x="1232" y="2352"/>
                  </a:lnTo>
                  <a:lnTo>
                    <a:pt x="1232" y="2354"/>
                  </a:lnTo>
                  <a:lnTo>
                    <a:pt x="1232" y="2356"/>
                  </a:lnTo>
                  <a:lnTo>
                    <a:pt x="1230" y="2356"/>
                  </a:lnTo>
                  <a:lnTo>
                    <a:pt x="1230" y="2358"/>
                  </a:lnTo>
                  <a:lnTo>
                    <a:pt x="1226" y="2360"/>
                  </a:lnTo>
                  <a:lnTo>
                    <a:pt x="1222" y="2360"/>
                  </a:lnTo>
                  <a:lnTo>
                    <a:pt x="1222" y="2360"/>
                  </a:lnTo>
                  <a:lnTo>
                    <a:pt x="1218" y="2360"/>
                  </a:lnTo>
                  <a:lnTo>
                    <a:pt x="1212" y="2360"/>
                  </a:lnTo>
                  <a:lnTo>
                    <a:pt x="1208" y="2360"/>
                  </a:lnTo>
                  <a:lnTo>
                    <a:pt x="1204" y="2360"/>
                  </a:lnTo>
                  <a:lnTo>
                    <a:pt x="1204" y="2360"/>
                  </a:lnTo>
                  <a:lnTo>
                    <a:pt x="1202" y="2360"/>
                  </a:lnTo>
                  <a:lnTo>
                    <a:pt x="1202" y="2360"/>
                  </a:lnTo>
                  <a:lnTo>
                    <a:pt x="1200" y="2364"/>
                  </a:lnTo>
                  <a:lnTo>
                    <a:pt x="1202" y="2368"/>
                  </a:lnTo>
                  <a:lnTo>
                    <a:pt x="1202" y="2368"/>
                  </a:lnTo>
                  <a:lnTo>
                    <a:pt x="1202" y="2368"/>
                  </a:lnTo>
                  <a:lnTo>
                    <a:pt x="1204" y="2372"/>
                  </a:lnTo>
                  <a:lnTo>
                    <a:pt x="1204" y="2372"/>
                  </a:lnTo>
                  <a:lnTo>
                    <a:pt x="1208" y="2374"/>
                  </a:lnTo>
                  <a:lnTo>
                    <a:pt x="1208" y="2374"/>
                  </a:lnTo>
                  <a:lnTo>
                    <a:pt x="1208" y="2374"/>
                  </a:lnTo>
                  <a:lnTo>
                    <a:pt x="1212" y="2378"/>
                  </a:lnTo>
                  <a:lnTo>
                    <a:pt x="1218" y="2380"/>
                  </a:lnTo>
                  <a:lnTo>
                    <a:pt x="1220" y="2382"/>
                  </a:lnTo>
                  <a:lnTo>
                    <a:pt x="1224" y="2384"/>
                  </a:lnTo>
                  <a:lnTo>
                    <a:pt x="1224" y="2384"/>
                  </a:lnTo>
                  <a:lnTo>
                    <a:pt x="1226" y="2384"/>
                  </a:lnTo>
                  <a:lnTo>
                    <a:pt x="1230" y="2384"/>
                  </a:lnTo>
                  <a:lnTo>
                    <a:pt x="1232" y="2384"/>
                  </a:lnTo>
                  <a:lnTo>
                    <a:pt x="1236" y="2384"/>
                  </a:lnTo>
                  <a:lnTo>
                    <a:pt x="1238" y="2384"/>
                  </a:lnTo>
                  <a:lnTo>
                    <a:pt x="1238" y="2386"/>
                  </a:lnTo>
                  <a:lnTo>
                    <a:pt x="1240" y="2386"/>
                  </a:lnTo>
                  <a:lnTo>
                    <a:pt x="1240" y="2388"/>
                  </a:lnTo>
                  <a:lnTo>
                    <a:pt x="1242" y="2392"/>
                  </a:lnTo>
                  <a:lnTo>
                    <a:pt x="1242" y="2392"/>
                  </a:lnTo>
                  <a:lnTo>
                    <a:pt x="1242" y="2394"/>
                  </a:lnTo>
                  <a:lnTo>
                    <a:pt x="1244" y="2396"/>
                  </a:lnTo>
                  <a:lnTo>
                    <a:pt x="1250" y="2396"/>
                  </a:lnTo>
                  <a:lnTo>
                    <a:pt x="1250" y="2398"/>
                  </a:lnTo>
                  <a:lnTo>
                    <a:pt x="1250" y="2398"/>
                  </a:lnTo>
                  <a:lnTo>
                    <a:pt x="1250" y="2402"/>
                  </a:lnTo>
                  <a:lnTo>
                    <a:pt x="1250" y="2402"/>
                  </a:lnTo>
                  <a:lnTo>
                    <a:pt x="1250" y="2406"/>
                  </a:lnTo>
                  <a:lnTo>
                    <a:pt x="1250" y="2406"/>
                  </a:lnTo>
                  <a:lnTo>
                    <a:pt x="1252" y="2408"/>
                  </a:lnTo>
                  <a:lnTo>
                    <a:pt x="1252" y="2408"/>
                  </a:lnTo>
                  <a:lnTo>
                    <a:pt x="1254" y="2410"/>
                  </a:lnTo>
                  <a:lnTo>
                    <a:pt x="1256" y="2412"/>
                  </a:lnTo>
                  <a:lnTo>
                    <a:pt x="1256" y="2412"/>
                  </a:lnTo>
                  <a:lnTo>
                    <a:pt x="1256" y="2412"/>
                  </a:lnTo>
                  <a:lnTo>
                    <a:pt x="1258" y="2412"/>
                  </a:lnTo>
                  <a:lnTo>
                    <a:pt x="1258" y="2412"/>
                  </a:lnTo>
                  <a:lnTo>
                    <a:pt x="1258" y="2412"/>
                  </a:lnTo>
                  <a:lnTo>
                    <a:pt x="1262" y="2414"/>
                  </a:lnTo>
                  <a:lnTo>
                    <a:pt x="1262" y="2414"/>
                  </a:lnTo>
                  <a:lnTo>
                    <a:pt x="1262" y="2414"/>
                  </a:lnTo>
                  <a:lnTo>
                    <a:pt x="1266" y="2414"/>
                  </a:lnTo>
                  <a:lnTo>
                    <a:pt x="1272" y="2414"/>
                  </a:lnTo>
                  <a:lnTo>
                    <a:pt x="1280" y="2412"/>
                  </a:lnTo>
                  <a:lnTo>
                    <a:pt x="1286" y="2412"/>
                  </a:lnTo>
                  <a:lnTo>
                    <a:pt x="1290" y="2412"/>
                  </a:lnTo>
                  <a:lnTo>
                    <a:pt x="1292" y="2412"/>
                  </a:lnTo>
                  <a:lnTo>
                    <a:pt x="1292" y="2414"/>
                  </a:lnTo>
                  <a:lnTo>
                    <a:pt x="1294" y="2414"/>
                  </a:lnTo>
                  <a:lnTo>
                    <a:pt x="1294" y="2416"/>
                  </a:lnTo>
                  <a:lnTo>
                    <a:pt x="1296" y="2416"/>
                  </a:lnTo>
                  <a:lnTo>
                    <a:pt x="1296" y="2418"/>
                  </a:lnTo>
                  <a:lnTo>
                    <a:pt x="1296" y="2418"/>
                  </a:lnTo>
                  <a:lnTo>
                    <a:pt x="1296" y="2418"/>
                  </a:lnTo>
                  <a:lnTo>
                    <a:pt x="1298" y="2418"/>
                  </a:lnTo>
                  <a:lnTo>
                    <a:pt x="1300" y="2420"/>
                  </a:lnTo>
                  <a:lnTo>
                    <a:pt x="1300" y="2420"/>
                  </a:lnTo>
                  <a:lnTo>
                    <a:pt x="1300" y="2420"/>
                  </a:lnTo>
                  <a:lnTo>
                    <a:pt x="1300" y="2424"/>
                  </a:lnTo>
                  <a:lnTo>
                    <a:pt x="1300" y="2428"/>
                  </a:lnTo>
                  <a:lnTo>
                    <a:pt x="1300" y="2430"/>
                  </a:lnTo>
                  <a:lnTo>
                    <a:pt x="1298" y="2432"/>
                  </a:lnTo>
                  <a:lnTo>
                    <a:pt x="1298" y="2432"/>
                  </a:lnTo>
                  <a:lnTo>
                    <a:pt x="1300" y="2434"/>
                  </a:lnTo>
                  <a:lnTo>
                    <a:pt x="1300" y="2434"/>
                  </a:lnTo>
                  <a:lnTo>
                    <a:pt x="1302" y="2436"/>
                  </a:lnTo>
                  <a:lnTo>
                    <a:pt x="1304" y="2436"/>
                  </a:lnTo>
                  <a:lnTo>
                    <a:pt x="1306" y="2436"/>
                  </a:lnTo>
                  <a:lnTo>
                    <a:pt x="1306" y="2436"/>
                  </a:lnTo>
                  <a:lnTo>
                    <a:pt x="1308" y="2438"/>
                  </a:lnTo>
                  <a:lnTo>
                    <a:pt x="1308" y="2438"/>
                  </a:lnTo>
                  <a:lnTo>
                    <a:pt x="1308" y="2438"/>
                  </a:lnTo>
                  <a:lnTo>
                    <a:pt x="1308" y="2440"/>
                  </a:lnTo>
                  <a:lnTo>
                    <a:pt x="1310" y="2444"/>
                  </a:lnTo>
                  <a:lnTo>
                    <a:pt x="1310" y="2450"/>
                  </a:lnTo>
                  <a:lnTo>
                    <a:pt x="1310" y="2456"/>
                  </a:lnTo>
                  <a:lnTo>
                    <a:pt x="1310" y="2456"/>
                  </a:lnTo>
                  <a:lnTo>
                    <a:pt x="1312" y="2456"/>
                  </a:lnTo>
                  <a:lnTo>
                    <a:pt x="1312" y="2460"/>
                  </a:lnTo>
                  <a:lnTo>
                    <a:pt x="1312" y="2460"/>
                  </a:lnTo>
                  <a:lnTo>
                    <a:pt x="1312" y="2460"/>
                  </a:lnTo>
                  <a:lnTo>
                    <a:pt x="1314" y="2462"/>
                  </a:lnTo>
                  <a:lnTo>
                    <a:pt x="1314" y="2462"/>
                  </a:lnTo>
                  <a:lnTo>
                    <a:pt x="1314" y="2462"/>
                  </a:lnTo>
                  <a:lnTo>
                    <a:pt x="1316" y="2464"/>
                  </a:lnTo>
                  <a:lnTo>
                    <a:pt x="1308" y="2470"/>
                  </a:lnTo>
                  <a:lnTo>
                    <a:pt x="1308" y="2470"/>
                  </a:lnTo>
                  <a:lnTo>
                    <a:pt x="1308" y="2472"/>
                  </a:lnTo>
                  <a:lnTo>
                    <a:pt x="1308" y="2474"/>
                  </a:lnTo>
                  <a:lnTo>
                    <a:pt x="1308" y="2474"/>
                  </a:lnTo>
                  <a:lnTo>
                    <a:pt x="1306" y="2474"/>
                  </a:lnTo>
                  <a:lnTo>
                    <a:pt x="1306" y="2476"/>
                  </a:lnTo>
                  <a:lnTo>
                    <a:pt x="1306" y="2476"/>
                  </a:lnTo>
                  <a:lnTo>
                    <a:pt x="1306" y="2476"/>
                  </a:lnTo>
                  <a:lnTo>
                    <a:pt x="1308" y="2478"/>
                  </a:lnTo>
                  <a:lnTo>
                    <a:pt x="1308" y="2478"/>
                  </a:lnTo>
                  <a:lnTo>
                    <a:pt x="1308" y="2480"/>
                  </a:lnTo>
                  <a:lnTo>
                    <a:pt x="1310" y="2482"/>
                  </a:lnTo>
                  <a:lnTo>
                    <a:pt x="1310" y="2482"/>
                  </a:lnTo>
                  <a:lnTo>
                    <a:pt x="1310" y="2482"/>
                  </a:lnTo>
                  <a:lnTo>
                    <a:pt x="1314" y="2484"/>
                  </a:lnTo>
                  <a:lnTo>
                    <a:pt x="1314" y="2484"/>
                  </a:lnTo>
                  <a:lnTo>
                    <a:pt x="1314" y="2484"/>
                  </a:lnTo>
                  <a:lnTo>
                    <a:pt x="1318" y="2484"/>
                  </a:lnTo>
                  <a:lnTo>
                    <a:pt x="1322" y="2486"/>
                  </a:lnTo>
                  <a:lnTo>
                    <a:pt x="1328" y="2486"/>
                  </a:lnTo>
                  <a:lnTo>
                    <a:pt x="1328" y="2486"/>
                  </a:lnTo>
                  <a:lnTo>
                    <a:pt x="1328" y="2486"/>
                  </a:lnTo>
                  <a:lnTo>
                    <a:pt x="1330" y="2488"/>
                  </a:lnTo>
                  <a:lnTo>
                    <a:pt x="1330" y="2488"/>
                  </a:lnTo>
                  <a:lnTo>
                    <a:pt x="1330" y="2488"/>
                  </a:lnTo>
                  <a:lnTo>
                    <a:pt x="1330" y="2490"/>
                  </a:lnTo>
                  <a:lnTo>
                    <a:pt x="1332" y="2492"/>
                  </a:lnTo>
                  <a:lnTo>
                    <a:pt x="1332" y="2492"/>
                  </a:lnTo>
                  <a:lnTo>
                    <a:pt x="1332" y="2492"/>
                  </a:lnTo>
                  <a:lnTo>
                    <a:pt x="1334" y="2494"/>
                  </a:lnTo>
                  <a:lnTo>
                    <a:pt x="1334" y="2494"/>
                  </a:lnTo>
                  <a:lnTo>
                    <a:pt x="1334" y="2494"/>
                  </a:lnTo>
                  <a:lnTo>
                    <a:pt x="1338" y="2496"/>
                  </a:lnTo>
                  <a:lnTo>
                    <a:pt x="1340" y="2498"/>
                  </a:lnTo>
                  <a:lnTo>
                    <a:pt x="1342" y="2498"/>
                  </a:lnTo>
                  <a:lnTo>
                    <a:pt x="1342" y="2500"/>
                  </a:lnTo>
                  <a:lnTo>
                    <a:pt x="1344" y="2502"/>
                  </a:lnTo>
                  <a:lnTo>
                    <a:pt x="1344" y="2504"/>
                  </a:lnTo>
                  <a:lnTo>
                    <a:pt x="1344" y="2504"/>
                  </a:lnTo>
                  <a:lnTo>
                    <a:pt x="1344" y="2506"/>
                  </a:lnTo>
                  <a:lnTo>
                    <a:pt x="1344" y="2512"/>
                  </a:lnTo>
                  <a:lnTo>
                    <a:pt x="1342" y="2520"/>
                  </a:lnTo>
                  <a:lnTo>
                    <a:pt x="1342" y="2522"/>
                  </a:lnTo>
                  <a:lnTo>
                    <a:pt x="1342" y="2524"/>
                  </a:lnTo>
                  <a:lnTo>
                    <a:pt x="1344" y="2526"/>
                  </a:lnTo>
                  <a:lnTo>
                    <a:pt x="1344" y="2526"/>
                  </a:lnTo>
                  <a:lnTo>
                    <a:pt x="1344" y="2528"/>
                  </a:lnTo>
                  <a:lnTo>
                    <a:pt x="1346" y="2530"/>
                  </a:lnTo>
                  <a:lnTo>
                    <a:pt x="1348" y="2530"/>
                  </a:lnTo>
                  <a:lnTo>
                    <a:pt x="1348" y="2532"/>
                  </a:lnTo>
                  <a:lnTo>
                    <a:pt x="1348" y="2536"/>
                  </a:lnTo>
                  <a:lnTo>
                    <a:pt x="1350" y="2540"/>
                  </a:lnTo>
                  <a:lnTo>
                    <a:pt x="1350" y="2546"/>
                  </a:lnTo>
                  <a:lnTo>
                    <a:pt x="1350" y="2546"/>
                  </a:lnTo>
                  <a:lnTo>
                    <a:pt x="1350" y="2548"/>
                  </a:lnTo>
                  <a:lnTo>
                    <a:pt x="1354" y="2550"/>
                  </a:lnTo>
                  <a:lnTo>
                    <a:pt x="1354" y="2552"/>
                  </a:lnTo>
                  <a:lnTo>
                    <a:pt x="1350" y="2554"/>
                  </a:lnTo>
                  <a:lnTo>
                    <a:pt x="1350" y="2554"/>
                  </a:lnTo>
                  <a:lnTo>
                    <a:pt x="1350" y="2554"/>
                  </a:lnTo>
                  <a:lnTo>
                    <a:pt x="1348" y="2556"/>
                  </a:lnTo>
                  <a:lnTo>
                    <a:pt x="1348" y="2556"/>
                  </a:lnTo>
                  <a:lnTo>
                    <a:pt x="1348" y="2556"/>
                  </a:lnTo>
                  <a:lnTo>
                    <a:pt x="1348" y="2558"/>
                  </a:lnTo>
                  <a:lnTo>
                    <a:pt x="1344" y="2566"/>
                  </a:lnTo>
                  <a:lnTo>
                    <a:pt x="1342" y="2572"/>
                  </a:lnTo>
                  <a:lnTo>
                    <a:pt x="1340" y="2578"/>
                  </a:lnTo>
                  <a:lnTo>
                    <a:pt x="1340" y="2578"/>
                  </a:lnTo>
                  <a:lnTo>
                    <a:pt x="1340" y="2578"/>
                  </a:lnTo>
                  <a:lnTo>
                    <a:pt x="1340" y="2582"/>
                  </a:lnTo>
                  <a:lnTo>
                    <a:pt x="1340" y="2586"/>
                  </a:lnTo>
                  <a:lnTo>
                    <a:pt x="1338" y="2592"/>
                  </a:lnTo>
                  <a:lnTo>
                    <a:pt x="1334" y="2598"/>
                  </a:lnTo>
                  <a:lnTo>
                    <a:pt x="1332" y="2604"/>
                  </a:lnTo>
                  <a:lnTo>
                    <a:pt x="1328" y="2608"/>
                  </a:lnTo>
                  <a:lnTo>
                    <a:pt x="1326" y="2614"/>
                  </a:lnTo>
                  <a:lnTo>
                    <a:pt x="1324" y="2620"/>
                  </a:lnTo>
                  <a:lnTo>
                    <a:pt x="1322" y="2628"/>
                  </a:lnTo>
                  <a:lnTo>
                    <a:pt x="1320" y="2634"/>
                  </a:lnTo>
                  <a:lnTo>
                    <a:pt x="1318" y="2642"/>
                  </a:lnTo>
                  <a:lnTo>
                    <a:pt x="1318" y="2648"/>
                  </a:lnTo>
                  <a:lnTo>
                    <a:pt x="1316" y="2662"/>
                  </a:lnTo>
                  <a:lnTo>
                    <a:pt x="1314" y="2670"/>
                  </a:lnTo>
                  <a:lnTo>
                    <a:pt x="1312" y="2676"/>
                  </a:lnTo>
                  <a:lnTo>
                    <a:pt x="1310" y="2682"/>
                  </a:lnTo>
                  <a:lnTo>
                    <a:pt x="1308" y="2688"/>
                  </a:lnTo>
                  <a:lnTo>
                    <a:pt x="1306" y="2690"/>
                  </a:lnTo>
                  <a:lnTo>
                    <a:pt x="1306" y="2690"/>
                  </a:lnTo>
                  <a:lnTo>
                    <a:pt x="1306" y="2690"/>
                  </a:lnTo>
                  <a:lnTo>
                    <a:pt x="1304" y="2692"/>
                  </a:lnTo>
                  <a:lnTo>
                    <a:pt x="1302" y="2696"/>
                  </a:lnTo>
                  <a:lnTo>
                    <a:pt x="1300" y="2696"/>
                  </a:lnTo>
                  <a:lnTo>
                    <a:pt x="1300" y="2696"/>
                  </a:lnTo>
                  <a:lnTo>
                    <a:pt x="1298" y="2696"/>
                  </a:lnTo>
                  <a:lnTo>
                    <a:pt x="1294" y="2700"/>
                  </a:lnTo>
                  <a:lnTo>
                    <a:pt x="1290" y="2704"/>
                  </a:lnTo>
                  <a:lnTo>
                    <a:pt x="1286" y="2706"/>
                  </a:lnTo>
                  <a:lnTo>
                    <a:pt x="1286" y="2706"/>
                  </a:lnTo>
                  <a:lnTo>
                    <a:pt x="1286" y="2706"/>
                  </a:lnTo>
                  <a:lnTo>
                    <a:pt x="1284" y="2708"/>
                  </a:lnTo>
                  <a:lnTo>
                    <a:pt x="1282" y="2710"/>
                  </a:lnTo>
                  <a:lnTo>
                    <a:pt x="1282" y="2708"/>
                  </a:lnTo>
                  <a:lnTo>
                    <a:pt x="1278" y="2706"/>
                  </a:lnTo>
                  <a:lnTo>
                    <a:pt x="1278" y="2704"/>
                  </a:lnTo>
                  <a:lnTo>
                    <a:pt x="1278" y="2704"/>
                  </a:lnTo>
                  <a:lnTo>
                    <a:pt x="1278" y="2702"/>
                  </a:lnTo>
                  <a:lnTo>
                    <a:pt x="1276" y="2700"/>
                  </a:lnTo>
                  <a:lnTo>
                    <a:pt x="1276" y="2700"/>
                  </a:lnTo>
                  <a:lnTo>
                    <a:pt x="1274" y="2700"/>
                  </a:lnTo>
                  <a:lnTo>
                    <a:pt x="1258" y="2700"/>
                  </a:lnTo>
                  <a:lnTo>
                    <a:pt x="1256" y="2698"/>
                  </a:lnTo>
                  <a:lnTo>
                    <a:pt x="1256" y="2698"/>
                  </a:lnTo>
                  <a:lnTo>
                    <a:pt x="1256" y="2698"/>
                  </a:lnTo>
                  <a:lnTo>
                    <a:pt x="1256" y="2696"/>
                  </a:lnTo>
                  <a:lnTo>
                    <a:pt x="1254" y="2696"/>
                  </a:lnTo>
                  <a:lnTo>
                    <a:pt x="1254" y="2694"/>
                  </a:lnTo>
                  <a:lnTo>
                    <a:pt x="1254" y="2694"/>
                  </a:lnTo>
                  <a:lnTo>
                    <a:pt x="1254" y="2692"/>
                  </a:lnTo>
                  <a:lnTo>
                    <a:pt x="1252" y="2692"/>
                  </a:lnTo>
                  <a:lnTo>
                    <a:pt x="1230" y="2692"/>
                  </a:lnTo>
                  <a:lnTo>
                    <a:pt x="1228" y="2690"/>
                  </a:lnTo>
                  <a:lnTo>
                    <a:pt x="1228" y="2690"/>
                  </a:lnTo>
                  <a:lnTo>
                    <a:pt x="1228" y="2690"/>
                  </a:lnTo>
                  <a:lnTo>
                    <a:pt x="1228" y="2688"/>
                  </a:lnTo>
                  <a:lnTo>
                    <a:pt x="1226" y="2688"/>
                  </a:lnTo>
                  <a:lnTo>
                    <a:pt x="1226" y="2688"/>
                  </a:lnTo>
                  <a:lnTo>
                    <a:pt x="1226" y="2686"/>
                  </a:lnTo>
                  <a:lnTo>
                    <a:pt x="1224" y="2684"/>
                  </a:lnTo>
                  <a:lnTo>
                    <a:pt x="1222" y="2682"/>
                  </a:lnTo>
                  <a:lnTo>
                    <a:pt x="1222" y="2682"/>
                  </a:lnTo>
                  <a:lnTo>
                    <a:pt x="1222" y="2682"/>
                  </a:lnTo>
                  <a:lnTo>
                    <a:pt x="1218" y="2680"/>
                  </a:lnTo>
                  <a:lnTo>
                    <a:pt x="1218" y="2680"/>
                  </a:lnTo>
                  <a:lnTo>
                    <a:pt x="1214" y="2680"/>
                  </a:lnTo>
                  <a:lnTo>
                    <a:pt x="1212" y="2682"/>
                  </a:lnTo>
                  <a:lnTo>
                    <a:pt x="1206" y="2682"/>
                  </a:lnTo>
                  <a:lnTo>
                    <a:pt x="1206" y="2682"/>
                  </a:lnTo>
                  <a:lnTo>
                    <a:pt x="1204" y="2682"/>
                  </a:lnTo>
                  <a:lnTo>
                    <a:pt x="1198" y="2684"/>
                  </a:lnTo>
                  <a:lnTo>
                    <a:pt x="1198" y="2684"/>
                  </a:lnTo>
                  <a:lnTo>
                    <a:pt x="1198" y="2684"/>
                  </a:lnTo>
                  <a:lnTo>
                    <a:pt x="1196" y="2686"/>
                  </a:lnTo>
                  <a:lnTo>
                    <a:pt x="1190" y="2686"/>
                  </a:lnTo>
                  <a:lnTo>
                    <a:pt x="1188" y="2684"/>
                  </a:lnTo>
                  <a:lnTo>
                    <a:pt x="1188" y="2684"/>
                  </a:lnTo>
                  <a:lnTo>
                    <a:pt x="1186" y="2684"/>
                  </a:lnTo>
                  <a:lnTo>
                    <a:pt x="1178" y="2684"/>
                  </a:lnTo>
                  <a:lnTo>
                    <a:pt x="1172" y="2682"/>
                  </a:lnTo>
                  <a:lnTo>
                    <a:pt x="1172" y="2682"/>
                  </a:lnTo>
                  <a:lnTo>
                    <a:pt x="1172" y="2682"/>
                  </a:lnTo>
                  <a:lnTo>
                    <a:pt x="1168" y="2682"/>
                  </a:lnTo>
                  <a:lnTo>
                    <a:pt x="1168" y="2682"/>
                  </a:lnTo>
                  <a:lnTo>
                    <a:pt x="1168" y="2680"/>
                  </a:lnTo>
                  <a:lnTo>
                    <a:pt x="1164" y="2676"/>
                  </a:lnTo>
                  <a:lnTo>
                    <a:pt x="1162" y="2674"/>
                  </a:lnTo>
                  <a:lnTo>
                    <a:pt x="1162" y="2674"/>
                  </a:lnTo>
                  <a:lnTo>
                    <a:pt x="1162" y="2674"/>
                  </a:lnTo>
                  <a:lnTo>
                    <a:pt x="1158" y="2672"/>
                  </a:lnTo>
                  <a:lnTo>
                    <a:pt x="1156" y="2672"/>
                  </a:lnTo>
                  <a:lnTo>
                    <a:pt x="1154" y="2668"/>
                  </a:lnTo>
                  <a:lnTo>
                    <a:pt x="1154" y="2666"/>
                  </a:lnTo>
                  <a:lnTo>
                    <a:pt x="1154" y="2666"/>
                  </a:lnTo>
                  <a:lnTo>
                    <a:pt x="1154" y="2666"/>
                  </a:lnTo>
                  <a:lnTo>
                    <a:pt x="1152" y="2662"/>
                  </a:lnTo>
                  <a:lnTo>
                    <a:pt x="1152" y="2660"/>
                  </a:lnTo>
                  <a:lnTo>
                    <a:pt x="1152" y="2660"/>
                  </a:lnTo>
                  <a:lnTo>
                    <a:pt x="1152" y="2658"/>
                  </a:lnTo>
                  <a:lnTo>
                    <a:pt x="1150" y="2658"/>
                  </a:lnTo>
                  <a:lnTo>
                    <a:pt x="1148" y="2658"/>
                  </a:lnTo>
                  <a:lnTo>
                    <a:pt x="1148" y="2656"/>
                  </a:lnTo>
                  <a:lnTo>
                    <a:pt x="1148" y="2656"/>
                  </a:lnTo>
                  <a:lnTo>
                    <a:pt x="1148" y="2654"/>
                  </a:lnTo>
                  <a:lnTo>
                    <a:pt x="1146" y="2652"/>
                  </a:lnTo>
                  <a:lnTo>
                    <a:pt x="1146" y="2652"/>
                  </a:lnTo>
                  <a:lnTo>
                    <a:pt x="1144" y="2652"/>
                  </a:lnTo>
                  <a:lnTo>
                    <a:pt x="1120" y="2652"/>
                  </a:lnTo>
                  <a:lnTo>
                    <a:pt x="1112" y="2650"/>
                  </a:lnTo>
                  <a:lnTo>
                    <a:pt x="1112" y="2650"/>
                  </a:lnTo>
                  <a:lnTo>
                    <a:pt x="1112" y="2650"/>
                  </a:lnTo>
                  <a:lnTo>
                    <a:pt x="1074" y="2650"/>
                  </a:lnTo>
                  <a:lnTo>
                    <a:pt x="1064" y="2648"/>
                  </a:lnTo>
                  <a:lnTo>
                    <a:pt x="1056" y="2646"/>
                  </a:lnTo>
                  <a:lnTo>
                    <a:pt x="1048" y="2644"/>
                  </a:lnTo>
                  <a:lnTo>
                    <a:pt x="1042" y="2640"/>
                  </a:lnTo>
                  <a:lnTo>
                    <a:pt x="1042" y="2640"/>
                  </a:lnTo>
                  <a:lnTo>
                    <a:pt x="1040" y="2640"/>
                  </a:lnTo>
                  <a:lnTo>
                    <a:pt x="1036" y="2638"/>
                  </a:lnTo>
                  <a:lnTo>
                    <a:pt x="1032" y="2634"/>
                  </a:lnTo>
                  <a:lnTo>
                    <a:pt x="1032" y="2634"/>
                  </a:lnTo>
                  <a:lnTo>
                    <a:pt x="1032" y="2632"/>
                  </a:lnTo>
                  <a:lnTo>
                    <a:pt x="1030" y="2630"/>
                  </a:lnTo>
                  <a:lnTo>
                    <a:pt x="1028" y="2628"/>
                  </a:lnTo>
                  <a:lnTo>
                    <a:pt x="1026" y="2628"/>
                  </a:lnTo>
                  <a:lnTo>
                    <a:pt x="1026" y="2624"/>
                  </a:lnTo>
                  <a:lnTo>
                    <a:pt x="1026" y="2624"/>
                  </a:lnTo>
                  <a:lnTo>
                    <a:pt x="1026" y="2622"/>
                  </a:lnTo>
                  <a:lnTo>
                    <a:pt x="1024" y="2620"/>
                  </a:lnTo>
                  <a:lnTo>
                    <a:pt x="1024" y="2620"/>
                  </a:lnTo>
                  <a:lnTo>
                    <a:pt x="1022" y="2620"/>
                  </a:lnTo>
                  <a:lnTo>
                    <a:pt x="1018" y="2620"/>
                  </a:lnTo>
                  <a:lnTo>
                    <a:pt x="1018" y="2620"/>
                  </a:lnTo>
                  <a:lnTo>
                    <a:pt x="1016" y="2620"/>
                  </a:lnTo>
                  <a:lnTo>
                    <a:pt x="1016" y="2622"/>
                  </a:lnTo>
                  <a:lnTo>
                    <a:pt x="1014" y="2622"/>
                  </a:lnTo>
                  <a:lnTo>
                    <a:pt x="1014" y="2622"/>
                  </a:lnTo>
                  <a:lnTo>
                    <a:pt x="1012" y="2622"/>
                  </a:lnTo>
                  <a:lnTo>
                    <a:pt x="1010" y="2624"/>
                  </a:lnTo>
                  <a:lnTo>
                    <a:pt x="1010" y="2624"/>
                  </a:lnTo>
                  <a:lnTo>
                    <a:pt x="1008" y="2622"/>
                  </a:lnTo>
                  <a:lnTo>
                    <a:pt x="1008" y="2622"/>
                  </a:lnTo>
                  <a:lnTo>
                    <a:pt x="1008" y="2620"/>
                  </a:lnTo>
                  <a:lnTo>
                    <a:pt x="1006" y="2620"/>
                  </a:lnTo>
                  <a:lnTo>
                    <a:pt x="1002" y="2620"/>
                  </a:lnTo>
                  <a:lnTo>
                    <a:pt x="1002" y="2620"/>
                  </a:lnTo>
                  <a:lnTo>
                    <a:pt x="1000" y="2618"/>
                  </a:lnTo>
                  <a:lnTo>
                    <a:pt x="998" y="2618"/>
                  </a:lnTo>
                  <a:lnTo>
                    <a:pt x="998" y="2618"/>
                  </a:lnTo>
                  <a:lnTo>
                    <a:pt x="996" y="2618"/>
                  </a:lnTo>
                  <a:lnTo>
                    <a:pt x="994" y="2620"/>
                  </a:lnTo>
                  <a:lnTo>
                    <a:pt x="990" y="2620"/>
                  </a:lnTo>
                  <a:lnTo>
                    <a:pt x="990" y="2620"/>
                  </a:lnTo>
                  <a:lnTo>
                    <a:pt x="988" y="2620"/>
                  </a:lnTo>
                  <a:lnTo>
                    <a:pt x="984" y="2622"/>
                  </a:lnTo>
                  <a:lnTo>
                    <a:pt x="982" y="2624"/>
                  </a:lnTo>
                  <a:lnTo>
                    <a:pt x="978" y="2624"/>
                  </a:lnTo>
                  <a:lnTo>
                    <a:pt x="978" y="2624"/>
                  </a:lnTo>
                  <a:lnTo>
                    <a:pt x="976" y="2624"/>
                  </a:lnTo>
                  <a:lnTo>
                    <a:pt x="974" y="2626"/>
                  </a:lnTo>
                  <a:lnTo>
                    <a:pt x="974" y="2626"/>
                  </a:lnTo>
                  <a:lnTo>
                    <a:pt x="972" y="2628"/>
                  </a:lnTo>
                  <a:lnTo>
                    <a:pt x="972" y="2636"/>
                  </a:lnTo>
                  <a:lnTo>
                    <a:pt x="972" y="2636"/>
                  </a:lnTo>
                  <a:lnTo>
                    <a:pt x="972" y="2636"/>
                  </a:lnTo>
                  <a:lnTo>
                    <a:pt x="972" y="2636"/>
                  </a:lnTo>
                  <a:lnTo>
                    <a:pt x="960" y="2636"/>
                  </a:lnTo>
                  <a:lnTo>
                    <a:pt x="960" y="2636"/>
                  </a:lnTo>
                  <a:lnTo>
                    <a:pt x="958" y="2636"/>
                  </a:lnTo>
                  <a:lnTo>
                    <a:pt x="958" y="2638"/>
                  </a:lnTo>
                  <a:lnTo>
                    <a:pt x="954" y="2636"/>
                  </a:lnTo>
                  <a:lnTo>
                    <a:pt x="954" y="2636"/>
                  </a:lnTo>
                  <a:lnTo>
                    <a:pt x="954" y="2636"/>
                  </a:lnTo>
                  <a:lnTo>
                    <a:pt x="946" y="2636"/>
                  </a:lnTo>
                  <a:lnTo>
                    <a:pt x="942" y="2634"/>
                  </a:lnTo>
                  <a:lnTo>
                    <a:pt x="942" y="2634"/>
                  </a:lnTo>
                  <a:lnTo>
                    <a:pt x="942" y="2634"/>
                  </a:lnTo>
                  <a:lnTo>
                    <a:pt x="936" y="2634"/>
                  </a:lnTo>
                  <a:lnTo>
                    <a:pt x="936" y="2632"/>
                  </a:lnTo>
                  <a:lnTo>
                    <a:pt x="936" y="2632"/>
                  </a:lnTo>
                  <a:lnTo>
                    <a:pt x="934" y="2632"/>
                  </a:lnTo>
                  <a:lnTo>
                    <a:pt x="930" y="2632"/>
                  </a:lnTo>
                  <a:lnTo>
                    <a:pt x="930" y="2632"/>
                  </a:lnTo>
                  <a:lnTo>
                    <a:pt x="928" y="2632"/>
                  </a:lnTo>
                  <a:lnTo>
                    <a:pt x="924" y="2634"/>
                  </a:lnTo>
                  <a:lnTo>
                    <a:pt x="924" y="2634"/>
                  </a:lnTo>
                  <a:lnTo>
                    <a:pt x="924" y="2634"/>
                  </a:lnTo>
                  <a:lnTo>
                    <a:pt x="922" y="2636"/>
                  </a:lnTo>
                  <a:lnTo>
                    <a:pt x="918" y="2638"/>
                  </a:lnTo>
                  <a:lnTo>
                    <a:pt x="918" y="2638"/>
                  </a:lnTo>
                  <a:lnTo>
                    <a:pt x="916" y="2640"/>
                  </a:lnTo>
                  <a:lnTo>
                    <a:pt x="916" y="2642"/>
                  </a:lnTo>
                  <a:lnTo>
                    <a:pt x="916" y="2642"/>
                  </a:lnTo>
                  <a:lnTo>
                    <a:pt x="916" y="2642"/>
                  </a:lnTo>
                  <a:lnTo>
                    <a:pt x="914" y="2644"/>
                  </a:lnTo>
                  <a:lnTo>
                    <a:pt x="914" y="2648"/>
                  </a:lnTo>
                  <a:lnTo>
                    <a:pt x="914" y="2648"/>
                  </a:lnTo>
                  <a:lnTo>
                    <a:pt x="914" y="2648"/>
                  </a:lnTo>
                  <a:lnTo>
                    <a:pt x="912" y="2650"/>
                  </a:lnTo>
                  <a:lnTo>
                    <a:pt x="912" y="2658"/>
                  </a:lnTo>
                  <a:lnTo>
                    <a:pt x="912" y="2658"/>
                  </a:lnTo>
                  <a:lnTo>
                    <a:pt x="912" y="2660"/>
                  </a:lnTo>
                  <a:lnTo>
                    <a:pt x="914" y="2666"/>
                  </a:lnTo>
                  <a:lnTo>
                    <a:pt x="914" y="2686"/>
                  </a:lnTo>
                  <a:lnTo>
                    <a:pt x="914" y="2686"/>
                  </a:lnTo>
                  <a:lnTo>
                    <a:pt x="916" y="2688"/>
                  </a:lnTo>
                  <a:lnTo>
                    <a:pt x="918" y="2690"/>
                  </a:lnTo>
                  <a:lnTo>
                    <a:pt x="918" y="2690"/>
                  </a:lnTo>
                  <a:lnTo>
                    <a:pt x="920" y="2690"/>
                  </a:lnTo>
                  <a:lnTo>
                    <a:pt x="920" y="2690"/>
                  </a:lnTo>
                  <a:lnTo>
                    <a:pt x="920" y="2692"/>
                  </a:lnTo>
                  <a:lnTo>
                    <a:pt x="920" y="2692"/>
                  </a:lnTo>
                  <a:lnTo>
                    <a:pt x="920" y="2696"/>
                  </a:lnTo>
                  <a:lnTo>
                    <a:pt x="920" y="2696"/>
                  </a:lnTo>
                  <a:lnTo>
                    <a:pt x="918" y="2696"/>
                  </a:lnTo>
                  <a:lnTo>
                    <a:pt x="918" y="2726"/>
                  </a:lnTo>
                  <a:lnTo>
                    <a:pt x="918" y="2726"/>
                  </a:lnTo>
                  <a:lnTo>
                    <a:pt x="918" y="2728"/>
                  </a:lnTo>
                  <a:lnTo>
                    <a:pt x="916" y="2728"/>
                  </a:lnTo>
                  <a:lnTo>
                    <a:pt x="916" y="2728"/>
                  </a:lnTo>
                  <a:lnTo>
                    <a:pt x="916" y="2730"/>
                  </a:lnTo>
                  <a:lnTo>
                    <a:pt x="912" y="2736"/>
                  </a:lnTo>
                  <a:lnTo>
                    <a:pt x="912" y="2736"/>
                  </a:lnTo>
                  <a:lnTo>
                    <a:pt x="912" y="2736"/>
                  </a:lnTo>
                  <a:lnTo>
                    <a:pt x="912" y="2742"/>
                  </a:lnTo>
                  <a:lnTo>
                    <a:pt x="910" y="2750"/>
                  </a:lnTo>
                  <a:lnTo>
                    <a:pt x="910" y="2750"/>
                  </a:lnTo>
                  <a:lnTo>
                    <a:pt x="910" y="2752"/>
                  </a:lnTo>
                  <a:lnTo>
                    <a:pt x="912" y="2768"/>
                  </a:lnTo>
                  <a:lnTo>
                    <a:pt x="912" y="2780"/>
                  </a:lnTo>
                  <a:lnTo>
                    <a:pt x="910" y="2788"/>
                  </a:lnTo>
                  <a:lnTo>
                    <a:pt x="908" y="2796"/>
                  </a:lnTo>
                  <a:lnTo>
                    <a:pt x="900" y="2810"/>
                  </a:lnTo>
                  <a:lnTo>
                    <a:pt x="880" y="2838"/>
                  </a:lnTo>
                  <a:lnTo>
                    <a:pt x="858" y="2870"/>
                  </a:lnTo>
                  <a:lnTo>
                    <a:pt x="838" y="2900"/>
                  </a:lnTo>
                  <a:lnTo>
                    <a:pt x="832" y="2914"/>
                  </a:lnTo>
                  <a:lnTo>
                    <a:pt x="832" y="2914"/>
                  </a:lnTo>
                  <a:lnTo>
                    <a:pt x="832" y="2914"/>
                  </a:lnTo>
                  <a:lnTo>
                    <a:pt x="828" y="2928"/>
                  </a:lnTo>
                  <a:lnTo>
                    <a:pt x="826" y="2936"/>
                  </a:lnTo>
                  <a:lnTo>
                    <a:pt x="826" y="2936"/>
                  </a:lnTo>
                  <a:lnTo>
                    <a:pt x="826" y="2936"/>
                  </a:lnTo>
                  <a:lnTo>
                    <a:pt x="826" y="2942"/>
                  </a:lnTo>
                  <a:lnTo>
                    <a:pt x="826" y="2942"/>
                  </a:lnTo>
                  <a:lnTo>
                    <a:pt x="826" y="2944"/>
                  </a:lnTo>
                  <a:lnTo>
                    <a:pt x="830" y="2950"/>
                  </a:lnTo>
                  <a:lnTo>
                    <a:pt x="830" y="2950"/>
                  </a:lnTo>
                  <a:lnTo>
                    <a:pt x="832" y="2950"/>
                  </a:lnTo>
                  <a:lnTo>
                    <a:pt x="834" y="2952"/>
                  </a:lnTo>
                  <a:lnTo>
                    <a:pt x="832" y="2962"/>
                  </a:lnTo>
                  <a:lnTo>
                    <a:pt x="832" y="2962"/>
                  </a:lnTo>
                  <a:lnTo>
                    <a:pt x="832" y="2964"/>
                  </a:lnTo>
                  <a:lnTo>
                    <a:pt x="834" y="2968"/>
                  </a:lnTo>
                  <a:lnTo>
                    <a:pt x="834" y="2968"/>
                  </a:lnTo>
                  <a:lnTo>
                    <a:pt x="834" y="2968"/>
                  </a:lnTo>
                  <a:lnTo>
                    <a:pt x="836" y="2970"/>
                  </a:lnTo>
                  <a:lnTo>
                    <a:pt x="836" y="2970"/>
                  </a:lnTo>
                  <a:lnTo>
                    <a:pt x="840" y="2970"/>
                  </a:lnTo>
                  <a:lnTo>
                    <a:pt x="850" y="2970"/>
                  </a:lnTo>
                  <a:lnTo>
                    <a:pt x="852" y="2970"/>
                  </a:lnTo>
                  <a:lnTo>
                    <a:pt x="850" y="2990"/>
                  </a:lnTo>
                  <a:lnTo>
                    <a:pt x="848" y="3000"/>
                  </a:lnTo>
                  <a:lnTo>
                    <a:pt x="846" y="3010"/>
                  </a:lnTo>
                  <a:lnTo>
                    <a:pt x="836" y="3020"/>
                  </a:lnTo>
                  <a:lnTo>
                    <a:pt x="828" y="3030"/>
                  </a:lnTo>
                  <a:lnTo>
                    <a:pt x="824" y="3036"/>
                  </a:lnTo>
                  <a:lnTo>
                    <a:pt x="824" y="3036"/>
                  </a:lnTo>
                  <a:lnTo>
                    <a:pt x="824" y="3038"/>
                  </a:lnTo>
                  <a:lnTo>
                    <a:pt x="822" y="3044"/>
                  </a:lnTo>
                  <a:lnTo>
                    <a:pt x="820" y="3050"/>
                  </a:lnTo>
                  <a:lnTo>
                    <a:pt x="820" y="3050"/>
                  </a:lnTo>
                  <a:lnTo>
                    <a:pt x="820" y="3050"/>
                  </a:lnTo>
                  <a:lnTo>
                    <a:pt x="820" y="3058"/>
                  </a:lnTo>
                  <a:lnTo>
                    <a:pt x="820" y="3058"/>
                  </a:lnTo>
                  <a:lnTo>
                    <a:pt x="820" y="3060"/>
                  </a:lnTo>
                  <a:lnTo>
                    <a:pt x="822" y="3062"/>
                  </a:lnTo>
                  <a:lnTo>
                    <a:pt x="822" y="3062"/>
                  </a:lnTo>
                  <a:lnTo>
                    <a:pt x="824" y="3062"/>
                  </a:lnTo>
                  <a:lnTo>
                    <a:pt x="828" y="3064"/>
                  </a:lnTo>
                  <a:lnTo>
                    <a:pt x="828" y="3064"/>
                  </a:lnTo>
                  <a:lnTo>
                    <a:pt x="828" y="3064"/>
                  </a:lnTo>
                  <a:lnTo>
                    <a:pt x="836" y="3064"/>
                  </a:lnTo>
                  <a:lnTo>
                    <a:pt x="854" y="3066"/>
                  </a:lnTo>
                  <a:lnTo>
                    <a:pt x="866" y="3070"/>
                  </a:lnTo>
                  <a:lnTo>
                    <a:pt x="876" y="3076"/>
                  </a:lnTo>
                  <a:lnTo>
                    <a:pt x="890" y="3084"/>
                  </a:lnTo>
                  <a:lnTo>
                    <a:pt x="890" y="3084"/>
                  </a:lnTo>
                  <a:lnTo>
                    <a:pt x="890" y="3084"/>
                  </a:lnTo>
                  <a:lnTo>
                    <a:pt x="898" y="3086"/>
                  </a:lnTo>
                  <a:lnTo>
                    <a:pt x="902" y="3086"/>
                  </a:lnTo>
                  <a:lnTo>
                    <a:pt x="902" y="3086"/>
                  </a:lnTo>
                  <a:lnTo>
                    <a:pt x="904" y="3086"/>
                  </a:lnTo>
                  <a:lnTo>
                    <a:pt x="906" y="3084"/>
                  </a:lnTo>
                  <a:lnTo>
                    <a:pt x="906" y="3084"/>
                  </a:lnTo>
                  <a:lnTo>
                    <a:pt x="908" y="3082"/>
                  </a:lnTo>
                  <a:lnTo>
                    <a:pt x="910" y="3082"/>
                  </a:lnTo>
                  <a:lnTo>
                    <a:pt x="910" y="3082"/>
                  </a:lnTo>
                  <a:lnTo>
                    <a:pt x="910" y="3082"/>
                  </a:lnTo>
                  <a:lnTo>
                    <a:pt x="916" y="3080"/>
                  </a:lnTo>
                  <a:lnTo>
                    <a:pt x="916" y="3080"/>
                  </a:lnTo>
                  <a:lnTo>
                    <a:pt x="916" y="3080"/>
                  </a:lnTo>
                  <a:lnTo>
                    <a:pt x="920" y="3078"/>
                  </a:lnTo>
                  <a:lnTo>
                    <a:pt x="932" y="3078"/>
                  </a:lnTo>
                  <a:lnTo>
                    <a:pt x="936" y="3080"/>
                  </a:lnTo>
                  <a:lnTo>
                    <a:pt x="936" y="3080"/>
                  </a:lnTo>
                  <a:lnTo>
                    <a:pt x="938" y="3080"/>
                  </a:lnTo>
                  <a:lnTo>
                    <a:pt x="938" y="3080"/>
                  </a:lnTo>
                  <a:lnTo>
                    <a:pt x="938" y="3080"/>
                  </a:lnTo>
                  <a:lnTo>
                    <a:pt x="940" y="3082"/>
                  </a:lnTo>
                  <a:lnTo>
                    <a:pt x="942" y="3084"/>
                  </a:lnTo>
                  <a:lnTo>
                    <a:pt x="942" y="3086"/>
                  </a:lnTo>
                  <a:lnTo>
                    <a:pt x="942" y="3090"/>
                  </a:lnTo>
                  <a:lnTo>
                    <a:pt x="942" y="3090"/>
                  </a:lnTo>
                  <a:lnTo>
                    <a:pt x="942" y="3090"/>
                  </a:lnTo>
                  <a:lnTo>
                    <a:pt x="944" y="3096"/>
                  </a:lnTo>
                  <a:lnTo>
                    <a:pt x="944" y="3120"/>
                  </a:lnTo>
                  <a:lnTo>
                    <a:pt x="944" y="3120"/>
                  </a:lnTo>
                  <a:lnTo>
                    <a:pt x="946" y="3122"/>
                  </a:lnTo>
                  <a:lnTo>
                    <a:pt x="948" y="3124"/>
                  </a:lnTo>
                  <a:lnTo>
                    <a:pt x="950" y="3126"/>
                  </a:lnTo>
                  <a:lnTo>
                    <a:pt x="952" y="3128"/>
                  </a:lnTo>
                  <a:lnTo>
                    <a:pt x="956" y="3132"/>
                  </a:lnTo>
                  <a:lnTo>
                    <a:pt x="958" y="3136"/>
                  </a:lnTo>
                  <a:lnTo>
                    <a:pt x="958" y="3136"/>
                  </a:lnTo>
                  <a:lnTo>
                    <a:pt x="958" y="3136"/>
                  </a:lnTo>
                  <a:lnTo>
                    <a:pt x="960" y="3138"/>
                  </a:lnTo>
                  <a:lnTo>
                    <a:pt x="960" y="3148"/>
                  </a:lnTo>
                  <a:lnTo>
                    <a:pt x="960" y="3148"/>
                  </a:lnTo>
                  <a:lnTo>
                    <a:pt x="962" y="3150"/>
                  </a:lnTo>
                  <a:lnTo>
                    <a:pt x="966" y="3154"/>
                  </a:lnTo>
                  <a:lnTo>
                    <a:pt x="968" y="3158"/>
                  </a:lnTo>
                  <a:lnTo>
                    <a:pt x="970" y="3162"/>
                  </a:lnTo>
                  <a:lnTo>
                    <a:pt x="970" y="3162"/>
                  </a:lnTo>
                  <a:lnTo>
                    <a:pt x="970" y="3162"/>
                  </a:lnTo>
                  <a:lnTo>
                    <a:pt x="974" y="3166"/>
                  </a:lnTo>
                  <a:lnTo>
                    <a:pt x="976" y="3168"/>
                  </a:lnTo>
                  <a:lnTo>
                    <a:pt x="976" y="3168"/>
                  </a:lnTo>
                  <a:lnTo>
                    <a:pt x="976" y="3168"/>
                  </a:lnTo>
                  <a:lnTo>
                    <a:pt x="980" y="3170"/>
                  </a:lnTo>
                  <a:lnTo>
                    <a:pt x="982" y="3172"/>
                  </a:lnTo>
                  <a:lnTo>
                    <a:pt x="982" y="3172"/>
                  </a:lnTo>
                  <a:lnTo>
                    <a:pt x="984" y="3172"/>
                  </a:lnTo>
                  <a:lnTo>
                    <a:pt x="988" y="3172"/>
                  </a:lnTo>
                  <a:lnTo>
                    <a:pt x="990" y="3174"/>
                  </a:lnTo>
                  <a:lnTo>
                    <a:pt x="990" y="3174"/>
                  </a:lnTo>
                  <a:lnTo>
                    <a:pt x="994" y="3174"/>
                  </a:lnTo>
                  <a:lnTo>
                    <a:pt x="994" y="3172"/>
                  </a:lnTo>
                  <a:lnTo>
                    <a:pt x="998" y="3172"/>
                  </a:lnTo>
                  <a:lnTo>
                    <a:pt x="998" y="3172"/>
                  </a:lnTo>
                  <a:lnTo>
                    <a:pt x="1000" y="3172"/>
                  </a:lnTo>
                  <a:lnTo>
                    <a:pt x="1004" y="3170"/>
                  </a:lnTo>
                  <a:lnTo>
                    <a:pt x="1004" y="3170"/>
                  </a:lnTo>
                  <a:lnTo>
                    <a:pt x="1004" y="3170"/>
                  </a:lnTo>
                  <a:lnTo>
                    <a:pt x="1006" y="3166"/>
                  </a:lnTo>
                  <a:lnTo>
                    <a:pt x="1006" y="3166"/>
                  </a:lnTo>
                  <a:lnTo>
                    <a:pt x="1006" y="3166"/>
                  </a:lnTo>
                  <a:lnTo>
                    <a:pt x="1008" y="3166"/>
                  </a:lnTo>
                  <a:lnTo>
                    <a:pt x="1010" y="3164"/>
                  </a:lnTo>
                  <a:lnTo>
                    <a:pt x="1010" y="3164"/>
                  </a:lnTo>
                  <a:lnTo>
                    <a:pt x="1010" y="3162"/>
                  </a:lnTo>
                  <a:lnTo>
                    <a:pt x="1012" y="3158"/>
                  </a:lnTo>
                  <a:lnTo>
                    <a:pt x="1014" y="3156"/>
                  </a:lnTo>
                  <a:lnTo>
                    <a:pt x="1014" y="3154"/>
                  </a:lnTo>
                  <a:lnTo>
                    <a:pt x="1016" y="3156"/>
                  </a:lnTo>
                  <a:lnTo>
                    <a:pt x="1016" y="3156"/>
                  </a:lnTo>
                  <a:lnTo>
                    <a:pt x="1018" y="3156"/>
                  </a:lnTo>
                  <a:lnTo>
                    <a:pt x="1020" y="3156"/>
                  </a:lnTo>
                  <a:lnTo>
                    <a:pt x="1022" y="3158"/>
                  </a:lnTo>
                  <a:lnTo>
                    <a:pt x="1026" y="3160"/>
                  </a:lnTo>
                  <a:lnTo>
                    <a:pt x="1026" y="3160"/>
                  </a:lnTo>
                  <a:lnTo>
                    <a:pt x="1028" y="3160"/>
                  </a:lnTo>
                  <a:lnTo>
                    <a:pt x="1038" y="3160"/>
                  </a:lnTo>
                  <a:lnTo>
                    <a:pt x="1038" y="3160"/>
                  </a:lnTo>
                  <a:lnTo>
                    <a:pt x="1040" y="3160"/>
                  </a:lnTo>
                  <a:lnTo>
                    <a:pt x="1040" y="3158"/>
                  </a:lnTo>
                  <a:lnTo>
                    <a:pt x="1044" y="3158"/>
                  </a:lnTo>
                  <a:lnTo>
                    <a:pt x="1044" y="3158"/>
                  </a:lnTo>
                  <a:lnTo>
                    <a:pt x="1046" y="3158"/>
                  </a:lnTo>
                  <a:lnTo>
                    <a:pt x="1046" y="3156"/>
                  </a:lnTo>
                  <a:lnTo>
                    <a:pt x="1048" y="3156"/>
                  </a:lnTo>
                  <a:lnTo>
                    <a:pt x="1048" y="3156"/>
                  </a:lnTo>
                  <a:lnTo>
                    <a:pt x="1048" y="3156"/>
                  </a:lnTo>
                  <a:lnTo>
                    <a:pt x="1056" y="3154"/>
                  </a:lnTo>
                  <a:lnTo>
                    <a:pt x="1056" y="3154"/>
                  </a:lnTo>
                  <a:lnTo>
                    <a:pt x="1058" y="3154"/>
                  </a:lnTo>
                  <a:lnTo>
                    <a:pt x="1060" y="3152"/>
                  </a:lnTo>
                  <a:lnTo>
                    <a:pt x="1084" y="3152"/>
                  </a:lnTo>
                  <a:lnTo>
                    <a:pt x="1086" y="3154"/>
                  </a:lnTo>
                  <a:lnTo>
                    <a:pt x="1086" y="3154"/>
                  </a:lnTo>
                  <a:lnTo>
                    <a:pt x="1088" y="3154"/>
                  </a:lnTo>
                  <a:lnTo>
                    <a:pt x="1104" y="3154"/>
                  </a:lnTo>
                  <a:lnTo>
                    <a:pt x="1104" y="3154"/>
                  </a:lnTo>
                  <a:lnTo>
                    <a:pt x="1104" y="3154"/>
                  </a:lnTo>
                  <a:lnTo>
                    <a:pt x="1110" y="3152"/>
                  </a:lnTo>
                  <a:lnTo>
                    <a:pt x="1132" y="3152"/>
                  </a:lnTo>
                  <a:lnTo>
                    <a:pt x="1136" y="3154"/>
                  </a:lnTo>
                  <a:lnTo>
                    <a:pt x="1136" y="3154"/>
                  </a:lnTo>
                  <a:lnTo>
                    <a:pt x="1138" y="3154"/>
                  </a:lnTo>
                  <a:lnTo>
                    <a:pt x="1138" y="3154"/>
                  </a:lnTo>
                  <a:lnTo>
                    <a:pt x="1140" y="3156"/>
                  </a:lnTo>
                  <a:lnTo>
                    <a:pt x="1140" y="3156"/>
                  </a:lnTo>
                  <a:lnTo>
                    <a:pt x="1140" y="3156"/>
                  </a:lnTo>
                  <a:lnTo>
                    <a:pt x="1146" y="3158"/>
                  </a:lnTo>
                  <a:lnTo>
                    <a:pt x="1148" y="3160"/>
                  </a:lnTo>
                  <a:lnTo>
                    <a:pt x="1148" y="3160"/>
                  </a:lnTo>
                  <a:lnTo>
                    <a:pt x="1150" y="3160"/>
                  </a:lnTo>
                  <a:lnTo>
                    <a:pt x="1150" y="3160"/>
                  </a:lnTo>
                  <a:lnTo>
                    <a:pt x="1152" y="3162"/>
                  </a:lnTo>
                  <a:lnTo>
                    <a:pt x="1152" y="3162"/>
                  </a:lnTo>
                  <a:lnTo>
                    <a:pt x="1154" y="3162"/>
                  </a:lnTo>
                  <a:lnTo>
                    <a:pt x="1166" y="3162"/>
                  </a:lnTo>
                  <a:lnTo>
                    <a:pt x="1166" y="3162"/>
                  </a:lnTo>
                  <a:lnTo>
                    <a:pt x="1166" y="3162"/>
                  </a:lnTo>
                  <a:lnTo>
                    <a:pt x="1172" y="3160"/>
                  </a:lnTo>
                  <a:lnTo>
                    <a:pt x="1172" y="3160"/>
                  </a:lnTo>
                  <a:lnTo>
                    <a:pt x="1174" y="3160"/>
                  </a:lnTo>
                  <a:lnTo>
                    <a:pt x="1176" y="3158"/>
                  </a:lnTo>
                  <a:lnTo>
                    <a:pt x="1178" y="3158"/>
                  </a:lnTo>
                  <a:lnTo>
                    <a:pt x="1178" y="3158"/>
                  </a:lnTo>
                  <a:lnTo>
                    <a:pt x="1178" y="3160"/>
                  </a:lnTo>
                  <a:lnTo>
                    <a:pt x="1178" y="3160"/>
                  </a:lnTo>
                  <a:lnTo>
                    <a:pt x="1180" y="3162"/>
                  </a:lnTo>
                  <a:lnTo>
                    <a:pt x="1182" y="3162"/>
                  </a:lnTo>
                  <a:lnTo>
                    <a:pt x="1182" y="3162"/>
                  </a:lnTo>
                  <a:lnTo>
                    <a:pt x="1182" y="3164"/>
                  </a:lnTo>
                  <a:lnTo>
                    <a:pt x="1184" y="3166"/>
                  </a:lnTo>
                  <a:lnTo>
                    <a:pt x="1184" y="3166"/>
                  </a:lnTo>
                  <a:lnTo>
                    <a:pt x="1186" y="3166"/>
                  </a:lnTo>
                  <a:lnTo>
                    <a:pt x="1192" y="3166"/>
                  </a:lnTo>
                  <a:lnTo>
                    <a:pt x="1192" y="3166"/>
                  </a:lnTo>
                  <a:lnTo>
                    <a:pt x="1194" y="3166"/>
                  </a:lnTo>
                  <a:lnTo>
                    <a:pt x="1198" y="3164"/>
                  </a:lnTo>
                  <a:lnTo>
                    <a:pt x="1202" y="3162"/>
                  </a:lnTo>
                  <a:lnTo>
                    <a:pt x="1202" y="3162"/>
                  </a:lnTo>
                  <a:lnTo>
                    <a:pt x="1202" y="3162"/>
                  </a:lnTo>
                  <a:lnTo>
                    <a:pt x="1204" y="3160"/>
                  </a:lnTo>
                  <a:lnTo>
                    <a:pt x="1208" y="3156"/>
                  </a:lnTo>
                  <a:lnTo>
                    <a:pt x="1208" y="3156"/>
                  </a:lnTo>
                  <a:lnTo>
                    <a:pt x="1208" y="3156"/>
                  </a:lnTo>
                  <a:lnTo>
                    <a:pt x="1210" y="3152"/>
                  </a:lnTo>
                  <a:lnTo>
                    <a:pt x="1212" y="3148"/>
                  </a:lnTo>
                  <a:lnTo>
                    <a:pt x="1218" y="3140"/>
                  </a:lnTo>
                  <a:lnTo>
                    <a:pt x="1218" y="3140"/>
                  </a:lnTo>
                  <a:lnTo>
                    <a:pt x="1218" y="3140"/>
                  </a:lnTo>
                  <a:lnTo>
                    <a:pt x="1220" y="3136"/>
                  </a:lnTo>
                  <a:lnTo>
                    <a:pt x="1222" y="3134"/>
                  </a:lnTo>
                  <a:lnTo>
                    <a:pt x="1224" y="3132"/>
                  </a:lnTo>
                  <a:lnTo>
                    <a:pt x="1226" y="3130"/>
                  </a:lnTo>
                  <a:lnTo>
                    <a:pt x="1228" y="3128"/>
                  </a:lnTo>
                  <a:lnTo>
                    <a:pt x="1230" y="3126"/>
                  </a:lnTo>
                  <a:lnTo>
                    <a:pt x="1232" y="3126"/>
                  </a:lnTo>
                  <a:lnTo>
                    <a:pt x="1232" y="3126"/>
                  </a:lnTo>
                  <a:lnTo>
                    <a:pt x="1234" y="3126"/>
                  </a:lnTo>
                  <a:lnTo>
                    <a:pt x="1236" y="3124"/>
                  </a:lnTo>
                  <a:lnTo>
                    <a:pt x="1250" y="3124"/>
                  </a:lnTo>
                  <a:lnTo>
                    <a:pt x="1258" y="3126"/>
                  </a:lnTo>
                  <a:lnTo>
                    <a:pt x="1258" y="3126"/>
                  </a:lnTo>
                  <a:lnTo>
                    <a:pt x="1258" y="3126"/>
                  </a:lnTo>
                  <a:lnTo>
                    <a:pt x="1280" y="3126"/>
                  </a:lnTo>
                  <a:lnTo>
                    <a:pt x="1280" y="3126"/>
                  </a:lnTo>
                  <a:lnTo>
                    <a:pt x="1282" y="3126"/>
                  </a:lnTo>
                  <a:lnTo>
                    <a:pt x="1284" y="3124"/>
                  </a:lnTo>
                  <a:lnTo>
                    <a:pt x="1284" y="3124"/>
                  </a:lnTo>
                  <a:lnTo>
                    <a:pt x="1284" y="3124"/>
                  </a:lnTo>
                  <a:lnTo>
                    <a:pt x="1288" y="3116"/>
                  </a:lnTo>
                  <a:lnTo>
                    <a:pt x="1292" y="3108"/>
                  </a:lnTo>
                  <a:lnTo>
                    <a:pt x="1296" y="3102"/>
                  </a:lnTo>
                  <a:lnTo>
                    <a:pt x="1300" y="3094"/>
                  </a:lnTo>
                  <a:lnTo>
                    <a:pt x="1300" y="3094"/>
                  </a:lnTo>
                  <a:lnTo>
                    <a:pt x="1300" y="3092"/>
                  </a:lnTo>
                  <a:lnTo>
                    <a:pt x="1302" y="3088"/>
                  </a:lnTo>
                  <a:lnTo>
                    <a:pt x="1308" y="3082"/>
                  </a:lnTo>
                  <a:lnTo>
                    <a:pt x="1310" y="3080"/>
                  </a:lnTo>
                  <a:lnTo>
                    <a:pt x="1314" y="3078"/>
                  </a:lnTo>
                  <a:lnTo>
                    <a:pt x="1314" y="3078"/>
                  </a:lnTo>
                  <a:lnTo>
                    <a:pt x="1314" y="3078"/>
                  </a:lnTo>
                  <a:lnTo>
                    <a:pt x="1316" y="3074"/>
                  </a:lnTo>
                  <a:lnTo>
                    <a:pt x="1320" y="3072"/>
                  </a:lnTo>
                  <a:lnTo>
                    <a:pt x="1322" y="3070"/>
                  </a:lnTo>
                  <a:lnTo>
                    <a:pt x="1328" y="3070"/>
                  </a:lnTo>
                  <a:lnTo>
                    <a:pt x="1328" y="3070"/>
                  </a:lnTo>
                  <a:lnTo>
                    <a:pt x="1330" y="3070"/>
                  </a:lnTo>
                  <a:lnTo>
                    <a:pt x="1334" y="3068"/>
                  </a:lnTo>
                  <a:lnTo>
                    <a:pt x="1332" y="3068"/>
                  </a:lnTo>
                  <a:lnTo>
                    <a:pt x="1338" y="3066"/>
                  </a:lnTo>
                  <a:lnTo>
                    <a:pt x="1338" y="3066"/>
                  </a:lnTo>
                  <a:lnTo>
                    <a:pt x="1340" y="3066"/>
                  </a:lnTo>
                  <a:lnTo>
                    <a:pt x="1344" y="3064"/>
                  </a:lnTo>
                  <a:lnTo>
                    <a:pt x="1344" y="3064"/>
                  </a:lnTo>
                  <a:lnTo>
                    <a:pt x="1344" y="3062"/>
                  </a:lnTo>
                  <a:lnTo>
                    <a:pt x="1344" y="3062"/>
                  </a:lnTo>
                  <a:lnTo>
                    <a:pt x="1348" y="3060"/>
                  </a:lnTo>
                  <a:lnTo>
                    <a:pt x="1348" y="3060"/>
                  </a:lnTo>
                  <a:lnTo>
                    <a:pt x="1348" y="3058"/>
                  </a:lnTo>
                  <a:lnTo>
                    <a:pt x="1348" y="3056"/>
                  </a:lnTo>
                  <a:lnTo>
                    <a:pt x="1348" y="3056"/>
                  </a:lnTo>
                  <a:lnTo>
                    <a:pt x="1350" y="3054"/>
                  </a:lnTo>
                  <a:lnTo>
                    <a:pt x="1350" y="3040"/>
                  </a:lnTo>
                  <a:lnTo>
                    <a:pt x="1350" y="3040"/>
                  </a:lnTo>
                  <a:lnTo>
                    <a:pt x="1350" y="3038"/>
                  </a:lnTo>
                  <a:lnTo>
                    <a:pt x="1348" y="3034"/>
                  </a:lnTo>
                  <a:lnTo>
                    <a:pt x="1348" y="3034"/>
                  </a:lnTo>
                  <a:lnTo>
                    <a:pt x="1348" y="3034"/>
                  </a:lnTo>
                  <a:lnTo>
                    <a:pt x="1344" y="3030"/>
                  </a:lnTo>
                  <a:lnTo>
                    <a:pt x="1342" y="3028"/>
                  </a:lnTo>
                  <a:lnTo>
                    <a:pt x="1338" y="3024"/>
                  </a:lnTo>
                  <a:lnTo>
                    <a:pt x="1336" y="3020"/>
                  </a:lnTo>
                  <a:lnTo>
                    <a:pt x="1336" y="3020"/>
                  </a:lnTo>
                  <a:lnTo>
                    <a:pt x="1336" y="3020"/>
                  </a:lnTo>
                  <a:lnTo>
                    <a:pt x="1334" y="3018"/>
                  </a:lnTo>
                  <a:lnTo>
                    <a:pt x="1332" y="3014"/>
                  </a:lnTo>
                  <a:lnTo>
                    <a:pt x="1332" y="3016"/>
                  </a:lnTo>
                  <a:lnTo>
                    <a:pt x="1330" y="3010"/>
                  </a:lnTo>
                  <a:lnTo>
                    <a:pt x="1330" y="3006"/>
                  </a:lnTo>
                  <a:lnTo>
                    <a:pt x="1330" y="3006"/>
                  </a:lnTo>
                  <a:lnTo>
                    <a:pt x="1330" y="3006"/>
                  </a:lnTo>
                  <a:lnTo>
                    <a:pt x="1328" y="3000"/>
                  </a:lnTo>
                  <a:lnTo>
                    <a:pt x="1330" y="2996"/>
                  </a:lnTo>
                  <a:lnTo>
                    <a:pt x="1330" y="2996"/>
                  </a:lnTo>
                  <a:lnTo>
                    <a:pt x="1330" y="2994"/>
                  </a:lnTo>
                  <a:lnTo>
                    <a:pt x="1330" y="2992"/>
                  </a:lnTo>
                  <a:lnTo>
                    <a:pt x="1334" y="2986"/>
                  </a:lnTo>
                  <a:lnTo>
                    <a:pt x="1336" y="2982"/>
                  </a:lnTo>
                  <a:lnTo>
                    <a:pt x="1340" y="2976"/>
                  </a:lnTo>
                  <a:lnTo>
                    <a:pt x="1344" y="2972"/>
                  </a:lnTo>
                  <a:lnTo>
                    <a:pt x="1348" y="2968"/>
                  </a:lnTo>
                  <a:lnTo>
                    <a:pt x="1356" y="2958"/>
                  </a:lnTo>
                  <a:lnTo>
                    <a:pt x="1366" y="2948"/>
                  </a:lnTo>
                  <a:lnTo>
                    <a:pt x="1370" y="2944"/>
                  </a:lnTo>
                  <a:lnTo>
                    <a:pt x="1374" y="2940"/>
                  </a:lnTo>
                  <a:lnTo>
                    <a:pt x="1374" y="2940"/>
                  </a:lnTo>
                  <a:lnTo>
                    <a:pt x="1382" y="2934"/>
                  </a:lnTo>
                  <a:lnTo>
                    <a:pt x="1392" y="2926"/>
                  </a:lnTo>
                  <a:lnTo>
                    <a:pt x="1400" y="2920"/>
                  </a:lnTo>
                  <a:lnTo>
                    <a:pt x="1400" y="2920"/>
                  </a:lnTo>
                  <a:lnTo>
                    <a:pt x="1400" y="2920"/>
                  </a:lnTo>
                  <a:lnTo>
                    <a:pt x="1404" y="2916"/>
                  </a:lnTo>
                  <a:lnTo>
                    <a:pt x="1404" y="2916"/>
                  </a:lnTo>
                  <a:lnTo>
                    <a:pt x="1404" y="2916"/>
                  </a:lnTo>
                  <a:lnTo>
                    <a:pt x="1406" y="2912"/>
                  </a:lnTo>
                  <a:lnTo>
                    <a:pt x="1410" y="2910"/>
                  </a:lnTo>
                  <a:lnTo>
                    <a:pt x="1410" y="2910"/>
                  </a:lnTo>
                  <a:lnTo>
                    <a:pt x="1410" y="2910"/>
                  </a:lnTo>
                  <a:lnTo>
                    <a:pt x="1412" y="2908"/>
                  </a:lnTo>
                  <a:lnTo>
                    <a:pt x="1414" y="2906"/>
                  </a:lnTo>
                  <a:lnTo>
                    <a:pt x="1416" y="2904"/>
                  </a:lnTo>
                  <a:lnTo>
                    <a:pt x="1416" y="2904"/>
                  </a:lnTo>
                  <a:lnTo>
                    <a:pt x="1416" y="2904"/>
                  </a:lnTo>
                  <a:lnTo>
                    <a:pt x="1418" y="2900"/>
                  </a:lnTo>
                  <a:lnTo>
                    <a:pt x="1422" y="2898"/>
                  </a:lnTo>
                  <a:lnTo>
                    <a:pt x="1424" y="2898"/>
                  </a:lnTo>
                  <a:lnTo>
                    <a:pt x="1428" y="2898"/>
                  </a:lnTo>
                  <a:lnTo>
                    <a:pt x="1428" y="2898"/>
                  </a:lnTo>
                  <a:lnTo>
                    <a:pt x="1428" y="2898"/>
                  </a:lnTo>
                  <a:lnTo>
                    <a:pt x="1434" y="2896"/>
                  </a:lnTo>
                  <a:lnTo>
                    <a:pt x="1434" y="2896"/>
                  </a:lnTo>
                  <a:lnTo>
                    <a:pt x="1436" y="2894"/>
                  </a:lnTo>
                  <a:lnTo>
                    <a:pt x="1438" y="2892"/>
                  </a:lnTo>
                  <a:lnTo>
                    <a:pt x="1442" y="2890"/>
                  </a:lnTo>
                  <a:lnTo>
                    <a:pt x="1446" y="2888"/>
                  </a:lnTo>
                  <a:lnTo>
                    <a:pt x="1446" y="2888"/>
                  </a:lnTo>
                  <a:lnTo>
                    <a:pt x="1446" y="2888"/>
                  </a:lnTo>
                  <a:lnTo>
                    <a:pt x="1448" y="2888"/>
                  </a:lnTo>
                  <a:lnTo>
                    <a:pt x="1448" y="2888"/>
                  </a:lnTo>
                  <a:lnTo>
                    <a:pt x="1448" y="2888"/>
                  </a:lnTo>
                  <a:lnTo>
                    <a:pt x="1450" y="2886"/>
                  </a:lnTo>
                  <a:lnTo>
                    <a:pt x="1452" y="2884"/>
                  </a:lnTo>
                  <a:lnTo>
                    <a:pt x="1454" y="2884"/>
                  </a:lnTo>
                  <a:lnTo>
                    <a:pt x="1456" y="2884"/>
                  </a:lnTo>
                  <a:lnTo>
                    <a:pt x="1456" y="2884"/>
                  </a:lnTo>
                  <a:lnTo>
                    <a:pt x="1458" y="2882"/>
                  </a:lnTo>
                  <a:lnTo>
                    <a:pt x="1460" y="2882"/>
                  </a:lnTo>
                  <a:lnTo>
                    <a:pt x="1466" y="2882"/>
                  </a:lnTo>
                  <a:lnTo>
                    <a:pt x="1466" y="2882"/>
                  </a:lnTo>
                  <a:lnTo>
                    <a:pt x="1468" y="2880"/>
                  </a:lnTo>
                  <a:lnTo>
                    <a:pt x="1470" y="2880"/>
                  </a:lnTo>
                  <a:lnTo>
                    <a:pt x="1488" y="2880"/>
                  </a:lnTo>
                  <a:lnTo>
                    <a:pt x="1488" y="2880"/>
                  </a:lnTo>
                  <a:lnTo>
                    <a:pt x="1488" y="2880"/>
                  </a:lnTo>
                  <a:lnTo>
                    <a:pt x="1494" y="2878"/>
                  </a:lnTo>
                  <a:lnTo>
                    <a:pt x="1494" y="2878"/>
                  </a:lnTo>
                  <a:lnTo>
                    <a:pt x="1496" y="2876"/>
                  </a:lnTo>
                  <a:lnTo>
                    <a:pt x="1502" y="2872"/>
                  </a:lnTo>
                  <a:lnTo>
                    <a:pt x="1508" y="2868"/>
                  </a:lnTo>
                  <a:lnTo>
                    <a:pt x="1516" y="2864"/>
                  </a:lnTo>
                  <a:lnTo>
                    <a:pt x="1522" y="2860"/>
                  </a:lnTo>
                  <a:lnTo>
                    <a:pt x="1522" y="2860"/>
                  </a:lnTo>
                  <a:lnTo>
                    <a:pt x="1522" y="2860"/>
                  </a:lnTo>
                  <a:lnTo>
                    <a:pt x="1528" y="2854"/>
                  </a:lnTo>
                  <a:lnTo>
                    <a:pt x="1530" y="2852"/>
                  </a:lnTo>
                  <a:lnTo>
                    <a:pt x="1532" y="2850"/>
                  </a:lnTo>
                  <a:lnTo>
                    <a:pt x="1532" y="2850"/>
                  </a:lnTo>
                  <a:lnTo>
                    <a:pt x="1532" y="2850"/>
                  </a:lnTo>
                  <a:lnTo>
                    <a:pt x="1534" y="2846"/>
                  </a:lnTo>
                  <a:lnTo>
                    <a:pt x="1534" y="2846"/>
                  </a:lnTo>
                  <a:lnTo>
                    <a:pt x="1534" y="2844"/>
                  </a:lnTo>
                  <a:lnTo>
                    <a:pt x="1534" y="2844"/>
                  </a:lnTo>
                  <a:lnTo>
                    <a:pt x="1536" y="2840"/>
                  </a:lnTo>
                  <a:lnTo>
                    <a:pt x="1536" y="2840"/>
                  </a:lnTo>
                  <a:lnTo>
                    <a:pt x="1536" y="2838"/>
                  </a:lnTo>
                  <a:lnTo>
                    <a:pt x="1536" y="2824"/>
                  </a:lnTo>
                  <a:lnTo>
                    <a:pt x="1534" y="2814"/>
                  </a:lnTo>
                  <a:lnTo>
                    <a:pt x="1532" y="2804"/>
                  </a:lnTo>
                  <a:lnTo>
                    <a:pt x="1532" y="2804"/>
                  </a:lnTo>
                  <a:lnTo>
                    <a:pt x="1532" y="2802"/>
                  </a:lnTo>
                  <a:lnTo>
                    <a:pt x="1532" y="2802"/>
                  </a:lnTo>
                  <a:lnTo>
                    <a:pt x="1532" y="2792"/>
                  </a:lnTo>
                  <a:lnTo>
                    <a:pt x="1532" y="2784"/>
                  </a:lnTo>
                  <a:lnTo>
                    <a:pt x="1532" y="2778"/>
                  </a:lnTo>
                  <a:lnTo>
                    <a:pt x="1534" y="2772"/>
                  </a:lnTo>
                  <a:lnTo>
                    <a:pt x="1536" y="2766"/>
                  </a:lnTo>
                  <a:lnTo>
                    <a:pt x="1536" y="2766"/>
                  </a:lnTo>
                  <a:lnTo>
                    <a:pt x="1538" y="2762"/>
                  </a:lnTo>
                  <a:lnTo>
                    <a:pt x="1542" y="2756"/>
                  </a:lnTo>
                  <a:lnTo>
                    <a:pt x="1546" y="2752"/>
                  </a:lnTo>
                  <a:lnTo>
                    <a:pt x="1552" y="2748"/>
                  </a:lnTo>
                  <a:lnTo>
                    <a:pt x="1556" y="2744"/>
                  </a:lnTo>
                  <a:lnTo>
                    <a:pt x="1562" y="2742"/>
                  </a:lnTo>
                  <a:lnTo>
                    <a:pt x="1560" y="2742"/>
                  </a:lnTo>
                  <a:lnTo>
                    <a:pt x="1566" y="2740"/>
                  </a:lnTo>
                  <a:lnTo>
                    <a:pt x="1570" y="2738"/>
                  </a:lnTo>
                  <a:lnTo>
                    <a:pt x="1574" y="2738"/>
                  </a:lnTo>
                  <a:lnTo>
                    <a:pt x="1580" y="2738"/>
                  </a:lnTo>
                  <a:lnTo>
                    <a:pt x="1586" y="2738"/>
                  </a:lnTo>
                  <a:lnTo>
                    <a:pt x="1590" y="2740"/>
                  </a:lnTo>
                  <a:lnTo>
                    <a:pt x="1596" y="2740"/>
                  </a:lnTo>
                  <a:lnTo>
                    <a:pt x="1602" y="2742"/>
                  </a:lnTo>
                  <a:lnTo>
                    <a:pt x="1612" y="2746"/>
                  </a:lnTo>
                  <a:lnTo>
                    <a:pt x="1622" y="2752"/>
                  </a:lnTo>
                  <a:lnTo>
                    <a:pt x="1632" y="2756"/>
                  </a:lnTo>
                  <a:lnTo>
                    <a:pt x="1638" y="2758"/>
                  </a:lnTo>
                  <a:lnTo>
                    <a:pt x="1642" y="2762"/>
                  </a:lnTo>
                  <a:lnTo>
                    <a:pt x="1650" y="2766"/>
                  </a:lnTo>
                  <a:lnTo>
                    <a:pt x="1656" y="2770"/>
                  </a:lnTo>
                  <a:lnTo>
                    <a:pt x="1662" y="2774"/>
                  </a:lnTo>
                  <a:lnTo>
                    <a:pt x="1670" y="2776"/>
                  </a:lnTo>
                  <a:lnTo>
                    <a:pt x="1676" y="2780"/>
                  </a:lnTo>
                  <a:lnTo>
                    <a:pt x="1680" y="2780"/>
                  </a:lnTo>
                  <a:lnTo>
                    <a:pt x="1682" y="2780"/>
                  </a:lnTo>
                  <a:lnTo>
                    <a:pt x="1682" y="2780"/>
                  </a:lnTo>
                  <a:lnTo>
                    <a:pt x="1682" y="2780"/>
                  </a:lnTo>
                  <a:lnTo>
                    <a:pt x="1688" y="2780"/>
                  </a:lnTo>
                  <a:lnTo>
                    <a:pt x="1688" y="2780"/>
                  </a:lnTo>
                  <a:lnTo>
                    <a:pt x="1688" y="2780"/>
                  </a:lnTo>
                  <a:lnTo>
                    <a:pt x="1692" y="2778"/>
                  </a:lnTo>
                  <a:lnTo>
                    <a:pt x="1698" y="2774"/>
                  </a:lnTo>
                  <a:lnTo>
                    <a:pt x="1704" y="2770"/>
                  </a:lnTo>
                  <a:lnTo>
                    <a:pt x="1708" y="2768"/>
                  </a:lnTo>
                  <a:lnTo>
                    <a:pt x="1714" y="2764"/>
                  </a:lnTo>
                  <a:lnTo>
                    <a:pt x="1718" y="2760"/>
                  </a:lnTo>
                  <a:lnTo>
                    <a:pt x="1722" y="2756"/>
                  </a:lnTo>
                  <a:lnTo>
                    <a:pt x="1726" y="2752"/>
                  </a:lnTo>
                  <a:lnTo>
                    <a:pt x="1730" y="2748"/>
                  </a:lnTo>
                  <a:lnTo>
                    <a:pt x="1734" y="2746"/>
                  </a:lnTo>
                  <a:lnTo>
                    <a:pt x="1738" y="2742"/>
                  </a:lnTo>
                  <a:lnTo>
                    <a:pt x="1740" y="2740"/>
                  </a:lnTo>
                  <a:lnTo>
                    <a:pt x="1744" y="2738"/>
                  </a:lnTo>
                  <a:lnTo>
                    <a:pt x="1748" y="2736"/>
                  </a:lnTo>
                  <a:lnTo>
                    <a:pt x="1752" y="2732"/>
                  </a:lnTo>
                  <a:lnTo>
                    <a:pt x="1752" y="2732"/>
                  </a:lnTo>
                  <a:lnTo>
                    <a:pt x="1752" y="2732"/>
                  </a:lnTo>
                  <a:lnTo>
                    <a:pt x="1752" y="2732"/>
                  </a:lnTo>
                  <a:lnTo>
                    <a:pt x="1752" y="2732"/>
                  </a:lnTo>
                  <a:lnTo>
                    <a:pt x="1752" y="2732"/>
                  </a:lnTo>
                  <a:lnTo>
                    <a:pt x="1754" y="2732"/>
                  </a:lnTo>
                  <a:lnTo>
                    <a:pt x="1756" y="2732"/>
                  </a:lnTo>
                  <a:lnTo>
                    <a:pt x="1758" y="2730"/>
                  </a:lnTo>
                  <a:lnTo>
                    <a:pt x="1758" y="2730"/>
                  </a:lnTo>
                  <a:lnTo>
                    <a:pt x="1758" y="2730"/>
                  </a:lnTo>
                  <a:lnTo>
                    <a:pt x="1762" y="2728"/>
                  </a:lnTo>
                  <a:lnTo>
                    <a:pt x="1766" y="2728"/>
                  </a:lnTo>
                  <a:lnTo>
                    <a:pt x="1768" y="2726"/>
                  </a:lnTo>
                  <a:lnTo>
                    <a:pt x="1770" y="2724"/>
                  </a:lnTo>
                  <a:lnTo>
                    <a:pt x="1774" y="2720"/>
                  </a:lnTo>
                  <a:lnTo>
                    <a:pt x="1774" y="2720"/>
                  </a:lnTo>
                  <a:lnTo>
                    <a:pt x="1774" y="2720"/>
                  </a:lnTo>
                  <a:lnTo>
                    <a:pt x="1778" y="2718"/>
                  </a:lnTo>
                  <a:lnTo>
                    <a:pt x="1780" y="2714"/>
                  </a:lnTo>
                  <a:lnTo>
                    <a:pt x="1782" y="2710"/>
                  </a:lnTo>
                  <a:lnTo>
                    <a:pt x="1784" y="2706"/>
                  </a:lnTo>
                  <a:lnTo>
                    <a:pt x="1786" y="2702"/>
                  </a:lnTo>
                  <a:lnTo>
                    <a:pt x="1788" y="2700"/>
                  </a:lnTo>
                  <a:lnTo>
                    <a:pt x="1792" y="2696"/>
                  </a:lnTo>
                  <a:lnTo>
                    <a:pt x="1794" y="2694"/>
                  </a:lnTo>
                  <a:lnTo>
                    <a:pt x="1798" y="2692"/>
                  </a:lnTo>
                  <a:lnTo>
                    <a:pt x="1804" y="2690"/>
                  </a:lnTo>
                  <a:lnTo>
                    <a:pt x="1808" y="2688"/>
                  </a:lnTo>
                  <a:lnTo>
                    <a:pt x="1814" y="2686"/>
                  </a:lnTo>
                  <a:lnTo>
                    <a:pt x="1820" y="2686"/>
                  </a:lnTo>
                  <a:lnTo>
                    <a:pt x="1826" y="2686"/>
                  </a:lnTo>
                  <a:lnTo>
                    <a:pt x="1832" y="2686"/>
                  </a:lnTo>
                  <a:lnTo>
                    <a:pt x="1838" y="2686"/>
                  </a:lnTo>
                  <a:lnTo>
                    <a:pt x="1850" y="2688"/>
                  </a:lnTo>
                  <a:lnTo>
                    <a:pt x="1854" y="2690"/>
                  </a:lnTo>
                  <a:lnTo>
                    <a:pt x="1860" y="2690"/>
                  </a:lnTo>
                  <a:lnTo>
                    <a:pt x="1864" y="2692"/>
                  </a:lnTo>
                  <a:lnTo>
                    <a:pt x="1868" y="2694"/>
                  </a:lnTo>
                  <a:lnTo>
                    <a:pt x="1872" y="2696"/>
                  </a:lnTo>
                  <a:lnTo>
                    <a:pt x="1872" y="2696"/>
                  </a:lnTo>
                  <a:lnTo>
                    <a:pt x="1874" y="2698"/>
                  </a:lnTo>
                  <a:lnTo>
                    <a:pt x="1878" y="2702"/>
                  </a:lnTo>
                  <a:lnTo>
                    <a:pt x="1880" y="2706"/>
                  </a:lnTo>
                  <a:lnTo>
                    <a:pt x="1884" y="2710"/>
                  </a:lnTo>
                  <a:lnTo>
                    <a:pt x="1886" y="2714"/>
                  </a:lnTo>
                  <a:lnTo>
                    <a:pt x="1890" y="2724"/>
                  </a:lnTo>
                  <a:lnTo>
                    <a:pt x="1892" y="2736"/>
                  </a:lnTo>
                  <a:lnTo>
                    <a:pt x="1894" y="2748"/>
                  </a:lnTo>
                  <a:lnTo>
                    <a:pt x="1896" y="2758"/>
                  </a:lnTo>
                  <a:lnTo>
                    <a:pt x="1894" y="2764"/>
                  </a:lnTo>
                  <a:lnTo>
                    <a:pt x="1894" y="2764"/>
                  </a:lnTo>
                  <a:lnTo>
                    <a:pt x="1894" y="2764"/>
                  </a:lnTo>
                  <a:lnTo>
                    <a:pt x="1892" y="2766"/>
                  </a:lnTo>
                  <a:lnTo>
                    <a:pt x="1890" y="2770"/>
                  </a:lnTo>
                  <a:lnTo>
                    <a:pt x="1888" y="2774"/>
                  </a:lnTo>
                  <a:lnTo>
                    <a:pt x="1888" y="2780"/>
                  </a:lnTo>
                  <a:lnTo>
                    <a:pt x="1886" y="2784"/>
                  </a:lnTo>
                  <a:lnTo>
                    <a:pt x="1886" y="2784"/>
                  </a:lnTo>
                  <a:lnTo>
                    <a:pt x="1886" y="2784"/>
                  </a:lnTo>
                  <a:lnTo>
                    <a:pt x="1886" y="2788"/>
                  </a:lnTo>
                  <a:lnTo>
                    <a:pt x="1886" y="2788"/>
                  </a:lnTo>
                  <a:lnTo>
                    <a:pt x="1886" y="2790"/>
                  </a:lnTo>
                  <a:lnTo>
                    <a:pt x="1888" y="2794"/>
                  </a:lnTo>
                  <a:lnTo>
                    <a:pt x="1888" y="2794"/>
                  </a:lnTo>
                  <a:lnTo>
                    <a:pt x="1888" y="2794"/>
                  </a:lnTo>
                  <a:lnTo>
                    <a:pt x="1890" y="2796"/>
                  </a:lnTo>
                  <a:lnTo>
                    <a:pt x="1890" y="2796"/>
                  </a:lnTo>
                  <a:lnTo>
                    <a:pt x="1890" y="2796"/>
                  </a:lnTo>
                  <a:lnTo>
                    <a:pt x="1890" y="2800"/>
                  </a:lnTo>
                  <a:lnTo>
                    <a:pt x="1892" y="2800"/>
                  </a:lnTo>
                  <a:lnTo>
                    <a:pt x="1892" y="2800"/>
                  </a:lnTo>
                  <a:lnTo>
                    <a:pt x="1894" y="2802"/>
                  </a:lnTo>
                  <a:lnTo>
                    <a:pt x="1896" y="2802"/>
                  </a:lnTo>
                  <a:lnTo>
                    <a:pt x="1896" y="2802"/>
                  </a:lnTo>
                  <a:lnTo>
                    <a:pt x="1898" y="2804"/>
                  </a:lnTo>
                  <a:lnTo>
                    <a:pt x="1900" y="2802"/>
                  </a:lnTo>
                  <a:lnTo>
                    <a:pt x="1902" y="2798"/>
                  </a:lnTo>
                  <a:lnTo>
                    <a:pt x="1906" y="2796"/>
                  </a:lnTo>
                  <a:lnTo>
                    <a:pt x="1908" y="2794"/>
                  </a:lnTo>
                  <a:lnTo>
                    <a:pt x="1910" y="2792"/>
                  </a:lnTo>
                  <a:lnTo>
                    <a:pt x="1912" y="2792"/>
                  </a:lnTo>
                  <a:lnTo>
                    <a:pt x="1912" y="2792"/>
                  </a:lnTo>
                  <a:lnTo>
                    <a:pt x="1914" y="2792"/>
                  </a:lnTo>
                  <a:lnTo>
                    <a:pt x="1912" y="2792"/>
                  </a:lnTo>
                  <a:lnTo>
                    <a:pt x="1914" y="2794"/>
                  </a:lnTo>
                  <a:lnTo>
                    <a:pt x="1914" y="2794"/>
                  </a:lnTo>
                  <a:lnTo>
                    <a:pt x="1918" y="2796"/>
                  </a:lnTo>
                  <a:lnTo>
                    <a:pt x="1922" y="2798"/>
                  </a:lnTo>
                  <a:lnTo>
                    <a:pt x="1926" y="2802"/>
                  </a:lnTo>
                  <a:lnTo>
                    <a:pt x="1926" y="2802"/>
                  </a:lnTo>
                  <a:lnTo>
                    <a:pt x="1926" y="2802"/>
                  </a:lnTo>
                  <a:lnTo>
                    <a:pt x="1930" y="2802"/>
                  </a:lnTo>
                  <a:lnTo>
                    <a:pt x="1930" y="2804"/>
                  </a:lnTo>
                  <a:lnTo>
                    <a:pt x="1932" y="2806"/>
                  </a:lnTo>
                  <a:lnTo>
                    <a:pt x="1934" y="2810"/>
                  </a:lnTo>
                  <a:lnTo>
                    <a:pt x="1934" y="2810"/>
                  </a:lnTo>
                  <a:lnTo>
                    <a:pt x="1934" y="2810"/>
                  </a:lnTo>
                  <a:lnTo>
                    <a:pt x="1936" y="2814"/>
                  </a:lnTo>
                  <a:lnTo>
                    <a:pt x="1936" y="2814"/>
                  </a:lnTo>
                  <a:lnTo>
                    <a:pt x="1936" y="2814"/>
                  </a:lnTo>
                  <a:lnTo>
                    <a:pt x="1938" y="2816"/>
                  </a:lnTo>
                  <a:lnTo>
                    <a:pt x="1938" y="2816"/>
                  </a:lnTo>
                  <a:lnTo>
                    <a:pt x="1938" y="2818"/>
                  </a:lnTo>
                  <a:lnTo>
                    <a:pt x="1944" y="2822"/>
                  </a:lnTo>
                  <a:lnTo>
                    <a:pt x="1950" y="2826"/>
                  </a:lnTo>
                  <a:lnTo>
                    <a:pt x="1956" y="2830"/>
                  </a:lnTo>
                  <a:lnTo>
                    <a:pt x="1962" y="2834"/>
                  </a:lnTo>
                  <a:lnTo>
                    <a:pt x="1962" y="2834"/>
                  </a:lnTo>
                  <a:lnTo>
                    <a:pt x="1964" y="2838"/>
                  </a:lnTo>
                  <a:lnTo>
                    <a:pt x="1966" y="2840"/>
                  </a:lnTo>
                  <a:lnTo>
                    <a:pt x="1968" y="2844"/>
                  </a:lnTo>
                  <a:lnTo>
                    <a:pt x="1968" y="2844"/>
                  </a:lnTo>
                  <a:lnTo>
                    <a:pt x="1970" y="2848"/>
                  </a:lnTo>
                  <a:lnTo>
                    <a:pt x="1970" y="2848"/>
                  </a:lnTo>
                  <a:lnTo>
                    <a:pt x="1972" y="2850"/>
                  </a:lnTo>
                  <a:lnTo>
                    <a:pt x="1978" y="2854"/>
                  </a:lnTo>
                  <a:lnTo>
                    <a:pt x="1984" y="2858"/>
                  </a:lnTo>
                  <a:lnTo>
                    <a:pt x="1988" y="2862"/>
                  </a:lnTo>
                  <a:lnTo>
                    <a:pt x="1994" y="2868"/>
                  </a:lnTo>
                  <a:lnTo>
                    <a:pt x="1998" y="2872"/>
                  </a:lnTo>
                  <a:lnTo>
                    <a:pt x="2002" y="2878"/>
                  </a:lnTo>
                  <a:lnTo>
                    <a:pt x="2008" y="2884"/>
                  </a:lnTo>
                  <a:lnTo>
                    <a:pt x="2014" y="2890"/>
                  </a:lnTo>
                  <a:lnTo>
                    <a:pt x="2016" y="2892"/>
                  </a:lnTo>
                  <a:lnTo>
                    <a:pt x="2020" y="2894"/>
                  </a:lnTo>
                  <a:lnTo>
                    <a:pt x="2024" y="2896"/>
                  </a:lnTo>
                  <a:lnTo>
                    <a:pt x="2028" y="2898"/>
                  </a:lnTo>
                  <a:lnTo>
                    <a:pt x="2036" y="2902"/>
                  </a:lnTo>
                  <a:lnTo>
                    <a:pt x="2044" y="2906"/>
                  </a:lnTo>
                  <a:lnTo>
                    <a:pt x="2054" y="2908"/>
                  </a:lnTo>
                  <a:lnTo>
                    <a:pt x="2062" y="2912"/>
                  </a:lnTo>
                  <a:lnTo>
                    <a:pt x="2070" y="2914"/>
                  </a:lnTo>
                  <a:lnTo>
                    <a:pt x="2074" y="2916"/>
                  </a:lnTo>
                  <a:lnTo>
                    <a:pt x="2076" y="2918"/>
                  </a:lnTo>
                  <a:lnTo>
                    <a:pt x="2076" y="2920"/>
                  </a:lnTo>
                  <a:lnTo>
                    <a:pt x="2076" y="2920"/>
                  </a:lnTo>
                  <a:lnTo>
                    <a:pt x="2076" y="2920"/>
                  </a:lnTo>
                  <a:lnTo>
                    <a:pt x="2076" y="2924"/>
                  </a:lnTo>
                  <a:lnTo>
                    <a:pt x="2076" y="2924"/>
                  </a:lnTo>
                  <a:lnTo>
                    <a:pt x="2076" y="2924"/>
                  </a:lnTo>
                  <a:lnTo>
                    <a:pt x="2076" y="2928"/>
                  </a:lnTo>
                  <a:lnTo>
                    <a:pt x="2076" y="2928"/>
                  </a:lnTo>
                  <a:lnTo>
                    <a:pt x="2076" y="2930"/>
                  </a:lnTo>
                  <a:lnTo>
                    <a:pt x="2078" y="2932"/>
                  </a:lnTo>
                  <a:lnTo>
                    <a:pt x="2078" y="2932"/>
                  </a:lnTo>
                  <a:lnTo>
                    <a:pt x="2078" y="2934"/>
                  </a:lnTo>
                  <a:lnTo>
                    <a:pt x="2082" y="2936"/>
                  </a:lnTo>
                  <a:lnTo>
                    <a:pt x="2082" y="2936"/>
                  </a:lnTo>
                  <a:lnTo>
                    <a:pt x="2082" y="2936"/>
                  </a:lnTo>
                  <a:lnTo>
                    <a:pt x="2086" y="2938"/>
                  </a:lnTo>
                  <a:lnTo>
                    <a:pt x="2086" y="2938"/>
                  </a:lnTo>
                  <a:lnTo>
                    <a:pt x="2086" y="2938"/>
                  </a:lnTo>
                  <a:lnTo>
                    <a:pt x="2090" y="2938"/>
                  </a:lnTo>
                  <a:lnTo>
                    <a:pt x="2092" y="2938"/>
                  </a:lnTo>
                  <a:lnTo>
                    <a:pt x="2092" y="2938"/>
                  </a:lnTo>
                  <a:lnTo>
                    <a:pt x="2092" y="2938"/>
                  </a:lnTo>
                  <a:lnTo>
                    <a:pt x="2092" y="2942"/>
                  </a:lnTo>
                  <a:lnTo>
                    <a:pt x="2092" y="2942"/>
                  </a:lnTo>
                  <a:lnTo>
                    <a:pt x="2092" y="2942"/>
                  </a:lnTo>
                  <a:lnTo>
                    <a:pt x="2094" y="2944"/>
                  </a:lnTo>
                  <a:lnTo>
                    <a:pt x="2094" y="2944"/>
                  </a:lnTo>
                  <a:lnTo>
                    <a:pt x="2094" y="2946"/>
                  </a:lnTo>
                  <a:lnTo>
                    <a:pt x="2094" y="2946"/>
                  </a:lnTo>
                  <a:lnTo>
                    <a:pt x="2094" y="2946"/>
                  </a:lnTo>
                  <a:lnTo>
                    <a:pt x="2096" y="2948"/>
                  </a:lnTo>
                  <a:lnTo>
                    <a:pt x="2098" y="2948"/>
                  </a:lnTo>
                  <a:lnTo>
                    <a:pt x="2098" y="2948"/>
                  </a:lnTo>
                  <a:lnTo>
                    <a:pt x="2098" y="2948"/>
                  </a:lnTo>
                  <a:lnTo>
                    <a:pt x="2100" y="2950"/>
                  </a:lnTo>
                  <a:lnTo>
                    <a:pt x="2100" y="2950"/>
                  </a:lnTo>
                  <a:lnTo>
                    <a:pt x="2104" y="2950"/>
                  </a:lnTo>
                  <a:lnTo>
                    <a:pt x="2106" y="2950"/>
                  </a:lnTo>
                  <a:lnTo>
                    <a:pt x="2112" y="2948"/>
                  </a:lnTo>
                  <a:lnTo>
                    <a:pt x="2118" y="2948"/>
                  </a:lnTo>
                  <a:lnTo>
                    <a:pt x="2124" y="2948"/>
                  </a:lnTo>
                  <a:lnTo>
                    <a:pt x="2126" y="2948"/>
                  </a:lnTo>
                  <a:lnTo>
                    <a:pt x="2128" y="2948"/>
                  </a:lnTo>
                  <a:lnTo>
                    <a:pt x="2128" y="2952"/>
                  </a:lnTo>
                  <a:lnTo>
                    <a:pt x="2128" y="2952"/>
                  </a:lnTo>
                  <a:lnTo>
                    <a:pt x="2128" y="2952"/>
                  </a:lnTo>
                  <a:lnTo>
                    <a:pt x="2128" y="2956"/>
                  </a:lnTo>
                  <a:lnTo>
                    <a:pt x="2128" y="2956"/>
                  </a:lnTo>
                  <a:lnTo>
                    <a:pt x="2128" y="2958"/>
                  </a:lnTo>
                  <a:lnTo>
                    <a:pt x="2130" y="2960"/>
                  </a:lnTo>
                  <a:lnTo>
                    <a:pt x="2130" y="2960"/>
                  </a:lnTo>
                  <a:lnTo>
                    <a:pt x="2130" y="2962"/>
                  </a:lnTo>
                  <a:lnTo>
                    <a:pt x="2134" y="2964"/>
                  </a:lnTo>
                  <a:lnTo>
                    <a:pt x="2134" y="2964"/>
                  </a:lnTo>
                  <a:lnTo>
                    <a:pt x="2134" y="2966"/>
                  </a:lnTo>
                  <a:lnTo>
                    <a:pt x="2138" y="2968"/>
                  </a:lnTo>
                  <a:lnTo>
                    <a:pt x="2142" y="2972"/>
                  </a:lnTo>
                  <a:lnTo>
                    <a:pt x="2146" y="2974"/>
                  </a:lnTo>
                  <a:lnTo>
                    <a:pt x="2150" y="2976"/>
                  </a:lnTo>
                  <a:lnTo>
                    <a:pt x="2160" y="2980"/>
                  </a:lnTo>
                  <a:lnTo>
                    <a:pt x="2170" y="2982"/>
                  </a:lnTo>
                  <a:lnTo>
                    <a:pt x="2174" y="2984"/>
                  </a:lnTo>
                  <a:lnTo>
                    <a:pt x="2178" y="2986"/>
                  </a:lnTo>
                  <a:lnTo>
                    <a:pt x="2182" y="2988"/>
                  </a:lnTo>
                  <a:lnTo>
                    <a:pt x="2184" y="2990"/>
                  </a:lnTo>
                  <a:lnTo>
                    <a:pt x="2188" y="2992"/>
                  </a:lnTo>
                  <a:lnTo>
                    <a:pt x="2188" y="2992"/>
                  </a:lnTo>
                  <a:lnTo>
                    <a:pt x="2190" y="2994"/>
                  </a:lnTo>
                  <a:lnTo>
                    <a:pt x="2192" y="2998"/>
                  </a:lnTo>
                  <a:lnTo>
                    <a:pt x="2194" y="3000"/>
                  </a:lnTo>
                  <a:lnTo>
                    <a:pt x="2198" y="3008"/>
                  </a:lnTo>
                  <a:lnTo>
                    <a:pt x="2202" y="3016"/>
                  </a:lnTo>
                  <a:lnTo>
                    <a:pt x="2204" y="3026"/>
                  </a:lnTo>
                  <a:lnTo>
                    <a:pt x="2210" y="3034"/>
                  </a:lnTo>
                  <a:lnTo>
                    <a:pt x="2212" y="3038"/>
                  </a:lnTo>
                  <a:lnTo>
                    <a:pt x="2216" y="3040"/>
                  </a:lnTo>
                  <a:lnTo>
                    <a:pt x="2218" y="3042"/>
                  </a:lnTo>
                  <a:lnTo>
                    <a:pt x="2216" y="3044"/>
                  </a:lnTo>
                  <a:lnTo>
                    <a:pt x="2216" y="3044"/>
                  </a:lnTo>
                  <a:lnTo>
                    <a:pt x="2216" y="3044"/>
                  </a:lnTo>
                  <a:lnTo>
                    <a:pt x="2214" y="3044"/>
                  </a:lnTo>
                  <a:lnTo>
                    <a:pt x="2214" y="3044"/>
                  </a:lnTo>
                  <a:lnTo>
                    <a:pt x="2214" y="3046"/>
                  </a:lnTo>
                  <a:lnTo>
                    <a:pt x="2212" y="3048"/>
                  </a:lnTo>
                  <a:lnTo>
                    <a:pt x="2212" y="3048"/>
                  </a:lnTo>
                  <a:lnTo>
                    <a:pt x="2210" y="3048"/>
                  </a:lnTo>
                  <a:lnTo>
                    <a:pt x="2210" y="3050"/>
                  </a:lnTo>
                  <a:lnTo>
                    <a:pt x="2210" y="3050"/>
                  </a:lnTo>
                  <a:lnTo>
                    <a:pt x="2208" y="3050"/>
                  </a:lnTo>
                  <a:lnTo>
                    <a:pt x="2208" y="3052"/>
                  </a:lnTo>
                  <a:lnTo>
                    <a:pt x="2208" y="3052"/>
                  </a:lnTo>
                  <a:lnTo>
                    <a:pt x="2208" y="3054"/>
                  </a:lnTo>
                  <a:lnTo>
                    <a:pt x="2206" y="3058"/>
                  </a:lnTo>
                  <a:lnTo>
                    <a:pt x="2204" y="3064"/>
                  </a:lnTo>
                  <a:lnTo>
                    <a:pt x="2202" y="3070"/>
                  </a:lnTo>
                  <a:lnTo>
                    <a:pt x="2200" y="3076"/>
                  </a:lnTo>
                  <a:lnTo>
                    <a:pt x="2200" y="3080"/>
                  </a:lnTo>
                  <a:lnTo>
                    <a:pt x="2200" y="3078"/>
                  </a:lnTo>
                  <a:lnTo>
                    <a:pt x="2198" y="3082"/>
                  </a:lnTo>
                  <a:lnTo>
                    <a:pt x="2194" y="3090"/>
                  </a:lnTo>
                  <a:lnTo>
                    <a:pt x="2192" y="3094"/>
                  </a:lnTo>
                  <a:lnTo>
                    <a:pt x="2190" y="3098"/>
                  </a:lnTo>
                  <a:lnTo>
                    <a:pt x="2188" y="3100"/>
                  </a:lnTo>
                  <a:lnTo>
                    <a:pt x="2188" y="3100"/>
                  </a:lnTo>
                  <a:lnTo>
                    <a:pt x="2188" y="3102"/>
                  </a:lnTo>
                  <a:lnTo>
                    <a:pt x="2188" y="3104"/>
                  </a:lnTo>
                  <a:lnTo>
                    <a:pt x="2188" y="3104"/>
                  </a:lnTo>
                  <a:lnTo>
                    <a:pt x="2188" y="3106"/>
                  </a:lnTo>
                  <a:lnTo>
                    <a:pt x="2188" y="3108"/>
                  </a:lnTo>
                  <a:lnTo>
                    <a:pt x="2188" y="3108"/>
                  </a:lnTo>
                  <a:lnTo>
                    <a:pt x="2190" y="3108"/>
                  </a:lnTo>
                  <a:lnTo>
                    <a:pt x="2190" y="3110"/>
                  </a:lnTo>
                  <a:lnTo>
                    <a:pt x="2194" y="3114"/>
                  </a:lnTo>
                  <a:lnTo>
                    <a:pt x="2198" y="3120"/>
                  </a:lnTo>
                  <a:lnTo>
                    <a:pt x="2200" y="3122"/>
                  </a:lnTo>
                  <a:lnTo>
                    <a:pt x="2204" y="3126"/>
                  </a:lnTo>
                  <a:lnTo>
                    <a:pt x="2204" y="3126"/>
                  </a:lnTo>
                  <a:lnTo>
                    <a:pt x="2204" y="3126"/>
                  </a:lnTo>
                  <a:lnTo>
                    <a:pt x="2206" y="3128"/>
                  </a:lnTo>
                  <a:lnTo>
                    <a:pt x="2206" y="3128"/>
                  </a:lnTo>
                  <a:lnTo>
                    <a:pt x="2206" y="3128"/>
                  </a:lnTo>
                  <a:lnTo>
                    <a:pt x="2210" y="3128"/>
                  </a:lnTo>
                  <a:lnTo>
                    <a:pt x="2210" y="3128"/>
                  </a:lnTo>
                  <a:lnTo>
                    <a:pt x="2210" y="3128"/>
                  </a:lnTo>
                  <a:lnTo>
                    <a:pt x="2212" y="3128"/>
                  </a:lnTo>
                  <a:lnTo>
                    <a:pt x="2212" y="3128"/>
                  </a:lnTo>
                  <a:lnTo>
                    <a:pt x="2214" y="3128"/>
                  </a:lnTo>
                  <a:lnTo>
                    <a:pt x="2216" y="3126"/>
                  </a:lnTo>
                  <a:lnTo>
                    <a:pt x="2216" y="3126"/>
                  </a:lnTo>
                  <a:lnTo>
                    <a:pt x="2216" y="3126"/>
                  </a:lnTo>
                  <a:lnTo>
                    <a:pt x="2218" y="3124"/>
                  </a:lnTo>
                  <a:lnTo>
                    <a:pt x="2218" y="3124"/>
                  </a:lnTo>
                  <a:lnTo>
                    <a:pt x="2218" y="3124"/>
                  </a:lnTo>
                  <a:lnTo>
                    <a:pt x="2220" y="3122"/>
                  </a:lnTo>
                  <a:lnTo>
                    <a:pt x="2222" y="3118"/>
                  </a:lnTo>
                  <a:lnTo>
                    <a:pt x="2224" y="3116"/>
                  </a:lnTo>
                  <a:lnTo>
                    <a:pt x="2224" y="3112"/>
                  </a:lnTo>
                  <a:lnTo>
                    <a:pt x="2226" y="3108"/>
                  </a:lnTo>
                  <a:lnTo>
                    <a:pt x="2230" y="3100"/>
                  </a:lnTo>
                  <a:lnTo>
                    <a:pt x="2232" y="3098"/>
                  </a:lnTo>
                  <a:lnTo>
                    <a:pt x="2234" y="3096"/>
                  </a:lnTo>
                  <a:lnTo>
                    <a:pt x="2238" y="3092"/>
                  </a:lnTo>
                  <a:lnTo>
                    <a:pt x="2238" y="3092"/>
                  </a:lnTo>
                  <a:lnTo>
                    <a:pt x="2240" y="3088"/>
                  </a:lnTo>
                  <a:lnTo>
                    <a:pt x="2240" y="3088"/>
                  </a:lnTo>
                  <a:lnTo>
                    <a:pt x="2240" y="3088"/>
                  </a:lnTo>
                  <a:lnTo>
                    <a:pt x="2242" y="3084"/>
                  </a:lnTo>
                  <a:lnTo>
                    <a:pt x="2242" y="3084"/>
                  </a:lnTo>
                  <a:lnTo>
                    <a:pt x="2242" y="3084"/>
                  </a:lnTo>
                  <a:lnTo>
                    <a:pt x="2242" y="3082"/>
                  </a:lnTo>
                  <a:lnTo>
                    <a:pt x="2242" y="3082"/>
                  </a:lnTo>
                  <a:lnTo>
                    <a:pt x="2242" y="3080"/>
                  </a:lnTo>
                  <a:lnTo>
                    <a:pt x="2242" y="3078"/>
                  </a:lnTo>
                  <a:lnTo>
                    <a:pt x="2242" y="3072"/>
                  </a:lnTo>
                  <a:lnTo>
                    <a:pt x="2242" y="3070"/>
                  </a:lnTo>
                  <a:lnTo>
                    <a:pt x="2244" y="3066"/>
                  </a:lnTo>
                  <a:lnTo>
                    <a:pt x="2244" y="3064"/>
                  </a:lnTo>
                  <a:lnTo>
                    <a:pt x="2244" y="3060"/>
                  </a:lnTo>
                  <a:lnTo>
                    <a:pt x="2246" y="3060"/>
                  </a:lnTo>
                  <a:lnTo>
                    <a:pt x="2248" y="3058"/>
                  </a:lnTo>
                  <a:lnTo>
                    <a:pt x="2252" y="3054"/>
                  </a:lnTo>
                  <a:lnTo>
                    <a:pt x="2256" y="3052"/>
                  </a:lnTo>
                  <a:lnTo>
                    <a:pt x="2260" y="3050"/>
                  </a:lnTo>
                  <a:lnTo>
                    <a:pt x="2260" y="3050"/>
                  </a:lnTo>
                  <a:lnTo>
                    <a:pt x="2262" y="3050"/>
                  </a:lnTo>
                  <a:lnTo>
                    <a:pt x="2264" y="3048"/>
                  </a:lnTo>
                  <a:lnTo>
                    <a:pt x="2264" y="3048"/>
                  </a:lnTo>
                  <a:lnTo>
                    <a:pt x="2266" y="3048"/>
                  </a:lnTo>
                  <a:lnTo>
                    <a:pt x="2266" y="3046"/>
                  </a:lnTo>
                  <a:lnTo>
                    <a:pt x="2266" y="3046"/>
                  </a:lnTo>
                  <a:lnTo>
                    <a:pt x="2266" y="3046"/>
                  </a:lnTo>
                  <a:lnTo>
                    <a:pt x="2268" y="3044"/>
                  </a:lnTo>
                  <a:lnTo>
                    <a:pt x="2268" y="3044"/>
                  </a:lnTo>
                  <a:lnTo>
                    <a:pt x="2268" y="3042"/>
                  </a:lnTo>
                  <a:lnTo>
                    <a:pt x="2268" y="3040"/>
                  </a:lnTo>
                  <a:lnTo>
                    <a:pt x="2268" y="3040"/>
                  </a:lnTo>
                  <a:lnTo>
                    <a:pt x="2268" y="3040"/>
                  </a:lnTo>
                  <a:lnTo>
                    <a:pt x="2268" y="3036"/>
                  </a:lnTo>
                  <a:lnTo>
                    <a:pt x="2268" y="3032"/>
                  </a:lnTo>
                  <a:lnTo>
                    <a:pt x="2266" y="3028"/>
                  </a:lnTo>
                  <a:lnTo>
                    <a:pt x="2266" y="3024"/>
                  </a:lnTo>
                  <a:lnTo>
                    <a:pt x="2266" y="3024"/>
                  </a:lnTo>
                  <a:lnTo>
                    <a:pt x="2266" y="3024"/>
                  </a:lnTo>
                  <a:lnTo>
                    <a:pt x="2264" y="3020"/>
                  </a:lnTo>
                  <a:lnTo>
                    <a:pt x="2262" y="3016"/>
                  </a:lnTo>
                  <a:lnTo>
                    <a:pt x="2260" y="3014"/>
                  </a:lnTo>
                  <a:lnTo>
                    <a:pt x="2254" y="3008"/>
                  </a:lnTo>
                  <a:lnTo>
                    <a:pt x="2248" y="3002"/>
                  </a:lnTo>
                  <a:lnTo>
                    <a:pt x="2242" y="2996"/>
                  </a:lnTo>
                  <a:lnTo>
                    <a:pt x="2240" y="2994"/>
                  </a:lnTo>
                  <a:lnTo>
                    <a:pt x="2238" y="2990"/>
                  </a:lnTo>
                  <a:lnTo>
                    <a:pt x="2236" y="2988"/>
                  </a:lnTo>
                  <a:lnTo>
                    <a:pt x="2234" y="2984"/>
                  </a:lnTo>
                  <a:lnTo>
                    <a:pt x="2234" y="2984"/>
                  </a:lnTo>
                  <a:lnTo>
                    <a:pt x="2234" y="2982"/>
                  </a:lnTo>
                  <a:lnTo>
                    <a:pt x="2234" y="2982"/>
                  </a:lnTo>
                  <a:lnTo>
                    <a:pt x="2232" y="2978"/>
                  </a:lnTo>
                  <a:lnTo>
                    <a:pt x="2232" y="2976"/>
                  </a:lnTo>
                  <a:lnTo>
                    <a:pt x="2234" y="2972"/>
                  </a:lnTo>
                  <a:lnTo>
                    <a:pt x="2236" y="2968"/>
                  </a:lnTo>
                  <a:lnTo>
                    <a:pt x="2238" y="2962"/>
                  </a:lnTo>
                  <a:lnTo>
                    <a:pt x="2240" y="2958"/>
                  </a:lnTo>
                  <a:lnTo>
                    <a:pt x="2244" y="2954"/>
                  </a:lnTo>
                  <a:lnTo>
                    <a:pt x="2246" y="2950"/>
                  </a:lnTo>
                  <a:lnTo>
                    <a:pt x="2248" y="2948"/>
                  </a:lnTo>
                  <a:lnTo>
                    <a:pt x="2248" y="2946"/>
                  </a:lnTo>
                  <a:lnTo>
                    <a:pt x="2250" y="2944"/>
                  </a:lnTo>
                  <a:lnTo>
                    <a:pt x="2252" y="2942"/>
                  </a:lnTo>
                  <a:lnTo>
                    <a:pt x="2254" y="2940"/>
                  </a:lnTo>
                  <a:lnTo>
                    <a:pt x="2256" y="2940"/>
                  </a:lnTo>
                  <a:lnTo>
                    <a:pt x="2256" y="2940"/>
                  </a:lnTo>
                  <a:lnTo>
                    <a:pt x="2256" y="2940"/>
                  </a:lnTo>
                  <a:lnTo>
                    <a:pt x="2256" y="2940"/>
                  </a:lnTo>
                  <a:lnTo>
                    <a:pt x="2258" y="2942"/>
                  </a:lnTo>
                  <a:lnTo>
                    <a:pt x="2258" y="2944"/>
                  </a:lnTo>
                  <a:lnTo>
                    <a:pt x="2258" y="2946"/>
                  </a:lnTo>
                  <a:lnTo>
                    <a:pt x="2260" y="2950"/>
                  </a:lnTo>
                  <a:lnTo>
                    <a:pt x="2260" y="2950"/>
                  </a:lnTo>
                  <a:lnTo>
                    <a:pt x="2260" y="2952"/>
                  </a:lnTo>
                  <a:lnTo>
                    <a:pt x="2262" y="2952"/>
                  </a:lnTo>
                  <a:lnTo>
                    <a:pt x="2272" y="2952"/>
                  </a:lnTo>
                  <a:lnTo>
                    <a:pt x="2282" y="2954"/>
                  </a:lnTo>
                  <a:lnTo>
                    <a:pt x="2290" y="2954"/>
                  </a:lnTo>
                  <a:lnTo>
                    <a:pt x="2298" y="2954"/>
                  </a:lnTo>
                  <a:lnTo>
                    <a:pt x="2302" y="2960"/>
                  </a:lnTo>
                  <a:lnTo>
                    <a:pt x="2306" y="2966"/>
                  </a:lnTo>
                  <a:lnTo>
                    <a:pt x="2310" y="2972"/>
                  </a:lnTo>
                  <a:lnTo>
                    <a:pt x="2312" y="2978"/>
                  </a:lnTo>
                  <a:lnTo>
                    <a:pt x="2312" y="2978"/>
                  </a:lnTo>
                  <a:lnTo>
                    <a:pt x="2314" y="2980"/>
                  </a:lnTo>
                  <a:lnTo>
                    <a:pt x="2320" y="2980"/>
                  </a:lnTo>
                  <a:lnTo>
                    <a:pt x="2320" y="2980"/>
                  </a:lnTo>
                  <a:lnTo>
                    <a:pt x="2322" y="2980"/>
                  </a:lnTo>
                  <a:lnTo>
                    <a:pt x="2326" y="2980"/>
                  </a:lnTo>
                  <a:lnTo>
                    <a:pt x="2326" y="2980"/>
                  </a:lnTo>
                  <a:lnTo>
                    <a:pt x="2326" y="2980"/>
                  </a:lnTo>
                  <a:lnTo>
                    <a:pt x="2330" y="2978"/>
                  </a:lnTo>
                  <a:lnTo>
                    <a:pt x="2330" y="2978"/>
                  </a:lnTo>
                  <a:lnTo>
                    <a:pt x="2332" y="2978"/>
                  </a:lnTo>
                  <a:lnTo>
                    <a:pt x="2334" y="2976"/>
                  </a:lnTo>
                  <a:lnTo>
                    <a:pt x="2334" y="2976"/>
                  </a:lnTo>
                  <a:lnTo>
                    <a:pt x="2334" y="2976"/>
                  </a:lnTo>
                  <a:lnTo>
                    <a:pt x="2336" y="2972"/>
                  </a:lnTo>
                  <a:lnTo>
                    <a:pt x="2336" y="2972"/>
                  </a:lnTo>
                  <a:lnTo>
                    <a:pt x="2336" y="2972"/>
                  </a:lnTo>
                  <a:lnTo>
                    <a:pt x="2338" y="2968"/>
                  </a:lnTo>
                  <a:lnTo>
                    <a:pt x="2338" y="2968"/>
                  </a:lnTo>
                  <a:lnTo>
                    <a:pt x="2338" y="2968"/>
                  </a:lnTo>
                  <a:lnTo>
                    <a:pt x="2338" y="2964"/>
                  </a:lnTo>
                  <a:lnTo>
                    <a:pt x="2338" y="2962"/>
                  </a:lnTo>
                  <a:lnTo>
                    <a:pt x="2338" y="2958"/>
                  </a:lnTo>
                  <a:lnTo>
                    <a:pt x="2338" y="2952"/>
                  </a:lnTo>
                  <a:lnTo>
                    <a:pt x="2336" y="2948"/>
                  </a:lnTo>
                  <a:lnTo>
                    <a:pt x="2336" y="2942"/>
                  </a:lnTo>
                  <a:lnTo>
                    <a:pt x="2334" y="2938"/>
                  </a:lnTo>
                  <a:lnTo>
                    <a:pt x="2330" y="2934"/>
                  </a:lnTo>
                  <a:lnTo>
                    <a:pt x="2328" y="2930"/>
                  </a:lnTo>
                  <a:lnTo>
                    <a:pt x="2326" y="2926"/>
                  </a:lnTo>
                  <a:lnTo>
                    <a:pt x="2324" y="2924"/>
                  </a:lnTo>
                  <a:lnTo>
                    <a:pt x="2318" y="2918"/>
                  </a:lnTo>
                  <a:lnTo>
                    <a:pt x="2318" y="2918"/>
                  </a:lnTo>
                  <a:lnTo>
                    <a:pt x="2318" y="2918"/>
                  </a:lnTo>
                  <a:lnTo>
                    <a:pt x="2310" y="2912"/>
                  </a:lnTo>
                  <a:lnTo>
                    <a:pt x="2304" y="2908"/>
                  </a:lnTo>
                  <a:lnTo>
                    <a:pt x="2296" y="2904"/>
                  </a:lnTo>
                  <a:lnTo>
                    <a:pt x="2282" y="2898"/>
                  </a:lnTo>
                  <a:lnTo>
                    <a:pt x="2274" y="2894"/>
                  </a:lnTo>
                  <a:lnTo>
                    <a:pt x="2268" y="2892"/>
                  </a:lnTo>
                  <a:lnTo>
                    <a:pt x="2256" y="2884"/>
                  </a:lnTo>
                  <a:lnTo>
                    <a:pt x="2244" y="2880"/>
                  </a:lnTo>
                  <a:lnTo>
                    <a:pt x="2240" y="2876"/>
                  </a:lnTo>
                  <a:lnTo>
                    <a:pt x="2234" y="2874"/>
                  </a:lnTo>
                  <a:lnTo>
                    <a:pt x="2228" y="2872"/>
                  </a:lnTo>
                  <a:lnTo>
                    <a:pt x="2222" y="2872"/>
                  </a:lnTo>
                  <a:lnTo>
                    <a:pt x="2218" y="2872"/>
                  </a:lnTo>
                  <a:lnTo>
                    <a:pt x="2214" y="2872"/>
                  </a:lnTo>
                  <a:lnTo>
                    <a:pt x="2208" y="2872"/>
                  </a:lnTo>
                  <a:lnTo>
                    <a:pt x="2204" y="2870"/>
                  </a:lnTo>
                  <a:lnTo>
                    <a:pt x="2206" y="2870"/>
                  </a:lnTo>
                  <a:lnTo>
                    <a:pt x="2202" y="2870"/>
                  </a:lnTo>
                  <a:lnTo>
                    <a:pt x="2202" y="2870"/>
                  </a:lnTo>
                  <a:lnTo>
                    <a:pt x="2200" y="2868"/>
                  </a:lnTo>
                  <a:lnTo>
                    <a:pt x="2196" y="2866"/>
                  </a:lnTo>
                  <a:lnTo>
                    <a:pt x="2196" y="2866"/>
                  </a:lnTo>
                  <a:lnTo>
                    <a:pt x="2196" y="2866"/>
                  </a:lnTo>
                  <a:lnTo>
                    <a:pt x="2196" y="2864"/>
                  </a:lnTo>
                  <a:lnTo>
                    <a:pt x="2196" y="2860"/>
                  </a:lnTo>
                  <a:lnTo>
                    <a:pt x="2196" y="2858"/>
                  </a:lnTo>
                  <a:lnTo>
                    <a:pt x="2196" y="2856"/>
                  </a:lnTo>
                  <a:lnTo>
                    <a:pt x="2196" y="2856"/>
                  </a:lnTo>
                  <a:lnTo>
                    <a:pt x="2196" y="2854"/>
                  </a:lnTo>
                  <a:lnTo>
                    <a:pt x="2194" y="2852"/>
                  </a:lnTo>
                  <a:lnTo>
                    <a:pt x="2194" y="2852"/>
                  </a:lnTo>
                  <a:lnTo>
                    <a:pt x="2194" y="2852"/>
                  </a:lnTo>
                  <a:lnTo>
                    <a:pt x="2192" y="2850"/>
                  </a:lnTo>
                  <a:lnTo>
                    <a:pt x="2192" y="2850"/>
                  </a:lnTo>
                  <a:lnTo>
                    <a:pt x="2192" y="2850"/>
                  </a:lnTo>
                  <a:lnTo>
                    <a:pt x="2188" y="2848"/>
                  </a:lnTo>
                  <a:lnTo>
                    <a:pt x="2186" y="2846"/>
                  </a:lnTo>
                  <a:lnTo>
                    <a:pt x="2182" y="2846"/>
                  </a:lnTo>
                  <a:lnTo>
                    <a:pt x="2180" y="2844"/>
                  </a:lnTo>
                  <a:lnTo>
                    <a:pt x="2172" y="2842"/>
                  </a:lnTo>
                  <a:lnTo>
                    <a:pt x="2164" y="2842"/>
                  </a:lnTo>
                  <a:lnTo>
                    <a:pt x="2156" y="2840"/>
                  </a:lnTo>
                  <a:lnTo>
                    <a:pt x="2148" y="2840"/>
                  </a:lnTo>
                  <a:lnTo>
                    <a:pt x="2146" y="2840"/>
                  </a:lnTo>
                  <a:lnTo>
                    <a:pt x="2142" y="2838"/>
                  </a:lnTo>
                  <a:lnTo>
                    <a:pt x="2140" y="2838"/>
                  </a:lnTo>
                  <a:lnTo>
                    <a:pt x="2138" y="2838"/>
                  </a:lnTo>
                  <a:lnTo>
                    <a:pt x="2132" y="2836"/>
                  </a:lnTo>
                  <a:lnTo>
                    <a:pt x="2126" y="2834"/>
                  </a:lnTo>
                  <a:lnTo>
                    <a:pt x="2120" y="2834"/>
                  </a:lnTo>
                  <a:lnTo>
                    <a:pt x="2116" y="2830"/>
                  </a:lnTo>
                  <a:lnTo>
                    <a:pt x="2112" y="2828"/>
                  </a:lnTo>
                  <a:lnTo>
                    <a:pt x="2106" y="2824"/>
                  </a:lnTo>
                  <a:lnTo>
                    <a:pt x="2102" y="2820"/>
                  </a:lnTo>
                  <a:lnTo>
                    <a:pt x="2096" y="2816"/>
                  </a:lnTo>
                  <a:lnTo>
                    <a:pt x="2096" y="2816"/>
                  </a:lnTo>
                  <a:lnTo>
                    <a:pt x="2092" y="2812"/>
                  </a:lnTo>
                  <a:lnTo>
                    <a:pt x="2090" y="2806"/>
                  </a:lnTo>
                  <a:lnTo>
                    <a:pt x="2084" y="2796"/>
                  </a:lnTo>
                  <a:lnTo>
                    <a:pt x="2078" y="2786"/>
                  </a:lnTo>
                  <a:lnTo>
                    <a:pt x="2074" y="2776"/>
                  </a:lnTo>
                  <a:lnTo>
                    <a:pt x="2068" y="2766"/>
                  </a:lnTo>
                  <a:lnTo>
                    <a:pt x="2062" y="2756"/>
                  </a:lnTo>
                  <a:lnTo>
                    <a:pt x="2058" y="2752"/>
                  </a:lnTo>
                  <a:lnTo>
                    <a:pt x="2054" y="2748"/>
                  </a:lnTo>
                  <a:lnTo>
                    <a:pt x="2050" y="2744"/>
                  </a:lnTo>
                  <a:lnTo>
                    <a:pt x="2044" y="2740"/>
                  </a:lnTo>
                  <a:lnTo>
                    <a:pt x="2042" y="2738"/>
                  </a:lnTo>
                  <a:lnTo>
                    <a:pt x="2040" y="2736"/>
                  </a:lnTo>
                  <a:lnTo>
                    <a:pt x="2036" y="2734"/>
                  </a:lnTo>
                  <a:lnTo>
                    <a:pt x="2032" y="2730"/>
                  </a:lnTo>
                  <a:lnTo>
                    <a:pt x="2030" y="2726"/>
                  </a:lnTo>
                  <a:lnTo>
                    <a:pt x="2024" y="2716"/>
                  </a:lnTo>
                  <a:lnTo>
                    <a:pt x="2022" y="2710"/>
                  </a:lnTo>
                  <a:lnTo>
                    <a:pt x="2018" y="2706"/>
                  </a:lnTo>
                  <a:lnTo>
                    <a:pt x="2018" y="2706"/>
                  </a:lnTo>
                  <a:lnTo>
                    <a:pt x="2018" y="2706"/>
                  </a:lnTo>
                  <a:lnTo>
                    <a:pt x="2016" y="2702"/>
                  </a:lnTo>
                  <a:lnTo>
                    <a:pt x="2014" y="2700"/>
                  </a:lnTo>
                  <a:lnTo>
                    <a:pt x="2008" y="2696"/>
                  </a:lnTo>
                  <a:lnTo>
                    <a:pt x="2006" y="2692"/>
                  </a:lnTo>
                  <a:lnTo>
                    <a:pt x="2002" y="2688"/>
                  </a:lnTo>
                  <a:lnTo>
                    <a:pt x="2002" y="2686"/>
                  </a:lnTo>
                  <a:lnTo>
                    <a:pt x="2000" y="2682"/>
                  </a:lnTo>
                  <a:lnTo>
                    <a:pt x="1998" y="2680"/>
                  </a:lnTo>
                  <a:lnTo>
                    <a:pt x="1998" y="2676"/>
                  </a:lnTo>
                  <a:lnTo>
                    <a:pt x="1998" y="2672"/>
                  </a:lnTo>
                  <a:lnTo>
                    <a:pt x="1996" y="2668"/>
                  </a:lnTo>
                  <a:lnTo>
                    <a:pt x="1996" y="2668"/>
                  </a:lnTo>
                  <a:lnTo>
                    <a:pt x="1996" y="2666"/>
                  </a:lnTo>
                  <a:lnTo>
                    <a:pt x="1994" y="2666"/>
                  </a:lnTo>
                  <a:lnTo>
                    <a:pt x="1994" y="2664"/>
                  </a:lnTo>
                  <a:lnTo>
                    <a:pt x="1994" y="2664"/>
                  </a:lnTo>
                  <a:lnTo>
                    <a:pt x="1992" y="2664"/>
                  </a:lnTo>
                  <a:lnTo>
                    <a:pt x="1992" y="2664"/>
                  </a:lnTo>
                  <a:lnTo>
                    <a:pt x="1992" y="2662"/>
                  </a:lnTo>
                  <a:lnTo>
                    <a:pt x="1992" y="2660"/>
                  </a:lnTo>
                  <a:lnTo>
                    <a:pt x="1992" y="2656"/>
                  </a:lnTo>
                  <a:lnTo>
                    <a:pt x="1994" y="2654"/>
                  </a:lnTo>
                  <a:lnTo>
                    <a:pt x="1994" y="2654"/>
                  </a:lnTo>
                  <a:lnTo>
                    <a:pt x="1996" y="2650"/>
                  </a:lnTo>
                  <a:lnTo>
                    <a:pt x="1998" y="2648"/>
                  </a:lnTo>
                  <a:lnTo>
                    <a:pt x="2002" y="2646"/>
                  </a:lnTo>
                  <a:lnTo>
                    <a:pt x="2002" y="2646"/>
                  </a:lnTo>
                  <a:lnTo>
                    <a:pt x="2002" y="2642"/>
                  </a:lnTo>
                  <a:lnTo>
                    <a:pt x="2000" y="2636"/>
                  </a:lnTo>
                  <a:lnTo>
                    <a:pt x="1998" y="2628"/>
                  </a:lnTo>
                  <a:lnTo>
                    <a:pt x="1996" y="2622"/>
                  </a:lnTo>
                  <a:lnTo>
                    <a:pt x="1994" y="2616"/>
                  </a:lnTo>
                  <a:lnTo>
                    <a:pt x="1996" y="2614"/>
                  </a:lnTo>
                  <a:lnTo>
                    <a:pt x="2000" y="2610"/>
                  </a:lnTo>
                  <a:lnTo>
                    <a:pt x="2008" y="2602"/>
                  </a:lnTo>
                  <a:lnTo>
                    <a:pt x="2012" y="2600"/>
                  </a:lnTo>
                  <a:lnTo>
                    <a:pt x="2016" y="2596"/>
                  </a:lnTo>
                  <a:lnTo>
                    <a:pt x="2022" y="2594"/>
                  </a:lnTo>
                  <a:lnTo>
                    <a:pt x="2026" y="2594"/>
                  </a:lnTo>
                  <a:lnTo>
                    <a:pt x="2030" y="2592"/>
                  </a:lnTo>
                  <a:lnTo>
                    <a:pt x="2032" y="2592"/>
                  </a:lnTo>
                  <a:lnTo>
                    <a:pt x="2034" y="2594"/>
                  </a:lnTo>
                  <a:lnTo>
                    <a:pt x="2034" y="2594"/>
                  </a:lnTo>
                  <a:lnTo>
                    <a:pt x="2036" y="2594"/>
                  </a:lnTo>
                  <a:lnTo>
                    <a:pt x="2040" y="2596"/>
                  </a:lnTo>
                  <a:lnTo>
                    <a:pt x="2044" y="2598"/>
                  </a:lnTo>
                  <a:lnTo>
                    <a:pt x="2044" y="2598"/>
                  </a:lnTo>
                  <a:lnTo>
                    <a:pt x="2044" y="2598"/>
                  </a:lnTo>
                  <a:lnTo>
                    <a:pt x="2046" y="2602"/>
                  </a:lnTo>
                  <a:lnTo>
                    <a:pt x="2050" y="2604"/>
                  </a:lnTo>
                  <a:lnTo>
                    <a:pt x="2046" y="2604"/>
                  </a:lnTo>
                  <a:lnTo>
                    <a:pt x="2040" y="2604"/>
                  </a:lnTo>
                  <a:lnTo>
                    <a:pt x="2040" y="2604"/>
                  </a:lnTo>
                  <a:lnTo>
                    <a:pt x="2038" y="2606"/>
                  </a:lnTo>
                  <a:lnTo>
                    <a:pt x="2036" y="2606"/>
                  </a:lnTo>
                  <a:lnTo>
                    <a:pt x="2036" y="2606"/>
                  </a:lnTo>
                  <a:lnTo>
                    <a:pt x="2036" y="2608"/>
                  </a:lnTo>
                  <a:lnTo>
                    <a:pt x="2038" y="2610"/>
                  </a:lnTo>
                  <a:lnTo>
                    <a:pt x="2040" y="2610"/>
                  </a:lnTo>
                  <a:lnTo>
                    <a:pt x="2042" y="2612"/>
                  </a:lnTo>
                  <a:lnTo>
                    <a:pt x="2044" y="2614"/>
                  </a:lnTo>
                  <a:lnTo>
                    <a:pt x="2044" y="2614"/>
                  </a:lnTo>
                  <a:lnTo>
                    <a:pt x="2044" y="2616"/>
                  </a:lnTo>
                  <a:lnTo>
                    <a:pt x="2046" y="2620"/>
                  </a:lnTo>
                  <a:lnTo>
                    <a:pt x="2048" y="2622"/>
                  </a:lnTo>
                  <a:lnTo>
                    <a:pt x="2050" y="2630"/>
                  </a:lnTo>
                  <a:lnTo>
                    <a:pt x="2052" y="2638"/>
                  </a:lnTo>
                  <a:lnTo>
                    <a:pt x="2054" y="2646"/>
                  </a:lnTo>
                  <a:lnTo>
                    <a:pt x="2056" y="2652"/>
                  </a:lnTo>
                  <a:lnTo>
                    <a:pt x="2056" y="2656"/>
                  </a:lnTo>
                  <a:lnTo>
                    <a:pt x="2058" y="2660"/>
                  </a:lnTo>
                  <a:lnTo>
                    <a:pt x="2058" y="2660"/>
                  </a:lnTo>
                  <a:lnTo>
                    <a:pt x="2058" y="2660"/>
                  </a:lnTo>
                  <a:lnTo>
                    <a:pt x="2060" y="2662"/>
                  </a:lnTo>
                  <a:lnTo>
                    <a:pt x="2060" y="2662"/>
                  </a:lnTo>
                  <a:lnTo>
                    <a:pt x="2062" y="2660"/>
                  </a:lnTo>
                  <a:lnTo>
                    <a:pt x="2064" y="2658"/>
                  </a:lnTo>
                  <a:lnTo>
                    <a:pt x="2064" y="2652"/>
                  </a:lnTo>
                  <a:lnTo>
                    <a:pt x="2064" y="2648"/>
                  </a:lnTo>
                  <a:lnTo>
                    <a:pt x="2066" y="2642"/>
                  </a:lnTo>
                  <a:lnTo>
                    <a:pt x="2068" y="2638"/>
                  </a:lnTo>
                  <a:lnTo>
                    <a:pt x="2070" y="2636"/>
                  </a:lnTo>
                  <a:lnTo>
                    <a:pt x="2070" y="2636"/>
                  </a:lnTo>
                  <a:lnTo>
                    <a:pt x="2070" y="2636"/>
                  </a:lnTo>
                  <a:lnTo>
                    <a:pt x="2072" y="2634"/>
                  </a:lnTo>
                  <a:lnTo>
                    <a:pt x="2072" y="2634"/>
                  </a:lnTo>
                  <a:lnTo>
                    <a:pt x="2074" y="2634"/>
                  </a:lnTo>
                  <a:lnTo>
                    <a:pt x="2076" y="2634"/>
                  </a:lnTo>
                  <a:lnTo>
                    <a:pt x="2076" y="2634"/>
                  </a:lnTo>
                  <a:lnTo>
                    <a:pt x="2076" y="2634"/>
                  </a:lnTo>
                  <a:lnTo>
                    <a:pt x="2078" y="2634"/>
                  </a:lnTo>
                  <a:lnTo>
                    <a:pt x="2080" y="2634"/>
                  </a:lnTo>
                  <a:lnTo>
                    <a:pt x="2080" y="2640"/>
                  </a:lnTo>
                  <a:lnTo>
                    <a:pt x="2080" y="2646"/>
                  </a:lnTo>
                  <a:lnTo>
                    <a:pt x="2080" y="2652"/>
                  </a:lnTo>
                  <a:lnTo>
                    <a:pt x="2080" y="2658"/>
                  </a:lnTo>
                  <a:lnTo>
                    <a:pt x="2080" y="2658"/>
                  </a:lnTo>
                  <a:lnTo>
                    <a:pt x="2082" y="2660"/>
                  </a:lnTo>
                  <a:lnTo>
                    <a:pt x="2082" y="2660"/>
                  </a:lnTo>
                  <a:lnTo>
                    <a:pt x="2084" y="2662"/>
                  </a:lnTo>
                  <a:lnTo>
                    <a:pt x="2086" y="2660"/>
                  </a:lnTo>
                  <a:lnTo>
                    <a:pt x="2088" y="2660"/>
                  </a:lnTo>
                  <a:lnTo>
                    <a:pt x="2092" y="2660"/>
                  </a:lnTo>
                  <a:lnTo>
                    <a:pt x="2094" y="2660"/>
                  </a:lnTo>
                  <a:lnTo>
                    <a:pt x="2096" y="2660"/>
                  </a:lnTo>
                  <a:lnTo>
                    <a:pt x="2096" y="2664"/>
                  </a:lnTo>
                  <a:lnTo>
                    <a:pt x="2096" y="2664"/>
                  </a:lnTo>
                  <a:lnTo>
                    <a:pt x="2096" y="2664"/>
                  </a:lnTo>
                  <a:lnTo>
                    <a:pt x="2096" y="2670"/>
                  </a:lnTo>
                  <a:lnTo>
                    <a:pt x="2096" y="2670"/>
                  </a:lnTo>
                  <a:lnTo>
                    <a:pt x="2096" y="2670"/>
                  </a:lnTo>
                  <a:lnTo>
                    <a:pt x="2098" y="2674"/>
                  </a:lnTo>
                  <a:lnTo>
                    <a:pt x="2098" y="2674"/>
                  </a:lnTo>
                  <a:lnTo>
                    <a:pt x="2098" y="2674"/>
                  </a:lnTo>
                  <a:lnTo>
                    <a:pt x="2102" y="2678"/>
                  </a:lnTo>
                  <a:lnTo>
                    <a:pt x="2102" y="2678"/>
                  </a:lnTo>
                  <a:lnTo>
                    <a:pt x="2102" y="2678"/>
                  </a:lnTo>
                  <a:lnTo>
                    <a:pt x="2104" y="2680"/>
                  </a:lnTo>
                  <a:lnTo>
                    <a:pt x="2108" y="2682"/>
                  </a:lnTo>
                  <a:lnTo>
                    <a:pt x="2110" y="2686"/>
                  </a:lnTo>
                  <a:lnTo>
                    <a:pt x="2114" y="2688"/>
                  </a:lnTo>
                  <a:lnTo>
                    <a:pt x="2116" y="2692"/>
                  </a:lnTo>
                  <a:lnTo>
                    <a:pt x="2118" y="2694"/>
                  </a:lnTo>
                  <a:lnTo>
                    <a:pt x="2122" y="2702"/>
                  </a:lnTo>
                  <a:lnTo>
                    <a:pt x="2126" y="2704"/>
                  </a:lnTo>
                  <a:lnTo>
                    <a:pt x="2130" y="2708"/>
                  </a:lnTo>
                  <a:lnTo>
                    <a:pt x="2132" y="2710"/>
                  </a:lnTo>
                  <a:lnTo>
                    <a:pt x="2138" y="2714"/>
                  </a:lnTo>
                  <a:lnTo>
                    <a:pt x="2138" y="2714"/>
                  </a:lnTo>
                  <a:lnTo>
                    <a:pt x="2138" y="2714"/>
                  </a:lnTo>
                  <a:lnTo>
                    <a:pt x="2140" y="2714"/>
                  </a:lnTo>
                  <a:lnTo>
                    <a:pt x="2140" y="2714"/>
                  </a:lnTo>
                  <a:lnTo>
                    <a:pt x="2140" y="2714"/>
                  </a:lnTo>
                  <a:lnTo>
                    <a:pt x="2142" y="2716"/>
                  </a:lnTo>
                  <a:lnTo>
                    <a:pt x="2146" y="2716"/>
                  </a:lnTo>
                  <a:lnTo>
                    <a:pt x="2150" y="2716"/>
                  </a:lnTo>
                  <a:lnTo>
                    <a:pt x="2152" y="2718"/>
                  </a:lnTo>
                  <a:lnTo>
                    <a:pt x="2154" y="2718"/>
                  </a:lnTo>
                  <a:lnTo>
                    <a:pt x="2156" y="2718"/>
                  </a:lnTo>
                  <a:lnTo>
                    <a:pt x="2156" y="2720"/>
                  </a:lnTo>
                  <a:lnTo>
                    <a:pt x="2158" y="2724"/>
                  </a:lnTo>
                  <a:lnTo>
                    <a:pt x="2160" y="2728"/>
                  </a:lnTo>
                  <a:lnTo>
                    <a:pt x="2160" y="2730"/>
                  </a:lnTo>
                  <a:lnTo>
                    <a:pt x="2160" y="2730"/>
                  </a:lnTo>
                  <a:lnTo>
                    <a:pt x="2160" y="2730"/>
                  </a:lnTo>
                  <a:lnTo>
                    <a:pt x="2162" y="2732"/>
                  </a:lnTo>
                  <a:lnTo>
                    <a:pt x="2162" y="2732"/>
                  </a:lnTo>
                  <a:lnTo>
                    <a:pt x="2162" y="2732"/>
                  </a:lnTo>
                  <a:lnTo>
                    <a:pt x="2166" y="2736"/>
                  </a:lnTo>
                  <a:lnTo>
                    <a:pt x="2170" y="2738"/>
                  </a:lnTo>
                  <a:lnTo>
                    <a:pt x="2174" y="2740"/>
                  </a:lnTo>
                  <a:lnTo>
                    <a:pt x="2178" y="2740"/>
                  </a:lnTo>
                  <a:lnTo>
                    <a:pt x="2186" y="2742"/>
                  </a:lnTo>
                  <a:lnTo>
                    <a:pt x="2190" y="2744"/>
                  </a:lnTo>
                  <a:lnTo>
                    <a:pt x="2192" y="2746"/>
                  </a:lnTo>
                  <a:lnTo>
                    <a:pt x="2192" y="2748"/>
                  </a:lnTo>
                  <a:lnTo>
                    <a:pt x="2192" y="2752"/>
                  </a:lnTo>
                  <a:lnTo>
                    <a:pt x="2194" y="2754"/>
                  </a:lnTo>
                  <a:lnTo>
                    <a:pt x="2194" y="2758"/>
                  </a:lnTo>
                  <a:lnTo>
                    <a:pt x="2194" y="2758"/>
                  </a:lnTo>
                  <a:lnTo>
                    <a:pt x="2194" y="2758"/>
                  </a:lnTo>
                  <a:lnTo>
                    <a:pt x="2196" y="2760"/>
                  </a:lnTo>
                  <a:lnTo>
                    <a:pt x="2196" y="2762"/>
                  </a:lnTo>
                  <a:lnTo>
                    <a:pt x="2196" y="2762"/>
                  </a:lnTo>
                  <a:lnTo>
                    <a:pt x="2198" y="2762"/>
                  </a:lnTo>
                  <a:lnTo>
                    <a:pt x="2200" y="2766"/>
                  </a:lnTo>
                  <a:lnTo>
                    <a:pt x="2200" y="2766"/>
                  </a:lnTo>
                  <a:lnTo>
                    <a:pt x="2200" y="2766"/>
                  </a:lnTo>
                  <a:lnTo>
                    <a:pt x="2204" y="2768"/>
                  </a:lnTo>
                  <a:lnTo>
                    <a:pt x="2204" y="2768"/>
                  </a:lnTo>
                  <a:lnTo>
                    <a:pt x="2204" y="2768"/>
                  </a:lnTo>
                  <a:lnTo>
                    <a:pt x="2210" y="2768"/>
                  </a:lnTo>
                  <a:lnTo>
                    <a:pt x="2214" y="2770"/>
                  </a:lnTo>
                  <a:lnTo>
                    <a:pt x="2222" y="2772"/>
                  </a:lnTo>
                  <a:lnTo>
                    <a:pt x="2224" y="2772"/>
                  </a:lnTo>
                  <a:lnTo>
                    <a:pt x="2226" y="2772"/>
                  </a:lnTo>
                  <a:lnTo>
                    <a:pt x="2230" y="2774"/>
                  </a:lnTo>
                  <a:lnTo>
                    <a:pt x="2234" y="2776"/>
                  </a:lnTo>
                  <a:lnTo>
                    <a:pt x="2236" y="2776"/>
                  </a:lnTo>
                  <a:lnTo>
                    <a:pt x="2238" y="2778"/>
                  </a:lnTo>
                  <a:lnTo>
                    <a:pt x="2238" y="2778"/>
                  </a:lnTo>
                  <a:lnTo>
                    <a:pt x="2238" y="2778"/>
                  </a:lnTo>
                  <a:lnTo>
                    <a:pt x="2240" y="2778"/>
                  </a:lnTo>
                  <a:lnTo>
                    <a:pt x="2242" y="2780"/>
                  </a:lnTo>
                  <a:lnTo>
                    <a:pt x="2246" y="2782"/>
                  </a:lnTo>
                  <a:lnTo>
                    <a:pt x="2250" y="2786"/>
                  </a:lnTo>
                  <a:lnTo>
                    <a:pt x="2250" y="2786"/>
                  </a:lnTo>
                  <a:lnTo>
                    <a:pt x="2252" y="2786"/>
                  </a:lnTo>
                  <a:lnTo>
                    <a:pt x="2254" y="2788"/>
                  </a:lnTo>
                  <a:lnTo>
                    <a:pt x="2258" y="2788"/>
                  </a:lnTo>
                  <a:lnTo>
                    <a:pt x="2260" y="2788"/>
                  </a:lnTo>
                  <a:lnTo>
                    <a:pt x="2262" y="2790"/>
                  </a:lnTo>
                  <a:lnTo>
                    <a:pt x="2264" y="2790"/>
                  </a:lnTo>
                  <a:lnTo>
                    <a:pt x="2268" y="2790"/>
                  </a:lnTo>
                  <a:lnTo>
                    <a:pt x="2272" y="2788"/>
                  </a:lnTo>
                  <a:lnTo>
                    <a:pt x="2276" y="2788"/>
                  </a:lnTo>
                  <a:lnTo>
                    <a:pt x="2276" y="2788"/>
                  </a:lnTo>
                  <a:lnTo>
                    <a:pt x="2278" y="2788"/>
                  </a:lnTo>
                  <a:lnTo>
                    <a:pt x="2284" y="2788"/>
                  </a:lnTo>
                  <a:lnTo>
                    <a:pt x="2290" y="2788"/>
                  </a:lnTo>
                  <a:lnTo>
                    <a:pt x="2296" y="2788"/>
                  </a:lnTo>
                  <a:lnTo>
                    <a:pt x="2296" y="2788"/>
                  </a:lnTo>
                  <a:lnTo>
                    <a:pt x="2298" y="2788"/>
                  </a:lnTo>
                  <a:lnTo>
                    <a:pt x="2298" y="2788"/>
                  </a:lnTo>
                  <a:lnTo>
                    <a:pt x="2300" y="2788"/>
                  </a:lnTo>
                  <a:lnTo>
                    <a:pt x="2304" y="2788"/>
                  </a:lnTo>
                  <a:lnTo>
                    <a:pt x="2306" y="2790"/>
                  </a:lnTo>
                  <a:lnTo>
                    <a:pt x="2310" y="2792"/>
                  </a:lnTo>
                  <a:lnTo>
                    <a:pt x="2314" y="2796"/>
                  </a:lnTo>
                  <a:lnTo>
                    <a:pt x="2316" y="2800"/>
                  </a:lnTo>
                  <a:lnTo>
                    <a:pt x="2324" y="2806"/>
                  </a:lnTo>
                  <a:lnTo>
                    <a:pt x="2328" y="2808"/>
                  </a:lnTo>
                  <a:lnTo>
                    <a:pt x="2330" y="2812"/>
                  </a:lnTo>
                  <a:lnTo>
                    <a:pt x="2330" y="2812"/>
                  </a:lnTo>
                  <a:lnTo>
                    <a:pt x="2332" y="2812"/>
                  </a:lnTo>
                  <a:lnTo>
                    <a:pt x="2332" y="2812"/>
                  </a:lnTo>
                  <a:lnTo>
                    <a:pt x="2334" y="2814"/>
                  </a:lnTo>
                  <a:lnTo>
                    <a:pt x="2336" y="2814"/>
                  </a:lnTo>
                  <a:lnTo>
                    <a:pt x="2336" y="2816"/>
                  </a:lnTo>
                  <a:lnTo>
                    <a:pt x="2336" y="2816"/>
                  </a:lnTo>
                  <a:lnTo>
                    <a:pt x="2338" y="2816"/>
                  </a:lnTo>
                  <a:lnTo>
                    <a:pt x="2346" y="2820"/>
                  </a:lnTo>
                  <a:lnTo>
                    <a:pt x="2350" y="2822"/>
                  </a:lnTo>
                  <a:lnTo>
                    <a:pt x="2352" y="2826"/>
                  </a:lnTo>
                  <a:lnTo>
                    <a:pt x="2352" y="2824"/>
                  </a:lnTo>
                  <a:lnTo>
                    <a:pt x="2354" y="2828"/>
                  </a:lnTo>
                  <a:lnTo>
                    <a:pt x="2356" y="2830"/>
                  </a:lnTo>
                  <a:lnTo>
                    <a:pt x="2358" y="2834"/>
                  </a:lnTo>
                  <a:lnTo>
                    <a:pt x="2360" y="2840"/>
                  </a:lnTo>
                  <a:lnTo>
                    <a:pt x="2362" y="2846"/>
                  </a:lnTo>
                  <a:lnTo>
                    <a:pt x="2362" y="2850"/>
                  </a:lnTo>
                  <a:lnTo>
                    <a:pt x="2362" y="2856"/>
                  </a:lnTo>
                  <a:lnTo>
                    <a:pt x="2362" y="2862"/>
                  </a:lnTo>
                  <a:lnTo>
                    <a:pt x="2362" y="2872"/>
                  </a:lnTo>
                  <a:lnTo>
                    <a:pt x="2362" y="2878"/>
                  </a:lnTo>
                  <a:lnTo>
                    <a:pt x="2362" y="2884"/>
                  </a:lnTo>
                  <a:lnTo>
                    <a:pt x="2362" y="2886"/>
                  </a:lnTo>
                  <a:lnTo>
                    <a:pt x="2362" y="2888"/>
                  </a:lnTo>
                  <a:lnTo>
                    <a:pt x="2362" y="2896"/>
                  </a:lnTo>
                  <a:lnTo>
                    <a:pt x="2364" y="2902"/>
                  </a:lnTo>
                  <a:lnTo>
                    <a:pt x="2364" y="2910"/>
                  </a:lnTo>
                  <a:lnTo>
                    <a:pt x="2366" y="2918"/>
                  </a:lnTo>
                  <a:lnTo>
                    <a:pt x="2366" y="2924"/>
                  </a:lnTo>
                  <a:lnTo>
                    <a:pt x="2368" y="2930"/>
                  </a:lnTo>
                  <a:lnTo>
                    <a:pt x="2370" y="2934"/>
                  </a:lnTo>
                  <a:lnTo>
                    <a:pt x="2372" y="2936"/>
                  </a:lnTo>
                  <a:lnTo>
                    <a:pt x="2372" y="2938"/>
                  </a:lnTo>
                  <a:lnTo>
                    <a:pt x="2372" y="2938"/>
                  </a:lnTo>
                  <a:lnTo>
                    <a:pt x="2372" y="2938"/>
                  </a:lnTo>
                  <a:lnTo>
                    <a:pt x="2374" y="2940"/>
                  </a:lnTo>
                  <a:lnTo>
                    <a:pt x="2374" y="2940"/>
                  </a:lnTo>
                  <a:lnTo>
                    <a:pt x="2374" y="2942"/>
                  </a:lnTo>
                  <a:lnTo>
                    <a:pt x="2378" y="2944"/>
                  </a:lnTo>
                  <a:lnTo>
                    <a:pt x="2378" y="2944"/>
                  </a:lnTo>
                  <a:lnTo>
                    <a:pt x="2378" y="2944"/>
                  </a:lnTo>
                  <a:lnTo>
                    <a:pt x="2382" y="2946"/>
                  </a:lnTo>
                  <a:lnTo>
                    <a:pt x="2388" y="2948"/>
                  </a:lnTo>
                  <a:lnTo>
                    <a:pt x="2390" y="2948"/>
                  </a:lnTo>
                  <a:lnTo>
                    <a:pt x="2394" y="2952"/>
                  </a:lnTo>
                  <a:lnTo>
                    <a:pt x="2394" y="2952"/>
                  </a:lnTo>
                  <a:lnTo>
                    <a:pt x="2396" y="2954"/>
                  </a:lnTo>
                  <a:lnTo>
                    <a:pt x="2394" y="2954"/>
                  </a:lnTo>
                  <a:lnTo>
                    <a:pt x="2396" y="2954"/>
                  </a:lnTo>
                  <a:lnTo>
                    <a:pt x="2396" y="2956"/>
                  </a:lnTo>
                  <a:lnTo>
                    <a:pt x="2396" y="2956"/>
                  </a:lnTo>
                  <a:lnTo>
                    <a:pt x="2394" y="2956"/>
                  </a:lnTo>
                  <a:lnTo>
                    <a:pt x="2394" y="2958"/>
                  </a:lnTo>
                  <a:lnTo>
                    <a:pt x="2394" y="2958"/>
                  </a:lnTo>
                  <a:lnTo>
                    <a:pt x="2394" y="2958"/>
                  </a:lnTo>
                  <a:lnTo>
                    <a:pt x="2394" y="2960"/>
                  </a:lnTo>
                  <a:lnTo>
                    <a:pt x="2394" y="2962"/>
                  </a:lnTo>
                  <a:lnTo>
                    <a:pt x="2394" y="2962"/>
                  </a:lnTo>
                  <a:lnTo>
                    <a:pt x="2392" y="2962"/>
                  </a:lnTo>
                  <a:lnTo>
                    <a:pt x="2392" y="2962"/>
                  </a:lnTo>
                  <a:lnTo>
                    <a:pt x="2390" y="2964"/>
                  </a:lnTo>
                  <a:lnTo>
                    <a:pt x="2390" y="2964"/>
                  </a:lnTo>
                  <a:lnTo>
                    <a:pt x="2390" y="2966"/>
                  </a:lnTo>
                  <a:lnTo>
                    <a:pt x="2392" y="2968"/>
                  </a:lnTo>
                  <a:lnTo>
                    <a:pt x="2392" y="2968"/>
                  </a:lnTo>
                  <a:lnTo>
                    <a:pt x="2392" y="2970"/>
                  </a:lnTo>
                  <a:lnTo>
                    <a:pt x="2392" y="2970"/>
                  </a:lnTo>
                  <a:lnTo>
                    <a:pt x="2392" y="2972"/>
                  </a:lnTo>
                  <a:lnTo>
                    <a:pt x="2390" y="2974"/>
                  </a:lnTo>
                  <a:lnTo>
                    <a:pt x="2390" y="2976"/>
                  </a:lnTo>
                  <a:lnTo>
                    <a:pt x="2390" y="2976"/>
                  </a:lnTo>
                  <a:lnTo>
                    <a:pt x="2390" y="2976"/>
                  </a:lnTo>
                  <a:lnTo>
                    <a:pt x="2390" y="2980"/>
                  </a:lnTo>
                  <a:lnTo>
                    <a:pt x="2390" y="2980"/>
                  </a:lnTo>
                  <a:lnTo>
                    <a:pt x="2390" y="2980"/>
                  </a:lnTo>
                  <a:lnTo>
                    <a:pt x="2390" y="2982"/>
                  </a:lnTo>
                  <a:lnTo>
                    <a:pt x="2390" y="2982"/>
                  </a:lnTo>
                  <a:lnTo>
                    <a:pt x="2392" y="2986"/>
                  </a:lnTo>
                  <a:lnTo>
                    <a:pt x="2396" y="2986"/>
                  </a:lnTo>
                  <a:lnTo>
                    <a:pt x="2398" y="2988"/>
                  </a:lnTo>
                  <a:lnTo>
                    <a:pt x="2406" y="2990"/>
                  </a:lnTo>
                  <a:lnTo>
                    <a:pt x="2410" y="2990"/>
                  </a:lnTo>
                  <a:lnTo>
                    <a:pt x="2414" y="2992"/>
                  </a:lnTo>
                  <a:lnTo>
                    <a:pt x="2418" y="2992"/>
                  </a:lnTo>
                  <a:lnTo>
                    <a:pt x="2420" y="2994"/>
                  </a:lnTo>
                  <a:lnTo>
                    <a:pt x="2420" y="2994"/>
                  </a:lnTo>
                  <a:lnTo>
                    <a:pt x="2422" y="2996"/>
                  </a:lnTo>
                  <a:lnTo>
                    <a:pt x="2422" y="2994"/>
                  </a:lnTo>
                  <a:lnTo>
                    <a:pt x="2422" y="2996"/>
                  </a:lnTo>
                  <a:lnTo>
                    <a:pt x="2422" y="2998"/>
                  </a:lnTo>
                  <a:lnTo>
                    <a:pt x="2422" y="2998"/>
                  </a:lnTo>
                  <a:lnTo>
                    <a:pt x="2426" y="3000"/>
                  </a:lnTo>
                  <a:lnTo>
                    <a:pt x="2426" y="3000"/>
                  </a:lnTo>
                  <a:lnTo>
                    <a:pt x="2428" y="2998"/>
                  </a:lnTo>
                  <a:lnTo>
                    <a:pt x="2430" y="2996"/>
                  </a:lnTo>
                  <a:lnTo>
                    <a:pt x="2430" y="2996"/>
                  </a:lnTo>
                  <a:lnTo>
                    <a:pt x="2430" y="2996"/>
                  </a:lnTo>
                  <a:lnTo>
                    <a:pt x="2430" y="2992"/>
                  </a:lnTo>
                  <a:lnTo>
                    <a:pt x="2430" y="2992"/>
                  </a:lnTo>
                  <a:lnTo>
                    <a:pt x="2430" y="2992"/>
                  </a:lnTo>
                  <a:lnTo>
                    <a:pt x="2432" y="2994"/>
                  </a:lnTo>
                  <a:lnTo>
                    <a:pt x="2434" y="2996"/>
                  </a:lnTo>
                  <a:lnTo>
                    <a:pt x="2436" y="2998"/>
                  </a:lnTo>
                  <a:lnTo>
                    <a:pt x="2440" y="3000"/>
                  </a:lnTo>
                  <a:lnTo>
                    <a:pt x="2442" y="3002"/>
                  </a:lnTo>
                  <a:lnTo>
                    <a:pt x="2448" y="3006"/>
                  </a:lnTo>
                  <a:lnTo>
                    <a:pt x="2452" y="3010"/>
                  </a:lnTo>
                  <a:lnTo>
                    <a:pt x="2454" y="3012"/>
                  </a:lnTo>
                  <a:lnTo>
                    <a:pt x="2454" y="3012"/>
                  </a:lnTo>
                  <a:lnTo>
                    <a:pt x="2456" y="3014"/>
                  </a:lnTo>
                  <a:lnTo>
                    <a:pt x="2456" y="3018"/>
                  </a:lnTo>
                  <a:lnTo>
                    <a:pt x="2456" y="3018"/>
                  </a:lnTo>
                  <a:lnTo>
                    <a:pt x="2456" y="3020"/>
                  </a:lnTo>
                  <a:lnTo>
                    <a:pt x="2458" y="3020"/>
                  </a:lnTo>
                  <a:lnTo>
                    <a:pt x="2458" y="3020"/>
                  </a:lnTo>
                  <a:lnTo>
                    <a:pt x="2458" y="3022"/>
                  </a:lnTo>
                  <a:lnTo>
                    <a:pt x="2458" y="3022"/>
                  </a:lnTo>
                  <a:lnTo>
                    <a:pt x="2456" y="3024"/>
                  </a:lnTo>
                  <a:lnTo>
                    <a:pt x="2458" y="3022"/>
                  </a:lnTo>
                  <a:lnTo>
                    <a:pt x="2456" y="3024"/>
                  </a:lnTo>
                  <a:lnTo>
                    <a:pt x="2454" y="3026"/>
                  </a:lnTo>
                  <a:lnTo>
                    <a:pt x="2454" y="3026"/>
                  </a:lnTo>
                  <a:lnTo>
                    <a:pt x="2454" y="3028"/>
                  </a:lnTo>
                  <a:lnTo>
                    <a:pt x="2454" y="3030"/>
                  </a:lnTo>
                  <a:lnTo>
                    <a:pt x="2454" y="3030"/>
                  </a:lnTo>
                  <a:lnTo>
                    <a:pt x="2454" y="3032"/>
                  </a:lnTo>
                  <a:lnTo>
                    <a:pt x="2454" y="3032"/>
                  </a:lnTo>
                  <a:lnTo>
                    <a:pt x="2454" y="3032"/>
                  </a:lnTo>
                  <a:lnTo>
                    <a:pt x="2454" y="3032"/>
                  </a:lnTo>
                  <a:lnTo>
                    <a:pt x="2456" y="3034"/>
                  </a:lnTo>
                  <a:lnTo>
                    <a:pt x="2456" y="3034"/>
                  </a:lnTo>
                  <a:lnTo>
                    <a:pt x="2456" y="3034"/>
                  </a:lnTo>
                  <a:lnTo>
                    <a:pt x="2458" y="3034"/>
                  </a:lnTo>
                  <a:lnTo>
                    <a:pt x="2458" y="3034"/>
                  </a:lnTo>
                  <a:lnTo>
                    <a:pt x="2458" y="3036"/>
                  </a:lnTo>
                  <a:lnTo>
                    <a:pt x="2458" y="3036"/>
                  </a:lnTo>
                  <a:lnTo>
                    <a:pt x="2460" y="3038"/>
                  </a:lnTo>
                  <a:lnTo>
                    <a:pt x="2464" y="3040"/>
                  </a:lnTo>
                  <a:lnTo>
                    <a:pt x="2468" y="3044"/>
                  </a:lnTo>
                  <a:lnTo>
                    <a:pt x="2472" y="3048"/>
                  </a:lnTo>
                  <a:lnTo>
                    <a:pt x="2476" y="3050"/>
                  </a:lnTo>
                  <a:lnTo>
                    <a:pt x="2482" y="3052"/>
                  </a:lnTo>
                  <a:lnTo>
                    <a:pt x="2486" y="3054"/>
                  </a:lnTo>
                  <a:lnTo>
                    <a:pt x="2490" y="3056"/>
                  </a:lnTo>
                  <a:lnTo>
                    <a:pt x="2490" y="3056"/>
                  </a:lnTo>
                  <a:lnTo>
                    <a:pt x="2492" y="3056"/>
                  </a:lnTo>
                  <a:lnTo>
                    <a:pt x="2496" y="3056"/>
                  </a:lnTo>
                  <a:lnTo>
                    <a:pt x="2496" y="3056"/>
                  </a:lnTo>
                  <a:lnTo>
                    <a:pt x="2500" y="3056"/>
                  </a:lnTo>
                  <a:lnTo>
                    <a:pt x="2500" y="3056"/>
                  </a:lnTo>
                  <a:lnTo>
                    <a:pt x="2500" y="3056"/>
                  </a:lnTo>
                  <a:lnTo>
                    <a:pt x="2504" y="3054"/>
                  </a:lnTo>
                  <a:lnTo>
                    <a:pt x="2508" y="3052"/>
                  </a:lnTo>
                  <a:lnTo>
                    <a:pt x="2512" y="3050"/>
                  </a:lnTo>
                  <a:lnTo>
                    <a:pt x="2518" y="3050"/>
                  </a:lnTo>
                  <a:lnTo>
                    <a:pt x="2522" y="3048"/>
                  </a:lnTo>
                  <a:lnTo>
                    <a:pt x="2522" y="3048"/>
                  </a:lnTo>
                  <a:lnTo>
                    <a:pt x="2518" y="3052"/>
                  </a:lnTo>
                  <a:lnTo>
                    <a:pt x="2514" y="3058"/>
                  </a:lnTo>
                  <a:lnTo>
                    <a:pt x="2514" y="3060"/>
                  </a:lnTo>
                  <a:lnTo>
                    <a:pt x="2512" y="3060"/>
                  </a:lnTo>
                  <a:lnTo>
                    <a:pt x="2512" y="3060"/>
                  </a:lnTo>
                  <a:lnTo>
                    <a:pt x="2512" y="3060"/>
                  </a:lnTo>
                  <a:lnTo>
                    <a:pt x="2510" y="3060"/>
                  </a:lnTo>
                  <a:lnTo>
                    <a:pt x="2508" y="3060"/>
                  </a:lnTo>
                  <a:lnTo>
                    <a:pt x="2508" y="3060"/>
                  </a:lnTo>
                  <a:lnTo>
                    <a:pt x="2508" y="3060"/>
                  </a:lnTo>
                  <a:lnTo>
                    <a:pt x="2506" y="3060"/>
                  </a:lnTo>
                  <a:lnTo>
                    <a:pt x="2506" y="3060"/>
                  </a:lnTo>
                  <a:lnTo>
                    <a:pt x="2506" y="3060"/>
                  </a:lnTo>
                  <a:lnTo>
                    <a:pt x="2504" y="3060"/>
                  </a:lnTo>
                  <a:lnTo>
                    <a:pt x="2502" y="3060"/>
                  </a:lnTo>
                  <a:lnTo>
                    <a:pt x="2502" y="3060"/>
                  </a:lnTo>
                  <a:lnTo>
                    <a:pt x="2502" y="3060"/>
                  </a:lnTo>
                  <a:lnTo>
                    <a:pt x="2500" y="3062"/>
                  </a:lnTo>
                  <a:lnTo>
                    <a:pt x="2500" y="3062"/>
                  </a:lnTo>
                  <a:lnTo>
                    <a:pt x="2500" y="3062"/>
                  </a:lnTo>
                  <a:lnTo>
                    <a:pt x="2500" y="3064"/>
                  </a:lnTo>
                  <a:lnTo>
                    <a:pt x="2498" y="3066"/>
                  </a:lnTo>
                  <a:lnTo>
                    <a:pt x="2498" y="3070"/>
                  </a:lnTo>
                  <a:lnTo>
                    <a:pt x="2496" y="3074"/>
                  </a:lnTo>
                  <a:lnTo>
                    <a:pt x="2496" y="3078"/>
                  </a:lnTo>
                  <a:lnTo>
                    <a:pt x="2496" y="3082"/>
                  </a:lnTo>
                  <a:lnTo>
                    <a:pt x="2496" y="3086"/>
                  </a:lnTo>
                  <a:lnTo>
                    <a:pt x="2496" y="3086"/>
                  </a:lnTo>
                  <a:lnTo>
                    <a:pt x="2496" y="3086"/>
                  </a:lnTo>
                  <a:lnTo>
                    <a:pt x="2498" y="3090"/>
                  </a:lnTo>
                  <a:lnTo>
                    <a:pt x="2498" y="3090"/>
                  </a:lnTo>
                  <a:lnTo>
                    <a:pt x="2498" y="3090"/>
                  </a:lnTo>
                  <a:lnTo>
                    <a:pt x="2500" y="3094"/>
                  </a:lnTo>
                  <a:lnTo>
                    <a:pt x="2500" y="3094"/>
                  </a:lnTo>
                  <a:lnTo>
                    <a:pt x="2500" y="3094"/>
                  </a:lnTo>
                  <a:lnTo>
                    <a:pt x="2504" y="3098"/>
                  </a:lnTo>
                  <a:lnTo>
                    <a:pt x="2508" y="3102"/>
                  </a:lnTo>
                  <a:lnTo>
                    <a:pt x="2512" y="3106"/>
                  </a:lnTo>
                  <a:lnTo>
                    <a:pt x="2516" y="3108"/>
                  </a:lnTo>
                  <a:lnTo>
                    <a:pt x="2520" y="3112"/>
                  </a:lnTo>
                  <a:lnTo>
                    <a:pt x="2522" y="3116"/>
                  </a:lnTo>
                  <a:lnTo>
                    <a:pt x="2522" y="3114"/>
                  </a:lnTo>
                  <a:lnTo>
                    <a:pt x="2524" y="3118"/>
                  </a:lnTo>
                  <a:lnTo>
                    <a:pt x="2526" y="3120"/>
                  </a:lnTo>
                  <a:lnTo>
                    <a:pt x="2526" y="3122"/>
                  </a:lnTo>
                  <a:lnTo>
                    <a:pt x="2526" y="3124"/>
                  </a:lnTo>
                  <a:lnTo>
                    <a:pt x="2526" y="3124"/>
                  </a:lnTo>
                  <a:lnTo>
                    <a:pt x="2524" y="3126"/>
                  </a:lnTo>
                  <a:lnTo>
                    <a:pt x="2524" y="3130"/>
                  </a:lnTo>
                  <a:lnTo>
                    <a:pt x="2524" y="3130"/>
                  </a:lnTo>
                  <a:lnTo>
                    <a:pt x="2524" y="3132"/>
                  </a:lnTo>
                  <a:lnTo>
                    <a:pt x="2524" y="3132"/>
                  </a:lnTo>
                  <a:lnTo>
                    <a:pt x="2524" y="3136"/>
                  </a:lnTo>
                  <a:lnTo>
                    <a:pt x="2524" y="3136"/>
                  </a:lnTo>
                  <a:lnTo>
                    <a:pt x="2524" y="3136"/>
                  </a:lnTo>
                  <a:lnTo>
                    <a:pt x="2526" y="3140"/>
                  </a:lnTo>
                  <a:lnTo>
                    <a:pt x="2526" y="3144"/>
                  </a:lnTo>
                  <a:lnTo>
                    <a:pt x="2530" y="3152"/>
                  </a:lnTo>
                  <a:lnTo>
                    <a:pt x="2532" y="3156"/>
                  </a:lnTo>
                  <a:lnTo>
                    <a:pt x="2534" y="3160"/>
                  </a:lnTo>
                  <a:lnTo>
                    <a:pt x="2536" y="3162"/>
                  </a:lnTo>
                  <a:lnTo>
                    <a:pt x="2538" y="3164"/>
                  </a:lnTo>
                  <a:lnTo>
                    <a:pt x="2538" y="3164"/>
                  </a:lnTo>
                  <a:lnTo>
                    <a:pt x="2540" y="3164"/>
                  </a:lnTo>
                  <a:lnTo>
                    <a:pt x="2548" y="3164"/>
                  </a:lnTo>
                  <a:lnTo>
                    <a:pt x="2548" y="3164"/>
                  </a:lnTo>
                  <a:lnTo>
                    <a:pt x="2552" y="3162"/>
                  </a:lnTo>
                  <a:lnTo>
                    <a:pt x="2552" y="3160"/>
                  </a:lnTo>
                  <a:lnTo>
                    <a:pt x="2552" y="3156"/>
                  </a:lnTo>
                  <a:lnTo>
                    <a:pt x="2552" y="3156"/>
                  </a:lnTo>
                  <a:lnTo>
                    <a:pt x="2554" y="3152"/>
                  </a:lnTo>
                  <a:lnTo>
                    <a:pt x="2552" y="3148"/>
                  </a:lnTo>
                  <a:lnTo>
                    <a:pt x="2554" y="3146"/>
                  </a:lnTo>
                  <a:lnTo>
                    <a:pt x="2554" y="3146"/>
                  </a:lnTo>
                  <a:lnTo>
                    <a:pt x="2554" y="3146"/>
                  </a:lnTo>
                  <a:lnTo>
                    <a:pt x="2556" y="3146"/>
                  </a:lnTo>
                  <a:lnTo>
                    <a:pt x="2558" y="3148"/>
                  </a:lnTo>
                  <a:lnTo>
                    <a:pt x="2558" y="3146"/>
                  </a:lnTo>
                  <a:lnTo>
                    <a:pt x="2558" y="3148"/>
                  </a:lnTo>
                  <a:lnTo>
                    <a:pt x="2562" y="3150"/>
                  </a:lnTo>
                  <a:lnTo>
                    <a:pt x="2564" y="3154"/>
                  </a:lnTo>
                  <a:lnTo>
                    <a:pt x="2566" y="3160"/>
                  </a:lnTo>
                  <a:lnTo>
                    <a:pt x="2568" y="3164"/>
                  </a:lnTo>
                  <a:lnTo>
                    <a:pt x="2568" y="3164"/>
                  </a:lnTo>
                  <a:lnTo>
                    <a:pt x="2568" y="3164"/>
                  </a:lnTo>
                  <a:lnTo>
                    <a:pt x="2570" y="3168"/>
                  </a:lnTo>
                  <a:lnTo>
                    <a:pt x="2572" y="3170"/>
                  </a:lnTo>
                  <a:lnTo>
                    <a:pt x="2572" y="3170"/>
                  </a:lnTo>
                  <a:lnTo>
                    <a:pt x="2574" y="3172"/>
                  </a:lnTo>
                  <a:lnTo>
                    <a:pt x="2574" y="3172"/>
                  </a:lnTo>
                  <a:lnTo>
                    <a:pt x="2574" y="3172"/>
                  </a:lnTo>
                  <a:lnTo>
                    <a:pt x="2576" y="3172"/>
                  </a:lnTo>
                  <a:lnTo>
                    <a:pt x="2578" y="3174"/>
                  </a:lnTo>
                  <a:lnTo>
                    <a:pt x="2578" y="3174"/>
                  </a:lnTo>
                  <a:lnTo>
                    <a:pt x="2580" y="3174"/>
                  </a:lnTo>
                  <a:lnTo>
                    <a:pt x="2582" y="3174"/>
                  </a:lnTo>
                  <a:lnTo>
                    <a:pt x="2582" y="3174"/>
                  </a:lnTo>
                  <a:lnTo>
                    <a:pt x="2582" y="3174"/>
                  </a:lnTo>
                  <a:lnTo>
                    <a:pt x="2584" y="3172"/>
                  </a:lnTo>
                  <a:lnTo>
                    <a:pt x="2584" y="3172"/>
                  </a:lnTo>
                  <a:lnTo>
                    <a:pt x="2584" y="3172"/>
                  </a:lnTo>
                  <a:lnTo>
                    <a:pt x="2586" y="3172"/>
                  </a:lnTo>
                  <a:lnTo>
                    <a:pt x="2586" y="3172"/>
                  </a:lnTo>
                  <a:lnTo>
                    <a:pt x="2586" y="3170"/>
                  </a:lnTo>
                  <a:lnTo>
                    <a:pt x="2588" y="3168"/>
                  </a:lnTo>
                  <a:lnTo>
                    <a:pt x="2588" y="3166"/>
                  </a:lnTo>
                  <a:lnTo>
                    <a:pt x="2588" y="3164"/>
                  </a:lnTo>
                  <a:lnTo>
                    <a:pt x="2590" y="3162"/>
                  </a:lnTo>
                  <a:lnTo>
                    <a:pt x="2590" y="3162"/>
                  </a:lnTo>
                  <a:lnTo>
                    <a:pt x="2590" y="3162"/>
                  </a:lnTo>
                  <a:lnTo>
                    <a:pt x="2590" y="3160"/>
                  </a:lnTo>
                  <a:lnTo>
                    <a:pt x="2590" y="3158"/>
                  </a:lnTo>
                  <a:lnTo>
                    <a:pt x="2590" y="3154"/>
                  </a:lnTo>
                  <a:lnTo>
                    <a:pt x="2590" y="3152"/>
                  </a:lnTo>
                  <a:lnTo>
                    <a:pt x="2592" y="3148"/>
                  </a:lnTo>
                  <a:lnTo>
                    <a:pt x="2592" y="3148"/>
                  </a:lnTo>
                  <a:lnTo>
                    <a:pt x="2592" y="3148"/>
                  </a:lnTo>
                  <a:lnTo>
                    <a:pt x="2594" y="3150"/>
                  </a:lnTo>
                  <a:lnTo>
                    <a:pt x="2596" y="3154"/>
                  </a:lnTo>
                  <a:lnTo>
                    <a:pt x="2602" y="3162"/>
                  </a:lnTo>
                  <a:lnTo>
                    <a:pt x="2604" y="3166"/>
                  </a:lnTo>
                  <a:lnTo>
                    <a:pt x="2606" y="3168"/>
                  </a:lnTo>
                  <a:lnTo>
                    <a:pt x="2606" y="3170"/>
                  </a:lnTo>
                  <a:lnTo>
                    <a:pt x="2606" y="3170"/>
                  </a:lnTo>
                  <a:lnTo>
                    <a:pt x="2606" y="3170"/>
                  </a:lnTo>
                  <a:lnTo>
                    <a:pt x="2606" y="3170"/>
                  </a:lnTo>
                  <a:lnTo>
                    <a:pt x="2604" y="3172"/>
                  </a:lnTo>
                  <a:lnTo>
                    <a:pt x="2604" y="3172"/>
                  </a:lnTo>
                  <a:lnTo>
                    <a:pt x="2604" y="3172"/>
                  </a:lnTo>
                  <a:lnTo>
                    <a:pt x="2604" y="3172"/>
                  </a:lnTo>
                  <a:lnTo>
                    <a:pt x="2604" y="3172"/>
                  </a:lnTo>
                  <a:lnTo>
                    <a:pt x="2602" y="3174"/>
                  </a:lnTo>
                  <a:lnTo>
                    <a:pt x="2602" y="3176"/>
                  </a:lnTo>
                  <a:lnTo>
                    <a:pt x="2602" y="3176"/>
                  </a:lnTo>
                  <a:lnTo>
                    <a:pt x="2602" y="3178"/>
                  </a:lnTo>
                  <a:lnTo>
                    <a:pt x="2604" y="3178"/>
                  </a:lnTo>
                  <a:lnTo>
                    <a:pt x="2604" y="3178"/>
                  </a:lnTo>
                  <a:lnTo>
                    <a:pt x="2604" y="3180"/>
                  </a:lnTo>
                  <a:lnTo>
                    <a:pt x="2604" y="3180"/>
                  </a:lnTo>
                  <a:lnTo>
                    <a:pt x="2604" y="3180"/>
                  </a:lnTo>
                  <a:lnTo>
                    <a:pt x="2606" y="3180"/>
                  </a:lnTo>
                  <a:lnTo>
                    <a:pt x="2606" y="3182"/>
                  </a:lnTo>
                  <a:lnTo>
                    <a:pt x="2610" y="3184"/>
                  </a:lnTo>
                  <a:lnTo>
                    <a:pt x="2614" y="3186"/>
                  </a:lnTo>
                  <a:lnTo>
                    <a:pt x="2616" y="3188"/>
                  </a:lnTo>
                  <a:lnTo>
                    <a:pt x="2618" y="3192"/>
                  </a:lnTo>
                  <a:lnTo>
                    <a:pt x="2618" y="3192"/>
                  </a:lnTo>
                  <a:lnTo>
                    <a:pt x="2618" y="3192"/>
                  </a:lnTo>
                  <a:lnTo>
                    <a:pt x="2618" y="3194"/>
                  </a:lnTo>
                  <a:lnTo>
                    <a:pt x="2618" y="3194"/>
                  </a:lnTo>
                  <a:lnTo>
                    <a:pt x="2620" y="3194"/>
                  </a:lnTo>
                  <a:lnTo>
                    <a:pt x="2620" y="3196"/>
                  </a:lnTo>
                  <a:lnTo>
                    <a:pt x="2620" y="3196"/>
                  </a:lnTo>
                  <a:lnTo>
                    <a:pt x="2620" y="3196"/>
                  </a:lnTo>
                  <a:lnTo>
                    <a:pt x="2622" y="3196"/>
                  </a:lnTo>
                  <a:lnTo>
                    <a:pt x="2622" y="3196"/>
                  </a:lnTo>
                  <a:lnTo>
                    <a:pt x="2624" y="3198"/>
                  </a:lnTo>
                  <a:lnTo>
                    <a:pt x="2624" y="3198"/>
                  </a:lnTo>
                  <a:lnTo>
                    <a:pt x="2624" y="3198"/>
                  </a:lnTo>
                  <a:lnTo>
                    <a:pt x="2626" y="3198"/>
                  </a:lnTo>
                  <a:lnTo>
                    <a:pt x="2628" y="3196"/>
                  </a:lnTo>
                  <a:lnTo>
                    <a:pt x="2628" y="3196"/>
                  </a:lnTo>
                  <a:lnTo>
                    <a:pt x="2628" y="3196"/>
                  </a:lnTo>
                  <a:lnTo>
                    <a:pt x="2630" y="3194"/>
                  </a:lnTo>
                  <a:lnTo>
                    <a:pt x="2630" y="3194"/>
                  </a:lnTo>
                  <a:lnTo>
                    <a:pt x="2630" y="3194"/>
                  </a:lnTo>
                  <a:lnTo>
                    <a:pt x="2630" y="3192"/>
                  </a:lnTo>
                  <a:lnTo>
                    <a:pt x="2630" y="3192"/>
                  </a:lnTo>
                  <a:lnTo>
                    <a:pt x="2630" y="3190"/>
                  </a:lnTo>
                  <a:lnTo>
                    <a:pt x="2630" y="3190"/>
                  </a:lnTo>
                  <a:lnTo>
                    <a:pt x="2630" y="3190"/>
                  </a:lnTo>
                  <a:lnTo>
                    <a:pt x="2630" y="3188"/>
                  </a:lnTo>
                  <a:lnTo>
                    <a:pt x="2628" y="3186"/>
                  </a:lnTo>
                  <a:lnTo>
                    <a:pt x="2628" y="3186"/>
                  </a:lnTo>
                  <a:lnTo>
                    <a:pt x="2628" y="3186"/>
                  </a:lnTo>
                  <a:lnTo>
                    <a:pt x="2622" y="3184"/>
                  </a:lnTo>
                  <a:lnTo>
                    <a:pt x="2622" y="3180"/>
                  </a:lnTo>
                  <a:lnTo>
                    <a:pt x="2620" y="3176"/>
                  </a:lnTo>
                  <a:lnTo>
                    <a:pt x="2618" y="3170"/>
                  </a:lnTo>
                  <a:lnTo>
                    <a:pt x="2618" y="3164"/>
                  </a:lnTo>
                  <a:lnTo>
                    <a:pt x="2614" y="3152"/>
                  </a:lnTo>
                  <a:lnTo>
                    <a:pt x="2614" y="3148"/>
                  </a:lnTo>
                  <a:lnTo>
                    <a:pt x="2612" y="3142"/>
                  </a:lnTo>
                  <a:lnTo>
                    <a:pt x="2612" y="3140"/>
                  </a:lnTo>
                  <a:lnTo>
                    <a:pt x="2610" y="3136"/>
                  </a:lnTo>
                  <a:lnTo>
                    <a:pt x="2606" y="3130"/>
                  </a:lnTo>
                  <a:lnTo>
                    <a:pt x="2602" y="3124"/>
                  </a:lnTo>
                  <a:lnTo>
                    <a:pt x="2598" y="3116"/>
                  </a:lnTo>
                  <a:lnTo>
                    <a:pt x="2596" y="3110"/>
                  </a:lnTo>
                  <a:lnTo>
                    <a:pt x="2592" y="3104"/>
                  </a:lnTo>
                  <a:lnTo>
                    <a:pt x="2592" y="3102"/>
                  </a:lnTo>
                  <a:lnTo>
                    <a:pt x="2590" y="3102"/>
                  </a:lnTo>
                  <a:lnTo>
                    <a:pt x="2594" y="3102"/>
                  </a:lnTo>
                  <a:lnTo>
                    <a:pt x="2598" y="3104"/>
                  </a:lnTo>
                  <a:lnTo>
                    <a:pt x="2604" y="3106"/>
                  </a:lnTo>
                  <a:lnTo>
                    <a:pt x="2610" y="3110"/>
                  </a:lnTo>
                  <a:lnTo>
                    <a:pt x="2614" y="3112"/>
                  </a:lnTo>
                  <a:lnTo>
                    <a:pt x="2620" y="3114"/>
                  </a:lnTo>
                  <a:lnTo>
                    <a:pt x="2620" y="3114"/>
                  </a:lnTo>
                  <a:lnTo>
                    <a:pt x="2620" y="3114"/>
                  </a:lnTo>
                  <a:lnTo>
                    <a:pt x="2624" y="3114"/>
                  </a:lnTo>
                  <a:lnTo>
                    <a:pt x="2624" y="3114"/>
                  </a:lnTo>
                  <a:lnTo>
                    <a:pt x="2626" y="3114"/>
                  </a:lnTo>
                  <a:lnTo>
                    <a:pt x="2628" y="3112"/>
                  </a:lnTo>
                  <a:lnTo>
                    <a:pt x="2628" y="3112"/>
                  </a:lnTo>
                  <a:lnTo>
                    <a:pt x="2628" y="3112"/>
                  </a:lnTo>
                  <a:lnTo>
                    <a:pt x="2630" y="3110"/>
                  </a:lnTo>
                  <a:lnTo>
                    <a:pt x="2630" y="3110"/>
                  </a:lnTo>
                  <a:lnTo>
                    <a:pt x="2630" y="3110"/>
                  </a:lnTo>
                  <a:lnTo>
                    <a:pt x="2630" y="3108"/>
                  </a:lnTo>
                  <a:lnTo>
                    <a:pt x="2630" y="3108"/>
                  </a:lnTo>
                  <a:lnTo>
                    <a:pt x="2632" y="3106"/>
                  </a:lnTo>
                  <a:lnTo>
                    <a:pt x="2632" y="3104"/>
                  </a:lnTo>
                  <a:lnTo>
                    <a:pt x="2632" y="3104"/>
                  </a:lnTo>
                  <a:lnTo>
                    <a:pt x="2632" y="3100"/>
                  </a:lnTo>
                  <a:lnTo>
                    <a:pt x="2630" y="3098"/>
                  </a:lnTo>
                  <a:lnTo>
                    <a:pt x="2630" y="3094"/>
                  </a:lnTo>
                  <a:lnTo>
                    <a:pt x="2630" y="3094"/>
                  </a:lnTo>
                  <a:lnTo>
                    <a:pt x="2630" y="3094"/>
                  </a:lnTo>
                  <a:lnTo>
                    <a:pt x="2628" y="3092"/>
                  </a:lnTo>
                  <a:lnTo>
                    <a:pt x="2628" y="3092"/>
                  </a:lnTo>
                  <a:lnTo>
                    <a:pt x="2628" y="3090"/>
                  </a:lnTo>
                  <a:lnTo>
                    <a:pt x="2628" y="3090"/>
                  </a:lnTo>
                  <a:lnTo>
                    <a:pt x="2626" y="3088"/>
                  </a:lnTo>
                  <a:lnTo>
                    <a:pt x="2622" y="3084"/>
                  </a:lnTo>
                  <a:lnTo>
                    <a:pt x="2618" y="3082"/>
                  </a:lnTo>
                  <a:lnTo>
                    <a:pt x="2614" y="3078"/>
                  </a:lnTo>
                  <a:lnTo>
                    <a:pt x="2610" y="3076"/>
                  </a:lnTo>
                  <a:lnTo>
                    <a:pt x="2606" y="3074"/>
                  </a:lnTo>
                  <a:lnTo>
                    <a:pt x="2604" y="3070"/>
                  </a:lnTo>
                  <a:lnTo>
                    <a:pt x="2608" y="3068"/>
                  </a:lnTo>
                  <a:lnTo>
                    <a:pt x="2616" y="3064"/>
                  </a:lnTo>
                  <a:lnTo>
                    <a:pt x="2626" y="3058"/>
                  </a:lnTo>
                  <a:lnTo>
                    <a:pt x="2626" y="3062"/>
                  </a:lnTo>
                  <a:lnTo>
                    <a:pt x="2628" y="3066"/>
                  </a:lnTo>
                  <a:lnTo>
                    <a:pt x="2632" y="3072"/>
                  </a:lnTo>
                  <a:lnTo>
                    <a:pt x="2632" y="3072"/>
                  </a:lnTo>
                  <a:lnTo>
                    <a:pt x="2634" y="3074"/>
                  </a:lnTo>
                  <a:lnTo>
                    <a:pt x="2634" y="3074"/>
                  </a:lnTo>
                  <a:lnTo>
                    <a:pt x="2636" y="3074"/>
                  </a:lnTo>
                  <a:lnTo>
                    <a:pt x="2638" y="3074"/>
                  </a:lnTo>
                  <a:lnTo>
                    <a:pt x="2640" y="3076"/>
                  </a:lnTo>
                  <a:lnTo>
                    <a:pt x="2642" y="3076"/>
                  </a:lnTo>
                  <a:lnTo>
                    <a:pt x="2646" y="3078"/>
                  </a:lnTo>
                  <a:lnTo>
                    <a:pt x="2648" y="3078"/>
                  </a:lnTo>
                  <a:lnTo>
                    <a:pt x="2650" y="3078"/>
                  </a:lnTo>
                  <a:lnTo>
                    <a:pt x="2654" y="3078"/>
                  </a:lnTo>
                  <a:lnTo>
                    <a:pt x="2656" y="3076"/>
                  </a:lnTo>
                  <a:lnTo>
                    <a:pt x="2662" y="3074"/>
                  </a:lnTo>
                  <a:lnTo>
                    <a:pt x="2664" y="3072"/>
                  </a:lnTo>
                  <a:lnTo>
                    <a:pt x="2666" y="3070"/>
                  </a:lnTo>
                  <a:lnTo>
                    <a:pt x="2666" y="3070"/>
                  </a:lnTo>
                  <a:lnTo>
                    <a:pt x="2666" y="3068"/>
                  </a:lnTo>
                  <a:lnTo>
                    <a:pt x="2668" y="3066"/>
                  </a:lnTo>
                  <a:lnTo>
                    <a:pt x="2668" y="3066"/>
                  </a:lnTo>
                  <a:lnTo>
                    <a:pt x="2668" y="3066"/>
                  </a:lnTo>
                  <a:lnTo>
                    <a:pt x="2668" y="3064"/>
                  </a:lnTo>
                  <a:lnTo>
                    <a:pt x="2670" y="3064"/>
                  </a:lnTo>
                  <a:lnTo>
                    <a:pt x="2670" y="3064"/>
                  </a:lnTo>
                  <a:lnTo>
                    <a:pt x="2670" y="3062"/>
                  </a:lnTo>
                  <a:lnTo>
                    <a:pt x="2668" y="3060"/>
                  </a:lnTo>
                  <a:lnTo>
                    <a:pt x="2668" y="3060"/>
                  </a:lnTo>
                  <a:lnTo>
                    <a:pt x="2668" y="3060"/>
                  </a:lnTo>
                  <a:lnTo>
                    <a:pt x="2668" y="3060"/>
                  </a:lnTo>
                  <a:lnTo>
                    <a:pt x="2668" y="3060"/>
                  </a:lnTo>
                  <a:lnTo>
                    <a:pt x="2668" y="3058"/>
                  </a:lnTo>
                  <a:lnTo>
                    <a:pt x="2666" y="3058"/>
                  </a:lnTo>
                  <a:lnTo>
                    <a:pt x="2666" y="3058"/>
                  </a:lnTo>
                  <a:lnTo>
                    <a:pt x="2666" y="3058"/>
                  </a:lnTo>
                  <a:lnTo>
                    <a:pt x="2664" y="3054"/>
                  </a:lnTo>
                  <a:lnTo>
                    <a:pt x="2662" y="3052"/>
                  </a:lnTo>
                  <a:lnTo>
                    <a:pt x="2658" y="3050"/>
                  </a:lnTo>
                  <a:lnTo>
                    <a:pt x="2658" y="3050"/>
                  </a:lnTo>
                  <a:lnTo>
                    <a:pt x="2658" y="3050"/>
                  </a:lnTo>
                  <a:lnTo>
                    <a:pt x="2658" y="3048"/>
                  </a:lnTo>
                  <a:lnTo>
                    <a:pt x="2658" y="3048"/>
                  </a:lnTo>
                  <a:lnTo>
                    <a:pt x="2658" y="3044"/>
                  </a:lnTo>
                  <a:lnTo>
                    <a:pt x="2654" y="3042"/>
                  </a:lnTo>
                  <a:lnTo>
                    <a:pt x="2650" y="3040"/>
                  </a:lnTo>
                  <a:lnTo>
                    <a:pt x="2644" y="3038"/>
                  </a:lnTo>
                  <a:lnTo>
                    <a:pt x="2638" y="3036"/>
                  </a:lnTo>
                  <a:lnTo>
                    <a:pt x="2632" y="3034"/>
                  </a:lnTo>
                  <a:lnTo>
                    <a:pt x="2624" y="3030"/>
                  </a:lnTo>
                  <a:lnTo>
                    <a:pt x="2610" y="3024"/>
                  </a:lnTo>
                  <a:lnTo>
                    <a:pt x="2604" y="3022"/>
                  </a:lnTo>
                  <a:lnTo>
                    <a:pt x="2598" y="3020"/>
                  </a:lnTo>
                  <a:lnTo>
                    <a:pt x="2590" y="3016"/>
                  </a:lnTo>
                  <a:lnTo>
                    <a:pt x="2586" y="3014"/>
                  </a:lnTo>
                  <a:lnTo>
                    <a:pt x="2580" y="3012"/>
                  </a:lnTo>
                  <a:lnTo>
                    <a:pt x="2576" y="3010"/>
                  </a:lnTo>
                  <a:lnTo>
                    <a:pt x="2572" y="3008"/>
                  </a:lnTo>
                  <a:lnTo>
                    <a:pt x="2570" y="3008"/>
                  </a:lnTo>
                  <a:lnTo>
                    <a:pt x="2570" y="3006"/>
                  </a:lnTo>
                  <a:lnTo>
                    <a:pt x="2570" y="3006"/>
                  </a:lnTo>
                  <a:lnTo>
                    <a:pt x="2570" y="3006"/>
                  </a:lnTo>
                  <a:lnTo>
                    <a:pt x="2570" y="3006"/>
                  </a:lnTo>
                  <a:lnTo>
                    <a:pt x="2572" y="3006"/>
                  </a:lnTo>
                  <a:lnTo>
                    <a:pt x="2574" y="3004"/>
                  </a:lnTo>
                  <a:lnTo>
                    <a:pt x="2576" y="3004"/>
                  </a:lnTo>
                  <a:lnTo>
                    <a:pt x="2578" y="3004"/>
                  </a:lnTo>
                  <a:lnTo>
                    <a:pt x="2586" y="3004"/>
                  </a:lnTo>
                  <a:lnTo>
                    <a:pt x="2594" y="3006"/>
                  </a:lnTo>
                  <a:lnTo>
                    <a:pt x="2602" y="3008"/>
                  </a:lnTo>
                  <a:lnTo>
                    <a:pt x="2604" y="3010"/>
                  </a:lnTo>
                  <a:lnTo>
                    <a:pt x="2608" y="3012"/>
                  </a:lnTo>
                  <a:lnTo>
                    <a:pt x="2612" y="3014"/>
                  </a:lnTo>
                  <a:lnTo>
                    <a:pt x="2616" y="3016"/>
                  </a:lnTo>
                  <a:lnTo>
                    <a:pt x="2626" y="3020"/>
                  </a:lnTo>
                  <a:lnTo>
                    <a:pt x="2636" y="3024"/>
                  </a:lnTo>
                  <a:lnTo>
                    <a:pt x="2646" y="3030"/>
                  </a:lnTo>
                  <a:lnTo>
                    <a:pt x="2658" y="3036"/>
                  </a:lnTo>
                  <a:lnTo>
                    <a:pt x="2668" y="3042"/>
                  </a:lnTo>
                  <a:lnTo>
                    <a:pt x="2678" y="3048"/>
                  </a:lnTo>
                  <a:lnTo>
                    <a:pt x="2678" y="3048"/>
                  </a:lnTo>
                  <a:lnTo>
                    <a:pt x="2678" y="3048"/>
                  </a:lnTo>
                  <a:lnTo>
                    <a:pt x="2682" y="3050"/>
                  </a:lnTo>
                  <a:lnTo>
                    <a:pt x="2682" y="3050"/>
                  </a:lnTo>
                  <a:lnTo>
                    <a:pt x="2688" y="3052"/>
                  </a:lnTo>
                  <a:lnTo>
                    <a:pt x="2692" y="3056"/>
                  </a:lnTo>
                  <a:lnTo>
                    <a:pt x="2698" y="3058"/>
                  </a:lnTo>
                  <a:lnTo>
                    <a:pt x="2702" y="3060"/>
                  </a:lnTo>
                  <a:lnTo>
                    <a:pt x="2708" y="3064"/>
                  </a:lnTo>
                  <a:lnTo>
                    <a:pt x="2710" y="3064"/>
                  </a:lnTo>
                  <a:lnTo>
                    <a:pt x="2714" y="3066"/>
                  </a:lnTo>
                  <a:lnTo>
                    <a:pt x="2716" y="3068"/>
                  </a:lnTo>
                  <a:lnTo>
                    <a:pt x="2716" y="3068"/>
                  </a:lnTo>
                  <a:lnTo>
                    <a:pt x="2720" y="3068"/>
                  </a:lnTo>
                  <a:lnTo>
                    <a:pt x="2720" y="3068"/>
                  </a:lnTo>
                  <a:lnTo>
                    <a:pt x="2720" y="3066"/>
                  </a:lnTo>
                  <a:lnTo>
                    <a:pt x="2720" y="3064"/>
                  </a:lnTo>
                  <a:lnTo>
                    <a:pt x="2718" y="3062"/>
                  </a:lnTo>
                  <a:lnTo>
                    <a:pt x="2718" y="3062"/>
                  </a:lnTo>
                  <a:lnTo>
                    <a:pt x="2718" y="3062"/>
                  </a:lnTo>
                  <a:lnTo>
                    <a:pt x="2718" y="3060"/>
                  </a:lnTo>
                  <a:lnTo>
                    <a:pt x="2718" y="3060"/>
                  </a:lnTo>
                  <a:lnTo>
                    <a:pt x="2716" y="3060"/>
                  </a:lnTo>
                  <a:lnTo>
                    <a:pt x="2714" y="3056"/>
                  </a:lnTo>
                  <a:lnTo>
                    <a:pt x="2708" y="3052"/>
                  </a:lnTo>
                  <a:lnTo>
                    <a:pt x="2704" y="3050"/>
                  </a:lnTo>
                  <a:lnTo>
                    <a:pt x="2698" y="3048"/>
                  </a:lnTo>
                  <a:lnTo>
                    <a:pt x="2692" y="3046"/>
                  </a:lnTo>
                  <a:lnTo>
                    <a:pt x="2688" y="3044"/>
                  </a:lnTo>
                  <a:lnTo>
                    <a:pt x="2688" y="3044"/>
                  </a:lnTo>
                  <a:lnTo>
                    <a:pt x="2686" y="3044"/>
                  </a:lnTo>
                  <a:lnTo>
                    <a:pt x="2684" y="3044"/>
                  </a:lnTo>
                  <a:lnTo>
                    <a:pt x="2682" y="3044"/>
                  </a:lnTo>
                  <a:lnTo>
                    <a:pt x="2682" y="3042"/>
                  </a:lnTo>
                  <a:lnTo>
                    <a:pt x="2682" y="3042"/>
                  </a:lnTo>
                  <a:lnTo>
                    <a:pt x="2682" y="3042"/>
                  </a:lnTo>
                  <a:lnTo>
                    <a:pt x="2680" y="3040"/>
                  </a:lnTo>
                  <a:lnTo>
                    <a:pt x="2678" y="3038"/>
                  </a:lnTo>
                  <a:lnTo>
                    <a:pt x="2676" y="3034"/>
                  </a:lnTo>
                  <a:lnTo>
                    <a:pt x="2676" y="3034"/>
                  </a:lnTo>
                  <a:lnTo>
                    <a:pt x="2676" y="3034"/>
                  </a:lnTo>
                  <a:lnTo>
                    <a:pt x="2674" y="3032"/>
                  </a:lnTo>
                  <a:lnTo>
                    <a:pt x="2674" y="3032"/>
                  </a:lnTo>
                  <a:lnTo>
                    <a:pt x="2672" y="3030"/>
                  </a:lnTo>
                  <a:lnTo>
                    <a:pt x="2668" y="3030"/>
                  </a:lnTo>
                  <a:lnTo>
                    <a:pt x="2670" y="3030"/>
                  </a:lnTo>
                  <a:lnTo>
                    <a:pt x="2666" y="3028"/>
                  </a:lnTo>
                  <a:lnTo>
                    <a:pt x="2662" y="3026"/>
                  </a:lnTo>
                  <a:lnTo>
                    <a:pt x="2660" y="3022"/>
                  </a:lnTo>
                  <a:lnTo>
                    <a:pt x="2658" y="3020"/>
                  </a:lnTo>
                  <a:lnTo>
                    <a:pt x="2656" y="3016"/>
                  </a:lnTo>
                  <a:lnTo>
                    <a:pt x="2656" y="3016"/>
                  </a:lnTo>
                  <a:lnTo>
                    <a:pt x="2656" y="3012"/>
                  </a:lnTo>
                  <a:lnTo>
                    <a:pt x="2656" y="3006"/>
                  </a:lnTo>
                  <a:lnTo>
                    <a:pt x="2656" y="3006"/>
                  </a:lnTo>
                  <a:lnTo>
                    <a:pt x="2654" y="3004"/>
                  </a:lnTo>
                  <a:lnTo>
                    <a:pt x="2654" y="3004"/>
                  </a:lnTo>
                  <a:lnTo>
                    <a:pt x="2652" y="3004"/>
                  </a:lnTo>
                  <a:lnTo>
                    <a:pt x="2648" y="3004"/>
                  </a:lnTo>
                  <a:lnTo>
                    <a:pt x="2646" y="3004"/>
                  </a:lnTo>
                  <a:lnTo>
                    <a:pt x="2646" y="3004"/>
                  </a:lnTo>
                  <a:lnTo>
                    <a:pt x="2642" y="3004"/>
                  </a:lnTo>
                  <a:lnTo>
                    <a:pt x="2640" y="3002"/>
                  </a:lnTo>
                  <a:lnTo>
                    <a:pt x="2634" y="3000"/>
                  </a:lnTo>
                  <a:lnTo>
                    <a:pt x="2630" y="2998"/>
                  </a:lnTo>
                  <a:lnTo>
                    <a:pt x="2626" y="2998"/>
                  </a:lnTo>
                  <a:lnTo>
                    <a:pt x="2622" y="2996"/>
                  </a:lnTo>
                  <a:lnTo>
                    <a:pt x="2618" y="2996"/>
                  </a:lnTo>
                  <a:lnTo>
                    <a:pt x="2614" y="2994"/>
                  </a:lnTo>
                  <a:lnTo>
                    <a:pt x="2610" y="2994"/>
                  </a:lnTo>
                  <a:lnTo>
                    <a:pt x="2604" y="2996"/>
                  </a:lnTo>
                  <a:lnTo>
                    <a:pt x="2602" y="2996"/>
                  </a:lnTo>
                  <a:lnTo>
                    <a:pt x="2598" y="2996"/>
                  </a:lnTo>
                  <a:lnTo>
                    <a:pt x="2598" y="2996"/>
                  </a:lnTo>
                  <a:lnTo>
                    <a:pt x="2598" y="2996"/>
                  </a:lnTo>
                  <a:lnTo>
                    <a:pt x="2598" y="2994"/>
                  </a:lnTo>
                  <a:lnTo>
                    <a:pt x="2598" y="2994"/>
                  </a:lnTo>
                  <a:lnTo>
                    <a:pt x="2598" y="2994"/>
                  </a:lnTo>
                  <a:lnTo>
                    <a:pt x="2594" y="2994"/>
                  </a:lnTo>
                  <a:lnTo>
                    <a:pt x="2590" y="2992"/>
                  </a:lnTo>
                  <a:lnTo>
                    <a:pt x="2588" y="2990"/>
                  </a:lnTo>
                  <a:lnTo>
                    <a:pt x="2584" y="2988"/>
                  </a:lnTo>
                  <a:lnTo>
                    <a:pt x="2582" y="2988"/>
                  </a:lnTo>
                  <a:lnTo>
                    <a:pt x="2582" y="2988"/>
                  </a:lnTo>
                  <a:lnTo>
                    <a:pt x="2582" y="2988"/>
                  </a:lnTo>
                  <a:lnTo>
                    <a:pt x="2582" y="2988"/>
                  </a:lnTo>
                  <a:lnTo>
                    <a:pt x="2584" y="2986"/>
                  </a:lnTo>
                  <a:lnTo>
                    <a:pt x="2584" y="2984"/>
                  </a:lnTo>
                  <a:lnTo>
                    <a:pt x="2582" y="2982"/>
                  </a:lnTo>
                  <a:lnTo>
                    <a:pt x="2582" y="2980"/>
                  </a:lnTo>
                  <a:lnTo>
                    <a:pt x="2582" y="2980"/>
                  </a:lnTo>
                  <a:lnTo>
                    <a:pt x="2582" y="2980"/>
                  </a:lnTo>
                  <a:lnTo>
                    <a:pt x="2584" y="2980"/>
                  </a:lnTo>
                  <a:lnTo>
                    <a:pt x="2586" y="2978"/>
                  </a:lnTo>
                  <a:lnTo>
                    <a:pt x="2588" y="2978"/>
                  </a:lnTo>
                  <a:lnTo>
                    <a:pt x="2592" y="2978"/>
                  </a:lnTo>
                  <a:lnTo>
                    <a:pt x="2598" y="2976"/>
                  </a:lnTo>
                  <a:lnTo>
                    <a:pt x="2606" y="2974"/>
                  </a:lnTo>
                  <a:lnTo>
                    <a:pt x="2606" y="2974"/>
                  </a:lnTo>
                  <a:lnTo>
                    <a:pt x="2608" y="2974"/>
                  </a:lnTo>
                  <a:lnTo>
                    <a:pt x="2608" y="2972"/>
                  </a:lnTo>
                  <a:lnTo>
                    <a:pt x="2608" y="2972"/>
                  </a:lnTo>
                  <a:lnTo>
                    <a:pt x="2606" y="2970"/>
                  </a:lnTo>
                  <a:lnTo>
                    <a:pt x="2606" y="2968"/>
                  </a:lnTo>
                  <a:lnTo>
                    <a:pt x="2596" y="2968"/>
                  </a:lnTo>
                  <a:lnTo>
                    <a:pt x="2594" y="2966"/>
                  </a:lnTo>
                  <a:lnTo>
                    <a:pt x="2592" y="2966"/>
                  </a:lnTo>
                  <a:lnTo>
                    <a:pt x="2588" y="2962"/>
                  </a:lnTo>
                  <a:lnTo>
                    <a:pt x="2584" y="2956"/>
                  </a:lnTo>
                  <a:lnTo>
                    <a:pt x="2578" y="2950"/>
                  </a:lnTo>
                  <a:lnTo>
                    <a:pt x="2574" y="2944"/>
                  </a:lnTo>
                  <a:lnTo>
                    <a:pt x="2570" y="2940"/>
                  </a:lnTo>
                  <a:lnTo>
                    <a:pt x="2566" y="2934"/>
                  </a:lnTo>
                  <a:lnTo>
                    <a:pt x="2562" y="2930"/>
                  </a:lnTo>
                  <a:lnTo>
                    <a:pt x="2560" y="2926"/>
                  </a:lnTo>
                  <a:lnTo>
                    <a:pt x="2558" y="2924"/>
                  </a:lnTo>
                  <a:lnTo>
                    <a:pt x="2556" y="2920"/>
                  </a:lnTo>
                  <a:lnTo>
                    <a:pt x="2554" y="2918"/>
                  </a:lnTo>
                  <a:lnTo>
                    <a:pt x="2552" y="2916"/>
                  </a:lnTo>
                  <a:lnTo>
                    <a:pt x="2552" y="2914"/>
                  </a:lnTo>
                  <a:lnTo>
                    <a:pt x="2552" y="2908"/>
                  </a:lnTo>
                  <a:lnTo>
                    <a:pt x="2552" y="2906"/>
                  </a:lnTo>
                  <a:lnTo>
                    <a:pt x="2552" y="2908"/>
                  </a:lnTo>
                  <a:lnTo>
                    <a:pt x="2552" y="2904"/>
                  </a:lnTo>
                  <a:lnTo>
                    <a:pt x="2552" y="2906"/>
                  </a:lnTo>
                  <a:lnTo>
                    <a:pt x="2554" y="2900"/>
                  </a:lnTo>
                  <a:lnTo>
                    <a:pt x="2556" y="2898"/>
                  </a:lnTo>
                  <a:lnTo>
                    <a:pt x="2558" y="2896"/>
                  </a:lnTo>
                  <a:lnTo>
                    <a:pt x="2560" y="2896"/>
                  </a:lnTo>
                  <a:lnTo>
                    <a:pt x="2562" y="2900"/>
                  </a:lnTo>
                  <a:lnTo>
                    <a:pt x="2568" y="2904"/>
                  </a:lnTo>
                  <a:lnTo>
                    <a:pt x="2572" y="2908"/>
                  </a:lnTo>
                  <a:lnTo>
                    <a:pt x="2576" y="2910"/>
                  </a:lnTo>
                  <a:lnTo>
                    <a:pt x="2576" y="2910"/>
                  </a:lnTo>
                  <a:lnTo>
                    <a:pt x="2576" y="2910"/>
                  </a:lnTo>
                  <a:lnTo>
                    <a:pt x="2580" y="2912"/>
                  </a:lnTo>
                  <a:lnTo>
                    <a:pt x="2580" y="2912"/>
                  </a:lnTo>
                  <a:lnTo>
                    <a:pt x="2580" y="2912"/>
                  </a:lnTo>
                  <a:lnTo>
                    <a:pt x="2584" y="2914"/>
                  </a:lnTo>
                  <a:lnTo>
                    <a:pt x="2584" y="2914"/>
                  </a:lnTo>
                  <a:lnTo>
                    <a:pt x="2584" y="2914"/>
                  </a:lnTo>
                  <a:lnTo>
                    <a:pt x="2588" y="2916"/>
                  </a:lnTo>
                  <a:lnTo>
                    <a:pt x="2592" y="2918"/>
                  </a:lnTo>
                  <a:lnTo>
                    <a:pt x="2596" y="2922"/>
                  </a:lnTo>
                  <a:lnTo>
                    <a:pt x="2600" y="2926"/>
                  </a:lnTo>
                  <a:lnTo>
                    <a:pt x="2604" y="2928"/>
                  </a:lnTo>
                  <a:lnTo>
                    <a:pt x="2608" y="2930"/>
                  </a:lnTo>
                  <a:lnTo>
                    <a:pt x="2610" y="2930"/>
                  </a:lnTo>
                  <a:lnTo>
                    <a:pt x="2610" y="2930"/>
                  </a:lnTo>
                  <a:lnTo>
                    <a:pt x="2610" y="2932"/>
                  </a:lnTo>
                  <a:lnTo>
                    <a:pt x="2612" y="2932"/>
                  </a:lnTo>
                  <a:lnTo>
                    <a:pt x="2612" y="2932"/>
                  </a:lnTo>
                  <a:lnTo>
                    <a:pt x="2612" y="2932"/>
                  </a:lnTo>
                  <a:lnTo>
                    <a:pt x="2614" y="2930"/>
                  </a:lnTo>
                  <a:lnTo>
                    <a:pt x="2614" y="2930"/>
                  </a:lnTo>
                  <a:lnTo>
                    <a:pt x="2616" y="2930"/>
                  </a:lnTo>
                  <a:lnTo>
                    <a:pt x="2618" y="2928"/>
                  </a:lnTo>
                  <a:lnTo>
                    <a:pt x="2618" y="2928"/>
                  </a:lnTo>
                  <a:lnTo>
                    <a:pt x="2618" y="2928"/>
                  </a:lnTo>
                  <a:lnTo>
                    <a:pt x="2620" y="2926"/>
                  </a:lnTo>
                  <a:lnTo>
                    <a:pt x="2622" y="2922"/>
                  </a:lnTo>
                  <a:lnTo>
                    <a:pt x="2624" y="2920"/>
                  </a:lnTo>
                  <a:lnTo>
                    <a:pt x="2624" y="2918"/>
                  </a:lnTo>
                  <a:lnTo>
                    <a:pt x="2626" y="2916"/>
                  </a:lnTo>
                  <a:lnTo>
                    <a:pt x="2628" y="2916"/>
                  </a:lnTo>
                  <a:lnTo>
                    <a:pt x="2628" y="2916"/>
                  </a:lnTo>
                  <a:lnTo>
                    <a:pt x="2630" y="2914"/>
                  </a:lnTo>
                  <a:lnTo>
                    <a:pt x="2630" y="2914"/>
                  </a:lnTo>
                  <a:lnTo>
                    <a:pt x="2630" y="2912"/>
                  </a:lnTo>
                  <a:lnTo>
                    <a:pt x="2628" y="2910"/>
                  </a:lnTo>
                  <a:lnTo>
                    <a:pt x="2628" y="2910"/>
                  </a:lnTo>
                  <a:lnTo>
                    <a:pt x="2628" y="2910"/>
                  </a:lnTo>
                  <a:lnTo>
                    <a:pt x="2626" y="2908"/>
                  </a:lnTo>
                  <a:lnTo>
                    <a:pt x="2624" y="2904"/>
                  </a:lnTo>
                  <a:lnTo>
                    <a:pt x="2622" y="2902"/>
                  </a:lnTo>
                  <a:lnTo>
                    <a:pt x="2622" y="2902"/>
                  </a:lnTo>
                  <a:lnTo>
                    <a:pt x="2624" y="2902"/>
                  </a:lnTo>
                  <a:lnTo>
                    <a:pt x="2632" y="2904"/>
                  </a:lnTo>
                  <a:lnTo>
                    <a:pt x="2640" y="2904"/>
                  </a:lnTo>
                  <a:lnTo>
                    <a:pt x="2640" y="2904"/>
                  </a:lnTo>
                  <a:lnTo>
                    <a:pt x="2642" y="2902"/>
                  </a:lnTo>
                  <a:lnTo>
                    <a:pt x="2642" y="2902"/>
                  </a:lnTo>
                  <a:lnTo>
                    <a:pt x="2642" y="2898"/>
                  </a:lnTo>
                  <a:lnTo>
                    <a:pt x="2638" y="2896"/>
                  </a:lnTo>
                  <a:lnTo>
                    <a:pt x="2636" y="2892"/>
                  </a:lnTo>
                  <a:lnTo>
                    <a:pt x="2628" y="2888"/>
                  </a:lnTo>
                  <a:lnTo>
                    <a:pt x="2626" y="2886"/>
                  </a:lnTo>
                  <a:lnTo>
                    <a:pt x="2624" y="2882"/>
                  </a:lnTo>
                  <a:lnTo>
                    <a:pt x="2624" y="2882"/>
                  </a:lnTo>
                  <a:lnTo>
                    <a:pt x="2622" y="2880"/>
                  </a:lnTo>
                  <a:lnTo>
                    <a:pt x="2620" y="2876"/>
                  </a:lnTo>
                  <a:lnTo>
                    <a:pt x="2620" y="2876"/>
                  </a:lnTo>
                  <a:lnTo>
                    <a:pt x="2618" y="2874"/>
                  </a:lnTo>
                  <a:lnTo>
                    <a:pt x="2616" y="2874"/>
                  </a:lnTo>
                  <a:lnTo>
                    <a:pt x="2616" y="2874"/>
                  </a:lnTo>
                  <a:lnTo>
                    <a:pt x="2614" y="2874"/>
                  </a:lnTo>
                  <a:lnTo>
                    <a:pt x="2612" y="2872"/>
                  </a:lnTo>
                  <a:lnTo>
                    <a:pt x="2612" y="2872"/>
                  </a:lnTo>
                  <a:lnTo>
                    <a:pt x="2618" y="2868"/>
                  </a:lnTo>
                  <a:lnTo>
                    <a:pt x="2624" y="2864"/>
                  </a:lnTo>
                  <a:lnTo>
                    <a:pt x="2630" y="2860"/>
                  </a:lnTo>
                  <a:lnTo>
                    <a:pt x="2636" y="2858"/>
                  </a:lnTo>
                  <a:lnTo>
                    <a:pt x="2638" y="2856"/>
                  </a:lnTo>
                  <a:lnTo>
                    <a:pt x="2640" y="2856"/>
                  </a:lnTo>
                  <a:lnTo>
                    <a:pt x="2642" y="2854"/>
                  </a:lnTo>
                  <a:lnTo>
                    <a:pt x="2642" y="2854"/>
                  </a:lnTo>
                  <a:lnTo>
                    <a:pt x="2644" y="2854"/>
                  </a:lnTo>
                  <a:lnTo>
                    <a:pt x="2648" y="2852"/>
                  </a:lnTo>
                  <a:lnTo>
                    <a:pt x="2652" y="2852"/>
                  </a:lnTo>
                  <a:lnTo>
                    <a:pt x="2656" y="2850"/>
                  </a:lnTo>
                  <a:lnTo>
                    <a:pt x="2660" y="2850"/>
                  </a:lnTo>
                  <a:lnTo>
                    <a:pt x="2672" y="2848"/>
                  </a:lnTo>
                  <a:lnTo>
                    <a:pt x="2682" y="2848"/>
                  </a:lnTo>
                  <a:lnTo>
                    <a:pt x="2694" y="2846"/>
                  </a:lnTo>
                  <a:lnTo>
                    <a:pt x="2698" y="2846"/>
                  </a:lnTo>
                  <a:lnTo>
                    <a:pt x="2702" y="2844"/>
                  </a:lnTo>
                  <a:lnTo>
                    <a:pt x="2708" y="2844"/>
                  </a:lnTo>
                  <a:lnTo>
                    <a:pt x="2710" y="2844"/>
                  </a:lnTo>
                  <a:lnTo>
                    <a:pt x="2712" y="2844"/>
                  </a:lnTo>
                  <a:lnTo>
                    <a:pt x="2712" y="2846"/>
                  </a:lnTo>
                  <a:lnTo>
                    <a:pt x="2712" y="2848"/>
                  </a:lnTo>
                  <a:lnTo>
                    <a:pt x="2712" y="2848"/>
                  </a:lnTo>
                  <a:lnTo>
                    <a:pt x="2712" y="2850"/>
                  </a:lnTo>
                  <a:lnTo>
                    <a:pt x="2714" y="2850"/>
                  </a:lnTo>
                  <a:lnTo>
                    <a:pt x="2716" y="2850"/>
                  </a:lnTo>
                  <a:lnTo>
                    <a:pt x="2718" y="2850"/>
                  </a:lnTo>
                  <a:lnTo>
                    <a:pt x="2722" y="2850"/>
                  </a:lnTo>
                  <a:lnTo>
                    <a:pt x="2726" y="2850"/>
                  </a:lnTo>
                  <a:lnTo>
                    <a:pt x="2730" y="2848"/>
                  </a:lnTo>
                  <a:lnTo>
                    <a:pt x="2734" y="2848"/>
                  </a:lnTo>
                  <a:lnTo>
                    <a:pt x="2740" y="2848"/>
                  </a:lnTo>
                  <a:lnTo>
                    <a:pt x="2742" y="2848"/>
                  </a:lnTo>
                  <a:lnTo>
                    <a:pt x="2740" y="2850"/>
                  </a:lnTo>
                  <a:lnTo>
                    <a:pt x="2736" y="2854"/>
                  </a:lnTo>
                  <a:lnTo>
                    <a:pt x="2732" y="2856"/>
                  </a:lnTo>
                  <a:lnTo>
                    <a:pt x="2728" y="2860"/>
                  </a:lnTo>
                  <a:lnTo>
                    <a:pt x="2726" y="2862"/>
                  </a:lnTo>
                  <a:lnTo>
                    <a:pt x="2724" y="2862"/>
                  </a:lnTo>
                  <a:lnTo>
                    <a:pt x="2724" y="2864"/>
                  </a:lnTo>
                  <a:lnTo>
                    <a:pt x="2724" y="2864"/>
                  </a:lnTo>
                  <a:lnTo>
                    <a:pt x="2724" y="2864"/>
                  </a:lnTo>
                  <a:lnTo>
                    <a:pt x="2722" y="2866"/>
                  </a:lnTo>
                  <a:lnTo>
                    <a:pt x="2722" y="2868"/>
                  </a:lnTo>
                  <a:lnTo>
                    <a:pt x="2722" y="2870"/>
                  </a:lnTo>
                  <a:lnTo>
                    <a:pt x="2722" y="2870"/>
                  </a:lnTo>
                  <a:lnTo>
                    <a:pt x="2722" y="2872"/>
                  </a:lnTo>
                  <a:lnTo>
                    <a:pt x="2722" y="2872"/>
                  </a:lnTo>
                  <a:lnTo>
                    <a:pt x="2722" y="2872"/>
                  </a:lnTo>
                  <a:lnTo>
                    <a:pt x="2722" y="2876"/>
                  </a:lnTo>
                  <a:lnTo>
                    <a:pt x="2722" y="2876"/>
                  </a:lnTo>
                  <a:lnTo>
                    <a:pt x="2722" y="2876"/>
                  </a:lnTo>
                  <a:lnTo>
                    <a:pt x="2724" y="2878"/>
                  </a:lnTo>
                  <a:lnTo>
                    <a:pt x="2724" y="2878"/>
                  </a:lnTo>
                  <a:lnTo>
                    <a:pt x="2724" y="2878"/>
                  </a:lnTo>
                  <a:lnTo>
                    <a:pt x="2726" y="2880"/>
                  </a:lnTo>
                  <a:lnTo>
                    <a:pt x="2726" y="2880"/>
                  </a:lnTo>
                  <a:lnTo>
                    <a:pt x="2728" y="2880"/>
                  </a:lnTo>
                  <a:lnTo>
                    <a:pt x="2728" y="2880"/>
                  </a:lnTo>
                  <a:lnTo>
                    <a:pt x="2726" y="2882"/>
                  </a:lnTo>
                  <a:lnTo>
                    <a:pt x="2726" y="2884"/>
                  </a:lnTo>
                  <a:lnTo>
                    <a:pt x="2726" y="2884"/>
                  </a:lnTo>
                  <a:lnTo>
                    <a:pt x="2724" y="2886"/>
                  </a:lnTo>
                  <a:lnTo>
                    <a:pt x="2724" y="2892"/>
                  </a:lnTo>
                  <a:lnTo>
                    <a:pt x="2724" y="2898"/>
                  </a:lnTo>
                  <a:lnTo>
                    <a:pt x="2726" y="2904"/>
                  </a:lnTo>
                  <a:lnTo>
                    <a:pt x="2726" y="2912"/>
                  </a:lnTo>
                  <a:lnTo>
                    <a:pt x="2728" y="2918"/>
                  </a:lnTo>
                  <a:lnTo>
                    <a:pt x="2728" y="2924"/>
                  </a:lnTo>
                  <a:lnTo>
                    <a:pt x="2728" y="2924"/>
                  </a:lnTo>
                  <a:lnTo>
                    <a:pt x="2728" y="2924"/>
                  </a:lnTo>
                  <a:lnTo>
                    <a:pt x="2732" y="2928"/>
                  </a:lnTo>
                  <a:lnTo>
                    <a:pt x="2732" y="2928"/>
                  </a:lnTo>
                  <a:lnTo>
                    <a:pt x="2732" y="2930"/>
                  </a:lnTo>
                  <a:lnTo>
                    <a:pt x="2732" y="2930"/>
                  </a:lnTo>
                  <a:lnTo>
                    <a:pt x="2732" y="2930"/>
                  </a:lnTo>
                  <a:lnTo>
                    <a:pt x="2734" y="2932"/>
                  </a:lnTo>
                  <a:lnTo>
                    <a:pt x="2734" y="2932"/>
                  </a:lnTo>
                  <a:lnTo>
                    <a:pt x="2736" y="2936"/>
                  </a:lnTo>
                  <a:lnTo>
                    <a:pt x="2736" y="2936"/>
                  </a:lnTo>
                  <a:lnTo>
                    <a:pt x="2736" y="2938"/>
                  </a:lnTo>
                  <a:lnTo>
                    <a:pt x="2738" y="2938"/>
                  </a:lnTo>
                  <a:lnTo>
                    <a:pt x="2738" y="2938"/>
                  </a:lnTo>
                  <a:lnTo>
                    <a:pt x="2728" y="2950"/>
                  </a:lnTo>
                  <a:lnTo>
                    <a:pt x="2728" y="2950"/>
                  </a:lnTo>
                  <a:lnTo>
                    <a:pt x="2726" y="2952"/>
                  </a:lnTo>
                  <a:lnTo>
                    <a:pt x="2726" y="2952"/>
                  </a:lnTo>
                  <a:lnTo>
                    <a:pt x="2728" y="2954"/>
                  </a:lnTo>
                  <a:lnTo>
                    <a:pt x="2740" y="2962"/>
                  </a:lnTo>
                  <a:lnTo>
                    <a:pt x="2740" y="2962"/>
                  </a:lnTo>
                  <a:lnTo>
                    <a:pt x="2740" y="2964"/>
                  </a:lnTo>
                  <a:lnTo>
                    <a:pt x="2752" y="2968"/>
                  </a:lnTo>
                  <a:lnTo>
                    <a:pt x="2752" y="2968"/>
                  </a:lnTo>
                  <a:lnTo>
                    <a:pt x="2754" y="2968"/>
                  </a:lnTo>
                  <a:lnTo>
                    <a:pt x="2770" y="2968"/>
                  </a:lnTo>
                  <a:lnTo>
                    <a:pt x="2770" y="2968"/>
                  </a:lnTo>
                  <a:lnTo>
                    <a:pt x="2772" y="2966"/>
                  </a:lnTo>
                  <a:lnTo>
                    <a:pt x="2772" y="2966"/>
                  </a:lnTo>
                  <a:lnTo>
                    <a:pt x="2774" y="2958"/>
                  </a:lnTo>
                  <a:lnTo>
                    <a:pt x="2776" y="2960"/>
                  </a:lnTo>
                  <a:lnTo>
                    <a:pt x="2778" y="2962"/>
                  </a:lnTo>
                  <a:lnTo>
                    <a:pt x="2780" y="2964"/>
                  </a:lnTo>
                  <a:lnTo>
                    <a:pt x="2780" y="2964"/>
                  </a:lnTo>
                  <a:lnTo>
                    <a:pt x="2780" y="2964"/>
                  </a:lnTo>
                  <a:lnTo>
                    <a:pt x="2782" y="2964"/>
                  </a:lnTo>
                  <a:lnTo>
                    <a:pt x="2782" y="2964"/>
                  </a:lnTo>
                  <a:lnTo>
                    <a:pt x="2782" y="2966"/>
                  </a:lnTo>
                  <a:lnTo>
                    <a:pt x="2784" y="2966"/>
                  </a:lnTo>
                  <a:lnTo>
                    <a:pt x="2784" y="2966"/>
                  </a:lnTo>
                  <a:lnTo>
                    <a:pt x="2784" y="2966"/>
                  </a:lnTo>
                  <a:lnTo>
                    <a:pt x="2786" y="2966"/>
                  </a:lnTo>
                  <a:lnTo>
                    <a:pt x="2788" y="2966"/>
                  </a:lnTo>
                  <a:lnTo>
                    <a:pt x="2788" y="2966"/>
                  </a:lnTo>
                  <a:lnTo>
                    <a:pt x="2788" y="2966"/>
                  </a:lnTo>
                  <a:lnTo>
                    <a:pt x="2786" y="2968"/>
                  </a:lnTo>
                  <a:lnTo>
                    <a:pt x="2782" y="2970"/>
                  </a:lnTo>
                  <a:lnTo>
                    <a:pt x="2780" y="2972"/>
                  </a:lnTo>
                  <a:lnTo>
                    <a:pt x="2780" y="2972"/>
                  </a:lnTo>
                  <a:lnTo>
                    <a:pt x="2780" y="2972"/>
                  </a:lnTo>
                  <a:lnTo>
                    <a:pt x="2778" y="2974"/>
                  </a:lnTo>
                  <a:lnTo>
                    <a:pt x="2778" y="2974"/>
                  </a:lnTo>
                  <a:lnTo>
                    <a:pt x="2778" y="2976"/>
                  </a:lnTo>
                  <a:lnTo>
                    <a:pt x="2778" y="2976"/>
                  </a:lnTo>
                  <a:lnTo>
                    <a:pt x="2778" y="2976"/>
                  </a:lnTo>
                  <a:lnTo>
                    <a:pt x="2776" y="2976"/>
                  </a:lnTo>
                  <a:lnTo>
                    <a:pt x="2776" y="2978"/>
                  </a:lnTo>
                  <a:lnTo>
                    <a:pt x="2776" y="2978"/>
                  </a:lnTo>
                  <a:lnTo>
                    <a:pt x="2778" y="2980"/>
                  </a:lnTo>
                  <a:lnTo>
                    <a:pt x="2778" y="2982"/>
                  </a:lnTo>
                  <a:lnTo>
                    <a:pt x="2778" y="2982"/>
                  </a:lnTo>
                  <a:lnTo>
                    <a:pt x="2778" y="2982"/>
                  </a:lnTo>
                  <a:lnTo>
                    <a:pt x="2780" y="2984"/>
                  </a:lnTo>
                  <a:lnTo>
                    <a:pt x="2780" y="2984"/>
                  </a:lnTo>
                  <a:lnTo>
                    <a:pt x="2780" y="2984"/>
                  </a:lnTo>
                  <a:lnTo>
                    <a:pt x="2784" y="2986"/>
                  </a:lnTo>
                  <a:lnTo>
                    <a:pt x="2790" y="2990"/>
                  </a:lnTo>
                  <a:lnTo>
                    <a:pt x="2792" y="2992"/>
                  </a:lnTo>
                  <a:lnTo>
                    <a:pt x="2794" y="2992"/>
                  </a:lnTo>
                  <a:lnTo>
                    <a:pt x="2794" y="2992"/>
                  </a:lnTo>
                  <a:lnTo>
                    <a:pt x="2794" y="2992"/>
                  </a:lnTo>
                  <a:lnTo>
                    <a:pt x="2794" y="2994"/>
                  </a:lnTo>
                  <a:lnTo>
                    <a:pt x="2792" y="2994"/>
                  </a:lnTo>
                  <a:lnTo>
                    <a:pt x="2792" y="2994"/>
                  </a:lnTo>
                  <a:lnTo>
                    <a:pt x="2790" y="2992"/>
                  </a:lnTo>
                  <a:lnTo>
                    <a:pt x="2786" y="2992"/>
                  </a:lnTo>
                  <a:lnTo>
                    <a:pt x="2782" y="2990"/>
                  </a:lnTo>
                  <a:lnTo>
                    <a:pt x="2778" y="2986"/>
                  </a:lnTo>
                  <a:lnTo>
                    <a:pt x="2774" y="2984"/>
                  </a:lnTo>
                  <a:lnTo>
                    <a:pt x="2770" y="2982"/>
                  </a:lnTo>
                  <a:lnTo>
                    <a:pt x="2766" y="2982"/>
                  </a:lnTo>
                  <a:lnTo>
                    <a:pt x="2766" y="2982"/>
                  </a:lnTo>
                  <a:lnTo>
                    <a:pt x="2766" y="2982"/>
                  </a:lnTo>
                  <a:lnTo>
                    <a:pt x="2764" y="2982"/>
                  </a:lnTo>
                  <a:lnTo>
                    <a:pt x="2764" y="2982"/>
                  </a:lnTo>
                  <a:lnTo>
                    <a:pt x="2762" y="2982"/>
                  </a:lnTo>
                  <a:lnTo>
                    <a:pt x="2760" y="2982"/>
                  </a:lnTo>
                  <a:lnTo>
                    <a:pt x="2760" y="2982"/>
                  </a:lnTo>
                  <a:lnTo>
                    <a:pt x="2760" y="2984"/>
                  </a:lnTo>
                  <a:lnTo>
                    <a:pt x="2760" y="2986"/>
                  </a:lnTo>
                  <a:lnTo>
                    <a:pt x="2760" y="2986"/>
                  </a:lnTo>
                  <a:lnTo>
                    <a:pt x="2758" y="2986"/>
                  </a:lnTo>
                  <a:lnTo>
                    <a:pt x="2758" y="2988"/>
                  </a:lnTo>
                  <a:lnTo>
                    <a:pt x="2758" y="2988"/>
                  </a:lnTo>
                  <a:lnTo>
                    <a:pt x="2758" y="2988"/>
                  </a:lnTo>
                  <a:lnTo>
                    <a:pt x="2758" y="2992"/>
                  </a:lnTo>
                  <a:lnTo>
                    <a:pt x="2758" y="2992"/>
                  </a:lnTo>
                  <a:lnTo>
                    <a:pt x="2758" y="2992"/>
                  </a:lnTo>
                  <a:lnTo>
                    <a:pt x="2760" y="2998"/>
                  </a:lnTo>
                  <a:lnTo>
                    <a:pt x="2760" y="3000"/>
                  </a:lnTo>
                  <a:lnTo>
                    <a:pt x="2762" y="3002"/>
                  </a:lnTo>
                  <a:lnTo>
                    <a:pt x="2762" y="3004"/>
                  </a:lnTo>
                  <a:lnTo>
                    <a:pt x="2762" y="3004"/>
                  </a:lnTo>
                  <a:lnTo>
                    <a:pt x="2762" y="3006"/>
                  </a:lnTo>
                  <a:lnTo>
                    <a:pt x="2762" y="3006"/>
                  </a:lnTo>
                  <a:lnTo>
                    <a:pt x="2762" y="3006"/>
                  </a:lnTo>
                  <a:lnTo>
                    <a:pt x="2762" y="3008"/>
                  </a:lnTo>
                  <a:lnTo>
                    <a:pt x="2764" y="3010"/>
                  </a:lnTo>
                  <a:lnTo>
                    <a:pt x="2764" y="3010"/>
                  </a:lnTo>
                  <a:lnTo>
                    <a:pt x="2764" y="3010"/>
                  </a:lnTo>
                  <a:lnTo>
                    <a:pt x="2766" y="3010"/>
                  </a:lnTo>
                  <a:lnTo>
                    <a:pt x="2766" y="3010"/>
                  </a:lnTo>
                  <a:lnTo>
                    <a:pt x="2766" y="3012"/>
                  </a:lnTo>
                  <a:lnTo>
                    <a:pt x="2768" y="3014"/>
                  </a:lnTo>
                  <a:lnTo>
                    <a:pt x="2768" y="3014"/>
                  </a:lnTo>
                  <a:lnTo>
                    <a:pt x="2770" y="3014"/>
                  </a:lnTo>
                  <a:lnTo>
                    <a:pt x="2774" y="3016"/>
                  </a:lnTo>
                  <a:lnTo>
                    <a:pt x="2776" y="3018"/>
                  </a:lnTo>
                  <a:lnTo>
                    <a:pt x="2780" y="3020"/>
                  </a:lnTo>
                  <a:lnTo>
                    <a:pt x="2782" y="3020"/>
                  </a:lnTo>
                  <a:lnTo>
                    <a:pt x="2780" y="3020"/>
                  </a:lnTo>
                  <a:lnTo>
                    <a:pt x="2782" y="3020"/>
                  </a:lnTo>
                  <a:lnTo>
                    <a:pt x="2782" y="3020"/>
                  </a:lnTo>
                  <a:lnTo>
                    <a:pt x="2782" y="3022"/>
                  </a:lnTo>
                  <a:lnTo>
                    <a:pt x="2782" y="3022"/>
                  </a:lnTo>
                  <a:lnTo>
                    <a:pt x="2784" y="3024"/>
                  </a:lnTo>
                  <a:lnTo>
                    <a:pt x="2784" y="3024"/>
                  </a:lnTo>
                  <a:lnTo>
                    <a:pt x="2786" y="3024"/>
                  </a:lnTo>
                  <a:lnTo>
                    <a:pt x="2788" y="3022"/>
                  </a:lnTo>
                  <a:lnTo>
                    <a:pt x="2788" y="3022"/>
                  </a:lnTo>
                  <a:lnTo>
                    <a:pt x="2788" y="3022"/>
                  </a:lnTo>
                  <a:lnTo>
                    <a:pt x="2788" y="3022"/>
                  </a:lnTo>
                  <a:lnTo>
                    <a:pt x="2788" y="3022"/>
                  </a:lnTo>
                  <a:lnTo>
                    <a:pt x="2788" y="3022"/>
                  </a:lnTo>
                  <a:lnTo>
                    <a:pt x="2788" y="3022"/>
                  </a:lnTo>
                  <a:lnTo>
                    <a:pt x="2788" y="3022"/>
                  </a:lnTo>
                  <a:lnTo>
                    <a:pt x="2788" y="3022"/>
                  </a:lnTo>
                  <a:lnTo>
                    <a:pt x="2788" y="3020"/>
                  </a:lnTo>
                  <a:lnTo>
                    <a:pt x="2790" y="3020"/>
                  </a:lnTo>
                  <a:lnTo>
                    <a:pt x="2790" y="3020"/>
                  </a:lnTo>
                  <a:lnTo>
                    <a:pt x="2790" y="3020"/>
                  </a:lnTo>
                  <a:lnTo>
                    <a:pt x="2792" y="3022"/>
                  </a:lnTo>
                  <a:lnTo>
                    <a:pt x="2796" y="3022"/>
                  </a:lnTo>
                  <a:lnTo>
                    <a:pt x="2802" y="3024"/>
                  </a:lnTo>
                  <a:lnTo>
                    <a:pt x="2806" y="3026"/>
                  </a:lnTo>
                  <a:lnTo>
                    <a:pt x="2810" y="3028"/>
                  </a:lnTo>
                  <a:lnTo>
                    <a:pt x="2814" y="3028"/>
                  </a:lnTo>
                  <a:lnTo>
                    <a:pt x="2818" y="3030"/>
                  </a:lnTo>
                  <a:lnTo>
                    <a:pt x="2818" y="3030"/>
                  </a:lnTo>
                  <a:lnTo>
                    <a:pt x="2818" y="3032"/>
                  </a:lnTo>
                  <a:lnTo>
                    <a:pt x="2820" y="3032"/>
                  </a:lnTo>
                  <a:lnTo>
                    <a:pt x="2820" y="3032"/>
                  </a:lnTo>
                  <a:lnTo>
                    <a:pt x="2820" y="3034"/>
                  </a:lnTo>
                  <a:lnTo>
                    <a:pt x="2818" y="3034"/>
                  </a:lnTo>
                  <a:lnTo>
                    <a:pt x="2818" y="3038"/>
                  </a:lnTo>
                  <a:lnTo>
                    <a:pt x="2816" y="3040"/>
                  </a:lnTo>
                  <a:lnTo>
                    <a:pt x="2816" y="3042"/>
                  </a:lnTo>
                  <a:lnTo>
                    <a:pt x="2816" y="3042"/>
                  </a:lnTo>
                  <a:lnTo>
                    <a:pt x="2814" y="3042"/>
                  </a:lnTo>
                  <a:lnTo>
                    <a:pt x="2814" y="3044"/>
                  </a:lnTo>
                  <a:lnTo>
                    <a:pt x="2814" y="3044"/>
                  </a:lnTo>
                  <a:lnTo>
                    <a:pt x="2814" y="3046"/>
                  </a:lnTo>
                  <a:lnTo>
                    <a:pt x="2814" y="3048"/>
                  </a:lnTo>
                  <a:lnTo>
                    <a:pt x="2814" y="3048"/>
                  </a:lnTo>
                  <a:lnTo>
                    <a:pt x="2816" y="3050"/>
                  </a:lnTo>
                  <a:lnTo>
                    <a:pt x="2818" y="3050"/>
                  </a:lnTo>
                  <a:lnTo>
                    <a:pt x="2820" y="3050"/>
                  </a:lnTo>
                  <a:lnTo>
                    <a:pt x="2822" y="3050"/>
                  </a:lnTo>
                  <a:lnTo>
                    <a:pt x="2824" y="3050"/>
                  </a:lnTo>
                  <a:lnTo>
                    <a:pt x="2826" y="3052"/>
                  </a:lnTo>
                  <a:lnTo>
                    <a:pt x="2830" y="3054"/>
                  </a:lnTo>
                  <a:lnTo>
                    <a:pt x="2832" y="3058"/>
                  </a:lnTo>
                  <a:lnTo>
                    <a:pt x="2834" y="3060"/>
                  </a:lnTo>
                  <a:lnTo>
                    <a:pt x="2834" y="3060"/>
                  </a:lnTo>
                  <a:lnTo>
                    <a:pt x="2838" y="3062"/>
                  </a:lnTo>
                  <a:lnTo>
                    <a:pt x="2838" y="3062"/>
                  </a:lnTo>
                  <a:lnTo>
                    <a:pt x="2838" y="3064"/>
                  </a:lnTo>
                  <a:lnTo>
                    <a:pt x="2842" y="3064"/>
                  </a:lnTo>
                  <a:lnTo>
                    <a:pt x="2842" y="3066"/>
                  </a:lnTo>
                  <a:lnTo>
                    <a:pt x="2844" y="3066"/>
                  </a:lnTo>
                  <a:lnTo>
                    <a:pt x="2846" y="3068"/>
                  </a:lnTo>
                  <a:lnTo>
                    <a:pt x="2846" y="3072"/>
                  </a:lnTo>
                  <a:lnTo>
                    <a:pt x="2846" y="3072"/>
                  </a:lnTo>
                  <a:lnTo>
                    <a:pt x="2846" y="3072"/>
                  </a:lnTo>
                  <a:lnTo>
                    <a:pt x="2844" y="3072"/>
                  </a:lnTo>
                  <a:lnTo>
                    <a:pt x="2844" y="3074"/>
                  </a:lnTo>
                  <a:lnTo>
                    <a:pt x="2840" y="3074"/>
                  </a:lnTo>
                  <a:lnTo>
                    <a:pt x="2838" y="3074"/>
                  </a:lnTo>
                  <a:lnTo>
                    <a:pt x="2834" y="3074"/>
                  </a:lnTo>
                  <a:lnTo>
                    <a:pt x="2832" y="3076"/>
                  </a:lnTo>
                  <a:lnTo>
                    <a:pt x="2830" y="3076"/>
                  </a:lnTo>
                  <a:lnTo>
                    <a:pt x="2830" y="3076"/>
                  </a:lnTo>
                  <a:lnTo>
                    <a:pt x="2828" y="3076"/>
                  </a:lnTo>
                  <a:lnTo>
                    <a:pt x="2828" y="3076"/>
                  </a:lnTo>
                  <a:lnTo>
                    <a:pt x="2828" y="3076"/>
                  </a:lnTo>
                  <a:lnTo>
                    <a:pt x="2826" y="3078"/>
                  </a:lnTo>
                  <a:lnTo>
                    <a:pt x="2826" y="3078"/>
                  </a:lnTo>
                  <a:lnTo>
                    <a:pt x="2826" y="3078"/>
                  </a:lnTo>
                  <a:lnTo>
                    <a:pt x="2828" y="3080"/>
                  </a:lnTo>
                  <a:lnTo>
                    <a:pt x="2828" y="3082"/>
                  </a:lnTo>
                  <a:lnTo>
                    <a:pt x="2828" y="3082"/>
                  </a:lnTo>
                  <a:lnTo>
                    <a:pt x="2830" y="3082"/>
                  </a:lnTo>
                  <a:lnTo>
                    <a:pt x="2832" y="3084"/>
                  </a:lnTo>
                  <a:lnTo>
                    <a:pt x="2832" y="3084"/>
                  </a:lnTo>
                  <a:lnTo>
                    <a:pt x="2832" y="3084"/>
                  </a:lnTo>
                  <a:lnTo>
                    <a:pt x="2836" y="3084"/>
                  </a:lnTo>
                  <a:lnTo>
                    <a:pt x="2838" y="3084"/>
                  </a:lnTo>
                  <a:lnTo>
                    <a:pt x="2842" y="3084"/>
                  </a:lnTo>
                  <a:lnTo>
                    <a:pt x="2846" y="3084"/>
                  </a:lnTo>
                  <a:lnTo>
                    <a:pt x="2850" y="3084"/>
                  </a:lnTo>
                  <a:lnTo>
                    <a:pt x="2854" y="3084"/>
                  </a:lnTo>
                  <a:lnTo>
                    <a:pt x="2858" y="3082"/>
                  </a:lnTo>
                  <a:lnTo>
                    <a:pt x="2864" y="3082"/>
                  </a:lnTo>
                  <a:lnTo>
                    <a:pt x="2868" y="3080"/>
                  </a:lnTo>
                  <a:lnTo>
                    <a:pt x="2874" y="3078"/>
                  </a:lnTo>
                  <a:lnTo>
                    <a:pt x="2876" y="3076"/>
                  </a:lnTo>
                  <a:lnTo>
                    <a:pt x="2872" y="3080"/>
                  </a:lnTo>
                  <a:lnTo>
                    <a:pt x="2866" y="3084"/>
                  </a:lnTo>
                  <a:lnTo>
                    <a:pt x="2862" y="3088"/>
                  </a:lnTo>
                  <a:lnTo>
                    <a:pt x="2856" y="3090"/>
                  </a:lnTo>
                  <a:lnTo>
                    <a:pt x="2852" y="3094"/>
                  </a:lnTo>
                  <a:lnTo>
                    <a:pt x="2852" y="3096"/>
                  </a:lnTo>
                  <a:lnTo>
                    <a:pt x="2850" y="3098"/>
                  </a:lnTo>
                  <a:lnTo>
                    <a:pt x="2848" y="3098"/>
                  </a:lnTo>
                  <a:lnTo>
                    <a:pt x="2848" y="3098"/>
                  </a:lnTo>
                  <a:lnTo>
                    <a:pt x="2848" y="3098"/>
                  </a:lnTo>
                  <a:lnTo>
                    <a:pt x="2848" y="3100"/>
                  </a:lnTo>
                  <a:lnTo>
                    <a:pt x="2848" y="3100"/>
                  </a:lnTo>
                  <a:lnTo>
                    <a:pt x="2848" y="3102"/>
                  </a:lnTo>
                  <a:lnTo>
                    <a:pt x="2848" y="3102"/>
                  </a:lnTo>
                  <a:lnTo>
                    <a:pt x="2848" y="3102"/>
                  </a:lnTo>
                  <a:lnTo>
                    <a:pt x="2850" y="3104"/>
                  </a:lnTo>
                  <a:lnTo>
                    <a:pt x="2850" y="3104"/>
                  </a:lnTo>
                  <a:lnTo>
                    <a:pt x="2850" y="3104"/>
                  </a:lnTo>
                  <a:lnTo>
                    <a:pt x="2852" y="3104"/>
                  </a:lnTo>
                  <a:lnTo>
                    <a:pt x="2852" y="3104"/>
                  </a:lnTo>
                  <a:lnTo>
                    <a:pt x="2852" y="3104"/>
                  </a:lnTo>
                  <a:lnTo>
                    <a:pt x="2854" y="3104"/>
                  </a:lnTo>
                  <a:lnTo>
                    <a:pt x="2854" y="3104"/>
                  </a:lnTo>
                  <a:lnTo>
                    <a:pt x="2858" y="3102"/>
                  </a:lnTo>
                  <a:lnTo>
                    <a:pt x="2862" y="3102"/>
                  </a:lnTo>
                  <a:lnTo>
                    <a:pt x="2868" y="3100"/>
                  </a:lnTo>
                  <a:lnTo>
                    <a:pt x="2872" y="3098"/>
                  </a:lnTo>
                  <a:lnTo>
                    <a:pt x="2876" y="3096"/>
                  </a:lnTo>
                  <a:lnTo>
                    <a:pt x="2876" y="3096"/>
                  </a:lnTo>
                  <a:lnTo>
                    <a:pt x="2878" y="3096"/>
                  </a:lnTo>
                  <a:lnTo>
                    <a:pt x="2878" y="3096"/>
                  </a:lnTo>
                  <a:lnTo>
                    <a:pt x="2878" y="3096"/>
                  </a:lnTo>
                  <a:lnTo>
                    <a:pt x="2878" y="3098"/>
                  </a:lnTo>
                  <a:lnTo>
                    <a:pt x="2878" y="3100"/>
                  </a:lnTo>
                  <a:lnTo>
                    <a:pt x="2878" y="3102"/>
                  </a:lnTo>
                  <a:lnTo>
                    <a:pt x="2878" y="3104"/>
                  </a:lnTo>
                  <a:lnTo>
                    <a:pt x="2878" y="3104"/>
                  </a:lnTo>
                  <a:lnTo>
                    <a:pt x="2880" y="3104"/>
                  </a:lnTo>
                  <a:lnTo>
                    <a:pt x="2880" y="3106"/>
                  </a:lnTo>
                  <a:lnTo>
                    <a:pt x="2880" y="3106"/>
                  </a:lnTo>
                  <a:lnTo>
                    <a:pt x="2882" y="3106"/>
                  </a:lnTo>
                  <a:lnTo>
                    <a:pt x="2884" y="3106"/>
                  </a:lnTo>
                  <a:lnTo>
                    <a:pt x="2886" y="3106"/>
                  </a:lnTo>
                  <a:lnTo>
                    <a:pt x="2886" y="3106"/>
                  </a:lnTo>
                  <a:lnTo>
                    <a:pt x="2888" y="3106"/>
                  </a:lnTo>
                  <a:lnTo>
                    <a:pt x="2888" y="3106"/>
                  </a:lnTo>
                  <a:lnTo>
                    <a:pt x="2888" y="3106"/>
                  </a:lnTo>
                  <a:lnTo>
                    <a:pt x="2890" y="3106"/>
                  </a:lnTo>
                  <a:lnTo>
                    <a:pt x="2890" y="3106"/>
                  </a:lnTo>
                  <a:lnTo>
                    <a:pt x="2890" y="3106"/>
                  </a:lnTo>
                  <a:lnTo>
                    <a:pt x="2892" y="3104"/>
                  </a:lnTo>
                  <a:lnTo>
                    <a:pt x="2892" y="3104"/>
                  </a:lnTo>
                  <a:lnTo>
                    <a:pt x="2892" y="3104"/>
                  </a:lnTo>
                  <a:lnTo>
                    <a:pt x="2894" y="3102"/>
                  </a:lnTo>
                  <a:lnTo>
                    <a:pt x="2894" y="3102"/>
                  </a:lnTo>
                  <a:lnTo>
                    <a:pt x="2894" y="3100"/>
                  </a:lnTo>
                  <a:lnTo>
                    <a:pt x="2896" y="3098"/>
                  </a:lnTo>
                  <a:lnTo>
                    <a:pt x="2896" y="3094"/>
                  </a:lnTo>
                  <a:lnTo>
                    <a:pt x="2898" y="3092"/>
                  </a:lnTo>
                  <a:lnTo>
                    <a:pt x="2898" y="3090"/>
                  </a:lnTo>
                  <a:lnTo>
                    <a:pt x="2900" y="3090"/>
                  </a:lnTo>
                  <a:lnTo>
                    <a:pt x="2900" y="3088"/>
                  </a:lnTo>
                  <a:lnTo>
                    <a:pt x="2904" y="3088"/>
                  </a:lnTo>
                  <a:lnTo>
                    <a:pt x="2906" y="3086"/>
                  </a:lnTo>
                  <a:lnTo>
                    <a:pt x="2908" y="3086"/>
                  </a:lnTo>
                  <a:lnTo>
                    <a:pt x="2910" y="3086"/>
                  </a:lnTo>
                  <a:lnTo>
                    <a:pt x="2912" y="3084"/>
                  </a:lnTo>
                  <a:lnTo>
                    <a:pt x="2914" y="3084"/>
                  </a:lnTo>
                  <a:lnTo>
                    <a:pt x="2912" y="3084"/>
                  </a:lnTo>
                  <a:lnTo>
                    <a:pt x="2914" y="3084"/>
                  </a:lnTo>
                  <a:lnTo>
                    <a:pt x="2916" y="3084"/>
                  </a:lnTo>
                  <a:lnTo>
                    <a:pt x="2916" y="3084"/>
                  </a:lnTo>
                  <a:lnTo>
                    <a:pt x="2920" y="3084"/>
                  </a:lnTo>
                  <a:lnTo>
                    <a:pt x="2926" y="3086"/>
                  </a:lnTo>
                  <a:lnTo>
                    <a:pt x="2928" y="3086"/>
                  </a:lnTo>
                  <a:lnTo>
                    <a:pt x="2928" y="3086"/>
                  </a:lnTo>
                  <a:lnTo>
                    <a:pt x="2932" y="3086"/>
                  </a:lnTo>
                  <a:lnTo>
                    <a:pt x="2934" y="3088"/>
                  </a:lnTo>
                  <a:lnTo>
                    <a:pt x="2938" y="3090"/>
                  </a:lnTo>
                  <a:lnTo>
                    <a:pt x="2940" y="3094"/>
                  </a:lnTo>
                  <a:lnTo>
                    <a:pt x="2942" y="3096"/>
                  </a:lnTo>
                  <a:lnTo>
                    <a:pt x="2946" y="3100"/>
                  </a:lnTo>
                  <a:lnTo>
                    <a:pt x="2948" y="3104"/>
                  </a:lnTo>
                  <a:lnTo>
                    <a:pt x="2952" y="3108"/>
                  </a:lnTo>
                  <a:lnTo>
                    <a:pt x="2956" y="3112"/>
                  </a:lnTo>
                  <a:lnTo>
                    <a:pt x="2956" y="3112"/>
                  </a:lnTo>
                  <a:lnTo>
                    <a:pt x="2958" y="3114"/>
                  </a:lnTo>
                  <a:lnTo>
                    <a:pt x="2960" y="3114"/>
                  </a:lnTo>
                  <a:lnTo>
                    <a:pt x="2962" y="3112"/>
                  </a:lnTo>
                  <a:lnTo>
                    <a:pt x="2964" y="3110"/>
                  </a:lnTo>
                  <a:lnTo>
                    <a:pt x="2970" y="3108"/>
                  </a:lnTo>
                  <a:lnTo>
                    <a:pt x="2974" y="3106"/>
                  </a:lnTo>
                  <a:lnTo>
                    <a:pt x="2976" y="3106"/>
                  </a:lnTo>
                  <a:lnTo>
                    <a:pt x="2980" y="3106"/>
                  </a:lnTo>
                  <a:lnTo>
                    <a:pt x="2986" y="3104"/>
                  </a:lnTo>
                  <a:lnTo>
                    <a:pt x="2990" y="3104"/>
                  </a:lnTo>
                  <a:lnTo>
                    <a:pt x="2996" y="3102"/>
                  </a:lnTo>
                  <a:lnTo>
                    <a:pt x="3002" y="3100"/>
                  </a:lnTo>
                  <a:lnTo>
                    <a:pt x="3006" y="3098"/>
                  </a:lnTo>
                  <a:lnTo>
                    <a:pt x="3006" y="3098"/>
                  </a:lnTo>
                  <a:lnTo>
                    <a:pt x="3008" y="3098"/>
                  </a:lnTo>
                  <a:lnTo>
                    <a:pt x="3010" y="3096"/>
                  </a:lnTo>
                  <a:lnTo>
                    <a:pt x="3010" y="3096"/>
                  </a:lnTo>
                  <a:lnTo>
                    <a:pt x="3012" y="3096"/>
                  </a:lnTo>
                  <a:lnTo>
                    <a:pt x="3014" y="3094"/>
                  </a:lnTo>
                  <a:lnTo>
                    <a:pt x="3014" y="3094"/>
                  </a:lnTo>
                  <a:lnTo>
                    <a:pt x="3014" y="3092"/>
                  </a:lnTo>
                  <a:lnTo>
                    <a:pt x="3016" y="3090"/>
                  </a:lnTo>
                  <a:lnTo>
                    <a:pt x="3016" y="3090"/>
                  </a:lnTo>
                  <a:lnTo>
                    <a:pt x="3016" y="3088"/>
                  </a:lnTo>
                  <a:lnTo>
                    <a:pt x="3018" y="3084"/>
                  </a:lnTo>
                  <a:lnTo>
                    <a:pt x="3018" y="3080"/>
                  </a:lnTo>
                  <a:lnTo>
                    <a:pt x="3020" y="3074"/>
                  </a:lnTo>
                  <a:lnTo>
                    <a:pt x="3020" y="3068"/>
                  </a:lnTo>
                  <a:lnTo>
                    <a:pt x="3020" y="3062"/>
                  </a:lnTo>
                  <a:lnTo>
                    <a:pt x="3020" y="3058"/>
                  </a:lnTo>
                  <a:lnTo>
                    <a:pt x="3020" y="3052"/>
                  </a:lnTo>
                  <a:lnTo>
                    <a:pt x="3020" y="3048"/>
                  </a:lnTo>
                  <a:lnTo>
                    <a:pt x="3022" y="3044"/>
                  </a:lnTo>
                  <a:lnTo>
                    <a:pt x="3022" y="3046"/>
                  </a:lnTo>
                  <a:lnTo>
                    <a:pt x="3024" y="3044"/>
                  </a:lnTo>
                  <a:lnTo>
                    <a:pt x="3024" y="3042"/>
                  </a:lnTo>
                  <a:lnTo>
                    <a:pt x="3026" y="3040"/>
                  </a:lnTo>
                  <a:lnTo>
                    <a:pt x="3030" y="3038"/>
                  </a:lnTo>
                  <a:lnTo>
                    <a:pt x="3028" y="3038"/>
                  </a:lnTo>
                  <a:lnTo>
                    <a:pt x="3032" y="3038"/>
                  </a:lnTo>
                  <a:lnTo>
                    <a:pt x="3034" y="3036"/>
                  </a:lnTo>
                  <a:lnTo>
                    <a:pt x="3034" y="3036"/>
                  </a:lnTo>
                  <a:lnTo>
                    <a:pt x="3036" y="3036"/>
                  </a:lnTo>
                  <a:lnTo>
                    <a:pt x="3038" y="3036"/>
                  </a:lnTo>
                  <a:lnTo>
                    <a:pt x="3038" y="3036"/>
                  </a:lnTo>
                  <a:lnTo>
                    <a:pt x="3040" y="3038"/>
                  </a:lnTo>
                  <a:lnTo>
                    <a:pt x="3042" y="3038"/>
                  </a:lnTo>
                  <a:lnTo>
                    <a:pt x="3046" y="3040"/>
                  </a:lnTo>
                  <a:lnTo>
                    <a:pt x="3048" y="3044"/>
                  </a:lnTo>
                  <a:lnTo>
                    <a:pt x="3052" y="3046"/>
                  </a:lnTo>
                  <a:lnTo>
                    <a:pt x="3056" y="3050"/>
                  </a:lnTo>
                  <a:lnTo>
                    <a:pt x="3056" y="3050"/>
                  </a:lnTo>
                  <a:lnTo>
                    <a:pt x="3056" y="3050"/>
                  </a:lnTo>
                  <a:lnTo>
                    <a:pt x="3060" y="3052"/>
                  </a:lnTo>
                  <a:lnTo>
                    <a:pt x="3060" y="3052"/>
                  </a:lnTo>
                  <a:lnTo>
                    <a:pt x="3062" y="3052"/>
                  </a:lnTo>
                  <a:lnTo>
                    <a:pt x="3066" y="3052"/>
                  </a:lnTo>
                  <a:lnTo>
                    <a:pt x="3072" y="3054"/>
                  </a:lnTo>
                  <a:lnTo>
                    <a:pt x="3082" y="3054"/>
                  </a:lnTo>
                  <a:lnTo>
                    <a:pt x="3086" y="3054"/>
                  </a:lnTo>
                  <a:lnTo>
                    <a:pt x="3092" y="3056"/>
                  </a:lnTo>
                  <a:lnTo>
                    <a:pt x="3096" y="3056"/>
                  </a:lnTo>
                  <a:lnTo>
                    <a:pt x="3096" y="3056"/>
                  </a:lnTo>
                  <a:lnTo>
                    <a:pt x="3106" y="3060"/>
                  </a:lnTo>
                  <a:lnTo>
                    <a:pt x="3110" y="3062"/>
                  </a:lnTo>
                  <a:lnTo>
                    <a:pt x="3114" y="3064"/>
                  </a:lnTo>
                  <a:lnTo>
                    <a:pt x="3116" y="3066"/>
                  </a:lnTo>
                  <a:lnTo>
                    <a:pt x="3120" y="3068"/>
                  </a:lnTo>
                  <a:lnTo>
                    <a:pt x="3124" y="3068"/>
                  </a:lnTo>
                  <a:lnTo>
                    <a:pt x="3128" y="3068"/>
                  </a:lnTo>
                  <a:lnTo>
                    <a:pt x="3134" y="3068"/>
                  </a:lnTo>
                  <a:lnTo>
                    <a:pt x="3138" y="3068"/>
                  </a:lnTo>
                  <a:lnTo>
                    <a:pt x="3144" y="3068"/>
                  </a:lnTo>
                  <a:lnTo>
                    <a:pt x="3154" y="3066"/>
                  </a:lnTo>
                  <a:lnTo>
                    <a:pt x="3166" y="3062"/>
                  </a:lnTo>
                  <a:lnTo>
                    <a:pt x="3176" y="3058"/>
                  </a:lnTo>
                  <a:lnTo>
                    <a:pt x="3186" y="3052"/>
                  </a:lnTo>
                  <a:lnTo>
                    <a:pt x="3194" y="3046"/>
                  </a:lnTo>
                  <a:lnTo>
                    <a:pt x="3200" y="3042"/>
                  </a:lnTo>
                  <a:lnTo>
                    <a:pt x="3204" y="3040"/>
                  </a:lnTo>
                  <a:lnTo>
                    <a:pt x="3206" y="3036"/>
                  </a:lnTo>
                  <a:lnTo>
                    <a:pt x="3210" y="3032"/>
                  </a:lnTo>
                  <a:lnTo>
                    <a:pt x="3210" y="3032"/>
                  </a:lnTo>
                  <a:lnTo>
                    <a:pt x="3210" y="3028"/>
                  </a:lnTo>
                  <a:lnTo>
                    <a:pt x="3210" y="3028"/>
                  </a:lnTo>
                  <a:lnTo>
                    <a:pt x="3208" y="3028"/>
                  </a:lnTo>
                  <a:lnTo>
                    <a:pt x="3206" y="3028"/>
                  </a:lnTo>
                  <a:lnTo>
                    <a:pt x="3206" y="3024"/>
                  </a:lnTo>
                  <a:lnTo>
                    <a:pt x="3208" y="3022"/>
                  </a:lnTo>
                  <a:lnTo>
                    <a:pt x="3208" y="3018"/>
                  </a:lnTo>
                  <a:lnTo>
                    <a:pt x="3212" y="3008"/>
                  </a:lnTo>
                  <a:lnTo>
                    <a:pt x="3216" y="3000"/>
                  </a:lnTo>
                  <a:lnTo>
                    <a:pt x="3222" y="2992"/>
                  </a:lnTo>
                  <a:lnTo>
                    <a:pt x="3224" y="2988"/>
                  </a:lnTo>
                  <a:lnTo>
                    <a:pt x="3228" y="2984"/>
                  </a:lnTo>
                  <a:lnTo>
                    <a:pt x="3230" y="2980"/>
                  </a:lnTo>
                  <a:lnTo>
                    <a:pt x="3232" y="2978"/>
                  </a:lnTo>
                  <a:lnTo>
                    <a:pt x="3234" y="2976"/>
                  </a:lnTo>
                  <a:lnTo>
                    <a:pt x="3236" y="2976"/>
                  </a:lnTo>
                  <a:lnTo>
                    <a:pt x="3240" y="2974"/>
                  </a:lnTo>
                  <a:lnTo>
                    <a:pt x="3244" y="2974"/>
                  </a:lnTo>
                  <a:lnTo>
                    <a:pt x="3248" y="2976"/>
                  </a:lnTo>
                  <a:lnTo>
                    <a:pt x="3252" y="2976"/>
                  </a:lnTo>
                  <a:lnTo>
                    <a:pt x="3258" y="2978"/>
                  </a:lnTo>
                  <a:lnTo>
                    <a:pt x="3262" y="2978"/>
                  </a:lnTo>
                  <a:lnTo>
                    <a:pt x="3268" y="2980"/>
                  </a:lnTo>
                  <a:lnTo>
                    <a:pt x="3272" y="2980"/>
                  </a:lnTo>
                  <a:lnTo>
                    <a:pt x="3272" y="2980"/>
                  </a:lnTo>
                  <a:lnTo>
                    <a:pt x="3272" y="2980"/>
                  </a:lnTo>
                  <a:lnTo>
                    <a:pt x="3278" y="2978"/>
                  </a:lnTo>
                  <a:lnTo>
                    <a:pt x="3282" y="2976"/>
                  </a:lnTo>
                  <a:lnTo>
                    <a:pt x="3286" y="2974"/>
                  </a:lnTo>
                  <a:lnTo>
                    <a:pt x="3288" y="2970"/>
                  </a:lnTo>
                  <a:lnTo>
                    <a:pt x="3294" y="2966"/>
                  </a:lnTo>
                  <a:lnTo>
                    <a:pt x="3296" y="2964"/>
                  </a:lnTo>
                  <a:lnTo>
                    <a:pt x="3300" y="2962"/>
                  </a:lnTo>
                  <a:lnTo>
                    <a:pt x="3300" y="2962"/>
                  </a:lnTo>
                  <a:lnTo>
                    <a:pt x="3302" y="2960"/>
                  </a:lnTo>
                  <a:lnTo>
                    <a:pt x="3302" y="2956"/>
                  </a:lnTo>
                  <a:lnTo>
                    <a:pt x="3302" y="2956"/>
                  </a:lnTo>
                  <a:lnTo>
                    <a:pt x="3302" y="2952"/>
                  </a:lnTo>
                  <a:lnTo>
                    <a:pt x="3304" y="2948"/>
                  </a:lnTo>
                  <a:lnTo>
                    <a:pt x="3304" y="2948"/>
                  </a:lnTo>
                  <a:lnTo>
                    <a:pt x="3306" y="2946"/>
                  </a:lnTo>
                  <a:lnTo>
                    <a:pt x="3308" y="2946"/>
                  </a:lnTo>
                  <a:lnTo>
                    <a:pt x="3312" y="2946"/>
                  </a:lnTo>
                  <a:lnTo>
                    <a:pt x="3312" y="2948"/>
                  </a:lnTo>
                  <a:lnTo>
                    <a:pt x="3314" y="2948"/>
                  </a:lnTo>
                  <a:lnTo>
                    <a:pt x="3314" y="2950"/>
                  </a:lnTo>
                  <a:lnTo>
                    <a:pt x="3312" y="2956"/>
                  </a:lnTo>
                  <a:lnTo>
                    <a:pt x="3310" y="2962"/>
                  </a:lnTo>
                  <a:lnTo>
                    <a:pt x="3308" y="2968"/>
                  </a:lnTo>
                  <a:lnTo>
                    <a:pt x="3306" y="2974"/>
                  </a:lnTo>
                  <a:lnTo>
                    <a:pt x="3304" y="2980"/>
                  </a:lnTo>
                  <a:lnTo>
                    <a:pt x="3302" y="2986"/>
                  </a:lnTo>
                  <a:lnTo>
                    <a:pt x="3302" y="2986"/>
                  </a:lnTo>
                  <a:lnTo>
                    <a:pt x="3300" y="2992"/>
                  </a:lnTo>
                  <a:lnTo>
                    <a:pt x="3300" y="2992"/>
                  </a:lnTo>
                  <a:lnTo>
                    <a:pt x="3302" y="2994"/>
                  </a:lnTo>
                  <a:lnTo>
                    <a:pt x="3304" y="2994"/>
                  </a:lnTo>
                  <a:lnTo>
                    <a:pt x="3306" y="2996"/>
                  </a:lnTo>
                  <a:lnTo>
                    <a:pt x="3308" y="2996"/>
                  </a:lnTo>
                  <a:lnTo>
                    <a:pt x="3310" y="2998"/>
                  </a:lnTo>
                  <a:lnTo>
                    <a:pt x="3314" y="3002"/>
                  </a:lnTo>
                  <a:lnTo>
                    <a:pt x="3318" y="3006"/>
                  </a:lnTo>
                  <a:lnTo>
                    <a:pt x="3320" y="3010"/>
                  </a:lnTo>
                  <a:lnTo>
                    <a:pt x="3320" y="3010"/>
                  </a:lnTo>
                  <a:lnTo>
                    <a:pt x="3320" y="3010"/>
                  </a:lnTo>
                  <a:lnTo>
                    <a:pt x="3322" y="3012"/>
                  </a:lnTo>
                  <a:lnTo>
                    <a:pt x="3324" y="3012"/>
                  </a:lnTo>
                  <a:lnTo>
                    <a:pt x="3324" y="3012"/>
                  </a:lnTo>
                  <a:lnTo>
                    <a:pt x="3324" y="3012"/>
                  </a:lnTo>
                  <a:lnTo>
                    <a:pt x="3326" y="3014"/>
                  </a:lnTo>
                  <a:lnTo>
                    <a:pt x="3326" y="3014"/>
                  </a:lnTo>
                  <a:lnTo>
                    <a:pt x="3326" y="3014"/>
                  </a:lnTo>
                  <a:lnTo>
                    <a:pt x="3328" y="3014"/>
                  </a:lnTo>
                  <a:lnTo>
                    <a:pt x="3328" y="3014"/>
                  </a:lnTo>
                  <a:lnTo>
                    <a:pt x="3330" y="3014"/>
                  </a:lnTo>
                  <a:lnTo>
                    <a:pt x="3332" y="3014"/>
                  </a:lnTo>
                  <a:lnTo>
                    <a:pt x="3332" y="3014"/>
                  </a:lnTo>
                  <a:lnTo>
                    <a:pt x="3332" y="3012"/>
                  </a:lnTo>
                  <a:lnTo>
                    <a:pt x="3334" y="3012"/>
                  </a:lnTo>
                  <a:lnTo>
                    <a:pt x="3334" y="3012"/>
                  </a:lnTo>
                  <a:lnTo>
                    <a:pt x="3334" y="3012"/>
                  </a:lnTo>
                  <a:lnTo>
                    <a:pt x="3336" y="3010"/>
                  </a:lnTo>
                  <a:lnTo>
                    <a:pt x="3336" y="3010"/>
                  </a:lnTo>
                  <a:lnTo>
                    <a:pt x="3338" y="3010"/>
                  </a:lnTo>
                  <a:lnTo>
                    <a:pt x="3340" y="3008"/>
                  </a:lnTo>
                  <a:lnTo>
                    <a:pt x="3340" y="3008"/>
                  </a:lnTo>
                  <a:lnTo>
                    <a:pt x="3340" y="3006"/>
                  </a:lnTo>
                  <a:lnTo>
                    <a:pt x="3340" y="3004"/>
                  </a:lnTo>
                  <a:lnTo>
                    <a:pt x="3340" y="3004"/>
                  </a:lnTo>
                  <a:lnTo>
                    <a:pt x="3340" y="3004"/>
                  </a:lnTo>
                  <a:lnTo>
                    <a:pt x="3342" y="3002"/>
                  </a:lnTo>
                  <a:lnTo>
                    <a:pt x="3342" y="3002"/>
                  </a:lnTo>
                  <a:lnTo>
                    <a:pt x="3342" y="3002"/>
                  </a:lnTo>
                  <a:lnTo>
                    <a:pt x="3344" y="2996"/>
                  </a:lnTo>
                  <a:lnTo>
                    <a:pt x="3344" y="2992"/>
                  </a:lnTo>
                  <a:lnTo>
                    <a:pt x="3344" y="2986"/>
                  </a:lnTo>
                  <a:lnTo>
                    <a:pt x="3344" y="2984"/>
                  </a:lnTo>
                  <a:lnTo>
                    <a:pt x="3344" y="2982"/>
                  </a:lnTo>
                  <a:lnTo>
                    <a:pt x="3344" y="2984"/>
                  </a:lnTo>
                  <a:lnTo>
                    <a:pt x="3346" y="2982"/>
                  </a:lnTo>
                  <a:lnTo>
                    <a:pt x="3346" y="2980"/>
                  </a:lnTo>
                  <a:lnTo>
                    <a:pt x="3348" y="2978"/>
                  </a:lnTo>
                  <a:lnTo>
                    <a:pt x="3348" y="2980"/>
                  </a:lnTo>
                  <a:lnTo>
                    <a:pt x="3350" y="2978"/>
                  </a:lnTo>
                  <a:lnTo>
                    <a:pt x="3350" y="2978"/>
                  </a:lnTo>
                  <a:lnTo>
                    <a:pt x="3352" y="2976"/>
                  </a:lnTo>
                  <a:lnTo>
                    <a:pt x="3352" y="2976"/>
                  </a:lnTo>
                  <a:lnTo>
                    <a:pt x="3352" y="2974"/>
                  </a:lnTo>
                  <a:lnTo>
                    <a:pt x="3350" y="2972"/>
                  </a:lnTo>
                  <a:lnTo>
                    <a:pt x="3350" y="2970"/>
                  </a:lnTo>
                  <a:lnTo>
                    <a:pt x="3348" y="2968"/>
                  </a:lnTo>
                  <a:lnTo>
                    <a:pt x="3348" y="2968"/>
                  </a:lnTo>
                  <a:lnTo>
                    <a:pt x="3348" y="2968"/>
                  </a:lnTo>
                  <a:lnTo>
                    <a:pt x="3348" y="2968"/>
                  </a:lnTo>
                  <a:lnTo>
                    <a:pt x="3348" y="2968"/>
                  </a:lnTo>
                  <a:lnTo>
                    <a:pt x="3348" y="2966"/>
                  </a:lnTo>
                  <a:lnTo>
                    <a:pt x="3346" y="2966"/>
                  </a:lnTo>
                  <a:lnTo>
                    <a:pt x="3346" y="2966"/>
                  </a:lnTo>
                  <a:lnTo>
                    <a:pt x="3346" y="2966"/>
                  </a:lnTo>
                  <a:lnTo>
                    <a:pt x="3344" y="2966"/>
                  </a:lnTo>
                  <a:lnTo>
                    <a:pt x="3344" y="2962"/>
                  </a:lnTo>
                  <a:lnTo>
                    <a:pt x="3344" y="2956"/>
                  </a:lnTo>
                  <a:lnTo>
                    <a:pt x="3344" y="2950"/>
                  </a:lnTo>
                  <a:lnTo>
                    <a:pt x="3344" y="2946"/>
                  </a:lnTo>
                  <a:lnTo>
                    <a:pt x="3344" y="2942"/>
                  </a:lnTo>
                  <a:lnTo>
                    <a:pt x="3346" y="2938"/>
                  </a:lnTo>
                  <a:lnTo>
                    <a:pt x="3346" y="2938"/>
                  </a:lnTo>
                  <a:lnTo>
                    <a:pt x="3348" y="2936"/>
                  </a:lnTo>
                  <a:lnTo>
                    <a:pt x="3348" y="2934"/>
                  </a:lnTo>
                  <a:lnTo>
                    <a:pt x="3350" y="2932"/>
                  </a:lnTo>
                  <a:lnTo>
                    <a:pt x="3356" y="2930"/>
                  </a:lnTo>
                  <a:lnTo>
                    <a:pt x="3356" y="2930"/>
                  </a:lnTo>
                  <a:lnTo>
                    <a:pt x="3362" y="2928"/>
                  </a:lnTo>
                  <a:lnTo>
                    <a:pt x="3368" y="2928"/>
                  </a:lnTo>
                  <a:lnTo>
                    <a:pt x="3374" y="2926"/>
                  </a:lnTo>
                  <a:lnTo>
                    <a:pt x="3380" y="2926"/>
                  </a:lnTo>
                  <a:lnTo>
                    <a:pt x="3386" y="2926"/>
                  </a:lnTo>
                  <a:lnTo>
                    <a:pt x="3392" y="2924"/>
                  </a:lnTo>
                  <a:lnTo>
                    <a:pt x="3392" y="2924"/>
                  </a:lnTo>
                  <a:lnTo>
                    <a:pt x="3392" y="2924"/>
                  </a:lnTo>
                  <a:lnTo>
                    <a:pt x="3398" y="2922"/>
                  </a:lnTo>
                  <a:lnTo>
                    <a:pt x="3402" y="2920"/>
                  </a:lnTo>
                  <a:lnTo>
                    <a:pt x="3408" y="2916"/>
                  </a:lnTo>
                  <a:lnTo>
                    <a:pt x="3416" y="2910"/>
                  </a:lnTo>
                  <a:lnTo>
                    <a:pt x="3420" y="2908"/>
                  </a:lnTo>
                  <a:lnTo>
                    <a:pt x="3422" y="2906"/>
                  </a:lnTo>
                  <a:lnTo>
                    <a:pt x="3428" y="2902"/>
                  </a:lnTo>
                  <a:lnTo>
                    <a:pt x="3432" y="2902"/>
                  </a:lnTo>
                  <a:lnTo>
                    <a:pt x="3436" y="2900"/>
                  </a:lnTo>
                  <a:lnTo>
                    <a:pt x="3442" y="2898"/>
                  </a:lnTo>
                  <a:lnTo>
                    <a:pt x="3446" y="2898"/>
                  </a:lnTo>
                  <a:lnTo>
                    <a:pt x="3452" y="2896"/>
                  </a:lnTo>
                  <a:lnTo>
                    <a:pt x="3464" y="2894"/>
                  </a:lnTo>
                  <a:lnTo>
                    <a:pt x="3470" y="2894"/>
                  </a:lnTo>
                  <a:lnTo>
                    <a:pt x="3476" y="2892"/>
                  </a:lnTo>
                  <a:lnTo>
                    <a:pt x="3482" y="2890"/>
                  </a:lnTo>
                  <a:lnTo>
                    <a:pt x="3488" y="2888"/>
                  </a:lnTo>
                  <a:lnTo>
                    <a:pt x="3494" y="2884"/>
                  </a:lnTo>
                  <a:lnTo>
                    <a:pt x="3500" y="2880"/>
                  </a:lnTo>
                  <a:lnTo>
                    <a:pt x="3508" y="2872"/>
                  </a:lnTo>
                  <a:lnTo>
                    <a:pt x="3516" y="2864"/>
                  </a:lnTo>
                  <a:lnTo>
                    <a:pt x="3524" y="2856"/>
                  </a:lnTo>
                  <a:lnTo>
                    <a:pt x="3530" y="2848"/>
                  </a:lnTo>
                  <a:lnTo>
                    <a:pt x="3538" y="2840"/>
                  </a:lnTo>
                  <a:lnTo>
                    <a:pt x="3542" y="2836"/>
                  </a:lnTo>
                  <a:lnTo>
                    <a:pt x="3548" y="2832"/>
                  </a:lnTo>
                  <a:lnTo>
                    <a:pt x="3552" y="2830"/>
                  </a:lnTo>
                  <a:lnTo>
                    <a:pt x="3556" y="2828"/>
                  </a:lnTo>
                  <a:lnTo>
                    <a:pt x="3560" y="2826"/>
                  </a:lnTo>
                  <a:lnTo>
                    <a:pt x="3564" y="2824"/>
                  </a:lnTo>
                  <a:lnTo>
                    <a:pt x="3576" y="2822"/>
                  </a:lnTo>
                  <a:lnTo>
                    <a:pt x="3580" y="2820"/>
                  </a:lnTo>
                  <a:lnTo>
                    <a:pt x="3586" y="2818"/>
                  </a:lnTo>
                  <a:lnTo>
                    <a:pt x="3588" y="2816"/>
                  </a:lnTo>
                  <a:lnTo>
                    <a:pt x="3592" y="2814"/>
                  </a:lnTo>
                  <a:lnTo>
                    <a:pt x="3596" y="2810"/>
                  </a:lnTo>
                  <a:lnTo>
                    <a:pt x="3596" y="2810"/>
                  </a:lnTo>
                  <a:lnTo>
                    <a:pt x="3596" y="2810"/>
                  </a:lnTo>
                  <a:lnTo>
                    <a:pt x="3598" y="2806"/>
                  </a:lnTo>
                  <a:lnTo>
                    <a:pt x="3602" y="2802"/>
                  </a:lnTo>
                  <a:lnTo>
                    <a:pt x="3602" y="2798"/>
                  </a:lnTo>
                  <a:lnTo>
                    <a:pt x="3604" y="2794"/>
                  </a:lnTo>
                  <a:lnTo>
                    <a:pt x="3606" y="2792"/>
                  </a:lnTo>
                  <a:lnTo>
                    <a:pt x="3608" y="2790"/>
                  </a:lnTo>
                  <a:lnTo>
                    <a:pt x="3608" y="2792"/>
                  </a:lnTo>
                  <a:lnTo>
                    <a:pt x="3608" y="2792"/>
                  </a:lnTo>
                  <a:lnTo>
                    <a:pt x="3612" y="2794"/>
                  </a:lnTo>
                  <a:lnTo>
                    <a:pt x="3612" y="2794"/>
                  </a:lnTo>
                  <a:lnTo>
                    <a:pt x="3614" y="2794"/>
                  </a:lnTo>
                  <a:lnTo>
                    <a:pt x="3616" y="2794"/>
                  </a:lnTo>
                  <a:lnTo>
                    <a:pt x="3616" y="2794"/>
                  </a:lnTo>
                  <a:lnTo>
                    <a:pt x="3618" y="2796"/>
                  </a:lnTo>
                  <a:lnTo>
                    <a:pt x="3622" y="2794"/>
                  </a:lnTo>
                  <a:lnTo>
                    <a:pt x="3622" y="2794"/>
                  </a:lnTo>
                  <a:lnTo>
                    <a:pt x="3622" y="2794"/>
                  </a:lnTo>
                  <a:lnTo>
                    <a:pt x="3626" y="2794"/>
                  </a:lnTo>
                  <a:lnTo>
                    <a:pt x="3626" y="2794"/>
                  </a:lnTo>
                  <a:lnTo>
                    <a:pt x="3626" y="2794"/>
                  </a:lnTo>
                  <a:lnTo>
                    <a:pt x="3630" y="2792"/>
                  </a:lnTo>
                  <a:lnTo>
                    <a:pt x="3630" y="2792"/>
                  </a:lnTo>
                  <a:lnTo>
                    <a:pt x="3630" y="2792"/>
                  </a:lnTo>
                  <a:lnTo>
                    <a:pt x="3634" y="2788"/>
                  </a:lnTo>
                  <a:lnTo>
                    <a:pt x="3636" y="2784"/>
                  </a:lnTo>
                  <a:lnTo>
                    <a:pt x="3642" y="2778"/>
                  </a:lnTo>
                  <a:lnTo>
                    <a:pt x="3648" y="2770"/>
                  </a:lnTo>
                  <a:lnTo>
                    <a:pt x="3650" y="2766"/>
                  </a:lnTo>
                  <a:lnTo>
                    <a:pt x="3652" y="2764"/>
                  </a:lnTo>
                  <a:lnTo>
                    <a:pt x="3656" y="2762"/>
                  </a:lnTo>
                  <a:lnTo>
                    <a:pt x="3658" y="2760"/>
                  </a:lnTo>
                  <a:lnTo>
                    <a:pt x="3660" y="2760"/>
                  </a:lnTo>
                  <a:lnTo>
                    <a:pt x="3664" y="2758"/>
                  </a:lnTo>
                  <a:lnTo>
                    <a:pt x="3668" y="2758"/>
                  </a:lnTo>
                  <a:lnTo>
                    <a:pt x="3674" y="2758"/>
                  </a:lnTo>
                  <a:lnTo>
                    <a:pt x="3680" y="2758"/>
                  </a:lnTo>
                  <a:lnTo>
                    <a:pt x="3684" y="2756"/>
                  </a:lnTo>
                  <a:lnTo>
                    <a:pt x="3688" y="2756"/>
                  </a:lnTo>
                  <a:lnTo>
                    <a:pt x="3688" y="2756"/>
                  </a:lnTo>
                  <a:lnTo>
                    <a:pt x="3690" y="2756"/>
                  </a:lnTo>
                  <a:lnTo>
                    <a:pt x="3692" y="2754"/>
                  </a:lnTo>
                  <a:lnTo>
                    <a:pt x="3692" y="2754"/>
                  </a:lnTo>
                  <a:lnTo>
                    <a:pt x="3694" y="2754"/>
                  </a:lnTo>
                  <a:lnTo>
                    <a:pt x="3698" y="2750"/>
                  </a:lnTo>
                  <a:lnTo>
                    <a:pt x="3698" y="2750"/>
                  </a:lnTo>
                  <a:lnTo>
                    <a:pt x="3698" y="2750"/>
                  </a:lnTo>
                  <a:lnTo>
                    <a:pt x="3700" y="2746"/>
                  </a:lnTo>
                  <a:lnTo>
                    <a:pt x="3702" y="2742"/>
                  </a:lnTo>
                  <a:lnTo>
                    <a:pt x="3704" y="2738"/>
                  </a:lnTo>
                  <a:lnTo>
                    <a:pt x="3706" y="2736"/>
                  </a:lnTo>
                  <a:lnTo>
                    <a:pt x="3710" y="2734"/>
                  </a:lnTo>
                  <a:lnTo>
                    <a:pt x="3710" y="2732"/>
                  </a:lnTo>
                  <a:lnTo>
                    <a:pt x="3712" y="2732"/>
                  </a:lnTo>
                  <a:lnTo>
                    <a:pt x="3714" y="2734"/>
                  </a:lnTo>
                  <a:lnTo>
                    <a:pt x="3714" y="2734"/>
                  </a:lnTo>
                  <a:lnTo>
                    <a:pt x="3714" y="2734"/>
                  </a:lnTo>
                  <a:lnTo>
                    <a:pt x="3716" y="2734"/>
                  </a:lnTo>
                  <a:lnTo>
                    <a:pt x="3716" y="2738"/>
                  </a:lnTo>
                  <a:lnTo>
                    <a:pt x="3718" y="2742"/>
                  </a:lnTo>
                  <a:lnTo>
                    <a:pt x="3718" y="2744"/>
                  </a:lnTo>
                  <a:lnTo>
                    <a:pt x="3718" y="2746"/>
                  </a:lnTo>
                  <a:lnTo>
                    <a:pt x="3718" y="2746"/>
                  </a:lnTo>
                  <a:lnTo>
                    <a:pt x="3720" y="2748"/>
                  </a:lnTo>
                  <a:lnTo>
                    <a:pt x="3722" y="2748"/>
                  </a:lnTo>
                  <a:lnTo>
                    <a:pt x="3726" y="2748"/>
                  </a:lnTo>
                  <a:lnTo>
                    <a:pt x="3728" y="2748"/>
                  </a:lnTo>
                  <a:lnTo>
                    <a:pt x="3728" y="2748"/>
                  </a:lnTo>
                  <a:lnTo>
                    <a:pt x="3732" y="2748"/>
                  </a:lnTo>
                  <a:lnTo>
                    <a:pt x="3732" y="2748"/>
                  </a:lnTo>
                  <a:lnTo>
                    <a:pt x="3732" y="2748"/>
                  </a:lnTo>
                  <a:lnTo>
                    <a:pt x="3736" y="2746"/>
                  </a:lnTo>
                  <a:lnTo>
                    <a:pt x="3736" y="2746"/>
                  </a:lnTo>
                  <a:lnTo>
                    <a:pt x="3738" y="2742"/>
                  </a:lnTo>
                  <a:lnTo>
                    <a:pt x="3736" y="2738"/>
                  </a:lnTo>
                  <a:lnTo>
                    <a:pt x="3738" y="2734"/>
                  </a:lnTo>
                  <a:lnTo>
                    <a:pt x="3738" y="2736"/>
                  </a:lnTo>
                  <a:lnTo>
                    <a:pt x="3738" y="2732"/>
                  </a:lnTo>
                  <a:lnTo>
                    <a:pt x="3738" y="2732"/>
                  </a:lnTo>
                  <a:lnTo>
                    <a:pt x="3740" y="2730"/>
                  </a:lnTo>
                  <a:lnTo>
                    <a:pt x="3738" y="2730"/>
                  </a:lnTo>
                  <a:lnTo>
                    <a:pt x="3740" y="2728"/>
                  </a:lnTo>
                  <a:lnTo>
                    <a:pt x="3742" y="2728"/>
                  </a:lnTo>
                  <a:lnTo>
                    <a:pt x="3746" y="2726"/>
                  </a:lnTo>
                  <a:lnTo>
                    <a:pt x="3750" y="2726"/>
                  </a:lnTo>
                  <a:lnTo>
                    <a:pt x="3750" y="2726"/>
                  </a:lnTo>
                  <a:lnTo>
                    <a:pt x="3752" y="2726"/>
                  </a:lnTo>
                  <a:lnTo>
                    <a:pt x="3752" y="2726"/>
                  </a:lnTo>
                  <a:lnTo>
                    <a:pt x="3752" y="2724"/>
                  </a:lnTo>
                  <a:lnTo>
                    <a:pt x="3752" y="2722"/>
                  </a:lnTo>
                  <a:lnTo>
                    <a:pt x="3752" y="2722"/>
                  </a:lnTo>
                  <a:lnTo>
                    <a:pt x="3752" y="2720"/>
                  </a:lnTo>
                  <a:lnTo>
                    <a:pt x="3752" y="2718"/>
                  </a:lnTo>
                  <a:lnTo>
                    <a:pt x="3752" y="2718"/>
                  </a:lnTo>
                  <a:lnTo>
                    <a:pt x="3750" y="2718"/>
                  </a:lnTo>
                  <a:lnTo>
                    <a:pt x="3748" y="2716"/>
                  </a:lnTo>
                  <a:lnTo>
                    <a:pt x="3748" y="2716"/>
                  </a:lnTo>
                  <a:lnTo>
                    <a:pt x="3748" y="2714"/>
                  </a:lnTo>
                  <a:lnTo>
                    <a:pt x="3746" y="2712"/>
                  </a:lnTo>
                  <a:lnTo>
                    <a:pt x="3742" y="2710"/>
                  </a:lnTo>
                  <a:lnTo>
                    <a:pt x="3740" y="2710"/>
                  </a:lnTo>
                  <a:lnTo>
                    <a:pt x="3738" y="2706"/>
                  </a:lnTo>
                  <a:lnTo>
                    <a:pt x="3738" y="2708"/>
                  </a:lnTo>
                  <a:lnTo>
                    <a:pt x="3736" y="2704"/>
                  </a:lnTo>
                  <a:lnTo>
                    <a:pt x="3736" y="2704"/>
                  </a:lnTo>
                  <a:lnTo>
                    <a:pt x="3736" y="2702"/>
                  </a:lnTo>
                  <a:lnTo>
                    <a:pt x="3736" y="2700"/>
                  </a:lnTo>
                  <a:lnTo>
                    <a:pt x="3736" y="2700"/>
                  </a:lnTo>
                  <a:lnTo>
                    <a:pt x="3734" y="2698"/>
                  </a:lnTo>
                  <a:lnTo>
                    <a:pt x="3732" y="2698"/>
                  </a:lnTo>
                  <a:lnTo>
                    <a:pt x="3730" y="2698"/>
                  </a:lnTo>
                  <a:lnTo>
                    <a:pt x="3726" y="2698"/>
                  </a:lnTo>
                  <a:lnTo>
                    <a:pt x="3722" y="2698"/>
                  </a:lnTo>
                  <a:lnTo>
                    <a:pt x="3722" y="2698"/>
                  </a:lnTo>
                  <a:lnTo>
                    <a:pt x="3722" y="2698"/>
                  </a:lnTo>
                  <a:lnTo>
                    <a:pt x="3720" y="2692"/>
                  </a:lnTo>
                  <a:lnTo>
                    <a:pt x="3720" y="2692"/>
                  </a:lnTo>
                  <a:lnTo>
                    <a:pt x="3720" y="2690"/>
                  </a:lnTo>
                  <a:lnTo>
                    <a:pt x="3718" y="2690"/>
                  </a:lnTo>
                  <a:lnTo>
                    <a:pt x="3712" y="2688"/>
                  </a:lnTo>
                  <a:lnTo>
                    <a:pt x="3708" y="2688"/>
                  </a:lnTo>
                  <a:lnTo>
                    <a:pt x="3702" y="2688"/>
                  </a:lnTo>
                  <a:lnTo>
                    <a:pt x="3700" y="2688"/>
                  </a:lnTo>
                  <a:lnTo>
                    <a:pt x="3700" y="2686"/>
                  </a:lnTo>
                  <a:lnTo>
                    <a:pt x="3698" y="2680"/>
                  </a:lnTo>
                  <a:lnTo>
                    <a:pt x="3696" y="2674"/>
                  </a:lnTo>
                  <a:lnTo>
                    <a:pt x="3694" y="2668"/>
                  </a:lnTo>
                  <a:lnTo>
                    <a:pt x="3690" y="2662"/>
                  </a:lnTo>
                  <a:lnTo>
                    <a:pt x="3688" y="2656"/>
                  </a:lnTo>
                  <a:lnTo>
                    <a:pt x="3684" y="2650"/>
                  </a:lnTo>
                  <a:lnTo>
                    <a:pt x="3680" y="2644"/>
                  </a:lnTo>
                  <a:lnTo>
                    <a:pt x="3672" y="2632"/>
                  </a:lnTo>
                  <a:lnTo>
                    <a:pt x="3662" y="2622"/>
                  </a:lnTo>
                  <a:lnTo>
                    <a:pt x="3654" y="2612"/>
                  </a:lnTo>
                  <a:lnTo>
                    <a:pt x="3648" y="2604"/>
                  </a:lnTo>
                  <a:lnTo>
                    <a:pt x="3648" y="2602"/>
                  </a:lnTo>
                  <a:lnTo>
                    <a:pt x="3648" y="2602"/>
                  </a:lnTo>
                  <a:lnTo>
                    <a:pt x="3650" y="2602"/>
                  </a:lnTo>
                  <a:lnTo>
                    <a:pt x="3652" y="2598"/>
                  </a:lnTo>
                  <a:lnTo>
                    <a:pt x="3652" y="2598"/>
                  </a:lnTo>
                  <a:lnTo>
                    <a:pt x="3652" y="2596"/>
                  </a:lnTo>
                  <a:lnTo>
                    <a:pt x="3654" y="2592"/>
                  </a:lnTo>
                  <a:lnTo>
                    <a:pt x="3654" y="2592"/>
                  </a:lnTo>
                  <a:lnTo>
                    <a:pt x="3654" y="2592"/>
                  </a:lnTo>
                  <a:lnTo>
                    <a:pt x="3654" y="2588"/>
                  </a:lnTo>
                  <a:lnTo>
                    <a:pt x="3654" y="2582"/>
                  </a:lnTo>
                  <a:lnTo>
                    <a:pt x="3654" y="2578"/>
                  </a:lnTo>
                  <a:lnTo>
                    <a:pt x="3654" y="2572"/>
                  </a:lnTo>
                  <a:lnTo>
                    <a:pt x="3658" y="2574"/>
                  </a:lnTo>
                  <a:lnTo>
                    <a:pt x="3666" y="2574"/>
                  </a:lnTo>
                  <a:lnTo>
                    <a:pt x="3672" y="2576"/>
                  </a:lnTo>
                  <a:lnTo>
                    <a:pt x="3680" y="2580"/>
                  </a:lnTo>
                  <a:lnTo>
                    <a:pt x="3694" y="2586"/>
                  </a:lnTo>
                  <a:lnTo>
                    <a:pt x="3700" y="2588"/>
                  </a:lnTo>
                  <a:lnTo>
                    <a:pt x="3708" y="2590"/>
                  </a:lnTo>
                  <a:lnTo>
                    <a:pt x="3708" y="2590"/>
                  </a:lnTo>
                  <a:lnTo>
                    <a:pt x="3708" y="2592"/>
                  </a:lnTo>
                  <a:lnTo>
                    <a:pt x="3716" y="2592"/>
                  </a:lnTo>
                  <a:lnTo>
                    <a:pt x="3722" y="2592"/>
                  </a:lnTo>
                  <a:lnTo>
                    <a:pt x="3722" y="2592"/>
                  </a:lnTo>
                  <a:lnTo>
                    <a:pt x="3728" y="2592"/>
                  </a:lnTo>
                  <a:lnTo>
                    <a:pt x="3734" y="2590"/>
                  </a:lnTo>
                  <a:lnTo>
                    <a:pt x="3740" y="2588"/>
                  </a:lnTo>
                  <a:lnTo>
                    <a:pt x="3744" y="2586"/>
                  </a:lnTo>
                  <a:lnTo>
                    <a:pt x="3750" y="2584"/>
                  </a:lnTo>
                  <a:lnTo>
                    <a:pt x="3754" y="2582"/>
                  </a:lnTo>
                  <a:lnTo>
                    <a:pt x="3754" y="2582"/>
                  </a:lnTo>
                  <a:lnTo>
                    <a:pt x="3754" y="2582"/>
                  </a:lnTo>
                  <a:lnTo>
                    <a:pt x="3760" y="2580"/>
                  </a:lnTo>
                  <a:lnTo>
                    <a:pt x="3764" y="2580"/>
                  </a:lnTo>
                  <a:lnTo>
                    <a:pt x="3768" y="2578"/>
                  </a:lnTo>
                  <a:lnTo>
                    <a:pt x="3772" y="2578"/>
                  </a:lnTo>
                  <a:lnTo>
                    <a:pt x="3772" y="2578"/>
                  </a:lnTo>
                  <a:lnTo>
                    <a:pt x="3774" y="2576"/>
                  </a:lnTo>
                  <a:lnTo>
                    <a:pt x="3776" y="2576"/>
                  </a:lnTo>
                  <a:lnTo>
                    <a:pt x="3776" y="2572"/>
                  </a:lnTo>
                  <a:lnTo>
                    <a:pt x="3776" y="2570"/>
                  </a:lnTo>
                  <a:lnTo>
                    <a:pt x="3776" y="2570"/>
                  </a:lnTo>
                  <a:lnTo>
                    <a:pt x="3776" y="2570"/>
                  </a:lnTo>
                  <a:lnTo>
                    <a:pt x="3778" y="2570"/>
                  </a:lnTo>
                  <a:lnTo>
                    <a:pt x="3778" y="2568"/>
                  </a:lnTo>
                  <a:lnTo>
                    <a:pt x="3782" y="2554"/>
                  </a:lnTo>
                  <a:lnTo>
                    <a:pt x="3786" y="2540"/>
                  </a:lnTo>
                  <a:lnTo>
                    <a:pt x="3792" y="2526"/>
                  </a:lnTo>
                  <a:lnTo>
                    <a:pt x="3798" y="2514"/>
                  </a:lnTo>
                  <a:lnTo>
                    <a:pt x="3798" y="2510"/>
                  </a:lnTo>
                  <a:lnTo>
                    <a:pt x="3800" y="2506"/>
                  </a:lnTo>
                  <a:lnTo>
                    <a:pt x="3802" y="2502"/>
                  </a:lnTo>
                  <a:lnTo>
                    <a:pt x="3804" y="2498"/>
                  </a:lnTo>
                  <a:lnTo>
                    <a:pt x="3806" y="2494"/>
                  </a:lnTo>
                  <a:lnTo>
                    <a:pt x="3808" y="2492"/>
                  </a:lnTo>
                  <a:lnTo>
                    <a:pt x="3810" y="2490"/>
                  </a:lnTo>
                  <a:lnTo>
                    <a:pt x="3812" y="2488"/>
                  </a:lnTo>
                  <a:lnTo>
                    <a:pt x="3812" y="2488"/>
                  </a:lnTo>
                  <a:lnTo>
                    <a:pt x="3812" y="2488"/>
                  </a:lnTo>
                  <a:lnTo>
                    <a:pt x="3812" y="2488"/>
                  </a:lnTo>
                  <a:lnTo>
                    <a:pt x="3816" y="2488"/>
                  </a:lnTo>
                  <a:lnTo>
                    <a:pt x="3820" y="2488"/>
                  </a:lnTo>
                  <a:lnTo>
                    <a:pt x="3824" y="2488"/>
                  </a:lnTo>
                  <a:lnTo>
                    <a:pt x="3828" y="2490"/>
                  </a:lnTo>
                  <a:lnTo>
                    <a:pt x="3828" y="2490"/>
                  </a:lnTo>
                  <a:lnTo>
                    <a:pt x="3828" y="2490"/>
                  </a:lnTo>
                  <a:lnTo>
                    <a:pt x="3828" y="2490"/>
                  </a:lnTo>
                  <a:lnTo>
                    <a:pt x="3828" y="2490"/>
                  </a:lnTo>
                  <a:lnTo>
                    <a:pt x="3826" y="2492"/>
                  </a:lnTo>
                  <a:lnTo>
                    <a:pt x="3826" y="2492"/>
                  </a:lnTo>
                  <a:lnTo>
                    <a:pt x="3826" y="2494"/>
                  </a:lnTo>
                  <a:lnTo>
                    <a:pt x="3826" y="2496"/>
                  </a:lnTo>
                  <a:lnTo>
                    <a:pt x="3826" y="2496"/>
                  </a:lnTo>
                  <a:lnTo>
                    <a:pt x="3826" y="2496"/>
                  </a:lnTo>
                  <a:lnTo>
                    <a:pt x="3826" y="2498"/>
                  </a:lnTo>
                  <a:lnTo>
                    <a:pt x="3826" y="2498"/>
                  </a:lnTo>
                  <a:lnTo>
                    <a:pt x="3826" y="2500"/>
                  </a:lnTo>
                  <a:lnTo>
                    <a:pt x="3828" y="2500"/>
                  </a:lnTo>
                  <a:lnTo>
                    <a:pt x="3828" y="2500"/>
                  </a:lnTo>
                  <a:lnTo>
                    <a:pt x="3828" y="2502"/>
                  </a:lnTo>
                  <a:lnTo>
                    <a:pt x="3830" y="2502"/>
                  </a:lnTo>
                  <a:lnTo>
                    <a:pt x="3830" y="2502"/>
                  </a:lnTo>
                  <a:lnTo>
                    <a:pt x="3830" y="2502"/>
                  </a:lnTo>
                  <a:lnTo>
                    <a:pt x="3832" y="2504"/>
                  </a:lnTo>
                  <a:lnTo>
                    <a:pt x="3834" y="2506"/>
                  </a:lnTo>
                  <a:lnTo>
                    <a:pt x="3840" y="2508"/>
                  </a:lnTo>
                  <a:lnTo>
                    <a:pt x="3844" y="2508"/>
                  </a:lnTo>
                  <a:lnTo>
                    <a:pt x="3846" y="2510"/>
                  </a:lnTo>
                  <a:lnTo>
                    <a:pt x="3846" y="2510"/>
                  </a:lnTo>
                  <a:lnTo>
                    <a:pt x="3846" y="2512"/>
                  </a:lnTo>
                  <a:lnTo>
                    <a:pt x="3848" y="2512"/>
                  </a:lnTo>
                  <a:lnTo>
                    <a:pt x="3848" y="2512"/>
                  </a:lnTo>
                  <a:lnTo>
                    <a:pt x="3846" y="2514"/>
                  </a:lnTo>
                  <a:lnTo>
                    <a:pt x="3846" y="2514"/>
                  </a:lnTo>
                  <a:lnTo>
                    <a:pt x="3844" y="2516"/>
                  </a:lnTo>
                  <a:lnTo>
                    <a:pt x="3842" y="2520"/>
                  </a:lnTo>
                  <a:lnTo>
                    <a:pt x="3838" y="2524"/>
                  </a:lnTo>
                  <a:lnTo>
                    <a:pt x="3836" y="2526"/>
                  </a:lnTo>
                  <a:lnTo>
                    <a:pt x="3836" y="2526"/>
                  </a:lnTo>
                  <a:lnTo>
                    <a:pt x="3836" y="2528"/>
                  </a:lnTo>
                  <a:lnTo>
                    <a:pt x="3834" y="2528"/>
                  </a:lnTo>
                  <a:lnTo>
                    <a:pt x="3834" y="2528"/>
                  </a:lnTo>
                  <a:lnTo>
                    <a:pt x="3834" y="2530"/>
                  </a:lnTo>
                  <a:lnTo>
                    <a:pt x="3834" y="2532"/>
                  </a:lnTo>
                  <a:lnTo>
                    <a:pt x="3834" y="2532"/>
                  </a:lnTo>
                  <a:lnTo>
                    <a:pt x="3834" y="2532"/>
                  </a:lnTo>
                  <a:lnTo>
                    <a:pt x="3836" y="2534"/>
                  </a:lnTo>
                  <a:lnTo>
                    <a:pt x="3836" y="2534"/>
                  </a:lnTo>
                  <a:lnTo>
                    <a:pt x="3836" y="2536"/>
                  </a:lnTo>
                  <a:lnTo>
                    <a:pt x="3838" y="2536"/>
                  </a:lnTo>
                  <a:lnTo>
                    <a:pt x="3838" y="2536"/>
                  </a:lnTo>
                  <a:lnTo>
                    <a:pt x="3838" y="2538"/>
                  </a:lnTo>
                  <a:lnTo>
                    <a:pt x="3840" y="2538"/>
                  </a:lnTo>
                  <a:lnTo>
                    <a:pt x="3840" y="2538"/>
                  </a:lnTo>
                  <a:lnTo>
                    <a:pt x="3840" y="2538"/>
                  </a:lnTo>
                  <a:lnTo>
                    <a:pt x="3844" y="2540"/>
                  </a:lnTo>
                  <a:lnTo>
                    <a:pt x="3848" y="2540"/>
                  </a:lnTo>
                  <a:lnTo>
                    <a:pt x="3850" y="2540"/>
                  </a:lnTo>
                  <a:lnTo>
                    <a:pt x="3850" y="2540"/>
                  </a:lnTo>
                  <a:lnTo>
                    <a:pt x="3852" y="2540"/>
                  </a:lnTo>
                  <a:lnTo>
                    <a:pt x="3852" y="2538"/>
                  </a:lnTo>
                  <a:lnTo>
                    <a:pt x="3854" y="2534"/>
                  </a:lnTo>
                  <a:lnTo>
                    <a:pt x="3854" y="2534"/>
                  </a:lnTo>
                  <a:lnTo>
                    <a:pt x="3854" y="2532"/>
                  </a:lnTo>
                  <a:lnTo>
                    <a:pt x="3856" y="2532"/>
                  </a:lnTo>
                  <a:lnTo>
                    <a:pt x="3858" y="2530"/>
                  </a:lnTo>
                  <a:lnTo>
                    <a:pt x="3860" y="2530"/>
                  </a:lnTo>
                  <a:lnTo>
                    <a:pt x="3862" y="2532"/>
                  </a:lnTo>
                  <a:lnTo>
                    <a:pt x="3866" y="2532"/>
                  </a:lnTo>
                  <a:lnTo>
                    <a:pt x="3868" y="2534"/>
                  </a:lnTo>
                  <a:lnTo>
                    <a:pt x="3874" y="2536"/>
                  </a:lnTo>
                  <a:lnTo>
                    <a:pt x="3882" y="2540"/>
                  </a:lnTo>
                  <a:lnTo>
                    <a:pt x="3886" y="2540"/>
                  </a:lnTo>
                  <a:lnTo>
                    <a:pt x="3888" y="2542"/>
                  </a:lnTo>
                  <a:lnTo>
                    <a:pt x="3892" y="2542"/>
                  </a:lnTo>
                  <a:lnTo>
                    <a:pt x="3892" y="2542"/>
                  </a:lnTo>
                  <a:lnTo>
                    <a:pt x="3894" y="2542"/>
                  </a:lnTo>
                  <a:lnTo>
                    <a:pt x="3894" y="2542"/>
                  </a:lnTo>
                  <a:lnTo>
                    <a:pt x="3896" y="2542"/>
                  </a:lnTo>
                  <a:lnTo>
                    <a:pt x="3896" y="2542"/>
                  </a:lnTo>
                  <a:lnTo>
                    <a:pt x="3898" y="2540"/>
                  </a:lnTo>
                  <a:lnTo>
                    <a:pt x="3898" y="2536"/>
                  </a:lnTo>
                  <a:lnTo>
                    <a:pt x="3898" y="2536"/>
                  </a:lnTo>
                  <a:lnTo>
                    <a:pt x="3898" y="2536"/>
                  </a:lnTo>
                  <a:lnTo>
                    <a:pt x="3896" y="2532"/>
                  </a:lnTo>
                  <a:lnTo>
                    <a:pt x="3894" y="2528"/>
                  </a:lnTo>
                  <a:lnTo>
                    <a:pt x="3892" y="2524"/>
                  </a:lnTo>
                  <a:lnTo>
                    <a:pt x="3888" y="2514"/>
                  </a:lnTo>
                  <a:lnTo>
                    <a:pt x="3884" y="2506"/>
                  </a:lnTo>
                  <a:lnTo>
                    <a:pt x="3884" y="2502"/>
                  </a:lnTo>
                  <a:lnTo>
                    <a:pt x="3882" y="2498"/>
                  </a:lnTo>
                  <a:lnTo>
                    <a:pt x="3882" y="2494"/>
                  </a:lnTo>
                  <a:lnTo>
                    <a:pt x="3882" y="2492"/>
                  </a:lnTo>
                  <a:lnTo>
                    <a:pt x="3882" y="2490"/>
                  </a:lnTo>
                  <a:lnTo>
                    <a:pt x="3884" y="2490"/>
                  </a:lnTo>
                  <a:lnTo>
                    <a:pt x="3886" y="2488"/>
                  </a:lnTo>
                  <a:lnTo>
                    <a:pt x="3890" y="2490"/>
                  </a:lnTo>
                  <a:lnTo>
                    <a:pt x="3890" y="2490"/>
                  </a:lnTo>
                  <a:lnTo>
                    <a:pt x="3892" y="2488"/>
                  </a:lnTo>
                  <a:lnTo>
                    <a:pt x="3892" y="2488"/>
                  </a:lnTo>
                  <a:lnTo>
                    <a:pt x="3894" y="2486"/>
                  </a:lnTo>
                  <a:lnTo>
                    <a:pt x="3892" y="2482"/>
                  </a:lnTo>
                  <a:lnTo>
                    <a:pt x="3890" y="2480"/>
                  </a:lnTo>
                  <a:lnTo>
                    <a:pt x="3888" y="2472"/>
                  </a:lnTo>
                  <a:lnTo>
                    <a:pt x="3886" y="2466"/>
                  </a:lnTo>
                  <a:lnTo>
                    <a:pt x="3884" y="2458"/>
                  </a:lnTo>
                  <a:lnTo>
                    <a:pt x="3882" y="2450"/>
                  </a:lnTo>
                  <a:lnTo>
                    <a:pt x="3880" y="2442"/>
                  </a:lnTo>
                  <a:lnTo>
                    <a:pt x="3878" y="2436"/>
                  </a:lnTo>
                  <a:lnTo>
                    <a:pt x="3878" y="2434"/>
                  </a:lnTo>
                  <a:lnTo>
                    <a:pt x="3878" y="2430"/>
                  </a:lnTo>
                  <a:lnTo>
                    <a:pt x="3878" y="2426"/>
                  </a:lnTo>
                  <a:lnTo>
                    <a:pt x="3880" y="2422"/>
                  </a:lnTo>
                  <a:lnTo>
                    <a:pt x="3880" y="2420"/>
                  </a:lnTo>
                  <a:lnTo>
                    <a:pt x="3882" y="2416"/>
                  </a:lnTo>
                  <a:lnTo>
                    <a:pt x="3888" y="2410"/>
                  </a:lnTo>
                  <a:lnTo>
                    <a:pt x="3892" y="2404"/>
                  </a:lnTo>
                  <a:lnTo>
                    <a:pt x="3898" y="2398"/>
                  </a:lnTo>
                  <a:lnTo>
                    <a:pt x="3902" y="2392"/>
                  </a:lnTo>
                  <a:lnTo>
                    <a:pt x="3902" y="2392"/>
                  </a:lnTo>
                  <a:lnTo>
                    <a:pt x="3904" y="2390"/>
                  </a:lnTo>
                  <a:lnTo>
                    <a:pt x="3904" y="2388"/>
                  </a:lnTo>
                  <a:lnTo>
                    <a:pt x="3906" y="2384"/>
                  </a:lnTo>
                  <a:lnTo>
                    <a:pt x="3906" y="2384"/>
                  </a:lnTo>
                  <a:lnTo>
                    <a:pt x="3906" y="2384"/>
                  </a:lnTo>
                  <a:lnTo>
                    <a:pt x="3908" y="2380"/>
                  </a:lnTo>
                  <a:lnTo>
                    <a:pt x="3908" y="2380"/>
                  </a:lnTo>
                  <a:lnTo>
                    <a:pt x="3908" y="2376"/>
                  </a:lnTo>
                  <a:lnTo>
                    <a:pt x="3908" y="2376"/>
                  </a:lnTo>
                  <a:lnTo>
                    <a:pt x="3908" y="2374"/>
                  </a:lnTo>
                  <a:lnTo>
                    <a:pt x="3906" y="2372"/>
                  </a:lnTo>
                  <a:lnTo>
                    <a:pt x="3906" y="2372"/>
                  </a:lnTo>
                  <a:close/>
                  <a:moveTo>
                    <a:pt x="3488" y="1756"/>
                  </a:moveTo>
                  <a:lnTo>
                    <a:pt x="3488" y="1756"/>
                  </a:lnTo>
                  <a:lnTo>
                    <a:pt x="3488" y="1756"/>
                  </a:lnTo>
                  <a:lnTo>
                    <a:pt x="3488" y="1756"/>
                  </a:lnTo>
                  <a:close/>
                  <a:moveTo>
                    <a:pt x="2426" y="2966"/>
                  </a:moveTo>
                  <a:lnTo>
                    <a:pt x="2426" y="2966"/>
                  </a:lnTo>
                  <a:lnTo>
                    <a:pt x="2426" y="2964"/>
                  </a:lnTo>
                  <a:lnTo>
                    <a:pt x="2426" y="2964"/>
                  </a:lnTo>
                  <a:lnTo>
                    <a:pt x="2426" y="2960"/>
                  </a:lnTo>
                  <a:lnTo>
                    <a:pt x="2426" y="2958"/>
                  </a:lnTo>
                  <a:lnTo>
                    <a:pt x="2426" y="2962"/>
                  </a:lnTo>
                  <a:lnTo>
                    <a:pt x="2426" y="2964"/>
                  </a:lnTo>
                  <a:lnTo>
                    <a:pt x="2426" y="2964"/>
                  </a:lnTo>
                  <a:lnTo>
                    <a:pt x="2426" y="2964"/>
                  </a:lnTo>
                  <a:lnTo>
                    <a:pt x="2426" y="2966"/>
                  </a:lnTo>
                  <a:lnTo>
                    <a:pt x="2426" y="2966"/>
                  </a:lnTo>
                  <a:lnTo>
                    <a:pt x="2426" y="2966"/>
                  </a:lnTo>
                  <a:lnTo>
                    <a:pt x="2426" y="2966"/>
                  </a:lnTo>
                  <a:close/>
                  <a:moveTo>
                    <a:pt x="2430" y="2946"/>
                  </a:moveTo>
                  <a:lnTo>
                    <a:pt x="2430" y="2946"/>
                  </a:lnTo>
                  <a:lnTo>
                    <a:pt x="2430" y="2946"/>
                  </a:lnTo>
                  <a:lnTo>
                    <a:pt x="2430" y="2946"/>
                  </a:lnTo>
                  <a:close/>
                  <a:moveTo>
                    <a:pt x="2438" y="2940"/>
                  </a:moveTo>
                  <a:lnTo>
                    <a:pt x="2438" y="2938"/>
                  </a:lnTo>
                  <a:lnTo>
                    <a:pt x="2436" y="2936"/>
                  </a:lnTo>
                  <a:lnTo>
                    <a:pt x="2436" y="2934"/>
                  </a:lnTo>
                  <a:lnTo>
                    <a:pt x="2436" y="2934"/>
                  </a:lnTo>
                  <a:lnTo>
                    <a:pt x="2438" y="2930"/>
                  </a:lnTo>
                  <a:lnTo>
                    <a:pt x="2438" y="2930"/>
                  </a:lnTo>
                  <a:lnTo>
                    <a:pt x="2438" y="2932"/>
                  </a:lnTo>
                  <a:lnTo>
                    <a:pt x="2438" y="2932"/>
                  </a:lnTo>
                  <a:lnTo>
                    <a:pt x="2438" y="2932"/>
                  </a:lnTo>
                  <a:lnTo>
                    <a:pt x="2438" y="2936"/>
                  </a:lnTo>
                  <a:lnTo>
                    <a:pt x="2438" y="2936"/>
                  </a:lnTo>
                  <a:lnTo>
                    <a:pt x="2438" y="2936"/>
                  </a:lnTo>
                  <a:lnTo>
                    <a:pt x="2438" y="2938"/>
                  </a:lnTo>
                  <a:lnTo>
                    <a:pt x="2438" y="2940"/>
                  </a:lnTo>
                  <a:lnTo>
                    <a:pt x="2438" y="2940"/>
                  </a:lnTo>
                  <a:lnTo>
                    <a:pt x="2438" y="2940"/>
                  </a:lnTo>
                  <a:close/>
                  <a:moveTo>
                    <a:pt x="2440" y="2916"/>
                  </a:moveTo>
                  <a:lnTo>
                    <a:pt x="2438" y="2916"/>
                  </a:lnTo>
                  <a:lnTo>
                    <a:pt x="2440" y="2916"/>
                  </a:lnTo>
                  <a:lnTo>
                    <a:pt x="2440" y="2916"/>
                  </a:lnTo>
                  <a:lnTo>
                    <a:pt x="2440" y="2916"/>
                  </a:lnTo>
                  <a:close/>
                  <a:moveTo>
                    <a:pt x="2452" y="2908"/>
                  </a:moveTo>
                  <a:lnTo>
                    <a:pt x="2450" y="2908"/>
                  </a:lnTo>
                  <a:lnTo>
                    <a:pt x="2450" y="2908"/>
                  </a:lnTo>
                  <a:lnTo>
                    <a:pt x="2450" y="2904"/>
                  </a:lnTo>
                  <a:lnTo>
                    <a:pt x="2448" y="2898"/>
                  </a:lnTo>
                  <a:lnTo>
                    <a:pt x="2448" y="2892"/>
                  </a:lnTo>
                  <a:lnTo>
                    <a:pt x="2448" y="2888"/>
                  </a:lnTo>
                  <a:lnTo>
                    <a:pt x="2448" y="2888"/>
                  </a:lnTo>
                  <a:lnTo>
                    <a:pt x="2448" y="2890"/>
                  </a:lnTo>
                  <a:lnTo>
                    <a:pt x="2450" y="2898"/>
                  </a:lnTo>
                  <a:lnTo>
                    <a:pt x="2450" y="2906"/>
                  </a:lnTo>
                  <a:lnTo>
                    <a:pt x="2452" y="2908"/>
                  </a:lnTo>
                  <a:lnTo>
                    <a:pt x="2452" y="2908"/>
                  </a:lnTo>
                  <a:close/>
                  <a:moveTo>
                    <a:pt x="2534" y="2844"/>
                  </a:moveTo>
                  <a:lnTo>
                    <a:pt x="2534" y="2844"/>
                  </a:lnTo>
                  <a:lnTo>
                    <a:pt x="2534" y="2844"/>
                  </a:lnTo>
                  <a:lnTo>
                    <a:pt x="2536" y="2838"/>
                  </a:lnTo>
                  <a:lnTo>
                    <a:pt x="2536" y="2838"/>
                  </a:lnTo>
                  <a:lnTo>
                    <a:pt x="2536" y="2838"/>
                  </a:lnTo>
                  <a:lnTo>
                    <a:pt x="2536" y="2836"/>
                  </a:lnTo>
                  <a:lnTo>
                    <a:pt x="2538" y="2834"/>
                  </a:lnTo>
                  <a:lnTo>
                    <a:pt x="2536" y="2838"/>
                  </a:lnTo>
                  <a:lnTo>
                    <a:pt x="2536" y="2842"/>
                  </a:lnTo>
                  <a:lnTo>
                    <a:pt x="2536" y="2842"/>
                  </a:lnTo>
                  <a:lnTo>
                    <a:pt x="2534" y="2846"/>
                  </a:lnTo>
                  <a:lnTo>
                    <a:pt x="2532" y="2846"/>
                  </a:lnTo>
                  <a:lnTo>
                    <a:pt x="2534" y="2844"/>
                  </a:lnTo>
                  <a:close/>
                  <a:moveTo>
                    <a:pt x="2554" y="3048"/>
                  </a:moveTo>
                  <a:lnTo>
                    <a:pt x="2564" y="3048"/>
                  </a:lnTo>
                  <a:lnTo>
                    <a:pt x="2574" y="3048"/>
                  </a:lnTo>
                  <a:lnTo>
                    <a:pt x="2582" y="3048"/>
                  </a:lnTo>
                  <a:lnTo>
                    <a:pt x="2586" y="3050"/>
                  </a:lnTo>
                  <a:lnTo>
                    <a:pt x="2590" y="3050"/>
                  </a:lnTo>
                  <a:lnTo>
                    <a:pt x="2592" y="3050"/>
                  </a:lnTo>
                  <a:lnTo>
                    <a:pt x="2594" y="3050"/>
                  </a:lnTo>
                  <a:lnTo>
                    <a:pt x="2596" y="3052"/>
                  </a:lnTo>
                  <a:lnTo>
                    <a:pt x="2594" y="3054"/>
                  </a:lnTo>
                  <a:lnTo>
                    <a:pt x="2592" y="3056"/>
                  </a:lnTo>
                  <a:lnTo>
                    <a:pt x="2588" y="3056"/>
                  </a:lnTo>
                  <a:lnTo>
                    <a:pt x="2588" y="3056"/>
                  </a:lnTo>
                  <a:lnTo>
                    <a:pt x="2586" y="3056"/>
                  </a:lnTo>
                  <a:lnTo>
                    <a:pt x="2580" y="3056"/>
                  </a:lnTo>
                  <a:lnTo>
                    <a:pt x="2576" y="3056"/>
                  </a:lnTo>
                  <a:lnTo>
                    <a:pt x="2568" y="3056"/>
                  </a:lnTo>
                  <a:lnTo>
                    <a:pt x="2560" y="3056"/>
                  </a:lnTo>
                  <a:lnTo>
                    <a:pt x="2552" y="3054"/>
                  </a:lnTo>
                  <a:lnTo>
                    <a:pt x="2544" y="3054"/>
                  </a:lnTo>
                  <a:lnTo>
                    <a:pt x="2540" y="3054"/>
                  </a:lnTo>
                  <a:lnTo>
                    <a:pt x="2536" y="3054"/>
                  </a:lnTo>
                  <a:lnTo>
                    <a:pt x="2534" y="3052"/>
                  </a:lnTo>
                  <a:lnTo>
                    <a:pt x="2534" y="3052"/>
                  </a:lnTo>
                  <a:lnTo>
                    <a:pt x="2532" y="3052"/>
                  </a:lnTo>
                  <a:lnTo>
                    <a:pt x="2532" y="3050"/>
                  </a:lnTo>
                  <a:lnTo>
                    <a:pt x="2530" y="3048"/>
                  </a:lnTo>
                  <a:lnTo>
                    <a:pt x="2530" y="3048"/>
                  </a:lnTo>
                  <a:lnTo>
                    <a:pt x="2532" y="3046"/>
                  </a:lnTo>
                  <a:lnTo>
                    <a:pt x="2544" y="3046"/>
                  </a:lnTo>
                  <a:lnTo>
                    <a:pt x="2554" y="3048"/>
                  </a:lnTo>
                  <a:close/>
                  <a:moveTo>
                    <a:pt x="2614" y="2806"/>
                  </a:moveTo>
                  <a:lnTo>
                    <a:pt x="2614" y="2810"/>
                  </a:lnTo>
                  <a:lnTo>
                    <a:pt x="2612" y="2812"/>
                  </a:lnTo>
                  <a:lnTo>
                    <a:pt x="2614" y="2810"/>
                  </a:lnTo>
                  <a:lnTo>
                    <a:pt x="2614" y="2806"/>
                  </a:lnTo>
                  <a:lnTo>
                    <a:pt x="2614" y="2806"/>
                  </a:lnTo>
                  <a:lnTo>
                    <a:pt x="2614" y="2806"/>
                  </a:lnTo>
                  <a:lnTo>
                    <a:pt x="2614" y="2806"/>
                  </a:lnTo>
                  <a:close/>
                  <a:moveTo>
                    <a:pt x="2690" y="2804"/>
                  </a:moveTo>
                  <a:lnTo>
                    <a:pt x="2690" y="2804"/>
                  </a:lnTo>
                  <a:lnTo>
                    <a:pt x="2690" y="2802"/>
                  </a:lnTo>
                  <a:lnTo>
                    <a:pt x="2690" y="2800"/>
                  </a:lnTo>
                  <a:lnTo>
                    <a:pt x="2690" y="2800"/>
                  </a:lnTo>
                  <a:lnTo>
                    <a:pt x="2690" y="2804"/>
                  </a:lnTo>
                  <a:close/>
                  <a:moveTo>
                    <a:pt x="2704" y="2796"/>
                  </a:moveTo>
                  <a:lnTo>
                    <a:pt x="2704" y="2796"/>
                  </a:lnTo>
                  <a:lnTo>
                    <a:pt x="2702" y="2796"/>
                  </a:lnTo>
                  <a:lnTo>
                    <a:pt x="2704" y="2794"/>
                  </a:lnTo>
                  <a:lnTo>
                    <a:pt x="2702" y="2790"/>
                  </a:lnTo>
                  <a:lnTo>
                    <a:pt x="2702" y="2784"/>
                  </a:lnTo>
                  <a:lnTo>
                    <a:pt x="2702" y="2780"/>
                  </a:lnTo>
                  <a:lnTo>
                    <a:pt x="2702" y="2780"/>
                  </a:lnTo>
                  <a:lnTo>
                    <a:pt x="2702" y="2780"/>
                  </a:lnTo>
                  <a:lnTo>
                    <a:pt x="2700" y="2776"/>
                  </a:lnTo>
                  <a:lnTo>
                    <a:pt x="2698" y="2776"/>
                  </a:lnTo>
                  <a:lnTo>
                    <a:pt x="2698" y="2776"/>
                  </a:lnTo>
                  <a:lnTo>
                    <a:pt x="2700" y="2778"/>
                  </a:lnTo>
                  <a:lnTo>
                    <a:pt x="2702" y="2782"/>
                  </a:lnTo>
                  <a:lnTo>
                    <a:pt x="2702" y="2786"/>
                  </a:lnTo>
                  <a:lnTo>
                    <a:pt x="2704" y="2790"/>
                  </a:lnTo>
                  <a:lnTo>
                    <a:pt x="2704" y="2794"/>
                  </a:lnTo>
                  <a:lnTo>
                    <a:pt x="2704" y="2796"/>
                  </a:lnTo>
                  <a:close/>
                  <a:moveTo>
                    <a:pt x="2770" y="2922"/>
                  </a:moveTo>
                  <a:lnTo>
                    <a:pt x="2770" y="2924"/>
                  </a:lnTo>
                  <a:lnTo>
                    <a:pt x="2768" y="2926"/>
                  </a:lnTo>
                  <a:lnTo>
                    <a:pt x="2766" y="2930"/>
                  </a:lnTo>
                  <a:lnTo>
                    <a:pt x="2766" y="2934"/>
                  </a:lnTo>
                  <a:lnTo>
                    <a:pt x="2764" y="2936"/>
                  </a:lnTo>
                  <a:lnTo>
                    <a:pt x="2764" y="2936"/>
                  </a:lnTo>
                  <a:lnTo>
                    <a:pt x="2764" y="2938"/>
                  </a:lnTo>
                  <a:lnTo>
                    <a:pt x="2764" y="2940"/>
                  </a:lnTo>
                  <a:lnTo>
                    <a:pt x="2764" y="2940"/>
                  </a:lnTo>
                  <a:lnTo>
                    <a:pt x="2764" y="2940"/>
                  </a:lnTo>
                  <a:lnTo>
                    <a:pt x="2760" y="2938"/>
                  </a:lnTo>
                  <a:lnTo>
                    <a:pt x="2760" y="2938"/>
                  </a:lnTo>
                  <a:lnTo>
                    <a:pt x="2758" y="2938"/>
                  </a:lnTo>
                  <a:lnTo>
                    <a:pt x="2748" y="2938"/>
                  </a:lnTo>
                  <a:lnTo>
                    <a:pt x="2748" y="2936"/>
                  </a:lnTo>
                  <a:lnTo>
                    <a:pt x="2752" y="2936"/>
                  </a:lnTo>
                  <a:lnTo>
                    <a:pt x="2754" y="2934"/>
                  </a:lnTo>
                  <a:lnTo>
                    <a:pt x="2760" y="2928"/>
                  </a:lnTo>
                  <a:lnTo>
                    <a:pt x="2764" y="2924"/>
                  </a:lnTo>
                  <a:lnTo>
                    <a:pt x="2768" y="2922"/>
                  </a:lnTo>
                  <a:lnTo>
                    <a:pt x="2770" y="2920"/>
                  </a:lnTo>
                  <a:lnTo>
                    <a:pt x="2770" y="2920"/>
                  </a:lnTo>
                  <a:lnTo>
                    <a:pt x="2770" y="2920"/>
                  </a:lnTo>
                  <a:lnTo>
                    <a:pt x="2770" y="2922"/>
                  </a:lnTo>
                  <a:close/>
                  <a:moveTo>
                    <a:pt x="3440" y="2528"/>
                  </a:moveTo>
                  <a:lnTo>
                    <a:pt x="3440" y="2538"/>
                  </a:lnTo>
                  <a:lnTo>
                    <a:pt x="3438" y="2548"/>
                  </a:lnTo>
                  <a:lnTo>
                    <a:pt x="3434" y="2558"/>
                  </a:lnTo>
                  <a:lnTo>
                    <a:pt x="3434" y="2556"/>
                  </a:lnTo>
                  <a:lnTo>
                    <a:pt x="3430" y="2566"/>
                  </a:lnTo>
                  <a:lnTo>
                    <a:pt x="3424" y="2574"/>
                  </a:lnTo>
                  <a:lnTo>
                    <a:pt x="3416" y="2582"/>
                  </a:lnTo>
                  <a:lnTo>
                    <a:pt x="3408" y="2590"/>
                  </a:lnTo>
                  <a:lnTo>
                    <a:pt x="3398" y="2596"/>
                  </a:lnTo>
                  <a:lnTo>
                    <a:pt x="3394" y="2598"/>
                  </a:lnTo>
                  <a:lnTo>
                    <a:pt x="3388" y="2598"/>
                  </a:lnTo>
                  <a:lnTo>
                    <a:pt x="3382" y="2600"/>
                  </a:lnTo>
                  <a:lnTo>
                    <a:pt x="3376" y="2600"/>
                  </a:lnTo>
                  <a:lnTo>
                    <a:pt x="3370" y="2602"/>
                  </a:lnTo>
                  <a:lnTo>
                    <a:pt x="3364" y="2602"/>
                  </a:lnTo>
                  <a:lnTo>
                    <a:pt x="3360" y="2604"/>
                  </a:lnTo>
                  <a:lnTo>
                    <a:pt x="3358" y="2604"/>
                  </a:lnTo>
                  <a:lnTo>
                    <a:pt x="3356" y="2604"/>
                  </a:lnTo>
                  <a:lnTo>
                    <a:pt x="3356" y="2604"/>
                  </a:lnTo>
                  <a:lnTo>
                    <a:pt x="3356" y="2604"/>
                  </a:lnTo>
                  <a:lnTo>
                    <a:pt x="3352" y="2606"/>
                  </a:lnTo>
                  <a:lnTo>
                    <a:pt x="3352" y="2606"/>
                  </a:lnTo>
                  <a:lnTo>
                    <a:pt x="3352" y="2608"/>
                  </a:lnTo>
                  <a:lnTo>
                    <a:pt x="3348" y="2610"/>
                  </a:lnTo>
                  <a:lnTo>
                    <a:pt x="3344" y="2614"/>
                  </a:lnTo>
                  <a:lnTo>
                    <a:pt x="3342" y="2618"/>
                  </a:lnTo>
                  <a:lnTo>
                    <a:pt x="3338" y="2622"/>
                  </a:lnTo>
                  <a:lnTo>
                    <a:pt x="3336" y="2626"/>
                  </a:lnTo>
                  <a:lnTo>
                    <a:pt x="3332" y="2630"/>
                  </a:lnTo>
                  <a:lnTo>
                    <a:pt x="3328" y="2632"/>
                  </a:lnTo>
                  <a:lnTo>
                    <a:pt x="3320" y="2634"/>
                  </a:lnTo>
                  <a:lnTo>
                    <a:pt x="3314" y="2636"/>
                  </a:lnTo>
                  <a:lnTo>
                    <a:pt x="3306" y="2636"/>
                  </a:lnTo>
                  <a:lnTo>
                    <a:pt x="3298" y="2636"/>
                  </a:lnTo>
                  <a:lnTo>
                    <a:pt x="3290" y="2636"/>
                  </a:lnTo>
                  <a:lnTo>
                    <a:pt x="3282" y="2636"/>
                  </a:lnTo>
                  <a:lnTo>
                    <a:pt x="3268" y="2634"/>
                  </a:lnTo>
                  <a:lnTo>
                    <a:pt x="3260" y="2634"/>
                  </a:lnTo>
                  <a:lnTo>
                    <a:pt x="3252" y="2634"/>
                  </a:lnTo>
                  <a:lnTo>
                    <a:pt x="3244" y="2634"/>
                  </a:lnTo>
                  <a:lnTo>
                    <a:pt x="3236" y="2636"/>
                  </a:lnTo>
                  <a:lnTo>
                    <a:pt x="3228" y="2638"/>
                  </a:lnTo>
                  <a:lnTo>
                    <a:pt x="3220" y="2640"/>
                  </a:lnTo>
                  <a:lnTo>
                    <a:pt x="3212" y="2644"/>
                  </a:lnTo>
                  <a:lnTo>
                    <a:pt x="3208" y="2646"/>
                  </a:lnTo>
                  <a:lnTo>
                    <a:pt x="3208" y="2646"/>
                  </a:lnTo>
                  <a:lnTo>
                    <a:pt x="3206" y="2642"/>
                  </a:lnTo>
                  <a:lnTo>
                    <a:pt x="3206" y="2638"/>
                  </a:lnTo>
                  <a:lnTo>
                    <a:pt x="3206" y="2638"/>
                  </a:lnTo>
                  <a:lnTo>
                    <a:pt x="3206" y="2638"/>
                  </a:lnTo>
                  <a:lnTo>
                    <a:pt x="3204" y="2634"/>
                  </a:lnTo>
                  <a:lnTo>
                    <a:pt x="3204" y="2634"/>
                  </a:lnTo>
                  <a:lnTo>
                    <a:pt x="3204" y="2634"/>
                  </a:lnTo>
                  <a:lnTo>
                    <a:pt x="3202" y="2632"/>
                  </a:lnTo>
                  <a:lnTo>
                    <a:pt x="3202" y="2632"/>
                  </a:lnTo>
                  <a:lnTo>
                    <a:pt x="3202" y="2630"/>
                  </a:lnTo>
                  <a:lnTo>
                    <a:pt x="3200" y="2628"/>
                  </a:lnTo>
                  <a:lnTo>
                    <a:pt x="3200" y="2628"/>
                  </a:lnTo>
                  <a:lnTo>
                    <a:pt x="3200" y="2628"/>
                  </a:lnTo>
                  <a:lnTo>
                    <a:pt x="3198" y="2628"/>
                  </a:lnTo>
                  <a:lnTo>
                    <a:pt x="3198" y="2628"/>
                  </a:lnTo>
                  <a:lnTo>
                    <a:pt x="3196" y="2626"/>
                  </a:lnTo>
                  <a:lnTo>
                    <a:pt x="3194" y="2626"/>
                  </a:lnTo>
                  <a:lnTo>
                    <a:pt x="3194" y="2626"/>
                  </a:lnTo>
                  <a:lnTo>
                    <a:pt x="3194" y="2626"/>
                  </a:lnTo>
                  <a:lnTo>
                    <a:pt x="3190" y="2626"/>
                  </a:lnTo>
                  <a:lnTo>
                    <a:pt x="3188" y="2626"/>
                  </a:lnTo>
                  <a:lnTo>
                    <a:pt x="3188" y="2626"/>
                  </a:lnTo>
                  <a:lnTo>
                    <a:pt x="3188" y="2626"/>
                  </a:lnTo>
                  <a:lnTo>
                    <a:pt x="3182" y="2626"/>
                  </a:lnTo>
                  <a:lnTo>
                    <a:pt x="3176" y="2628"/>
                  </a:lnTo>
                  <a:lnTo>
                    <a:pt x="3170" y="2630"/>
                  </a:lnTo>
                  <a:lnTo>
                    <a:pt x="3164" y="2632"/>
                  </a:lnTo>
                  <a:lnTo>
                    <a:pt x="3158" y="2634"/>
                  </a:lnTo>
                  <a:lnTo>
                    <a:pt x="3152" y="2636"/>
                  </a:lnTo>
                  <a:lnTo>
                    <a:pt x="3152" y="2636"/>
                  </a:lnTo>
                  <a:lnTo>
                    <a:pt x="3150" y="2636"/>
                  </a:lnTo>
                  <a:lnTo>
                    <a:pt x="3148" y="2636"/>
                  </a:lnTo>
                  <a:lnTo>
                    <a:pt x="3148" y="2636"/>
                  </a:lnTo>
                  <a:lnTo>
                    <a:pt x="3146" y="2636"/>
                  </a:lnTo>
                  <a:lnTo>
                    <a:pt x="3146" y="2634"/>
                  </a:lnTo>
                  <a:lnTo>
                    <a:pt x="3144" y="2634"/>
                  </a:lnTo>
                  <a:lnTo>
                    <a:pt x="3142" y="2632"/>
                  </a:lnTo>
                  <a:lnTo>
                    <a:pt x="3142" y="2630"/>
                  </a:lnTo>
                  <a:lnTo>
                    <a:pt x="3142" y="2630"/>
                  </a:lnTo>
                  <a:lnTo>
                    <a:pt x="3142" y="2626"/>
                  </a:lnTo>
                  <a:lnTo>
                    <a:pt x="3140" y="2624"/>
                  </a:lnTo>
                  <a:lnTo>
                    <a:pt x="3140" y="2618"/>
                  </a:lnTo>
                  <a:lnTo>
                    <a:pt x="3140" y="2618"/>
                  </a:lnTo>
                  <a:lnTo>
                    <a:pt x="3140" y="2616"/>
                  </a:lnTo>
                  <a:lnTo>
                    <a:pt x="3140" y="2616"/>
                  </a:lnTo>
                  <a:lnTo>
                    <a:pt x="3136" y="2616"/>
                  </a:lnTo>
                  <a:lnTo>
                    <a:pt x="3134" y="2616"/>
                  </a:lnTo>
                  <a:lnTo>
                    <a:pt x="3130" y="2618"/>
                  </a:lnTo>
                  <a:lnTo>
                    <a:pt x="3124" y="2622"/>
                  </a:lnTo>
                  <a:lnTo>
                    <a:pt x="3120" y="2624"/>
                  </a:lnTo>
                  <a:lnTo>
                    <a:pt x="3116" y="2628"/>
                  </a:lnTo>
                  <a:lnTo>
                    <a:pt x="3114" y="2630"/>
                  </a:lnTo>
                  <a:lnTo>
                    <a:pt x="3110" y="2634"/>
                  </a:lnTo>
                  <a:lnTo>
                    <a:pt x="3106" y="2636"/>
                  </a:lnTo>
                  <a:lnTo>
                    <a:pt x="3104" y="2638"/>
                  </a:lnTo>
                  <a:lnTo>
                    <a:pt x="3100" y="2638"/>
                  </a:lnTo>
                  <a:lnTo>
                    <a:pt x="3102" y="2638"/>
                  </a:lnTo>
                  <a:lnTo>
                    <a:pt x="3096" y="2640"/>
                  </a:lnTo>
                  <a:lnTo>
                    <a:pt x="3090" y="2640"/>
                  </a:lnTo>
                  <a:lnTo>
                    <a:pt x="3086" y="2640"/>
                  </a:lnTo>
                  <a:lnTo>
                    <a:pt x="3080" y="2638"/>
                  </a:lnTo>
                  <a:lnTo>
                    <a:pt x="3074" y="2638"/>
                  </a:lnTo>
                  <a:lnTo>
                    <a:pt x="3070" y="2638"/>
                  </a:lnTo>
                  <a:lnTo>
                    <a:pt x="3064" y="2638"/>
                  </a:lnTo>
                  <a:lnTo>
                    <a:pt x="3064" y="2638"/>
                  </a:lnTo>
                  <a:lnTo>
                    <a:pt x="3064" y="2638"/>
                  </a:lnTo>
                  <a:lnTo>
                    <a:pt x="3058" y="2640"/>
                  </a:lnTo>
                  <a:lnTo>
                    <a:pt x="3058" y="2640"/>
                  </a:lnTo>
                  <a:lnTo>
                    <a:pt x="3058" y="2640"/>
                  </a:lnTo>
                  <a:lnTo>
                    <a:pt x="3052" y="2644"/>
                  </a:lnTo>
                  <a:lnTo>
                    <a:pt x="3048" y="2646"/>
                  </a:lnTo>
                  <a:lnTo>
                    <a:pt x="3044" y="2650"/>
                  </a:lnTo>
                  <a:lnTo>
                    <a:pt x="3038" y="2652"/>
                  </a:lnTo>
                  <a:lnTo>
                    <a:pt x="3030" y="2662"/>
                  </a:lnTo>
                  <a:lnTo>
                    <a:pt x="3022" y="2670"/>
                  </a:lnTo>
                  <a:lnTo>
                    <a:pt x="3016" y="2678"/>
                  </a:lnTo>
                  <a:lnTo>
                    <a:pt x="3008" y="2688"/>
                  </a:lnTo>
                  <a:lnTo>
                    <a:pt x="3002" y="2696"/>
                  </a:lnTo>
                  <a:lnTo>
                    <a:pt x="2998" y="2700"/>
                  </a:lnTo>
                  <a:lnTo>
                    <a:pt x="2996" y="2702"/>
                  </a:lnTo>
                  <a:lnTo>
                    <a:pt x="2990" y="2706"/>
                  </a:lnTo>
                  <a:lnTo>
                    <a:pt x="2982" y="2712"/>
                  </a:lnTo>
                  <a:lnTo>
                    <a:pt x="2976" y="2716"/>
                  </a:lnTo>
                  <a:lnTo>
                    <a:pt x="2968" y="2720"/>
                  </a:lnTo>
                  <a:lnTo>
                    <a:pt x="2950" y="2730"/>
                  </a:lnTo>
                  <a:lnTo>
                    <a:pt x="2934" y="2738"/>
                  </a:lnTo>
                  <a:lnTo>
                    <a:pt x="2924" y="2742"/>
                  </a:lnTo>
                  <a:lnTo>
                    <a:pt x="2916" y="2748"/>
                  </a:lnTo>
                  <a:lnTo>
                    <a:pt x="2910" y="2750"/>
                  </a:lnTo>
                  <a:lnTo>
                    <a:pt x="2902" y="2754"/>
                  </a:lnTo>
                  <a:lnTo>
                    <a:pt x="2896" y="2758"/>
                  </a:lnTo>
                  <a:lnTo>
                    <a:pt x="2890" y="2762"/>
                  </a:lnTo>
                  <a:lnTo>
                    <a:pt x="2886" y="2764"/>
                  </a:lnTo>
                  <a:lnTo>
                    <a:pt x="2882" y="2768"/>
                  </a:lnTo>
                  <a:lnTo>
                    <a:pt x="2880" y="2770"/>
                  </a:lnTo>
                  <a:lnTo>
                    <a:pt x="2876" y="2772"/>
                  </a:lnTo>
                  <a:lnTo>
                    <a:pt x="2874" y="2772"/>
                  </a:lnTo>
                  <a:lnTo>
                    <a:pt x="2872" y="2774"/>
                  </a:lnTo>
                  <a:lnTo>
                    <a:pt x="2868" y="2774"/>
                  </a:lnTo>
                  <a:lnTo>
                    <a:pt x="2866" y="2774"/>
                  </a:lnTo>
                  <a:lnTo>
                    <a:pt x="2864" y="2774"/>
                  </a:lnTo>
                  <a:lnTo>
                    <a:pt x="2862" y="2774"/>
                  </a:lnTo>
                  <a:lnTo>
                    <a:pt x="2862" y="2774"/>
                  </a:lnTo>
                  <a:lnTo>
                    <a:pt x="2860" y="2776"/>
                  </a:lnTo>
                  <a:lnTo>
                    <a:pt x="2860" y="2776"/>
                  </a:lnTo>
                  <a:lnTo>
                    <a:pt x="2860" y="2776"/>
                  </a:lnTo>
                  <a:lnTo>
                    <a:pt x="2858" y="2776"/>
                  </a:lnTo>
                  <a:lnTo>
                    <a:pt x="2858" y="2778"/>
                  </a:lnTo>
                  <a:lnTo>
                    <a:pt x="2858" y="2778"/>
                  </a:lnTo>
                  <a:lnTo>
                    <a:pt x="2858" y="2780"/>
                  </a:lnTo>
                  <a:lnTo>
                    <a:pt x="2858" y="2782"/>
                  </a:lnTo>
                  <a:lnTo>
                    <a:pt x="2858" y="2782"/>
                  </a:lnTo>
                  <a:lnTo>
                    <a:pt x="2858" y="2782"/>
                  </a:lnTo>
                  <a:lnTo>
                    <a:pt x="2858" y="2784"/>
                  </a:lnTo>
                  <a:lnTo>
                    <a:pt x="2858" y="2784"/>
                  </a:lnTo>
                  <a:lnTo>
                    <a:pt x="2858" y="2786"/>
                  </a:lnTo>
                  <a:lnTo>
                    <a:pt x="2860" y="2788"/>
                  </a:lnTo>
                  <a:lnTo>
                    <a:pt x="2862" y="2792"/>
                  </a:lnTo>
                  <a:lnTo>
                    <a:pt x="2864" y="2794"/>
                  </a:lnTo>
                  <a:lnTo>
                    <a:pt x="2866" y="2798"/>
                  </a:lnTo>
                  <a:lnTo>
                    <a:pt x="2868" y="2800"/>
                  </a:lnTo>
                  <a:lnTo>
                    <a:pt x="2870" y="2800"/>
                  </a:lnTo>
                  <a:lnTo>
                    <a:pt x="2870" y="2800"/>
                  </a:lnTo>
                  <a:lnTo>
                    <a:pt x="2870" y="2802"/>
                  </a:lnTo>
                  <a:lnTo>
                    <a:pt x="2874" y="2802"/>
                  </a:lnTo>
                  <a:lnTo>
                    <a:pt x="2874" y="2802"/>
                  </a:lnTo>
                  <a:lnTo>
                    <a:pt x="2874" y="2802"/>
                  </a:lnTo>
                  <a:lnTo>
                    <a:pt x="2878" y="2802"/>
                  </a:lnTo>
                  <a:lnTo>
                    <a:pt x="2882" y="2802"/>
                  </a:lnTo>
                  <a:lnTo>
                    <a:pt x="2884" y="2802"/>
                  </a:lnTo>
                  <a:lnTo>
                    <a:pt x="2888" y="2802"/>
                  </a:lnTo>
                  <a:lnTo>
                    <a:pt x="2888" y="2802"/>
                  </a:lnTo>
                  <a:lnTo>
                    <a:pt x="2888" y="2802"/>
                  </a:lnTo>
                  <a:lnTo>
                    <a:pt x="2888" y="2806"/>
                  </a:lnTo>
                  <a:lnTo>
                    <a:pt x="2886" y="2808"/>
                  </a:lnTo>
                  <a:lnTo>
                    <a:pt x="2884" y="2810"/>
                  </a:lnTo>
                  <a:lnTo>
                    <a:pt x="2884" y="2812"/>
                  </a:lnTo>
                  <a:lnTo>
                    <a:pt x="2882" y="2812"/>
                  </a:lnTo>
                  <a:lnTo>
                    <a:pt x="2880" y="2814"/>
                  </a:lnTo>
                  <a:lnTo>
                    <a:pt x="2878" y="2816"/>
                  </a:lnTo>
                  <a:lnTo>
                    <a:pt x="2878" y="2816"/>
                  </a:lnTo>
                  <a:lnTo>
                    <a:pt x="2876" y="2818"/>
                  </a:lnTo>
                  <a:lnTo>
                    <a:pt x="2872" y="2818"/>
                  </a:lnTo>
                  <a:lnTo>
                    <a:pt x="2868" y="2820"/>
                  </a:lnTo>
                  <a:lnTo>
                    <a:pt x="2866" y="2820"/>
                  </a:lnTo>
                  <a:lnTo>
                    <a:pt x="2866" y="2820"/>
                  </a:lnTo>
                  <a:lnTo>
                    <a:pt x="2864" y="2824"/>
                  </a:lnTo>
                  <a:lnTo>
                    <a:pt x="2864" y="2824"/>
                  </a:lnTo>
                  <a:lnTo>
                    <a:pt x="2864" y="2826"/>
                  </a:lnTo>
                  <a:lnTo>
                    <a:pt x="2864" y="2826"/>
                  </a:lnTo>
                  <a:lnTo>
                    <a:pt x="2864" y="2826"/>
                  </a:lnTo>
                  <a:lnTo>
                    <a:pt x="2864" y="2826"/>
                  </a:lnTo>
                  <a:lnTo>
                    <a:pt x="2862" y="2828"/>
                  </a:lnTo>
                  <a:lnTo>
                    <a:pt x="2862" y="2828"/>
                  </a:lnTo>
                  <a:lnTo>
                    <a:pt x="2862" y="2828"/>
                  </a:lnTo>
                  <a:lnTo>
                    <a:pt x="2862" y="2828"/>
                  </a:lnTo>
                  <a:lnTo>
                    <a:pt x="2862" y="2828"/>
                  </a:lnTo>
                  <a:lnTo>
                    <a:pt x="2862" y="2832"/>
                  </a:lnTo>
                  <a:lnTo>
                    <a:pt x="2862" y="2832"/>
                  </a:lnTo>
                  <a:lnTo>
                    <a:pt x="2860" y="2832"/>
                  </a:lnTo>
                  <a:lnTo>
                    <a:pt x="2860" y="2834"/>
                  </a:lnTo>
                  <a:lnTo>
                    <a:pt x="2858" y="2834"/>
                  </a:lnTo>
                  <a:lnTo>
                    <a:pt x="2854" y="2836"/>
                  </a:lnTo>
                  <a:lnTo>
                    <a:pt x="2850" y="2836"/>
                  </a:lnTo>
                  <a:lnTo>
                    <a:pt x="2846" y="2834"/>
                  </a:lnTo>
                  <a:lnTo>
                    <a:pt x="2840" y="2834"/>
                  </a:lnTo>
                  <a:lnTo>
                    <a:pt x="2840" y="2834"/>
                  </a:lnTo>
                  <a:lnTo>
                    <a:pt x="2840" y="2834"/>
                  </a:lnTo>
                  <a:lnTo>
                    <a:pt x="2834" y="2836"/>
                  </a:lnTo>
                  <a:lnTo>
                    <a:pt x="2834" y="2836"/>
                  </a:lnTo>
                  <a:lnTo>
                    <a:pt x="2834" y="2836"/>
                  </a:lnTo>
                  <a:lnTo>
                    <a:pt x="2832" y="2836"/>
                  </a:lnTo>
                  <a:lnTo>
                    <a:pt x="2828" y="2838"/>
                  </a:lnTo>
                  <a:lnTo>
                    <a:pt x="2828" y="2838"/>
                  </a:lnTo>
                  <a:lnTo>
                    <a:pt x="2826" y="2838"/>
                  </a:lnTo>
                  <a:lnTo>
                    <a:pt x="2822" y="2840"/>
                  </a:lnTo>
                  <a:lnTo>
                    <a:pt x="2820" y="2840"/>
                  </a:lnTo>
                  <a:lnTo>
                    <a:pt x="2818" y="2842"/>
                  </a:lnTo>
                  <a:lnTo>
                    <a:pt x="2816" y="2842"/>
                  </a:lnTo>
                  <a:lnTo>
                    <a:pt x="2814" y="2842"/>
                  </a:lnTo>
                  <a:lnTo>
                    <a:pt x="2814" y="2842"/>
                  </a:lnTo>
                  <a:lnTo>
                    <a:pt x="2812" y="2842"/>
                  </a:lnTo>
                  <a:lnTo>
                    <a:pt x="2812" y="2842"/>
                  </a:lnTo>
                  <a:lnTo>
                    <a:pt x="2810" y="2840"/>
                  </a:lnTo>
                  <a:lnTo>
                    <a:pt x="2808" y="2838"/>
                  </a:lnTo>
                  <a:lnTo>
                    <a:pt x="2806" y="2836"/>
                  </a:lnTo>
                  <a:lnTo>
                    <a:pt x="2804" y="2834"/>
                  </a:lnTo>
                  <a:lnTo>
                    <a:pt x="2804" y="2834"/>
                  </a:lnTo>
                  <a:lnTo>
                    <a:pt x="2804" y="2834"/>
                  </a:lnTo>
                  <a:lnTo>
                    <a:pt x="2800" y="2832"/>
                  </a:lnTo>
                  <a:lnTo>
                    <a:pt x="2800" y="2832"/>
                  </a:lnTo>
                  <a:lnTo>
                    <a:pt x="2800" y="2832"/>
                  </a:lnTo>
                  <a:lnTo>
                    <a:pt x="2798" y="2832"/>
                  </a:lnTo>
                  <a:lnTo>
                    <a:pt x="2798" y="2832"/>
                  </a:lnTo>
                  <a:lnTo>
                    <a:pt x="2798" y="2832"/>
                  </a:lnTo>
                  <a:lnTo>
                    <a:pt x="2798" y="2832"/>
                  </a:lnTo>
                  <a:lnTo>
                    <a:pt x="2796" y="2832"/>
                  </a:lnTo>
                  <a:lnTo>
                    <a:pt x="2794" y="2834"/>
                  </a:lnTo>
                  <a:lnTo>
                    <a:pt x="2796" y="2838"/>
                  </a:lnTo>
                  <a:lnTo>
                    <a:pt x="2796" y="2840"/>
                  </a:lnTo>
                  <a:lnTo>
                    <a:pt x="2796" y="2844"/>
                  </a:lnTo>
                  <a:lnTo>
                    <a:pt x="2796" y="2846"/>
                  </a:lnTo>
                  <a:lnTo>
                    <a:pt x="2794" y="2848"/>
                  </a:lnTo>
                  <a:lnTo>
                    <a:pt x="2794" y="2850"/>
                  </a:lnTo>
                  <a:lnTo>
                    <a:pt x="2792" y="2850"/>
                  </a:lnTo>
                  <a:lnTo>
                    <a:pt x="2788" y="2852"/>
                  </a:lnTo>
                  <a:lnTo>
                    <a:pt x="2784" y="2852"/>
                  </a:lnTo>
                  <a:lnTo>
                    <a:pt x="2784" y="2852"/>
                  </a:lnTo>
                  <a:lnTo>
                    <a:pt x="2784" y="2854"/>
                  </a:lnTo>
                  <a:lnTo>
                    <a:pt x="2782" y="2854"/>
                  </a:lnTo>
                  <a:lnTo>
                    <a:pt x="2782" y="2854"/>
                  </a:lnTo>
                  <a:lnTo>
                    <a:pt x="2780" y="2854"/>
                  </a:lnTo>
                  <a:lnTo>
                    <a:pt x="2780" y="2854"/>
                  </a:lnTo>
                  <a:lnTo>
                    <a:pt x="2778" y="2854"/>
                  </a:lnTo>
                  <a:lnTo>
                    <a:pt x="2778" y="2854"/>
                  </a:lnTo>
                  <a:lnTo>
                    <a:pt x="2776" y="2854"/>
                  </a:lnTo>
                  <a:lnTo>
                    <a:pt x="2774" y="2854"/>
                  </a:lnTo>
                  <a:lnTo>
                    <a:pt x="2774" y="2854"/>
                  </a:lnTo>
                  <a:lnTo>
                    <a:pt x="2772" y="2854"/>
                  </a:lnTo>
                  <a:lnTo>
                    <a:pt x="2772" y="2854"/>
                  </a:lnTo>
                  <a:lnTo>
                    <a:pt x="2772" y="2854"/>
                  </a:lnTo>
                  <a:lnTo>
                    <a:pt x="2768" y="2856"/>
                  </a:lnTo>
                  <a:lnTo>
                    <a:pt x="2766" y="2856"/>
                  </a:lnTo>
                  <a:lnTo>
                    <a:pt x="2764" y="2858"/>
                  </a:lnTo>
                  <a:lnTo>
                    <a:pt x="2758" y="2860"/>
                  </a:lnTo>
                  <a:lnTo>
                    <a:pt x="2752" y="2864"/>
                  </a:lnTo>
                  <a:lnTo>
                    <a:pt x="2752" y="2864"/>
                  </a:lnTo>
                  <a:lnTo>
                    <a:pt x="2754" y="2862"/>
                  </a:lnTo>
                  <a:lnTo>
                    <a:pt x="2760" y="2856"/>
                  </a:lnTo>
                  <a:lnTo>
                    <a:pt x="2766" y="2850"/>
                  </a:lnTo>
                  <a:lnTo>
                    <a:pt x="2772" y="2844"/>
                  </a:lnTo>
                  <a:lnTo>
                    <a:pt x="2774" y="2842"/>
                  </a:lnTo>
                  <a:lnTo>
                    <a:pt x="2774" y="2840"/>
                  </a:lnTo>
                  <a:lnTo>
                    <a:pt x="2774" y="2840"/>
                  </a:lnTo>
                  <a:lnTo>
                    <a:pt x="2776" y="2840"/>
                  </a:lnTo>
                  <a:lnTo>
                    <a:pt x="2776" y="2836"/>
                  </a:lnTo>
                  <a:lnTo>
                    <a:pt x="2778" y="2832"/>
                  </a:lnTo>
                  <a:lnTo>
                    <a:pt x="2780" y="2828"/>
                  </a:lnTo>
                  <a:lnTo>
                    <a:pt x="2782" y="2824"/>
                  </a:lnTo>
                  <a:lnTo>
                    <a:pt x="2784" y="2820"/>
                  </a:lnTo>
                  <a:lnTo>
                    <a:pt x="2786" y="2814"/>
                  </a:lnTo>
                  <a:lnTo>
                    <a:pt x="2786" y="2814"/>
                  </a:lnTo>
                  <a:lnTo>
                    <a:pt x="2786" y="2814"/>
                  </a:lnTo>
                  <a:lnTo>
                    <a:pt x="2786" y="2810"/>
                  </a:lnTo>
                  <a:lnTo>
                    <a:pt x="2786" y="2810"/>
                  </a:lnTo>
                  <a:lnTo>
                    <a:pt x="2786" y="2810"/>
                  </a:lnTo>
                  <a:lnTo>
                    <a:pt x="2786" y="2810"/>
                  </a:lnTo>
                  <a:lnTo>
                    <a:pt x="2788" y="2808"/>
                  </a:lnTo>
                  <a:lnTo>
                    <a:pt x="2792" y="2806"/>
                  </a:lnTo>
                  <a:lnTo>
                    <a:pt x="2796" y="2804"/>
                  </a:lnTo>
                  <a:lnTo>
                    <a:pt x="2800" y="2802"/>
                  </a:lnTo>
                  <a:lnTo>
                    <a:pt x="2808" y="2800"/>
                  </a:lnTo>
                  <a:lnTo>
                    <a:pt x="2810" y="2798"/>
                  </a:lnTo>
                  <a:lnTo>
                    <a:pt x="2816" y="2798"/>
                  </a:lnTo>
                  <a:lnTo>
                    <a:pt x="2816" y="2798"/>
                  </a:lnTo>
                  <a:lnTo>
                    <a:pt x="2816" y="2798"/>
                  </a:lnTo>
                  <a:lnTo>
                    <a:pt x="2818" y="2796"/>
                  </a:lnTo>
                  <a:lnTo>
                    <a:pt x="2820" y="2796"/>
                  </a:lnTo>
                  <a:lnTo>
                    <a:pt x="2826" y="2794"/>
                  </a:lnTo>
                  <a:lnTo>
                    <a:pt x="2832" y="2794"/>
                  </a:lnTo>
                  <a:lnTo>
                    <a:pt x="2838" y="2794"/>
                  </a:lnTo>
                  <a:lnTo>
                    <a:pt x="2842" y="2794"/>
                  </a:lnTo>
                  <a:lnTo>
                    <a:pt x="2842" y="2794"/>
                  </a:lnTo>
                  <a:lnTo>
                    <a:pt x="2842" y="2794"/>
                  </a:lnTo>
                  <a:lnTo>
                    <a:pt x="2848" y="2792"/>
                  </a:lnTo>
                  <a:lnTo>
                    <a:pt x="2848" y="2792"/>
                  </a:lnTo>
                  <a:lnTo>
                    <a:pt x="2848" y="2792"/>
                  </a:lnTo>
                  <a:lnTo>
                    <a:pt x="2850" y="2792"/>
                  </a:lnTo>
                  <a:lnTo>
                    <a:pt x="2850" y="2792"/>
                  </a:lnTo>
                  <a:lnTo>
                    <a:pt x="2850" y="2792"/>
                  </a:lnTo>
                  <a:lnTo>
                    <a:pt x="2852" y="2790"/>
                  </a:lnTo>
                  <a:lnTo>
                    <a:pt x="2852" y="2790"/>
                  </a:lnTo>
                  <a:lnTo>
                    <a:pt x="2852" y="2790"/>
                  </a:lnTo>
                  <a:lnTo>
                    <a:pt x="2854" y="2788"/>
                  </a:lnTo>
                  <a:lnTo>
                    <a:pt x="2854" y="2788"/>
                  </a:lnTo>
                  <a:lnTo>
                    <a:pt x="2854" y="2786"/>
                  </a:lnTo>
                  <a:lnTo>
                    <a:pt x="2856" y="2784"/>
                  </a:lnTo>
                  <a:lnTo>
                    <a:pt x="2856" y="2784"/>
                  </a:lnTo>
                  <a:lnTo>
                    <a:pt x="2856" y="2780"/>
                  </a:lnTo>
                  <a:lnTo>
                    <a:pt x="2854" y="2780"/>
                  </a:lnTo>
                  <a:lnTo>
                    <a:pt x="2854" y="2780"/>
                  </a:lnTo>
                  <a:lnTo>
                    <a:pt x="2854" y="2778"/>
                  </a:lnTo>
                  <a:lnTo>
                    <a:pt x="2852" y="2778"/>
                  </a:lnTo>
                  <a:lnTo>
                    <a:pt x="2852" y="2778"/>
                  </a:lnTo>
                  <a:lnTo>
                    <a:pt x="2850" y="2776"/>
                  </a:lnTo>
                  <a:lnTo>
                    <a:pt x="2848" y="2776"/>
                  </a:lnTo>
                  <a:lnTo>
                    <a:pt x="2844" y="2774"/>
                  </a:lnTo>
                  <a:lnTo>
                    <a:pt x="2840" y="2774"/>
                  </a:lnTo>
                  <a:lnTo>
                    <a:pt x="2834" y="2772"/>
                  </a:lnTo>
                  <a:lnTo>
                    <a:pt x="2828" y="2770"/>
                  </a:lnTo>
                  <a:lnTo>
                    <a:pt x="2822" y="2768"/>
                  </a:lnTo>
                  <a:lnTo>
                    <a:pt x="2818" y="2766"/>
                  </a:lnTo>
                  <a:lnTo>
                    <a:pt x="2812" y="2762"/>
                  </a:lnTo>
                  <a:lnTo>
                    <a:pt x="2808" y="2760"/>
                  </a:lnTo>
                  <a:lnTo>
                    <a:pt x="2806" y="2760"/>
                  </a:lnTo>
                  <a:lnTo>
                    <a:pt x="2804" y="2758"/>
                  </a:lnTo>
                  <a:lnTo>
                    <a:pt x="2802" y="2758"/>
                  </a:lnTo>
                  <a:lnTo>
                    <a:pt x="2802" y="2756"/>
                  </a:lnTo>
                  <a:lnTo>
                    <a:pt x="2802" y="2756"/>
                  </a:lnTo>
                  <a:lnTo>
                    <a:pt x="2802" y="2756"/>
                  </a:lnTo>
                  <a:lnTo>
                    <a:pt x="2802" y="2754"/>
                  </a:lnTo>
                  <a:lnTo>
                    <a:pt x="2802" y="2754"/>
                  </a:lnTo>
                  <a:lnTo>
                    <a:pt x="2800" y="2752"/>
                  </a:lnTo>
                  <a:lnTo>
                    <a:pt x="2800" y="2752"/>
                  </a:lnTo>
                  <a:lnTo>
                    <a:pt x="2800" y="2752"/>
                  </a:lnTo>
                  <a:lnTo>
                    <a:pt x="2800" y="2750"/>
                  </a:lnTo>
                  <a:lnTo>
                    <a:pt x="2800" y="2750"/>
                  </a:lnTo>
                  <a:lnTo>
                    <a:pt x="2800" y="2750"/>
                  </a:lnTo>
                  <a:lnTo>
                    <a:pt x="2798" y="2746"/>
                  </a:lnTo>
                  <a:lnTo>
                    <a:pt x="2798" y="2748"/>
                  </a:lnTo>
                  <a:lnTo>
                    <a:pt x="2796" y="2744"/>
                  </a:lnTo>
                  <a:lnTo>
                    <a:pt x="2794" y="2738"/>
                  </a:lnTo>
                  <a:lnTo>
                    <a:pt x="2792" y="2734"/>
                  </a:lnTo>
                  <a:lnTo>
                    <a:pt x="2792" y="2734"/>
                  </a:lnTo>
                  <a:lnTo>
                    <a:pt x="2792" y="2732"/>
                  </a:lnTo>
                  <a:lnTo>
                    <a:pt x="2790" y="2728"/>
                  </a:lnTo>
                  <a:lnTo>
                    <a:pt x="2790" y="2722"/>
                  </a:lnTo>
                  <a:lnTo>
                    <a:pt x="2788" y="2716"/>
                  </a:lnTo>
                  <a:lnTo>
                    <a:pt x="2788" y="2710"/>
                  </a:lnTo>
                  <a:lnTo>
                    <a:pt x="2788" y="2710"/>
                  </a:lnTo>
                  <a:lnTo>
                    <a:pt x="2786" y="2708"/>
                  </a:lnTo>
                  <a:lnTo>
                    <a:pt x="2786" y="2706"/>
                  </a:lnTo>
                  <a:lnTo>
                    <a:pt x="2786" y="2706"/>
                  </a:lnTo>
                  <a:lnTo>
                    <a:pt x="2786" y="2706"/>
                  </a:lnTo>
                  <a:lnTo>
                    <a:pt x="2784" y="2704"/>
                  </a:lnTo>
                  <a:lnTo>
                    <a:pt x="2784" y="2704"/>
                  </a:lnTo>
                  <a:lnTo>
                    <a:pt x="2784" y="2704"/>
                  </a:lnTo>
                  <a:lnTo>
                    <a:pt x="2782" y="2702"/>
                  </a:lnTo>
                  <a:lnTo>
                    <a:pt x="2782" y="2702"/>
                  </a:lnTo>
                  <a:lnTo>
                    <a:pt x="2782" y="2702"/>
                  </a:lnTo>
                  <a:lnTo>
                    <a:pt x="2780" y="2700"/>
                  </a:lnTo>
                  <a:lnTo>
                    <a:pt x="2780" y="2700"/>
                  </a:lnTo>
                  <a:lnTo>
                    <a:pt x="2780" y="2700"/>
                  </a:lnTo>
                  <a:lnTo>
                    <a:pt x="2776" y="2700"/>
                  </a:lnTo>
                  <a:lnTo>
                    <a:pt x="2776" y="2700"/>
                  </a:lnTo>
                  <a:lnTo>
                    <a:pt x="2772" y="2698"/>
                  </a:lnTo>
                  <a:lnTo>
                    <a:pt x="2768" y="2700"/>
                  </a:lnTo>
                  <a:lnTo>
                    <a:pt x="2768" y="2700"/>
                  </a:lnTo>
                  <a:lnTo>
                    <a:pt x="2768" y="2698"/>
                  </a:lnTo>
                  <a:lnTo>
                    <a:pt x="2768" y="2692"/>
                  </a:lnTo>
                  <a:lnTo>
                    <a:pt x="2770" y="2688"/>
                  </a:lnTo>
                  <a:lnTo>
                    <a:pt x="2772" y="2682"/>
                  </a:lnTo>
                  <a:lnTo>
                    <a:pt x="2774" y="2674"/>
                  </a:lnTo>
                  <a:lnTo>
                    <a:pt x="2776" y="2666"/>
                  </a:lnTo>
                  <a:lnTo>
                    <a:pt x="2778" y="2658"/>
                  </a:lnTo>
                  <a:lnTo>
                    <a:pt x="2778" y="2650"/>
                  </a:lnTo>
                  <a:lnTo>
                    <a:pt x="2778" y="2644"/>
                  </a:lnTo>
                  <a:lnTo>
                    <a:pt x="2778" y="2638"/>
                  </a:lnTo>
                  <a:lnTo>
                    <a:pt x="2776" y="2634"/>
                  </a:lnTo>
                  <a:lnTo>
                    <a:pt x="2776" y="2632"/>
                  </a:lnTo>
                  <a:lnTo>
                    <a:pt x="2786" y="2632"/>
                  </a:lnTo>
                  <a:lnTo>
                    <a:pt x="2786" y="2632"/>
                  </a:lnTo>
                  <a:lnTo>
                    <a:pt x="2790" y="2630"/>
                  </a:lnTo>
                  <a:lnTo>
                    <a:pt x="2790" y="2630"/>
                  </a:lnTo>
                  <a:lnTo>
                    <a:pt x="2790" y="2628"/>
                  </a:lnTo>
                  <a:lnTo>
                    <a:pt x="2790" y="2624"/>
                  </a:lnTo>
                  <a:lnTo>
                    <a:pt x="2790" y="2618"/>
                  </a:lnTo>
                  <a:lnTo>
                    <a:pt x="2788" y="2610"/>
                  </a:lnTo>
                  <a:lnTo>
                    <a:pt x="2788" y="2606"/>
                  </a:lnTo>
                  <a:lnTo>
                    <a:pt x="2788" y="2606"/>
                  </a:lnTo>
                  <a:lnTo>
                    <a:pt x="2788" y="2606"/>
                  </a:lnTo>
                  <a:lnTo>
                    <a:pt x="2788" y="2592"/>
                  </a:lnTo>
                  <a:lnTo>
                    <a:pt x="2786" y="2580"/>
                  </a:lnTo>
                  <a:lnTo>
                    <a:pt x="2786" y="2566"/>
                  </a:lnTo>
                  <a:lnTo>
                    <a:pt x="2788" y="2554"/>
                  </a:lnTo>
                  <a:lnTo>
                    <a:pt x="2788" y="2550"/>
                  </a:lnTo>
                  <a:lnTo>
                    <a:pt x="2790" y="2544"/>
                  </a:lnTo>
                  <a:lnTo>
                    <a:pt x="2792" y="2540"/>
                  </a:lnTo>
                  <a:lnTo>
                    <a:pt x="2792" y="2540"/>
                  </a:lnTo>
                  <a:lnTo>
                    <a:pt x="2794" y="2536"/>
                  </a:lnTo>
                  <a:lnTo>
                    <a:pt x="2794" y="2536"/>
                  </a:lnTo>
                  <a:lnTo>
                    <a:pt x="2796" y="2534"/>
                  </a:lnTo>
                  <a:lnTo>
                    <a:pt x="2796" y="2534"/>
                  </a:lnTo>
                  <a:lnTo>
                    <a:pt x="2800" y="2532"/>
                  </a:lnTo>
                  <a:lnTo>
                    <a:pt x="2802" y="2530"/>
                  </a:lnTo>
                  <a:lnTo>
                    <a:pt x="2808" y="2530"/>
                  </a:lnTo>
                  <a:lnTo>
                    <a:pt x="2808" y="2530"/>
                  </a:lnTo>
                  <a:lnTo>
                    <a:pt x="2808" y="2528"/>
                  </a:lnTo>
                  <a:lnTo>
                    <a:pt x="2810" y="2526"/>
                  </a:lnTo>
                  <a:lnTo>
                    <a:pt x="2810" y="2488"/>
                  </a:lnTo>
                  <a:lnTo>
                    <a:pt x="2810" y="2488"/>
                  </a:lnTo>
                  <a:lnTo>
                    <a:pt x="2810" y="2488"/>
                  </a:lnTo>
                  <a:lnTo>
                    <a:pt x="2810" y="2488"/>
                  </a:lnTo>
                  <a:lnTo>
                    <a:pt x="2810" y="2488"/>
                  </a:lnTo>
                  <a:lnTo>
                    <a:pt x="2808" y="2480"/>
                  </a:lnTo>
                  <a:lnTo>
                    <a:pt x="2806" y="2472"/>
                  </a:lnTo>
                  <a:lnTo>
                    <a:pt x="2804" y="2464"/>
                  </a:lnTo>
                  <a:lnTo>
                    <a:pt x="2802" y="2458"/>
                  </a:lnTo>
                  <a:lnTo>
                    <a:pt x="2804" y="2458"/>
                  </a:lnTo>
                  <a:lnTo>
                    <a:pt x="2804" y="2458"/>
                  </a:lnTo>
                  <a:lnTo>
                    <a:pt x="2804" y="2458"/>
                  </a:lnTo>
                  <a:lnTo>
                    <a:pt x="2810" y="2456"/>
                  </a:lnTo>
                  <a:lnTo>
                    <a:pt x="2810" y="2456"/>
                  </a:lnTo>
                  <a:lnTo>
                    <a:pt x="2810" y="2456"/>
                  </a:lnTo>
                  <a:lnTo>
                    <a:pt x="2814" y="2452"/>
                  </a:lnTo>
                  <a:lnTo>
                    <a:pt x="2814" y="2452"/>
                  </a:lnTo>
                  <a:lnTo>
                    <a:pt x="2816" y="2452"/>
                  </a:lnTo>
                  <a:lnTo>
                    <a:pt x="2818" y="2448"/>
                  </a:lnTo>
                  <a:lnTo>
                    <a:pt x="2818" y="2448"/>
                  </a:lnTo>
                  <a:lnTo>
                    <a:pt x="2820" y="2448"/>
                  </a:lnTo>
                  <a:lnTo>
                    <a:pt x="2822" y="2444"/>
                  </a:lnTo>
                  <a:lnTo>
                    <a:pt x="2826" y="2438"/>
                  </a:lnTo>
                  <a:lnTo>
                    <a:pt x="2828" y="2434"/>
                  </a:lnTo>
                  <a:lnTo>
                    <a:pt x="2832" y="2428"/>
                  </a:lnTo>
                  <a:lnTo>
                    <a:pt x="2836" y="2416"/>
                  </a:lnTo>
                  <a:lnTo>
                    <a:pt x="2840" y="2404"/>
                  </a:lnTo>
                  <a:lnTo>
                    <a:pt x="2842" y="2398"/>
                  </a:lnTo>
                  <a:lnTo>
                    <a:pt x="2844" y="2392"/>
                  </a:lnTo>
                  <a:lnTo>
                    <a:pt x="2846" y="2388"/>
                  </a:lnTo>
                  <a:lnTo>
                    <a:pt x="2848" y="2384"/>
                  </a:lnTo>
                  <a:lnTo>
                    <a:pt x="2852" y="2386"/>
                  </a:lnTo>
                  <a:lnTo>
                    <a:pt x="2856" y="2386"/>
                  </a:lnTo>
                  <a:lnTo>
                    <a:pt x="2862" y="2386"/>
                  </a:lnTo>
                  <a:lnTo>
                    <a:pt x="2864" y="2388"/>
                  </a:lnTo>
                  <a:lnTo>
                    <a:pt x="2868" y="2388"/>
                  </a:lnTo>
                  <a:lnTo>
                    <a:pt x="2868" y="2388"/>
                  </a:lnTo>
                  <a:lnTo>
                    <a:pt x="2872" y="2388"/>
                  </a:lnTo>
                  <a:lnTo>
                    <a:pt x="2874" y="2390"/>
                  </a:lnTo>
                  <a:lnTo>
                    <a:pt x="2876" y="2392"/>
                  </a:lnTo>
                  <a:lnTo>
                    <a:pt x="2876" y="2392"/>
                  </a:lnTo>
                  <a:lnTo>
                    <a:pt x="2880" y="2392"/>
                  </a:lnTo>
                  <a:lnTo>
                    <a:pt x="2880" y="2392"/>
                  </a:lnTo>
                  <a:lnTo>
                    <a:pt x="2882" y="2392"/>
                  </a:lnTo>
                  <a:lnTo>
                    <a:pt x="2884" y="2388"/>
                  </a:lnTo>
                  <a:lnTo>
                    <a:pt x="2882" y="2390"/>
                  </a:lnTo>
                  <a:lnTo>
                    <a:pt x="2886" y="2386"/>
                  </a:lnTo>
                  <a:lnTo>
                    <a:pt x="2888" y="2384"/>
                  </a:lnTo>
                  <a:lnTo>
                    <a:pt x="2892" y="2382"/>
                  </a:lnTo>
                  <a:lnTo>
                    <a:pt x="2896" y="2378"/>
                  </a:lnTo>
                  <a:lnTo>
                    <a:pt x="2898" y="2374"/>
                  </a:lnTo>
                  <a:lnTo>
                    <a:pt x="2898" y="2378"/>
                  </a:lnTo>
                  <a:lnTo>
                    <a:pt x="2900" y="2384"/>
                  </a:lnTo>
                  <a:lnTo>
                    <a:pt x="2904" y="2390"/>
                  </a:lnTo>
                  <a:lnTo>
                    <a:pt x="2908" y="2394"/>
                  </a:lnTo>
                  <a:lnTo>
                    <a:pt x="2908" y="2394"/>
                  </a:lnTo>
                  <a:lnTo>
                    <a:pt x="2908" y="2394"/>
                  </a:lnTo>
                  <a:lnTo>
                    <a:pt x="2912" y="2398"/>
                  </a:lnTo>
                  <a:lnTo>
                    <a:pt x="2912" y="2398"/>
                  </a:lnTo>
                  <a:lnTo>
                    <a:pt x="2912" y="2398"/>
                  </a:lnTo>
                  <a:lnTo>
                    <a:pt x="2916" y="2402"/>
                  </a:lnTo>
                  <a:lnTo>
                    <a:pt x="2916" y="2402"/>
                  </a:lnTo>
                  <a:lnTo>
                    <a:pt x="2916" y="2402"/>
                  </a:lnTo>
                  <a:lnTo>
                    <a:pt x="2922" y="2406"/>
                  </a:lnTo>
                  <a:lnTo>
                    <a:pt x="2922" y="2406"/>
                  </a:lnTo>
                  <a:lnTo>
                    <a:pt x="2926" y="2406"/>
                  </a:lnTo>
                  <a:lnTo>
                    <a:pt x="2930" y="2400"/>
                  </a:lnTo>
                  <a:lnTo>
                    <a:pt x="2934" y="2398"/>
                  </a:lnTo>
                  <a:lnTo>
                    <a:pt x="2938" y="2394"/>
                  </a:lnTo>
                  <a:lnTo>
                    <a:pt x="2942" y="2392"/>
                  </a:lnTo>
                  <a:lnTo>
                    <a:pt x="2944" y="2390"/>
                  </a:lnTo>
                  <a:lnTo>
                    <a:pt x="2946" y="2386"/>
                  </a:lnTo>
                  <a:lnTo>
                    <a:pt x="2950" y="2382"/>
                  </a:lnTo>
                  <a:lnTo>
                    <a:pt x="2950" y="2382"/>
                  </a:lnTo>
                  <a:lnTo>
                    <a:pt x="2950" y="2382"/>
                  </a:lnTo>
                  <a:lnTo>
                    <a:pt x="2954" y="2382"/>
                  </a:lnTo>
                  <a:lnTo>
                    <a:pt x="2958" y="2384"/>
                  </a:lnTo>
                  <a:lnTo>
                    <a:pt x="2958" y="2384"/>
                  </a:lnTo>
                  <a:lnTo>
                    <a:pt x="2958" y="2384"/>
                  </a:lnTo>
                  <a:lnTo>
                    <a:pt x="2960" y="2384"/>
                  </a:lnTo>
                  <a:lnTo>
                    <a:pt x="2964" y="2388"/>
                  </a:lnTo>
                  <a:lnTo>
                    <a:pt x="2964" y="2388"/>
                  </a:lnTo>
                  <a:lnTo>
                    <a:pt x="2964" y="2388"/>
                  </a:lnTo>
                  <a:lnTo>
                    <a:pt x="2964" y="2388"/>
                  </a:lnTo>
                  <a:lnTo>
                    <a:pt x="2964" y="2388"/>
                  </a:lnTo>
                  <a:lnTo>
                    <a:pt x="2968" y="2390"/>
                  </a:lnTo>
                  <a:lnTo>
                    <a:pt x="2972" y="2392"/>
                  </a:lnTo>
                  <a:lnTo>
                    <a:pt x="2976" y="2396"/>
                  </a:lnTo>
                  <a:lnTo>
                    <a:pt x="2978" y="2398"/>
                  </a:lnTo>
                  <a:lnTo>
                    <a:pt x="2980" y="2400"/>
                  </a:lnTo>
                  <a:lnTo>
                    <a:pt x="2980" y="2402"/>
                  </a:lnTo>
                  <a:lnTo>
                    <a:pt x="2980" y="2402"/>
                  </a:lnTo>
                  <a:lnTo>
                    <a:pt x="2980" y="2404"/>
                  </a:lnTo>
                  <a:lnTo>
                    <a:pt x="2976" y="2404"/>
                  </a:lnTo>
                  <a:lnTo>
                    <a:pt x="2976" y="2404"/>
                  </a:lnTo>
                  <a:lnTo>
                    <a:pt x="2974" y="2406"/>
                  </a:lnTo>
                  <a:lnTo>
                    <a:pt x="2974" y="2406"/>
                  </a:lnTo>
                  <a:lnTo>
                    <a:pt x="2974" y="2406"/>
                  </a:lnTo>
                  <a:lnTo>
                    <a:pt x="2972" y="2406"/>
                  </a:lnTo>
                  <a:lnTo>
                    <a:pt x="2972" y="2406"/>
                  </a:lnTo>
                  <a:lnTo>
                    <a:pt x="2972" y="2406"/>
                  </a:lnTo>
                  <a:lnTo>
                    <a:pt x="2968" y="2410"/>
                  </a:lnTo>
                  <a:lnTo>
                    <a:pt x="2968" y="2410"/>
                  </a:lnTo>
                  <a:lnTo>
                    <a:pt x="2968" y="2410"/>
                  </a:lnTo>
                  <a:lnTo>
                    <a:pt x="2962" y="2414"/>
                  </a:lnTo>
                  <a:lnTo>
                    <a:pt x="2962" y="2414"/>
                  </a:lnTo>
                  <a:lnTo>
                    <a:pt x="2960" y="2414"/>
                  </a:lnTo>
                  <a:lnTo>
                    <a:pt x="2956" y="2418"/>
                  </a:lnTo>
                  <a:lnTo>
                    <a:pt x="2952" y="2420"/>
                  </a:lnTo>
                  <a:lnTo>
                    <a:pt x="2948" y="2424"/>
                  </a:lnTo>
                  <a:lnTo>
                    <a:pt x="2944" y="2428"/>
                  </a:lnTo>
                  <a:lnTo>
                    <a:pt x="2944" y="2428"/>
                  </a:lnTo>
                  <a:lnTo>
                    <a:pt x="2944" y="2428"/>
                  </a:lnTo>
                  <a:lnTo>
                    <a:pt x="2942" y="2430"/>
                  </a:lnTo>
                  <a:lnTo>
                    <a:pt x="2942" y="2432"/>
                  </a:lnTo>
                  <a:lnTo>
                    <a:pt x="2942" y="2432"/>
                  </a:lnTo>
                  <a:lnTo>
                    <a:pt x="2942" y="2432"/>
                  </a:lnTo>
                  <a:lnTo>
                    <a:pt x="2940" y="2434"/>
                  </a:lnTo>
                  <a:lnTo>
                    <a:pt x="2938" y="2438"/>
                  </a:lnTo>
                  <a:lnTo>
                    <a:pt x="2938" y="2440"/>
                  </a:lnTo>
                  <a:lnTo>
                    <a:pt x="2938" y="2442"/>
                  </a:lnTo>
                  <a:lnTo>
                    <a:pt x="2938" y="2442"/>
                  </a:lnTo>
                  <a:lnTo>
                    <a:pt x="2936" y="2442"/>
                  </a:lnTo>
                  <a:lnTo>
                    <a:pt x="2936" y="2444"/>
                  </a:lnTo>
                  <a:lnTo>
                    <a:pt x="2936" y="2444"/>
                  </a:lnTo>
                  <a:lnTo>
                    <a:pt x="2938" y="2446"/>
                  </a:lnTo>
                  <a:lnTo>
                    <a:pt x="2938" y="2446"/>
                  </a:lnTo>
                  <a:lnTo>
                    <a:pt x="2938" y="2446"/>
                  </a:lnTo>
                  <a:lnTo>
                    <a:pt x="2940" y="2448"/>
                  </a:lnTo>
                  <a:lnTo>
                    <a:pt x="2940" y="2448"/>
                  </a:lnTo>
                  <a:lnTo>
                    <a:pt x="2940" y="2450"/>
                  </a:lnTo>
                  <a:lnTo>
                    <a:pt x="2940" y="2450"/>
                  </a:lnTo>
                  <a:lnTo>
                    <a:pt x="2942" y="2450"/>
                  </a:lnTo>
                  <a:lnTo>
                    <a:pt x="2944" y="2450"/>
                  </a:lnTo>
                  <a:lnTo>
                    <a:pt x="2944" y="2450"/>
                  </a:lnTo>
                  <a:lnTo>
                    <a:pt x="2946" y="2450"/>
                  </a:lnTo>
                  <a:lnTo>
                    <a:pt x="2946" y="2450"/>
                  </a:lnTo>
                  <a:lnTo>
                    <a:pt x="2946" y="2450"/>
                  </a:lnTo>
                  <a:lnTo>
                    <a:pt x="2948" y="2450"/>
                  </a:lnTo>
                  <a:lnTo>
                    <a:pt x="2950" y="2448"/>
                  </a:lnTo>
                  <a:lnTo>
                    <a:pt x="2954" y="2446"/>
                  </a:lnTo>
                  <a:lnTo>
                    <a:pt x="2956" y="2444"/>
                  </a:lnTo>
                  <a:lnTo>
                    <a:pt x="2956" y="2444"/>
                  </a:lnTo>
                  <a:lnTo>
                    <a:pt x="2958" y="2444"/>
                  </a:lnTo>
                  <a:lnTo>
                    <a:pt x="2958" y="2442"/>
                  </a:lnTo>
                  <a:lnTo>
                    <a:pt x="2962" y="2440"/>
                  </a:lnTo>
                  <a:lnTo>
                    <a:pt x="2964" y="2438"/>
                  </a:lnTo>
                  <a:lnTo>
                    <a:pt x="2966" y="2438"/>
                  </a:lnTo>
                  <a:lnTo>
                    <a:pt x="2966" y="2438"/>
                  </a:lnTo>
                  <a:lnTo>
                    <a:pt x="2966" y="2438"/>
                  </a:lnTo>
                  <a:lnTo>
                    <a:pt x="2966" y="2438"/>
                  </a:lnTo>
                  <a:lnTo>
                    <a:pt x="2966" y="2436"/>
                  </a:lnTo>
                  <a:lnTo>
                    <a:pt x="2968" y="2436"/>
                  </a:lnTo>
                  <a:lnTo>
                    <a:pt x="2968" y="2436"/>
                  </a:lnTo>
                  <a:lnTo>
                    <a:pt x="2968" y="2436"/>
                  </a:lnTo>
                  <a:lnTo>
                    <a:pt x="2968" y="2440"/>
                  </a:lnTo>
                  <a:lnTo>
                    <a:pt x="2964" y="2444"/>
                  </a:lnTo>
                  <a:lnTo>
                    <a:pt x="2962" y="2448"/>
                  </a:lnTo>
                  <a:lnTo>
                    <a:pt x="2962" y="2448"/>
                  </a:lnTo>
                  <a:lnTo>
                    <a:pt x="2962" y="2452"/>
                  </a:lnTo>
                  <a:lnTo>
                    <a:pt x="2962" y="2452"/>
                  </a:lnTo>
                  <a:lnTo>
                    <a:pt x="2964" y="2452"/>
                  </a:lnTo>
                  <a:lnTo>
                    <a:pt x="2966" y="2452"/>
                  </a:lnTo>
                  <a:lnTo>
                    <a:pt x="2966" y="2452"/>
                  </a:lnTo>
                  <a:lnTo>
                    <a:pt x="2966" y="2452"/>
                  </a:lnTo>
                  <a:lnTo>
                    <a:pt x="2974" y="2450"/>
                  </a:lnTo>
                  <a:lnTo>
                    <a:pt x="2982" y="2450"/>
                  </a:lnTo>
                  <a:lnTo>
                    <a:pt x="2982" y="2452"/>
                  </a:lnTo>
                  <a:lnTo>
                    <a:pt x="2982" y="2452"/>
                  </a:lnTo>
                  <a:lnTo>
                    <a:pt x="2984" y="2452"/>
                  </a:lnTo>
                  <a:lnTo>
                    <a:pt x="2986" y="2452"/>
                  </a:lnTo>
                  <a:lnTo>
                    <a:pt x="2986" y="2452"/>
                  </a:lnTo>
                  <a:lnTo>
                    <a:pt x="2986" y="2452"/>
                  </a:lnTo>
                  <a:lnTo>
                    <a:pt x="2988" y="2452"/>
                  </a:lnTo>
                  <a:lnTo>
                    <a:pt x="2990" y="2452"/>
                  </a:lnTo>
                  <a:lnTo>
                    <a:pt x="2992" y="2452"/>
                  </a:lnTo>
                  <a:lnTo>
                    <a:pt x="2992" y="2452"/>
                  </a:lnTo>
                  <a:lnTo>
                    <a:pt x="2992" y="2454"/>
                  </a:lnTo>
                  <a:lnTo>
                    <a:pt x="2992" y="2454"/>
                  </a:lnTo>
                  <a:lnTo>
                    <a:pt x="2992" y="2456"/>
                  </a:lnTo>
                  <a:lnTo>
                    <a:pt x="2992" y="2458"/>
                  </a:lnTo>
                  <a:lnTo>
                    <a:pt x="2990" y="2464"/>
                  </a:lnTo>
                  <a:lnTo>
                    <a:pt x="2990" y="2464"/>
                  </a:lnTo>
                  <a:lnTo>
                    <a:pt x="2990" y="2464"/>
                  </a:lnTo>
                  <a:lnTo>
                    <a:pt x="2990" y="2474"/>
                  </a:lnTo>
                  <a:lnTo>
                    <a:pt x="2990" y="2474"/>
                  </a:lnTo>
                  <a:lnTo>
                    <a:pt x="2992" y="2476"/>
                  </a:lnTo>
                  <a:lnTo>
                    <a:pt x="2994" y="2478"/>
                  </a:lnTo>
                  <a:lnTo>
                    <a:pt x="2994" y="2478"/>
                  </a:lnTo>
                  <a:lnTo>
                    <a:pt x="2994" y="2478"/>
                  </a:lnTo>
                  <a:lnTo>
                    <a:pt x="2996" y="2480"/>
                  </a:lnTo>
                  <a:lnTo>
                    <a:pt x="2998" y="2482"/>
                  </a:lnTo>
                  <a:lnTo>
                    <a:pt x="3000" y="2484"/>
                  </a:lnTo>
                  <a:lnTo>
                    <a:pt x="3000" y="2484"/>
                  </a:lnTo>
                  <a:lnTo>
                    <a:pt x="3000" y="2484"/>
                  </a:lnTo>
                  <a:lnTo>
                    <a:pt x="3000" y="2484"/>
                  </a:lnTo>
                  <a:lnTo>
                    <a:pt x="3000" y="2484"/>
                  </a:lnTo>
                  <a:lnTo>
                    <a:pt x="2998" y="2484"/>
                  </a:lnTo>
                  <a:lnTo>
                    <a:pt x="2996" y="2486"/>
                  </a:lnTo>
                  <a:lnTo>
                    <a:pt x="2996" y="2486"/>
                  </a:lnTo>
                  <a:lnTo>
                    <a:pt x="2996" y="2486"/>
                  </a:lnTo>
                  <a:lnTo>
                    <a:pt x="2994" y="2488"/>
                  </a:lnTo>
                  <a:lnTo>
                    <a:pt x="2996" y="2490"/>
                  </a:lnTo>
                  <a:lnTo>
                    <a:pt x="2996" y="2490"/>
                  </a:lnTo>
                  <a:lnTo>
                    <a:pt x="2996" y="2490"/>
                  </a:lnTo>
                  <a:lnTo>
                    <a:pt x="2996" y="2492"/>
                  </a:lnTo>
                  <a:lnTo>
                    <a:pt x="2996" y="2492"/>
                  </a:lnTo>
                  <a:lnTo>
                    <a:pt x="2996" y="2492"/>
                  </a:lnTo>
                  <a:lnTo>
                    <a:pt x="2998" y="2494"/>
                  </a:lnTo>
                  <a:lnTo>
                    <a:pt x="2998" y="2494"/>
                  </a:lnTo>
                  <a:lnTo>
                    <a:pt x="2998" y="2494"/>
                  </a:lnTo>
                  <a:lnTo>
                    <a:pt x="3000" y="2494"/>
                  </a:lnTo>
                  <a:lnTo>
                    <a:pt x="3000" y="2494"/>
                  </a:lnTo>
                  <a:lnTo>
                    <a:pt x="3002" y="2494"/>
                  </a:lnTo>
                  <a:lnTo>
                    <a:pt x="3004" y="2496"/>
                  </a:lnTo>
                  <a:lnTo>
                    <a:pt x="3004" y="2496"/>
                  </a:lnTo>
                  <a:lnTo>
                    <a:pt x="3004" y="2496"/>
                  </a:lnTo>
                  <a:lnTo>
                    <a:pt x="3010" y="2494"/>
                  </a:lnTo>
                  <a:lnTo>
                    <a:pt x="3016" y="2494"/>
                  </a:lnTo>
                  <a:lnTo>
                    <a:pt x="3020" y="2492"/>
                  </a:lnTo>
                  <a:lnTo>
                    <a:pt x="3026" y="2490"/>
                  </a:lnTo>
                  <a:lnTo>
                    <a:pt x="3026" y="2490"/>
                  </a:lnTo>
                  <a:lnTo>
                    <a:pt x="3026" y="2490"/>
                  </a:lnTo>
                  <a:lnTo>
                    <a:pt x="3028" y="2490"/>
                  </a:lnTo>
                  <a:lnTo>
                    <a:pt x="3028" y="2490"/>
                  </a:lnTo>
                  <a:lnTo>
                    <a:pt x="3028" y="2490"/>
                  </a:lnTo>
                  <a:lnTo>
                    <a:pt x="3030" y="2488"/>
                  </a:lnTo>
                  <a:lnTo>
                    <a:pt x="3030" y="2488"/>
                  </a:lnTo>
                  <a:lnTo>
                    <a:pt x="3030" y="2488"/>
                  </a:lnTo>
                  <a:lnTo>
                    <a:pt x="3034" y="2484"/>
                  </a:lnTo>
                  <a:lnTo>
                    <a:pt x="3036" y="2480"/>
                  </a:lnTo>
                  <a:lnTo>
                    <a:pt x="3038" y="2478"/>
                  </a:lnTo>
                  <a:lnTo>
                    <a:pt x="3038" y="2478"/>
                  </a:lnTo>
                  <a:lnTo>
                    <a:pt x="3038" y="2476"/>
                  </a:lnTo>
                  <a:lnTo>
                    <a:pt x="3038" y="2474"/>
                  </a:lnTo>
                  <a:lnTo>
                    <a:pt x="3038" y="2474"/>
                  </a:lnTo>
                  <a:lnTo>
                    <a:pt x="3040" y="2472"/>
                  </a:lnTo>
                  <a:lnTo>
                    <a:pt x="3040" y="2470"/>
                  </a:lnTo>
                  <a:lnTo>
                    <a:pt x="3040" y="2470"/>
                  </a:lnTo>
                  <a:lnTo>
                    <a:pt x="3040" y="2470"/>
                  </a:lnTo>
                  <a:lnTo>
                    <a:pt x="3040" y="2468"/>
                  </a:lnTo>
                  <a:lnTo>
                    <a:pt x="3042" y="2468"/>
                  </a:lnTo>
                  <a:lnTo>
                    <a:pt x="3042" y="2468"/>
                  </a:lnTo>
                  <a:lnTo>
                    <a:pt x="3044" y="2464"/>
                  </a:lnTo>
                  <a:lnTo>
                    <a:pt x="3046" y="2464"/>
                  </a:lnTo>
                  <a:lnTo>
                    <a:pt x="3046" y="2462"/>
                  </a:lnTo>
                  <a:lnTo>
                    <a:pt x="3050" y="2462"/>
                  </a:lnTo>
                  <a:lnTo>
                    <a:pt x="3054" y="2460"/>
                  </a:lnTo>
                  <a:lnTo>
                    <a:pt x="3056" y="2458"/>
                  </a:lnTo>
                  <a:lnTo>
                    <a:pt x="3056" y="2458"/>
                  </a:lnTo>
                  <a:lnTo>
                    <a:pt x="3058" y="2458"/>
                  </a:lnTo>
                  <a:lnTo>
                    <a:pt x="3058" y="2456"/>
                  </a:lnTo>
                  <a:lnTo>
                    <a:pt x="3058" y="2456"/>
                  </a:lnTo>
                  <a:lnTo>
                    <a:pt x="3060" y="2456"/>
                  </a:lnTo>
                  <a:lnTo>
                    <a:pt x="3060" y="2454"/>
                  </a:lnTo>
                  <a:lnTo>
                    <a:pt x="3062" y="2454"/>
                  </a:lnTo>
                  <a:lnTo>
                    <a:pt x="3062" y="2452"/>
                  </a:lnTo>
                  <a:lnTo>
                    <a:pt x="3062" y="2452"/>
                  </a:lnTo>
                  <a:lnTo>
                    <a:pt x="3062" y="2452"/>
                  </a:lnTo>
                  <a:lnTo>
                    <a:pt x="3064" y="2452"/>
                  </a:lnTo>
                  <a:lnTo>
                    <a:pt x="3064" y="2450"/>
                  </a:lnTo>
                  <a:lnTo>
                    <a:pt x="3064" y="2450"/>
                  </a:lnTo>
                  <a:lnTo>
                    <a:pt x="3066" y="2450"/>
                  </a:lnTo>
                  <a:lnTo>
                    <a:pt x="3066" y="2448"/>
                  </a:lnTo>
                  <a:lnTo>
                    <a:pt x="3066" y="2446"/>
                  </a:lnTo>
                  <a:lnTo>
                    <a:pt x="3066" y="2446"/>
                  </a:lnTo>
                  <a:lnTo>
                    <a:pt x="3068" y="2446"/>
                  </a:lnTo>
                  <a:lnTo>
                    <a:pt x="3070" y="2444"/>
                  </a:lnTo>
                  <a:lnTo>
                    <a:pt x="3070" y="2442"/>
                  </a:lnTo>
                  <a:lnTo>
                    <a:pt x="3070" y="2442"/>
                  </a:lnTo>
                  <a:lnTo>
                    <a:pt x="3070" y="2442"/>
                  </a:lnTo>
                  <a:lnTo>
                    <a:pt x="3072" y="2442"/>
                  </a:lnTo>
                  <a:lnTo>
                    <a:pt x="3072" y="2442"/>
                  </a:lnTo>
                  <a:lnTo>
                    <a:pt x="3074" y="2440"/>
                  </a:lnTo>
                  <a:lnTo>
                    <a:pt x="3076" y="2440"/>
                  </a:lnTo>
                  <a:lnTo>
                    <a:pt x="3076" y="2438"/>
                  </a:lnTo>
                  <a:lnTo>
                    <a:pt x="3076" y="2438"/>
                  </a:lnTo>
                  <a:lnTo>
                    <a:pt x="3076" y="2438"/>
                  </a:lnTo>
                  <a:lnTo>
                    <a:pt x="3076" y="2438"/>
                  </a:lnTo>
                  <a:lnTo>
                    <a:pt x="3078" y="2438"/>
                  </a:lnTo>
                  <a:lnTo>
                    <a:pt x="3080" y="2436"/>
                  </a:lnTo>
                  <a:lnTo>
                    <a:pt x="3082" y="2436"/>
                  </a:lnTo>
                  <a:lnTo>
                    <a:pt x="3082" y="2436"/>
                  </a:lnTo>
                  <a:lnTo>
                    <a:pt x="3082" y="2436"/>
                  </a:lnTo>
                  <a:lnTo>
                    <a:pt x="3084" y="2434"/>
                  </a:lnTo>
                  <a:lnTo>
                    <a:pt x="3084" y="2434"/>
                  </a:lnTo>
                  <a:lnTo>
                    <a:pt x="3084" y="2432"/>
                  </a:lnTo>
                  <a:lnTo>
                    <a:pt x="3086" y="2432"/>
                  </a:lnTo>
                  <a:lnTo>
                    <a:pt x="3086" y="2432"/>
                  </a:lnTo>
                  <a:lnTo>
                    <a:pt x="3084" y="2428"/>
                  </a:lnTo>
                  <a:lnTo>
                    <a:pt x="3084" y="2428"/>
                  </a:lnTo>
                  <a:lnTo>
                    <a:pt x="3082" y="2426"/>
                  </a:lnTo>
                  <a:lnTo>
                    <a:pt x="3082" y="2426"/>
                  </a:lnTo>
                  <a:lnTo>
                    <a:pt x="3082" y="2424"/>
                  </a:lnTo>
                  <a:lnTo>
                    <a:pt x="3084" y="2424"/>
                  </a:lnTo>
                  <a:lnTo>
                    <a:pt x="3084" y="2424"/>
                  </a:lnTo>
                  <a:lnTo>
                    <a:pt x="3084" y="2422"/>
                  </a:lnTo>
                  <a:lnTo>
                    <a:pt x="3084" y="2420"/>
                  </a:lnTo>
                  <a:lnTo>
                    <a:pt x="3084" y="2420"/>
                  </a:lnTo>
                  <a:lnTo>
                    <a:pt x="3086" y="2418"/>
                  </a:lnTo>
                  <a:lnTo>
                    <a:pt x="3086" y="2416"/>
                  </a:lnTo>
                  <a:lnTo>
                    <a:pt x="3090" y="2414"/>
                  </a:lnTo>
                  <a:lnTo>
                    <a:pt x="3090" y="2414"/>
                  </a:lnTo>
                  <a:lnTo>
                    <a:pt x="3092" y="2414"/>
                  </a:lnTo>
                  <a:lnTo>
                    <a:pt x="3092" y="2414"/>
                  </a:lnTo>
                  <a:lnTo>
                    <a:pt x="3092" y="2414"/>
                  </a:lnTo>
                  <a:lnTo>
                    <a:pt x="3094" y="2414"/>
                  </a:lnTo>
                  <a:lnTo>
                    <a:pt x="3096" y="2416"/>
                  </a:lnTo>
                  <a:lnTo>
                    <a:pt x="3096" y="2418"/>
                  </a:lnTo>
                  <a:lnTo>
                    <a:pt x="3098" y="2418"/>
                  </a:lnTo>
                  <a:lnTo>
                    <a:pt x="3098" y="2418"/>
                  </a:lnTo>
                  <a:lnTo>
                    <a:pt x="3100" y="2418"/>
                  </a:lnTo>
                  <a:lnTo>
                    <a:pt x="3102" y="2418"/>
                  </a:lnTo>
                  <a:lnTo>
                    <a:pt x="3104" y="2416"/>
                  </a:lnTo>
                  <a:lnTo>
                    <a:pt x="3104" y="2414"/>
                  </a:lnTo>
                  <a:lnTo>
                    <a:pt x="3106" y="2412"/>
                  </a:lnTo>
                  <a:lnTo>
                    <a:pt x="3104" y="2412"/>
                  </a:lnTo>
                  <a:lnTo>
                    <a:pt x="3106" y="2412"/>
                  </a:lnTo>
                  <a:lnTo>
                    <a:pt x="3106" y="2410"/>
                  </a:lnTo>
                  <a:lnTo>
                    <a:pt x="3108" y="2410"/>
                  </a:lnTo>
                  <a:lnTo>
                    <a:pt x="3108" y="2410"/>
                  </a:lnTo>
                  <a:lnTo>
                    <a:pt x="3118" y="2410"/>
                  </a:lnTo>
                  <a:lnTo>
                    <a:pt x="3122" y="2410"/>
                  </a:lnTo>
                  <a:lnTo>
                    <a:pt x="3122" y="2410"/>
                  </a:lnTo>
                  <a:lnTo>
                    <a:pt x="3122" y="2410"/>
                  </a:lnTo>
                  <a:lnTo>
                    <a:pt x="3126" y="2408"/>
                  </a:lnTo>
                  <a:lnTo>
                    <a:pt x="3126" y="2408"/>
                  </a:lnTo>
                  <a:lnTo>
                    <a:pt x="3126" y="2408"/>
                  </a:lnTo>
                  <a:lnTo>
                    <a:pt x="3128" y="2406"/>
                  </a:lnTo>
                  <a:lnTo>
                    <a:pt x="3128" y="2406"/>
                  </a:lnTo>
                  <a:lnTo>
                    <a:pt x="3130" y="2404"/>
                  </a:lnTo>
                  <a:lnTo>
                    <a:pt x="3130" y="2404"/>
                  </a:lnTo>
                  <a:lnTo>
                    <a:pt x="3130" y="2404"/>
                  </a:lnTo>
                  <a:lnTo>
                    <a:pt x="3130" y="2402"/>
                  </a:lnTo>
                  <a:lnTo>
                    <a:pt x="3130" y="2402"/>
                  </a:lnTo>
                  <a:lnTo>
                    <a:pt x="3134" y="2396"/>
                  </a:lnTo>
                  <a:lnTo>
                    <a:pt x="3134" y="2396"/>
                  </a:lnTo>
                  <a:lnTo>
                    <a:pt x="3134" y="2396"/>
                  </a:lnTo>
                  <a:lnTo>
                    <a:pt x="3134" y="2394"/>
                  </a:lnTo>
                  <a:lnTo>
                    <a:pt x="3134" y="2394"/>
                  </a:lnTo>
                  <a:lnTo>
                    <a:pt x="3134" y="2394"/>
                  </a:lnTo>
                  <a:lnTo>
                    <a:pt x="3132" y="2392"/>
                  </a:lnTo>
                  <a:lnTo>
                    <a:pt x="3132" y="2390"/>
                  </a:lnTo>
                  <a:lnTo>
                    <a:pt x="3132" y="2388"/>
                  </a:lnTo>
                  <a:lnTo>
                    <a:pt x="3132" y="2384"/>
                  </a:lnTo>
                  <a:lnTo>
                    <a:pt x="3132" y="2380"/>
                  </a:lnTo>
                  <a:lnTo>
                    <a:pt x="3132" y="2378"/>
                  </a:lnTo>
                  <a:lnTo>
                    <a:pt x="3132" y="2378"/>
                  </a:lnTo>
                  <a:lnTo>
                    <a:pt x="3130" y="2378"/>
                  </a:lnTo>
                  <a:lnTo>
                    <a:pt x="3130" y="2378"/>
                  </a:lnTo>
                  <a:lnTo>
                    <a:pt x="3128" y="2376"/>
                  </a:lnTo>
                  <a:lnTo>
                    <a:pt x="3120" y="2380"/>
                  </a:lnTo>
                  <a:lnTo>
                    <a:pt x="3112" y="2382"/>
                  </a:lnTo>
                  <a:lnTo>
                    <a:pt x="3098" y="2388"/>
                  </a:lnTo>
                  <a:lnTo>
                    <a:pt x="3086" y="2394"/>
                  </a:lnTo>
                  <a:lnTo>
                    <a:pt x="3076" y="2400"/>
                  </a:lnTo>
                  <a:lnTo>
                    <a:pt x="3076" y="2400"/>
                  </a:lnTo>
                  <a:lnTo>
                    <a:pt x="3076" y="2400"/>
                  </a:lnTo>
                  <a:lnTo>
                    <a:pt x="3076" y="2400"/>
                  </a:lnTo>
                  <a:lnTo>
                    <a:pt x="3074" y="2396"/>
                  </a:lnTo>
                  <a:lnTo>
                    <a:pt x="3074" y="2396"/>
                  </a:lnTo>
                  <a:lnTo>
                    <a:pt x="3074" y="2396"/>
                  </a:lnTo>
                  <a:lnTo>
                    <a:pt x="3072" y="2392"/>
                  </a:lnTo>
                  <a:lnTo>
                    <a:pt x="3072" y="2392"/>
                  </a:lnTo>
                  <a:lnTo>
                    <a:pt x="3070" y="2392"/>
                  </a:lnTo>
                  <a:lnTo>
                    <a:pt x="3068" y="2390"/>
                  </a:lnTo>
                  <a:lnTo>
                    <a:pt x="3068" y="2390"/>
                  </a:lnTo>
                  <a:lnTo>
                    <a:pt x="3068" y="2390"/>
                  </a:lnTo>
                  <a:lnTo>
                    <a:pt x="3064" y="2388"/>
                  </a:lnTo>
                  <a:lnTo>
                    <a:pt x="3060" y="2386"/>
                  </a:lnTo>
                  <a:lnTo>
                    <a:pt x="3054" y="2384"/>
                  </a:lnTo>
                  <a:lnTo>
                    <a:pt x="3046" y="2382"/>
                  </a:lnTo>
                  <a:lnTo>
                    <a:pt x="3044" y="2382"/>
                  </a:lnTo>
                  <a:lnTo>
                    <a:pt x="3040" y="2380"/>
                  </a:lnTo>
                  <a:lnTo>
                    <a:pt x="3040" y="2380"/>
                  </a:lnTo>
                  <a:lnTo>
                    <a:pt x="3038" y="2378"/>
                  </a:lnTo>
                  <a:lnTo>
                    <a:pt x="3036" y="2374"/>
                  </a:lnTo>
                  <a:lnTo>
                    <a:pt x="3034" y="2370"/>
                  </a:lnTo>
                  <a:lnTo>
                    <a:pt x="3034" y="2372"/>
                  </a:lnTo>
                  <a:lnTo>
                    <a:pt x="3032" y="2366"/>
                  </a:lnTo>
                  <a:lnTo>
                    <a:pt x="3032" y="2366"/>
                  </a:lnTo>
                  <a:lnTo>
                    <a:pt x="3030" y="2364"/>
                  </a:lnTo>
                  <a:lnTo>
                    <a:pt x="3030" y="2364"/>
                  </a:lnTo>
                  <a:lnTo>
                    <a:pt x="3028" y="2366"/>
                  </a:lnTo>
                  <a:lnTo>
                    <a:pt x="3026" y="2366"/>
                  </a:lnTo>
                  <a:lnTo>
                    <a:pt x="3026" y="2366"/>
                  </a:lnTo>
                  <a:lnTo>
                    <a:pt x="3026" y="2368"/>
                  </a:lnTo>
                  <a:lnTo>
                    <a:pt x="3024" y="2370"/>
                  </a:lnTo>
                  <a:lnTo>
                    <a:pt x="3024" y="2370"/>
                  </a:lnTo>
                  <a:lnTo>
                    <a:pt x="3024" y="2370"/>
                  </a:lnTo>
                  <a:lnTo>
                    <a:pt x="3024" y="2374"/>
                  </a:lnTo>
                  <a:lnTo>
                    <a:pt x="3024" y="2374"/>
                  </a:lnTo>
                  <a:lnTo>
                    <a:pt x="3020" y="2374"/>
                  </a:lnTo>
                  <a:lnTo>
                    <a:pt x="3016" y="2374"/>
                  </a:lnTo>
                  <a:lnTo>
                    <a:pt x="3014" y="2374"/>
                  </a:lnTo>
                  <a:lnTo>
                    <a:pt x="3012" y="2372"/>
                  </a:lnTo>
                  <a:lnTo>
                    <a:pt x="3012" y="2372"/>
                  </a:lnTo>
                  <a:lnTo>
                    <a:pt x="3016" y="2368"/>
                  </a:lnTo>
                  <a:lnTo>
                    <a:pt x="3020" y="2366"/>
                  </a:lnTo>
                  <a:lnTo>
                    <a:pt x="3024" y="2362"/>
                  </a:lnTo>
                  <a:lnTo>
                    <a:pt x="3024" y="2362"/>
                  </a:lnTo>
                  <a:lnTo>
                    <a:pt x="3024" y="2362"/>
                  </a:lnTo>
                  <a:lnTo>
                    <a:pt x="3026" y="2358"/>
                  </a:lnTo>
                  <a:lnTo>
                    <a:pt x="3026" y="2358"/>
                  </a:lnTo>
                  <a:lnTo>
                    <a:pt x="3026" y="2356"/>
                  </a:lnTo>
                  <a:lnTo>
                    <a:pt x="3028" y="2352"/>
                  </a:lnTo>
                  <a:lnTo>
                    <a:pt x="3028" y="2352"/>
                  </a:lnTo>
                  <a:lnTo>
                    <a:pt x="3028" y="2352"/>
                  </a:lnTo>
                  <a:lnTo>
                    <a:pt x="3030" y="2346"/>
                  </a:lnTo>
                  <a:lnTo>
                    <a:pt x="3030" y="2346"/>
                  </a:lnTo>
                  <a:lnTo>
                    <a:pt x="3030" y="2346"/>
                  </a:lnTo>
                  <a:lnTo>
                    <a:pt x="3028" y="2344"/>
                  </a:lnTo>
                  <a:lnTo>
                    <a:pt x="3028" y="2344"/>
                  </a:lnTo>
                  <a:lnTo>
                    <a:pt x="3032" y="2344"/>
                  </a:lnTo>
                  <a:lnTo>
                    <a:pt x="3038" y="2342"/>
                  </a:lnTo>
                  <a:lnTo>
                    <a:pt x="3042" y="2342"/>
                  </a:lnTo>
                  <a:lnTo>
                    <a:pt x="3044" y="2342"/>
                  </a:lnTo>
                  <a:lnTo>
                    <a:pt x="3046" y="2342"/>
                  </a:lnTo>
                  <a:lnTo>
                    <a:pt x="3046" y="2342"/>
                  </a:lnTo>
                  <a:lnTo>
                    <a:pt x="3048" y="2342"/>
                  </a:lnTo>
                  <a:lnTo>
                    <a:pt x="3048" y="2342"/>
                  </a:lnTo>
                  <a:lnTo>
                    <a:pt x="3050" y="2338"/>
                  </a:lnTo>
                  <a:lnTo>
                    <a:pt x="3048" y="2336"/>
                  </a:lnTo>
                  <a:lnTo>
                    <a:pt x="3048" y="2332"/>
                  </a:lnTo>
                  <a:lnTo>
                    <a:pt x="3048" y="2324"/>
                  </a:lnTo>
                  <a:lnTo>
                    <a:pt x="3048" y="2320"/>
                  </a:lnTo>
                  <a:lnTo>
                    <a:pt x="3050" y="2322"/>
                  </a:lnTo>
                  <a:lnTo>
                    <a:pt x="3052" y="2322"/>
                  </a:lnTo>
                  <a:lnTo>
                    <a:pt x="3052" y="2322"/>
                  </a:lnTo>
                  <a:lnTo>
                    <a:pt x="3052" y="2322"/>
                  </a:lnTo>
                  <a:lnTo>
                    <a:pt x="3054" y="2324"/>
                  </a:lnTo>
                  <a:lnTo>
                    <a:pt x="3054" y="2324"/>
                  </a:lnTo>
                  <a:lnTo>
                    <a:pt x="3054" y="2324"/>
                  </a:lnTo>
                  <a:lnTo>
                    <a:pt x="3056" y="2324"/>
                  </a:lnTo>
                  <a:lnTo>
                    <a:pt x="3056" y="2324"/>
                  </a:lnTo>
                  <a:lnTo>
                    <a:pt x="3056" y="2324"/>
                  </a:lnTo>
                  <a:lnTo>
                    <a:pt x="3058" y="2324"/>
                  </a:lnTo>
                  <a:lnTo>
                    <a:pt x="3058" y="2324"/>
                  </a:lnTo>
                  <a:lnTo>
                    <a:pt x="3058" y="2324"/>
                  </a:lnTo>
                  <a:lnTo>
                    <a:pt x="3062" y="2324"/>
                  </a:lnTo>
                  <a:lnTo>
                    <a:pt x="3062" y="2324"/>
                  </a:lnTo>
                  <a:lnTo>
                    <a:pt x="3064" y="2324"/>
                  </a:lnTo>
                  <a:lnTo>
                    <a:pt x="3066" y="2322"/>
                  </a:lnTo>
                  <a:lnTo>
                    <a:pt x="3066" y="2322"/>
                  </a:lnTo>
                  <a:lnTo>
                    <a:pt x="3068" y="2322"/>
                  </a:lnTo>
                  <a:lnTo>
                    <a:pt x="3070" y="2320"/>
                  </a:lnTo>
                  <a:lnTo>
                    <a:pt x="3074" y="2316"/>
                  </a:lnTo>
                  <a:lnTo>
                    <a:pt x="3078" y="2312"/>
                  </a:lnTo>
                  <a:lnTo>
                    <a:pt x="3080" y="2308"/>
                  </a:lnTo>
                  <a:lnTo>
                    <a:pt x="3088" y="2298"/>
                  </a:lnTo>
                  <a:lnTo>
                    <a:pt x="3090" y="2294"/>
                  </a:lnTo>
                  <a:lnTo>
                    <a:pt x="3094" y="2290"/>
                  </a:lnTo>
                  <a:lnTo>
                    <a:pt x="3096" y="2288"/>
                  </a:lnTo>
                  <a:lnTo>
                    <a:pt x="3096" y="2290"/>
                  </a:lnTo>
                  <a:lnTo>
                    <a:pt x="3096" y="2290"/>
                  </a:lnTo>
                  <a:lnTo>
                    <a:pt x="3096" y="2290"/>
                  </a:lnTo>
                  <a:lnTo>
                    <a:pt x="3096" y="2292"/>
                  </a:lnTo>
                  <a:lnTo>
                    <a:pt x="3096" y="2292"/>
                  </a:lnTo>
                  <a:lnTo>
                    <a:pt x="3098" y="2292"/>
                  </a:lnTo>
                  <a:lnTo>
                    <a:pt x="3098" y="2292"/>
                  </a:lnTo>
                  <a:lnTo>
                    <a:pt x="3098" y="2292"/>
                  </a:lnTo>
                  <a:lnTo>
                    <a:pt x="3102" y="2292"/>
                  </a:lnTo>
                  <a:lnTo>
                    <a:pt x="3102" y="2292"/>
                  </a:lnTo>
                  <a:lnTo>
                    <a:pt x="3102" y="2290"/>
                  </a:lnTo>
                  <a:lnTo>
                    <a:pt x="3102" y="2288"/>
                  </a:lnTo>
                  <a:lnTo>
                    <a:pt x="3104" y="2286"/>
                  </a:lnTo>
                  <a:lnTo>
                    <a:pt x="3106" y="2282"/>
                  </a:lnTo>
                  <a:lnTo>
                    <a:pt x="3108" y="2276"/>
                  </a:lnTo>
                  <a:lnTo>
                    <a:pt x="3108" y="2272"/>
                  </a:lnTo>
                  <a:lnTo>
                    <a:pt x="3108" y="2272"/>
                  </a:lnTo>
                  <a:lnTo>
                    <a:pt x="3108" y="2272"/>
                  </a:lnTo>
                  <a:lnTo>
                    <a:pt x="3118" y="2272"/>
                  </a:lnTo>
                  <a:lnTo>
                    <a:pt x="3118" y="2272"/>
                  </a:lnTo>
                  <a:lnTo>
                    <a:pt x="3122" y="2270"/>
                  </a:lnTo>
                  <a:lnTo>
                    <a:pt x="3124" y="2266"/>
                  </a:lnTo>
                  <a:lnTo>
                    <a:pt x="3126" y="2260"/>
                  </a:lnTo>
                  <a:lnTo>
                    <a:pt x="3128" y="2254"/>
                  </a:lnTo>
                  <a:lnTo>
                    <a:pt x="3132" y="2248"/>
                  </a:lnTo>
                  <a:lnTo>
                    <a:pt x="3136" y="2242"/>
                  </a:lnTo>
                  <a:lnTo>
                    <a:pt x="3140" y="2236"/>
                  </a:lnTo>
                  <a:lnTo>
                    <a:pt x="3144" y="2230"/>
                  </a:lnTo>
                  <a:lnTo>
                    <a:pt x="3144" y="2232"/>
                  </a:lnTo>
                  <a:lnTo>
                    <a:pt x="3146" y="2238"/>
                  </a:lnTo>
                  <a:lnTo>
                    <a:pt x="3146" y="2238"/>
                  </a:lnTo>
                  <a:lnTo>
                    <a:pt x="3148" y="2240"/>
                  </a:lnTo>
                  <a:lnTo>
                    <a:pt x="3148" y="2240"/>
                  </a:lnTo>
                  <a:lnTo>
                    <a:pt x="3150" y="2240"/>
                  </a:lnTo>
                  <a:lnTo>
                    <a:pt x="3154" y="2238"/>
                  </a:lnTo>
                  <a:lnTo>
                    <a:pt x="3156" y="2236"/>
                  </a:lnTo>
                  <a:lnTo>
                    <a:pt x="3162" y="2232"/>
                  </a:lnTo>
                  <a:lnTo>
                    <a:pt x="3168" y="2232"/>
                  </a:lnTo>
                  <a:lnTo>
                    <a:pt x="3174" y="2230"/>
                  </a:lnTo>
                  <a:lnTo>
                    <a:pt x="3180" y="2228"/>
                  </a:lnTo>
                  <a:lnTo>
                    <a:pt x="3186" y="2226"/>
                  </a:lnTo>
                  <a:lnTo>
                    <a:pt x="3188" y="2224"/>
                  </a:lnTo>
                  <a:lnTo>
                    <a:pt x="3192" y="2222"/>
                  </a:lnTo>
                  <a:lnTo>
                    <a:pt x="3194" y="2220"/>
                  </a:lnTo>
                  <a:lnTo>
                    <a:pt x="3194" y="2220"/>
                  </a:lnTo>
                  <a:lnTo>
                    <a:pt x="3194" y="2224"/>
                  </a:lnTo>
                  <a:lnTo>
                    <a:pt x="3192" y="2228"/>
                  </a:lnTo>
                  <a:lnTo>
                    <a:pt x="3192" y="2232"/>
                  </a:lnTo>
                  <a:lnTo>
                    <a:pt x="3188" y="2234"/>
                  </a:lnTo>
                  <a:lnTo>
                    <a:pt x="3188" y="2234"/>
                  </a:lnTo>
                  <a:lnTo>
                    <a:pt x="3186" y="2236"/>
                  </a:lnTo>
                  <a:lnTo>
                    <a:pt x="3178" y="2242"/>
                  </a:lnTo>
                  <a:lnTo>
                    <a:pt x="3174" y="2246"/>
                  </a:lnTo>
                  <a:lnTo>
                    <a:pt x="3172" y="2248"/>
                  </a:lnTo>
                  <a:lnTo>
                    <a:pt x="3168" y="2252"/>
                  </a:lnTo>
                  <a:lnTo>
                    <a:pt x="3168" y="2252"/>
                  </a:lnTo>
                  <a:lnTo>
                    <a:pt x="3168" y="2252"/>
                  </a:lnTo>
                  <a:lnTo>
                    <a:pt x="3168" y="2256"/>
                  </a:lnTo>
                  <a:lnTo>
                    <a:pt x="3168" y="2256"/>
                  </a:lnTo>
                  <a:lnTo>
                    <a:pt x="3166" y="2256"/>
                  </a:lnTo>
                  <a:lnTo>
                    <a:pt x="3166" y="2260"/>
                  </a:lnTo>
                  <a:lnTo>
                    <a:pt x="3166" y="2260"/>
                  </a:lnTo>
                  <a:lnTo>
                    <a:pt x="3166" y="2260"/>
                  </a:lnTo>
                  <a:lnTo>
                    <a:pt x="3166" y="2262"/>
                  </a:lnTo>
                  <a:lnTo>
                    <a:pt x="3166" y="2262"/>
                  </a:lnTo>
                  <a:lnTo>
                    <a:pt x="3166" y="2262"/>
                  </a:lnTo>
                  <a:lnTo>
                    <a:pt x="3168" y="2264"/>
                  </a:lnTo>
                  <a:lnTo>
                    <a:pt x="3168" y="2264"/>
                  </a:lnTo>
                  <a:lnTo>
                    <a:pt x="3168" y="2264"/>
                  </a:lnTo>
                  <a:lnTo>
                    <a:pt x="3168" y="2268"/>
                  </a:lnTo>
                  <a:lnTo>
                    <a:pt x="3170" y="2270"/>
                  </a:lnTo>
                  <a:lnTo>
                    <a:pt x="3166" y="2270"/>
                  </a:lnTo>
                  <a:lnTo>
                    <a:pt x="3160" y="2272"/>
                  </a:lnTo>
                  <a:lnTo>
                    <a:pt x="3156" y="2272"/>
                  </a:lnTo>
                  <a:lnTo>
                    <a:pt x="3152" y="2272"/>
                  </a:lnTo>
                  <a:lnTo>
                    <a:pt x="3152" y="2272"/>
                  </a:lnTo>
                  <a:lnTo>
                    <a:pt x="3150" y="2272"/>
                  </a:lnTo>
                  <a:lnTo>
                    <a:pt x="3150" y="2274"/>
                  </a:lnTo>
                  <a:lnTo>
                    <a:pt x="3150" y="2288"/>
                  </a:lnTo>
                  <a:lnTo>
                    <a:pt x="3138" y="2288"/>
                  </a:lnTo>
                  <a:lnTo>
                    <a:pt x="3138" y="2288"/>
                  </a:lnTo>
                  <a:lnTo>
                    <a:pt x="3136" y="2288"/>
                  </a:lnTo>
                  <a:lnTo>
                    <a:pt x="3136" y="2290"/>
                  </a:lnTo>
                  <a:lnTo>
                    <a:pt x="3136" y="2290"/>
                  </a:lnTo>
                  <a:lnTo>
                    <a:pt x="3136" y="2292"/>
                  </a:lnTo>
                  <a:lnTo>
                    <a:pt x="3136" y="2292"/>
                  </a:lnTo>
                  <a:lnTo>
                    <a:pt x="3142" y="2296"/>
                  </a:lnTo>
                  <a:lnTo>
                    <a:pt x="3142" y="2296"/>
                  </a:lnTo>
                  <a:lnTo>
                    <a:pt x="3142" y="2296"/>
                  </a:lnTo>
                  <a:lnTo>
                    <a:pt x="3148" y="2296"/>
                  </a:lnTo>
                  <a:lnTo>
                    <a:pt x="3154" y="2298"/>
                  </a:lnTo>
                  <a:lnTo>
                    <a:pt x="3158" y="2300"/>
                  </a:lnTo>
                  <a:lnTo>
                    <a:pt x="3162" y="2300"/>
                  </a:lnTo>
                  <a:lnTo>
                    <a:pt x="3166" y="2302"/>
                  </a:lnTo>
                  <a:lnTo>
                    <a:pt x="3168" y="2304"/>
                  </a:lnTo>
                  <a:lnTo>
                    <a:pt x="3168" y="2304"/>
                  </a:lnTo>
                  <a:lnTo>
                    <a:pt x="3170" y="2306"/>
                  </a:lnTo>
                  <a:lnTo>
                    <a:pt x="3170" y="2308"/>
                  </a:lnTo>
                  <a:lnTo>
                    <a:pt x="3170" y="2310"/>
                  </a:lnTo>
                  <a:lnTo>
                    <a:pt x="3170" y="2310"/>
                  </a:lnTo>
                  <a:lnTo>
                    <a:pt x="3170" y="2312"/>
                  </a:lnTo>
                  <a:lnTo>
                    <a:pt x="3170" y="2316"/>
                  </a:lnTo>
                  <a:lnTo>
                    <a:pt x="3170" y="2318"/>
                  </a:lnTo>
                  <a:lnTo>
                    <a:pt x="3168" y="2322"/>
                  </a:lnTo>
                  <a:lnTo>
                    <a:pt x="3168" y="2326"/>
                  </a:lnTo>
                  <a:lnTo>
                    <a:pt x="3164" y="2334"/>
                  </a:lnTo>
                  <a:lnTo>
                    <a:pt x="3162" y="2342"/>
                  </a:lnTo>
                  <a:lnTo>
                    <a:pt x="3162" y="2346"/>
                  </a:lnTo>
                  <a:lnTo>
                    <a:pt x="3162" y="2350"/>
                  </a:lnTo>
                  <a:lnTo>
                    <a:pt x="3160" y="2352"/>
                  </a:lnTo>
                  <a:lnTo>
                    <a:pt x="3160" y="2356"/>
                  </a:lnTo>
                  <a:lnTo>
                    <a:pt x="3160" y="2356"/>
                  </a:lnTo>
                  <a:lnTo>
                    <a:pt x="3160" y="2356"/>
                  </a:lnTo>
                  <a:lnTo>
                    <a:pt x="3158" y="2358"/>
                  </a:lnTo>
                  <a:lnTo>
                    <a:pt x="3156" y="2360"/>
                  </a:lnTo>
                  <a:lnTo>
                    <a:pt x="3154" y="2364"/>
                  </a:lnTo>
                  <a:lnTo>
                    <a:pt x="3154" y="2364"/>
                  </a:lnTo>
                  <a:lnTo>
                    <a:pt x="3154" y="2364"/>
                  </a:lnTo>
                  <a:lnTo>
                    <a:pt x="3154" y="2368"/>
                  </a:lnTo>
                  <a:lnTo>
                    <a:pt x="3154" y="2368"/>
                  </a:lnTo>
                  <a:lnTo>
                    <a:pt x="3154" y="2370"/>
                  </a:lnTo>
                  <a:lnTo>
                    <a:pt x="3154" y="2374"/>
                  </a:lnTo>
                  <a:lnTo>
                    <a:pt x="3154" y="2374"/>
                  </a:lnTo>
                  <a:lnTo>
                    <a:pt x="3152" y="2374"/>
                  </a:lnTo>
                  <a:lnTo>
                    <a:pt x="3144" y="2380"/>
                  </a:lnTo>
                  <a:lnTo>
                    <a:pt x="3144" y="2380"/>
                  </a:lnTo>
                  <a:lnTo>
                    <a:pt x="3142" y="2382"/>
                  </a:lnTo>
                  <a:lnTo>
                    <a:pt x="3142" y="2384"/>
                  </a:lnTo>
                  <a:lnTo>
                    <a:pt x="3142" y="2384"/>
                  </a:lnTo>
                  <a:lnTo>
                    <a:pt x="3142" y="2384"/>
                  </a:lnTo>
                  <a:lnTo>
                    <a:pt x="3140" y="2386"/>
                  </a:lnTo>
                  <a:lnTo>
                    <a:pt x="3140" y="2386"/>
                  </a:lnTo>
                  <a:lnTo>
                    <a:pt x="3140" y="2386"/>
                  </a:lnTo>
                  <a:lnTo>
                    <a:pt x="3140" y="2390"/>
                  </a:lnTo>
                  <a:lnTo>
                    <a:pt x="3140" y="2392"/>
                  </a:lnTo>
                  <a:lnTo>
                    <a:pt x="3140" y="2392"/>
                  </a:lnTo>
                  <a:lnTo>
                    <a:pt x="3140" y="2394"/>
                  </a:lnTo>
                  <a:lnTo>
                    <a:pt x="3140" y="2394"/>
                  </a:lnTo>
                  <a:lnTo>
                    <a:pt x="3144" y="2394"/>
                  </a:lnTo>
                  <a:lnTo>
                    <a:pt x="3146" y="2394"/>
                  </a:lnTo>
                  <a:lnTo>
                    <a:pt x="3150" y="2394"/>
                  </a:lnTo>
                  <a:lnTo>
                    <a:pt x="3152" y="2394"/>
                  </a:lnTo>
                  <a:lnTo>
                    <a:pt x="3152" y="2394"/>
                  </a:lnTo>
                  <a:lnTo>
                    <a:pt x="3152" y="2394"/>
                  </a:lnTo>
                  <a:lnTo>
                    <a:pt x="3154" y="2394"/>
                  </a:lnTo>
                  <a:lnTo>
                    <a:pt x="3156" y="2398"/>
                  </a:lnTo>
                  <a:lnTo>
                    <a:pt x="3156" y="2398"/>
                  </a:lnTo>
                  <a:lnTo>
                    <a:pt x="3156" y="2398"/>
                  </a:lnTo>
                  <a:lnTo>
                    <a:pt x="3160" y="2402"/>
                  </a:lnTo>
                  <a:lnTo>
                    <a:pt x="3160" y="2402"/>
                  </a:lnTo>
                  <a:lnTo>
                    <a:pt x="3160" y="2402"/>
                  </a:lnTo>
                  <a:lnTo>
                    <a:pt x="3164" y="2406"/>
                  </a:lnTo>
                  <a:lnTo>
                    <a:pt x="3164" y="2406"/>
                  </a:lnTo>
                  <a:lnTo>
                    <a:pt x="3166" y="2406"/>
                  </a:lnTo>
                  <a:lnTo>
                    <a:pt x="3170" y="2408"/>
                  </a:lnTo>
                  <a:lnTo>
                    <a:pt x="3170" y="2408"/>
                  </a:lnTo>
                  <a:lnTo>
                    <a:pt x="3170" y="2408"/>
                  </a:lnTo>
                  <a:lnTo>
                    <a:pt x="3174" y="2408"/>
                  </a:lnTo>
                  <a:lnTo>
                    <a:pt x="3176" y="2408"/>
                  </a:lnTo>
                  <a:lnTo>
                    <a:pt x="3178" y="2408"/>
                  </a:lnTo>
                  <a:lnTo>
                    <a:pt x="3180" y="2408"/>
                  </a:lnTo>
                  <a:lnTo>
                    <a:pt x="3180" y="2408"/>
                  </a:lnTo>
                  <a:lnTo>
                    <a:pt x="3182" y="2408"/>
                  </a:lnTo>
                  <a:lnTo>
                    <a:pt x="3184" y="2406"/>
                  </a:lnTo>
                  <a:lnTo>
                    <a:pt x="3186" y="2404"/>
                  </a:lnTo>
                  <a:lnTo>
                    <a:pt x="3188" y="2402"/>
                  </a:lnTo>
                  <a:lnTo>
                    <a:pt x="3190" y="2402"/>
                  </a:lnTo>
                  <a:lnTo>
                    <a:pt x="3192" y="2402"/>
                  </a:lnTo>
                  <a:lnTo>
                    <a:pt x="3198" y="2404"/>
                  </a:lnTo>
                  <a:lnTo>
                    <a:pt x="3206" y="2408"/>
                  </a:lnTo>
                  <a:lnTo>
                    <a:pt x="3214" y="2412"/>
                  </a:lnTo>
                  <a:lnTo>
                    <a:pt x="3216" y="2414"/>
                  </a:lnTo>
                  <a:lnTo>
                    <a:pt x="3220" y="2416"/>
                  </a:lnTo>
                  <a:lnTo>
                    <a:pt x="3220" y="2416"/>
                  </a:lnTo>
                  <a:lnTo>
                    <a:pt x="3220" y="2416"/>
                  </a:lnTo>
                  <a:lnTo>
                    <a:pt x="3230" y="2416"/>
                  </a:lnTo>
                  <a:lnTo>
                    <a:pt x="3238" y="2418"/>
                  </a:lnTo>
                  <a:lnTo>
                    <a:pt x="3246" y="2420"/>
                  </a:lnTo>
                  <a:lnTo>
                    <a:pt x="3254" y="2420"/>
                  </a:lnTo>
                  <a:lnTo>
                    <a:pt x="3270" y="2426"/>
                  </a:lnTo>
                  <a:lnTo>
                    <a:pt x="3286" y="2432"/>
                  </a:lnTo>
                  <a:lnTo>
                    <a:pt x="3302" y="2436"/>
                  </a:lnTo>
                  <a:lnTo>
                    <a:pt x="3318" y="2442"/>
                  </a:lnTo>
                  <a:lnTo>
                    <a:pt x="3326" y="2444"/>
                  </a:lnTo>
                  <a:lnTo>
                    <a:pt x="3334" y="2444"/>
                  </a:lnTo>
                  <a:lnTo>
                    <a:pt x="3342" y="2446"/>
                  </a:lnTo>
                  <a:lnTo>
                    <a:pt x="3348" y="2446"/>
                  </a:lnTo>
                  <a:lnTo>
                    <a:pt x="3350" y="2446"/>
                  </a:lnTo>
                  <a:lnTo>
                    <a:pt x="3358" y="2448"/>
                  </a:lnTo>
                  <a:lnTo>
                    <a:pt x="3364" y="2450"/>
                  </a:lnTo>
                  <a:lnTo>
                    <a:pt x="3372" y="2452"/>
                  </a:lnTo>
                  <a:lnTo>
                    <a:pt x="3380" y="2454"/>
                  </a:lnTo>
                  <a:lnTo>
                    <a:pt x="3388" y="2456"/>
                  </a:lnTo>
                  <a:lnTo>
                    <a:pt x="3392" y="2458"/>
                  </a:lnTo>
                  <a:lnTo>
                    <a:pt x="3398" y="2460"/>
                  </a:lnTo>
                  <a:lnTo>
                    <a:pt x="3402" y="2462"/>
                  </a:lnTo>
                  <a:lnTo>
                    <a:pt x="3404" y="2462"/>
                  </a:lnTo>
                  <a:lnTo>
                    <a:pt x="3408" y="2464"/>
                  </a:lnTo>
                  <a:lnTo>
                    <a:pt x="3410" y="2464"/>
                  </a:lnTo>
                  <a:lnTo>
                    <a:pt x="3412" y="2466"/>
                  </a:lnTo>
                  <a:lnTo>
                    <a:pt x="3414" y="2468"/>
                  </a:lnTo>
                  <a:lnTo>
                    <a:pt x="3416" y="2468"/>
                  </a:lnTo>
                  <a:lnTo>
                    <a:pt x="3418" y="2470"/>
                  </a:lnTo>
                  <a:lnTo>
                    <a:pt x="3420" y="2472"/>
                  </a:lnTo>
                  <a:lnTo>
                    <a:pt x="3420" y="2476"/>
                  </a:lnTo>
                  <a:lnTo>
                    <a:pt x="3422" y="2480"/>
                  </a:lnTo>
                  <a:lnTo>
                    <a:pt x="3426" y="2484"/>
                  </a:lnTo>
                  <a:lnTo>
                    <a:pt x="3428" y="2490"/>
                  </a:lnTo>
                  <a:lnTo>
                    <a:pt x="3432" y="2494"/>
                  </a:lnTo>
                  <a:lnTo>
                    <a:pt x="3434" y="2498"/>
                  </a:lnTo>
                  <a:lnTo>
                    <a:pt x="3436" y="2504"/>
                  </a:lnTo>
                  <a:lnTo>
                    <a:pt x="3438" y="2508"/>
                  </a:lnTo>
                  <a:lnTo>
                    <a:pt x="3440" y="2514"/>
                  </a:lnTo>
                  <a:lnTo>
                    <a:pt x="3440" y="2518"/>
                  </a:lnTo>
                  <a:lnTo>
                    <a:pt x="3440" y="2524"/>
                  </a:lnTo>
                  <a:lnTo>
                    <a:pt x="3440" y="2528"/>
                  </a:lnTo>
                  <a:lnTo>
                    <a:pt x="3440" y="2528"/>
                  </a:lnTo>
                  <a:lnTo>
                    <a:pt x="3440" y="2528"/>
                  </a:lnTo>
                  <a:lnTo>
                    <a:pt x="3440" y="2528"/>
                  </a:lnTo>
                  <a:lnTo>
                    <a:pt x="3440" y="2528"/>
                  </a:lnTo>
                  <a:lnTo>
                    <a:pt x="3440" y="2528"/>
                  </a:lnTo>
                  <a:close/>
                  <a:moveTo>
                    <a:pt x="892" y="1056"/>
                  </a:moveTo>
                  <a:lnTo>
                    <a:pt x="892" y="1056"/>
                  </a:lnTo>
                  <a:lnTo>
                    <a:pt x="894" y="1058"/>
                  </a:lnTo>
                  <a:lnTo>
                    <a:pt x="894" y="1058"/>
                  </a:lnTo>
                  <a:lnTo>
                    <a:pt x="896" y="1058"/>
                  </a:lnTo>
                  <a:lnTo>
                    <a:pt x="898" y="1056"/>
                  </a:lnTo>
                  <a:lnTo>
                    <a:pt x="900" y="1056"/>
                  </a:lnTo>
                  <a:lnTo>
                    <a:pt x="902" y="1056"/>
                  </a:lnTo>
                  <a:lnTo>
                    <a:pt x="904" y="1056"/>
                  </a:lnTo>
                  <a:lnTo>
                    <a:pt x="906" y="1058"/>
                  </a:lnTo>
                  <a:lnTo>
                    <a:pt x="910" y="1060"/>
                  </a:lnTo>
                  <a:lnTo>
                    <a:pt x="910" y="1058"/>
                  </a:lnTo>
                  <a:lnTo>
                    <a:pt x="912" y="1062"/>
                  </a:lnTo>
                  <a:lnTo>
                    <a:pt x="916" y="1064"/>
                  </a:lnTo>
                  <a:lnTo>
                    <a:pt x="918" y="1068"/>
                  </a:lnTo>
                  <a:lnTo>
                    <a:pt x="920" y="1068"/>
                  </a:lnTo>
                  <a:lnTo>
                    <a:pt x="920" y="1068"/>
                  </a:lnTo>
                  <a:lnTo>
                    <a:pt x="920" y="1068"/>
                  </a:lnTo>
                  <a:lnTo>
                    <a:pt x="918" y="1070"/>
                  </a:lnTo>
                  <a:lnTo>
                    <a:pt x="918" y="1070"/>
                  </a:lnTo>
                  <a:lnTo>
                    <a:pt x="920" y="1072"/>
                  </a:lnTo>
                  <a:lnTo>
                    <a:pt x="924" y="1074"/>
                  </a:lnTo>
                  <a:lnTo>
                    <a:pt x="928" y="1074"/>
                  </a:lnTo>
                  <a:lnTo>
                    <a:pt x="930" y="1076"/>
                  </a:lnTo>
                  <a:lnTo>
                    <a:pt x="930" y="1078"/>
                  </a:lnTo>
                  <a:lnTo>
                    <a:pt x="930" y="1078"/>
                  </a:lnTo>
                  <a:lnTo>
                    <a:pt x="930" y="1078"/>
                  </a:lnTo>
                  <a:lnTo>
                    <a:pt x="928" y="1080"/>
                  </a:lnTo>
                  <a:lnTo>
                    <a:pt x="928" y="1080"/>
                  </a:lnTo>
                  <a:lnTo>
                    <a:pt x="930" y="1082"/>
                  </a:lnTo>
                  <a:lnTo>
                    <a:pt x="930" y="1082"/>
                  </a:lnTo>
                  <a:lnTo>
                    <a:pt x="932" y="1084"/>
                  </a:lnTo>
                  <a:lnTo>
                    <a:pt x="934" y="1084"/>
                  </a:lnTo>
                  <a:lnTo>
                    <a:pt x="934" y="1084"/>
                  </a:lnTo>
                  <a:lnTo>
                    <a:pt x="936" y="1084"/>
                  </a:lnTo>
                  <a:lnTo>
                    <a:pt x="936" y="1084"/>
                  </a:lnTo>
                  <a:lnTo>
                    <a:pt x="934" y="1086"/>
                  </a:lnTo>
                  <a:lnTo>
                    <a:pt x="934" y="1084"/>
                  </a:lnTo>
                  <a:lnTo>
                    <a:pt x="934" y="1086"/>
                  </a:lnTo>
                  <a:lnTo>
                    <a:pt x="932" y="1090"/>
                  </a:lnTo>
                  <a:lnTo>
                    <a:pt x="932" y="1092"/>
                  </a:lnTo>
                  <a:lnTo>
                    <a:pt x="932" y="1092"/>
                  </a:lnTo>
                  <a:lnTo>
                    <a:pt x="932" y="1092"/>
                  </a:lnTo>
                  <a:lnTo>
                    <a:pt x="932" y="1096"/>
                  </a:lnTo>
                  <a:lnTo>
                    <a:pt x="932" y="1096"/>
                  </a:lnTo>
                  <a:lnTo>
                    <a:pt x="932" y="1096"/>
                  </a:lnTo>
                  <a:lnTo>
                    <a:pt x="932" y="1100"/>
                  </a:lnTo>
                  <a:lnTo>
                    <a:pt x="932" y="1100"/>
                  </a:lnTo>
                  <a:lnTo>
                    <a:pt x="932" y="1100"/>
                  </a:lnTo>
                  <a:lnTo>
                    <a:pt x="934" y="1102"/>
                  </a:lnTo>
                  <a:lnTo>
                    <a:pt x="934" y="1102"/>
                  </a:lnTo>
                  <a:lnTo>
                    <a:pt x="934" y="1104"/>
                  </a:lnTo>
                  <a:lnTo>
                    <a:pt x="936" y="1104"/>
                  </a:lnTo>
                  <a:lnTo>
                    <a:pt x="936" y="1104"/>
                  </a:lnTo>
                  <a:lnTo>
                    <a:pt x="936" y="1106"/>
                  </a:lnTo>
                  <a:lnTo>
                    <a:pt x="938" y="1106"/>
                  </a:lnTo>
                  <a:lnTo>
                    <a:pt x="938" y="1106"/>
                  </a:lnTo>
                  <a:lnTo>
                    <a:pt x="938" y="1106"/>
                  </a:lnTo>
                  <a:lnTo>
                    <a:pt x="940" y="1108"/>
                  </a:lnTo>
                  <a:lnTo>
                    <a:pt x="942" y="1108"/>
                  </a:lnTo>
                  <a:lnTo>
                    <a:pt x="944" y="1108"/>
                  </a:lnTo>
                  <a:lnTo>
                    <a:pt x="944" y="1108"/>
                  </a:lnTo>
                  <a:lnTo>
                    <a:pt x="942" y="1110"/>
                  </a:lnTo>
                  <a:lnTo>
                    <a:pt x="938" y="1114"/>
                  </a:lnTo>
                  <a:lnTo>
                    <a:pt x="934" y="1118"/>
                  </a:lnTo>
                  <a:lnTo>
                    <a:pt x="932" y="1118"/>
                  </a:lnTo>
                  <a:lnTo>
                    <a:pt x="930" y="1118"/>
                  </a:lnTo>
                  <a:lnTo>
                    <a:pt x="926" y="1118"/>
                  </a:lnTo>
                  <a:lnTo>
                    <a:pt x="924" y="1118"/>
                  </a:lnTo>
                  <a:lnTo>
                    <a:pt x="924" y="1118"/>
                  </a:lnTo>
                  <a:lnTo>
                    <a:pt x="920" y="1118"/>
                  </a:lnTo>
                  <a:lnTo>
                    <a:pt x="920" y="1116"/>
                  </a:lnTo>
                  <a:lnTo>
                    <a:pt x="916" y="1114"/>
                  </a:lnTo>
                  <a:lnTo>
                    <a:pt x="916" y="1112"/>
                  </a:lnTo>
                  <a:lnTo>
                    <a:pt x="912" y="1108"/>
                  </a:lnTo>
                  <a:lnTo>
                    <a:pt x="912" y="1108"/>
                  </a:lnTo>
                  <a:lnTo>
                    <a:pt x="910" y="1108"/>
                  </a:lnTo>
                  <a:lnTo>
                    <a:pt x="910" y="1108"/>
                  </a:lnTo>
                  <a:lnTo>
                    <a:pt x="908" y="1108"/>
                  </a:lnTo>
                  <a:lnTo>
                    <a:pt x="904" y="1114"/>
                  </a:lnTo>
                  <a:lnTo>
                    <a:pt x="902" y="1118"/>
                  </a:lnTo>
                  <a:lnTo>
                    <a:pt x="902" y="1118"/>
                  </a:lnTo>
                  <a:lnTo>
                    <a:pt x="902" y="1120"/>
                  </a:lnTo>
                  <a:lnTo>
                    <a:pt x="900" y="1124"/>
                  </a:lnTo>
                  <a:lnTo>
                    <a:pt x="900" y="1124"/>
                  </a:lnTo>
                  <a:lnTo>
                    <a:pt x="900" y="1126"/>
                  </a:lnTo>
                  <a:lnTo>
                    <a:pt x="900" y="1128"/>
                  </a:lnTo>
                  <a:lnTo>
                    <a:pt x="900" y="1132"/>
                  </a:lnTo>
                  <a:lnTo>
                    <a:pt x="900" y="1132"/>
                  </a:lnTo>
                  <a:lnTo>
                    <a:pt x="900" y="1134"/>
                  </a:lnTo>
                  <a:lnTo>
                    <a:pt x="900" y="1134"/>
                  </a:lnTo>
                  <a:lnTo>
                    <a:pt x="902" y="1134"/>
                  </a:lnTo>
                  <a:lnTo>
                    <a:pt x="912" y="1134"/>
                  </a:lnTo>
                  <a:lnTo>
                    <a:pt x="912" y="1136"/>
                  </a:lnTo>
                  <a:lnTo>
                    <a:pt x="912" y="1136"/>
                  </a:lnTo>
                  <a:lnTo>
                    <a:pt x="912" y="1136"/>
                  </a:lnTo>
                  <a:lnTo>
                    <a:pt x="914" y="1138"/>
                  </a:lnTo>
                  <a:lnTo>
                    <a:pt x="914" y="1138"/>
                  </a:lnTo>
                  <a:lnTo>
                    <a:pt x="916" y="1140"/>
                  </a:lnTo>
                  <a:lnTo>
                    <a:pt x="918" y="1142"/>
                  </a:lnTo>
                  <a:lnTo>
                    <a:pt x="918" y="1142"/>
                  </a:lnTo>
                  <a:lnTo>
                    <a:pt x="918" y="1142"/>
                  </a:lnTo>
                  <a:lnTo>
                    <a:pt x="922" y="1142"/>
                  </a:lnTo>
                  <a:lnTo>
                    <a:pt x="922" y="1142"/>
                  </a:lnTo>
                  <a:lnTo>
                    <a:pt x="922" y="1144"/>
                  </a:lnTo>
                  <a:lnTo>
                    <a:pt x="926" y="1144"/>
                  </a:lnTo>
                  <a:lnTo>
                    <a:pt x="928" y="1144"/>
                  </a:lnTo>
                  <a:lnTo>
                    <a:pt x="932" y="1146"/>
                  </a:lnTo>
                  <a:lnTo>
                    <a:pt x="934" y="1146"/>
                  </a:lnTo>
                  <a:lnTo>
                    <a:pt x="934" y="1146"/>
                  </a:lnTo>
                  <a:lnTo>
                    <a:pt x="934" y="1146"/>
                  </a:lnTo>
                  <a:lnTo>
                    <a:pt x="934" y="1146"/>
                  </a:lnTo>
                  <a:lnTo>
                    <a:pt x="936" y="1148"/>
                  </a:lnTo>
                  <a:lnTo>
                    <a:pt x="936" y="1148"/>
                  </a:lnTo>
                  <a:lnTo>
                    <a:pt x="936" y="1148"/>
                  </a:lnTo>
                  <a:lnTo>
                    <a:pt x="938" y="1150"/>
                  </a:lnTo>
                  <a:lnTo>
                    <a:pt x="938" y="1150"/>
                  </a:lnTo>
                  <a:lnTo>
                    <a:pt x="938" y="1150"/>
                  </a:lnTo>
                  <a:lnTo>
                    <a:pt x="940" y="1150"/>
                  </a:lnTo>
                  <a:lnTo>
                    <a:pt x="942" y="1152"/>
                  </a:lnTo>
                  <a:lnTo>
                    <a:pt x="944" y="1152"/>
                  </a:lnTo>
                  <a:lnTo>
                    <a:pt x="944" y="1152"/>
                  </a:lnTo>
                  <a:lnTo>
                    <a:pt x="946" y="1154"/>
                  </a:lnTo>
                  <a:lnTo>
                    <a:pt x="948" y="1156"/>
                  </a:lnTo>
                  <a:lnTo>
                    <a:pt x="948" y="1158"/>
                  </a:lnTo>
                  <a:lnTo>
                    <a:pt x="950" y="1158"/>
                  </a:lnTo>
                  <a:lnTo>
                    <a:pt x="950" y="1162"/>
                  </a:lnTo>
                  <a:lnTo>
                    <a:pt x="952" y="1164"/>
                  </a:lnTo>
                  <a:lnTo>
                    <a:pt x="952" y="1166"/>
                  </a:lnTo>
                  <a:lnTo>
                    <a:pt x="954" y="1168"/>
                  </a:lnTo>
                  <a:lnTo>
                    <a:pt x="956" y="1170"/>
                  </a:lnTo>
                  <a:lnTo>
                    <a:pt x="958" y="1174"/>
                  </a:lnTo>
                  <a:lnTo>
                    <a:pt x="958" y="1176"/>
                  </a:lnTo>
                  <a:lnTo>
                    <a:pt x="958" y="1178"/>
                  </a:lnTo>
                  <a:lnTo>
                    <a:pt x="960" y="1180"/>
                  </a:lnTo>
                  <a:lnTo>
                    <a:pt x="960" y="1180"/>
                  </a:lnTo>
                  <a:lnTo>
                    <a:pt x="960" y="1184"/>
                  </a:lnTo>
                  <a:lnTo>
                    <a:pt x="960" y="1186"/>
                  </a:lnTo>
                  <a:lnTo>
                    <a:pt x="960" y="1186"/>
                  </a:lnTo>
                  <a:lnTo>
                    <a:pt x="960" y="1186"/>
                  </a:lnTo>
                  <a:lnTo>
                    <a:pt x="960" y="1188"/>
                  </a:lnTo>
                  <a:lnTo>
                    <a:pt x="960" y="1188"/>
                  </a:lnTo>
                  <a:lnTo>
                    <a:pt x="960" y="1188"/>
                  </a:lnTo>
                  <a:lnTo>
                    <a:pt x="962" y="1190"/>
                  </a:lnTo>
                  <a:lnTo>
                    <a:pt x="962" y="1190"/>
                  </a:lnTo>
                  <a:lnTo>
                    <a:pt x="962" y="1190"/>
                  </a:lnTo>
                  <a:lnTo>
                    <a:pt x="964" y="1192"/>
                  </a:lnTo>
                  <a:lnTo>
                    <a:pt x="964" y="1192"/>
                  </a:lnTo>
                  <a:lnTo>
                    <a:pt x="966" y="1192"/>
                  </a:lnTo>
                  <a:lnTo>
                    <a:pt x="966" y="1192"/>
                  </a:lnTo>
                  <a:lnTo>
                    <a:pt x="968" y="1190"/>
                  </a:lnTo>
                  <a:lnTo>
                    <a:pt x="970" y="1188"/>
                  </a:lnTo>
                  <a:lnTo>
                    <a:pt x="970" y="1188"/>
                  </a:lnTo>
                  <a:lnTo>
                    <a:pt x="970" y="1188"/>
                  </a:lnTo>
                  <a:lnTo>
                    <a:pt x="970" y="1188"/>
                  </a:lnTo>
                  <a:lnTo>
                    <a:pt x="972" y="1188"/>
                  </a:lnTo>
                  <a:lnTo>
                    <a:pt x="974" y="1188"/>
                  </a:lnTo>
                  <a:lnTo>
                    <a:pt x="974" y="1190"/>
                  </a:lnTo>
                  <a:lnTo>
                    <a:pt x="976" y="1192"/>
                  </a:lnTo>
                  <a:lnTo>
                    <a:pt x="980" y="1198"/>
                  </a:lnTo>
                  <a:lnTo>
                    <a:pt x="984" y="1202"/>
                  </a:lnTo>
                  <a:lnTo>
                    <a:pt x="986" y="1206"/>
                  </a:lnTo>
                  <a:lnTo>
                    <a:pt x="988" y="1208"/>
                  </a:lnTo>
                  <a:lnTo>
                    <a:pt x="990" y="1210"/>
                  </a:lnTo>
                  <a:lnTo>
                    <a:pt x="990" y="1210"/>
                  </a:lnTo>
                  <a:lnTo>
                    <a:pt x="990" y="1210"/>
                  </a:lnTo>
                  <a:lnTo>
                    <a:pt x="992" y="1210"/>
                  </a:lnTo>
                  <a:lnTo>
                    <a:pt x="992" y="1210"/>
                  </a:lnTo>
                  <a:lnTo>
                    <a:pt x="992" y="1212"/>
                  </a:lnTo>
                  <a:lnTo>
                    <a:pt x="998" y="1212"/>
                  </a:lnTo>
                  <a:lnTo>
                    <a:pt x="1004" y="1214"/>
                  </a:lnTo>
                  <a:lnTo>
                    <a:pt x="1010" y="1214"/>
                  </a:lnTo>
                  <a:lnTo>
                    <a:pt x="1014" y="1214"/>
                  </a:lnTo>
                  <a:lnTo>
                    <a:pt x="1020" y="1214"/>
                  </a:lnTo>
                  <a:lnTo>
                    <a:pt x="1026" y="1212"/>
                  </a:lnTo>
                  <a:lnTo>
                    <a:pt x="1030" y="1212"/>
                  </a:lnTo>
                  <a:lnTo>
                    <a:pt x="1030" y="1212"/>
                  </a:lnTo>
                  <a:lnTo>
                    <a:pt x="1030" y="1212"/>
                  </a:lnTo>
                  <a:lnTo>
                    <a:pt x="1036" y="1208"/>
                  </a:lnTo>
                  <a:lnTo>
                    <a:pt x="1036" y="1208"/>
                  </a:lnTo>
                  <a:lnTo>
                    <a:pt x="1036" y="1208"/>
                  </a:lnTo>
                  <a:lnTo>
                    <a:pt x="1038" y="1208"/>
                  </a:lnTo>
                  <a:lnTo>
                    <a:pt x="1040" y="1206"/>
                  </a:lnTo>
                  <a:lnTo>
                    <a:pt x="1042" y="1204"/>
                  </a:lnTo>
                  <a:lnTo>
                    <a:pt x="1044" y="1202"/>
                  </a:lnTo>
                  <a:lnTo>
                    <a:pt x="1044" y="1200"/>
                  </a:lnTo>
                  <a:lnTo>
                    <a:pt x="1046" y="1200"/>
                  </a:lnTo>
                  <a:lnTo>
                    <a:pt x="1048" y="1200"/>
                  </a:lnTo>
                  <a:lnTo>
                    <a:pt x="1048" y="1200"/>
                  </a:lnTo>
                  <a:lnTo>
                    <a:pt x="1050" y="1200"/>
                  </a:lnTo>
                  <a:lnTo>
                    <a:pt x="1050" y="1202"/>
                  </a:lnTo>
                  <a:lnTo>
                    <a:pt x="1052" y="1204"/>
                  </a:lnTo>
                  <a:lnTo>
                    <a:pt x="1054" y="1206"/>
                  </a:lnTo>
                  <a:lnTo>
                    <a:pt x="1054" y="1206"/>
                  </a:lnTo>
                  <a:lnTo>
                    <a:pt x="1054" y="1206"/>
                  </a:lnTo>
                  <a:lnTo>
                    <a:pt x="1056" y="1206"/>
                  </a:lnTo>
                  <a:lnTo>
                    <a:pt x="1056" y="1206"/>
                  </a:lnTo>
                  <a:lnTo>
                    <a:pt x="1056" y="1206"/>
                  </a:lnTo>
                  <a:lnTo>
                    <a:pt x="1060" y="1208"/>
                  </a:lnTo>
                  <a:lnTo>
                    <a:pt x="1062" y="1210"/>
                  </a:lnTo>
                  <a:lnTo>
                    <a:pt x="1066" y="1210"/>
                  </a:lnTo>
                  <a:lnTo>
                    <a:pt x="1070" y="1210"/>
                  </a:lnTo>
                  <a:lnTo>
                    <a:pt x="1072" y="1210"/>
                  </a:lnTo>
                  <a:lnTo>
                    <a:pt x="1076" y="1210"/>
                  </a:lnTo>
                  <a:lnTo>
                    <a:pt x="1080" y="1208"/>
                  </a:lnTo>
                  <a:lnTo>
                    <a:pt x="1084" y="1206"/>
                  </a:lnTo>
                  <a:lnTo>
                    <a:pt x="1084" y="1206"/>
                  </a:lnTo>
                  <a:lnTo>
                    <a:pt x="1084" y="1206"/>
                  </a:lnTo>
                  <a:lnTo>
                    <a:pt x="1086" y="1206"/>
                  </a:lnTo>
                  <a:lnTo>
                    <a:pt x="1086" y="1206"/>
                  </a:lnTo>
                  <a:lnTo>
                    <a:pt x="1086" y="1206"/>
                  </a:lnTo>
                  <a:lnTo>
                    <a:pt x="1088" y="1204"/>
                  </a:lnTo>
                  <a:lnTo>
                    <a:pt x="1092" y="1200"/>
                  </a:lnTo>
                  <a:lnTo>
                    <a:pt x="1094" y="1198"/>
                  </a:lnTo>
                  <a:lnTo>
                    <a:pt x="1094" y="1196"/>
                  </a:lnTo>
                  <a:lnTo>
                    <a:pt x="1094" y="1196"/>
                  </a:lnTo>
                  <a:lnTo>
                    <a:pt x="1132" y="1196"/>
                  </a:lnTo>
                  <a:lnTo>
                    <a:pt x="1136" y="1196"/>
                  </a:lnTo>
                  <a:lnTo>
                    <a:pt x="1140" y="1196"/>
                  </a:lnTo>
                  <a:lnTo>
                    <a:pt x="1144" y="1194"/>
                  </a:lnTo>
                  <a:lnTo>
                    <a:pt x="1146" y="1192"/>
                  </a:lnTo>
                  <a:lnTo>
                    <a:pt x="1152" y="1188"/>
                  </a:lnTo>
                  <a:lnTo>
                    <a:pt x="1158" y="1186"/>
                  </a:lnTo>
                  <a:lnTo>
                    <a:pt x="1162" y="1184"/>
                  </a:lnTo>
                  <a:lnTo>
                    <a:pt x="1164" y="1182"/>
                  </a:lnTo>
                  <a:lnTo>
                    <a:pt x="1170" y="1180"/>
                  </a:lnTo>
                  <a:lnTo>
                    <a:pt x="1176" y="1178"/>
                  </a:lnTo>
                  <a:lnTo>
                    <a:pt x="1180" y="1176"/>
                  </a:lnTo>
                  <a:lnTo>
                    <a:pt x="1182" y="1174"/>
                  </a:lnTo>
                  <a:lnTo>
                    <a:pt x="1186" y="1174"/>
                  </a:lnTo>
                  <a:lnTo>
                    <a:pt x="1188" y="1172"/>
                  </a:lnTo>
                  <a:lnTo>
                    <a:pt x="1190" y="1170"/>
                  </a:lnTo>
                  <a:lnTo>
                    <a:pt x="1190" y="1168"/>
                  </a:lnTo>
                  <a:lnTo>
                    <a:pt x="1190" y="1168"/>
                  </a:lnTo>
                  <a:lnTo>
                    <a:pt x="1192" y="1168"/>
                  </a:lnTo>
                  <a:lnTo>
                    <a:pt x="1192" y="1168"/>
                  </a:lnTo>
                  <a:lnTo>
                    <a:pt x="1192" y="1168"/>
                  </a:lnTo>
                  <a:lnTo>
                    <a:pt x="1192" y="1166"/>
                  </a:lnTo>
                  <a:lnTo>
                    <a:pt x="1192" y="1166"/>
                  </a:lnTo>
                  <a:lnTo>
                    <a:pt x="1192" y="1166"/>
                  </a:lnTo>
                  <a:lnTo>
                    <a:pt x="1194" y="1164"/>
                  </a:lnTo>
                  <a:lnTo>
                    <a:pt x="1194" y="1162"/>
                  </a:lnTo>
                  <a:lnTo>
                    <a:pt x="1194" y="1162"/>
                  </a:lnTo>
                  <a:lnTo>
                    <a:pt x="1194" y="1162"/>
                  </a:lnTo>
                  <a:lnTo>
                    <a:pt x="1192" y="1158"/>
                  </a:lnTo>
                  <a:lnTo>
                    <a:pt x="1192" y="1156"/>
                  </a:lnTo>
                  <a:lnTo>
                    <a:pt x="1192" y="1152"/>
                  </a:lnTo>
                  <a:lnTo>
                    <a:pt x="1192" y="1150"/>
                  </a:lnTo>
                  <a:lnTo>
                    <a:pt x="1192" y="1148"/>
                  </a:lnTo>
                  <a:lnTo>
                    <a:pt x="1192" y="1148"/>
                  </a:lnTo>
                  <a:lnTo>
                    <a:pt x="1194" y="1144"/>
                  </a:lnTo>
                  <a:lnTo>
                    <a:pt x="1196" y="1142"/>
                  </a:lnTo>
                  <a:lnTo>
                    <a:pt x="1200" y="1140"/>
                  </a:lnTo>
                  <a:lnTo>
                    <a:pt x="1202" y="1136"/>
                  </a:lnTo>
                  <a:lnTo>
                    <a:pt x="1202" y="1136"/>
                  </a:lnTo>
                  <a:lnTo>
                    <a:pt x="1202" y="1136"/>
                  </a:lnTo>
                  <a:lnTo>
                    <a:pt x="1204" y="1134"/>
                  </a:lnTo>
                  <a:lnTo>
                    <a:pt x="1204" y="1134"/>
                  </a:lnTo>
                  <a:lnTo>
                    <a:pt x="1204" y="1134"/>
                  </a:lnTo>
                  <a:lnTo>
                    <a:pt x="1204" y="1132"/>
                  </a:lnTo>
                  <a:lnTo>
                    <a:pt x="1204" y="1132"/>
                  </a:lnTo>
                  <a:lnTo>
                    <a:pt x="1204" y="1132"/>
                  </a:lnTo>
                  <a:lnTo>
                    <a:pt x="1204" y="1130"/>
                  </a:lnTo>
                  <a:lnTo>
                    <a:pt x="1204" y="1130"/>
                  </a:lnTo>
                  <a:lnTo>
                    <a:pt x="1204" y="1130"/>
                  </a:lnTo>
                  <a:lnTo>
                    <a:pt x="1204" y="1128"/>
                  </a:lnTo>
                  <a:lnTo>
                    <a:pt x="1204" y="1128"/>
                  </a:lnTo>
                  <a:lnTo>
                    <a:pt x="1204" y="1126"/>
                  </a:lnTo>
                  <a:lnTo>
                    <a:pt x="1204" y="1124"/>
                  </a:lnTo>
                  <a:lnTo>
                    <a:pt x="1204" y="1124"/>
                  </a:lnTo>
                  <a:lnTo>
                    <a:pt x="1204" y="1124"/>
                  </a:lnTo>
                  <a:lnTo>
                    <a:pt x="1202" y="1122"/>
                  </a:lnTo>
                  <a:lnTo>
                    <a:pt x="1202" y="1122"/>
                  </a:lnTo>
                  <a:lnTo>
                    <a:pt x="1200" y="1120"/>
                  </a:lnTo>
                  <a:lnTo>
                    <a:pt x="1198" y="1120"/>
                  </a:lnTo>
                  <a:lnTo>
                    <a:pt x="1196" y="1120"/>
                  </a:lnTo>
                  <a:lnTo>
                    <a:pt x="1196" y="1120"/>
                  </a:lnTo>
                  <a:lnTo>
                    <a:pt x="1196" y="1120"/>
                  </a:lnTo>
                  <a:lnTo>
                    <a:pt x="1196" y="1118"/>
                  </a:lnTo>
                  <a:lnTo>
                    <a:pt x="1194" y="1116"/>
                  </a:lnTo>
                  <a:lnTo>
                    <a:pt x="1194" y="1114"/>
                  </a:lnTo>
                  <a:lnTo>
                    <a:pt x="1194" y="1110"/>
                  </a:lnTo>
                  <a:lnTo>
                    <a:pt x="1194" y="1110"/>
                  </a:lnTo>
                  <a:lnTo>
                    <a:pt x="1194" y="1110"/>
                  </a:lnTo>
                  <a:lnTo>
                    <a:pt x="1194" y="1106"/>
                  </a:lnTo>
                  <a:lnTo>
                    <a:pt x="1194" y="1106"/>
                  </a:lnTo>
                  <a:lnTo>
                    <a:pt x="1194" y="1106"/>
                  </a:lnTo>
                  <a:lnTo>
                    <a:pt x="1192" y="1102"/>
                  </a:lnTo>
                  <a:lnTo>
                    <a:pt x="1192" y="1102"/>
                  </a:lnTo>
                  <a:lnTo>
                    <a:pt x="1192" y="1102"/>
                  </a:lnTo>
                  <a:lnTo>
                    <a:pt x="1190" y="1100"/>
                  </a:lnTo>
                  <a:lnTo>
                    <a:pt x="1190" y="1100"/>
                  </a:lnTo>
                  <a:lnTo>
                    <a:pt x="1188" y="1100"/>
                  </a:lnTo>
                  <a:lnTo>
                    <a:pt x="1186" y="1100"/>
                  </a:lnTo>
                  <a:lnTo>
                    <a:pt x="1186" y="1100"/>
                  </a:lnTo>
                  <a:lnTo>
                    <a:pt x="1186" y="1100"/>
                  </a:lnTo>
                  <a:lnTo>
                    <a:pt x="1182" y="1098"/>
                  </a:lnTo>
                  <a:lnTo>
                    <a:pt x="1180" y="1098"/>
                  </a:lnTo>
                  <a:lnTo>
                    <a:pt x="1178" y="1098"/>
                  </a:lnTo>
                  <a:lnTo>
                    <a:pt x="1178" y="1098"/>
                  </a:lnTo>
                  <a:lnTo>
                    <a:pt x="1176" y="1096"/>
                  </a:lnTo>
                  <a:lnTo>
                    <a:pt x="1176" y="1096"/>
                  </a:lnTo>
                  <a:lnTo>
                    <a:pt x="1176" y="1096"/>
                  </a:lnTo>
                  <a:lnTo>
                    <a:pt x="1178" y="1094"/>
                  </a:lnTo>
                  <a:lnTo>
                    <a:pt x="1178" y="1094"/>
                  </a:lnTo>
                  <a:lnTo>
                    <a:pt x="1178" y="1094"/>
                  </a:lnTo>
                  <a:lnTo>
                    <a:pt x="1178" y="1094"/>
                  </a:lnTo>
                  <a:lnTo>
                    <a:pt x="1178" y="1094"/>
                  </a:lnTo>
                  <a:lnTo>
                    <a:pt x="1178" y="1094"/>
                  </a:lnTo>
                  <a:lnTo>
                    <a:pt x="1180" y="1094"/>
                  </a:lnTo>
                  <a:lnTo>
                    <a:pt x="1180" y="1094"/>
                  </a:lnTo>
                  <a:lnTo>
                    <a:pt x="1180" y="1092"/>
                  </a:lnTo>
                  <a:lnTo>
                    <a:pt x="1182" y="1092"/>
                  </a:lnTo>
                  <a:lnTo>
                    <a:pt x="1182" y="1092"/>
                  </a:lnTo>
                  <a:lnTo>
                    <a:pt x="1182" y="1092"/>
                  </a:lnTo>
                  <a:lnTo>
                    <a:pt x="1182" y="1090"/>
                  </a:lnTo>
                  <a:lnTo>
                    <a:pt x="1182" y="1090"/>
                  </a:lnTo>
                  <a:lnTo>
                    <a:pt x="1182" y="1090"/>
                  </a:lnTo>
                  <a:lnTo>
                    <a:pt x="1184" y="1088"/>
                  </a:lnTo>
                  <a:lnTo>
                    <a:pt x="1184" y="1088"/>
                  </a:lnTo>
                  <a:lnTo>
                    <a:pt x="1184" y="1088"/>
                  </a:lnTo>
                  <a:lnTo>
                    <a:pt x="1184" y="1086"/>
                  </a:lnTo>
                  <a:lnTo>
                    <a:pt x="1184" y="1084"/>
                  </a:lnTo>
                  <a:lnTo>
                    <a:pt x="1184" y="1084"/>
                  </a:lnTo>
                  <a:lnTo>
                    <a:pt x="1184" y="1082"/>
                  </a:lnTo>
                  <a:lnTo>
                    <a:pt x="1184" y="1082"/>
                  </a:lnTo>
                  <a:lnTo>
                    <a:pt x="1184" y="1082"/>
                  </a:lnTo>
                  <a:lnTo>
                    <a:pt x="1184" y="1080"/>
                  </a:lnTo>
                  <a:lnTo>
                    <a:pt x="1182" y="1078"/>
                  </a:lnTo>
                  <a:lnTo>
                    <a:pt x="1182" y="1078"/>
                  </a:lnTo>
                  <a:lnTo>
                    <a:pt x="1182" y="1078"/>
                  </a:lnTo>
                  <a:lnTo>
                    <a:pt x="1180" y="1076"/>
                  </a:lnTo>
                  <a:lnTo>
                    <a:pt x="1178" y="1074"/>
                  </a:lnTo>
                  <a:lnTo>
                    <a:pt x="1178" y="1074"/>
                  </a:lnTo>
                  <a:lnTo>
                    <a:pt x="1178" y="1074"/>
                  </a:lnTo>
                  <a:lnTo>
                    <a:pt x="1180" y="1072"/>
                  </a:lnTo>
                  <a:lnTo>
                    <a:pt x="1182" y="1070"/>
                  </a:lnTo>
                  <a:lnTo>
                    <a:pt x="1186" y="1068"/>
                  </a:lnTo>
                  <a:lnTo>
                    <a:pt x="1190" y="1066"/>
                  </a:lnTo>
                  <a:lnTo>
                    <a:pt x="1194" y="1066"/>
                  </a:lnTo>
                  <a:lnTo>
                    <a:pt x="1196" y="1064"/>
                  </a:lnTo>
                  <a:lnTo>
                    <a:pt x="1196" y="1064"/>
                  </a:lnTo>
                  <a:lnTo>
                    <a:pt x="1198" y="1064"/>
                  </a:lnTo>
                  <a:lnTo>
                    <a:pt x="1200" y="1062"/>
                  </a:lnTo>
                  <a:lnTo>
                    <a:pt x="1200" y="1062"/>
                  </a:lnTo>
                  <a:lnTo>
                    <a:pt x="1200" y="1058"/>
                  </a:lnTo>
                  <a:lnTo>
                    <a:pt x="1200" y="1058"/>
                  </a:lnTo>
                  <a:lnTo>
                    <a:pt x="1198" y="1056"/>
                  </a:lnTo>
                  <a:lnTo>
                    <a:pt x="1196" y="1056"/>
                  </a:lnTo>
                  <a:lnTo>
                    <a:pt x="1192" y="1056"/>
                  </a:lnTo>
                  <a:lnTo>
                    <a:pt x="1192" y="1056"/>
                  </a:lnTo>
                  <a:lnTo>
                    <a:pt x="1186" y="1054"/>
                  </a:lnTo>
                  <a:lnTo>
                    <a:pt x="1180" y="1056"/>
                  </a:lnTo>
                  <a:lnTo>
                    <a:pt x="1174" y="1056"/>
                  </a:lnTo>
                  <a:lnTo>
                    <a:pt x="1172" y="1056"/>
                  </a:lnTo>
                  <a:lnTo>
                    <a:pt x="1172" y="1056"/>
                  </a:lnTo>
                  <a:lnTo>
                    <a:pt x="1170" y="1054"/>
                  </a:lnTo>
                  <a:lnTo>
                    <a:pt x="1170" y="1054"/>
                  </a:lnTo>
                  <a:lnTo>
                    <a:pt x="1170" y="1054"/>
                  </a:lnTo>
                  <a:lnTo>
                    <a:pt x="1170" y="1052"/>
                  </a:lnTo>
                  <a:lnTo>
                    <a:pt x="1170" y="1048"/>
                  </a:lnTo>
                  <a:lnTo>
                    <a:pt x="1170" y="1046"/>
                  </a:lnTo>
                  <a:lnTo>
                    <a:pt x="1170" y="1046"/>
                  </a:lnTo>
                  <a:lnTo>
                    <a:pt x="1170" y="1042"/>
                  </a:lnTo>
                  <a:lnTo>
                    <a:pt x="1170" y="1042"/>
                  </a:lnTo>
                  <a:lnTo>
                    <a:pt x="1168" y="1042"/>
                  </a:lnTo>
                  <a:lnTo>
                    <a:pt x="1166" y="1042"/>
                  </a:lnTo>
                  <a:lnTo>
                    <a:pt x="1166" y="1040"/>
                  </a:lnTo>
                  <a:lnTo>
                    <a:pt x="1164" y="1040"/>
                  </a:lnTo>
                  <a:lnTo>
                    <a:pt x="1162" y="1038"/>
                  </a:lnTo>
                  <a:lnTo>
                    <a:pt x="1160" y="1034"/>
                  </a:lnTo>
                  <a:lnTo>
                    <a:pt x="1156" y="1030"/>
                  </a:lnTo>
                  <a:lnTo>
                    <a:pt x="1154" y="1026"/>
                  </a:lnTo>
                  <a:lnTo>
                    <a:pt x="1152" y="1026"/>
                  </a:lnTo>
                  <a:lnTo>
                    <a:pt x="1150" y="1024"/>
                  </a:lnTo>
                  <a:lnTo>
                    <a:pt x="1150" y="1024"/>
                  </a:lnTo>
                  <a:lnTo>
                    <a:pt x="1150" y="1024"/>
                  </a:lnTo>
                  <a:lnTo>
                    <a:pt x="1148" y="1022"/>
                  </a:lnTo>
                  <a:lnTo>
                    <a:pt x="1148" y="1022"/>
                  </a:lnTo>
                  <a:lnTo>
                    <a:pt x="1148" y="1022"/>
                  </a:lnTo>
                  <a:lnTo>
                    <a:pt x="1146" y="1022"/>
                  </a:lnTo>
                  <a:lnTo>
                    <a:pt x="1146" y="1022"/>
                  </a:lnTo>
                  <a:lnTo>
                    <a:pt x="1144" y="1024"/>
                  </a:lnTo>
                  <a:lnTo>
                    <a:pt x="1144" y="1024"/>
                  </a:lnTo>
                  <a:lnTo>
                    <a:pt x="1144" y="1024"/>
                  </a:lnTo>
                  <a:lnTo>
                    <a:pt x="1142" y="1026"/>
                  </a:lnTo>
                  <a:lnTo>
                    <a:pt x="1142" y="1028"/>
                  </a:lnTo>
                  <a:lnTo>
                    <a:pt x="1142" y="1028"/>
                  </a:lnTo>
                  <a:lnTo>
                    <a:pt x="1140" y="1028"/>
                  </a:lnTo>
                  <a:lnTo>
                    <a:pt x="1140" y="1030"/>
                  </a:lnTo>
                  <a:lnTo>
                    <a:pt x="1140" y="1032"/>
                  </a:lnTo>
                  <a:lnTo>
                    <a:pt x="1140" y="1032"/>
                  </a:lnTo>
                  <a:lnTo>
                    <a:pt x="1138" y="1034"/>
                  </a:lnTo>
                  <a:lnTo>
                    <a:pt x="1138" y="1034"/>
                  </a:lnTo>
                  <a:lnTo>
                    <a:pt x="1138" y="1034"/>
                  </a:lnTo>
                  <a:lnTo>
                    <a:pt x="1138" y="1036"/>
                  </a:lnTo>
                  <a:lnTo>
                    <a:pt x="1140" y="1038"/>
                  </a:lnTo>
                  <a:lnTo>
                    <a:pt x="1140" y="1042"/>
                  </a:lnTo>
                  <a:lnTo>
                    <a:pt x="1140" y="1042"/>
                  </a:lnTo>
                  <a:lnTo>
                    <a:pt x="1140" y="1044"/>
                  </a:lnTo>
                  <a:lnTo>
                    <a:pt x="1138" y="1046"/>
                  </a:lnTo>
                  <a:lnTo>
                    <a:pt x="1138" y="1048"/>
                  </a:lnTo>
                  <a:lnTo>
                    <a:pt x="1136" y="1050"/>
                  </a:lnTo>
                  <a:lnTo>
                    <a:pt x="1136" y="1050"/>
                  </a:lnTo>
                  <a:lnTo>
                    <a:pt x="1134" y="1050"/>
                  </a:lnTo>
                  <a:lnTo>
                    <a:pt x="1134" y="1050"/>
                  </a:lnTo>
                  <a:lnTo>
                    <a:pt x="1134" y="1048"/>
                  </a:lnTo>
                  <a:lnTo>
                    <a:pt x="1134" y="1048"/>
                  </a:lnTo>
                  <a:lnTo>
                    <a:pt x="1134" y="1046"/>
                  </a:lnTo>
                  <a:lnTo>
                    <a:pt x="1132" y="1046"/>
                  </a:lnTo>
                  <a:lnTo>
                    <a:pt x="1128" y="1046"/>
                  </a:lnTo>
                  <a:lnTo>
                    <a:pt x="1126" y="1046"/>
                  </a:lnTo>
                  <a:lnTo>
                    <a:pt x="1124" y="1044"/>
                  </a:lnTo>
                  <a:lnTo>
                    <a:pt x="1122" y="1044"/>
                  </a:lnTo>
                  <a:lnTo>
                    <a:pt x="1120" y="1042"/>
                  </a:lnTo>
                  <a:lnTo>
                    <a:pt x="1120" y="1042"/>
                  </a:lnTo>
                  <a:lnTo>
                    <a:pt x="1120" y="1042"/>
                  </a:lnTo>
                  <a:lnTo>
                    <a:pt x="1116" y="1040"/>
                  </a:lnTo>
                  <a:lnTo>
                    <a:pt x="1116" y="1040"/>
                  </a:lnTo>
                  <a:lnTo>
                    <a:pt x="1116" y="1040"/>
                  </a:lnTo>
                  <a:lnTo>
                    <a:pt x="1114" y="1040"/>
                  </a:lnTo>
                  <a:lnTo>
                    <a:pt x="1114" y="1040"/>
                  </a:lnTo>
                  <a:lnTo>
                    <a:pt x="1112" y="1040"/>
                  </a:lnTo>
                  <a:lnTo>
                    <a:pt x="1110" y="1042"/>
                  </a:lnTo>
                  <a:lnTo>
                    <a:pt x="1110" y="1042"/>
                  </a:lnTo>
                  <a:lnTo>
                    <a:pt x="1108" y="1044"/>
                  </a:lnTo>
                  <a:lnTo>
                    <a:pt x="1108" y="1046"/>
                  </a:lnTo>
                  <a:lnTo>
                    <a:pt x="1106" y="1048"/>
                  </a:lnTo>
                  <a:lnTo>
                    <a:pt x="1106" y="1050"/>
                  </a:lnTo>
                  <a:lnTo>
                    <a:pt x="1106" y="1048"/>
                  </a:lnTo>
                  <a:lnTo>
                    <a:pt x="1104" y="1046"/>
                  </a:lnTo>
                  <a:lnTo>
                    <a:pt x="1104" y="1044"/>
                  </a:lnTo>
                  <a:lnTo>
                    <a:pt x="1102" y="1040"/>
                  </a:lnTo>
                  <a:lnTo>
                    <a:pt x="1102" y="1038"/>
                  </a:lnTo>
                  <a:lnTo>
                    <a:pt x="1102" y="1038"/>
                  </a:lnTo>
                  <a:lnTo>
                    <a:pt x="1102" y="1038"/>
                  </a:lnTo>
                  <a:lnTo>
                    <a:pt x="1102" y="1038"/>
                  </a:lnTo>
                  <a:lnTo>
                    <a:pt x="1102" y="1038"/>
                  </a:lnTo>
                  <a:lnTo>
                    <a:pt x="1102" y="1036"/>
                  </a:lnTo>
                  <a:lnTo>
                    <a:pt x="1100" y="1036"/>
                  </a:lnTo>
                  <a:lnTo>
                    <a:pt x="1098" y="1034"/>
                  </a:lnTo>
                  <a:lnTo>
                    <a:pt x="1098" y="1034"/>
                  </a:lnTo>
                  <a:lnTo>
                    <a:pt x="1098" y="1034"/>
                  </a:lnTo>
                  <a:lnTo>
                    <a:pt x="1098" y="1034"/>
                  </a:lnTo>
                  <a:lnTo>
                    <a:pt x="1096" y="1032"/>
                  </a:lnTo>
                  <a:lnTo>
                    <a:pt x="1096" y="1032"/>
                  </a:lnTo>
                  <a:lnTo>
                    <a:pt x="1094" y="1032"/>
                  </a:lnTo>
                  <a:lnTo>
                    <a:pt x="1092" y="1032"/>
                  </a:lnTo>
                  <a:lnTo>
                    <a:pt x="1092" y="1032"/>
                  </a:lnTo>
                  <a:lnTo>
                    <a:pt x="1092" y="1032"/>
                  </a:lnTo>
                  <a:lnTo>
                    <a:pt x="1090" y="1034"/>
                  </a:lnTo>
                  <a:lnTo>
                    <a:pt x="1090" y="1034"/>
                  </a:lnTo>
                  <a:lnTo>
                    <a:pt x="1090" y="1034"/>
                  </a:lnTo>
                  <a:lnTo>
                    <a:pt x="1090" y="1036"/>
                  </a:lnTo>
                  <a:lnTo>
                    <a:pt x="1090" y="1036"/>
                  </a:lnTo>
                  <a:lnTo>
                    <a:pt x="1088" y="1036"/>
                  </a:lnTo>
                  <a:lnTo>
                    <a:pt x="1088" y="1038"/>
                  </a:lnTo>
                  <a:lnTo>
                    <a:pt x="1088" y="1038"/>
                  </a:lnTo>
                  <a:lnTo>
                    <a:pt x="1088" y="1038"/>
                  </a:lnTo>
                  <a:lnTo>
                    <a:pt x="1088" y="1042"/>
                  </a:lnTo>
                  <a:lnTo>
                    <a:pt x="1088" y="1042"/>
                  </a:lnTo>
                  <a:lnTo>
                    <a:pt x="1088" y="1042"/>
                  </a:lnTo>
                  <a:lnTo>
                    <a:pt x="1088" y="1048"/>
                  </a:lnTo>
                  <a:lnTo>
                    <a:pt x="1088" y="1052"/>
                  </a:lnTo>
                  <a:lnTo>
                    <a:pt x="1088" y="1050"/>
                  </a:lnTo>
                  <a:lnTo>
                    <a:pt x="1088" y="1050"/>
                  </a:lnTo>
                  <a:lnTo>
                    <a:pt x="1088" y="1050"/>
                  </a:lnTo>
                  <a:lnTo>
                    <a:pt x="1086" y="1046"/>
                  </a:lnTo>
                  <a:lnTo>
                    <a:pt x="1084" y="1044"/>
                  </a:lnTo>
                  <a:lnTo>
                    <a:pt x="1082" y="1040"/>
                  </a:lnTo>
                  <a:lnTo>
                    <a:pt x="1082" y="1040"/>
                  </a:lnTo>
                  <a:lnTo>
                    <a:pt x="1082" y="1040"/>
                  </a:lnTo>
                  <a:lnTo>
                    <a:pt x="1082" y="1038"/>
                  </a:lnTo>
                  <a:lnTo>
                    <a:pt x="1082" y="1038"/>
                  </a:lnTo>
                  <a:lnTo>
                    <a:pt x="1084" y="1036"/>
                  </a:lnTo>
                  <a:lnTo>
                    <a:pt x="1084" y="1034"/>
                  </a:lnTo>
                  <a:lnTo>
                    <a:pt x="1084" y="1034"/>
                  </a:lnTo>
                  <a:lnTo>
                    <a:pt x="1084" y="1032"/>
                  </a:lnTo>
                  <a:lnTo>
                    <a:pt x="1084" y="1032"/>
                  </a:lnTo>
                  <a:lnTo>
                    <a:pt x="1084" y="1032"/>
                  </a:lnTo>
                  <a:lnTo>
                    <a:pt x="1084" y="1030"/>
                  </a:lnTo>
                  <a:lnTo>
                    <a:pt x="1084" y="1028"/>
                  </a:lnTo>
                  <a:lnTo>
                    <a:pt x="1084" y="1028"/>
                  </a:lnTo>
                  <a:lnTo>
                    <a:pt x="1084" y="1028"/>
                  </a:lnTo>
                  <a:lnTo>
                    <a:pt x="1082" y="1026"/>
                  </a:lnTo>
                  <a:lnTo>
                    <a:pt x="1082" y="1026"/>
                  </a:lnTo>
                  <a:lnTo>
                    <a:pt x="1082" y="1026"/>
                  </a:lnTo>
                  <a:lnTo>
                    <a:pt x="1082" y="1026"/>
                  </a:lnTo>
                  <a:lnTo>
                    <a:pt x="1082" y="1026"/>
                  </a:lnTo>
                  <a:lnTo>
                    <a:pt x="1080" y="1026"/>
                  </a:lnTo>
                  <a:lnTo>
                    <a:pt x="1078" y="1026"/>
                  </a:lnTo>
                  <a:lnTo>
                    <a:pt x="1078" y="1024"/>
                  </a:lnTo>
                  <a:lnTo>
                    <a:pt x="1076" y="1024"/>
                  </a:lnTo>
                  <a:lnTo>
                    <a:pt x="1076" y="1024"/>
                  </a:lnTo>
                  <a:lnTo>
                    <a:pt x="1074" y="1024"/>
                  </a:lnTo>
                  <a:lnTo>
                    <a:pt x="1074" y="1024"/>
                  </a:lnTo>
                  <a:lnTo>
                    <a:pt x="1074" y="1024"/>
                  </a:lnTo>
                  <a:lnTo>
                    <a:pt x="1072" y="1024"/>
                  </a:lnTo>
                  <a:lnTo>
                    <a:pt x="1070" y="1024"/>
                  </a:lnTo>
                  <a:lnTo>
                    <a:pt x="1070" y="1024"/>
                  </a:lnTo>
                  <a:lnTo>
                    <a:pt x="1070" y="1024"/>
                  </a:lnTo>
                  <a:lnTo>
                    <a:pt x="1068" y="1026"/>
                  </a:lnTo>
                  <a:lnTo>
                    <a:pt x="1068" y="1026"/>
                  </a:lnTo>
                  <a:lnTo>
                    <a:pt x="1068" y="1026"/>
                  </a:lnTo>
                  <a:lnTo>
                    <a:pt x="1066" y="1028"/>
                  </a:lnTo>
                  <a:lnTo>
                    <a:pt x="1066" y="1028"/>
                  </a:lnTo>
                  <a:lnTo>
                    <a:pt x="1066" y="1028"/>
                  </a:lnTo>
                  <a:lnTo>
                    <a:pt x="1066" y="1026"/>
                  </a:lnTo>
                  <a:lnTo>
                    <a:pt x="1066" y="1026"/>
                  </a:lnTo>
                  <a:lnTo>
                    <a:pt x="1066" y="1026"/>
                  </a:lnTo>
                  <a:lnTo>
                    <a:pt x="1066" y="1024"/>
                  </a:lnTo>
                  <a:lnTo>
                    <a:pt x="1064" y="1024"/>
                  </a:lnTo>
                  <a:lnTo>
                    <a:pt x="1064" y="1024"/>
                  </a:lnTo>
                  <a:lnTo>
                    <a:pt x="1064" y="1022"/>
                  </a:lnTo>
                  <a:lnTo>
                    <a:pt x="1062" y="1022"/>
                  </a:lnTo>
                  <a:lnTo>
                    <a:pt x="1062" y="1022"/>
                  </a:lnTo>
                  <a:lnTo>
                    <a:pt x="1060" y="1022"/>
                  </a:lnTo>
                  <a:lnTo>
                    <a:pt x="1060" y="1022"/>
                  </a:lnTo>
                  <a:lnTo>
                    <a:pt x="1060" y="1022"/>
                  </a:lnTo>
                  <a:lnTo>
                    <a:pt x="1058" y="1022"/>
                  </a:lnTo>
                  <a:lnTo>
                    <a:pt x="1058" y="1024"/>
                  </a:lnTo>
                  <a:lnTo>
                    <a:pt x="1058" y="1024"/>
                  </a:lnTo>
                  <a:lnTo>
                    <a:pt x="1058" y="1024"/>
                  </a:lnTo>
                  <a:lnTo>
                    <a:pt x="1056" y="1024"/>
                  </a:lnTo>
                  <a:lnTo>
                    <a:pt x="1056" y="1024"/>
                  </a:lnTo>
                  <a:lnTo>
                    <a:pt x="1056" y="1026"/>
                  </a:lnTo>
                  <a:lnTo>
                    <a:pt x="1054" y="1028"/>
                  </a:lnTo>
                  <a:lnTo>
                    <a:pt x="1054" y="1028"/>
                  </a:lnTo>
                  <a:lnTo>
                    <a:pt x="1054" y="1028"/>
                  </a:lnTo>
                  <a:lnTo>
                    <a:pt x="1052" y="1032"/>
                  </a:lnTo>
                  <a:lnTo>
                    <a:pt x="1052" y="1036"/>
                  </a:lnTo>
                  <a:lnTo>
                    <a:pt x="1052" y="1036"/>
                  </a:lnTo>
                  <a:lnTo>
                    <a:pt x="1052" y="1034"/>
                  </a:lnTo>
                  <a:lnTo>
                    <a:pt x="1052" y="1034"/>
                  </a:lnTo>
                  <a:lnTo>
                    <a:pt x="1050" y="1034"/>
                  </a:lnTo>
                  <a:lnTo>
                    <a:pt x="1048" y="1032"/>
                  </a:lnTo>
                  <a:lnTo>
                    <a:pt x="1046" y="1030"/>
                  </a:lnTo>
                  <a:lnTo>
                    <a:pt x="1044" y="1028"/>
                  </a:lnTo>
                  <a:lnTo>
                    <a:pt x="1044" y="1026"/>
                  </a:lnTo>
                  <a:lnTo>
                    <a:pt x="1042" y="1018"/>
                  </a:lnTo>
                  <a:lnTo>
                    <a:pt x="1042" y="1016"/>
                  </a:lnTo>
                  <a:lnTo>
                    <a:pt x="1042" y="1016"/>
                  </a:lnTo>
                  <a:lnTo>
                    <a:pt x="1042" y="1014"/>
                  </a:lnTo>
                  <a:lnTo>
                    <a:pt x="1040" y="1012"/>
                  </a:lnTo>
                  <a:lnTo>
                    <a:pt x="1040" y="1012"/>
                  </a:lnTo>
                  <a:lnTo>
                    <a:pt x="1040" y="1010"/>
                  </a:lnTo>
                  <a:lnTo>
                    <a:pt x="1040" y="1010"/>
                  </a:lnTo>
                  <a:lnTo>
                    <a:pt x="1036" y="1010"/>
                  </a:lnTo>
                  <a:lnTo>
                    <a:pt x="1034" y="1012"/>
                  </a:lnTo>
                  <a:lnTo>
                    <a:pt x="1034" y="1012"/>
                  </a:lnTo>
                  <a:lnTo>
                    <a:pt x="1034" y="1012"/>
                  </a:lnTo>
                  <a:lnTo>
                    <a:pt x="1032" y="1014"/>
                  </a:lnTo>
                  <a:lnTo>
                    <a:pt x="1032" y="1014"/>
                  </a:lnTo>
                  <a:lnTo>
                    <a:pt x="1030" y="1014"/>
                  </a:lnTo>
                  <a:lnTo>
                    <a:pt x="1030" y="1016"/>
                  </a:lnTo>
                  <a:lnTo>
                    <a:pt x="1030" y="1016"/>
                  </a:lnTo>
                  <a:lnTo>
                    <a:pt x="1028" y="1016"/>
                  </a:lnTo>
                  <a:lnTo>
                    <a:pt x="1028" y="1020"/>
                  </a:lnTo>
                  <a:lnTo>
                    <a:pt x="1028" y="1020"/>
                  </a:lnTo>
                  <a:lnTo>
                    <a:pt x="1028" y="1022"/>
                  </a:lnTo>
                  <a:lnTo>
                    <a:pt x="1028" y="1022"/>
                  </a:lnTo>
                  <a:lnTo>
                    <a:pt x="1030" y="1024"/>
                  </a:lnTo>
                  <a:lnTo>
                    <a:pt x="1030" y="1024"/>
                  </a:lnTo>
                  <a:lnTo>
                    <a:pt x="1032" y="1024"/>
                  </a:lnTo>
                  <a:lnTo>
                    <a:pt x="1032" y="1026"/>
                  </a:lnTo>
                  <a:lnTo>
                    <a:pt x="1030" y="1026"/>
                  </a:lnTo>
                  <a:lnTo>
                    <a:pt x="1030" y="1026"/>
                  </a:lnTo>
                  <a:lnTo>
                    <a:pt x="1030" y="1026"/>
                  </a:lnTo>
                  <a:lnTo>
                    <a:pt x="1028" y="1030"/>
                  </a:lnTo>
                  <a:lnTo>
                    <a:pt x="1026" y="1036"/>
                  </a:lnTo>
                  <a:lnTo>
                    <a:pt x="1024" y="1040"/>
                  </a:lnTo>
                  <a:lnTo>
                    <a:pt x="1020" y="1042"/>
                  </a:lnTo>
                  <a:lnTo>
                    <a:pt x="1020" y="1044"/>
                  </a:lnTo>
                  <a:lnTo>
                    <a:pt x="1018" y="1044"/>
                  </a:lnTo>
                  <a:lnTo>
                    <a:pt x="1018" y="1044"/>
                  </a:lnTo>
                  <a:lnTo>
                    <a:pt x="1016" y="1044"/>
                  </a:lnTo>
                  <a:lnTo>
                    <a:pt x="1014" y="1044"/>
                  </a:lnTo>
                  <a:lnTo>
                    <a:pt x="1016" y="1042"/>
                  </a:lnTo>
                  <a:lnTo>
                    <a:pt x="1016" y="1042"/>
                  </a:lnTo>
                  <a:lnTo>
                    <a:pt x="1016" y="1042"/>
                  </a:lnTo>
                  <a:lnTo>
                    <a:pt x="1016" y="1038"/>
                  </a:lnTo>
                  <a:lnTo>
                    <a:pt x="1016" y="1036"/>
                  </a:lnTo>
                  <a:lnTo>
                    <a:pt x="1016" y="1036"/>
                  </a:lnTo>
                  <a:lnTo>
                    <a:pt x="1016" y="1036"/>
                  </a:lnTo>
                  <a:lnTo>
                    <a:pt x="1014" y="1034"/>
                  </a:lnTo>
                  <a:lnTo>
                    <a:pt x="1014" y="1034"/>
                  </a:lnTo>
                  <a:lnTo>
                    <a:pt x="1010" y="1032"/>
                  </a:lnTo>
                  <a:lnTo>
                    <a:pt x="1010" y="1032"/>
                  </a:lnTo>
                  <a:lnTo>
                    <a:pt x="1010" y="1032"/>
                  </a:lnTo>
                  <a:lnTo>
                    <a:pt x="1008" y="1032"/>
                  </a:lnTo>
                  <a:lnTo>
                    <a:pt x="1008" y="1032"/>
                  </a:lnTo>
                  <a:lnTo>
                    <a:pt x="1008" y="1032"/>
                  </a:lnTo>
                  <a:lnTo>
                    <a:pt x="1006" y="1032"/>
                  </a:lnTo>
                  <a:lnTo>
                    <a:pt x="1006" y="1032"/>
                  </a:lnTo>
                  <a:lnTo>
                    <a:pt x="1006" y="1034"/>
                  </a:lnTo>
                  <a:lnTo>
                    <a:pt x="1004" y="1034"/>
                  </a:lnTo>
                  <a:lnTo>
                    <a:pt x="1004" y="1034"/>
                  </a:lnTo>
                  <a:lnTo>
                    <a:pt x="1002" y="1034"/>
                  </a:lnTo>
                  <a:lnTo>
                    <a:pt x="1002" y="1036"/>
                  </a:lnTo>
                  <a:lnTo>
                    <a:pt x="1002" y="1036"/>
                  </a:lnTo>
                  <a:lnTo>
                    <a:pt x="1000" y="1038"/>
                  </a:lnTo>
                  <a:lnTo>
                    <a:pt x="1000" y="1040"/>
                  </a:lnTo>
                  <a:lnTo>
                    <a:pt x="1000" y="1044"/>
                  </a:lnTo>
                  <a:lnTo>
                    <a:pt x="998" y="1046"/>
                  </a:lnTo>
                  <a:lnTo>
                    <a:pt x="998" y="1048"/>
                  </a:lnTo>
                  <a:lnTo>
                    <a:pt x="998" y="1046"/>
                  </a:lnTo>
                  <a:lnTo>
                    <a:pt x="996" y="1046"/>
                  </a:lnTo>
                  <a:lnTo>
                    <a:pt x="994" y="1042"/>
                  </a:lnTo>
                  <a:lnTo>
                    <a:pt x="994" y="1042"/>
                  </a:lnTo>
                  <a:lnTo>
                    <a:pt x="994" y="1040"/>
                  </a:lnTo>
                  <a:lnTo>
                    <a:pt x="994" y="1040"/>
                  </a:lnTo>
                  <a:lnTo>
                    <a:pt x="994" y="1038"/>
                  </a:lnTo>
                  <a:lnTo>
                    <a:pt x="996" y="1034"/>
                  </a:lnTo>
                  <a:lnTo>
                    <a:pt x="998" y="1032"/>
                  </a:lnTo>
                  <a:lnTo>
                    <a:pt x="998" y="1030"/>
                  </a:lnTo>
                  <a:lnTo>
                    <a:pt x="1000" y="1030"/>
                  </a:lnTo>
                  <a:lnTo>
                    <a:pt x="1000" y="1030"/>
                  </a:lnTo>
                  <a:lnTo>
                    <a:pt x="1002" y="1028"/>
                  </a:lnTo>
                  <a:lnTo>
                    <a:pt x="1004" y="1026"/>
                  </a:lnTo>
                  <a:lnTo>
                    <a:pt x="1004" y="1024"/>
                  </a:lnTo>
                  <a:lnTo>
                    <a:pt x="1008" y="1020"/>
                  </a:lnTo>
                  <a:lnTo>
                    <a:pt x="1010" y="1016"/>
                  </a:lnTo>
                  <a:lnTo>
                    <a:pt x="1010" y="1016"/>
                  </a:lnTo>
                  <a:lnTo>
                    <a:pt x="1010" y="1016"/>
                  </a:lnTo>
                  <a:lnTo>
                    <a:pt x="1010" y="1014"/>
                  </a:lnTo>
                  <a:lnTo>
                    <a:pt x="1010" y="1014"/>
                  </a:lnTo>
                  <a:lnTo>
                    <a:pt x="1010" y="1014"/>
                  </a:lnTo>
                  <a:lnTo>
                    <a:pt x="1012" y="1010"/>
                  </a:lnTo>
                  <a:lnTo>
                    <a:pt x="1012" y="1010"/>
                  </a:lnTo>
                  <a:lnTo>
                    <a:pt x="1010" y="1008"/>
                  </a:lnTo>
                  <a:lnTo>
                    <a:pt x="1010" y="1008"/>
                  </a:lnTo>
                  <a:lnTo>
                    <a:pt x="1010" y="1008"/>
                  </a:lnTo>
                  <a:lnTo>
                    <a:pt x="1008" y="1006"/>
                  </a:lnTo>
                  <a:lnTo>
                    <a:pt x="1008" y="1004"/>
                  </a:lnTo>
                  <a:lnTo>
                    <a:pt x="1008" y="1002"/>
                  </a:lnTo>
                  <a:lnTo>
                    <a:pt x="1008" y="1002"/>
                  </a:lnTo>
                  <a:lnTo>
                    <a:pt x="1008" y="1002"/>
                  </a:lnTo>
                  <a:lnTo>
                    <a:pt x="1006" y="1000"/>
                  </a:lnTo>
                  <a:lnTo>
                    <a:pt x="1006" y="1000"/>
                  </a:lnTo>
                  <a:lnTo>
                    <a:pt x="1006" y="1000"/>
                  </a:lnTo>
                  <a:lnTo>
                    <a:pt x="1006" y="998"/>
                  </a:lnTo>
                  <a:lnTo>
                    <a:pt x="1008" y="996"/>
                  </a:lnTo>
                  <a:lnTo>
                    <a:pt x="1008" y="996"/>
                  </a:lnTo>
                  <a:lnTo>
                    <a:pt x="1008" y="994"/>
                  </a:lnTo>
                  <a:lnTo>
                    <a:pt x="1006" y="990"/>
                  </a:lnTo>
                  <a:lnTo>
                    <a:pt x="1006" y="986"/>
                  </a:lnTo>
                  <a:lnTo>
                    <a:pt x="1004" y="980"/>
                  </a:lnTo>
                  <a:lnTo>
                    <a:pt x="1002" y="976"/>
                  </a:lnTo>
                  <a:lnTo>
                    <a:pt x="1002" y="976"/>
                  </a:lnTo>
                  <a:lnTo>
                    <a:pt x="1002" y="976"/>
                  </a:lnTo>
                  <a:lnTo>
                    <a:pt x="1000" y="972"/>
                  </a:lnTo>
                  <a:lnTo>
                    <a:pt x="1000" y="972"/>
                  </a:lnTo>
                  <a:lnTo>
                    <a:pt x="1000" y="970"/>
                  </a:lnTo>
                  <a:lnTo>
                    <a:pt x="996" y="968"/>
                  </a:lnTo>
                  <a:lnTo>
                    <a:pt x="996" y="968"/>
                  </a:lnTo>
                  <a:lnTo>
                    <a:pt x="996" y="968"/>
                  </a:lnTo>
                  <a:lnTo>
                    <a:pt x="994" y="966"/>
                  </a:lnTo>
                  <a:lnTo>
                    <a:pt x="994" y="966"/>
                  </a:lnTo>
                  <a:lnTo>
                    <a:pt x="992" y="966"/>
                  </a:lnTo>
                  <a:lnTo>
                    <a:pt x="990" y="966"/>
                  </a:lnTo>
                  <a:lnTo>
                    <a:pt x="990" y="966"/>
                  </a:lnTo>
                  <a:lnTo>
                    <a:pt x="990" y="966"/>
                  </a:lnTo>
                  <a:lnTo>
                    <a:pt x="990" y="966"/>
                  </a:lnTo>
                  <a:lnTo>
                    <a:pt x="990" y="964"/>
                  </a:lnTo>
                  <a:lnTo>
                    <a:pt x="990" y="964"/>
                  </a:lnTo>
                  <a:lnTo>
                    <a:pt x="990" y="962"/>
                  </a:lnTo>
                  <a:lnTo>
                    <a:pt x="990" y="960"/>
                  </a:lnTo>
                  <a:lnTo>
                    <a:pt x="990" y="960"/>
                  </a:lnTo>
                  <a:lnTo>
                    <a:pt x="990" y="960"/>
                  </a:lnTo>
                  <a:lnTo>
                    <a:pt x="988" y="956"/>
                  </a:lnTo>
                  <a:lnTo>
                    <a:pt x="988" y="956"/>
                  </a:lnTo>
                  <a:lnTo>
                    <a:pt x="988" y="956"/>
                  </a:lnTo>
                  <a:lnTo>
                    <a:pt x="986" y="954"/>
                  </a:lnTo>
                  <a:lnTo>
                    <a:pt x="986" y="954"/>
                  </a:lnTo>
                  <a:lnTo>
                    <a:pt x="986" y="954"/>
                  </a:lnTo>
                  <a:lnTo>
                    <a:pt x="982" y="952"/>
                  </a:lnTo>
                  <a:lnTo>
                    <a:pt x="982" y="952"/>
                  </a:lnTo>
                  <a:lnTo>
                    <a:pt x="982" y="952"/>
                  </a:lnTo>
                  <a:lnTo>
                    <a:pt x="978" y="952"/>
                  </a:lnTo>
                  <a:lnTo>
                    <a:pt x="978" y="952"/>
                  </a:lnTo>
                  <a:lnTo>
                    <a:pt x="978" y="952"/>
                  </a:lnTo>
                  <a:lnTo>
                    <a:pt x="974" y="952"/>
                  </a:lnTo>
                  <a:lnTo>
                    <a:pt x="974" y="952"/>
                  </a:lnTo>
                  <a:lnTo>
                    <a:pt x="974" y="952"/>
                  </a:lnTo>
                  <a:lnTo>
                    <a:pt x="972" y="952"/>
                  </a:lnTo>
                  <a:lnTo>
                    <a:pt x="972" y="952"/>
                  </a:lnTo>
                  <a:lnTo>
                    <a:pt x="972" y="954"/>
                  </a:lnTo>
                  <a:lnTo>
                    <a:pt x="970" y="954"/>
                  </a:lnTo>
                  <a:lnTo>
                    <a:pt x="970" y="954"/>
                  </a:lnTo>
                  <a:lnTo>
                    <a:pt x="970" y="954"/>
                  </a:lnTo>
                  <a:lnTo>
                    <a:pt x="968" y="956"/>
                  </a:lnTo>
                  <a:lnTo>
                    <a:pt x="968" y="956"/>
                  </a:lnTo>
                  <a:lnTo>
                    <a:pt x="968" y="956"/>
                  </a:lnTo>
                  <a:lnTo>
                    <a:pt x="968" y="958"/>
                  </a:lnTo>
                  <a:lnTo>
                    <a:pt x="968" y="958"/>
                  </a:lnTo>
                  <a:lnTo>
                    <a:pt x="966" y="958"/>
                  </a:lnTo>
                  <a:lnTo>
                    <a:pt x="966" y="962"/>
                  </a:lnTo>
                  <a:lnTo>
                    <a:pt x="966" y="962"/>
                  </a:lnTo>
                  <a:lnTo>
                    <a:pt x="966" y="962"/>
                  </a:lnTo>
                  <a:lnTo>
                    <a:pt x="966" y="966"/>
                  </a:lnTo>
                  <a:lnTo>
                    <a:pt x="966" y="968"/>
                  </a:lnTo>
                  <a:lnTo>
                    <a:pt x="966" y="968"/>
                  </a:lnTo>
                  <a:lnTo>
                    <a:pt x="966" y="970"/>
                  </a:lnTo>
                  <a:lnTo>
                    <a:pt x="966" y="970"/>
                  </a:lnTo>
                  <a:lnTo>
                    <a:pt x="966" y="970"/>
                  </a:lnTo>
                  <a:lnTo>
                    <a:pt x="964" y="972"/>
                  </a:lnTo>
                  <a:lnTo>
                    <a:pt x="964" y="972"/>
                  </a:lnTo>
                  <a:lnTo>
                    <a:pt x="964" y="970"/>
                  </a:lnTo>
                  <a:lnTo>
                    <a:pt x="964" y="968"/>
                  </a:lnTo>
                  <a:lnTo>
                    <a:pt x="964" y="968"/>
                  </a:lnTo>
                  <a:lnTo>
                    <a:pt x="964" y="968"/>
                  </a:lnTo>
                  <a:lnTo>
                    <a:pt x="964" y="966"/>
                  </a:lnTo>
                  <a:lnTo>
                    <a:pt x="964" y="966"/>
                  </a:lnTo>
                  <a:lnTo>
                    <a:pt x="964" y="966"/>
                  </a:lnTo>
                  <a:lnTo>
                    <a:pt x="964" y="964"/>
                  </a:lnTo>
                  <a:lnTo>
                    <a:pt x="964" y="964"/>
                  </a:lnTo>
                  <a:lnTo>
                    <a:pt x="962" y="964"/>
                  </a:lnTo>
                  <a:lnTo>
                    <a:pt x="962" y="962"/>
                  </a:lnTo>
                  <a:lnTo>
                    <a:pt x="962" y="962"/>
                  </a:lnTo>
                  <a:lnTo>
                    <a:pt x="960" y="962"/>
                  </a:lnTo>
                  <a:lnTo>
                    <a:pt x="960" y="962"/>
                  </a:lnTo>
                  <a:lnTo>
                    <a:pt x="960" y="962"/>
                  </a:lnTo>
                  <a:lnTo>
                    <a:pt x="958" y="962"/>
                  </a:lnTo>
                  <a:lnTo>
                    <a:pt x="958" y="962"/>
                  </a:lnTo>
                  <a:lnTo>
                    <a:pt x="958" y="962"/>
                  </a:lnTo>
                  <a:lnTo>
                    <a:pt x="956" y="962"/>
                  </a:lnTo>
                  <a:lnTo>
                    <a:pt x="954" y="962"/>
                  </a:lnTo>
                  <a:lnTo>
                    <a:pt x="954" y="962"/>
                  </a:lnTo>
                  <a:lnTo>
                    <a:pt x="954" y="962"/>
                  </a:lnTo>
                  <a:lnTo>
                    <a:pt x="952" y="964"/>
                  </a:lnTo>
                  <a:lnTo>
                    <a:pt x="952" y="964"/>
                  </a:lnTo>
                  <a:lnTo>
                    <a:pt x="952" y="964"/>
                  </a:lnTo>
                  <a:lnTo>
                    <a:pt x="950" y="964"/>
                  </a:lnTo>
                  <a:lnTo>
                    <a:pt x="950" y="964"/>
                  </a:lnTo>
                  <a:lnTo>
                    <a:pt x="950" y="964"/>
                  </a:lnTo>
                  <a:lnTo>
                    <a:pt x="948" y="966"/>
                  </a:lnTo>
                  <a:lnTo>
                    <a:pt x="946" y="968"/>
                  </a:lnTo>
                  <a:lnTo>
                    <a:pt x="944" y="970"/>
                  </a:lnTo>
                  <a:lnTo>
                    <a:pt x="944" y="970"/>
                  </a:lnTo>
                  <a:lnTo>
                    <a:pt x="944" y="972"/>
                  </a:lnTo>
                  <a:lnTo>
                    <a:pt x="942" y="974"/>
                  </a:lnTo>
                  <a:lnTo>
                    <a:pt x="942" y="976"/>
                  </a:lnTo>
                  <a:lnTo>
                    <a:pt x="942" y="976"/>
                  </a:lnTo>
                  <a:lnTo>
                    <a:pt x="942" y="978"/>
                  </a:lnTo>
                  <a:lnTo>
                    <a:pt x="942" y="980"/>
                  </a:lnTo>
                  <a:lnTo>
                    <a:pt x="940" y="980"/>
                  </a:lnTo>
                  <a:lnTo>
                    <a:pt x="938" y="980"/>
                  </a:lnTo>
                  <a:lnTo>
                    <a:pt x="936" y="980"/>
                  </a:lnTo>
                  <a:lnTo>
                    <a:pt x="936" y="980"/>
                  </a:lnTo>
                  <a:lnTo>
                    <a:pt x="936" y="980"/>
                  </a:lnTo>
                  <a:lnTo>
                    <a:pt x="934" y="980"/>
                  </a:lnTo>
                  <a:lnTo>
                    <a:pt x="934" y="980"/>
                  </a:lnTo>
                  <a:lnTo>
                    <a:pt x="932" y="982"/>
                  </a:lnTo>
                  <a:lnTo>
                    <a:pt x="932" y="982"/>
                  </a:lnTo>
                  <a:lnTo>
                    <a:pt x="932" y="982"/>
                  </a:lnTo>
                  <a:lnTo>
                    <a:pt x="932" y="984"/>
                  </a:lnTo>
                  <a:lnTo>
                    <a:pt x="930" y="984"/>
                  </a:lnTo>
                  <a:lnTo>
                    <a:pt x="930" y="986"/>
                  </a:lnTo>
                  <a:lnTo>
                    <a:pt x="928" y="988"/>
                  </a:lnTo>
                  <a:lnTo>
                    <a:pt x="926" y="988"/>
                  </a:lnTo>
                  <a:lnTo>
                    <a:pt x="926" y="988"/>
                  </a:lnTo>
                  <a:lnTo>
                    <a:pt x="924" y="990"/>
                  </a:lnTo>
                  <a:lnTo>
                    <a:pt x="922" y="990"/>
                  </a:lnTo>
                  <a:lnTo>
                    <a:pt x="914" y="992"/>
                  </a:lnTo>
                  <a:lnTo>
                    <a:pt x="910" y="992"/>
                  </a:lnTo>
                  <a:lnTo>
                    <a:pt x="910" y="992"/>
                  </a:lnTo>
                  <a:lnTo>
                    <a:pt x="910" y="992"/>
                  </a:lnTo>
                  <a:lnTo>
                    <a:pt x="908" y="994"/>
                  </a:lnTo>
                  <a:lnTo>
                    <a:pt x="908" y="994"/>
                  </a:lnTo>
                  <a:lnTo>
                    <a:pt x="906" y="994"/>
                  </a:lnTo>
                  <a:lnTo>
                    <a:pt x="904" y="996"/>
                  </a:lnTo>
                  <a:lnTo>
                    <a:pt x="904" y="996"/>
                  </a:lnTo>
                  <a:lnTo>
                    <a:pt x="904" y="998"/>
                  </a:lnTo>
                  <a:lnTo>
                    <a:pt x="904" y="1002"/>
                  </a:lnTo>
                  <a:lnTo>
                    <a:pt x="904" y="1002"/>
                  </a:lnTo>
                  <a:lnTo>
                    <a:pt x="904" y="1004"/>
                  </a:lnTo>
                  <a:lnTo>
                    <a:pt x="904" y="1004"/>
                  </a:lnTo>
                  <a:lnTo>
                    <a:pt x="906" y="1004"/>
                  </a:lnTo>
                  <a:lnTo>
                    <a:pt x="914" y="1004"/>
                  </a:lnTo>
                  <a:lnTo>
                    <a:pt x="914" y="1006"/>
                  </a:lnTo>
                  <a:lnTo>
                    <a:pt x="912" y="1008"/>
                  </a:lnTo>
                  <a:lnTo>
                    <a:pt x="912" y="1008"/>
                  </a:lnTo>
                  <a:lnTo>
                    <a:pt x="912" y="1008"/>
                  </a:lnTo>
                  <a:lnTo>
                    <a:pt x="912" y="1010"/>
                  </a:lnTo>
                  <a:lnTo>
                    <a:pt x="912" y="1010"/>
                  </a:lnTo>
                  <a:lnTo>
                    <a:pt x="912" y="1010"/>
                  </a:lnTo>
                  <a:lnTo>
                    <a:pt x="912" y="1014"/>
                  </a:lnTo>
                  <a:lnTo>
                    <a:pt x="912" y="1014"/>
                  </a:lnTo>
                  <a:lnTo>
                    <a:pt x="914" y="1014"/>
                  </a:lnTo>
                  <a:lnTo>
                    <a:pt x="914" y="1016"/>
                  </a:lnTo>
                  <a:lnTo>
                    <a:pt x="914" y="1016"/>
                  </a:lnTo>
                  <a:lnTo>
                    <a:pt x="916" y="1018"/>
                  </a:lnTo>
                  <a:lnTo>
                    <a:pt x="918" y="1018"/>
                  </a:lnTo>
                  <a:lnTo>
                    <a:pt x="918" y="1018"/>
                  </a:lnTo>
                  <a:lnTo>
                    <a:pt x="920" y="1018"/>
                  </a:lnTo>
                  <a:lnTo>
                    <a:pt x="922" y="1018"/>
                  </a:lnTo>
                  <a:lnTo>
                    <a:pt x="926" y="1018"/>
                  </a:lnTo>
                  <a:lnTo>
                    <a:pt x="930" y="1018"/>
                  </a:lnTo>
                  <a:lnTo>
                    <a:pt x="934" y="1018"/>
                  </a:lnTo>
                  <a:lnTo>
                    <a:pt x="938" y="1018"/>
                  </a:lnTo>
                  <a:lnTo>
                    <a:pt x="940" y="1020"/>
                  </a:lnTo>
                  <a:lnTo>
                    <a:pt x="942" y="1020"/>
                  </a:lnTo>
                  <a:lnTo>
                    <a:pt x="944" y="1022"/>
                  </a:lnTo>
                  <a:lnTo>
                    <a:pt x="944" y="1022"/>
                  </a:lnTo>
                  <a:lnTo>
                    <a:pt x="944" y="1024"/>
                  </a:lnTo>
                  <a:lnTo>
                    <a:pt x="944" y="1026"/>
                  </a:lnTo>
                  <a:lnTo>
                    <a:pt x="944" y="1028"/>
                  </a:lnTo>
                  <a:lnTo>
                    <a:pt x="942" y="1030"/>
                  </a:lnTo>
                  <a:lnTo>
                    <a:pt x="942" y="1030"/>
                  </a:lnTo>
                  <a:lnTo>
                    <a:pt x="942" y="1032"/>
                  </a:lnTo>
                  <a:lnTo>
                    <a:pt x="942" y="1034"/>
                  </a:lnTo>
                  <a:lnTo>
                    <a:pt x="942" y="1034"/>
                  </a:lnTo>
                  <a:lnTo>
                    <a:pt x="944" y="1034"/>
                  </a:lnTo>
                  <a:lnTo>
                    <a:pt x="946" y="1034"/>
                  </a:lnTo>
                  <a:lnTo>
                    <a:pt x="946" y="1034"/>
                  </a:lnTo>
                  <a:lnTo>
                    <a:pt x="946" y="1034"/>
                  </a:lnTo>
                  <a:lnTo>
                    <a:pt x="948" y="1034"/>
                  </a:lnTo>
                  <a:lnTo>
                    <a:pt x="948" y="1032"/>
                  </a:lnTo>
                  <a:lnTo>
                    <a:pt x="948" y="1032"/>
                  </a:lnTo>
                  <a:lnTo>
                    <a:pt x="948" y="1034"/>
                  </a:lnTo>
                  <a:lnTo>
                    <a:pt x="950" y="1038"/>
                  </a:lnTo>
                  <a:lnTo>
                    <a:pt x="950" y="1038"/>
                  </a:lnTo>
                  <a:lnTo>
                    <a:pt x="952" y="1038"/>
                  </a:lnTo>
                  <a:lnTo>
                    <a:pt x="954" y="1038"/>
                  </a:lnTo>
                  <a:lnTo>
                    <a:pt x="958" y="1036"/>
                  </a:lnTo>
                  <a:lnTo>
                    <a:pt x="962" y="1034"/>
                  </a:lnTo>
                  <a:lnTo>
                    <a:pt x="964" y="1034"/>
                  </a:lnTo>
                  <a:lnTo>
                    <a:pt x="966" y="1034"/>
                  </a:lnTo>
                  <a:lnTo>
                    <a:pt x="966" y="1034"/>
                  </a:lnTo>
                  <a:lnTo>
                    <a:pt x="966" y="1036"/>
                  </a:lnTo>
                  <a:lnTo>
                    <a:pt x="966" y="1036"/>
                  </a:lnTo>
                  <a:lnTo>
                    <a:pt x="966" y="1036"/>
                  </a:lnTo>
                  <a:lnTo>
                    <a:pt x="962" y="1038"/>
                  </a:lnTo>
                  <a:lnTo>
                    <a:pt x="960" y="1040"/>
                  </a:lnTo>
                  <a:lnTo>
                    <a:pt x="956" y="1040"/>
                  </a:lnTo>
                  <a:lnTo>
                    <a:pt x="954" y="1040"/>
                  </a:lnTo>
                  <a:lnTo>
                    <a:pt x="954" y="1040"/>
                  </a:lnTo>
                  <a:lnTo>
                    <a:pt x="952" y="1042"/>
                  </a:lnTo>
                  <a:lnTo>
                    <a:pt x="950" y="1044"/>
                  </a:lnTo>
                  <a:lnTo>
                    <a:pt x="950" y="1044"/>
                  </a:lnTo>
                  <a:lnTo>
                    <a:pt x="950" y="1044"/>
                  </a:lnTo>
                  <a:lnTo>
                    <a:pt x="948" y="1046"/>
                  </a:lnTo>
                  <a:lnTo>
                    <a:pt x="948" y="1046"/>
                  </a:lnTo>
                  <a:lnTo>
                    <a:pt x="948" y="1046"/>
                  </a:lnTo>
                  <a:lnTo>
                    <a:pt x="946" y="1046"/>
                  </a:lnTo>
                  <a:lnTo>
                    <a:pt x="946" y="1046"/>
                  </a:lnTo>
                  <a:lnTo>
                    <a:pt x="946" y="1046"/>
                  </a:lnTo>
                  <a:lnTo>
                    <a:pt x="940" y="1046"/>
                  </a:lnTo>
                  <a:lnTo>
                    <a:pt x="938" y="1048"/>
                  </a:lnTo>
                  <a:lnTo>
                    <a:pt x="936" y="1048"/>
                  </a:lnTo>
                  <a:lnTo>
                    <a:pt x="936" y="1048"/>
                  </a:lnTo>
                  <a:lnTo>
                    <a:pt x="934" y="1046"/>
                  </a:lnTo>
                  <a:lnTo>
                    <a:pt x="934" y="1046"/>
                  </a:lnTo>
                  <a:lnTo>
                    <a:pt x="930" y="1046"/>
                  </a:lnTo>
                  <a:lnTo>
                    <a:pt x="930" y="1048"/>
                  </a:lnTo>
                  <a:lnTo>
                    <a:pt x="928" y="1048"/>
                  </a:lnTo>
                  <a:lnTo>
                    <a:pt x="928" y="1050"/>
                  </a:lnTo>
                  <a:lnTo>
                    <a:pt x="926" y="1050"/>
                  </a:lnTo>
                  <a:lnTo>
                    <a:pt x="926" y="1050"/>
                  </a:lnTo>
                  <a:lnTo>
                    <a:pt x="924" y="1050"/>
                  </a:lnTo>
                  <a:lnTo>
                    <a:pt x="922" y="1048"/>
                  </a:lnTo>
                  <a:lnTo>
                    <a:pt x="920" y="1048"/>
                  </a:lnTo>
                  <a:lnTo>
                    <a:pt x="920" y="1048"/>
                  </a:lnTo>
                  <a:lnTo>
                    <a:pt x="920" y="1048"/>
                  </a:lnTo>
                  <a:lnTo>
                    <a:pt x="918" y="1046"/>
                  </a:lnTo>
                  <a:lnTo>
                    <a:pt x="918" y="1044"/>
                  </a:lnTo>
                  <a:lnTo>
                    <a:pt x="918" y="1042"/>
                  </a:lnTo>
                  <a:lnTo>
                    <a:pt x="916" y="1040"/>
                  </a:lnTo>
                  <a:lnTo>
                    <a:pt x="916" y="1038"/>
                  </a:lnTo>
                  <a:lnTo>
                    <a:pt x="916" y="1038"/>
                  </a:lnTo>
                  <a:lnTo>
                    <a:pt x="916" y="1038"/>
                  </a:lnTo>
                  <a:lnTo>
                    <a:pt x="916" y="1038"/>
                  </a:lnTo>
                  <a:lnTo>
                    <a:pt x="914" y="1036"/>
                  </a:lnTo>
                  <a:lnTo>
                    <a:pt x="910" y="1034"/>
                  </a:lnTo>
                  <a:lnTo>
                    <a:pt x="910" y="1034"/>
                  </a:lnTo>
                  <a:lnTo>
                    <a:pt x="910" y="1034"/>
                  </a:lnTo>
                  <a:lnTo>
                    <a:pt x="906" y="1034"/>
                  </a:lnTo>
                  <a:lnTo>
                    <a:pt x="906" y="1034"/>
                  </a:lnTo>
                  <a:lnTo>
                    <a:pt x="906" y="1034"/>
                  </a:lnTo>
                  <a:lnTo>
                    <a:pt x="902" y="1034"/>
                  </a:lnTo>
                  <a:lnTo>
                    <a:pt x="902" y="1034"/>
                  </a:lnTo>
                  <a:lnTo>
                    <a:pt x="902" y="1036"/>
                  </a:lnTo>
                  <a:lnTo>
                    <a:pt x="898" y="1036"/>
                  </a:lnTo>
                  <a:lnTo>
                    <a:pt x="898" y="1036"/>
                  </a:lnTo>
                  <a:lnTo>
                    <a:pt x="898" y="1038"/>
                  </a:lnTo>
                  <a:lnTo>
                    <a:pt x="894" y="1040"/>
                  </a:lnTo>
                  <a:lnTo>
                    <a:pt x="894" y="1040"/>
                  </a:lnTo>
                  <a:lnTo>
                    <a:pt x="894" y="1040"/>
                  </a:lnTo>
                  <a:lnTo>
                    <a:pt x="892" y="1044"/>
                  </a:lnTo>
                  <a:lnTo>
                    <a:pt x="892" y="1044"/>
                  </a:lnTo>
                  <a:lnTo>
                    <a:pt x="892" y="1046"/>
                  </a:lnTo>
                  <a:lnTo>
                    <a:pt x="892" y="1050"/>
                  </a:lnTo>
                  <a:lnTo>
                    <a:pt x="892" y="1050"/>
                  </a:lnTo>
                  <a:lnTo>
                    <a:pt x="892" y="1050"/>
                  </a:lnTo>
                  <a:lnTo>
                    <a:pt x="892" y="1054"/>
                  </a:lnTo>
                  <a:lnTo>
                    <a:pt x="892" y="1056"/>
                  </a:lnTo>
                  <a:close/>
                  <a:moveTo>
                    <a:pt x="1050" y="1044"/>
                  </a:moveTo>
                  <a:lnTo>
                    <a:pt x="1050" y="1040"/>
                  </a:lnTo>
                  <a:lnTo>
                    <a:pt x="1052" y="1038"/>
                  </a:lnTo>
                  <a:lnTo>
                    <a:pt x="1050" y="1042"/>
                  </a:lnTo>
                  <a:lnTo>
                    <a:pt x="1050" y="1042"/>
                  </a:lnTo>
                  <a:lnTo>
                    <a:pt x="1050" y="1042"/>
                  </a:lnTo>
                  <a:lnTo>
                    <a:pt x="1050" y="1044"/>
                  </a:lnTo>
                  <a:lnTo>
                    <a:pt x="1050" y="1044"/>
                  </a:lnTo>
                  <a:lnTo>
                    <a:pt x="1050" y="1046"/>
                  </a:lnTo>
                  <a:lnTo>
                    <a:pt x="1050" y="1048"/>
                  </a:lnTo>
                  <a:lnTo>
                    <a:pt x="1050" y="1048"/>
                  </a:lnTo>
                  <a:lnTo>
                    <a:pt x="1050" y="1046"/>
                  </a:lnTo>
                  <a:lnTo>
                    <a:pt x="1050" y="1044"/>
                  </a:lnTo>
                  <a:lnTo>
                    <a:pt x="1050" y="1044"/>
                  </a:lnTo>
                  <a:close/>
                  <a:moveTo>
                    <a:pt x="2844" y="702"/>
                  </a:moveTo>
                  <a:lnTo>
                    <a:pt x="2844" y="702"/>
                  </a:lnTo>
                  <a:lnTo>
                    <a:pt x="2844" y="702"/>
                  </a:lnTo>
                  <a:lnTo>
                    <a:pt x="2846" y="700"/>
                  </a:lnTo>
                  <a:lnTo>
                    <a:pt x="2846" y="700"/>
                  </a:lnTo>
                  <a:lnTo>
                    <a:pt x="2848" y="698"/>
                  </a:lnTo>
                  <a:lnTo>
                    <a:pt x="2848" y="698"/>
                  </a:lnTo>
                  <a:lnTo>
                    <a:pt x="2846" y="696"/>
                  </a:lnTo>
                  <a:lnTo>
                    <a:pt x="2842" y="694"/>
                  </a:lnTo>
                  <a:lnTo>
                    <a:pt x="2842" y="694"/>
                  </a:lnTo>
                  <a:lnTo>
                    <a:pt x="2842" y="694"/>
                  </a:lnTo>
                  <a:lnTo>
                    <a:pt x="2838" y="692"/>
                  </a:lnTo>
                  <a:lnTo>
                    <a:pt x="2838" y="692"/>
                  </a:lnTo>
                  <a:lnTo>
                    <a:pt x="2834" y="692"/>
                  </a:lnTo>
                  <a:lnTo>
                    <a:pt x="2830" y="692"/>
                  </a:lnTo>
                  <a:lnTo>
                    <a:pt x="2828" y="690"/>
                  </a:lnTo>
                  <a:lnTo>
                    <a:pt x="2826" y="690"/>
                  </a:lnTo>
                  <a:lnTo>
                    <a:pt x="2824" y="688"/>
                  </a:lnTo>
                  <a:lnTo>
                    <a:pt x="2822" y="688"/>
                  </a:lnTo>
                  <a:lnTo>
                    <a:pt x="2822" y="688"/>
                  </a:lnTo>
                  <a:lnTo>
                    <a:pt x="2822" y="686"/>
                  </a:lnTo>
                  <a:lnTo>
                    <a:pt x="2822" y="686"/>
                  </a:lnTo>
                  <a:lnTo>
                    <a:pt x="2820" y="684"/>
                  </a:lnTo>
                  <a:lnTo>
                    <a:pt x="2818" y="684"/>
                  </a:lnTo>
                  <a:lnTo>
                    <a:pt x="2812" y="686"/>
                  </a:lnTo>
                  <a:lnTo>
                    <a:pt x="2808" y="690"/>
                  </a:lnTo>
                  <a:lnTo>
                    <a:pt x="2804" y="692"/>
                  </a:lnTo>
                  <a:lnTo>
                    <a:pt x="2804" y="692"/>
                  </a:lnTo>
                  <a:lnTo>
                    <a:pt x="2804" y="692"/>
                  </a:lnTo>
                  <a:lnTo>
                    <a:pt x="2800" y="694"/>
                  </a:lnTo>
                  <a:lnTo>
                    <a:pt x="2800" y="694"/>
                  </a:lnTo>
                  <a:lnTo>
                    <a:pt x="2800" y="694"/>
                  </a:lnTo>
                  <a:lnTo>
                    <a:pt x="2798" y="698"/>
                  </a:lnTo>
                  <a:lnTo>
                    <a:pt x="2798" y="698"/>
                  </a:lnTo>
                  <a:lnTo>
                    <a:pt x="2798" y="698"/>
                  </a:lnTo>
                  <a:lnTo>
                    <a:pt x="2796" y="702"/>
                  </a:lnTo>
                  <a:lnTo>
                    <a:pt x="2796" y="702"/>
                  </a:lnTo>
                  <a:lnTo>
                    <a:pt x="2796" y="704"/>
                  </a:lnTo>
                  <a:lnTo>
                    <a:pt x="2796" y="708"/>
                  </a:lnTo>
                  <a:lnTo>
                    <a:pt x="2794" y="712"/>
                  </a:lnTo>
                  <a:lnTo>
                    <a:pt x="2794" y="716"/>
                  </a:lnTo>
                  <a:lnTo>
                    <a:pt x="2796" y="720"/>
                  </a:lnTo>
                  <a:lnTo>
                    <a:pt x="2796" y="726"/>
                  </a:lnTo>
                  <a:lnTo>
                    <a:pt x="2796" y="730"/>
                  </a:lnTo>
                  <a:lnTo>
                    <a:pt x="2798" y="736"/>
                  </a:lnTo>
                  <a:lnTo>
                    <a:pt x="2800" y="740"/>
                  </a:lnTo>
                  <a:lnTo>
                    <a:pt x="2800" y="740"/>
                  </a:lnTo>
                  <a:lnTo>
                    <a:pt x="2800" y="740"/>
                  </a:lnTo>
                  <a:lnTo>
                    <a:pt x="2802" y="744"/>
                  </a:lnTo>
                  <a:lnTo>
                    <a:pt x="2802" y="744"/>
                  </a:lnTo>
                  <a:lnTo>
                    <a:pt x="2802" y="744"/>
                  </a:lnTo>
                  <a:lnTo>
                    <a:pt x="2806" y="750"/>
                  </a:lnTo>
                  <a:lnTo>
                    <a:pt x="2808" y="752"/>
                  </a:lnTo>
                  <a:lnTo>
                    <a:pt x="2812" y="754"/>
                  </a:lnTo>
                  <a:lnTo>
                    <a:pt x="2812" y="754"/>
                  </a:lnTo>
                  <a:lnTo>
                    <a:pt x="2812" y="754"/>
                  </a:lnTo>
                  <a:lnTo>
                    <a:pt x="2814" y="756"/>
                  </a:lnTo>
                  <a:lnTo>
                    <a:pt x="2816" y="756"/>
                  </a:lnTo>
                  <a:lnTo>
                    <a:pt x="2816" y="756"/>
                  </a:lnTo>
                  <a:lnTo>
                    <a:pt x="2818" y="756"/>
                  </a:lnTo>
                  <a:lnTo>
                    <a:pt x="2820" y="756"/>
                  </a:lnTo>
                  <a:lnTo>
                    <a:pt x="2820" y="756"/>
                  </a:lnTo>
                  <a:lnTo>
                    <a:pt x="2822" y="756"/>
                  </a:lnTo>
                  <a:lnTo>
                    <a:pt x="2822" y="756"/>
                  </a:lnTo>
                  <a:lnTo>
                    <a:pt x="2822" y="756"/>
                  </a:lnTo>
                  <a:lnTo>
                    <a:pt x="2824" y="756"/>
                  </a:lnTo>
                  <a:lnTo>
                    <a:pt x="2824" y="756"/>
                  </a:lnTo>
                  <a:lnTo>
                    <a:pt x="2824" y="756"/>
                  </a:lnTo>
                  <a:lnTo>
                    <a:pt x="2826" y="754"/>
                  </a:lnTo>
                  <a:lnTo>
                    <a:pt x="2826" y="752"/>
                  </a:lnTo>
                  <a:lnTo>
                    <a:pt x="2826" y="750"/>
                  </a:lnTo>
                  <a:lnTo>
                    <a:pt x="2828" y="750"/>
                  </a:lnTo>
                  <a:lnTo>
                    <a:pt x="2828" y="750"/>
                  </a:lnTo>
                  <a:lnTo>
                    <a:pt x="2832" y="748"/>
                  </a:lnTo>
                  <a:lnTo>
                    <a:pt x="2834" y="746"/>
                  </a:lnTo>
                  <a:lnTo>
                    <a:pt x="2834" y="746"/>
                  </a:lnTo>
                  <a:lnTo>
                    <a:pt x="2834" y="746"/>
                  </a:lnTo>
                  <a:lnTo>
                    <a:pt x="2836" y="744"/>
                  </a:lnTo>
                  <a:lnTo>
                    <a:pt x="2838" y="742"/>
                  </a:lnTo>
                  <a:lnTo>
                    <a:pt x="2840" y="740"/>
                  </a:lnTo>
                  <a:lnTo>
                    <a:pt x="2840" y="740"/>
                  </a:lnTo>
                  <a:lnTo>
                    <a:pt x="2840" y="740"/>
                  </a:lnTo>
                  <a:lnTo>
                    <a:pt x="2840" y="736"/>
                  </a:lnTo>
                  <a:lnTo>
                    <a:pt x="2842" y="732"/>
                  </a:lnTo>
                  <a:lnTo>
                    <a:pt x="2844" y="728"/>
                  </a:lnTo>
                  <a:lnTo>
                    <a:pt x="2844" y="726"/>
                  </a:lnTo>
                  <a:lnTo>
                    <a:pt x="2846" y="720"/>
                  </a:lnTo>
                  <a:lnTo>
                    <a:pt x="2848" y="716"/>
                  </a:lnTo>
                  <a:lnTo>
                    <a:pt x="2848" y="712"/>
                  </a:lnTo>
                  <a:lnTo>
                    <a:pt x="2848" y="712"/>
                  </a:lnTo>
                  <a:lnTo>
                    <a:pt x="2848" y="712"/>
                  </a:lnTo>
                  <a:lnTo>
                    <a:pt x="2848" y="710"/>
                  </a:lnTo>
                  <a:lnTo>
                    <a:pt x="2848" y="710"/>
                  </a:lnTo>
                  <a:lnTo>
                    <a:pt x="2846" y="708"/>
                  </a:lnTo>
                  <a:lnTo>
                    <a:pt x="2846" y="706"/>
                  </a:lnTo>
                  <a:lnTo>
                    <a:pt x="2844" y="706"/>
                  </a:lnTo>
                  <a:lnTo>
                    <a:pt x="2844" y="704"/>
                  </a:lnTo>
                  <a:lnTo>
                    <a:pt x="2844" y="704"/>
                  </a:lnTo>
                  <a:lnTo>
                    <a:pt x="2844" y="702"/>
                  </a:lnTo>
                  <a:lnTo>
                    <a:pt x="2844" y="702"/>
                  </a:lnTo>
                  <a:close/>
                  <a:moveTo>
                    <a:pt x="2698" y="274"/>
                  </a:moveTo>
                  <a:lnTo>
                    <a:pt x="2698" y="274"/>
                  </a:lnTo>
                  <a:lnTo>
                    <a:pt x="2700" y="274"/>
                  </a:lnTo>
                  <a:lnTo>
                    <a:pt x="2700" y="276"/>
                  </a:lnTo>
                  <a:lnTo>
                    <a:pt x="2702" y="278"/>
                  </a:lnTo>
                  <a:lnTo>
                    <a:pt x="2704" y="280"/>
                  </a:lnTo>
                  <a:lnTo>
                    <a:pt x="2704" y="280"/>
                  </a:lnTo>
                  <a:lnTo>
                    <a:pt x="2706" y="280"/>
                  </a:lnTo>
                  <a:lnTo>
                    <a:pt x="2706" y="280"/>
                  </a:lnTo>
                  <a:lnTo>
                    <a:pt x="2706" y="280"/>
                  </a:lnTo>
                  <a:lnTo>
                    <a:pt x="2708" y="280"/>
                  </a:lnTo>
                  <a:lnTo>
                    <a:pt x="2710" y="282"/>
                  </a:lnTo>
                  <a:lnTo>
                    <a:pt x="2712" y="282"/>
                  </a:lnTo>
                  <a:lnTo>
                    <a:pt x="2712" y="282"/>
                  </a:lnTo>
                  <a:lnTo>
                    <a:pt x="2714" y="282"/>
                  </a:lnTo>
                  <a:lnTo>
                    <a:pt x="2716" y="284"/>
                  </a:lnTo>
                  <a:lnTo>
                    <a:pt x="2716" y="284"/>
                  </a:lnTo>
                  <a:lnTo>
                    <a:pt x="2716" y="284"/>
                  </a:lnTo>
                  <a:lnTo>
                    <a:pt x="2716" y="286"/>
                  </a:lnTo>
                  <a:lnTo>
                    <a:pt x="2716" y="288"/>
                  </a:lnTo>
                  <a:lnTo>
                    <a:pt x="2714" y="290"/>
                  </a:lnTo>
                  <a:lnTo>
                    <a:pt x="2712" y="294"/>
                  </a:lnTo>
                  <a:lnTo>
                    <a:pt x="2712" y="294"/>
                  </a:lnTo>
                  <a:lnTo>
                    <a:pt x="2712" y="296"/>
                  </a:lnTo>
                  <a:lnTo>
                    <a:pt x="2712" y="296"/>
                  </a:lnTo>
                  <a:lnTo>
                    <a:pt x="2716" y="298"/>
                  </a:lnTo>
                  <a:lnTo>
                    <a:pt x="2716" y="298"/>
                  </a:lnTo>
                  <a:lnTo>
                    <a:pt x="2716" y="298"/>
                  </a:lnTo>
                  <a:lnTo>
                    <a:pt x="2718" y="298"/>
                  </a:lnTo>
                  <a:lnTo>
                    <a:pt x="2718" y="296"/>
                  </a:lnTo>
                  <a:lnTo>
                    <a:pt x="2718" y="296"/>
                  </a:lnTo>
                  <a:lnTo>
                    <a:pt x="2720" y="296"/>
                  </a:lnTo>
                  <a:lnTo>
                    <a:pt x="2722" y="294"/>
                  </a:lnTo>
                  <a:lnTo>
                    <a:pt x="2726" y="292"/>
                  </a:lnTo>
                  <a:lnTo>
                    <a:pt x="2728" y="292"/>
                  </a:lnTo>
                  <a:lnTo>
                    <a:pt x="2728" y="294"/>
                  </a:lnTo>
                  <a:lnTo>
                    <a:pt x="2726" y="296"/>
                  </a:lnTo>
                  <a:lnTo>
                    <a:pt x="2724" y="298"/>
                  </a:lnTo>
                  <a:lnTo>
                    <a:pt x="2722" y="300"/>
                  </a:lnTo>
                  <a:lnTo>
                    <a:pt x="2720" y="300"/>
                  </a:lnTo>
                  <a:lnTo>
                    <a:pt x="2720" y="300"/>
                  </a:lnTo>
                  <a:lnTo>
                    <a:pt x="2720" y="302"/>
                  </a:lnTo>
                  <a:lnTo>
                    <a:pt x="2718" y="304"/>
                  </a:lnTo>
                  <a:lnTo>
                    <a:pt x="2718" y="304"/>
                  </a:lnTo>
                  <a:lnTo>
                    <a:pt x="2716" y="304"/>
                  </a:lnTo>
                  <a:lnTo>
                    <a:pt x="2716" y="306"/>
                  </a:lnTo>
                  <a:lnTo>
                    <a:pt x="2716" y="306"/>
                  </a:lnTo>
                  <a:lnTo>
                    <a:pt x="2716" y="308"/>
                  </a:lnTo>
                  <a:lnTo>
                    <a:pt x="2718" y="310"/>
                  </a:lnTo>
                  <a:lnTo>
                    <a:pt x="2730" y="316"/>
                  </a:lnTo>
                  <a:lnTo>
                    <a:pt x="2730" y="316"/>
                  </a:lnTo>
                  <a:lnTo>
                    <a:pt x="2724" y="322"/>
                  </a:lnTo>
                  <a:lnTo>
                    <a:pt x="2724" y="322"/>
                  </a:lnTo>
                  <a:lnTo>
                    <a:pt x="2722" y="324"/>
                  </a:lnTo>
                  <a:lnTo>
                    <a:pt x="2722" y="324"/>
                  </a:lnTo>
                  <a:lnTo>
                    <a:pt x="2724" y="326"/>
                  </a:lnTo>
                  <a:lnTo>
                    <a:pt x="2724" y="326"/>
                  </a:lnTo>
                  <a:lnTo>
                    <a:pt x="2724" y="326"/>
                  </a:lnTo>
                  <a:lnTo>
                    <a:pt x="2724" y="328"/>
                  </a:lnTo>
                  <a:lnTo>
                    <a:pt x="2724" y="328"/>
                  </a:lnTo>
                  <a:lnTo>
                    <a:pt x="2726" y="328"/>
                  </a:lnTo>
                  <a:lnTo>
                    <a:pt x="2724" y="328"/>
                  </a:lnTo>
                  <a:lnTo>
                    <a:pt x="2724" y="328"/>
                  </a:lnTo>
                  <a:lnTo>
                    <a:pt x="2724" y="328"/>
                  </a:lnTo>
                  <a:lnTo>
                    <a:pt x="2724" y="330"/>
                  </a:lnTo>
                  <a:lnTo>
                    <a:pt x="2724" y="330"/>
                  </a:lnTo>
                  <a:lnTo>
                    <a:pt x="2724" y="330"/>
                  </a:lnTo>
                  <a:lnTo>
                    <a:pt x="2722" y="332"/>
                  </a:lnTo>
                  <a:lnTo>
                    <a:pt x="2722" y="332"/>
                  </a:lnTo>
                  <a:lnTo>
                    <a:pt x="2722" y="332"/>
                  </a:lnTo>
                  <a:lnTo>
                    <a:pt x="2722" y="334"/>
                  </a:lnTo>
                  <a:lnTo>
                    <a:pt x="2722" y="334"/>
                  </a:lnTo>
                  <a:lnTo>
                    <a:pt x="2722" y="336"/>
                  </a:lnTo>
                  <a:lnTo>
                    <a:pt x="2724" y="338"/>
                  </a:lnTo>
                  <a:lnTo>
                    <a:pt x="2724" y="338"/>
                  </a:lnTo>
                  <a:lnTo>
                    <a:pt x="2724" y="338"/>
                  </a:lnTo>
                  <a:lnTo>
                    <a:pt x="2726" y="340"/>
                  </a:lnTo>
                  <a:lnTo>
                    <a:pt x="2726" y="340"/>
                  </a:lnTo>
                  <a:lnTo>
                    <a:pt x="2728" y="340"/>
                  </a:lnTo>
                  <a:lnTo>
                    <a:pt x="2730" y="342"/>
                  </a:lnTo>
                  <a:lnTo>
                    <a:pt x="2730" y="342"/>
                  </a:lnTo>
                  <a:lnTo>
                    <a:pt x="2732" y="342"/>
                  </a:lnTo>
                  <a:lnTo>
                    <a:pt x="2732" y="342"/>
                  </a:lnTo>
                  <a:lnTo>
                    <a:pt x="2730" y="344"/>
                  </a:lnTo>
                  <a:lnTo>
                    <a:pt x="2726" y="348"/>
                  </a:lnTo>
                  <a:lnTo>
                    <a:pt x="2726" y="348"/>
                  </a:lnTo>
                  <a:lnTo>
                    <a:pt x="2726" y="348"/>
                  </a:lnTo>
                  <a:lnTo>
                    <a:pt x="2724" y="350"/>
                  </a:lnTo>
                  <a:lnTo>
                    <a:pt x="2724" y="350"/>
                  </a:lnTo>
                  <a:lnTo>
                    <a:pt x="2724" y="350"/>
                  </a:lnTo>
                  <a:lnTo>
                    <a:pt x="2722" y="352"/>
                  </a:lnTo>
                  <a:lnTo>
                    <a:pt x="2722" y="352"/>
                  </a:lnTo>
                  <a:lnTo>
                    <a:pt x="2722" y="354"/>
                  </a:lnTo>
                  <a:lnTo>
                    <a:pt x="2722" y="356"/>
                  </a:lnTo>
                  <a:lnTo>
                    <a:pt x="2722" y="356"/>
                  </a:lnTo>
                  <a:lnTo>
                    <a:pt x="2724" y="356"/>
                  </a:lnTo>
                  <a:lnTo>
                    <a:pt x="2724" y="358"/>
                  </a:lnTo>
                  <a:lnTo>
                    <a:pt x="2724" y="358"/>
                  </a:lnTo>
                  <a:lnTo>
                    <a:pt x="2724" y="358"/>
                  </a:lnTo>
                  <a:lnTo>
                    <a:pt x="2726" y="360"/>
                  </a:lnTo>
                  <a:lnTo>
                    <a:pt x="2726" y="360"/>
                  </a:lnTo>
                  <a:lnTo>
                    <a:pt x="2726" y="360"/>
                  </a:lnTo>
                  <a:lnTo>
                    <a:pt x="2726" y="360"/>
                  </a:lnTo>
                  <a:lnTo>
                    <a:pt x="2726" y="362"/>
                  </a:lnTo>
                  <a:lnTo>
                    <a:pt x="2726" y="362"/>
                  </a:lnTo>
                  <a:lnTo>
                    <a:pt x="2726" y="362"/>
                  </a:lnTo>
                  <a:lnTo>
                    <a:pt x="2726" y="364"/>
                  </a:lnTo>
                  <a:lnTo>
                    <a:pt x="2724" y="368"/>
                  </a:lnTo>
                  <a:lnTo>
                    <a:pt x="2724" y="368"/>
                  </a:lnTo>
                  <a:lnTo>
                    <a:pt x="2724" y="368"/>
                  </a:lnTo>
                  <a:lnTo>
                    <a:pt x="2722" y="370"/>
                  </a:lnTo>
                  <a:lnTo>
                    <a:pt x="2722" y="370"/>
                  </a:lnTo>
                  <a:lnTo>
                    <a:pt x="2722" y="374"/>
                  </a:lnTo>
                  <a:lnTo>
                    <a:pt x="2722" y="376"/>
                  </a:lnTo>
                  <a:lnTo>
                    <a:pt x="2722" y="378"/>
                  </a:lnTo>
                  <a:lnTo>
                    <a:pt x="2722" y="380"/>
                  </a:lnTo>
                  <a:lnTo>
                    <a:pt x="2722" y="380"/>
                  </a:lnTo>
                  <a:lnTo>
                    <a:pt x="2722" y="382"/>
                  </a:lnTo>
                  <a:lnTo>
                    <a:pt x="2722" y="382"/>
                  </a:lnTo>
                  <a:lnTo>
                    <a:pt x="2722" y="382"/>
                  </a:lnTo>
                  <a:lnTo>
                    <a:pt x="2724" y="384"/>
                  </a:lnTo>
                  <a:lnTo>
                    <a:pt x="2724" y="384"/>
                  </a:lnTo>
                  <a:lnTo>
                    <a:pt x="2724" y="384"/>
                  </a:lnTo>
                  <a:lnTo>
                    <a:pt x="2726" y="386"/>
                  </a:lnTo>
                  <a:lnTo>
                    <a:pt x="2726" y="386"/>
                  </a:lnTo>
                  <a:lnTo>
                    <a:pt x="2726" y="386"/>
                  </a:lnTo>
                  <a:lnTo>
                    <a:pt x="2730" y="386"/>
                  </a:lnTo>
                  <a:lnTo>
                    <a:pt x="2730" y="386"/>
                  </a:lnTo>
                  <a:lnTo>
                    <a:pt x="2730" y="386"/>
                  </a:lnTo>
                  <a:lnTo>
                    <a:pt x="2732" y="386"/>
                  </a:lnTo>
                  <a:lnTo>
                    <a:pt x="2734" y="386"/>
                  </a:lnTo>
                  <a:lnTo>
                    <a:pt x="2738" y="386"/>
                  </a:lnTo>
                  <a:lnTo>
                    <a:pt x="2738" y="386"/>
                  </a:lnTo>
                  <a:lnTo>
                    <a:pt x="2738" y="390"/>
                  </a:lnTo>
                  <a:lnTo>
                    <a:pt x="2738" y="390"/>
                  </a:lnTo>
                  <a:lnTo>
                    <a:pt x="2738" y="392"/>
                  </a:lnTo>
                  <a:lnTo>
                    <a:pt x="2738" y="392"/>
                  </a:lnTo>
                  <a:lnTo>
                    <a:pt x="2740" y="394"/>
                  </a:lnTo>
                  <a:lnTo>
                    <a:pt x="2748" y="394"/>
                  </a:lnTo>
                  <a:lnTo>
                    <a:pt x="2748" y="394"/>
                  </a:lnTo>
                  <a:lnTo>
                    <a:pt x="2752" y="392"/>
                  </a:lnTo>
                  <a:lnTo>
                    <a:pt x="2752" y="392"/>
                  </a:lnTo>
                  <a:lnTo>
                    <a:pt x="2752" y="390"/>
                  </a:lnTo>
                  <a:lnTo>
                    <a:pt x="2754" y="394"/>
                  </a:lnTo>
                  <a:lnTo>
                    <a:pt x="2756" y="398"/>
                  </a:lnTo>
                  <a:lnTo>
                    <a:pt x="2756" y="400"/>
                  </a:lnTo>
                  <a:lnTo>
                    <a:pt x="2756" y="402"/>
                  </a:lnTo>
                  <a:lnTo>
                    <a:pt x="2756" y="404"/>
                  </a:lnTo>
                  <a:lnTo>
                    <a:pt x="2756" y="404"/>
                  </a:lnTo>
                  <a:lnTo>
                    <a:pt x="2754" y="406"/>
                  </a:lnTo>
                  <a:lnTo>
                    <a:pt x="2750" y="408"/>
                  </a:lnTo>
                  <a:lnTo>
                    <a:pt x="2748" y="408"/>
                  </a:lnTo>
                  <a:lnTo>
                    <a:pt x="2744" y="410"/>
                  </a:lnTo>
                  <a:lnTo>
                    <a:pt x="2744" y="410"/>
                  </a:lnTo>
                  <a:lnTo>
                    <a:pt x="2744" y="410"/>
                  </a:lnTo>
                  <a:lnTo>
                    <a:pt x="2742" y="412"/>
                  </a:lnTo>
                  <a:lnTo>
                    <a:pt x="2742" y="412"/>
                  </a:lnTo>
                  <a:lnTo>
                    <a:pt x="2740" y="414"/>
                  </a:lnTo>
                  <a:lnTo>
                    <a:pt x="2738" y="416"/>
                  </a:lnTo>
                  <a:lnTo>
                    <a:pt x="2738" y="416"/>
                  </a:lnTo>
                  <a:lnTo>
                    <a:pt x="2738" y="416"/>
                  </a:lnTo>
                  <a:lnTo>
                    <a:pt x="2736" y="420"/>
                  </a:lnTo>
                  <a:lnTo>
                    <a:pt x="2736" y="420"/>
                  </a:lnTo>
                  <a:lnTo>
                    <a:pt x="2736" y="424"/>
                  </a:lnTo>
                  <a:lnTo>
                    <a:pt x="2736" y="424"/>
                  </a:lnTo>
                  <a:lnTo>
                    <a:pt x="2738" y="424"/>
                  </a:lnTo>
                  <a:lnTo>
                    <a:pt x="2740" y="426"/>
                  </a:lnTo>
                  <a:lnTo>
                    <a:pt x="2742" y="426"/>
                  </a:lnTo>
                  <a:lnTo>
                    <a:pt x="2742" y="426"/>
                  </a:lnTo>
                  <a:lnTo>
                    <a:pt x="2742" y="428"/>
                  </a:lnTo>
                  <a:lnTo>
                    <a:pt x="2744" y="430"/>
                  </a:lnTo>
                  <a:lnTo>
                    <a:pt x="2746" y="432"/>
                  </a:lnTo>
                  <a:lnTo>
                    <a:pt x="2746" y="432"/>
                  </a:lnTo>
                  <a:lnTo>
                    <a:pt x="2746" y="432"/>
                  </a:lnTo>
                  <a:lnTo>
                    <a:pt x="2748" y="432"/>
                  </a:lnTo>
                  <a:lnTo>
                    <a:pt x="2748" y="432"/>
                  </a:lnTo>
                  <a:lnTo>
                    <a:pt x="2750" y="434"/>
                  </a:lnTo>
                  <a:lnTo>
                    <a:pt x="2750" y="434"/>
                  </a:lnTo>
                  <a:lnTo>
                    <a:pt x="2750" y="436"/>
                  </a:lnTo>
                  <a:lnTo>
                    <a:pt x="2748" y="438"/>
                  </a:lnTo>
                  <a:lnTo>
                    <a:pt x="2746" y="438"/>
                  </a:lnTo>
                  <a:lnTo>
                    <a:pt x="2744" y="438"/>
                  </a:lnTo>
                  <a:lnTo>
                    <a:pt x="2744" y="438"/>
                  </a:lnTo>
                  <a:lnTo>
                    <a:pt x="2742" y="440"/>
                  </a:lnTo>
                  <a:lnTo>
                    <a:pt x="2742" y="442"/>
                  </a:lnTo>
                  <a:lnTo>
                    <a:pt x="2742" y="454"/>
                  </a:lnTo>
                  <a:lnTo>
                    <a:pt x="2742" y="454"/>
                  </a:lnTo>
                  <a:lnTo>
                    <a:pt x="2742" y="456"/>
                  </a:lnTo>
                  <a:lnTo>
                    <a:pt x="2742" y="456"/>
                  </a:lnTo>
                  <a:lnTo>
                    <a:pt x="2744" y="456"/>
                  </a:lnTo>
                  <a:lnTo>
                    <a:pt x="2746" y="456"/>
                  </a:lnTo>
                  <a:lnTo>
                    <a:pt x="2748" y="456"/>
                  </a:lnTo>
                  <a:lnTo>
                    <a:pt x="2748" y="456"/>
                  </a:lnTo>
                  <a:lnTo>
                    <a:pt x="2750" y="456"/>
                  </a:lnTo>
                  <a:lnTo>
                    <a:pt x="2750" y="456"/>
                  </a:lnTo>
                  <a:lnTo>
                    <a:pt x="2750" y="456"/>
                  </a:lnTo>
                  <a:lnTo>
                    <a:pt x="2750" y="456"/>
                  </a:lnTo>
                  <a:lnTo>
                    <a:pt x="2752" y="460"/>
                  </a:lnTo>
                  <a:lnTo>
                    <a:pt x="2754" y="462"/>
                  </a:lnTo>
                  <a:lnTo>
                    <a:pt x="2758" y="464"/>
                  </a:lnTo>
                  <a:lnTo>
                    <a:pt x="2760" y="466"/>
                  </a:lnTo>
                  <a:lnTo>
                    <a:pt x="2762" y="470"/>
                  </a:lnTo>
                  <a:lnTo>
                    <a:pt x="2762" y="468"/>
                  </a:lnTo>
                  <a:lnTo>
                    <a:pt x="2764" y="472"/>
                  </a:lnTo>
                  <a:lnTo>
                    <a:pt x="2766" y="474"/>
                  </a:lnTo>
                  <a:lnTo>
                    <a:pt x="2766" y="474"/>
                  </a:lnTo>
                  <a:lnTo>
                    <a:pt x="2764" y="476"/>
                  </a:lnTo>
                  <a:lnTo>
                    <a:pt x="2762" y="478"/>
                  </a:lnTo>
                  <a:lnTo>
                    <a:pt x="2762" y="480"/>
                  </a:lnTo>
                  <a:lnTo>
                    <a:pt x="2760" y="482"/>
                  </a:lnTo>
                  <a:lnTo>
                    <a:pt x="2760" y="482"/>
                  </a:lnTo>
                  <a:lnTo>
                    <a:pt x="2760" y="484"/>
                  </a:lnTo>
                  <a:lnTo>
                    <a:pt x="2760" y="484"/>
                  </a:lnTo>
                  <a:lnTo>
                    <a:pt x="2760" y="484"/>
                  </a:lnTo>
                  <a:lnTo>
                    <a:pt x="2760" y="486"/>
                  </a:lnTo>
                  <a:lnTo>
                    <a:pt x="2762" y="486"/>
                  </a:lnTo>
                  <a:lnTo>
                    <a:pt x="2762" y="486"/>
                  </a:lnTo>
                  <a:lnTo>
                    <a:pt x="2762" y="488"/>
                  </a:lnTo>
                  <a:lnTo>
                    <a:pt x="2762" y="488"/>
                  </a:lnTo>
                  <a:lnTo>
                    <a:pt x="2762" y="488"/>
                  </a:lnTo>
                  <a:lnTo>
                    <a:pt x="2762" y="490"/>
                  </a:lnTo>
                  <a:lnTo>
                    <a:pt x="2764" y="490"/>
                  </a:lnTo>
                  <a:lnTo>
                    <a:pt x="2764" y="490"/>
                  </a:lnTo>
                  <a:lnTo>
                    <a:pt x="2764" y="490"/>
                  </a:lnTo>
                  <a:lnTo>
                    <a:pt x="2768" y="494"/>
                  </a:lnTo>
                  <a:lnTo>
                    <a:pt x="2772" y="496"/>
                  </a:lnTo>
                  <a:lnTo>
                    <a:pt x="2772" y="496"/>
                  </a:lnTo>
                  <a:lnTo>
                    <a:pt x="2772" y="496"/>
                  </a:lnTo>
                  <a:lnTo>
                    <a:pt x="2772" y="496"/>
                  </a:lnTo>
                  <a:lnTo>
                    <a:pt x="2770" y="498"/>
                  </a:lnTo>
                  <a:lnTo>
                    <a:pt x="2766" y="500"/>
                  </a:lnTo>
                  <a:lnTo>
                    <a:pt x="2762" y="500"/>
                  </a:lnTo>
                  <a:lnTo>
                    <a:pt x="2760" y="502"/>
                  </a:lnTo>
                  <a:lnTo>
                    <a:pt x="2758" y="502"/>
                  </a:lnTo>
                  <a:lnTo>
                    <a:pt x="2758" y="502"/>
                  </a:lnTo>
                  <a:lnTo>
                    <a:pt x="2758" y="502"/>
                  </a:lnTo>
                  <a:lnTo>
                    <a:pt x="2756" y="504"/>
                  </a:lnTo>
                  <a:lnTo>
                    <a:pt x="2756" y="504"/>
                  </a:lnTo>
                  <a:lnTo>
                    <a:pt x="2754" y="506"/>
                  </a:lnTo>
                  <a:lnTo>
                    <a:pt x="2754" y="506"/>
                  </a:lnTo>
                  <a:lnTo>
                    <a:pt x="2754" y="506"/>
                  </a:lnTo>
                  <a:lnTo>
                    <a:pt x="2754" y="510"/>
                  </a:lnTo>
                  <a:lnTo>
                    <a:pt x="2758" y="516"/>
                  </a:lnTo>
                  <a:lnTo>
                    <a:pt x="2760" y="518"/>
                  </a:lnTo>
                  <a:lnTo>
                    <a:pt x="2760" y="518"/>
                  </a:lnTo>
                  <a:lnTo>
                    <a:pt x="2760" y="518"/>
                  </a:lnTo>
                  <a:lnTo>
                    <a:pt x="2762" y="520"/>
                  </a:lnTo>
                  <a:lnTo>
                    <a:pt x="2762" y="520"/>
                  </a:lnTo>
                  <a:lnTo>
                    <a:pt x="2762" y="520"/>
                  </a:lnTo>
                  <a:lnTo>
                    <a:pt x="2764" y="520"/>
                  </a:lnTo>
                  <a:lnTo>
                    <a:pt x="2764" y="520"/>
                  </a:lnTo>
                  <a:lnTo>
                    <a:pt x="2768" y="520"/>
                  </a:lnTo>
                  <a:lnTo>
                    <a:pt x="2768" y="520"/>
                  </a:lnTo>
                  <a:lnTo>
                    <a:pt x="2770" y="526"/>
                  </a:lnTo>
                  <a:lnTo>
                    <a:pt x="2770" y="526"/>
                  </a:lnTo>
                  <a:lnTo>
                    <a:pt x="2770" y="528"/>
                  </a:lnTo>
                  <a:lnTo>
                    <a:pt x="2774" y="532"/>
                  </a:lnTo>
                  <a:lnTo>
                    <a:pt x="2776" y="536"/>
                  </a:lnTo>
                  <a:lnTo>
                    <a:pt x="2780" y="540"/>
                  </a:lnTo>
                  <a:lnTo>
                    <a:pt x="2782" y="542"/>
                  </a:lnTo>
                  <a:lnTo>
                    <a:pt x="2782" y="542"/>
                  </a:lnTo>
                  <a:lnTo>
                    <a:pt x="2786" y="544"/>
                  </a:lnTo>
                  <a:lnTo>
                    <a:pt x="2786" y="544"/>
                  </a:lnTo>
                  <a:lnTo>
                    <a:pt x="2788" y="542"/>
                  </a:lnTo>
                  <a:lnTo>
                    <a:pt x="2788" y="540"/>
                  </a:lnTo>
                  <a:lnTo>
                    <a:pt x="2790" y="538"/>
                  </a:lnTo>
                  <a:lnTo>
                    <a:pt x="2790" y="532"/>
                  </a:lnTo>
                  <a:lnTo>
                    <a:pt x="2790" y="530"/>
                  </a:lnTo>
                  <a:lnTo>
                    <a:pt x="2792" y="528"/>
                  </a:lnTo>
                  <a:lnTo>
                    <a:pt x="2792" y="526"/>
                  </a:lnTo>
                  <a:lnTo>
                    <a:pt x="2792" y="526"/>
                  </a:lnTo>
                  <a:lnTo>
                    <a:pt x="2794" y="526"/>
                  </a:lnTo>
                  <a:lnTo>
                    <a:pt x="2794" y="526"/>
                  </a:lnTo>
                  <a:lnTo>
                    <a:pt x="2794" y="526"/>
                  </a:lnTo>
                  <a:lnTo>
                    <a:pt x="2794" y="528"/>
                  </a:lnTo>
                  <a:lnTo>
                    <a:pt x="2794" y="530"/>
                  </a:lnTo>
                  <a:lnTo>
                    <a:pt x="2794" y="534"/>
                  </a:lnTo>
                  <a:lnTo>
                    <a:pt x="2794" y="534"/>
                  </a:lnTo>
                  <a:lnTo>
                    <a:pt x="2796" y="538"/>
                  </a:lnTo>
                  <a:lnTo>
                    <a:pt x="2796" y="538"/>
                  </a:lnTo>
                  <a:lnTo>
                    <a:pt x="2798" y="538"/>
                  </a:lnTo>
                  <a:lnTo>
                    <a:pt x="2800" y="538"/>
                  </a:lnTo>
                  <a:lnTo>
                    <a:pt x="2800" y="538"/>
                  </a:lnTo>
                  <a:lnTo>
                    <a:pt x="2800" y="538"/>
                  </a:lnTo>
                  <a:lnTo>
                    <a:pt x="2802" y="538"/>
                  </a:lnTo>
                  <a:lnTo>
                    <a:pt x="2802" y="540"/>
                  </a:lnTo>
                  <a:lnTo>
                    <a:pt x="2802" y="542"/>
                  </a:lnTo>
                  <a:lnTo>
                    <a:pt x="2802" y="546"/>
                  </a:lnTo>
                  <a:lnTo>
                    <a:pt x="2802" y="550"/>
                  </a:lnTo>
                  <a:lnTo>
                    <a:pt x="2802" y="550"/>
                  </a:lnTo>
                  <a:lnTo>
                    <a:pt x="2802" y="552"/>
                  </a:lnTo>
                  <a:lnTo>
                    <a:pt x="2804" y="552"/>
                  </a:lnTo>
                  <a:lnTo>
                    <a:pt x="2806" y="552"/>
                  </a:lnTo>
                  <a:lnTo>
                    <a:pt x="2808" y="552"/>
                  </a:lnTo>
                  <a:lnTo>
                    <a:pt x="2810" y="552"/>
                  </a:lnTo>
                  <a:lnTo>
                    <a:pt x="2810" y="552"/>
                  </a:lnTo>
                  <a:lnTo>
                    <a:pt x="2814" y="552"/>
                  </a:lnTo>
                  <a:lnTo>
                    <a:pt x="2816" y="550"/>
                  </a:lnTo>
                  <a:lnTo>
                    <a:pt x="2822" y="548"/>
                  </a:lnTo>
                  <a:lnTo>
                    <a:pt x="2824" y="548"/>
                  </a:lnTo>
                  <a:lnTo>
                    <a:pt x="2824" y="548"/>
                  </a:lnTo>
                  <a:lnTo>
                    <a:pt x="2824" y="548"/>
                  </a:lnTo>
                  <a:lnTo>
                    <a:pt x="2824" y="548"/>
                  </a:lnTo>
                  <a:lnTo>
                    <a:pt x="2826" y="550"/>
                  </a:lnTo>
                  <a:lnTo>
                    <a:pt x="2826" y="550"/>
                  </a:lnTo>
                  <a:lnTo>
                    <a:pt x="2826" y="552"/>
                  </a:lnTo>
                  <a:lnTo>
                    <a:pt x="2828" y="556"/>
                  </a:lnTo>
                  <a:lnTo>
                    <a:pt x="2828" y="556"/>
                  </a:lnTo>
                  <a:lnTo>
                    <a:pt x="2828" y="556"/>
                  </a:lnTo>
                  <a:lnTo>
                    <a:pt x="2832" y="560"/>
                  </a:lnTo>
                  <a:lnTo>
                    <a:pt x="2832" y="560"/>
                  </a:lnTo>
                  <a:lnTo>
                    <a:pt x="2832" y="560"/>
                  </a:lnTo>
                  <a:lnTo>
                    <a:pt x="2834" y="562"/>
                  </a:lnTo>
                  <a:lnTo>
                    <a:pt x="2834" y="562"/>
                  </a:lnTo>
                  <a:lnTo>
                    <a:pt x="2834" y="562"/>
                  </a:lnTo>
                  <a:lnTo>
                    <a:pt x="2838" y="562"/>
                  </a:lnTo>
                  <a:lnTo>
                    <a:pt x="2838" y="562"/>
                  </a:lnTo>
                  <a:lnTo>
                    <a:pt x="2838" y="562"/>
                  </a:lnTo>
                  <a:lnTo>
                    <a:pt x="2840" y="564"/>
                  </a:lnTo>
                  <a:lnTo>
                    <a:pt x="2840" y="564"/>
                  </a:lnTo>
                  <a:lnTo>
                    <a:pt x="2842" y="564"/>
                  </a:lnTo>
                  <a:lnTo>
                    <a:pt x="2844" y="562"/>
                  </a:lnTo>
                  <a:lnTo>
                    <a:pt x="2844" y="562"/>
                  </a:lnTo>
                  <a:lnTo>
                    <a:pt x="2844" y="562"/>
                  </a:lnTo>
                  <a:lnTo>
                    <a:pt x="2846" y="562"/>
                  </a:lnTo>
                  <a:lnTo>
                    <a:pt x="2846" y="562"/>
                  </a:lnTo>
                  <a:lnTo>
                    <a:pt x="2846" y="560"/>
                  </a:lnTo>
                  <a:lnTo>
                    <a:pt x="2848" y="560"/>
                  </a:lnTo>
                  <a:lnTo>
                    <a:pt x="2852" y="556"/>
                  </a:lnTo>
                  <a:lnTo>
                    <a:pt x="2852" y="556"/>
                  </a:lnTo>
                  <a:lnTo>
                    <a:pt x="2854" y="554"/>
                  </a:lnTo>
                  <a:lnTo>
                    <a:pt x="2856" y="554"/>
                  </a:lnTo>
                  <a:lnTo>
                    <a:pt x="2856" y="554"/>
                  </a:lnTo>
                  <a:lnTo>
                    <a:pt x="2858" y="554"/>
                  </a:lnTo>
                  <a:lnTo>
                    <a:pt x="2860" y="554"/>
                  </a:lnTo>
                  <a:lnTo>
                    <a:pt x="2860" y="554"/>
                  </a:lnTo>
                  <a:lnTo>
                    <a:pt x="2864" y="556"/>
                  </a:lnTo>
                  <a:lnTo>
                    <a:pt x="2866" y="558"/>
                  </a:lnTo>
                  <a:lnTo>
                    <a:pt x="2870" y="560"/>
                  </a:lnTo>
                  <a:lnTo>
                    <a:pt x="2870" y="560"/>
                  </a:lnTo>
                  <a:lnTo>
                    <a:pt x="2870" y="560"/>
                  </a:lnTo>
                  <a:lnTo>
                    <a:pt x="2872" y="560"/>
                  </a:lnTo>
                  <a:lnTo>
                    <a:pt x="2872" y="560"/>
                  </a:lnTo>
                  <a:lnTo>
                    <a:pt x="2872" y="560"/>
                  </a:lnTo>
                  <a:lnTo>
                    <a:pt x="2874" y="560"/>
                  </a:lnTo>
                  <a:lnTo>
                    <a:pt x="2874" y="560"/>
                  </a:lnTo>
                  <a:lnTo>
                    <a:pt x="2874" y="560"/>
                  </a:lnTo>
                  <a:lnTo>
                    <a:pt x="2876" y="560"/>
                  </a:lnTo>
                  <a:lnTo>
                    <a:pt x="2876" y="560"/>
                  </a:lnTo>
                  <a:lnTo>
                    <a:pt x="2878" y="560"/>
                  </a:lnTo>
                  <a:lnTo>
                    <a:pt x="2880" y="558"/>
                  </a:lnTo>
                  <a:lnTo>
                    <a:pt x="2880" y="558"/>
                  </a:lnTo>
                  <a:lnTo>
                    <a:pt x="2880" y="558"/>
                  </a:lnTo>
                  <a:lnTo>
                    <a:pt x="2882" y="556"/>
                  </a:lnTo>
                  <a:lnTo>
                    <a:pt x="2884" y="554"/>
                  </a:lnTo>
                  <a:lnTo>
                    <a:pt x="2884" y="554"/>
                  </a:lnTo>
                  <a:lnTo>
                    <a:pt x="2886" y="550"/>
                  </a:lnTo>
                  <a:lnTo>
                    <a:pt x="2884" y="550"/>
                  </a:lnTo>
                  <a:lnTo>
                    <a:pt x="2886" y="548"/>
                  </a:lnTo>
                  <a:lnTo>
                    <a:pt x="2890" y="550"/>
                  </a:lnTo>
                  <a:lnTo>
                    <a:pt x="2894" y="550"/>
                  </a:lnTo>
                  <a:lnTo>
                    <a:pt x="2896" y="550"/>
                  </a:lnTo>
                  <a:lnTo>
                    <a:pt x="2896" y="550"/>
                  </a:lnTo>
                  <a:lnTo>
                    <a:pt x="2896" y="550"/>
                  </a:lnTo>
                  <a:lnTo>
                    <a:pt x="2900" y="548"/>
                  </a:lnTo>
                  <a:lnTo>
                    <a:pt x="2900" y="548"/>
                  </a:lnTo>
                  <a:lnTo>
                    <a:pt x="2900" y="548"/>
                  </a:lnTo>
                  <a:lnTo>
                    <a:pt x="2902" y="546"/>
                  </a:lnTo>
                  <a:lnTo>
                    <a:pt x="2902" y="546"/>
                  </a:lnTo>
                  <a:lnTo>
                    <a:pt x="2904" y="546"/>
                  </a:lnTo>
                  <a:lnTo>
                    <a:pt x="2904" y="544"/>
                  </a:lnTo>
                  <a:lnTo>
                    <a:pt x="2904" y="544"/>
                  </a:lnTo>
                  <a:lnTo>
                    <a:pt x="2904" y="544"/>
                  </a:lnTo>
                  <a:lnTo>
                    <a:pt x="2904" y="542"/>
                  </a:lnTo>
                  <a:lnTo>
                    <a:pt x="2904" y="542"/>
                  </a:lnTo>
                  <a:lnTo>
                    <a:pt x="2904" y="540"/>
                  </a:lnTo>
                  <a:lnTo>
                    <a:pt x="2904" y="538"/>
                  </a:lnTo>
                  <a:lnTo>
                    <a:pt x="2900" y="536"/>
                  </a:lnTo>
                  <a:lnTo>
                    <a:pt x="2898" y="536"/>
                  </a:lnTo>
                  <a:lnTo>
                    <a:pt x="2896" y="534"/>
                  </a:lnTo>
                  <a:lnTo>
                    <a:pt x="2896" y="534"/>
                  </a:lnTo>
                  <a:lnTo>
                    <a:pt x="2898" y="534"/>
                  </a:lnTo>
                  <a:lnTo>
                    <a:pt x="2900" y="532"/>
                  </a:lnTo>
                  <a:lnTo>
                    <a:pt x="2900" y="532"/>
                  </a:lnTo>
                  <a:lnTo>
                    <a:pt x="2902" y="532"/>
                  </a:lnTo>
                  <a:lnTo>
                    <a:pt x="2906" y="532"/>
                  </a:lnTo>
                  <a:lnTo>
                    <a:pt x="2908" y="532"/>
                  </a:lnTo>
                  <a:lnTo>
                    <a:pt x="2912" y="532"/>
                  </a:lnTo>
                  <a:lnTo>
                    <a:pt x="2912" y="532"/>
                  </a:lnTo>
                  <a:lnTo>
                    <a:pt x="2912" y="532"/>
                  </a:lnTo>
                  <a:lnTo>
                    <a:pt x="2916" y="530"/>
                  </a:lnTo>
                  <a:lnTo>
                    <a:pt x="2916" y="530"/>
                  </a:lnTo>
                  <a:lnTo>
                    <a:pt x="2920" y="528"/>
                  </a:lnTo>
                  <a:lnTo>
                    <a:pt x="2920" y="528"/>
                  </a:lnTo>
                  <a:lnTo>
                    <a:pt x="2920" y="528"/>
                  </a:lnTo>
                  <a:lnTo>
                    <a:pt x="2922" y="526"/>
                  </a:lnTo>
                  <a:lnTo>
                    <a:pt x="2922" y="526"/>
                  </a:lnTo>
                  <a:lnTo>
                    <a:pt x="2922" y="524"/>
                  </a:lnTo>
                  <a:lnTo>
                    <a:pt x="2924" y="522"/>
                  </a:lnTo>
                  <a:lnTo>
                    <a:pt x="2926" y="518"/>
                  </a:lnTo>
                  <a:lnTo>
                    <a:pt x="2928" y="516"/>
                  </a:lnTo>
                  <a:lnTo>
                    <a:pt x="2930" y="512"/>
                  </a:lnTo>
                  <a:lnTo>
                    <a:pt x="2932" y="510"/>
                  </a:lnTo>
                  <a:lnTo>
                    <a:pt x="2934" y="510"/>
                  </a:lnTo>
                  <a:lnTo>
                    <a:pt x="2934" y="510"/>
                  </a:lnTo>
                  <a:lnTo>
                    <a:pt x="2936" y="508"/>
                  </a:lnTo>
                  <a:lnTo>
                    <a:pt x="2936" y="508"/>
                  </a:lnTo>
                  <a:lnTo>
                    <a:pt x="2936" y="506"/>
                  </a:lnTo>
                  <a:lnTo>
                    <a:pt x="2936" y="504"/>
                  </a:lnTo>
                  <a:lnTo>
                    <a:pt x="2936" y="504"/>
                  </a:lnTo>
                  <a:lnTo>
                    <a:pt x="2934" y="502"/>
                  </a:lnTo>
                  <a:lnTo>
                    <a:pt x="2934" y="500"/>
                  </a:lnTo>
                  <a:lnTo>
                    <a:pt x="2934" y="500"/>
                  </a:lnTo>
                  <a:lnTo>
                    <a:pt x="2934" y="500"/>
                  </a:lnTo>
                  <a:lnTo>
                    <a:pt x="2932" y="500"/>
                  </a:lnTo>
                  <a:lnTo>
                    <a:pt x="2932" y="500"/>
                  </a:lnTo>
                  <a:lnTo>
                    <a:pt x="2930" y="498"/>
                  </a:lnTo>
                  <a:lnTo>
                    <a:pt x="2930" y="498"/>
                  </a:lnTo>
                  <a:lnTo>
                    <a:pt x="2930" y="498"/>
                  </a:lnTo>
                  <a:lnTo>
                    <a:pt x="2928" y="498"/>
                  </a:lnTo>
                  <a:lnTo>
                    <a:pt x="2926" y="498"/>
                  </a:lnTo>
                  <a:lnTo>
                    <a:pt x="2926" y="498"/>
                  </a:lnTo>
                  <a:lnTo>
                    <a:pt x="2926" y="498"/>
                  </a:lnTo>
                  <a:lnTo>
                    <a:pt x="2924" y="498"/>
                  </a:lnTo>
                  <a:lnTo>
                    <a:pt x="2920" y="498"/>
                  </a:lnTo>
                  <a:lnTo>
                    <a:pt x="2920" y="498"/>
                  </a:lnTo>
                  <a:lnTo>
                    <a:pt x="2918" y="498"/>
                  </a:lnTo>
                  <a:lnTo>
                    <a:pt x="2914" y="500"/>
                  </a:lnTo>
                  <a:lnTo>
                    <a:pt x="2910" y="502"/>
                  </a:lnTo>
                  <a:lnTo>
                    <a:pt x="2906" y="504"/>
                  </a:lnTo>
                  <a:lnTo>
                    <a:pt x="2906" y="504"/>
                  </a:lnTo>
                  <a:lnTo>
                    <a:pt x="2906" y="502"/>
                  </a:lnTo>
                  <a:lnTo>
                    <a:pt x="2906" y="502"/>
                  </a:lnTo>
                  <a:lnTo>
                    <a:pt x="2906" y="502"/>
                  </a:lnTo>
                  <a:lnTo>
                    <a:pt x="2906" y="500"/>
                  </a:lnTo>
                  <a:lnTo>
                    <a:pt x="2906" y="500"/>
                  </a:lnTo>
                  <a:lnTo>
                    <a:pt x="2906" y="500"/>
                  </a:lnTo>
                  <a:lnTo>
                    <a:pt x="2904" y="500"/>
                  </a:lnTo>
                  <a:lnTo>
                    <a:pt x="2904" y="500"/>
                  </a:lnTo>
                  <a:lnTo>
                    <a:pt x="2904" y="498"/>
                  </a:lnTo>
                  <a:lnTo>
                    <a:pt x="2902" y="498"/>
                  </a:lnTo>
                  <a:lnTo>
                    <a:pt x="2902" y="498"/>
                  </a:lnTo>
                  <a:lnTo>
                    <a:pt x="2900" y="498"/>
                  </a:lnTo>
                  <a:lnTo>
                    <a:pt x="2898" y="496"/>
                  </a:lnTo>
                  <a:lnTo>
                    <a:pt x="2898" y="496"/>
                  </a:lnTo>
                  <a:lnTo>
                    <a:pt x="2894" y="498"/>
                  </a:lnTo>
                  <a:lnTo>
                    <a:pt x="2892" y="498"/>
                  </a:lnTo>
                  <a:lnTo>
                    <a:pt x="2890" y="498"/>
                  </a:lnTo>
                  <a:lnTo>
                    <a:pt x="2888" y="498"/>
                  </a:lnTo>
                  <a:lnTo>
                    <a:pt x="2888" y="498"/>
                  </a:lnTo>
                  <a:lnTo>
                    <a:pt x="2884" y="496"/>
                  </a:lnTo>
                  <a:lnTo>
                    <a:pt x="2882" y="494"/>
                  </a:lnTo>
                  <a:lnTo>
                    <a:pt x="2880" y="492"/>
                  </a:lnTo>
                  <a:lnTo>
                    <a:pt x="2878" y="488"/>
                  </a:lnTo>
                  <a:lnTo>
                    <a:pt x="2876" y="486"/>
                  </a:lnTo>
                  <a:lnTo>
                    <a:pt x="2876" y="484"/>
                  </a:lnTo>
                  <a:lnTo>
                    <a:pt x="2876" y="484"/>
                  </a:lnTo>
                  <a:lnTo>
                    <a:pt x="2876" y="482"/>
                  </a:lnTo>
                  <a:lnTo>
                    <a:pt x="2876" y="482"/>
                  </a:lnTo>
                  <a:lnTo>
                    <a:pt x="2874" y="482"/>
                  </a:lnTo>
                  <a:lnTo>
                    <a:pt x="2872" y="480"/>
                  </a:lnTo>
                  <a:lnTo>
                    <a:pt x="2870" y="480"/>
                  </a:lnTo>
                  <a:lnTo>
                    <a:pt x="2868" y="480"/>
                  </a:lnTo>
                  <a:lnTo>
                    <a:pt x="2868" y="480"/>
                  </a:lnTo>
                  <a:lnTo>
                    <a:pt x="2868" y="482"/>
                  </a:lnTo>
                  <a:lnTo>
                    <a:pt x="2866" y="482"/>
                  </a:lnTo>
                  <a:lnTo>
                    <a:pt x="2866" y="480"/>
                  </a:lnTo>
                  <a:lnTo>
                    <a:pt x="2866" y="480"/>
                  </a:lnTo>
                  <a:lnTo>
                    <a:pt x="2866" y="480"/>
                  </a:lnTo>
                  <a:lnTo>
                    <a:pt x="2862" y="478"/>
                  </a:lnTo>
                  <a:lnTo>
                    <a:pt x="2860" y="476"/>
                  </a:lnTo>
                  <a:lnTo>
                    <a:pt x="2856" y="474"/>
                  </a:lnTo>
                  <a:lnTo>
                    <a:pt x="2854" y="472"/>
                  </a:lnTo>
                  <a:lnTo>
                    <a:pt x="2846" y="470"/>
                  </a:lnTo>
                  <a:lnTo>
                    <a:pt x="2844" y="468"/>
                  </a:lnTo>
                  <a:lnTo>
                    <a:pt x="2840" y="466"/>
                  </a:lnTo>
                  <a:lnTo>
                    <a:pt x="2838" y="466"/>
                  </a:lnTo>
                  <a:lnTo>
                    <a:pt x="2836" y="464"/>
                  </a:lnTo>
                  <a:lnTo>
                    <a:pt x="2836" y="462"/>
                  </a:lnTo>
                  <a:lnTo>
                    <a:pt x="2836" y="460"/>
                  </a:lnTo>
                  <a:lnTo>
                    <a:pt x="2836" y="460"/>
                  </a:lnTo>
                  <a:lnTo>
                    <a:pt x="2836" y="458"/>
                  </a:lnTo>
                  <a:lnTo>
                    <a:pt x="2836" y="458"/>
                  </a:lnTo>
                  <a:lnTo>
                    <a:pt x="2836" y="456"/>
                  </a:lnTo>
                  <a:lnTo>
                    <a:pt x="2836" y="454"/>
                  </a:lnTo>
                  <a:lnTo>
                    <a:pt x="2834" y="452"/>
                  </a:lnTo>
                  <a:lnTo>
                    <a:pt x="2832" y="450"/>
                  </a:lnTo>
                  <a:lnTo>
                    <a:pt x="2832" y="450"/>
                  </a:lnTo>
                  <a:lnTo>
                    <a:pt x="2830" y="448"/>
                  </a:lnTo>
                  <a:lnTo>
                    <a:pt x="2828" y="444"/>
                  </a:lnTo>
                  <a:lnTo>
                    <a:pt x="2826" y="442"/>
                  </a:lnTo>
                  <a:lnTo>
                    <a:pt x="2824" y="438"/>
                  </a:lnTo>
                  <a:lnTo>
                    <a:pt x="2822" y="436"/>
                  </a:lnTo>
                  <a:lnTo>
                    <a:pt x="2822" y="434"/>
                  </a:lnTo>
                  <a:lnTo>
                    <a:pt x="2822" y="434"/>
                  </a:lnTo>
                  <a:lnTo>
                    <a:pt x="2822" y="432"/>
                  </a:lnTo>
                  <a:lnTo>
                    <a:pt x="2818" y="430"/>
                  </a:lnTo>
                  <a:lnTo>
                    <a:pt x="2814" y="428"/>
                  </a:lnTo>
                  <a:lnTo>
                    <a:pt x="2816" y="428"/>
                  </a:lnTo>
                  <a:lnTo>
                    <a:pt x="2812" y="424"/>
                  </a:lnTo>
                  <a:lnTo>
                    <a:pt x="2812" y="424"/>
                  </a:lnTo>
                  <a:lnTo>
                    <a:pt x="2812" y="422"/>
                  </a:lnTo>
                  <a:lnTo>
                    <a:pt x="2812" y="422"/>
                  </a:lnTo>
                  <a:lnTo>
                    <a:pt x="2812" y="420"/>
                  </a:lnTo>
                  <a:lnTo>
                    <a:pt x="2812" y="420"/>
                  </a:lnTo>
                  <a:lnTo>
                    <a:pt x="2812" y="418"/>
                  </a:lnTo>
                  <a:lnTo>
                    <a:pt x="2812" y="418"/>
                  </a:lnTo>
                  <a:lnTo>
                    <a:pt x="2812" y="418"/>
                  </a:lnTo>
                  <a:lnTo>
                    <a:pt x="2812" y="416"/>
                  </a:lnTo>
                  <a:lnTo>
                    <a:pt x="2812" y="416"/>
                  </a:lnTo>
                  <a:lnTo>
                    <a:pt x="2812" y="416"/>
                  </a:lnTo>
                  <a:lnTo>
                    <a:pt x="2812" y="414"/>
                  </a:lnTo>
                  <a:lnTo>
                    <a:pt x="2812" y="414"/>
                  </a:lnTo>
                  <a:lnTo>
                    <a:pt x="2812" y="414"/>
                  </a:lnTo>
                  <a:lnTo>
                    <a:pt x="2812" y="414"/>
                  </a:lnTo>
                  <a:lnTo>
                    <a:pt x="2810" y="414"/>
                  </a:lnTo>
                  <a:lnTo>
                    <a:pt x="2810" y="412"/>
                  </a:lnTo>
                  <a:lnTo>
                    <a:pt x="2810" y="412"/>
                  </a:lnTo>
                  <a:lnTo>
                    <a:pt x="2810" y="410"/>
                  </a:lnTo>
                  <a:lnTo>
                    <a:pt x="2808" y="408"/>
                  </a:lnTo>
                  <a:lnTo>
                    <a:pt x="2808" y="408"/>
                  </a:lnTo>
                  <a:lnTo>
                    <a:pt x="2808" y="408"/>
                  </a:lnTo>
                  <a:lnTo>
                    <a:pt x="2806" y="406"/>
                  </a:lnTo>
                  <a:lnTo>
                    <a:pt x="2804" y="406"/>
                  </a:lnTo>
                  <a:lnTo>
                    <a:pt x="2806" y="404"/>
                  </a:lnTo>
                  <a:lnTo>
                    <a:pt x="2806" y="404"/>
                  </a:lnTo>
                  <a:lnTo>
                    <a:pt x="2806" y="404"/>
                  </a:lnTo>
                  <a:lnTo>
                    <a:pt x="2806" y="402"/>
                  </a:lnTo>
                  <a:lnTo>
                    <a:pt x="2806" y="400"/>
                  </a:lnTo>
                  <a:lnTo>
                    <a:pt x="2806" y="400"/>
                  </a:lnTo>
                  <a:lnTo>
                    <a:pt x="2806" y="400"/>
                  </a:lnTo>
                  <a:lnTo>
                    <a:pt x="2806" y="400"/>
                  </a:lnTo>
                  <a:lnTo>
                    <a:pt x="2806" y="400"/>
                  </a:lnTo>
                  <a:lnTo>
                    <a:pt x="2806" y="398"/>
                  </a:lnTo>
                  <a:lnTo>
                    <a:pt x="2806" y="396"/>
                  </a:lnTo>
                  <a:lnTo>
                    <a:pt x="2806" y="396"/>
                  </a:lnTo>
                  <a:lnTo>
                    <a:pt x="2806" y="396"/>
                  </a:lnTo>
                  <a:lnTo>
                    <a:pt x="2806" y="394"/>
                  </a:lnTo>
                  <a:lnTo>
                    <a:pt x="2804" y="392"/>
                  </a:lnTo>
                  <a:lnTo>
                    <a:pt x="2804" y="392"/>
                  </a:lnTo>
                  <a:lnTo>
                    <a:pt x="2804" y="390"/>
                  </a:lnTo>
                  <a:lnTo>
                    <a:pt x="2804" y="390"/>
                  </a:lnTo>
                  <a:lnTo>
                    <a:pt x="2804" y="390"/>
                  </a:lnTo>
                  <a:lnTo>
                    <a:pt x="2804" y="388"/>
                  </a:lnTo>
                  <a:lnTo>
                    <a:pt x="2802" y="388"/>
                  </a:lnTo>
                  <a:lnTo>
                    <a:pt x="2802" y="388"/>
                  </a:lnTo>
                  <a:lnTo>
                    <a:pt x="2802" y="388"/>
                  </a:lnTo>
                  <a:lnTo>
                    <a:pt x="2800" y="386"/>
                  </a:lnTo>
                  <a:lnTo>
                    <a:pt x="2798" y="384"/>
                  </a:lnTo>
                  <a:lnTo>
                    <a:pt x="2796" y="382"/>
                  </a:lnTo>
                  <a:lnTo>
                    <a:pt x="2798" y="382"/>
                  </a:lnTo>
                  <a:lnTo>
                    <a:pt x="2796" y="380"/>
                  </a:lnTo>
                  <a:lnTo>
                    <a:pt x="2796" y="380"/>
                  </a:lnTo>
                  <a:lnTo>
                    <a:pt x="2796" y="378"/>
                  </a:lnTo>
                  <a:lnTo>
                    <a:pt x="2796" y="376"/>
                  </a:lnTo>
                  <a:lnTo>
                    <a:pt x="2798" y="372"/>
                  </a:lnTo>
                  <a:lnTo>
                    <a:pt x="2798" y="370"/>
                  </a:lnTo>
                  <a:lnTo>
                    <a:pt x="2800" y="366"/>
                  </a:lnTo>
                  <a:lnTo>
                    <a:pt x="2800" y="366"/>
                  </a:lnTo>
                  <a:lnTo>
                    <a:pt x="2800" y="366"/>
                  </a:lnTo>
                  <a:lnTo>
                    <a:pt x="2802" y="362"/>
                  </a:lnTo>
                  <a:lnTo>
                    <a:pt x="2802" y="362"/>
                  </a:lnTo>
                  <a:lnTo>
                    <a:pt x="2802" y="362"/>
                  </a:lnTo>
                  <a:lnTo>
                    <a:pt x="2802" y="360"/>
                  </a:lnTo>
                  <a:lnTo>
                    <a:pt x="2802" y="360"/>
                  </a:lnTo>
                  <a:lnTo>
                    <a:pt x="2800" y="360"/>
                  </a:lnTo>
                  <a:lnTo>
                    <a:pt x="2800" y="358"/>
                  </a:lnTo>
                  <a:lnTo>
                    <a:pt x="2800" y="358"/>
                  </a:lnTo>
                  <a:lnTo>
                    <a:pt x="2800" y="358"/>
                  </a:lnTo>
                  <a:lnTo>
                    <a:pt x="2800" y="356"/>
                  </a:lnTo>
                  <a:lnTo>
                    <a:pt x="2800" y="356"/>
                  </a:lnTo>
                  <a:lnTo>
                    <a:pt x="2800" y="356"/>
                  </a:lnTo>
                  <a:lnTo>
                    <a:pt x="2800" y="356"/>
                  </a:lnTo>
                  <a:lnTo>
                    <a:pt x="2800" y="354"/>
                  </a:lnTo>
                  <a:lnTo>
                    <a:pt x="2800" y="354"/>
                  </a:lnTo>
                  <a:lnTo>
                    <a:pt x="2800" y="354"/>
                  </a:lnTo>
                  <a:lnTo>
                    <a:pt x="2802" y="352"/>
                  </a:lnTo>
                  <a:lnTo>
                    <a:pt x="2804" y="350"/>
                  </a:lnTo>
                  <a:lnTo>
                    <a:pt x="2804" y="346"/>
                  </a:lnTo>
                  <a:lnTo>
                    <a:pt x="2802" y="346"/>
                  </a:lnTo>
                  <a:lnTo>
                    <a:pt x="2802" y="346"/>
                  </a:lnTo>
                  <a:lnTo>
                    <a:pt x="2802" y="344"/>
                  </a:lnTo>
                  <a:lnTo>
                    <a:pt x="2802" y="344"/>
                  </a:lnTo>
                  <a:lnTo>
                    <a:pt x="2802" y="344"/>
                  </a:lnTo>
                  <a:lnTo>
                    <a:pt x="2802" y="342"/>
                  </a:lnTo>
                  <a:lnTo>
                    <a:pt x="2798" y="340"/>
                  </a:lnTo>
                  <a:lnTo>
                    <a:pt x="2796" y="338"/>
                  </a:lnTo>
                  <a:lnTo>
                    <a:pt x="2794" y="336"/>
                  </a:lnTo>
                  <a:lnTo>
                    <a:pt x="2794" y="336"/>
                  </a:lnTo>
                  <a:lnTo>
                    <a:pt x="2794" y="334"/>
                  </a:lnTo>
                  <a:lnTo>
                    <a:pt x="2794" y="334"/>
                  </a:lnTo>
                  <a:lnTo>
                    <a:pt x="2794" y="332"/>
                  </a:lnTo>
                  <a:lnTo>
                    <a:pt x="2794" y="330"/>
                  </a:lnTo>
                  <a:lnTo>
                    <a:pt x="2794" y="330"/>
                  </a:lnTo>
                  <a:lnTo>
                    <a:pt x="2796" y="328"/>
                  </a:lnTo>
                  <a:lnTo>
                    <a:pt x="2796" y="328"/>
                  </a:lnTo>
                  <a:lnTo>
                    <a:pt x="2796" y="326"/>
                  </a:lnTo>
                  <a:lnTo>
                    <a:pt x="2796" y="326"/>
                  </a:lnTo>
                  <a:lnTo>
                    <a:pt x="2794" y="324"/>
                  </a:lnTo>
                  <a:lnTo>
                    <a:pt x="2790" y="320"/>
                  </a:lnTo>
                  <a:lnTo>
                    <a:pt x="2788" y="320"/>
                  </a:lnTo>
                  <a:lnTo>
                    <a:pt x="2786" y="318"/>
                  </a:lnTo>
                  <a:lnTo>
                    <a:pt x="2786" y="318"/>
                  </a:lnTo>
                  <a:lnTo>
                    <a:pt x="2786" y="316"/>
                  </a:lnTo>
                  <a:lnTo>
                    <a:pt x="2786" y="316"/>
                  </a:lnTo>
                  <a:lnTo>
                    <a:pt x="2788" y="312"/>
                  </a:lnTo>
                  <a:lnTo>
                    <a:pt x="2788" y="312"/>
                  </a:lnTo>
                  <a:lnTo>
                    <a:pt x="2788" y="310"/>
                  </a:lnTo>
                  <a:lnTo>
                    <a:pt x="2784" y="306"/>
                  </a:lnTo>
                  <a:lnTo>
                    <a:pt x="2788" y="306"/>
                  </a:lnTo>
                  <a:lnTo>
                    <a:pt x="2788" y="306"/>
                  </a:lnTo>
                  <a:lnTo>
                    <a:pt x="2790" y="304"/>
                  </a:lnTo>
                  <a:lnTo>
                    <a:pt x="2790" y="302"/>
                  </a:lnTo>
                  <a:lnTo>
                    <a:pt x="2790" y="302"/>
                  </a:lnTo>
                  <a:lnTo>
                    <a:pt x="2790" y="302"/>
                  </a:lnTo>
                  <a:lnTo>
                    <a:pt x="2792" y="300"/>
                  </a:lnTo>
                  <a:lnTo>
                    <a:pt x="2792" y="300"/>
                  </a:lnTo>
                  <a:lnTo>
                    <a:pt x="2792" y="298"/>
                  </a:lnTo>
                  <a:lnTo>
                    <a:pt x="2790" y="296"/>
                  </a:lnTo>
                  <a:lnTo>
                    <a:pt x="2790" y="296"/>
                  </a:lnTo>
                  <a:lnTo>
                    <a:pt x="2790" y="296"/>
                  </a:lnTo>
                  <a:lnTo>
                    <a:pt x="2790" y="294"/>
                  </a:lnTo>
                  <a:lnTo>
                    <a:pt x="2790" y="294"/>
                  </a:lnTo>
                  <a:lnTo>
                    <a:pt x="2790" y="294"/>
                  </a:lnTo>
                  <a:lnTo>
                    <a:pt x="2788" y="288"/>
                  </a:lnTo>
                  <a:lnTo>
                    <a:pt x="2786" y="284"/>
                  </a:lnTo>
                  <a:lnTo>
                    <a:pt x="2782" y="280"/>
                  </a:lnTo>
                  <a:lnTo>
                    <a:pt x="2782" y="278"/>
                  </a:lnTo>
                  <a:lnTo>
                    <a:pt x="2782" y="278"/>
                  </a:lnTo>
                  <a:lnTo>
                    <a:pt x="2782" y="276"/>
                  </a:lnTo>
                  <a:lnTo>
                    <a:pt x="2782" y="276"/>
                  </a:lnTo>
                  <a:lnTo>
                    <a:pt x="2782" y="274"/>
                  </a:lnTo>
                  <a:lnTo>
                    <a:pt x="2784" y="272"/>
                  </a:lnTo>
                  <a:lnTo>
                    <a:pt x="2784" y="272"/>
                  </a:lnTo>
                  <a:lnTo>
                    <a:pt x="2784" y="272"/>
                  </a:lnTo>
                  <a:lnTo>
                    <a:pt x="2786" y="268"/>
                  </a:lnTo>
                  <a:lnTo>
                    <a:pt x="2786" y="268"/>
                  </a:lnTo>
                  <a:lnTo>
                    <a:pt x="2784" y="266"/>
                  </a:lnTo>
                  <a:lnTo>
                    <a:pt x="2782" y="266"/>
                  </a:lnTo>
                  <a:lnTo>
                    <a:pt x="2782" y="266"/>
                  </a:lnTo>
                  <a:lnTo>
                    <a:pt x="2782" y="266"/>
                  </a:lnTo>
                  <a:lnTo>
                    <a:pt x="2778" y="266"/>
                  </a:lnTo>
                  <a:lnTo>
                    <a:pt x="2772" y="266"/>
                  </a:lnTo>
                  <a:lnTo>
                    <a:pt x="2770" y="266"/>
                  </a:lnTo>
                  <a:lnTo>
                    <a:pt x="2768" y="266"/>
                  </a:lnTo>
                  <a:lnTo>
                    <a:pt x="2766" y="266"/>
                  </a:lnTo>
                  <a:lnTo>
                    <a:pt x="2766" y="266"/>
                  </a:lnTo>
                  <a:lnTo>
                    <a:pt x="2768" y="266"/>
                  </a:lnTo>
                  <a:lnTo>
                    <a:pt x="2768" y="266"/>
                  </a:lnTo>
                  <a:lnTo>
                    <a:pt x="2770" y="264"/>
                  </a:lnTo>
                  <a:lnTo>
                    <a:pt x="2770" y="264"/>
                  </a:lnTo>
                  <a:lnTo>
                    <a:pt x="2772" y="264"/>
                  </a:lnTo>
                  <a:lnTo>
                    <a:pt x="2774" y="264"/>
                  </a:lnTo>
                  <a:lnTo>
                    <a:pt x="2774" y="264"/>
                  </a:lnTo>
                  <a:lnTo>
                    <a:pt x="2776" y="262"/>
                  </a:lnTo>
                  <a:lnTo>
                    <a:pt x="2778" y="260"/>
                  </a:lnTo>
                  <a:lnTo>
                    <a:pt x="2776" y="256"/>
                  </a:lnTo>
                  <a:lnTo>
                    <a:pt x="2776" y="252"/>
                  </a:lnTo>
                  <a:lnTo>
                    <a:pt x="2776" y="248"/>
                  </a:lnTo>
                  <a:lnTo>
                    <a:pt x="2776" y="248"/>
                  </a:lnTo>
                  <a:lnTo>
                    <a:pt x="2776" y="248"/>
                  </a:lnTo>
                  <a:lnTo>
                    <a:pt x="2778" y="248"/>
                  </a:lnTo>
                  <a:lnTo>
                    <a:pt x="2780" y="248"/>
                  </a:lnTo>
                  <a:lnTo>
                    <a:pt x="2782" y="252"/>
                  </a:lnTo>
                  <a:lnTo>
                    <a:pt x="2786" y="254"/>
                  </a:lnTo>
                  <a:lnTo>
                    <a:pt x="2786" y="254"/>
                  </a:lnTo>
                  <a:lnTo>
                    <a:pt x="2788" y="254"/>
                  </a:lnTo>
                  <a:lnTo>
                    <a:pt x="2788" y="254"/>
                  </a:lnTo>
                  <a:lnTo>
                    <a:pt x="2790" y="252"/>
                  </a:lnTo>
                  <a:lnTo>
                    <a:pt x="2790" y="248"/>
                  </a:lnTo>
                  <a:lnTo>
                    <a:pt x="2790" y="246"/>
                  </a:lnTo>
                  <a:lnTo>
                    <a:pt x="2788" y="240"/>
                  </a:lnTo>
                  <a:lnTo>
                    <a:pt x="2788" y="238"/>
                  </a:lnTo>
                  <a:lnTo>
                    <a:pt x="2788" y="236"/>
                  </a:lnTo>
                  <a:lnTo>
                    <a:pt x="2788" y="234"/>
                  </a:lnTo>
                  <a:lnTo>
                    <a:pt x="2790" y="232"/>
                  </a:lnTo>
                  <a:lnTo>
                    <a:pt x="2790" y="232"/>
                  </a:lnTo>
                  <a:lnTo>
                    <a:pt x="2790" y="230"/>
                  </a:lnTo>
                  <a:lnTo>
                    <a:pt x="2788" y="228"/>
                  </a:lnTo>
                  <a:lnTo>
                    <a:pt x="2786" y="226"/>
                  </a:lnTo>
                  <a:lnTo>
                    <a:pt x="2786" y="226"/>
                  </a:lnTo>
                  <a:lnTo>
                    <a:pt x="2784" y="226"/>
                  </a:lnTo>
                  <a:lnTo>
                    <a:pt x="2786" y="226"/>
                  </a:lnTo>
                  <a:lnTo>
                    <a:pt x="2784" y="224"/>
                  </a:lnTo>
                  <a:lnTo>
                    <a:pt x="2784" y="224"/>
                  </a:lnTo>
                  <a:lnTo>
                    <a:pt x="2784" y="222"/>
                  </a:lnTo>
                  <a:lnTo>
                    <a:pt x="2784" y="222"/>
                  </a:lnTo>
                  <a:lnTo>
                    <a:pt x="2786" y="220"/>
                  </a:lnTo>
                  <a:lnTo>
                    <a:pt x="2786" y="220"/>
                  </a:lnTo>
                  <a:lnTo>
                    <a:pt x="2786" y="216"/>
                  </a:lnTo>
                  <a:lnTo>
                    <a:pt x="2786" y="216"/>
                  </a:lnTo>
                  <a:lnTo>
                    <a:pt x="2784" y="216"/>
                  </a:lnTo>
                  <a:lnTo>
                    <a:pt x="2780" y="214"/>
                  </a:lnTo>
                  <a:lnTo>
                    <a:pt x="2780" y="214"/>
                  </a:lnTo>
                  <a:lnTo>
                    <a:pt x="2780" y="212"/>
                  </a:lnTo>
                  <a:lnTo>
                    <a:pt x="2778" y="210"/>
                  </a:lnTo>
                  <a:lnTo>
                    <a:pt x="2778" y="208"/>
                  </a:lnTo>
                  <a:lnTo>
                    <a:pt x="2780" y="206"/>
                  </a:lnTo>
                  <a:lnTo>
                    <a:pt x="2782" y="200"/>
                  </a:lnTo>
                  <a:lnTo>
                    <a:pt x="2782" y="200"/>
                  </a:lnTo>
                  <a:lnTo>
                    <a:pt x="2782" y="200"/>
                  </a:lnTo>
                  <a:lnTo>
                    <a:pt x="2782" y="198"/>
                  </a:lnTo>
                  <a:lnTo>
                    <a:pt x="2782" y="198"/>
                  </a:lnTo>
                  <a:lnTo>
                    <a:pt x="2784" y="196"/>
                  </a:lnTo>
                  <a:lnTo>
                    <a:pt x="2784" y="192"/>
                  </a:lnTo>
                  <a:lnTo>
                    <a:pt x="2784" y="192"/>
                  </a:lnTo>
                  <a:lnTo>
                    <a:pt x="2784" y="192"/>
                  </a:lnTo>
                  <a:lnTo>
                    <a:pt x="2786" y="190"/>
                  </a:lnTo>
                  <a:lnTo>
                    <a:pt x="2786" y="190"/>
                  </a:lnTo>
                  <a:lnTo>
                    <a:pt x="2786" y="190"/>
                  </a:lnTo>
                  <a:lnTo>
                    <a:pt x="2786" y="188"/>
                  </a:lnTo>
                  <a:lnTo>
                    <a:pt x="2786" y="188"/>
                  </a:lnTo>
                  <a:lnTo>
                    <a:pt x="2786" y="188"/>
                  </a:lnTo>
                  <a:lnTo>
                    <a:pt x="2786" y="186"/>
                  </a:lnTo>
                  <a:lnTo>
                    <a:pt x="2786" y="186"/>
                  </a:lnTo>
                  <a:lnTo>
                    <a:pt x="2784" y="186"/>
                  </a:lnTo>
                  <a:lnTo>
                    <a:pt x="2784" y="184"/>
                  </a:lnTo>
                  <a:lnTo>
                    <a:pt x="2782" y="182"/>
                  </a:lnTo>
                  <a:lnTo>
                    <a:pt x="2780" y="180"/>
                  </a:lnTo>
                  <a:lnTo>
                    <a:pt x="2780" y="180"/>
                  </a:lnTo>
                  <a:lnTo>
                    <a:pt x="2780" y="178"/>
                  </a:lnTo>
                  <a:lnTo>
                    <a:pt x="2780" y="178"/>
                  </a:lnTo>
                  <a:lnTo>
                    <a:pt x="2780" y="174"/>
                  </a:lnTo>
                  <a:lnTo>
                    <a:pt x="2780" y="172"/>
                  </a:lnTo>
                  <a:lnTo>
                    <a:pt x="2782" y="168"/>
                  </a:lnTo>
                  <a:lnTo>
                    <a:pt x="2784" y="166"/>
                  </a:lnTo>
                  <a:lnTo>
                    <a:pt x="2788" y="160"/>
                  </a:lnTo>
                  <a:lnTo>
                    <a:pt x="2788" y="156"/>
                  </a:lnTo>
                  <a:lnTo>
                    <a:pt x="2790" y="154"/>
                  </a:lnTo>
                  <a:lnTo>
                    <a:pt x="2790" y="152"/>
                  </a:lnTo>
                  <a:lnTo>
                    <a:pt x="2792" y="152"/>
                  </a:lnTo>
                  <a:lnTo>
                    <a:pt x="2792" y="152"/>
                  </a:lnTo>
                  <a:lnTo>
                    <a:pt x="2792" y="150"/>
                  </a:lnTo>
                  <a:lnTo>
                    <a:pt x="2792" y="148"/>
                  </a:lnTo>
                  <a:lnTo>
                    <a:pt x="2792" y="148"/>
                  </a:lnTo>
                  <a:lnTo>
                    <a:pt x="2792" y="148"/>
                  </a:lnTo>
                  <a:lnTo>
                    <a:pt x="2794" y="144"/>
                  </a:lnTo>
                  <a:lnTo>
                    <a:pt x="2794" y="144"/>
                  </a:lnTo>
                  <a:lnTo>
                    <a:pt x="2792" y="144"/>
                  </a:lnTo>
                  <a:lnTo>
                    <a:pt x="2792" y="142"/>
                  </a:lnTo>
                  <a:lnTo>
                    <a:pt x="2792" y="142"/>
                  </a:lnTo>
                  <a:lnTo>
                    <a:pt x="2792" y="142"/>
                  </a:lnTo>
                  <a:lnTo>
                    <a:pt x="2792" y="140"/>
                  </a:lnTo>
                  <a:lnTo>
                    <a:pt x="2792" y="140"/>
                  </a:lnTo>
                  <a:lnTo>
                    <a:pt x="2792" y="140"/>
                  </a:lnTo>
                  <a:lnTo>
                    <a:pt x="2792" y="140"/>
                  </a:lnTo>
                  <a:lnTo>
                    <a:pt x="2792" y="138"/>
                  </a:lnTo>
                  <a:lnTo>
                    <a:pt x="2790" y="136"/>
                  </a:lnTo>
                  <a:lnTo>
                    <a:pt x="2788" y="132"/>
                  </a:lnTo>
                  <a:lnTo>
                    <a:pt x="2788" y="132"/>
                  </a:lnTo>
                  <a:lnTo>
                    <a:pt x="2788" y="130"/>
                  </a:lnTo>
                  <a:lnTo>
                    <a:pt x="2790" y="128"/>
                  </a:lnTo>
                  <a:lnTo>
                    <a:pt x="2792" y="126"/>
                  </a:lnTo>
                  <a:lnTo>
                    <a:pt x="2794" y="124"/>
                  </a:lnTo>
                  <a:lnTo>
                    <a:pt x="2800" y="118"/>
                  </a:lnTo>
                  <a:lnTo>
                    <a:pt x="2802" y="114"/>
                  </a:lnTo>
                  <a:lnTo>
                    <a:pt x="2804" y="112"/>
                  </a:lnTo>
                  <a:lnTo>
                    <a:pt x="2804" y="112"/>
                  </a:lnTo>
                  <a:lnTo>
                    <a:pt x="2804" y="110"/>
                  </a:lnTo>
                  <a:lnTo>
                    <a:pt x="2806" y="102"/>
                  </a:lnTo>
                  <a:lnTo>
                    <a:pt x="2808" y="102"/>
                  </a:lnTo>
                  <a:lnTo>
                    <a:pt x="2808" y="100"/>
                  </a:lnTo>
                  <a:lnTo>
                    <a:pt x="2812" y="96"/>
                  </a:lnTo>
                  <a:lnTo>
                    <a:pt x="2814" y="94"/>
                  </a:lnTo>
                  <a:lnTo>
                    <a:pt x="2814" y="94"/>
                  </a:lnTo>
                  <a:lnTo>
                    <a:pt x="2814" y="92"/>
                  </a:lnTo>
                  <a:lnTo>
                    <a:pt x="2816" y="92"/>
                  </a:lnTo>
                  <a:lnTo>
                    <a:pt x="2816" y="92"/>
                  </a:lnTo>
                  <a:lnTo>
                    <a:pt x="2816" y="90"/>
                  </a:lnTo>
                  <a:lnTo>
                    <a:pt x="2816" y="90"/>
                  </a:lnTo>
                  <a:lnTo>
                    <a:pt x="2816" y="90"/>
                  </a:lnTo>
                  <a:lnTo>
                    <a:pt x="2816" y="88"/>
                  </a:lnTo>
                  <a:lnTo>
                    <a:pt x="2814" y="78"/>
                  </a:lnTo>
                  <a:lnTo>
                    <a:pt x="2816" y="74"/>
                  </a:lnTo>
                  <a:lnTo>
                    <a:pt x="2818" y="70"/>
                  </a:lnTo>
                  <a:lnTo>
                    <a:pt x="2818" y="68"/>
                  </a:lnTo>
                  <a:lnTo>
                    <a:pt x="2820" y="66"/>
                  </a:lnTo>
                  <a:lnTo>
                    <a:pt x="2820" y="66"/>
                  </a:lnTo>
                  <a:lnTo>
                    <a:pt x="2820" y="64"/>
                  </a:lnTo>
                  <a:lnTo>
                    <a:pt x="2820" y="64"/>
                  </a:lnTo>
                  <a:lnTo>
                    <a:pt x="2820" y="60"/>
                  </a:lnTo>
                  <a:lnTo>
                    <a:pt x="2820" y="58"/>
                  </a:lnTo>
                  <a:lnTo>
                    <a:pt x="2820" y="54"/>
                  </a:lnTo>
                  <a:lnTo>
                    <a:pt x="2822" y="48"/>
                  </a:lnTo>
                  <a:lnTo>
                    <a:pt x="2822" y="46"/>
                  </a:lnTo>
                  <a:lnTo>
                    <a:pt x="2822" y="42"/>
                  </a:lnTo>
                  <a:lnTo>
                    <a:pt x="2822" y="42"/>
                  </a:lnTo>
                  <a:lnTo>
                    <a:pt x="2820" y="40"/>
                  </a:lnTo>
                  <a:lnTo>
                    <a:pt x="2818" y="38"/>
                  </a:lnTo>
                  <a:lnTo>
                    <a:pt x="2816" y="36"/>
                  </a:lnTo>
                  <a:lnTo>
                    <a:pt x="2816" y="36"/>
                  </a:lnTo>
                  <a:lnTo>
                    <a:pt x="2816" y="34"/>
                  </a:lnTo>
                  <a:lnTo>
                    <a:pt x="2816" y="34"/>
                  </a:lnTo>
                  <a:lnTo>
                    <a:pt x="2814" y="30"/>
                  </a:lnTo>
                  <a:lnTo>
                    <a:pt x="2814" y="32"/>
                  </a:lnTo>
                  <a:lnTo>
                    <a:pt x="2814" y="26"/>
                  </a:lnTo>
                  <a:lnTo>
                    <a:pt x="2814" y="22"/>
                  </a:lnTo>
                  <a:lnTo>
                    <a:pt x="2814" y="22"/>
                  </a:lnTo>
                  <a:lnTo>
                    <a:pt x="2814" y="20"/>
                  </a:lnTo>
                  <a:lnTo>
                    <a:pt x="2812" y="18"/>
                  </a:lnTo>
                  <a:lnTo>
                    <a:pt x="2812" y="18"/>
                  </a:lnTo>
                  <a:lnTo>
                    <a:pt x="2812" y="16"/>
                  </a:lnTo>
                  <a:lnTo>
                    <a:pt x="2812" y="16"/>
                  </a:lnTo>
                  <a:lnTo>
                    <a:pt x="2812" y="16"/>
                  </a:lnTo>
                  <a:lnTo>
                    <a:pt x="2810" y="14"/>
                  </a:lnTo>
                  <a:lnTo>
                    <a:pt x="2810" y="12"/>
                  </a:lnTo>
                  <a:lnTo>
                    <a:pt x="2810" y="12"/>
                  </a:lnTo>
                  <a:lnTo>
                    <a:pt x="2808" y="12"/>
                  </a:lnTo>
                  <a:lnTo>
                    <a:pt x="2806" y="10"/>
                  </a:lnTo>
                  <a:lnTo>
                    <a:pt x="2806" y="10"/>
                  </a:lnTo>
                  <a:lnTo>
                    <a:pt x="2806" y="10"/>
                  </a:lnTo>
                  <a:lnTo>
                    <a:pt x="2804" y="10"/>
                  </a:lnTo>
                  <a:lnTo>
                    <a:pt x="2802" y="8"/>
                  </a:lnTo>
                  <a:lnTo>
                    <a:pt x="2802" y="8"/>
                  </a:lnTo>
                  <a:lnTo>
                    <a:pt x="2800" y="8"/>
                  </a:lnTo>
                  <a:lnTo>
                    <a:pt x="2800" y="8"/>
                  </a:lnTo>
                  <a:lnTo>
                    <a:pt x="2800" y="8"/>
                  </a:lnTo>
                  <a:lnTo>
                    <a:pt x="2798" y="8"/>
                  </a:lnTo>
                  <a:lnTo>
                    <a:pt x="2794" y="8"/>
                  </a:lnTo>
                  <a:lnTo>
                    <a:pt x="2790" y="8"/>
                  </a:lnTo>
                  <a:lnTo>
                    <a:pt x="2788" y="8"/>
                  </a:lnTo>
                  <a:lnTo>
                    <a:pt x="2786" y="8"/>
                  </a:lnTo>
                  <a:lnTo>
                    <a:pt x="2784" y="6"/>
                  </a:lnTo>
                  <a:lnTo>
                    <a:pt x="2780" y="2"/>
                  </a:lnTo>
                  <a:lnTo>
                    <a:pt x="2778" y="0"/>
                  </a:lnTo>
                  <a:lnTo>
                    <a:pt x="2778" y="0"/>
                  </a:lnTo>
                  <a:lnTo>
                    <a:pt x="2778" y="0"/>
                  </a:lnTo>
                  <a:lnTo>
                    <a:pt x="2776" y="0"/>
                  </a:lnTo>
                  <a:lnTo>
                    <a:pt x="2776" y="0"/>
                  </a:lnTo>
                  <a:lnTo>
                    <a:pt x="2776" y="0"/>
                  </a:lnTo>
                  <a:lnTo>
                    <a:pt x="2774" y="0"/>
                  </a:lnTo>
                  <a:lnTo>
                    <a:pt x="2774" y="0"/>
                  </a:lnTo>
                  <a:lnTo>
                    <a:pt x="2774" y="0"/>
                  </a:lnTo>
                  <a:lnTo>
                    <a:pt x="2772" y="2"/>
                  </a:lnTo>
                  <a:lnTo>
                    <a:pt x="2770" y="2"/>
                  </a:lnTo>
                  <a:lnTo>
                    <a:pt x="2768" y="4"/>
                  </a:lnTo>
                  <a:lnTo>
                    <a:pt x="2768" y="4"/>
                  </a:lnTo>
                  <a:lnTo>
                    <a:pt x="2768" y="4"/>
                  </a:lnTo>
                  <a:lnTo>
                    <a:pt x="2766" y="6"/>
                  </a:lnTo>
                  <a:lnTo>
                    <a:pt x="2766" y="10"/>
                  </a:lnTo>
                  <a:lnTo>
                    <a:pt x="2764" y="12"/>
                  </a:lnTo>
                  <a:lnTo>
                    <a:pt x="2764" y="16"/>
                  </a:lnTo>
                  <a:lnTo>
                    <a:pt x="2764" y="20"/>
                  </a:lnTo>
                  <a:lnTo>
                    <a:pt x="2764" y="22"/>
                  </a:lnTo>
                  <a:lnTo>
                    <a:pt x="2764" y="24"/>
                  </a:lnTo>
                  <a:lnTo>
                    <a:pt x="2764" y="26"/>
                  </a:lnTo>
                  <a:lnTo>
                    <a:pt x="2762" y="26"/>
                  </a:lnTo>
                  <a:lnTo>
                    <a:pt x="2762" y="28"/>
                  </a:lnTo>
                  <a:lnTo>
                    <a:pt x="2760" y="30"/>
                  </a:lnTo>
                  <a:lnTo>
                    <a:pt x="2758" y="34"/>
                  </a:lnTo>
                  <a:lnTo>
                    <a:pt x="2758" y="36"/>
                  </a:lnTo>
                  <a:lnTo>
                    <a:pt x="2758" y="36"/>
                  </a:lnTo>
                  <a:lnTo>
                    <a:pt x="2756" y="36"/>
                  </a:lnTo>
                  <a:lnTo>
                    <a:pt x="2756" y="38"/>
                  </a:lnTo>
                  <a:lnTo>
                    <a:pt x="2756" y="38"/>
                  </a:lnTo>
                  <a:lnTo>
                    <a:pt x="2756" y="38"/>
                  </a:lnTo>
                  <a:lnTo>
                    <a:pt x="2756" y="40"/>
                  </a:lnTo>
                  <a:lnTo>
                    <a:pt x="2756" y="40"/>
                  </a:lnTo>
                  <a:lnTo>
                    <a:pt x="2758" y="40"/>
                  </a:lnTo>
                  <a:lnTo>
                    <a:pt x="2758" y="42"/>
                  </a:lnTo>
                  <a:lnTo>
                    <a:pt x="2758" y="42"/>
                  </a:lnTo>
                  <a:lnTo>
                    <a:pt x="2758" y="42"/>
                  </a:lnTo>
                  <a:lnTo>
                    <a:pt x="2760" y="44"/>
                  </a:lnTo>
                  <a:lnTo>
                    <a:pt x="2762" y="46"/>
                  </a:lnTo>
                  <a:lnTo>
                    <a:pt x="2762" y="46"/>
                  </a:lnTo>
                  <a:lnTo>
                    <a:pt x="2764" y="46"/>
                  </a:lnTo>
                  <a:lnTo>
                    <a:pt x="2764" y="46"/>
                  </a:lnTo>
                  <a:lnTo>
                    <a:pt x="2764" y="46"/>
                  </a:lnTo>
                  <a:lnTo>
                    <a:pt x="2762" y="48"/>
                  </a:lnTo>
                  <a:lnTo>
                    <a:pt x="2762" y="48"/>
                  </a:lnTo>
                  <a:lnTo>
                    <a:pt x="2762" y="48"/>
                  </a:lnTo>
                  <a:lnTo>
                    <a:pt x="2762" y="48"/>
                  </a:lnTo>
                  <a:lnTo>
                    <a:pt x="2762" y="50"/>
                  </a:lnTo>
                  <a:lnTo>
                    <a:pt x="2762" y="50"/>
                  </a:lnTo>
                  <a:lnTo>
                    <a:pt x="2760" y="50"/>
                  </a:lnTo>
                  <a:lnTo>
                    <a:pt x="2760" y="50"/>
                  </a:lnTo>
                  <a:lnTo>
                    <a:pt x="2760" y="50"/>
                  </a:lnTo>
                  <a:lnTo>
                    <a:pt x="2760" y="52"/>
                  </a:lnTo>
                  <a:lnTo>
                    <a:pt x="2760" y="54"/>
                  </a:lnTo>
                  <a:lnTo>
                    <a:pt x="2762" y="54"/>
                  </a:lnTo>
                  <a:lnTo>
                    <a:pt x="2762" y="54"/>
                  </a:lnTo>
                  <a:lnTo>
                    <a:pt x="2762" y="56"/>
                  </a:lnTo>
                  <a:lnTo>
                    <a:pt x="2762" y="56"/>
                  </a:lnTo>
                  <a:lnTo>
                    <a:pt x="2762" y="56"/>
                  </a:lnTo>
                  <a:lnTo>
                    <a:pt x="2764" y="58"/>
                  </a:lnTo>
                  <a:lnTo>
                    <a:pt x="2766" y="58"/>
                  </a:lnTo>
                  <a:lnTo>
                    <a:pt x="2766" y="58"/>
                  </a:lnTo>
                  <a:lnTo>
                    <a:pt x="2766" y="58"/>
                  </a:lnTo>
                  <a:lnTo>
                    <a:pt x="2768" y="60"/>
                  </a:lnTo>
                  <a:lnTo>
                    <a:pt x="2768" y="60"/>
                  </a:lnTo>
                  <a:lnTo>
                    <a:pt x="2768" y="62"/>
                  </a:lnTo>
                  <a:lnTo>
                    <a:pt x="2768" y="64"/>
                  </a:lnTo>
                  <a:lnTo>
                    <a:pt x="2768" y="66"/>
                  </a:lnTo>
                  <a:lnTo>
                    <a:pt x="2768" y="66"/>
                  </a:lnTo>
                  <a:lnTo>
                    <a:pt x="2768" y="68"/>
                  </a:lnTo>
                  <a:lnTo>
                    <a:pt x="2766" y="68"/>
                  </a:lnTo>
                  <a:lnTo>
                    <a:pt x="2764" y="68"/>
                  </a:lnTo>
                  <a:lnTo>
                    <a:pt x="2764" y="68"/>
                  </a:lnTo>
                  <a:lnTo>
                    <a:pt x="2762" y="68"/>
                  </a:lnTo>
                  <a:lnTo>
                    <a:pt x="2762" y="68"/>
                  </a:lnTo>
                  <a:lnTo>
                    <a:pt x="2760" y="70"/>
                  </a:lnTo>
                  <a:lnTo>
                    <a:pt x="2760" y="70"/>
                  </a:lnTo>
                  <a:lnTo>
                    <a:pt x="2760" y="74"/>
                  </a:lnTo>
                  <a:lnTo>
                    <a:pt x="2760" y="74"/>
                  </a:lnTo>
                  <a:lnTo>
                    <a:pt x="2760" y="76"/>
                  </a:lnTo>
                  <a:lnTo>
                    <a:pt x="2762" y="80"/>
                  </a:lnTo>
                  <a:lnTo>
                    <a:pt x="2762" y="82"/>
                  </a:lnTo>
                  <a:lnTo>
                    <a:pt x="2762" y="82"/>
                  </a:lnTo>
                  <a:lnTo>
                    <a:pt x="2762" y="82"/>
                  </a:lnTo>
                  <a:lnTo>
                    <a:pt x="2760" y="82"/>
                  </a:lnTo>
                  <a:lnTo>
                    <a:pt x="2760" y="82"/>
                  </a:lnTo>
                  <a:lnTo>
                    <a:pt x="2760" y="82"/>
                  </a:lnTo>
                  <a:lnTo>
                    <a:pt x="2760" y="84"/>
                  </a:lnTo>
                  <a:lnTo>
                    <a:pt x="2760" y="84"/>
                  </a:lnTo>
                  <a:lnTo>
                    <a:pt x="2760" y="84"/>
                  </a:lnTo>
                  <a:lnTo>
                    <a:pt x="2758" y="86"/>
                  </a:lnTo>
                  <a:lnTo>
                    <a:pt x="2758" y="86"/>
                  </a:lnTo>
                  <a:lnTo>
                    <a:pt x="2758" y="88"/>
                  </a:lnTo>
                  <a:lnTo>
                    <a:pt x="2758" y="90"/>
                  </a:lnTo>
                  <a:lnTo>
                    <a:pt x="2758" y="90"/>
                  </a:lnTo>
                  <a:lnTo>
                    <a:pt x="2760" y="90"/>
                  </a:lnTo>
                  <a:lnTo>
                    <a:pt x="2760" y="94"/>
                  </a:lnTo>
                  <a:lnTo>
                    <a:pt x="2762" y="96"/>
                  </a:lnTo>
                  <a:lnTo>
                    <a:pt x="2762" y="98"/>
                  </a:lnTo>
                  <a:lnTo>
                    <a:pt x="2762" y="98"/>
                  </a:lnTo>
                  <a:lnTo>
                    <a:pt x="2764" y="100"/>
                  </a:lnTo>
                  <a:lnTo>
                    <a:pt x="2764" y="102"/>
                  </a:lnTo>
                  <a:lnTo>
                    <a:pt x="2762" y="104"/>
                  </a:lnTo>
                  <a:lnTo>
                    <a:pt x="2762" y="104"/>
                  </a:lnTo>
                  <a:lnTo>
                    <a:pt x="2762" y="104"/>
                  </a:lnTo>
                  <a:lnTo>
                    <a:pt x="2760" y="106"/>
                  </a:lnTo>
                  <a:lnTo>
                    <a:pt x="2758" y="108"/>
                  </a:lnTo>
                  <a:lnTo>
                    <a:pt x="2754" y="110"/>
                  </a:lnTo>
                  <a:lnTo>
                    <a:pt x="2752" y="112"/>
                  </a:lnTo>
                  <a:lnTo>
                    <a:pt x="2750" y="112"/>
                  </a:lnTo>
                  <a:lnTo>
                    <a:pt x="2750" y="114"/>
                  </a:lnTo>
                  <a:lnTo>
                    <a:pt x="2750" y="114"/>
                  </a:lnTo>
                  <a:lnTo>
                    <a:pt x="2748" y="116"/>
                  </a:lnTo>
                  <a:lnTo>
                    <a:pt x="2748" y="118"/>
                  </a:lnTo>
                  <a:lnTo>
                    <a:pt x="2748" y="120"/>
                  </a:lnTo>
                  <a:lnTo>
                    <a:pt x="2746" y="120"/>
                  </a:lnTo>
                  <a:lnTo>
                    <a:pt x="2746" y="122"/>
                  </a:lnTo>
                  <a:lnTo>
                    <a:pt x="2746" y="122"/>
                  </a:lnTo>
                  <a:lnTo>
                    <a:pt x="2746" y="122"/>
                  </a:lnTo>
                  <a:lnTo>
                    <a:pt x="2744" y="122"/>
                  </a:lnTo>
                  <a:lnTo>
                    <a:pt x="2744" y="122"/>
                  </a:lnTo>
                  <a:lnTo>
                    <a:pt x="2744" y="122"/>
                  </a:lnTo>
                  <a:lnTo>
                    <a:pt x="2742" y="122"/>
                  </a:lnTo>
                  <a:lnTo>
                    <a:pt x="2738" y="122"/>
                  </a:lnTo>
                  <a:lnTo>
                    <a:pt x="2738" y="122"/>
                  </a:lnTo>
                  <a:lnTo>
                    <a:pt x="2738" y="124"/>
                  </a:lnTo>
                  <a:lnTo>
                    <a:pt x="2736" y="124"/>
                  </a:lnTo>
                  <a:lnTo>
                    <a:pt x="2736" y="124"/>
                  </a:lnTo>
                  <a:lnTo>
                    <a:pt x="2736" y="124"/>
                  </a:lnTo>
                  <a:lnTo>
                    <a:pt x="2734" y="124"/>
                  </a:lnTo>
                  <a:lnTo>
                    <a:pt x="2732" y="126"/>
                  </a:lnTo>
                  <a:lnTo>
                    <a:pt x="2728" y="128"/>
                  </a:lnTo>
                  <a:lnTo>
                    <a:pt x="2724" y="132"/>
                  </a:lnTo>
                  <a:lnTo>
                    <a:pt x="2722" y="136"/>
                  </a:lnTo>
                  <a:lnTo>
                    <a:pt x="2720" y="138"/>
                  </a:lnTo>
                  <a:lnTo>
                    <a:pt x="2718" y="140"/>
                  </a:lnTo>
                  <a:lnTo>
                    <a:pt x="2718" y="140"/>
                  </a:lnTo>
                  <a:lnTo>
                    <a:pt x="2716" y="142"/>
                  </a:lnTo>
                  <a:lnTo>
                    <a:pt x="2716" y="142"/>
                  </a:lnTo>
                  <a:lnTo>
                    <a:pt x="2718" y="144"/>
                  </a:lnTo>
                  <a:lnTo>
                    <a:pt x="2720" y="144"/>
                  </a:lnTo>
                  <a:lnTo>
                    <a:pt x="2720" y="144"/>
                  </a:lnTo>
                  <a:lnTo>
                    <a:pt x="2722" y="146"/>
                  </a:lnTo>
                  <a:lnTo>
                    <a:pt x="2722" y="148"/>
                  </a:lnTo>
                  <a:lnTo>
                    <a:pt x="2722" y="148"/>
                  </a:lnTo>
                  <a:lnTo>
                    <a:pt x="2722" y="148"/>
                  </a:lnTo>
                  <a:lnTo>
                    <a:pt x="2718" y="150"/>
                  </a:lnTo>
                  <a:lnTo>
                    <a:pt x="2716" y="152"/>
                  </a:lnTo>
                  <a:lnTo>
                    <a:pt x="2714" y="154"/>
                  </a:lnTo>
                  <a:lnTo>
                    <a:pt x="2714" y="154"/>
                  </a:lnTo>
                  <a:lnTo>
                    <a:pt x="2712" y="156"/>
                  </a:lnTo>
                  <a:lnTo>
                    <a:pt x="2712" y="158"/>
                  </a:lnTo>
                  <a:lnTo>
                    <a:pt x="2712" y="158"/>
                  </a:lnTo>
                  <a:lnTo>
                    <a:pt x="2710" y="158"/>
                  </a:lnTo>
                  <a:lnTo>
                    <a:pt x="2710" y="160"/>
                  </a:lnTo>
                  <a:lnTo>
                    <a:pt x="2710" y="160"/>
                  </a:lnTo>
                  <a:lnTo>
                    <a:pt x="2710" y="160"/>
                  </a:lnTo>
                  <a:lnTo>
                    <a:pt x="2710" y="162"/>
                  </a:lnTo>
                  <a:lnTo>
                    <a:pt x="2710" y="162"/>
                  </a:lnTo>
                  <a:lnTo>
                    <a:pt x="2712" y="162"/>
                  </a:lnTo>
                  <a:lnTo>
                    <a:pt x="2712" y="164"/>
                  </a:lnTo>
                  <a:lnTo>
                    <a:pt x="2712" y="164"/>
                  </a:lnTo>
                  <a:lnTo>
                    <a:pt x="2712" y="164"/>
                  </a:lnTo>
                  <a:lnTo>
                    <a:pt x="2714" y="166"/>
                  </a:lnTo>
                  <a:lnTo>
                    <a:pt x="2714" y="166"/>
                  </a:lnTo>
                  <a:lnTo>
                    <a:pt x="2714" y="166"/>
                  </a:lnTo>
                  <a:lnTo>
                    <a:pt x="2716" y="166"/>
                  </a:lnTo>
                  <a:lnTo>
                    <a:pt x="2716" y="166"/>
                  </a:lnTo>
                  <a:lnTo>
                    <a:pt x="2716" y="166"/>
                  </a:lnTo>
                  <a:lnTo>
                    <a:pt x="2714" y="170"/>
                  </a:lnTo>
                  <a:lnTo>
                    <a:pt x="2712" y="172"/>
                  </a:lnTo>
                  <a:lnTo>
                    <a:pt x="2710" y="174"/>
                  </a:lnTo>
                  <a:lnTo>
                    <a:pt x="2710" y="174"/>
                  </a:lnTo>
                  <a:lnTo>
                    <a:pt x="2710" y="174"/>
                  </a:lnTo>
                  <a:lnTo>
                    <a:pt x="2710" y="174"/>
                  </a:lnTo>
                  <a:lnTo>
                    <a:pt x="2710" y="174"/>
                  </a:lnTo>
                  <a:lnTo>
                    <a:pt x="2710" y="176"/>
                  </a:lnTo>
                  <a:lnTo>
                    <a:pt x="2712" y="178"/>
                  </a:lnTo>
                  <a:lnTo>
                    <a:pt x="2712" y="178"/>
                  </a:lnTo>
                  <a:lnTo>
                    <a:pt x="2712" y="178"/>
                  </a:lnTo>
                  <a:lnTo>
                    <a:pt x="2714" y="182"/>
                  </a:lnTo>
                  <a:lnTo>
                    <a:pt x="2716" y="182"/>
                  </a:lnTo>
                  <a:lnTo>
                    <a:pt x="2716" y="184"/>
                  </a:lnTo>
                  <a:lnTo>
                    <a:pt x="2716" y="184"/>
                  </a:lnTo>
                  <a:lnTo>
                    <a:pt x="2716" y="184"/>
                  </a:lnTo>
                  <a:lnTo>
                    <a:pt x="2716" y="186"/>
                  </a:lnTo>
                  <a:lnTo>
                    <a:pt x="2714" y="188"/>
                  </a:lnTo>
                  <a:lnTo>
                    <a:pt x="2714" y="190"/>
                  </a:lnTo>
                  <a:lnTo>
                    <a:pt x="2712" y="192"/>
                  </a:lnTo>
                  <a:lnTo>
                    <a:pt x="2708" y="198"/>
                  </a:lnTo>
                  <a:lnTo>
                    <a:pt x="2704" y="200"/>
                  </a:lnTo>
                  <a:lnTo>
                    <a:pt x="2702" y="204"/>
                  </a:lnTo>
                  <a:lnTo>
                    <a:pt x="2702" y="204"/>
                  </a:lnTo>
                  <a:lnTo>
                    <a:pt x="2702" y="206"/>
                  </a:lnTo>
                  <a:lnTo>
                    <a:pt x="2702" y="206"/>
                  </a:lnTo>
                  <a:lnTo>
                    <a:pt x="2702" y="208"/>
                  </a:lnTo>
                  <a:lnTo>
                    <a:pt x="2706" y="210"/>
                  </a:lnTo>
                  <a:lnTo>
                    <a:pt x="2708" y="210"/>
                  </a:lnTo>
                  <a:lnTo>
                    <a:pt x="2708" y="210"/>
                  </a:lnTo>
                  <a:lnTo>
                    <a:pt x="2708" y="212"/>
                  </a:lnTo>
                  <a:lnTo>
                    <a:pt x="2708" y="212"/>
                  </a:lnTo>
                  <a:lnTo>
                    <a:pt x="2708" y="212"/>
                  </a:lnTo>
                  <a:lnTo>
                    <a:pt x="2706" y="214"/>
                  </a:lnTo>
                  <a:lnTo>
                    <a:pt x="2706" y="214"/>
                  </a:lnTo>
                  <a:lnTo>
                    <a:pt x="2706" y="214"/>
                  </a:lnTo>
                  <a:lnTo>
                    <a:pt x="2706" y="216"/>
                  </a:lnTo>
                  <a:lnTo>
                    <a:pt x="2706" y="216"/>
                  </a:lnTo>
                  <a:lnTo>
                    <a:pt x="2706" y="216"/>
                  </a:lnTo>
                  <a:lnTo>
                    <a:pt x="2706" y="220"/>
                  </a:lnTo>
                  <a:lnTo>
                    <a:pt x="2706" y="220"/>
                  </a:lnTo>
                  <a:lnTo>
                    <a:pt x="2708" y="220"/>
                  </a:lnTo>
                  <a:lnTo>
                    <a:pt x="2708" y="222"/>
                  </a:lnTo>
                  <a:lnTo>
                    <a:pt x="2710" y="224"/>
                  </a:lnTo>
                  <a:lnTo>
                    <a:pt x="2710" y="226"/>
                  </a:lnTo>
                  <a:lnTo>
                    <a:pt x="2710" y="226"/>
                  </a:lnTo>
                  <a:lnTo>
                    <a:pt x="2710" y="228"/>
                  </a:lnTo>
                  <a:lnTo>
                    <a:pt x="2710" y="226"/>
                  </a:lnTo>
                  <a:lnTo>
                    <a:pt x="2710" y="228"/>
                  </a:lnTo>
                  <a:lnTo>
                    <a:pt x="2708" y="228"/>
                  </a:lnTo>
                  <a:lnTo>
                    <a:pt x="2708" y="228"/>
                  </a:lnTo>
                  <a:lnTo>
                    <a:pt x="2708" y="232"/>
                  </a:lnTo>
                  <a:lnTo>
                    <a:pt x="2708" y="232"/>
                  </a:lnTo>
                  <a:lnTo>
                    <a:pt x="2708" y="234"/>
                  </a:lnTo>
                  <a:lnTo>
                    <a:pt x="2710" y="234"/>
                  </a:lnTo>
                  <a:lnTo>
                    <a:pt x="2710" y="236"/>
                  </a:lnTo>
                  <a:lnTo>
                    <a:pt x="2710" y="236"/>
                  </a:lnTo>
                  <a:lnTo>
                    <a:pt x="2710" y="238"/>
                  </a:lnTo>
                  <a:lnTo>
                    <a:pt x="2710" y="238"/>
                  </a:lnTo>
                  <a:lnTo>
                    <a:pt x="2710" y="238"/>
                  </a:lnTo>
                  <a:lnTo>
                    <a:pt x="2708" y="240"/>
                  </a:lnTo>
                  <a:lnTo>
                    <a:pt x="2708" y="240"/>
                  </a:lnTo>
                  <a:lnTo>
                    <a:pt x="2708" y="240"/>
                  </a:lnTo>
                  <a:lnTo>
                    <a:pt x="2708" y="240"/>
                  </a:lnTo>
                  <a:lnTo>
                    <a:pt x="2708" y="240"/>
                  </a:lnTo>
                  <a:lnTo>
                    <a:pt x="2706" y="242"/>
                  </a:lnTo>
                  <a:lnTo>
                    <a:pt x="2706" y="242"/>
                  </a:lnTo>
                  <a:lnTo>
                    <a:pt x="2706" y="242"/>
                  </a:lnTo>
                  <a:lnTo>
                    <a:pt x="2706" y="244"/>
                  </a:lnTo>
                  <a:lnTo>
                    <a:pt x="2706" y="246"/>
                  </a:lnTo>
                  <a:lnTo>
                    <a:pt x="2706" y="248"/>
                  </a:lnTo>
                  <a:lnTo>
                    <a:pt x="2706" y="250"/>
                  </a:lnTo>
                  <a:lnTo>
                    <a:pt x="2706" y="254"/>
                  </a:lnTo>
                  <a:lnTo>
                    <a:pt x="2708" y="256"/>
                  </a:lnTo>
                  <a:lnTo>
                    <a:pt x="2708" y="260"/>
                  </a:lnTo>
                  <a:lnTo>
                    <a:pt x="2708" y="260"/>
                  </a:lnTo>
                  <a:lnTo>
                    <a:pt x="2708" y="260"/>
                  </a:lnTo>
                  <a:lnTo>
                    <a:pt x="2698" y="262"/>
                  </a:lnTo>
                  <a:lnTo>
                    <a:pt x="2698" y="262"/>
                  </a:lnTo>
                  <a:lnTo>
                    <a:pt x="2696" y="262"/>
                  </a:lnTo>
                  <a:lnTo>
                    <a:pt x="2694" y="264"/>
                  </a:lnTo>
                  <a:lnTo>
                    <a:pt x="2694" y="272"/>
                  </a:lnTo>
                  <a:lnTo>
                    <a:pt x="2694" y="272"/>
                  </a:lnTo>
                  <a:lnTo>
                    <a:pt x="2696" y="274"/>
                  </a:lnTo>
                  <a:lnTo>
                    <a:pt x="2698" y="274"/>
                  </a:lnTo>
                  <a:lnTo>
                    <a:pt x="2698" y="274"/>
                  </a:lnTo>
                  <a:close/>
                  <a:moveTo>
                    <a:pt x="2750" y="434"/>
                  </a:moveTo>
                  <a:lnTo>
                    <a:pt x="2750" y="434"/>
                  </a:lnTo>
                  <a:lnTo>
                    <a:pt x="2752" y="434"/>
                  </a:lnTo>
                  <a:lnTo>
                    <a:pt x="2750" y="434"/>
                  </a:lnTo>
                  <a:close/>
                  <a:moveTo>
                    <a:pt x="2750" y="386"/>
                  </a:moveTo>
                  <a:lnTo>
                    <a:pt x="2750" y="386"/>
                  </a:lnTo>
                  <a:lnTo>
                    <a:pt x="2750" y="388"/>
                  </a:lnTo>
                  <a:lnTo>
                    <a:pt x="2750" y="388"/>
                  </a:lnTo>
                  <a:lnTo>
                    <a:pt x="2750" y="386"/>
                  </a:lnTo>
                  <a:lnTo>
                    <a:pt x="2750" y="386"/>
                  </a:lnTo>
                  <a:lnTo>
                    <a:pt x="2750" y="386"/>
                  </a:lnTo>
                  <a:close/>
                  <a:moveTo>
                    <a:pt x="1302" y="1400"/>
                  </a:moveTo>
                  <a:lnTo>
                    <a:pt x="1306" y="1402"/>
                  </a:lnTo>
                  <a:lnTo>
                    <a:pt x="1308" y="1404"/>
                  </a:lnTo>
                  <a:lnTo>
                    <a:pt x="1312" y="1406"/>
                  </a:lnTo>
                  <a:lnTo>
                    <a:pt x="1314" y="1408"/>
                  </a:lnTo>
                  <a:lnTo>
                    <a:pt x="1316" y="1412"/>
                  </a:lnTo>
                  <a:lnTo>
                    <a:pt x="1318" y="1416"/>
                  </a:lnTo>
                  <a:lnTo>
                    <a:pt x="1318" y="1420"/>
                  </a:lnTo>
                  <a:lnTo>
                    <a:pt x="1318" y="1422"/>
                  </a:lnTo>
                  <a:lnTo>
                    <a:pt x="1318" y="1428"/>
                  </a:lnTo>
                  <a:lnTo>
                    <a:pt x="1316" y="1436"/>
                  </a:lnTo>
                  <a:lnTo>
                    <a:pt x="1316" y="1440"/>
                  </a:lnTo>
                  <a:lnTo>
                    <a:pt x="1316" y="1444"/>
                  </a:lnTo>
                  <a:lnTo>
                    <a:pt x="1316" y="1450"/>
                  </a:lnTo>
                  <a:lnTo>
                    <a:pt x="1316" y="1450"/>
                  </a:lnTo>
                  <a:lnTo>
                    <a:pt x="1316" y="1450"/>
                  </a:lnTo>
                  <a:lnTo>
                    <a:pt x="1318" y="1454"/>
                  </a:lnTo>
                  <a:lnTo>
                    <a:pt x="1318" y="1454"/>
                  </a:lnTo>
                  <a:lnTo>
                    <a:pt x="1318" y="1454"/>
                  </a:lnTo>
                  <a:lnTo>
                    <a:pt x="1320" y="1458"/>
                  </a:lnTo>
                  <a:lnTo>
                    <a:pt x="1320" y="1458"/>
                  </a:lnTo>
                  <a:lnTo>
                    <a:pt x="1320" y="1458"/>
                  </a:lnTo>
                  <a:lnTo>
                    <a:pt x="1322" y="1462"/>
                  </a:lnTo>
                  <a:lnTo>
                    <a:pt x="1322" y="1462"/>
                  </a:lnTo>
                  <a:lnTo>
                    <a:pt x="1326" y="1462"/>
                  </a:lnTo>
                  <a:lnTo>
                    <a:pt x="1326" y="1462"/>
                  </a:lnTo>
                  <a:lnTo>
                    <a:pt x="1328" y="1460"/>
                  </a:lnTo>
                  <a:lnTo>
                    <a:pt x="1330" y="1456"/>
                  </a:lnTo>
                  <a:lnTo>
                    <a:pt x="1330" y="1452"/>
                  </a:lnTo>
                  <a:lnTo>
                    <a:pt x="1336" y="1442"/>
                  </a:lnTo>
                  <a:lnTo>
                    <a:pt x="1340" y="1432"/>
                  </a:lnTo>
                  <a:lnTo>
                    <a:pt x="1346" y="1422"/>
                  </a:lnTo>
                  <a:lnTo>
                    <a:pt x="1352" y="1412"/>
                  </a:lnTo>
                  <a:lnTo>
                    <a:pt x="1354" y="1408"/>
                  </a:lnTo>
                  <a:lnTo>
                    <a:pt x="1356" y="1404"/>
                  </a:lnTo>
                  <a:lnTo>
                    <a:pt x="1356" y="1400"/>
                  </a:lnTo>
                  <a:lnTo>
                    <a:pt x="1358" y="1396"/>
                  </a:lnTo>
                  <a:lnTo>
                    <a:pt x="1358" y="1396"/>
                  </a:lnTo>
                  <a:lnTo>
                    <a:pt x="1358" y="1396"/>
                  </a:lnTo>
                  <a:lnTo>
                    <a:pt x="1358" y="1392"/>
                  </a:lnTo>
                  <a:lnTo>
                    <a:pt x="1358" y="1392"/>
                  </a:lnTo>
                  <a:lnTo>
                    <a:pt x="1358" y="1392"/>
                  </a:lnTo>
                  <a:lnTo>
                    <a:pt x="1358" y="1388"/>
                  </a:lnTo>
                  <a:lnTo>
                    <a:pt x="1354" y="1390"/>
                  </a:lnTo>
                  <a:lnTo>
                    <a:pt x="1354" y="1390"/>
                  </a:lnTo>
                  <a:lnTo>
                    <a:pt x="1354" y="1390"/>
                  </a:lnTo>
                  <a:lnTo>
                    <a:pt x="1352" y="1388"/>
                  </a:lnTo>
                  <a:lnTo>
                    <a:pt x="1352" y="1384"/>
                  </a:lnTo>
                  <a:lnTo>
                    <a:pt x="1346" y="1384"/>
                  </a:lnTo>
                  <a:lnTo>
                    <a:pt x="1338" y="1384"/>
                  </a:lnTo>
                  <a:lnTo>
                    <a:pt x="1330" y="1382"/>
                  </a:lnTo>
                  <a:lnTo>
                    <a:pt x="1322" y="1382"/>
                  </a:lnTo>
                  <a:lnTo>
                    <a:pt x="1316" y="1384"/>
                  </a:lnTo>
                  <a:lnTo>
                    <a:pt x="1316" y="1384"/>
                  </a:lnTo>
                  <a:lnTo>
                    <a:pt x="1316" y="1384"/>
                  </a:lnTo>
                  <a:lnTo>
                    <a:pt x="1312" y="1384"/>
                  </a:lnTo>
                  <a:lnTo>
                    <a:pt x="1312" y="1384"/>
                  </a:lnTo>
                  <a:lnTo>
                    <a:pt x="1312" y="1384"/>
                  </a:lnTo>
                  <a:lnTo>
                    <a:pt x="1310" y="1386"/>
                  </a:lnTo>
                  <a:lnTo>
                    <a:pt x="1310" y="1386"/>
                  </a:lnTo>
                  <a:lnTo>
                    <a:pt x="1308" y="1386"/>
                  </a:lnTo>
                  <a:lnTo>
                    <a:pt x="1306" y="1388"/>
                  </a:lnTo>
                  <a:lnTo>
                    <a:pt x="1306" y="1388"/>
                  </a:lnTo>
                  <a:lnTo>
                    <a:pt x="1306" y="1388"/>
                  </a:lnTo>
                  <a:lnTo>
                    <a:pt x="1304" y="1390"/>
                  </a:lnTo>
                  <a:lnTo>
                    <a:pt x="1304" y="1390"/>
                  </a:lnTo>
                  <a:lnTo>
                    <a:pt x="1304" y="1390"/>
                  </a:lnTo>
                  <a:lnTo>
                    <a:pt x="1302" y="1394"/>
                  </a:lnTo>
                  <a:lnTo>
                    <a:pt x="1302" y="1394"/>
                  </a:lnTo>
                  <a:lnTo>
                    <a:pt x="1302" y="1394"/>
                  </a:lnTo>
                  <a:lnTo>
                    <a:pt x="1300" y="1396"/>
                  </a:lnTo>
                  <a:lnTo>
                    <a:pt x="1300" y="1396"/>
                  </a:lnTo>
                  <a:lnTo>
                    <a:pt x="1300" y="1400"/>
                  </a:lnTo>
                  <a:lnTo>
                    <a:pt x="1302" y="1400"/>
                  </a:lnTo>
                  <a:lnTo>
                    <a:pt x="1302" y="1400"/>
                  </a:lnTo>
                  <a:close/>
                  <a:moveTo>
                    <a:pt x="2048" y="1938"/>
                  </a:moveTo>
                  <a:lnTo>
                    <a:pt x="2048" y="1938"/>
                  </a:lnTo>
                  <a:lnTo>
                    <a:pt x="2050" y="1940"/>
                  </a:lnTo>
                  <a:lnTo>
                    <a:pt x="2052" y="1942"/>
                  </a:lnTo>
                  <a:lnTo>
                    <a:pt x="2052" y="1942"/>
                  </a:lnTo>
                  <a:lnTo>
                    <a:pt x="2052" y="1942"/>
                  </a:lnTo>
                  <a:lnTo>
                    <a:pt x="2054" y="1944"/>
                  </a:lnTo>
                  <a:lnTo>
                    <a:pt x="2054" y="1944"/>
                  </a:lnTo>
                  <a:lnTo>
                    <a:pt x="2058" y="1944"/>
                  </a:lnTo>
                  <a:lnTo>
                    <a:pt x="2060" y="1944"/>
                  </a:lnTo>
                  <a:lnTo>
                    <a:pt x="2062" y="1942"/>
                  </a:lnTo>
                  <a:lnTo>
                    <a:pt x="2062" y="1942"/>
                  </a:lnTo>
                  <a:lnTo>
                    <a:pt x="2064" y="1942"/>
                  </a:lnTo>
                  <a:lnTo>
                    <a:pt x="2064" y="1940"/>
                  </a:lnTo>
                  <a:lnTo>
                    <a:pt x="2064" y="1940"/>
                  </a:lnTo>
                  <a:lnTo>
                    <a:pt x="2066" y="1940"/>
                  </a:lnTo>
                  <a:lnTo>
                    <a:pt x="2066" y="1940"/>
                  </a:lnTo>
                  <a:lnTo>
                    <a:pt x="2066" y="1940"/>
                  </a:lnTo>
                  <a:lnTo>
                    <a:pt x="2068" y="1938"/>
                  </a:lnTo>
                  <a:lnTo>
                    <a:pt x="2070" y="1934"/>
                  </a:lnTo>
                  <a:lnTo>
                    <a:pt x="2070" y="1934"/>
                  </a:lnTo>
                  <a:lnTo>
                    <a:pt x="2070" y="1934"/>
                  </a:lnTo>
                  <a:lnTo>
                    <a:pt x="2070" y="1932"/>
                  </a:lnTo>
                  <a:lnTo>
                    <a:pt x="2072" y="1928"/>
                  </a:lnTo>
                  <a:lnTo>
                    <a:pt x="2072" y="1928"/>
                  </a:lnTo>
                  <a:lnTo>
                    <a:pt x="2072" y="1928"/>
                  </a:lnTo>
                  <a:lnTo>
                    <a:pt x="2070" y="1924"/>
                  </a:lnTo>
                  <a:lnTo>
                    <a:pt x="2070" y="1922"/>
                  </a:lnTo>
                  <a:lnTo>
                    <a:pt x="2070" y="1922"/>
                  </a:lnTo>
                  <a:lnTo>
                    <a:pt x="2070" y="1922"/>
                  </a:lnTo>
                  <a:lnTo>
                    <a:pt x="2070" y="1920"/>
                  </a:lnTo>
                  <a:lnTo>
                    <a:pt x="2070" y="1920"/>
                  </a:lnTo>
                  <a:lnTo>
                    <a:pt x="2068" y="1920"/>
                  </a:lnTo>
                  <a:lnTo>
                    <a:pt x="2068" y="1920"/>
                  </a:lnTo>
                  <a:lnTo>
                    <a:pt x="2068" y="1920"/>
                  </a:lnTo>
                  <a:lnTo>
                    <a:pt x="2066" y="1918"/>
                  </a:lnTo>
                  <a:lnTo>
                    <a:pt x="2066" y="1918"/>
                  </a:lnTo>
                  <a:lnTo>
                    <a:pt x="2066" y="1918"/>
                  </a:lnTo>
                  <a:lnTo>
                    <a:pt x="2066" y="1918"/>
                  </a:lnTo>
                  <a:lnTo>
                    <a:pt x="2062" y="1918"/>
                  </a:lnTo>
                  <a:lnTo>
                    <a:pt x="2060" y="1918"/>
                  </a:lnTo>
                  <a:lnTo>
                    <a:pt x="2058" y="1918"/>
                  </a:lnTo>
                  <a:lnTo>
                    <a:pt x="2056" y="1918"/>
                  </a:lnTo>
                  <a:lnTo>
                    <a:pt x="2056" y="1918"/>
                  </a:lnTo>
                  <a:lnTo>
                    <a:pt x="2054" y="1920"/>
                  </a:lnTo>
                  <a:lnTo>
                    <a:pt x="2050" y="1922"/>
                  </a:lnTo>
                  <a:lnTo>
                    <a:pt x="2050" y="1926"/>
                  </a:lnTo>
                  <a:lnTo>
                    <a:pt x="2050" y="1926"/>
                  </a:lnTo>
                  <a:lnTo>
                    <a:pt x="2050" y="1926"/>
                  </a:lnTo>
                  <a:lnTo>
                    <a:pt x="2048" y="1928"/>
                  </a:lnTo>
                  <a:lnTo>
                    <a:pt x="2048" y="1928"/>
                  </a:lnTo>
                  <a:lnTo>
                    <a:pt x="2048" y="1930"/>
                  </a:lnTo>
                  <a:lnTo>
                    <a:pt x="2048" y="1932"/>
                  </a:lnTo>
                  <a:lnTo>
                    <a:pt x="2048" y="1932"/>
                  </a:lnTo>
                  <a:lnTo>
                    <a:pt x="2048" y="1932"/>
                  </a:lnTo>
                  <a:lnTo>
                    <a:pt x="2048" y="1936"/>
                  </a:lnTo>
                  <a:lnTo>
                    <a:pt x="2048" y="1936"/>
                  </a:lnTo>
                  <a:lnTo>
                    <a:pt x="2048" y="1936"/>
                  </a:lnTo>
                  <a:lnTo>
                    <a:pt x="2048" y="1938"/>
                  </a:lnTo>
                  <a:close/>
                  <a:moveTo>
                    <a:pt x="2200" y="1728"/>
                  </a:moveTo>
                  <a:lnTo>
                    <a:pt x="2202" y="1726"/>
                  </a:lnTo>
                  <a:lnTo>
                    <a:pt x="2204" y="1724"/>
                  </a:lnTo>
                  <a:lnTo>
                    <a:pt x="2206" y="1722"/>
                  </a:lnTo>
                  <a:lnTo>
                    <a:pt x="2208" y="1720"/>
                  </a:lnTo>
                  <a:lnTo>
                    <a:pt x="2210" y="1720"/>
                  </a:lnTo>
                  <a:lnTo>
                    <a:pt x="2210" y="1720"/>
                  </a:lnTo>
                  <a:lnTo>
                    <a:pt x="2210" y="1718"/>
                  </a:lnTo>
                  <a:lnTo>
                    <a:pt x="2212" y="1716"/>
                  </a:lnTo>
                  <a:lnTo>
                    <a:pt x="2212" y="1716"/>
                  </a:lnTo>
                  <a:lnTo>
                    <a:pt x="2212" y="1714"/>
                  </a:lnTo>
                  <a:lnTo>
                    <a:pt x="2212" y="1714"/>
                  </a:lnTo>
                  <a:lnTo>
                    <a:pt x="2212" y="1714"/>
                  </a:lnTo>
                  <a:lnTo>
                    <a:pt x="2210" y="1712"/>
                  </a:lnTo>
                  <a:lnTo>
                    <a:pt x="2210" y="1712"/>
                  </a:lnTo>
                  <a:lnTo>
                    <a:pt x="2210" y="1712"/>
                  </a:lnTo>
                  <a:lnTo>
                    <a:pt x="2210" y="1710"/>
                  </a:lnTo>
                  <a:lnTo>
                    <a:pt x="2208" y="1710"/>
                  </a:lnTo>
                  <a:lnTo>
                    <a:pt x="2208" y="1710"/>
                  </a:lnTo>
                  <a:lnTo>
                    <a:pt x="2208" y="1710"/>
                  </a:lnTo>
                  <a:lnTo>
                    <a:pt x="2206" y="1710"/>
                  </a:lnTo>
                  <a:lnTo>
                    <a:pt x="2206" y="1710"/>
                  </a:lnTo>
                  <a:lnTo>
                    <a:pt x="2206" y="1710"/>
                  </a:lnTo>
                  <a:lnTo>
                    <a:pt x="2204" y="1708"/>
                  </a:lnTo>
                  <a:lnTo>
                    <a:pt x="2204" y="1708"/>
                  </a:lnTo>
                  <a:lnTo>
                    <a:pt x="2202" y="1710"/>
                  </a:lnTo>
                  <a:lnTo>
                    <a:pt x="2196" y="1714"/>
                  </a:lnTo>
                  <a:lnTo>
                    <a:pt x="2192" y="1716"/>
                  </a:lnTo>
                  <a:lnTo>
                    <a:pt x="2188" y="1720"/>
                  </a:lnTo>
                  <a:lnTo>
                    <a:pt x="2184" y="1720"/>
                  </a:lnTo>
                  <a:lnTo>
                    <a:pt x="2180" y="1722"/>
                  </a:lnTo>
                  <a:lnTo>
                    <a:pt x="2176" y="1724"/>
                  </a:lnTo>
                  <a:lnTo>
                    <a:pt x="2174" y="1726"/>
                  </a:lnTo>
                  <a:lnTo>
                    <a:pt x="2172" y="1728"/>
                  </a:lnTo>
                  <a:lnTo>
                    <a:pt x="2172" y="1728"/>
                  </a:lnTo>
                  <a:lnTo>
                    <a:pt x="2170" y="1728"/>
                  </a:lnTo>
                  <a:lnTo>
                    <a:pt x="2170" y="1730"/>
                  </a:lnTo>
                  <a:lnTo>
                    <a:pt x="2170" y="1730"/>
                  </a:lnTo>
                  <a:lnTo>
                    <a:pt x="2168" y="1730"/>
                  </a:lnTo>
                  <a:lnTo>
                    <a:pt x="2168" y="1732"/>
                  </a:lnTo>
                  <a:lnTo>
                    <a:pt x="2168" y="1732"/>
                  </a:lnTo>
                  <a:lnTo>
                    <a:pt x="2168" y="1732"/>
                  </a:lnTo>
                  <a:lnTo>
                    <a:pt x="2166" y="1736"/>
                  </a:lnTo>
                  <a:lnTo>
                    <a:pt x="2166" y="1738"/>
                  </a:lnTo>
                  <a:lnTo>
                    <a:pt x="2166" y="1742"/>
                  </a:lnTo>
                  <a:lnTo>
                    <a:pt x="2166" y="1746"/>
                  </a:lnTo>
                  <a:lnTo>
                    <a:pt x="2166" y="1754"/>
                  </a:lnTo>
                  <a:lnTo>
                    <a:pt x="2164" y="1758"/>
                  </a:lnTo>
                  <a:lnTo>
                    <a:pt x="2164" y="1764"/>
                  </a:lnTo>
                  <a:lnTo>
                    <a:pt x="2164" y="1772"/>
                  </a:lnTo>
                  <a:lnTo>
                    <a:pt x="2164" y="1772"/>
                  </a:lnTo>
                  <a:lnTo>
                    <a:pt x="2164" y="1772"/>
                  </a:lnTo>
                  <a:lnTo>
                    <a:pt x="2166" y="1776"/>
                  </a:lnTo>
                  <a:lnTo>
                    <a:pt x="2166" y="1776"/>
                  </a:lnTo>
                  <a:lnTo>
                    <a:pt x="2168" y="1780"/>
                  </a:lnTo>
                  <a:lnTo>
                    <a:pt x="2168" y="1784"/>
                  </a:lnTo>
                  <a:lnTo>
                    <a:pt x="2170" y="1788"/>
                  </a:lnTo>
                  <a:lnTo>
                    <a:pt x="2170" y="1788"/>
                  </a:lnTo>
                  <a:lnTo>
                    <a:pt x="2172" y="1790"/>
                  </a:lnTo>
                  <a:lnTo>
                    <a:pt x="2172" y="1790"/>
                  </a:lnTo>
                  <a:lnTo>
                    <a:pt x="2172" y="1790"/>
                  </a:lnTo>
                  <a:lnTo>
                    <a:pt x="2174" y="1790"/>
                  </a:lnTo>
                  <a:lnTo>
                    <a:pt x="2174" y="1790"/>
                  </a:lnTo>
                  <a:lnTo>
                    <a:pt x="2174" y="1790"/>
                  </a:lnTo>
                  <a:lnTo>
                    <a:pt x="2176" y="1790"/>
                  </a:lnTo>
                  <a:lnTo>
                    <a:pt x="2178" y="1788"/>
                  </a:lnTo>
                  <a:lnTo>
                    <a:pt x="2182" y="1786"/>
                  </a:lnTo>
                  <a:lnTo>
                    <a:pt x="2186" y="1782"/>
                  </a:lnTo>
                  <a:lnTo>
                    <a:pt x="2188" y="1780"/>
                  </a:lnTo>
                  <a:lnTo>
                    <a:pt x="2192" y="1776"/>
                  </a:lnTo>
                  <a:lnTo>
                    <a:pt x="2194" y="1772"/>
                  </a:lnTo>
                  <a:lnTo>
                    <a:pt x="2196" y="1772"/>
                  </a:lnTo>
                  <a:lnTo>
                    <a:pt x="2196" y="1772"/>
                  </a:lnTo>
                  <a:lnTo>
                    <a:pt x="2196" y="1770"/>
                  </a:lnTo>
                  <a:lnTo>
                    <a:pt x="2196" y="1770"/>
                  </a:lnTo>
                  <a:lnTo>
                    <a:pt x="2196" y="1770"/>
                  </a:lnTo>
                  <a:lnTo>
                    <a:pt x="2196" y="1768"/>
                  </a:lnTo>
                  <a:lnTo>
                    <a:pt x="2196" y="1760"/>
                  </a:lnTo>
                  <a:lnTo>
                    <a:pt x="2196" y="1754"/>
                  </a:lnTo>
                  <a:lnTo>
                    <a:pt x="2196" y="1748"/>
                  </a:lnTo>
                  <a:lnTo>
                    <a:pt x="2196" y="1742"/>
                  </a:lnTo>
                  <a:lnTo>
                    <a:pt x="2196" y="1738"/>
                  </a:lnTo>
                  <a:lnTo>
                    <a:pt x="2196" y="1738"/>
                  </a:lnTo>
                  <a:lnTo>
                    <a:pt x="2196" y="1734"/>
                  </a:lnTo>
                  <a:lnTo>
                    <a:pt x="2196" y="1734"/>
                  </a:lnTo>
                  <a:lnTo>
                    <a:pt x="2198" y="1730"/>
                  </a:lnTo>
                  <a:lnTo>
                    <a:pt x="2200" y="1728"/>
                  </a:lnTo>
                  <a:close/>
                  <a:moveTo>
                    <a:pt x="2186" y="3088"/>
                  </a:moveTo>
                  <a:lnTo>
                    <a:pt x="2186" y="3086"/>
                  </a:lnTo>
                  <a:lnTo>
                    <a:pt x="2186" y="3086"/>
                  </a:lnTo>
                  <a:lnTo>
                    <a:pt x="2184" y="3086"/>
                  </a:lnTo>
                  <a:lnTo>
                    <a:pt x="2184" y="3086"/>
                  </a:lnTo>
                  <a:lnTo>
                    <a:pt x="2184" y="3086"/>
                  </a:lnTo>
                  <a:lnTo>
                    <a:pt x="2182" y="3086"/>
                  </a:lnTo>
                  <a:lnTo>
                    <a:pt x="2180" y="3086"/>
                  </a:lnTo>
                  <a:lnTo>
                    <a:pt x="2180" y="3086"/>
                  </a:lnTo>
                  <a:lnTo>
                    <a:pt x="2180" y="3086"/>
                  </a:lnTo>
                  <a:lnTo>
                    <a:pt x="2178" y="3088"/>
                  </a:lnTo>
                  <a:lnTo>
                    <a:pt x="2176" y="3090"/>
                  </a:lnTo>
                  <a:lnTo>
                    <a:pt x="2174" y="3092"/>
                  </a:lnTo>
                  <a:lnTo>
                    <a:pt x="2172" y="3094"/>
                  </a:lnTo>
                  <a:lnTo>
                    <a:pt x="2170" y="3096"/>
                  </a:lnTo>
                  <a:lnTo>
                    <a:pt x="2168" y="3098"/>
                  </a:lnTo>
                  <a:lnTo>
                    <a:pt x="2166" y="3100"/>
                  </a:lnTo>
                  <a:lnTo>
                    <a:pt x="2164" y="3102"/>
                  </a:lnTo>
                  <a:lnTo>
                    <a:pt x="2162" y="3104"/>
                  </a:lnTo>
                  <a:lnTo>
                    <a:pt x="2160" y="3106"/>
                  </a:lnTo>
                  <a:lnTo>
                    <a:pt x="2160" y="3106"/>
                  </a:lnTo>
                  <a:lnTo>
                    <a:pt x="2158" y="3106"/>
                  </a:lnTo>
                  <a:lnTo>
                    <a:pt x="2158" y="3108"/>
                  </a:lnTo>
                  <a:lnTo>
                    <a:pt x="2158" y="3108"/>
                  </a:lnTo>
                  <a:lnTo>
                    <a:pt x="2158" y="3108"/>
                  </a:lnTo>
                  <a:lnTo>
                    <a:pt x="2156" y="3110"/>
                  </a:lnTo>
                  <a:lnTo>
                    <a:pt x="2156" y="3110"/>
                  </a:lnTo>
                  <a:lnTo>
                    <a:pt x="2156" y="3110"/>
                  </a:lnTo>
                  <a:lnTo>
                    <a:pt x="2156" y="3110"/>
                  </a:lnTo>
                  <a:lnTo>
                    <a:pt x="2156" y="3112"/>
                  </a:lnTo>
                  <a:lnTo>
                    <a:pt x="2150" y="3112"/>
                  </a:lnTo>
                  <a:lnTo>
                    <a:pt x="2144" y="3114"/>
                  </a:lnTo>
                  <a:lnTo>
                    <a:pt x="2134" y="3118"/>
                  </a:lnTo>
                  <a:lnTo>
                    <a:pt x="2128" y="3120"/>
                  </a:lnTo>
                  <a:lnTo>
                    <a:pt x="2122" y="3122"/>
                  </a:lnTo>
                  <a:lnTo>
                    <a:pt x="2118" y="3122"/>
                  </a:lnTo>
                  <a:lnTo>
                    <a:pt x="2112" y="3124"/>
                  </a:lnTo>
                  <a:lnTo>
                    <a:pt x="2108" y="3122"/>
                  </a:lnTo>
                  <a:lnTo>
                    <a:pt x="2102" y="3122"/>
                  </a:lnTo>
                  <a:lnTo>
                    <a:pt x="2098" y="3120"/>
                  </a:lnTo>
                  <a:lnTo>
                    <a:pt x="2092" y="3120"/>
                  </a:lnTo>
                  <a:lnTo>
                    <a:pt x="2082" y="3116"/>
                  </a:lnTo>
                  <a:lnTo>
                    <a:pt x="2076" y="3114"/>
                  </a:lnTo>
                  <a:lnTo>
                    <a:pt x="2070" y="3112"/>
                  </a:lnTo>
                  <a:lnTo>
                    <a:pt x="2066" y="3112"/>
                  </a:lnTo>
                  <a:lnTo>
                    <a:pt x="2062" y="3112"/>
                  </a:lnTo>
                  <a:lnTo>
                    <a:pt x="2060" y="3112"/>
                  </a:lnTo>
                  <a:lnTo>
                    <a:pt x="2056" y="3112"/>
                  </a:lnTo>
                  <a:lnTo>
                    <a:pt x="2056" y="3112"/>
                  </a:lnTo>
                  <a:lnTo>
                    <a:pt x="2056" y="3112"/>
                  </a:lnTo>
                  <a:lnTo>
                    <a:pt x="2052" y="3114"/>
                  </a:lnTo>
                  <a:lnTo>
                    <a:pt x="2052" y="3114"/>
                  </a:lnTo>
                  <a:lnTo>
                    <a:pt x="2052" y="3114"/>
                  </a:lnTo>
                  <a:lnTo>
                    <a:pt x="2048" y="3116"/>
                  </a:lnTo>
                  <a:lnTo>
                    <a:pt x="2048" y="3116"/>
                  </a:lnTo>
                  <a:lnTo>
                    <a:pt x="2046" y="3118"/>
                  </a:lnTo>
                  <a:lnTo>
                    <a:pt x="2044" y="3120"/>
                  </a:lnTo>
                  <a:lnTo>
                    <a:pt x="2044" y="3120"/>
                  </a:lnTo>
                  <a:lnTo>
                    <a:pt x="2044" y="3122"/>
                  </a:lnTo>
                  <a:lnTo>
                    <a:pt x="2042" y="3124"/>
                  </a:lnTo>
                  <a:lnTo>
                    <a:pt x="2040" y="3126"/>
                  </a:lnTo>
                  <a:lnTo>
                    <a:pt x="2038" y="3130"/>
                  </a:lnTo>
                  <a:lnTo>
                    <a:pt x="2038" y="3130"/>
                  </a:lnTo>
                  <a:lnTo>
                    <a:pt x="2036" y="3130"/>
                  </a:lnTo>
                  <a:lnTo>
                    <a:pt x="2030" y="3128"/>
                  </a:lnTo>
                  <a:lnTo>
                    <a:pt x="2026" y="3128"/>
                  </a:lnTo>
                  <a:lnTo>
                    <a:pt x="2022" y="3126"/>
                  </a:lnTo>
                  <a:lnTo>
                    <a:pt x="2018" y="3126"/>
                  </a:lnTo>
                  <a:lnTo>
                    <a:pt x="2014" y="3128"/>
                  </a:lnTo>
                  <a:lnTo>
                    <a:pt x="2014" y="3128"/>
                  </a:lnTo>
                  <a:lnTo>
                    <a:pt x="2012" y="3128"/>
                  </a:lnTo>
                  <a:lnTo>
                    <a:pt x="2012" y="3130"/>
                  </a:lnTo>
                  <a:lnTo>
                    <a:pt x="2012" y="3134"/>
                  </a:lnTo>
                  <a:lnTo>
                    <a:pt x="2012" y="3134"/>
                  </a:lnTo>
                  <a:lnTo>
                    <a:pt x="2012" y="3134"/>
                  </a:lnTo>
                  <a:lnTo>
                    <a:pt x="2014" y="3138"/>
                  </a:lnTo>
                  <a:lnTo>
                    <a:pt x="2014" y="3138"/>
                  </a:lnTo>
                  <a:lnTo>
                    <a:pt x="2014" y="3138"/>
                  </a:lnTo>
                  <a:lnTo>
                    <a:pt x="2016" y="3142"/>
                  </a:lnTo>
                  <a:lnTo>
                    <a:pt x="2016" y="3142"/>
                  </a:lnTo>
                  <a:lnTo>
                    <a:pt x="2016" y="3142"/>
                  </a:lnTo>
                  <a:lnTo>
                    <a:pt x="2018" y="3146"/>
                  </a:lnTo>
                  <a:lnTo>
                    <a:pt x="2022" y="3148"/>
                  </a:lnTo>
                  <a:lnTo>
                    <a:pt x="2026" y="3152"/>
                  </a:lnTo>
                  <a:lnTo>
                    <a:pt x="2030" y="3156"/>
                  </a:lnTo>
                  <a:lnTo>
                    <a:pt x="2034" y="3160"/>
                  </a:lnTo>
                  <a:lnTo>
                    <a:pt x="2044" y="3164"/>
                  </a:lnTo>
                  <a:lnTo>
                    <a:pt x="2054" y="3170"/>
                  </a:lnTo>
                  <a:lnTo>
                    <a:pt x="2058" y="3172"/>
                  </a:lnTo>
                  <a:lnTo>
                    <a:pt x="2062" y="3174"/>
                  </a:lnTo>
                  <a:lnTo>
                    <a:pt x="2066" y="3176"/>
                  </a:lnTo>
                  <a:lnTo>
                    <a:pt x="2070" y="3178"/>
                  </a:lnTo>
                  <a:lnTo>
                    <a:pt x="2078" y="3180"/>
                  </a:lnTo>
                  <a:lnTo>
                    <a:pt x="2088" y="3182"/>
                  </a:lnTo>
                  <a:lnTo>
                    <a:pt x="2096" y="3186"/>
                  </a:lnTo>
                  <a:lnTo>
                    <a:pt x="2106" y="3188"/>
                  </a:lnTo>
                  <a:lnTo>
                    <a:pt x="2116" y="3190"/>
                  </a:lnTo>
                  <a:lnTo>
                    <a:pt x="2126" y="3194"/>
                  </a:lnTo>
                  <a:lnTo>
                    <a:pt x="2134" y="3198"/>
                  </a:lnTo>
                  <a:lnTo>
                    <a:pt x="2144" y="3202"/>
                  </a:lnTo>
                  <a:lnTo>
                    <a:pt x="2144" y="3202"/>
                  </a:lnTo>
                  <a:lnTo>
                    <a:pt x="2146" y="3204"/>
                  </a:lnTo>
                  <a:lnTo>
                    <a:pt x="2148" y="3206"/>
                  </a:lnTo>
                  <a:lnTo>
                    <a:pt x="2150" y="3210"/>
                  </a:lnTo>
                  <a:lnTo>
                    <a:pt x="2152" y="3214"/>
                  </a:lnTo>
                  <a:lnTo>
                    <a:pt x="2154" y="3216"/>
                  </a:lnTo>
                  <a:lnTo>
                    <a:pt x="2154" y="3216"/>
                  </a:lnTo>
                  <a:lnTo>
                    <a:pt x="2154" y="3216"/>
                  </a:lnTo>
                  <a:lnTo>
                    <a:pt x="2156" y="3218"/>
                  </a:lnTo>
                  <a:lnTo>
                    <a:pt x="2156" y="3218"/>
                  </a:lnTo>
                  <a:lnTo>
                    <a:pt x="2156" y="3218"/>
                  </a:lnTo>
                  <a:lnTo>
                    <a:pt x="2158" y="3218"/>
                  </a:lnTo>
                  <a:lnTo>
                    <a:pt x="2158" y="3218"/>
                  </a:lnTo>
                  <a:lnTo>
                    <a:pt x="2158" y="3218"/>
                  </a:lnTo>
                  <a:lnTo>
                    <a:pt x="2160" y="3220"/>
                  </a:lnTo>
                  <a:lnTo>
                    <a:pt x="2160" y="3220"/>
                  </a:lnTo>
                  <a:lnTo>
                    <a:pt x="2160" y="3220"/>
                  </a:lnTo>
                  <a:lnTo>
                    <a:pt x="2162" y="3218"/>
                  </a:lnTo>
                  <a:lnTo>
                    <a:pt x="2162" y="3218"/>
                  </a:lnTo>
                  <a:lnTo>
                    <a:pt x="2164" y="3218"/>
                  </a:lnTo>
                  <a:lnTo>
                    <a:pt x="2166" y="3218"/>
                  </a:lnTo>
                  <a:lnTo>
                    <a:pt x="2166" y="3218"/>
                  </a:lnTo>
                  <a:lnTo>
                    <a:pt x="2166" y="3218"/>
                  </a:lnTo>
                  <a:lnTo>
                    <a:pt x="2168" y="3216"/>
                  </a:lnTo>
                  <a:lnTo>
                    <a:pt x="2168" y="3216"/>
                  </a:lnTo>
                  <a:lnTo>
                    <a:pt x="2168" y="3216"/>
                  </a:lnTo>
                  <a:lnTo>
                    <a:pt x="2170" y="3214"/>
                  </a:lnTo>
                  <a:lnTo>
                    <a:pt x="2170" y="3214"/>
                  </a:lnTo>
                  <a:lnTo>
                    <a:pt x="2170" y="3214"/>
                  </a:lnTo>
                  <a:lnTo>
                    <a:pt x="2172" y="3210"/>
                  </a:lnTo>
                  <a:lnTo>
                    <a:pt x="2172" y="3210"/>
                  </a:lnTo>
                  <a:lnTo>
                    <a:pt x="2172" y="3206"/>
                  </a:lnTo>
                  <a:lnTo>
                    <a:pt x="2172" y="3202"/>
                  </a:lnTo>
                  <a:lnTo>
                    <a:pt x="2172" y="3198"/>
                  </a:lnTo>
                  <a:lnTo>
                    <a:pt x="2172" y="3192"/>
                  </a:lnTo>
                  <a:lnTo>
                    <a:pt x="2172" y="3182"/>
                  </a:lnTo>
                  <a:lnTo>
                    <a:pt x="2170" y="3172"/>
                  </a:lnTo>
                  <a:lnTo>
                    <a:pt x="2170" y="3168"/>
                  </a:lnTo>
                  <a:lnTo>
                    <a:pt x="2170" y="3162"/>
                  </a:lnTo>
                  <a:lnTo>
                    <a:pt x="2168" y="3158"/>
                  </a:lnTo>
                  <a:lnTo>
                    <a:pt x="2168" y="3156"/>
                  </a:lnTo>
                  <a:lnTo>
                    <a:pt x="2168" y="3152"/>
                  </a:lnTo>
                  <a:lnTo>
                    <a:pt x="2168" y="3152"/>
                  </a:lnTo>
                  <a:lnTo>
                    <a:pt x="2168" y="3148"/>
                  </a:lnTo>
                  <a:lnTo>
                    <a:pt x="2168" y="3144"/>
                  </a:lnTo>
                  <a:lnTo>
                    <a:pt x="2172" y="3134"/>
                  </a:lnTo>
                  <a:lnTo>
                    <a:pt x="2174" y="3126"/>
                  </a:lnTo>
                  <a:lnTo>
                    <a:pt x="2178" y="3116"/>
                  </a:lnTo>
                  <a:lnTo>
                    <a:pt x="2180" y="3108"/>
                  </a:lnTo>
                  <a:lnTo>
                    <a:pt x="2182" y="3104"/>
                  </a:lnTo>
                  <a:lnTo>
                    <a:pt x="2184" y="3100"/>
                  </a:lnTo>
                  <a:lnTo>
                    <a:pt x="2184" y="3098"/>
                  </a:lnTo>
                  <a:lnTo>
                    <a:pt x="2186" y="3094"/>
                  </a:lnTo>
                  <a:lnTo>
                    <a:pt x="2186" y="3092"/>
                  </a:lnTo>
                  <a:lnTo>
                    <a:pt x="2186" y="3090"/>
                  </a:lnTo>
                  <a:lnTo>
                    <a:pt x="2186" y="3090"/>
                  </a:lnTo>
                  <a:lnTo>
                    <a:pt x="2186" y="3090"/>
                  </a:lnTo>
                  <a:lnTo>
                    <a:pt x="2186" y="3088"/>
                  </a:lnTo>
                  <a:lnTo>
                    <a:pt x="2186" y="3088"/>
                  </a:lnTo>
                  <a:lnTo>
                    <a:pt x="2186" y="3088"/>
                  </a:lnTo>
                  <a:lnTo>
                    <a:pt x="2186" y="3088"/>
                  </a:lnTo>
                  <a:close/>
                  <a:moveTo>
                    <a:pt x="1864" y="2950"/>
                  </a:moveTo>
                  <a:lnTo>
                    <a:pt x="1864" y="2948"/>
                  </a:lnTo>
                  <a:lnTo>
                    <a:pt x="1864" y="2948"/>
                  </a:lnTo>
                  <a:lnTo>
                    <a:pt x="1862" y="2946"/>
                  </a:lnTo>
                  <a:lnTo>
                    <a:pt x="1860" y="2942"/>
                  </a:lnTo>
                  <a:lnTo>
                    <a:pt x="1858" y="2938"/>
                  </a:lnTo>
                  <a:lnTo>
                    <a:pt x="1856" y="2936"/>
                  </a:lnTo>
                  <a:lnTo>
                    <a:pt x="1856" y="2932"/>
                  </a:lnTo>
                  <a:lnTo>
                    <a:pt x="1854" y="2928"/>
                  </a:lnTo>
                  <a:lnTo>
                    <a:pt x="1854" y="2922"/>
                  </a:lnTo>
                  <a:lnTo>
                    <a:pt x="1852" y="2916"/>
                  </a:lnTo>
                  <a:lnTo>
                    <a:pt x="1850" y="2910"/>
                  </a:lnTo>
                  <a:lnTo>
                    <a:pt x="1848" y="2906"/>
                  </a:lnTo>
                  <a:lnTo>
                    <a:pt x="1846" y="2900"/>
                  </a:lnTo>
                  <a:lnTo>
                    <a:pt x="1842" y="2896"/>
                  </a:lnTo>
                  <a:lnTo>
                    <a:pt x="1838" y="2890"/>
                  </a:lnTo>
                  <a:lnTo>
                    <a:pt x="1838" y="2890"/>
                  </a:lnTo>
                  <a:lnTo>
                    <a:pt x="1834" y="2888"/>
                  </a:lnTo>
                  <a:lnTo>
                    <a:pt x="1832" y="2890"/>
                  </a:lnTo>
                  <a:lnTo>
                    <a:pt x="1832" y="2890"/>
                  </a:lnTo>
                  <a:lnTo>
                    <a:pt x="1830" y="2890"/>
                  </a:lnTo>
                  <a:lnTo>
                    <a:pt x="1828" y="2894"/>
                  </a:lnTo>
                  <a:lnTo>
                    <a:pt x="1824" y="2896"/>
                  </a:lnTo>
                  <a:lnTo>
                    <a:pt x="1822" y="2900"/>
                  </a:lnTo>
                  <a:lnTo>
                    <a:pt x="1818" y="2904"/>
                  </a:lnTo>
                  <a:lnTo>
                    <a:pt x="1810" y="2910"/>
                  </a:lnTo>
                  <a:lnTo>
                    <a:pt x="1804" y="2914"/>
                  </a:lnTo>
                  <a:lnTo>
                    <a:pt x="1800" y="2916"/>
                  </a:lnTo>
                  <a:lnTo>
                    <a:pt x="1796" y="2920"/>
                  </a:lnTo>
                  <a:lnTo>
                    <a:pt x="1798" y="2918"/>
                  </a:lnTo>
                  <a:lnTo>
                    <a:pt x="1794" y="2920"/>
                  </a:lnTo>
                  <a:lnTo>
                    <a:pt x="1794" y="2920"/>
                  </a:lnTo>
                  <a:lnTo>
                    <a:pt x="1792" y="2920"/>
                  </a:lnTo>
                  <a:lnTo>
                    <a:pt x="1790" y="2920"/>
                  </a:lnTo>
                  <a:lnTo>
                    <a:pt x="1790" y="2920"/>
                  </a:lnTo>
                  <a:lnTo>
                    <a:pt x="1788" y="2918"/>
                  </a:lnTo>
                  <a:lnTo>
                    <a:pt x="1788" y="2918"/>
                  </a:lnTo>
                  <a:lnTo>
                    <a:pt x="1788" y="2918"/>
                  </a:lnTo>
                  <a:lnTo>
                    <a:pt x="1788" y="2918"/>
                  </a:lnTo>
                  <a:lnTo>
                    <a:pt x="1788" y="2916"/>
                  </a:lnTo>
                  <a:lnTo>
                    <a:pt x="1788" y="2914"/>
                  </a:lnTo>
                  <a:lnTo>
                    <a:pt x="1788" y="2910"/>
                  </a:lnTo>
                  <a:lnTo>
                    <a:pt x="1790" y="2908"/>
                  </a:lnTo>
                  <a:lnTo>
                    <a:pt x="1790" y="2908"/>
                  </a:lnTo>
                  <a:lnTo>
                    <a:pt x="1788" y="2904"/>
                  </a:lnTo>
                  <a:lnTo>
                    <a:pt x="1788" y="2904"/>
                  </a:lnTo>
                  <a:lnTo>
                    <a:pt x="1786" y="2904"/>
                  </a:lnTo>
                  <a:lnTo>
                    <a:pt x="1782" y="2906"/>
                  </a:lnTo>
                  <a:lnTo>
                    <a:pt x="1778" y="2908"/>
                  </a:lnTo>
                  <a:lnTo>
                    <a:pt x="1778" y="2908"/>
                  </a:lnTo>
                  <a:lnTo>
                    <a:pt x="1778" y="2908"/>
                  </a:lnTo>
                  <a:lnTo>
                    <a:pt x="1774" y="2910"/>
                  </a:lnTo>
                  <a:lnTo>
                    <a:pt x="1774" y="2910"/>
                  </a:lnTo>
                  <a:lnTo>
                    <a:pt x="1774" y="2910"/>
                  </a:lnTo>
                  <a:lnTo>
                    <a:pt x="1772" y="2912"/>
                  </a:lnTo>
                  <a:lnTo>
                    <a:pt x="1772" y="2912"/>
                  </a:lnTo>
                  <a:lnTo>
                    <a:pt x="1772" y="2914"/>
                  </a:lnTo>
                  <a:lnTo>
                    <a:pt x="1770" y="2916"/>
                  </a:lnTo>
                  <a:lnTo>
                    <a:pt x="1768" y="2920"/>
                  </a:lnTo>
                  <a:lnTo>
                    <a:pt x="1768" y="2924"/>
                  </a:lnTo>
                  <a:lnTo>
                    <a:pt x="1766" y="2928"/>
                  </a:lnTo>
                  <a:lnTo>
                    <a:pt x="1766" y="2928"/>
                  </a:lnTo>
                  <a:lnTo>
                    <a:pt x="1768" y="2932"/>
                  </a:lnTo>
                  <a:lnTo>
                    <a:pt x="1776" y="2940"/>
                  </a:lnTo>
                  <a:lnTo>
                    <a:pt x="1774" y="2942"/>
                  </a:lnTo>
                  <a:lnTo>
                    <a:pt x="1774" y="2944"/>
                  </a:lnTo>
                  <a:lnTo>
                    <a:pt x="1774" y="2944"/>
                  </a:lnTo>
                  <a:lnTo>
                    <a:pt x="1774" y="2944"/>
                  </a:lnTo>
                  <a:lnTo>
                    <a:pt x="1772" y="2944"/>
                  </a:lnTo>
                  <a:lnTo>
                    <a:pt x="1772" y="2944"/>
                  </a:lnTo>
                  <a:lnTo>
                    <a:pt x="1772" y="2946"/>
                  </a:lnTo>
                  <a:lnTo>
                    <a:pt x="1772" y="2946"/>
                  </a:lnTo>
                  <a:lnTo>
                    <a:pt x="1772" y="2946"/>
                  </a:lnTo>
                  <a:lnTo>
                    <a:pt x="1772" y="2948"/>
                  </a:lnTo>
                  <a:lnTo>
                    <a:pt x="1772" y="2950"/>
                  </a:lnTo>
                  <a:lnTo>
                    <a:pt x="1772" y="2950"/>
                  </a:lnTo>
                  <a:lnTo>
                    <a:pt x="1774" y="2950"/>
                  </a:lnTo>
                  <a:lnTo>
                    <a:pt x="1778" y="2956"/>
                  </a:lnTo>
                  <a:lnTo>
                    <a:pt x="1782" y="2962"/>
                  </a:lnTo>
                  <a:lnTo>
                    <a:pt x="1786" y="2968"/>
                  </a:lnTo>
                  <a:lnTo>
                    <a:pt x="1790" y="2972"/>
                  </a:lnTo>
                  <a:lnTo>
                    <a:pt x="1788" y="2976"/>
                  </a:lnTo>
                  <a:lnTo>
                    <a:pt x="1786" y="2978"/>
                  </a:lnTo>
                  <a:lnTo>
                    <a:pt x="1784" y="2982"/>
                  </a:lnTo>
                  <a:lnTo>
                    <a:pt x="1784" y="2982"/>
                  </a:lnTo>
                  <a:lnTo>
                    <a:pt x="1784" y="2982"/>
                  </a:lnTo>
                  <a:lnTo>
                    <a:pt x="1784" y="2984"/>
                  </a:lnTo>
                  <a:lnTo>
                    <a:pt x="1784" y="2984"/>
                  </a:lnTo>
                  <a:lnTo>
                    <a:pt x="1782" y="2984"/>
                  </a:lnTo>
                  <a:lnTo>
                    <a:pt x="1782" y="2988"/>
                  </a:lnTo>
                  <a:lnTo>
                    <a:pt x="1782" y="2988"/>
                  </a:lnTo>
                  <a:lnTo>
                    <a:pt x="1782" y="2988"/>
                  </a:lnTo>
                  <a:lnTo>
                    <a:pt x="1782" y="2990"/>
                  </a:lnTo>
                  <a:lnTo>
                    <a:pt x="1782" y="2994"/>
                  </a:lnTo>
                  <a:lnTo>
                    <a:pt x="1784" y="2996"/>
                  </a:lnTo>
                  <a:lnTo>
                    <a:pt x="1782" y="2998"/>
                  </a:lnTo>
                  <a:lnTo>
                    <a:pt x="1780" y="3002"/>
                  </a:lnTo>
                  <a:lnTo>
                    <a:pt x="1776" y="3004"/>
                  </a:lnTo>
                  <a:lnTo>
                    <a:pt x="1774" y="3006"/>
                  </a:lnTo>
                  <a:lnTo>
                    <a:pt x="1774" y="3006"/>
                  </a:lnTo>
                  <a:lnTo>
                    <a:pt x="1772" y="3010"/>
                  </a:lnTo>
                  <a:lnTo>
                    <a:pt x="1772" y="3010"/>
                  </a:lnTo>
                  <a:lnTo>
                    <a:pt x="1776" y="3012"/>
                  </a:lnTo>
                  <a:lnTo>
                    <a:pt x="1778" y="3012"/>
                  </a:lnTo>
                  <a:lnTo>
                    <a:pt x="1782" y="3012"/>
                  </a:lnTo>
                  <a:lnTo>
                    <a:pt x="1786" y="3014"/>
                  </a:lnTo>
                  <a:lnTo>
                    <a:pt x="1786" y="3014"/>
                  </a:lnTo>
                  <a:lnTo>
                    <a:pt x="1786" y="3018"/>
                  </a:lnTo>
                  <a:lnTo>
                    <a:pt x="1784" y="3024"/>
                  </a:lnTo>
                  <a:lnTo>
                    <a:pt x="1782" y="3030"/>
                  </a:lnTo>
                  <a:lnTo>
                    <a:pt x="1778" y="3034"/>
                  </a:lnTo>
                  <a:lnTo>
                    <a:pt x="1776" y="3040"/>
                  </a:lnTo>
                  <a:lnTo>
                    <a:pt x="1772" y="3046"/>
                  </a:lnTo>
                  <a:lnTo>
                    <a:pt x="1770" y="3052"/>
                  </a:lnTo>
                  <a:lnTo>
                    <a:pt x="1768" y="3058"/>
                  </a:lnTo>
                  <a:lnTo>
                    <a:pt x="1768" y="3058"/>
                  </a:lnTo>
                  <a:lnTo>
                    <a:pt x="1768" y="3060"/>
                  </a:lnTo>
                  <a:lnTo>
                    <a:pt x="1768" y="3060"/>
                  </a:lnTo>
                  <a:lnTo>
                    <a:pt x="1772" y="3062"/>
                  </a:lnTo>
                  <a:lnTo>
                    <a:pt x="1776" y="3062"/>
                  </a:lnTo>
                  <a:lnTo>
                    <a:pt x="1780" y="3064"/>
                  </a:lnTo>
                  <a:lnTo>
                    <a:pt x="1784" y="3064"/>
                  </a:lnTo>
                  <a:lnTo>
                    <a:pt x="1788" y="3064"/>
                  </a:lnTo>
                  <a:lnTo>
                    <a:pt x="1788" y="3064"/>
                  </a:lnTo>
                  <a:lnTo>
                    <a:pt x="1790" y="3062"/>
                  </a:lnTo>
                  <a:lnTo>
                    <a:pt x="1792" y="3060"/>
                  </a:lnTo>
                  <a:lnTo>
                    <a:pt x="1794" y="3060"/>
                  </a:lnTo>
                  <a:lnTo>
                    <a:pt x="1794" y="3060"/>
                  </a:lnTo>
                  <a:lnTo>
                    <a:pt x="1794" y="3062"/>
                  </a:lnTo>
                  <a:lnTo>
                    <a:pt x="1796" y="3064"/>
                  </a:lnTo>
                  <a:lnTo>
                    <a:pt x="1796" y="3064"/>
                  </a:lnTo>
                  <a:lnTo>
                    <a:pt x="1796" y="3064"/>
                  </a:lnTo>
                  <a:lnTo>
                    <a:pt x="1798" y="3066"/>
                  </a:lnTo>
                  <a:lnTo>
                    <a:pt x="1798" y="3066"/>
                  </a:lnTo>
                  <a:lnTo>
                    <a:pt x="1798" y="3066"/>
                  </a:lnTo>
                  <a:lnTo>
                    <a:pt x="1800" y="3066"/>
                  </a:lnTo>
                  <a:lnTo>
                    <a:pt x="1800" y="3066"/>
                  </a:lnTo>
                  <a:lnTo>
                    <a:pt x="1800" y="3068"/>
                  </a:lnTo>
                  <a:lnTo>
                    <a:pt x="1802" y="3068"/>
                  </a:lnTo>
                  <a:lnTo>
                    <a:pt x="1802" y="3068"/>
                  </a:lnTo>
                  <a:lnTo>
                    <a:pt x="1802" y="3068"/>
                  </a:lnTo>
                  <a:lnTo>
                    <a:pt x="1804" y="3068"/>
                  </a:lnTo>
                  <a:lnTo>
                    <a:pt x="1804" y="3068"/>
                  </a:lnTo>
                  <a:lnTo>
                    <a:pt x="1806" y="3068"/>
                  </a:lnTo>
                  <a:lnTo>
                    <a:pt x="1808" y="3066"/>
                  </a:lnTo>
                  <a:lnTo>
                    <a:pt x="1808" y="3066"/>
                  </a:lnTo>
                  <a:lnTo>
                    <a:pt x="1808" y="3066"/>
                  </a:lnTo>
                  <a:lnTo>
                    <a:pt x="1810" y="3066"/>
                  </a:lnTo>
                  <a:lnTo>
                    <a:pt x="1810" y="3066"/>
                  </a:lnTo>
                  <a:lnTo>
                    <a:pt x="1810" y="3066"/>
                  </a:lnTo>
                  <a:lnTo>
                    <a:pt x="1812" y="3064"/>
                  </a:lnTo>
                  <a:lnTo>
                    <a:pt x="1812" y="3064"/>
                  </a:lnTo>
                  <a:lnTo>
                    <a:pt x="1812" y="3064"/>
                  </a:lnTo>
                  <a:lnTo>
                    <a:pt x="1814" y="3062"/>
                  </a:lnTo>
                  <a:lnTo>
                    <a:pt x="1814" y="3058"/>
                  </a:lnTo>
                  <a:lnTo>
                    <a:pt x="1814" y="3058"/>
                  </a:lnTo>
                  <a:lnTo>
                    <a:pt x="1814" y="3058"/>
                  </a:lnTo>
                  <a:lnTo>
                    <a:pt x="1816" y="3054"/>
                  </a:lnTo>
                  <a:lnTo>
                    <a:pt x="1816" y="3054"/>
                  </a:lnTo>
                  <a:lnTo>
                    <a:pt x="1816" y="3052"/>
                  </a:lnTo>
                  <a:lnTo>
                    <a:pt x="1818" y="3048"/>
                  </a:lnTo>
                  <a:lnTo>
                    <a:pt x="1818" y="3048"/>
                  </a:lnTo>
                  <a:lnTo>
                    <a:pt x="1818" y="3048"/>
                  </a:lnTo>
                  <a:lnTo>
                    <a:pt x="1818" y="3048"/>
                  </a:lnTo>
                  <a:lnTo>
                    <a:pt x="1818" y="3048"/>
                  </a:lnTo>
                  <a:lnTo>
                    <a:pt x="1820" y="3048"/>
                  </a:lnTo>
                  <a:lnTo>
                    <a:pt x="1820" y="3048"/>
                  </a:lnTo>
                  <a:lnTo>
                    <a:pt x="1822" y="3048"/>
                  </a:lnTo>
                  <a:lnTo>
                    <a:pt x="1822" y="3048"/>
                  </a:lnTo>
                  <a:lnTo>
                    <a:pt x="1822" y="3048"/>
                  </a:lnTo>
                  <a:lnTo>
                    <a:pt x="1824" y="3046"/>
                  </a:lnTo>
                  <a:lnTo>
                    <a:pt x="1824" y="3046"/>
                  </a:lnTo>
                  <a:lnTo>
                    <a:pt x="1826" y="3046"/>
                  </a:lnTo>
                  <a:lnTo>
                    <a:pt x="1828" y="3040"/>
                  </a:lnTo>
                  <a:lnTo>
                    <a:pt x="1828" y="3040"/>
                  </a:lnTo>
                  <a:lnTo>
                    <a:pt x="1828" y="3040"/>
                  </a:lnTo>
                  <a:lnTo>
                    <a:pt x="1828" y="3042"/>
                  </a:lnTo>
                  <a:lnTo>
                    <a:pt x="1832" y="3044"/>
                  </a:lnTo>
                  <a:lnTo>
                    <a:pt x="1834" y="3044"/>
                  </a:lnTo>
                  <a:lnTo>
                    <a:pt x="1838" y="3048"/>
                  </a:lnTo>
                  <a:lnTo>
                    <a:pt x="1840" y="3048"/>
                  </a:lnTo>
                  <a:lnTo>
                    <a:pt x="1842" y="3050"/>
                  </a:lnTo>
                  <a:lnTo>
                    <a:pt x="1842" y="3050"/>
                  </a:lnTo>
                  <a:lnTo>
                    <a:pt x="1846" y="3052"/>
                  </a:lnTo>
                  <a:lnTo>
                    <a:pt x="1846" y="3052"/>
                  </a:lnTo>
                  <a:lnTo>
                    <a:pt x="1848" y="3050"/>
                  </a:lnTo>
                  <a:lnTo>
                    <a:pt x="1850" y="3040"/>
                  </a:lnTo>
                  <a:lnTo>
                    <a:pt x="1852" y="3030"/>
                  </a:lnTo>
                  <a:lnTo>
                    <a:pt x="1852" y="3020"/>
                  </a:lnTo>
                  <a:lnTo>
                    <a:pt x="1852" y="3008"/>
                  </a:lnTo>
                  <a:lnTo>
                    <a:pt x="1852" y="2998"/>
                  </a:lnTo>
                  <a:lnTo>
                    <a:pt x="1850" y="2988"/>
                  </a:lnTo>
                  <a:lnTo>
                    <a:pt x="1850" y="2980"/>
                  </a:lnTo>
                  <a:lnTo>
                    <a:pt x="1852" y="2972"/>
                  </a:lnTo>
                  <a:lnTo>
                    <a:pt x="1852" y="2970"/>
                  </a:lnTo>
                  <a:lnTo>
                    <a:pt x="1854" y="2968"/>
                  </a:lnTo>
                  <a:lnTo>
                    <a:pt x="1854" y="2968"/>
                  </a:lnTo>
                  <a:lnTo>
                    <a:pt x="1856" y="2966"/>
                  </a:lnTo>
                  <a:lnTo>
                    <a:pt x="1858" y="2964"/>
                  </a:lnTo>
                  <a:lnTo>
                    <a:pt x="1860" y="2964"/>
                  </a:lnTo>
                  <a:lnTo>
                    <a:pt x="1860" y="2964"/>
                  </a:lnTo>
                  <a:lnTo>
                    <a:pt x="1860" y="2962"/>
                  </a:lnTo>
                  <a:lnTo>
                    <a:pt x="1862" y="2962"/>
                  </a:lnTo>
                  <a:lnTo>
                    <a:pt x="1862" y="2962"/>
                  </a:lnTo>
                  <a:lnTo>
                    <a:pt x="1862" y="2960"/>
                  </a:lnTo>
                  <a:lnTo>
                    <a:pt x="1864" y="2958"/>
                  </a:lnTo>
                  <a:lnTo>
                    <a:pt x="1864" y="2958"/>
                  </a:lnTo>
                  <a:lnTo>
                    <a:pt x="1864" y="2958"/>
                  </a:lnTo>
                  <a:lnTo>
                    <a:pt x="1864" y="2954"/>
                  </a:lnTo>
                  <a:lnTo>
                    <a:pt x="1864" y="2954"/>
                  </a:lnTo>
                  <a:lnTo>
                    <a:pt x="1864" y="2954"/>
                  </a:lnTo>
                  <a:lnTo>
                    <a:pt x="1864" y="2950"/>
                  </a:lnTo>
                  <a:lnTo>
                    <a:pt x="1864" y="2950"/>
                  </a:lnTo>
                  <a:close/>
                  <a:moveTo>
                    <a:pt x="1780" y="2836"/>
                  </a:moveTo>
                  <a:lnTo>
                    <a:pt x="1780" y="2836"/>
                  </a:lnTo>
                  <a:lnTo>
                    <a:pt x="1784" y="2838"/>
                  </a:lnTo>
                  <a:lnTo>
                    <a:pt x="1784" y="2838"/>
                  </a:lnTo>
                  <a:lnTo>
                    <a:pt x="1784" y="2838"/>
                  </a:lnTo>
                  <a:lnTo>
                    <a:pt x="1786" y="2838"/>
                  </a:lnTo>
                  <a:lnTo>
                    <a:pt x="1786" y="2838"/>
                  </a:lnTo>
                  <a:lnTo>
                    <a:pt x="1790" y="2840"/>
                  </a:lnTo>
                  <a:lnTo>
                    <a:pt x="1792" y="2842"/>
                  </a:lnTo>
                  <a:lnTo>
                    <a:pt x="1786" y="2848"/>
                  </a:lnTo>
                  <a:lnTo>
                    <a:pt x="1786" y="2848"/>
                  </a:lnTo>
                  <a:lnTo>
                    <a:pt x="1786" y="2850"/>
                  </a:lnTo>
                  <a:lnTo>
                    <a:pt x="1786" y="2850"/>
                  </a:lnTo>
                  <a:lnTo>
                    <a:pt x="1788" y="2852"/>
                  </a:lnTo>
                  <a:lnTo>
                    <a:pt x="1788" y="2852"/>
                  </a:lnTo>
                  <a:lnTo>
                    <a:pt x="1788" y="2852"/>
                  </a:lnTo>
                  <a:lnTo>
                    <a:pt x="1790" y="2852"/>
                  </a:lnTo>
                  <a:lnTo>
                    <a:pt x="1790" y="2854"/>
                  </a:lnTo>
                  <a:lnTo>
                    <a:pt x="1790" y="2854"/>
                  </a:lnTo>
                  <a:lnTo>
                    <a:pt x="1792" y="2854"/>
                  </a:lnTo>
                  <a:lnTo>
                    <a:pt x="1794" y="2854"/>
                  </a:lnTo>
                  <a:lnTo>
                    <a:pt x="1798" y="2852"/>
                  </a:lnTo>
                  <a:lnTo>
                    <a:pt x="1798" y="2852"/>
                  </a:lnTo>
                  <a:lnTo>
                    <a:pt x="1796" y="2856"/>
                  </a:lnTo>
                  <a:lnTo>
                    <a:pt x="1796" y="2858"/>
                  </a:lnTo>
                  <a:lnTo>
                    <a:pt x="1796" y="2858"/>
                  </a:lnTo>
                  <a:lnTo>
                    <a:pt x="1796" y="2860"/>
                  </a:lnTo>
                  <a:lnTo>
                    <a:pt x="1798" y="2862"/>
                  </a:lnTo>
                  <a:lnTo>
                    <a:pt x="1798" y="2862"/>
                  </a:lnTo>
                  <a:lnTo>
                    <a:pt x="1798" y="2862"/>
                  </a:lnTo>
                  <a:lnTo>
                    <a:pt x="1798" y="2862"/>
                  </a:lnTo>
                  <a:lnTo>
                    <a:pt x="1800" y="2862"/>
                  </a:lnTo>
                  <a:lnTo>
                    <a:pt x="1802" y="2862"/>
                  </a:lnTo>
                  <a:lnTo>
                    <a:pt x="1804" y="2864"/>
                  </a:lnTo>
                  <a:lnTo>
                    <a:pt x="1804" y="2864"/>
                  </a:lnTo>
                  <a:lnTo>
                    <a:pt x="1804" y="2866"/>
                  </a:lnTo>
                  <a:lnTo>
                    <a:pt x="1802" y="2868"/>
                  </a:lnTo>
                  <a:lnTo>
                    <a:pt x="1802" y="2870"/>
                  </a:lnTo>
                  <a:lnTo>
                    <a:pt x="1802" y="2870"/>
                  </a:lnTo>
                  <a:lnTo>
                    <a:pt x="1802" y="2870"/>
                  </a:lnTo>
                  <a:lnTo>
                    <a:pt x="1804" y="2872"/>
                  </a:lnTo>
                  <a:lnTo>
                    <a:pt x="1806" y="2874"/>
                  </a:lnTo>
                  <a:lnTo>
                    <a:pt x="1808" y="2876"/>
                  </a:lnTo>
                  <a:lnTo>
                    <a:pt x="1810" y="2878"/>
                  </a:lnTo>
                  <a:lnTo>
                    <a:pt x="1812" y="2878"/>
                  </a:lnTo>
                  <a:lnTo>
                    <a:pt x="1814" y="2882"/>
                  </a:lnTo>
                  <a:lnTo>
                    <a:pt x="1816" y="2884"/>
                  </a:lnTo>
                  <a:lnTo>
                    <a:pt x="1818" y="2886"/>
                  </a:lnTo>
                  <a:lnTo>
                    <a:pt x="1818" y="2886"/>
                  </a:lnTo>
                  <a:lnTo>
                    <a:pt x="1820" y="2886"/>
                  </a:lnTo>
                  <a:lnTo>
                    <a:pt x="1822" y="2886"/>
                  </a:lnTo>
                  <a:lnTo>
                    <a:pt x="1822" y="2886"/>
                  </a:lnTo>
                  <a:lnTo>
                    <a:pt x="1822" y="2886"/>
                  </a:lnTo>
                  <a:lnTo>
                    <a:pt x="1824" y="2886"/>
                  </a:lnTo>
                  <a:lnTo>
                    <a:pt x="1824" y="2886"/>
                  </a:lnTo>
                  <a:lnTo>
                    <a:pt x="1824" y="2886"/>
                  </a:lnTo>
                  <a:lnTo>
                    <a:pt x="1826" y="2884"/>
                  </a:lnTo>
                  <a:lnTo>
                    <a:pt x="1826" y="2884"/>
                  </a:lnTo>
                  <a:lnTo>
                    <a:pt x="1828" y="2884"/>
                  </a:lnTo>
                  <a:lnTo>
                    <a:pt x="1830" y="2882"/>
                  </a:lnTo>
                  <a:lnTo>
                    <a:pt x="1830" y="2880"/>
                  </a:lnTo>
                  <a:lnTo>
                    <a:pt x="1832" y="2878"/>
                  </a:lnTo>
                  <a:lnTo>
                    <a:pt x="1834" y="2876"/>
                  </a:lnTo>
                  <a:lnTo>
                    <a:pt x="1836" y="2874"/>
                  </a:lnTo>
                  <a:lnTo>
                    <a:pt x="1838" y="2872"/>
                  </a:lnTo>
                  <a:lnTo>
                    <a:pt x="1838" y="2872"/>
                  </a:lnTo>
                  <a:lnTo>
                    <a:pt x="1838" y="2870"/>
                  </a:lnTo>
                  <a:lnTo>
                    <a:pt x="1838" y="2868"/>
                  </a:lnTo>
                  <a:lnTo>
                    <a:pt x="1836" y="2866"/>
                  </a:lnTo>
                  <a:lnTo>
                    <a:pt x="1834" y="2862"/>
                  </a:lnTo>
                  <a:lnTo>
                    <a:pt x="1832" y="2860"/>
                  </a:lnTo>
                  <a:lnTo>
                    <a:pt x="1832" y="2860"/>
                  </a:lnTo>
                  <a:lnTo>
                    <a:pt x="1832" y="2856"/>
                  </a:lnTo>
                  <a:lnTo>
                    <a:pt x="1832" y="2852"/>
                  </a:lnTo>
                  <a:lnTo>
                    <a:pt x="1834" y="2850"/>
                  </a:lnTo>
                  <a:lnTo>
                    <a:pt x="1834" y="2846"/>
                  </a:lnTo>
                  <a:lnTo>
                    <a:pt x="1836" y="2842"/>
                  </a:lnTo>
                  <a:lnTo>
                    <a:pt x="1840" y="2834"/>
                  </a:lnTo>
                  <a:lnTo>
                    <a:pt x="1844" y="2826"/>
                  </a:lnTo>
                  <a:lnTo>
                    <a:pt x="1846" y="2818"/>
                  </a:lnTo>
                  <a:lnTo>
                    <a:pt x="1848" y="2814"/>
                  </a:lnTo>
                  <a:lnTo>
                    <a:pt x="1848" y="2810"/>
                  </a:lnTo>
                  <a:lnTo>
                    <a:pt x="1848" y="2810"/>
                  </a:lnTo>
                  <a:lnTo>
                    <a:pt x="1848" y="2810"/>
                  </a:lnTo>
                  <a:lnTo>
                    <a:pt x="1846" y="2798"/>
                  </a:lnTo>
                  <a:lnTo>
                    <a:pt x="1844" y="2786"/>
                  </a:lnTo>
                  <a:lnTo>
                    <a:pt x="1842" y="2776"/>
                  </a:lnTo>
                  <a:lnTo>
                    <a:pt x="1842" y="2770"/>
                  </a:lnTo>
                  <a:lnTo>
                    <a:pt x="1842" y="2764"/>
                  </a:lnTo>
                  <a:lnTo>
                    <a:pt x="1842" y="2764"/>
                  </a:lnTo>
                  <a:lnTo>
                    <a:pt x="1842" y="2762"/>
                  </a:lnTo>
                  <a:lnTo>
                    <a:pt x="1840" y="2762"/>
                  </a:lnTo>
                  <a:lnTo>
                    <a:pt x="1836" y="2762"/>
                  </a:lnTo>
                  <a:lnTo>
                    <a:pt x="1836" y="2762"/>
                  </a:lnTo>
                  <a:lnTo>
                    <a:pt x="1834" y="2762"/>
                  </a:lnTo>
                  <a:lnTo>
                    <a:pt x="1832" y="2764"/>
                  </a:lnTo>
                  <a:lnTo>
                    <a:pt x="1832" y="2764"/>
                  </a:lnTo>
                  <a:lnTo>
                    <a:pt x="1830" y="2764"/>
                  </a:lnTo>
                  <a:lnTo>
                    <a:pt x="1828" y="2766"/>
                  </a:lnTo>
                  <a:lnTo>
                    <a:pt x="1828" y="2766"/>
                  </a:lnTo>
                  <a:lnTo>
                    <a:pt x="1828" y="2766"/>
                  </a:lnTo>
                  <a:lnTo>
                    <a:pt x="1826" y="2768"/>
                  </a:lnTo>
                  <a:lnTo>
                    <a:pt x="1826" y="2768"/>
                  </a:lnTo>
                  <a:lnTo>
                    <a:pt x="1826" y="2770"/>
                  </a:lnTo>
                  <a:lnTo>
                    <a:pt x="1826" y="2772"/>
                  </a:lnTo>
                  <a:lnTo>
                    <a:pt x="1826" y="2772"/>
                  </a:lnTo>
                  <a:lnTo>
                    <a:pt x="1826" y="2772"/>
                  </a:lnTo>
                  <a:lnTo>
                    <a:pt x="1826" y="2776"/>
                  </a:lnTo>
                  <a:lnTo>
                    <a:pt x="1826" y="2782"/>
                  </a:lnTo>
                  <a:lnTo>
                    <a:pt x="1826" y="2784"/>
                  </a:lnTo>
                  <a:lnTo>
                    <a:pt x="1822" y="2782"/>
                  </a:lnTo>
                  <a:lnTo>
                    <a:pt x="1822" y="2782"/>
                  </a:lnTo>
                  <a:lnTo>
                    <a:pt x="1822" y="2782"/>
                  </a:lnTo>
                  <a:lnTo>
                    <a:pt x="1818" y="2782"/>
                  </a:lnTo>
                  <a:lnTo>
                    <a:pt x="1818" y="2782"/>
                  </a:lnTo>
                  <a:lnTo>
                    <a:pt x="1818" y="2782"/>
                  </a:lnTo>
                  <a:lnTo>
                    <a:pt x="1814" y="2782"/>
                  </a:lnTo>
                  <a:lnTo>
                    <a:pt x="1814" y="2782"/>
                  </a:lnTo>
                  <a:lnTo>
                    <a:pt x="1812" y="2782"/>
                  </a:lnTo>
                  <a:lnTo>
                    <a:pt x="1808" y="2782"/>
                  </a:lnTo>
                  <a:lnTo>
                    <a:pt x="1808" y="2782"/>
                  </a:lnTo>
                  <a:lnTo>
                    <a:pt x="1808" y="2782"/>
                  </a:lnTo>
                  <a:lnTo>
                    <a:pt x="1806" y="2784"/>
                  </a:lnTo>
                  <a:lnTo>
                    <a:pt x="1806" y="2784"/>
                  </a:lnTo>
                  <a:lnTo>
                    <a:pt x="1806" y="2784"/>
                  </a:lnTo>
                  <a:lnTo>
                    <a:pt x="1804" y="2786"/>
                  </a:lnTo>
                  <a:lnTo>
                    <a:pt x="1804" y="2786"/>
                  </a:lnTo>
                  <a:lnTo>
                    <a:pt x="1804" y="2786"/>
                  </a:lnTo>
                  <a:lnTo>
                    <a:pt x="1802" y="2788"/>
                  </a:lnTo>
                  <a:lnTo>
                    <a:pt x="1802" y="2788"/>
                  </a:lnTo>
                  <a:lnTo>
                    <a:pt x="1802" y="2788"/>
                  </a:lnTo>
                  <a:lnTo>
                    <a:pt x="1800" y="2790"/>
                  </a:lnTo>
                  <a:lnTo>
                    <a:pt x="1800" y="2792"/>
                  </a:lnTo>
                  <a:lnTo>
                    <a:pt x="1798" y="2794"/>
                  </a:lnTo>
                  <a:lnTo>
                    <a:pt x="1796" y="2796"/>
                  </a:lnTo>
                  <a:lnTo>
                    <a:pt x="1796" y="2796"/>
                  </a:lnTo>
                  <a:lnTo>
                    <a:pt x="1796" y="2796"/>
                  </a:lnTo>
                  <a:lnTo>
                    <a:pt x="1792" y="2798"/>
                  </a:lnTo>
                  <a:lnTo>
                    <a:pt x="1792" y="2798"/>
                  </a:lnTo>
                  <a:lnTo>
                    <a:pt x="1792" y="2798"/>
                  </a:lnTo>
                  <a:lnTo>
                    <a:pt x="1788" y="2802"/>
                  </a:lnTo>
                  <a:lnTo>
                    <a:pt x="1788" y="2802"/>
                  </a:lnTo>
                  <a:lnTo>
                    <a:pt x="1788" y="2802"/>
                  </a:lnTo>
                  <a:lnTo>
                    <a:pt x="1786" y="2806"/>
                  </a:lnTo>
                  <a:lnTo>
                    <a:pt x="1786" y="2806"/>
                  </a:lnTo>
                  <a:lnTo>
                    <a:pt x="1786" y="2806"/>
                  </a:lnTo>
                  <a:lnTo>
                    <a:pt x="1786" y="2810"/>
                  </a:lnTo>
                  <a:lnTo>
                    <a:pt x="1786" y="2810"/>
                  </a:lnTo>
                  <a:lnTo>
                    <a:pt x="1786" y="2810"/>
                  </a:lnTo>
                  <a:lnTo>
                    <a:pt x="1786" y="2814"/>
                  </a:lnTo>
                  <a:lnTo>
                    <a:pt x="1786" y="2814"/>
                  </a:lnTo>
                  <a:lnTo>
                    <a:pt x="1786" y="2816"/>
                  </a:lnTo>
                  <a:lnTo>
                    <a:pt x="1786" y="2818"/>
                  </a:lnTo>
                  <a:lnTo>
                    <a:pt x="1786" y="2818"/>
                  </a:lnTo>
                  <a:lnTo>
                    <a:pt x="1788" y="2820"/>
                  </a:lnTo>
                  <a:lnTo>
                    <a:pt x="1788" y="2822"/>
                  </a:lnTo>
                  <a:lnTo>
                    <a:pt x="1788" y="2824"/>
                  </a:lnTo>
                  <a:lnTo>
                    <a:pt x="1786" y="2828"/>
                  </a:lnTo>
                  <a:lnTo>
                    <a:pt x="1784" y="2830"/>
                  </a:lnTo>
                  <a:lnTo>
                    <a:pt x="1782" y="2832"/>
                  </a:lnTo>
                  <a:lnTo>
                    <a:pt x="1782" y="2832"/>
                  </a:lnTo>
                  <a:lnTo>
                    <a:pt x="1782" y="2832"/>
                  </a:lnTo>
                  <a:lnTo>
                    <a:pt x="1782" y="2832"/>
                  </a:lnTo>
                  <a:lnTo>
                    <a:pt x="1780" y="2836"/>
                  </a:lnTo>
                  <a:lnTo>
                    <a:pt x="1780" y="2836"/>
                  </a:lnTo>
                  <a:close/>
                  <a:moveTo>
                    <a:pt x="3264" y="3042"/>
                  </a:moveTo>
                  <a:lnTo>
                    <a:pt x="3264" y="3042"/>
                  </a:lnTo>
                  <a:lnTo>
                    <a:pt x="3264" y="3042"/>
                  </a:lnTo>
                  <a:lnTo>
                    <a:pt x="3264" y="3042"/>
                  </a:lnTo>
                  <a:lnTo>
                    <a:pt x="3260" y="3042"/>
                  </a:lnTo>
                  <a:lnTo>
                    <a:pt x="3260" y="3046"/>
                  </a:lnTo>
                  <a:lnTo>
                    <a:pt x="3260" y="3048"/>
                  </a:lnTo>
                  <a:lnTo>
                    <a:pt x="3260" y="3046"/>
                  </a:lnTo>
                  <a:lnTo>
                    <a:pt x="3256" y="3050"/>
                  </a:lnTo>
                  <a:lnTo>
                    <a:pt x="3252" y="3054"/>
                  </a:lnTo>
                  <a:lnTo>
                    <a:pt x="3248" y="3056"/>
                  </a:lnTo>
                  <a:lnTo>
                    <a:pt x="3244" y="3060"/>
                  </a:lnTo>
                  <a:lnTo>
                    <a:pt x="3240" y="3064"/>
                  </a:lnTo>
                  <a:lnTo>
                    <a:pt x="3234" y="3068"/>
                  </a:lnTo>
                  <a:lnTo>
                    <a:pt x="3222" y="3076"/>
                  </a:lnTo>
                  <a:lnTo>
                    <a:pt x="3210" y="3084"/>
                  </a:lnTo>
                  <a:lnTo>
                    <a:pt x="3204" y="3086"/>
                  </a:lnTo>
                  <a:lnTo>
                    <a:pt x="3198" y="3088"/>
                  </a:lnTo>
                  <a:lnTo>
                    <a:pt x="3192" y="3090"/>
                  </a:lnTo>
                  <a:lnTo>
                    <a:pt x="3188" y="3092"/>
                  </a:lnTo>
                  <a:lnTo>
                    <a:pt x="3182" y="3092"/>
                  </a:lnTo>
                  <a:lnTo>
                    <a:pt x="3176" y="3092"/>
                  </a:lnTo>
                  <a:lnTo>
                    <a:pt x="3176" y="3092"/>
                  </a:lnTo>
                  <a:lnTo>
                    <a:pt x="3174" y="3094"/>
                  </a:lnTo>
                  <a:lnTo>
                    <a:pt x="3174" y="3094"/>
                  </a:lnTo>
                  <a:lnTo>
                    <a:pt x="3174" y="3096"/>
                  </a:lnTo>
                  <a:lnTo>
                    <a:pt x="3174" y="3100"/>
                  </a:lnTo>
                  <a:lnTo>
                    <a:pt x="3174" y="3100"/>
                  </a:lnTo>
                  <a:lnTo>
                    <a:pt x="3176" y="3104"/>
                  </a:lnTo>
                  <a:lnTo>
                    <a:pt x="3176" y="3106"/>
                  </a:lnTo>
                  <a:lnTo>
                    <a:pt x="3174" y="3108"/>
                  </a:lnTo>
                  <a:lnTo>
                    <a:pt x="3174" y="3110"/>
                  </a:lnTo>
                  <a:lnTo>
                    <a:pt x="3172" y="3112"/>
                  </a:lnTo>
                  <a:lnTo>
                    <a:pt x="3170" y="3114"/>
                  </a:lnTo>
                  <a:lnTo>
                    <a:pt x="3170" y="3114"/>
                  </a:lnTo>
                  <a:lnTo>
                    <a:pt x="3164" y="3116"/>
                  </a:lnTo>
                  <a:lnTo>
                    <a:pt x="3158" y="3118"/>
                  </a:lnTo>
                  <a:lnTo>
                    <a:pt x="3158" y="3118"/>
                  </a:lnTo>
                  <a:lnTo>
                    <a:pt x="3152" y="3118"/>
                  </a:lnTo>
                  <a:lnTo>
                    <a:pt x="3152" y="3118"/>
                  </a:lnTo>
                  <a:lnTo>
                    <a:pt x="3144" y="3116"/>
                  </a:lnTo>
                  <a:lnTo>
                    <a:pt x="3144" y="3116"/>
                  </a:lnTo>
                  <a:lnTo>
                    <a:pt x="3142" y="3116"/>
                  </a:lnTo>
                  <a:lnTo>
                    <a:pt x="3142" y="3116"/>
                  </a:lnTo>
                  <a:lnTo>
                    <a:pt x="3142" y="3118"/>
                  </a:lnTo>
                  <a:lnTo>
                    <a:pt x="3142" y="3120"/>
                  </a:lnTo>
                  <a:lnTo>
                    <a:pt x="3140" y="3120"/>
                  </a:lnTo>
                  <a:lnTo>
                    <a:pt x="3140" y="3124"/>
                  </a:lnTo>
                  <a:lnTo>
                    <a:pt x="3138" y="3126"/>
                  </a:lnTo>
                  <a:lnTo>
                    <a:pt x="3138" y="3128"/>
                  </a:lnTo>
                  <a:lnTo>
                    <a:pt x="3138" y="3130"/>
                  </a:lnTo>
                  <a:lnTo>
                    <a:pt x="3138" y="3130"/>
                  </a:lnTo>
                  <a:lnTo>
                    <a:pt x="3138" y="3130"/>
                  </a:lnTo>
                  <a:lnTo>
                    <a:pt x="3138" y="3134"/>
                  </a:lnTo>
                  <a:lnTo>
                    <a:pt x="3144" y="3138"/>
                  </a:lnTo>
                  <a:lnTo>
                    <a:pt x="3152" y="3144"/>
                  </a:lnTo>
                  <a:lnTo>
                    <a:pt x="3158" y="3148"/>
                  </a:lnTo>
                  <a:lnTo>
                    <a:pt x="3166" y="3152"/>
                  </a:lnTo>
                  <a:lnTo>
                    <a:pt x="3174" y="3154"/>
                  </a:lnTo>
                  <a:lnTo>
                    <a:pt x="3182" y="3156"/>
                  </a:lnTo>
                  <a:lnTo>
                    <a:pt x="3182" y="3156"/>
                  </a:lnTo>
                  <a:lnTo>
                    <a:pt x="3190" y="3156"/>
                  </a:lnTo>
                  <a:lnTo>
                    <a:pt x="3192" y="3156"/>
                  </a:lnTo>
                  <a:lnTo>
                    <a:pt x="3200" y="3156"/>
                  </a:lnTo>
                  <a:lnTo>
                    <a:pt x="3200" y="3156"/>
                  </a:lnTo>
                  <a:lnTo>
                    <a:pt x="3202" y="3154"/>
                  </a:lnTo>
                  <a:lnTo>
                    <a:pt x="3202" y="3152"/>
                  </a:lnTo>
                  <a:lnTo>
                    <a:pt x="3202" y="3140"/>
                  </a:lnTo>
                  <a:lnTo>
                    <a:pt x="3206" y="3140"/>
                  </a:lnTo>
                  <a:lnTo>
                    <a:pt x="3208" y="3142"/>
                  </a:lnTo>
                  <a:lnTo>
                    <a:pt x="3212" y="3142"/>
                  </a:lnTo>
                  <a:lnTo>
                    <a:pt x="3212" y="3142"/>
                  </a:lnTo>
                  <a:lnTo>
                    <a:pt x="3214" y="3142"/>
                  </a:lnTo>
                  <a:lnTo>
                    <a:pt x="3214" y="3142"/>
                  </a:lnTo>
                  <a:lnTo>
                    <a:pt x="3216" y="3140"/>
                  </a:lnTo>
                  <a:lnTo>
                    <a:pt x="3216" y="3138"/>
                  </a:lnTo>
                  <a:lnTo>
                    <a:pt x="3216" y="3136"/>
                  </a:lnTo>
                  <a:lnTo>
                    <a:pt x="3218" y="3134"/>
                  </a:lnTo>
                  <a:lnTo>
                    <a:pt x="3218" y="3134"/>
                  </a:lnTo>
                  <a:lnTo>
                    <a:pt x="3218" y="3134"/>
                  </a:lnTo>
                  <a:lnTo>
                    <a:pt x="3218" y="3134"/>
                  </a:lnTo>
                  <a:lnTo>
                    <a:pt x="3218" y="3132"/>
                  </a:lnTo>
                  <a:lnTo>
                    <a:pt x="3218" y="3132"/>
                  </a:lnTo>
                  <a:lnTo>
                    <a:pt x="3218" y="3132"/>
                  </a:lnTo>
                  <a:lnTo>
                    <a:pt x="3218" y="3130"/>
                  </a:lnTo>
                  <a:lnTo>
                    <a:pt x="3218" y="3128"/>
                  </a:lnTo>
                  <a:lnTo>
                    <a:pt x="3218" y="3128"/>
                  </a:lnTo>
                  <a:lnTo>
                    <a:pt x="3218" y="3126"/>
                  </a:lnTo>
                  <a:lnTo>
                    <a:pt x="3222" y="3126"/>
                  </a:lnTo>
                  <a:lnTo>
                    <a:pt x="3226" y="3124"/>
                  </a:lnTo>
                  <a:lnTo>
                    <a:pt x="3226" y="3124"/>
                  </a:lnTo>
                  <a:lnTo>
                    <a:pt x="3226" y="3124"/>
                  </a:lnTo>
                  <a:lnTo>
                    <a:pt x="3228" y="3124"/>
                  </a:lnTo>
                  <a:lnTo>
                    <a:pt x="3228" y="3124"/>
                  </a:lnTo>
                  <a:lnTo>
                    <a:pt x="3228" y="3124"/>
                  </a:lnTo>
                  <a:lnTo>
                    <a:pt x="3228" y="3124"/>
                  </a:lnTo>
                  <a:lnTo>
                    <a:pt x="3228" y="3124"/>
                  </a:lnTo>
                  <a:lnTo>
                    <a:pt x="3230" y="3122"/>
                  </a:lnTo>
                  <a:lnTo>
                    <a:pt x="3230" y="3122"/>
                  </a:lnTo>
                  <a:lnTo>
                    <a:pt x="3230" y="3122"/>
                  </a:lnTo>
                  <a:lnTo>
                    <a:pt x="3230" y="3120"/>
                  </a:lnTo>
                  <a:lnTo>
                    <a:pt x="3230" y="3120"/>
                  </a:lnTo>
                  <a:lnTo>
                    <a:pt x="3230" y="3120"/>
                  </a:lnTo>
                  <a:lnTo>
                    <a:pt x="3230" y="3118"/>
                  </a:lnTo>
                  <a:lnTo>
                    <a:pt x="3230" y="3116"/>
                  </a:lnTo>
                  <a:lnTo>
                    <a:pt x="3230" y="3116"/>
                  </a:lnTo>
                  <a:lnTo>
                    <a:pt x="3238" y="3116"/>
                  </a:lnTo>
                  <a:lnTo>
                    <a:pt x="3238" y="3116"/>
                  </a:lnTo>
                  <a:lnTo>
                    <a:pt x="3240" y="3114"/>
                  </a:lnTo>
                  <a:lnTo>
                    <a:pt x="3240" y="3114"/>
                  </a:lnTo>
                  <a:lnTo>
                    <a:pt x="3240" y="3110"/>
                  </a:lnTo>
                  <a:lnTo>
                    <a:pt x="3238" y="3110"/>
                  </a:lnTo>
                  <a:lnTo>
                    <a:pt x="3238" y="3108"/>
                  </a:lnTo>
                  <a:lnTo>
                    <a:pt x="3236" y="3104"/>
                  </a:lnTo>
                  <a:lnTo>
                    <a:pt x="3234" y="3098"/>
                  </a:lnTo>
                  <a:lnTo>
                    <a:pt x="3234" y="3096"/>
                  </a:lnTo>
                  <a:lnTo>
                    <a:pt x="3236" y="3094"/>
                  </a:lnTo>
                  <a:lnTo>
                    <a:pt x="3242" y="3088"/>
                  </a:lnTo>
                  <a:lnTo>
                    <a:pt x="3248" y="3082"/>
                  </a:lnTo>
                  <a:lnTo>
                    <a:pt x="3254" y="3076"/>
                  </a:lnTo>
                  <a:lnTo>
                    <a:pt x="3260" y="3068"/>
                  </a:lnTo>
                  <a:lnTo>
                    <a:pt x="3262" y="3064"/>
                  </a:lnTo>
                  <a:lnTo>
                    <a:pt x="3264" y="3060"/>
                  </a:lnTo>
                  <a:lnTo>
                    <a:pt x="3264" y="3056"/>
                  </a:lnTo>
                  <a:lnTo>
                    <a:pt x="3266" y="3052"/>
                  </a:lnTo>
                  <a:lnTo>
                    <a:pt x="3266" y="3048"/>
                  </a:lnTo>
                  <a:lnTo>
                    <a:pt x="3266" y="3046"/>
                  </a:lnTo>
                  <a:lnTo>
                    <a:pt x="3266" y="3042"/>
                  </a:lnTo>
                  <a:lnTo>
                    <a:pt x="3264" y="3042"/>
                  </a:lnTo>
                  <a:close/>
                  <a:moveTo>
                    <a:pt x="2684" y="2902"/>
                  </a:moveTo>
                  <a:lnTo>
                    <a:pt x="2684" y="2902"/>
                  </a:lnTo>
                  <a:lnTo>
                    <a:pt x="2682" y="2902"/>
                  </a:lnTo>
                  <a:lnTo>
                    <a:pt x="2660" y="2910"/>
                  </a:lnTo>
                  <a:lnTo>
                    <a:pt x="2660" y="2910"/>
                  </a:lnTo>
                  <a:lnTo>
                    <a:pt x="2660" y="2912"/>
                  </a:lnTo>
                  <a:lnTo>
                    <a:pt x="2660" y="2914"/>
                  </a:lnTo>
                  <a:lnTo>
                    <a:pt x="2664" y="2924"/>
                  </a:lnTo>
                  <a:lnTo>
                    <a:pt x="2664" y="2924"/>
                  </a:lnTo>
                  <a:lnTo>
                    <a:pt x="2666" y="2926"/>
                  </a:lnTo>
                  <a:lnTo>
                    <a:pt x="2682" y="2926"/>
                  </a:lnTo>
                  <a:lnTo>
                    <a:pt x="2682" y="2926"/>
                  </a:lnTo>
                  <a:lnTo>
                    <a:pt x="2684" y="2924"/>
                  </a:lnTo>
                  <a:lnTo>
                    <a:pt x="2688" y="2916"/>
                  </a:lnTo>
                  <a:lnTo>
                    <a:pt x="2688" y="2916"/>
                  </a:lnTo>
                  <a:lnTo>
                    <a:pt x="2688" y="2914"/>
                  </a:lnTo>
                  <a:lnTo>
                    <a:pt x="2686" y="2904"/>
                  </a:lnTo>
                  <a:lnTo>
                    <a:pt x="2686" y="2904"/>
                  </a:lnTo>
                  <a:lnTo>
                    <a:pt x="2684" y="2902"/>
                  </a:lnTo>
                  <a:lnTo>
                    <a:pt x="2684" y="2902"/>
                  </a:lnTo>
                  <a:close/>
                  <a:moveTo>
                    <a:pt x="2642" y="2962"/>
                  </a:moveTo>
                  <a:lnTo>
                    <a:pt x="2642" y="2962"/>
                  </a:lnTo>
                  <a:lnTo>
                    <a:pt x="2640" y="2960"/>
                  </a:lnTo>
                  <a:lnTo>
                    <a:pt x="2640" y="2960"/>
                  </a:lnTo>
                  <a:lnTo>
                    <a:pt x="2640" y="2960"/>
                  </a:lnTo>
                  <a:lnTo>
                    <a:pt x="2638" y="2960"/>
                  </a:lnTo>
                  <a:lnTo>
                    <a:pt x="2636" y="2960"/>
                  </a:lnTo>
                  <a:lnTo>
                    <a:pt x="2636" y="2960"/>
                  </a:lnTo>
                  <a:lnTo>
                    <a:pt x="2636" y="2960"/>
                  </a:lnTo>
                  <a:lnTo>
                    <a:pt x="2634" y="2960"/>
                  </a:lnTo>
                  <a:lnTo>
                    <a:pt x="2628" y="2962"/>
                  </a:lnTo>
                  <a:lnTo>
                    <a:pt x="2622" y="2966"/>
                  </a:lnTo>
                  <a:lnTo>
                    <a:pt x="2622" y="2966"/>
                  </a:lnTo>
                  <a:lnTo>
                    <a:pt x="2620" y="2966"/>
                  </a:lnTo>
                  <a:lnTo>
                    <a:pt x="2620" y="2968"/>
                  </a:lnTo>
                  <a:lnTo>
                    <a:pt x="2620" y="2968"/>
                  </a:lnTo>
                  <a:lnTo>
                    <a:pt x="2622" y="2970"/>
                  </a:lnTo>
                  <a:lnTo>
                    <a:pt x="2624" y="2970"/>
                  </a:lnTo>
                  <a:lnTo>
                    <a:pt x="2630" y="2970"/>
                  </a:lnTo>
                  <a:lnTo>
                    <a:pt x="2632" y="2968"/>
                  </a:lnTo>
                  <a:lnTo>
                    <a:pt x="2636" y="2968"/>
                  </a:lnTo>
                  <a:lnTo>
                    <a:pt x="2638" y="2968"/>
                  </a:lnTo>
                  <a:lnTo>
                    <a:pt x="2640" y="2968"/>
                  </a:lnTo>
                  <a:lnTo>
                    <a:pt x="2640" y="2968"/>
                  </a:lnTo>
                  <a:lnTo>
                    <a:pt x="2640" y="2968"/>
                  </a:lnTo>
                  <a:lnTo>
                    <a:pt x="2640" y="2968"/>
                  </a:lnTo>
                  <a:lnTo>
                    <a:pt x="2642" y="2966"/>
                  </a:lnTo>
                  <a:lnTo>
                    <a:pt x="2642" y="2966"/>
                  </a:lnTo>
                  <a:lnTo>
                    <a:pt x="2642" y="2962"/>
                  </a:lnTo>
                  <a:lnTo>
                    <a:pt x="2642" y="2962"/>
                  </a:lnTo>
                  <a:close/>
                  <a:moveTo>
                    <a:pt x="2772" y="3042"/>
                  </a:moveTo>
                  <a:lnTo>
                    <a:pt x="2772" y="3042"/>
                  </a:lnTo>
                  <a:lnTo>
                    <a:pt x="2772" y="3042"/>
                  </a:lnTo>
                  <a:lnTo>
                    <a:pt x="2768" y="3042"/>
                  </a:lnTo>
                  <a:lnTo>
                    <a:pt x="2764" y="3042"/>
                  </a:lnTo>
                  <a:lnTo>
                    <a:pt x="2758" y="3042"/>
                  </a:lnTo>
                  <a:lnTo>
                    <a:pt x="2758" y="3042"/>
                  </a:lnTo>
                  <a:lnTo>
                    <a:pt x="2756" y="3042"/>
                  </a:lnTo>
                  <a:lnTo>
                    <a:pt x="2754" y="3044"/>
                  </a:lnTo>
                  <a:lnTo>
                    <a:pt x="2754" y="3044"/>
                  </a:lnTo>
                  <a:lnTo>
                    <a:pt x="2754" y="3044"/>
                  </a:lnTo>
                  <a:lnTo>
                    <a:pt x="2752" y="3046"/>
                  </a:lnTo>
                  <a:lnTo>
                    <a:pt x="2752" y="3046"/>
                  </a:lnTo>
                  <a:lnTo>
                    <a:pt x="2750" y="3048"/>
                  </a:lnTo>
                  <a:lnTo>
                    <a:pt x="2750" y="3050"/>
                  </a:lnTo>
                  <a:lnTo>
                    <a:pt x="2750" y="3050"/>
                  </a:lnTo>
                  <a:lnTo>
                    <a:pt x="2750" y="3050"/>
                  </a:lnTo>
                  <a:lnTo>
                    <a:pt x="2750" y="3054"/>
                  </a:lnTo>
                  <a:lnTo>
                    <a:pt x="2750" y="3054"/>
                  </a:lnTo>
                  <a:lnTo>
                    <a:pt x="2750" y="3054"/>
                  </a:lnTo>
                  <a:lnTo>
                    <a:pt x="2750" y="3056"/>
                  </a:lnTo>
                  <a:lnTo>
                    <a:pt x="2750" y="3056"/>
                  </a:lnTo>
                  <a:lnTo>
                    <a:pt x="2750" y="3058"/>
                  </a:lnTo>
                  <a:lnTo>
                    <a:pt x="2752" y="3060"/>
                  </a:lnTo>
                  <a:lnTo>
                    <a:pt x="2752" y="3060"/>
                  </a:lnTo>
                  <a:lnTo>
                    <a:pt x="2752" y="3060"/>
                  </a:lnTo>
                  <a:lnTo>
                    <a:pt x="2754" y="3062"/>
                  </a:lnTo>
                  <a:lnTo>
                    <a:pt x="2758" y="3064"/>
                  </a:lnTo>
                  <a:lnTo>
                    <a:pt x="2758" y="3064"/>
                  </a:lnTo>
                  <a:lnTo>
                    <a:pt x="2760" y="3064"/>
                  </a:lnTo>
                  <a:lnTo>
                    <a:pt x="2762" y="3064"/>
                  </a:lnTo>
                  <a:lnTo>
                    <a:pt x="2764" y="3062"/>
                  </a:lnTo>
                  <a:lnTo>
                    <a:pt x="2766" y="3062"/>
                  </a:lnTo>
                  <a:lnTo>
                    <a:pt x="2766" y="3062"/>
                  </a:lnTo>
                  <a:lnTo>
                    <a:pt x="2766" y="3062"/>
                  </a:lnTo>
                  <a:lnTo>
                    <a:pt x="2768" y="3060"/>
                  </a:lnTo>
                  <a:lnTo>
                    <a:pt x="2768" y="3060"/>
                  </a:lnTo>
                  <a:lnTo>
                    <a:pt x="2768" y="3060"/>
                  </a:lnTo>
                  <a:lnTo>
                    <a:pt x="2768" y="3060"/>
                  </a:lnTo>
                  <a:lnTo>
                    <a:pt x="2768" y="3058"/>
                  </a:lnTo>
                  <a:lnTo>
                    <a:pt x="2768" y="3058"/>
                  </a:lnTo>
                  <a:lnTo>
                    <a:pt x="2770" y="3056"/>
                  </a:lnTo>
                  <a:lnTo>
                    <a:pt x="2772" y="3052"/>
                  </a:lnTo>
                  <a:lnTo>
                    <a:pt x="2774" y="3050"/>
                  </a:lnTo>
                  <a:lnTo>
                    <a:pt x="2774" y="3050"/>
                  </a:lnTo>
                  <a:lnTo>
                    <a:pt x="2774" y="3050"/>
                  </a:lnTo>
                  <a:lnTo>
                    <a:pt x="2776" y="3048"/>
                  </a:lnTo>
                  <a:lnTo>
                    <a:pt x="2776" y="3048"/>
                  </a:lnTo>
                  <a:lnTo>
                    <a:pt x="2776" y="3046"/>
                  </a:lnTo>
                  <a:lnTo>
                    <a:pt x="2776" y="3046"/>
                  </a:lnTo>
                  <a:lnTo>
                    <a:pt x="2776" y="3046"/>
                  </a:lnTo>
                  <a:lnTo>
                    <a:pt x="2776" y="3046"/>
                  </a:lnTo>
                  <a:lnTo>
                    <a:pt x="2778" y="3048"/>
                  </a:lnTo>
                  <a:lnTo>
                    <a:pt x="2778" y="3048"/>
                  </a:lnTo>
                  <a:lnTo>
                    <a:pt x="2778" y="3048"/>
                  </a:lnTo>
                  <a:lnTo>
                    <a:pt x="2780" y="3050"/>
                  </a:lnTo>
                  <a:lnTo>
                    <a:pt x="2782" y="3050"/>
                  </a:lnTo>
                  <a:lnTo>
                    <a:pt x="2782" y="3050"/>
                  </a:lnTo>
                  <a:lnTo>
                    <a:pt x="2782" y="3050"/>
                  </a:lnTo>
                  <a:lnTo>
                    <a:pt x="2786" y="3050"/>
                  </a:lnTo>
                  <a:lnTo>
                    <a:pt x="2790" y="3050"/>
                  </a:lnTo>
                  <a:lnTo>
                    <a:pt x="2794" y="3050"/>
                  </a:lnTo>
                  <a:lnTo>
                    <a:pt x="2794" y="3050"/>
                  </a:lnTo>
                  <a:lnTo>
                    <a:pt x="2796" y="3050"/>
                  </a:lnTo>
                  <a:lnTo>
                    <a:pt x="2798" y="3048"/>
                  </a:lnTo>
                  <a:lnTo>
                    <a:pt x="2798" y="3046"/>
                  </a:lnTo>
                  <a:lnTo>
                    <a:pt x="2800" y="3044"/>
                  </a:lnTo>
                  <a:lnTo>
                    <a:pt x="2800" y="3044"/>
                  </a:lnTo>
                  <a:lnTo>
                    <a:pt x="2800" y="3042"/>
                  </a:lnTo>
                  <a:lnTo>
                    <a:pt x="2800" y="3042"/>
                  </a:lnTo>
                  <a:lnTo>
                    <a:pt x="2800" y="3042"/>
                  </a:lnTo>
                  <a:lnTo>
                    <a:pt x="2800" y="3040"/>
                  </a:lnTo>
                  <a:lnTo>
                    <a:pt x="2798" y="3040"/>
                  </a:lnTo>
                  <a:lnTo>
                    <a:pt x="2798" y="3040"/>
                  </a:lnTo>
                  <a:lnTo>
                    <a:pt x="2798" y="3038"/>
                  </a:lnTo>
                  <a:lnTo>
                    <a:pt x="2798" y="3036"/>
                  </a:lnTo>
                  <a:lnTo>
                    <a:pt x="2798" y="3036"/>
                  </a:lnTo>
                  <a:lnTo>
                    <a:pt x="2796" y="3036"/>
                  </a:lnTo>
                  <a:lnTo>
                    <a:pt x="2794" y="3036"/>
                  </a:lnTo>
                  <a:lnTo>
                    <a:pt x="2792" y="3034"/>
                  </a:lnTo>
                  <a:lnTo>
                    <a:pt x="2790" y="3034"/>
                  </a:lnTo>
                  <a:lnTo>
                    <a:pt x="2790" y="3034"/>
                  </a:lnTo>
                  <a:lnTo>
                    <a:pt x="2788" y="3034"/>
                  </a:lnTo>
                  <a:lnTo>
                    <a:pt x="2786" y="3034"/>
                  </a:lnTo>
                  <a:lnTo>
                    <a:pt x="2784" y="3034"/>
                  </a:lnTo>
                  <a:lnTo>
                    <a:pt x="2782" y="3034"/>
                  </a:lnTo>
                  <a:lnTo>
                    <a:pt x="2778" y="3034"/>
                  </a:lnTo>
                  <a:lnTo>
                    <a:pt x="2776" y="3036"/>
                  </a:lnTo>
                  <a:lnTo>
                    <a:pt x="2776" y="3036"/>
                  </a:lnTo>
                  <a:lnTo>
                    <a:pt x="2776" y="3036"/>
                  </a:lnTo>
                  <a:lnTo>
                    <a:pt x="2774" y="3036"/>
                  </a:lnTo>
                  <a:lnTo>
                    <a:pt x="2774" y="3036"/>
                  </a:lnTo>
                  <a:lnTo>
                    <a:pt x="2774" y="3038"/>
                  </a:lnTo>
                  <a:lnTo>
                    <a:pt x="2772" y="3038"/>
                  </a:lnTo>
                  <a:lnTo>
                    <a:pt x="2772" y="3038"/>
                  </a:lnTo>
                  <a:lnTo>
                    <a:pt x="2772" y="3042"/>
                  </a:lnTo>
                  <a:lnTo>
                    <a:pt x="2774" y="3044"/>
                  </a:lnTo>
                  <a:lnTo>
                    <a:pt x="2774" y="3044"/>
                  </a:lnTo>
                  <a:lnTo>
                    <a:pt x="2774" y="3044"/>
                  </a:lnTo>
                  <a:lnTo>
                    <a:pt x="2772" y="3042"/>
                  </a:lnTo>
                  <a:close/>
                  <a:moveTo>
                    <a:pt x="2820" y="3210"/>
                  </a:moveTo>
                  <a:lnTo>
                    <a:pt x="2820" y="3210"/>
                  </a:lnTo>
                  <a:lnTo>
                    <a:pt x="2820" y="3210"/>
                  </a:lnTo>
                  <a:lnTo>
                    <a:pt x="2818" y="3206"/>
                  </a:lnTo>
                  <a:lnTo>
                    <a:pt x="2816" y="3204"/>
                  </a:lnTo>
                  <a:lnTo>
                    <a:pt x="2816" y="3204"/>
                  </a:lnTo>
                  <a:lnTo>
                    <a:pt x="2816" y="3204"/>
                  </a:lnTo>
                  <a:lnTo>
                    <a:pt x="2814" y="3200"/>
                  </a:lnTo>
                  <a:lnTo>
                    <a:pt x="2812" y="3198"/>
                  </a:lnTo>
                  <a:lnTo>
                    <a:pt x="2812" y="3198"/>
                  </a:lnTo>
                  <a:lnTo>
                    <a:pt x="2808" y="3198"/>
                  </a:lnTo>
                  <a:lnTo>
                    <a:pt x="2808" y="3198"/>
                  </a:lnTo>
                  <a:lnTo>
                    <a:pt x="2806" y="3198"/>
                  </a:lnTo>
                  <a:lnTo>
                    <a:pt x="2802" y="3206"/>
                  </a:lnTo>
                  <a:lnTo>
                    <a:pt x="2796" y="3214"/>
                  </a:lnTo>
                  <a:lnTo>
                    <a:pt x="2792" y="3218"/>
                  </a:lnTo>
                  <a:lnTo>
                    <a:pt x="2788" y="3220"/>
                  </a:lnTo>
                  <a:lnTo>
                    <a:pt x="2788" y="3222"/>
                  </a:lnTo>
                  <a:lnTo>
                    <a:pt x="2790" y="3218"/>
                  </a:lnTo>
                  <a:lnTo>
                    <a:pt x="2792" y="3212"/>
                  </a:lnTo>
                  <a:lnTo>
                    <a:pt x="2792" y="3208"/>
                  </a:lnTo>
                  <a:lnTo>
                    <a:pt x="2792" y="3208"/>
                  </a:lnTo>
                  <a:lnTo>
                    <a:pt x="2792" y="3204"/>
                  </a:lnTo>
                  <a:lnTo>
                    <a:pt x="2792" y="3204"/>
                  </a:lnTo>
                  <a:lnTo>
                    <a:pt x="2790" y="3204"/>
                  </a:lnTo>
                  <a:lnTo>
                    <a:pt x="2788" y="3204"/>
                  </a:lnTo>
                  <a:lnTo>
                    <a:pt x="2784" y="3208"/>
                  </a:lnTo>
                  <a:lnTo>
                    <a:pt x="2780" y="3210"/>
                  </a:lnTo>
                  <a:lnTo>
                    <a:pt x="2774" y="3212"/>
                  </a:lnTo>
                  <a:lnTo>
                    <a:pt x="2770" y="3214"/>
                  </a:lnTo>
                  <a:lnTo>
                    <a:pt x="2758" y="3216"/>
                  </a:lnTo>
                  <a:lnTo>
                    <a:pt x="2754" y="3218"/>
                  </a:lnTo>
                  <a:lnTo>
                    <a:pt x="2752" y="3218"/>
                  </a:lnTo>
                  <a:lnTo>
                    <a:pt x="2752" y="3216"/>
                  </a:lnTo>
                  <a:lnTo>
                    <a:pt x="2752" y="3216"/>
                  </a:lnTo>
                  <a:lnTo>
                    <a:pt x="2752" y="3216"/>
                  </a:lnTo>
                  <a:lnTo>
                    <a:pt x="2752" y="3212"/>
                  </a:lnTo>
                  <a:lnTo>
                    <a:pt x="2750" y="3210"/>
                  </a:lnTo>
                  <a:lnTo>
                    <a:pt x="2750" y="3210"/>
                  </a:lnTo>
                  <a:lnTo>
                    <a:pt x="2748" y="3208"/>
                  </a:lnTo>
                  <a:lnTo>
                    <a:pt x="2748" y="3208"/>
                  </a:lnTo>
                  <a:lnTo>
                    <a:pt x="2746" y="3208"/>
                  </a:lnTo>
                  <a:lnTo>
                    <a:pt x="2740" y="3212"/>
                  </a:lnTo>
                  <a:lnTo>
                    <a:pt x="2732" y="3218"/>
                  </a:lnTo>
                  <a:lnTo>
                    <a:pt x="2724" y="3222"/>
                  </a:lnTo>
                  <a:lnTo>
                    <a:pt x="2720" y="3222"/>
                  </a:lnTo>
                  <a:lnTo>
                    <a:pt x="2716" y="3224"/>
                  </a:lnTo>
                  <a:lnTo>
                    <a:pt x="2712" y="3224"/>
                  </a:lnTo>
                  <a:lnTo>
                    <a:pt x="2712" y="3224"/>
                  </a:lnTo>
                  <a:lnTo>
                    <a:pt x="2708" y="3224"/>
                  </a:lnTo>
                  <a:lnTo>
                    <a:pt x="2708" y="3224"/>
                  </a:lnTo>
                  <a:lnTo>
                    <a:pt x="2704" y="3224"/>
                  </a:lnTo>
                  <a:lnTo>
                    <a:pt x="2702" y="3224"/>
                  </a:lnTo>
                  <a:lnTo>
                    <a:pt x="2700" y="3222"/>
                  </a:lnTo>
                  <a:lnTo>
                    <a:pt x="2698" y="3218"/>
                  </a:lnTo>
                  <a:lnTo>
                    <a:pt x="2696" y="3214"/>
                  </a:lnTo>
                  <a:lnTo>
                    <a:pt x="2696" y="3216"/>
                  </a:lnTo>
                  <a:lnTo>
                    <a:pt x="2696" y="3210"/>
                  </a:lnTo>
                  <a:lnTo>
                    <a:pt x="2696" y="3210"/>
                  </a:lnTo>
                  <a:lnTo>
                    <a:pt x="2692" y="3208"/>
                  </a:lnTo>
                  <a:lnTo>
                    <a:pt x="2692" y="3208"/>
                  </a:lnTo>
                  <a:lnTo>
                    <a:pt x="2690" y="3210"/>
                  </a:lnTo>
                  <a:lnTo>
                    <a:pt x="2688" y="3212"/>
                  </a:lnTo>
                  <a:lnTo>
                    <a:pt x="2688" y="3212"/>
                  </a:lnTo>
                  <a:lnTo>
                    <a:pt x="2688" y="3212"/>
                  </a:lnTo>
                  <a:lnTo>
                    <a:pt x="2688" y="3214"/>
                  </a:lnTo>
                  <a:lnTo>
                    <a:pt x="2688" y="3214"/>
                  </a:lnTo>
                  <a:lnTo>
                    <a:pt x="2688" y="3216"/>
                  </a:lnTo>
                  <a:lnTo>
                    <a:pt x="2688" y="3216"/>
                  </a:lnTo>
                  <a:lnTo>
                    <a:pt x="2684" y="3216"/>
                  </a:lnTo>
                  <a:lnTo>
                    <a:pt x="2682" y="3216"/>
                  </a:lnTo>
                  <a:lnTo>
                    <a:pt x="2680" y="3214"/>
                  </a:lnTo>
                  <a:lnTo>
                    <a:pt x="2678" y="3214"/>
                  </a:lnTo>
                  <a:lnTo>
                    <a:pt x="2678" y="3214"/>
                  </a:lnTo>
                  <a:lnTo>
                    <a:pt x="2676" y="3212"/>
                  </a:lnTo>
                  <a:lnTo>
                    <a:pt x="2674" y="3210"/>
                  </a:lnTo>
                  <a:lnTo>
                    <a:pt x="2674" y="3208"/>
                  </a:lnTo>
                  <a:lnTo>
                    <a:pt x="2674" y="3208"/>
                  </a:lnTo>
                  <a:lnTo>
                    <a:pt x="2670" y="3206"/>
                  </a:lnTo>
                  <a:lnTo>
                    <a:pt x="2670" y="3206"/>
                  </a:lnTo>
                  <a:lnTo>
                    <a:pt x="2668" y="3206"/>
                  </a:lnTo>
                  <a:lnTo>
                    <a:pt x="2664" y="3206"/>
                  </a:lnTo>
                  <a:lnTo>
                    <a:pt x="2662" y="3208"/>
                  </a:lnTo>
                  <a:lnTo>
                    <a:pt x="2660" y="3208"/>
                  </a:lnTo>
                  <a:lnTo>
                    <a:pt x="2660" y="3208"/>
                  </a:lnTo>
                  <a:lnTo>
                    <a:pt x="2660" y="3208"/>
                  </a:lnTo>
                  <a:lnTo>
                    <a:pt x="2658" y="3210"/>
                  </a:lnTo>
                  <a:lnTo>
                    <a:pt x="2658" y="3212"/>
                  </a:lnTo>
                  <a:lnTo>
                    <a:pt x="2658" y="3212"/>
                  </a:lnTo>
                  <a:lnTo>
                    <a:pt x="2656" y="3214"/>
                  </a:lnTo>
                  <a:lnTo>
                    <a:pt x="2656" y="3214"/>
                  </a:lnTo>
                  <a:lnTo>
                    <a:pt x="2656" y="3214"/>
                  </a:lnTo>
                  <a:lnTo>
                    <a:pt x="2658" y="3216"/>
                  </a:lnTo>
                  <a:lnTo>
                    <a:pt x="2658" y="3218"/>
                  </a:lnTo>
                  <a:lnTo>
                    <a:pt x="2658" y="3218"/>
                  </a:lnTo>
                  <a:lnTo>
                    <a:pt x="2658" y="3220"/>
                  </a:lnTo>
                  <a:lnTo>
                    <a:pt x="2660" y="3222"/>
                  </a:lnTo>
                  <a:lnTo>
                    <a:pt x="2660" y="3222"/>
                  </a:lnTo>
                  <a:lnTo>
                    <a:pt x="2658" y="3222"/>
                  </a:lnTo>
                  <a:lnTo>
                    <a:pt x="2656" y="3222"/>
                  </a:lnTo>
                  <a:lnTo>
                    <a:pt x="2656" y="3222"/>
                  </a:lnTo>
                  <a:lnTo>
                    <a:pt x="2656" y="3222"/>
                  </a:lnTo>
                  <a:lnTo>
                    <a:pt x="2654" y="3222"/>
                  </a:lnTo>
                  <a:lnTo>
                    <a:pt x="2654" y="3222"/>
                  </a:lnTo>
                  <a:lnTo>
                    <a:pt x="2654" y="3222"/>
                  </a:lnTo>
                  <a:lnTo>
                    <a:pt x="2652" y="3224"/>
                  </a:lnTo>
                  <a:lnTo>
                    <a:pt x="2652" y="3224"/>
                  </a:lnTo>
                  <a:lnTo>
                    <a:pt x="2652" y="3226"/>
                  </a:lnTo>
                  <a:lnTo>
                    <a:pt x="2652" y="3226"/>
                  </a:lnTo>
                  <a:lnTo>
                    <a:pt x="2652" y="3228"/>
                  </a:lnTo>
                  <a:lnTo>
                    <a:pt x="2652" y="3228"/>
                  </a:lnTo>
                  <a:lnTo>
                    <a:pt x="2654" y="3230"/>
                  </a:lnTo>
                  <a:lnTo>
                    <a:pt x="2654" y="3232"/>
                  </a:lnTo>
                  <a:lnTo>
                    <a:pt x="2656" y="3234"/>
                  </a:lnTo>
                  <a:lnTo>
                    <a:pt x="2656" y="3238"/>
                  </a:lnTo>
                  <a:lnTo>
                    <a:pt x="2658" y="3240"/>
                  </a:lnTo>
                  <a:lnTo>
                    <a:pt x="2660" y="3240"/>
                  </a:lnTo>
                  <a:lnTo>
                    <a:pt x="2658" y="3242"/>
                  </a:lnTo>
                  <a:lnTo>
                    <a:pt x="2658" y="3242"/>
                  </a:lnTo>
                  <a:lnTo>
                    <a:pt x="2658" y="3242"/>
                  </a:lnTo>
                  <a:lnTo>
                    <a:pt x="2656" y="3242"/>
                  </a:lnTo>
                  <a:lnTo>
                    <a:pt x="2656" y="3242"/>
                  </a:lnTo>
                  <a:lnTo>
                    <a:pt x="2656" y="3242"/>
                  </a:lnTo>
                  <a:lnTo>
                    <a:pt x="2654" y="3242"/>
                  </a:lnTo>
                  <a:lnTo>
                    <a:pt x="2654" y="3242"/>
                  </a:lnTo>
                  <a:lnTo>
                    <a:pt x="2654" y="3246"/>
                  </a:lnTo>
                  <a:lnTo>
                    <a:pt x="2654" y="3246"/>
                  </a:lnTo>
                  <a:lnTo>
                    <a:pt x="2656" y="3248"/>
                  </a:lnTo>
                  <a:lnTo>
                    <a:pt x="2664" y="3250"/>
                  </a:lnTo>
                  <a:lnTo>
                    <a:pt x="2664" y="3250"/>
                  </a:lnTo>
                  <a:lnTo>
                    <a:pt x="2666" y="3250"/>
                  </a:lnTo>
                  <a:lnTo>
                    <a:pt x="2670" y="3248"/>
                  </a:lnTo>
                  <a:lnTo>
                    <a:pt x="2670" y="3248"/>
                  </a:lnTo>
                  <a:lnTo>
                    <a:pt x="2672" y="3246"/>
                  </a:lnTo>
                  <a:lnTo>
                    <a:pt x="2672" y="3246"/>
                  </a:lnTo>
                  <a:lnTo>
                    <a:pt x="2676" y="3246"/>
                  </a:lnTo>
                  <a:lnTo>
                    <a:pt x="2680" y="3246"/>
                  </a:lnTo>
                  <a:lnTo>
                    <a:pt x="2684" y="3246"/>
                  </a:lnTo>
                  <a:lnTo>
                    <a:pt x="2688" y="3248"/>
                  </a:lnTo>
                  <a:lnTo>
                    <a:pt x="2692" y="3250"/>
                  </a:lnTo>
                  <a:lnTo>
                    <a:pt x="2694" y="3254"/>
                  </a:lnTo>
                  <a:lnTo>
                    <a:pt x="2694" y="3254"/>
                  </a:lnTo>
                  <a:lnTo>
                    <a:pt x="2696" y="3254"/>
                  </a:lnTo>
                  <a:lnTo>
                    <a:pt x="2700" y="3254"/>
                  </a:lnTo>
                  <a:lnTo>
                    <a:pt x="2702" y="3254"/>
                  </a:lnTo>
                  <a:lnTo>
                    <a:pt x="2708" y="3254"/>
                  </a:lnTo>
                  <a:lnTo>
                    <a:pt x="2716" y="3254"/>
                  </a:lnTo>
                  <a:lnTo>
                    <a:pt x="2722" y="3256"/>
                  </a:lnTo>
                  <a:lnTo>
                    <a:pt x="2728" y="3258"/>
                  </a:lnTo>
                  <a:lnTo>
                    <a:pt x="2732" y="3258"/>
                  </a:lnTo>
                  <a:lnTo>
                    <a:pt x="2736" y="3258"/>
                  </a:lnTo>
                  <a:lnTo>
                    <a:pt x="2738" y="3256"/>
                  </a:lnTo>
                  <a:lnTo>
                    <a:pt x="2742" y="3256"/>
                  </a:lnTo>
                  <a:lnTo>
                    <a:pt x="2746" y="3254"/>
                  </a:lnTo>
                  <a:lnTo>
                    <a:pt x="2746" y="3254"/>
                  </a:lnTo>
                  <a:lnTo>
                    <a:pt x="2746" y="3254"/>
                  </a:lnTo>
                  <a:lnTo>
                    <a:pt x="2748" y="3252"/>
                  </a:lnTo>
                  <a:lnTo>
                    <a:pt x="2752" y="3252"/>
                  </a:lnTo>
                  <a:lnTo>
                    <a:pt x="2752" y="3252"/>
                  </a:lnTo>
                  <a:lnTo>
                    <a:pt x="2758" y="3254"/>
                  </a:lnTo>
                  <a:lnTo>
                    <a:pt x="2764" y="3252"/>
                  </a:lnTo>
                  <a:lnTo>
                    <a:pt x="2770" y="3252"/>
                  </a:lnTo>
                  <a:lnTo>
                    <a:pt x="2778" y="3250"/>
                  </a:lnTo>
                  <a:lnTo>
                    <a:pt x="2786" y="3248"/>
                  </a:lnTo>
                  <a:lnTo>
                    <a:pt x="2792" y="3244"/>
                  </a:lnTo>
                  <a:lnTo>
                    <a:pt x="2800" y="3240"/>
                  </a:lnTo>
                  <a:lnTo>
                    <a:pt x="2806" y="3236"/>
                  </a:lnTo>
                  <a:lnTo>
                    <a:pt x="2812" y="3232"/>
                  </a:lnTo>
                  <a:lnTo>
                    <a:pt x="2812" y="3232"/>
                  </a:lnTo>
                  <a:lnTo>
                    <a:pt x="2816" y="3228"/>
                  </a:lnTo>
                  <a:lnTo>
                    <a:pt x="2816" y="3228"/>
                  </a:lnTo>
                  <a:lnTo>
                    <a:pt x="2816" y="3228"/>
                  </a:lnTo>
                  <a:lnTo>
                    <a:pt x="2818" y="3226"/>
                  </a:lnTo>
                  <a:lnTo>
                    <a:pt x="2820" y="3222"/>
                  </a:lnTo>
                  <a:lnTo>
                    <a:pt x="2820" y="3222"/>
                  </a:lnTo>
                  <a:lnTo>
                    <a:pt x="2820" y="3222"/>
                  </a:lnTo>
                  <a:lnTo>
                    <a:pt x="2820" y="3220"/>
                  </a:lnTo>
                  <a:lnTo>
                    <a:pt x="2820" y="3220"/>
                  </a:lnTo>
                  <a:lnTo>
                    <a:pt x="2820" y="3220"/>
                  </a:lnTo>
                  <a:lnTo>
                    <a:pt x="2820" y="3216"/>
                  </a:lnTo>
                  <a:lnTo>
                    <a:pt x="2820" y="3214"/>
                  </a:lnTo>
                  <a:lnTo>
                    <a:pt x="2820" y="3214"/>
                  </a:lnTo>
                  <a:lnTo>
                    <a:pt x="2820" y="3214"/>
                  </a:lnTo>
                  <a:lnTo>
                    <a:pt x="2820" y="3210"/>
                  </a:lnTo>
                  <a:close/>
                  <a:moveTo>
                    <a:pt x="2894" y="3110"/>
                  </a:moveTo>
                  <a:lnTo>
                    <a:pt x="2892" y="3110"/>
                  </a:lnTo>
                  <a:lnTo>
                    <a:pt x="2890" y="3110"/>
                  </a:lnTo>
                  <a:lnTo>
                    <a:pt x="2890" y="3110"/>
                  </a:lnTo>
                  <a:lnTo>
                    <a:pt x="2890" y="3110"/>
                  </a:lnTo>
                  <a:lnTo>
                    <a:pt x="2888" y="3110"/>
                  </a:lnTo>
                  <a:lnTo>
                    <a:pt x="2884" y="3114"/>
                  </a:lnTo>
                  <a:lnTo>
                    <a:pt x="2878" y="3114"/>
                  </a:lnTo>
                  <a:lnTo>
                    <a:pt x="2874" y="3116"/>
                  </a:lnTo>
                  <a:lnTo>
                    <a:pt x="2874" y="3116"/>
                  </a:lnTo>
                  <a:lnTo>
                    <a:pt x="2872" y="3116"/>
                  </a:lnTo>
                  <a:lnTo>
                    <a:pt x="2870" y="3116"/>
                  </a:lnTo>
                  <a:lnTo>
                    <a:pt x="2870" y="3116"/>
                  </a:lnTo>
                  <a:lnTo>
                    <a:pt x="2870" y="3118"/>
                  </a:lnTo>
                  <a:lnTo>
                    <a:pt x="2868" y="3118"/>
                  </a:lnTo>
                  <a:lnTo>
                    <a:pt x="2868" y="3118"/>
                  </a:lnTo>
                  <a:lnTo>
                    <a:pt x="2866" y="3120"/>
                  </a:lnTo>
                  <a:lnTo>
                    <a:pt x="2866" y="3120"/>
                  </a:lnTo>
                  <a:lnTo>
                    <a:pt x="2866" y="3122"/>
                  </a:lnTo>
                  <a:lnTo>
                    <a:pt x="2864" y="3122"/>
                  </a:lnTo>
                  <a:lnTo>
                    <a:pt x="2862" y="3124"/>
                  </a:lnTo>
                  <a:lnTo>
                    <a:pt x="2862" y="3124"/>
                  </a:lnTo>
                  <a:lnTo>
                    <a:pt x="2860" y="3124"/>
                  </a:lnTo>
                  <a:lnTo>
                    <a:pt x="2858" y="3126"/>
                  </a:lnTo>
                  <a:lnTo>
                    <a:pt x="2858" y="3126"/>
                  </a:lnTo>
                  <a:lnTo>
                    <a:pt x="2858" y="3128"/>
                  </a:lnTo>
                  <a:lnTo>
                    <a:pt x="2856" y="3130"/>
                  </a:lnTo>
                  <a:lnTo>
                    <a:pt x="2856" y="3130"/>
                  </a:lnTo>
                  <a:lnTo>
                    <a:pt x="2856" y="3130"/>
                  </a:lnTo>
                  <a:lnTo>
                    <a:pt x="2856" y="3134"/>
                  </a:lnTo>
                  <a:lnTo>
                    <a:pt x="2856" y="3134"/>
                  </a:lnTo>
                  <a:lnTo>
                    <a:pt x="2856" y="3138"/>
                  </a:lnTo>
                  <a:lnTo>
                    <a:pt x="2856" y="3138"/>
                  </a:lnTo>
                  <a:lnTo>
                    <a:pt x="2858" y="3142"/>
                  </a:lnTo>
                  <a:lnTo>
                    <a:pt x="2858" y="3146"/>
                  </a:lnTo>
                  <a:lnTo>
                    <a:pt x="2860" y="3148"/>
                  </a:lnTo>
                  <a:lnTo>
                    <a:pt x="2860" y="3148"/>
                  </a:lnTo>
                  <a:lnTo>
                    <a:pt x="2862" y="3150"/>
                  </a:lnTo>
                  <a:lnTo>
                    <a:pt x="2864" y="3150"/>
                  </a:lnTo>
                  <a:lnTo>
                    <a:pt x="2864" y="3152"/>
                  </a:lnTo>
                  <a:lnTo>
                    <a:pt x="2864" y="3152"/>
                  </a:lnTo>
                  <a:lnTo>
                    <a:pt x="2866" y="3152"/>
                  </a:lnTo>
                  <a:lnTo>
                    <a:pt x="2866" y="3152"/>
                  </a:lnTo>
                  <a:lnTo>
                    <a:pt x="2866" y="3152"/>
                  </a:lnTo>
                  <a:lnTo>
                    <a:pt x="2868" y="3152"/>
                  </a:lnTo>
                  <a:lnTo>
                    <a:pt x="2868" y="3152"/>
                  </a:lnTo>
                  <a:lnTo>
                    <a:pt x="2868" y="3152"/>
                  </a:lnTo>
                  <a:lnTo>
                    <a:pt x="2870" y="3152"/>
                  </a:lnTo>
                  <a:lnTo>
                    <a:pt x="2872" y="3152"/>
                  </a:lnTo>
                  <a:lnTo>
                    <a:pt x="2872" y="3152"/>
                  </a:lnTo>
                  <a:lnTo>
                    <a:pt x="2874" y="3152"/>
                  </a:lnTo>
                  <a:lnTo>
                    <a:pt x="2876" y="3150"/>
                  </a:lnTo>
                  <a:lnTo>
                    <a:pt x="2876" y="3150"/>
                  </a:lnTo>
                  <a:lnTo>
                    <a:pt x="2880" y="3150"/>
                  </a:lnTo>
                  <a:lnTo>
                    <a:pt x="2880" y="3150"/>
                  </a:lnTo>
                  <a:lnTo>
                    <a:pt x="2880" y="3148"/>
                  </a:lnTo>
                  <a:lnTo>
                    <a:pt x="2882" y="3148"/>
                  </a:lnTo>
                  <a:lnTo>
                    <a:pt x="2882" y="3148"/>
                  </a:lnTo>
                  <a:lnTo>
                    <a:pt x="2882" y="3148"/>
                  </a:lnTo>
                  <a:lnTo>
                    <a:pt x="2884" y="3146"/>
                  </a:lnTo>
                  <a:lnTo>
                    <a:pt x="2884" y="3146"/>
                  </a:lnTo>
                  <a:lnTo>
                    <a:pt x="2884" y="3146"/>
                  </a:lnTo>
                  <a:lnTo>
                    <a:pt x="2886" y="3144"/>
                  </a:lnTo>
                  <a:lnTo>
                    <a:pt x="2886" y="3144"/>
                  </a:lnTo>
                  <a:lnTo>
                    <a:pt x="2886" y="3142"/>
                  </a:lnTo>
                  <a:lnTo>
                    <a:pt x="2888" y="3138"/>
                  </a:lnTo>
                  <a:lnTo>
                    <a:pt x="2888" y="3134"/>
                  </a:lnTo>
                  <a:lnTo>
                    <a:pt x="2888" y="3130"/>
                  </a:lnTo>
                  <a:lnTo>
                    <a:pt x="2890" y="3128"/>
                  </a:lnTo>
                  <a:lnTo>
                    <a:pt x="2892" y="3124"/>
                  </a:lnTo>
                  <a:lnTo>
                    <a:pt x="2894" y="3120"/>
                  </a:lnTo>
                  <a:lnTo>
                    <a:pt x="2896" y="3116"/>
                  </a:lnTo>
                  <a:lnTo>
                    <a:pt x="2896" y="3114"/>
                  </a:lnTo>
                  <a:lnTo>
                    <a:pt x="2896" y="3114"/>
                  </a:lnTo>
                  <a:lnTo>
                    <a:pt x="2896" y="3112"/>
                  </a:lnTo>
                  <a:lnTo>
                    <a:pt x="2896" y="3112"/>
                  </a:lnTo>
                  <a:lnTo>
                    <a:pt x="2894" y="3110"/>
                  </a:lnTo>
                  <a:lnTo>
                    <a:pt x="2894" y="3110"/>
                  </a:lnTo>
                  <a:close/>
                  <a:moveTo>
                    <a:pt x="2472" y="3056"/>
                  </a:moveTo>
                  <a:lnTo>
                    <a:pt x="2472" y="3056"/>
                  </a:lnTo>
                  <a:lnTo>
                    <a:pt x="2472" y="3054"/>
                  </a:lnTo>
                  <a:lnTo>
                    <a:pt x="2454" y="3042"/>
                  </a:lnTo>
                  <a:lnTo>
                    <a:pt x="2454" y="3042"/>
                  </a:lnTo>
                  <a:lnTo>
                    <a:pt x="2450" y="3040"/>
                  </a:lnTo>
                  <a:lnTo>
                    <a:pt x="2450" y="3040"/>
                  </a:lnTo>
                  <a:lnTo>
                    <a:pt x="2448" y="3042"/>
                  </a:lnTo>
                  <a:lnTo>
                    <a:pt x="2440" y="3066"/>
                  </a:lnTo>
                  <a:lnTo>
                    <a:pt x="2440" y="3066"/>
                  </a:lnTo>
                  <a:lnTo>
                    <a:pt x="2440" y="3070"/>
                  </a:lnTo>
                  <a:lnTo>
                    <a:pt x="2464" y="3088"/>
                  </a:lnTo>
                  <a:lnTo>
                    <a:pt x="2458" y="3098"/>
                  </a:lnTo>
                  <a:lnTo>
                    <a:pt x="2458" y="3098"/>
                  </a:lnTo>
                  <a:lnTo>
                    <a:pt x="2458" y="3100"/>
                  </a:lnTo>
                  <a:lnTo>
                    <a:pt x="2458" y="3100"/>
                  </a:lnTo>
                  <a:lnTo>
                    <a:pt x="2460" y="3102"/>
                  </a:lnTo>
                  <a:lnTo>
                    <a:pt x="2478" y="3104"/>
                  </a:lnTo>
                  <a:lnTo>
                    <a:pt x="2478" y="3104"/>
                  </a:lnTo>
                  <a:lnTo>
                    <a:pt x="2480" y="3104"/>
                  </a:lnTo>
                  <a:lnTo>
                    <a:pt x="2480" y="3104"/>
                  </a:lnTo>
                  <a:lnTo>
                    <a:pt x="2482" y="3100"/>
                  </a:lnTo>
                  <a:lnTo>
                    <a:pt x="2472" y="3056"/>
                  </a:lnTo>
                  <a:close/>
                  <a:moveTo>
                    <a:pt x="2752" y="2994"/>
                  </a:moveTo>
                  <a:lnTo>
                    <a:pt x="2744" y="2990"/>
                  </a:lnTo>
                  <a:lnTo>
                    <a:pt x="2744" y="2990"/>
                  </a:lnTo>
                  <a:lnTo>
                    <a:pt x="2742" y="2990"/>
                  </a:lnTo>
                  <a:lnTo>
                    <a:pt x="2730" y="2994"/>
                  </a:lnTo>
                  <a:lnTo>
                    <a:pt x="2730" y="2994"/>
                  </a:lnTo>
                  <a:lnTo>
                    <a:pt x="2728" y="2996"/>
                  </a:lnTo>
                  <a:lnTo>
                    <a:pt x="2728" y="2996"/>
                  </a:lnTo>
                  <a:lnTo>
                    <a:pt x="2728" y="3000"/>
                  </a:lnTo>
                  <a:lnTo>
                    <a:pt x="2740" y="3008"/>
                  </a:lnTo>
                  <a:lnTo>
                    <a:pt x="2740" y="3022"/>
                  </a:lnTo>
                  <a:lnTo>
                    <a:pt x="2740" y="3022"/>
                  </a:lnTo>
                  <a:lnTo>
                    <a:pt x="2740" y="3024"/>
                  </a:lnTo>
                  <a:lnTo>
                    <a:pt x="2752" y="3028"/>
                  </a:lnTo>
                  <a:lnTo>
                    <a:pt x="2752" y="3028"/>
                  </a:lnTo>
                  <a:lnTo>
                    <a:pt x="2754" y="3028"/>
                  </a:lnTo>
                  <a:lnTo>
                    <a:pt x="2754" y="3028"/>
                  </a:lnTo>
                  <a:lnTo>
                    <a:pt x="2756" y="3026"/>
                  </a:lnTo>
                  <a:lnTo>
                    <a:pt x="2758" y="3012"/>
                  </a:lnTo>
                  <a:lnTo>
                    <a:pt x="2758" y="3012"/>
                  </a:lnTo>
                  <a:lnTo>
                    <a:pt x="2758" y="3012"/>
                  </a:lnTo>
                  <a:lnTo>
                    <a:pt x="2754" y="2996"/>
                  </a:lnTo>
                  <a:lnTo>
                    <a:pt x="2754" y="2996"/>
                  </a:lnTo>
                  <a:lnTo>
                    <a:pt x="2752" y="2994"/>
                  </a:lnTo>
                  <a:lnTo>
                    <a:pt x="2752" y="2994"/>
                  </a:lnTo>
                  <a:close/>
                  <a:moveTo>
                    <a:pt x="2826" y="3096"/>
                  </a:moveTo>
                  <a:lnTo>
                    <a:pt x="2826" y="3096"/>
                  </a:lnTo>
                  <a:lnTo>
                    <a:pt x="2826" y="3094"/>
                  </a:lnTo>
                  <a:lnTo>
                    <a:pt x="2824" y="3090"/>
                  </a:lnTo>
                  <a:lnTo>
                    <a:pt x="2824" y="3088"/>
                  </a:lnTo>
                  <a:lnTo>
                    <a:pt x="2824" y="3088"/>
                  </a:lnTo>
                  <a:lnTo>
                    <a:pt x="2822" y="3086"/>
                  </a:lnTo>
                  <a:lnTo>
                    <a:pt x="2818" y="3084"/>
                  </a:lnTo>
                  <a:lnTo>
                    <a:pt x="2814" y="3082"/>
                  </a:lnTo>
                  <a:lnTo>
                    <a:pt x="2812" y="3080"/>
                  </a:lnTo>
                  <a:lnTo>
                    <a:pt x="2810" y="3080"/>
                  </a:lnTo>
                  <a:lnTo>
                    <a:pt x="2810" y="3080"/>
                  </a:lnTo>
                  <a:lnTo>
                    <a:pt x="2810" y="3080"/>
                  </a:lnTo>
                  <a:lnTo>
                    <a:pt x="2808" y="3080"/>
                  </a:lnTo>
                  <a:lnTo>
                    <a:pt x="2806" y="3080"/>
                  </a:lnTo>
                  <a:lnTo>
                    <a:pt x="2804" y="3080"/>
                  </a:lnTo>
                  <a:lnTo>
                    <a:pt x="2804" y="3080"/>
                  </a:lnTo>
                  <a:lnTo>
                    <a:pt x="2804" y="3080"/>
                  </a:lnTo>
                  <a:lnTo>
                    <a:pt x="2802" y="3082"/>
                  </a:lnTo>
                  <a:lnTo>
                    <a:pt x="2800" y="3082"/>
                  </a:lnTo>
                  <a:lnTo>
                    <a:pt x="2800" y="3084"/>
                  </a:lnTo>
                  <a:lnTo>
                    <a:pt x="2800" y="3084"/>
                  </a:lnTo>
                  <a:lnTo>
                    <a:pt x="2800" y="3084"/>
                  </a:lnTo>
                  <a:lnTo>
                    <a:pt x="2798" y="3086"/>
                  </a:lnTo>
                  <a:lnTo>
                    <a:pt x="2798" y="3086"/>
                  </a:lnTo>
                  <a:lnTo>
                    <a:pt x="2798" y="3088"/>
                  </a:lnTo>
                  <a:lnTo>
                    <a:pt x="2800" y="3092"/>
                  </a:lnTo>
                  <a:lnTo>
                    <a:pt x="2802" y="3096"/>
                  </a:lnTo>
                  <a:lnTo>
                    <a:pt x="2804" y="3100"/>
                  </a:lnTo>
                  <a:lnTo>
                    <a:pt x="2808" y="3104"/>
                  </a:lnTo>
                  <a:lnTo>
                    <a:pt x="2808" y="3104"/>
                  </a:lnTo>
                  <a:lnTo>
                    <a:pt x="2810" y="3106"/>
                  </a:lnTo>
                  <a:lnTo>
                    <a:pt x="2814" y="3104"/>
                  </a:lnTo>
                  <a:lnTo>
                    <a:pt x="2818" y="3104"/>
                  </a:lnTo>
                  <a:lnTo>
                    <a:pt x="2822" y="3102"/>
                  </a:lnTo>
                  <a:lnTo>
                    <a:pt x="2824" y="3102"/>
                  </a:lnTo>
                  <a:lnTo>
                    <a:pt x="2824" y="3102"/>
                  </a:lnTo>
                  <a:lnTo>
                    <a:pt x="2826" y="3100"/>
                  </a:lnTo>
                  <a:lnTo>
                    <a:pt x="2826" y="3100"/>
                  </a:lnTo>
                  <a:lnTo>
                    <a:pt x="2826" y="3096"/>
                  </a:lnTo>
                  <a:lnTo>
                    <a:pt x="2826" y="3096"/>
                  </a:lnTo>
                  <a:close/>
                  <a:moveTo>
                    <a:pt x="1470" y="1558"/>
                  </a:moveTo>
                  <a:lnTo>
                    <a:pt x="1470" y="1558"/>
                  </a:lnTo>
                  <a:lnTo>
                    <a:pt x="1470" y="1558"/>
                  </a:lnTo>
                  <a:lnTo>
                    <a:pt x="1472" y="1560"/>
                  </a:lnTo>
                  <a:lnTo>
                    <a:pt x="1472" y="1560"/>
                  </a:lnTo>
                  <a:lnTo>
                    <a:pt x="1472" y="1560"/>
                  </a:lnTo>
                  <a:lnTo>
                    <a:pt x="1474" y="1562"/>
                  </a:lnTo>
                  <a:lnTo>
                    <a:pt x="1474" y="1562"/>
                  </a:lnTo>
                  <a:lnTo>
                    <a:pt x="1474" y="1562"/>
                  </a:lnTo>
                  <a:lnTo>
                    <a:pt x="1476" y="1564"/>
                  </a:lnTo>
                  <a:lnTo>
                    <a:pt x="1476" y="1564"/>
                  </a:lnTo>
                  <a:lnTo>
                    <a:pt x="1474" y="1566"/>
                  </a:lnTo>
                  <a:lnTo>
                    <a:pt x="1474" y="1568"/>
                  </a:lnTo>
                  <a:lnTo>
                    <a:pt x="1472" y="1574"/>
                  </a:lnTo>
                  <a:lnTo>
                    <a:pt x="1470" y="1576"/>
                  </a:lnTo>
                  <a:lnTo>
                    <a:pt x="1470" y="1578"/>
                  </a:lnTo>
                  <a:lnTo>
                    <a:pt x="1470" y="1578"/>
                  </a:lnTo>
                  <a:lnTo>
                    <a:pt x="1470" y="1580"/>
                  </a:lnTo>
                  <a:lnTo>
                    <a:pt x="1470" y="1582"/>
                  </a:lnTo>
                  <a:lnTo>
                    <a:pt x="1472" y="1582"/>
                  </a:lnTo>
                  <a:lnTo>
                    <a:pt x="1472" y="1582"/>
                  </a:lnTo>
                  <a:lnTo>
                    <a:pt x="1472" y="1582"/>
                  </a:lnTo>
                  <a:lnTo>
                    <a:pt x="1474" y="1582"/>
                  </a:lnTo>
                  <a:lnTo>
                    <a:pt x="1474" y="1582"/>
                  </a:lnTo>
                  <a:lnTo>
                    <a:pt x="1474" y="1582"/>
                  </a:lnTo>
                  <a:lnTo>
                    <a:pt x="1476" y="1582"/>
                  </a:lnTo>
                  <a:lnTo>
                    <a:pt x="1478" y="1582"/>
                  </a:lnTo>
                  <a:lnTo>
                    <a:pt x="1478" y="1582"/>
                  </a:lnTo>
                  <a:lnTo>
                    <a:pt x="1478" y="1586"/>
                  </a:lnTo>
                  <a:lnTo>
                    <a:pt x="1478" y="1592"/>
                  </a:lnTo>
                  <a:lnTo>
                    <a:pt x="1478" y="1596"/>
                  </a:lnTo>
                  <a:lnTo>
                    <a:pt x="1478" y="1596"/>
                  </a:lnTo>
                  <a:lnTo>
                    <a:pt x="1480" y="1598"/>
                  </a:lnTo>
                  <a:lnTo>
                    <a:pt x="1480" y="1598"/>
                  </a:lnTo>
                  <a:lnTo>
                    <a:pt x="1482" y="1598"/>
                  </a:lnTo>
                  <a:lnTo>
                    <a:pt x="1486" y="1596"/>
                  </a:lnTo>
                  <a:lnTo>
                    <a:pt x="1488" y="1592"/>
                  </a:lnTo>
                  <a:lnTo>
                    <a:pt x="1500" y="1582"/>
                  </a:lnTo>
                  <a:lnTo>
                    <a:pt x="1504" y="1580"/>
                  </a:lnTo>
                  <a:lnTo>
                    <a:pt x="1506" y="1576"/>
                  </a:lnTo>
                  <a:lnTo>
                    <a:pt x="1506" y="1576"/>
                  </a:lnTo>
                  <a:lnTo>
                    <a:pt x="1506" y="1574"/>
                  </a:lnTo>
                  <a:lnTo>
                    <a:pt x="1506" y="1574"/>
                  </a:lnTo>
                  <a:lnTo>
                    <a:pt x="1504" y="1570"/>
                  </a:lnTo>
                  <a:lnTo>
                    <a:pt x="1504" y="1570"/>
                  </a:lnTo>
                  <a:lnTo>
                    <a:pt x="1504" y="1570"/>
                  </a:lnTo>
                  <a:lnTo>
                    <a:pt x="1504" y="1568"/>
                  </a:lnTo>
                  <a:lnTo>
                    <a:pt x="1504" y="1568"/>
                  </a:lnTo>
                  <a:lnTo>
                    <a:pt x="1508" y="1568"/>
                  </a:lnTo>
                  <a:lnTo>
                    <a:pt x="1512" y="1566"/>
                  </a:lnTo>
                  <a:lnTo>
                    <a:pt x="1512" y="1566"/>
                  </a:lnTo>
                  <a:lnTo>
                    <a:pt x="1514" y="1566"/>
                  </a:lnTo>
                  <a:lnTo>
                    <a:pt x="1514" y="1566"/>
                  </a:lnTo>
                  <a:lnTo>
                    <a:pt x="1516" y="1564"/>
                  </a:lnTo>
                  <a:lnTo>
                    <a:pt x="1516" y="1562"/>
                  </a:lnTo>
                  <a:lnTo>
                    <a:pt x="1516" y="1562"/>
                  </a:lnTo>
                  <a:lnTo>
                    <a:pt x="1514" y="1560"/>
                  </a:lnTo>
                  <a:lnTo>
                    <a:pt x="1514" y="1560"/>
                  </a:lnTo>
                  <a:lnTo>
                    <a:pt x="1514" y="1560"/>
                  </a:lnTo>
                  <a:lnTo>
                    <a:pt x="1514" y="1560"/>
                  </a:lnTo>
                  <a:lnTo>
                    <a:pt x="1512" y="1556"/>
                  </a:lnTo>
                  <a:lnTo>
                    <a:pt x="1510" y="1556"/>
                  </a:lnTo>
                  <a:lnTo>
                    <a:pt x="1510" y="1556"/>
                  </a:lnTo>
                  <a:lnTo>
                    <a:pt x="1514" y="1552"/>
                  </a:lnTo>
                  <a:lnTo>
                    <a:pt x="1518" y="1548"/>
                  </a:lnTo>
                  <a:lnTo>
                    <a:pt x="1522" y="1544"/>
                  </a:lnTo>
                  <a:lnTo>
                    <a:pt x="1522" y="1544"/>
                  </a:lnTo>
                  <a:lnTo>
                    <a:pt x="1522" y="1542"/>
                  </a:lnTo>
                  <a:lnTo>
                    <a:pt x="1522" y="1542"/>
                  </a:lnTo>
                  <a:lnTo>
                    <a:pt x="1520" y="1540"/>
                  </a:lnTo>
                  <a:lnTo>
                    <a:pt x="1518" y="1538"/>
                  </a:lnTo>
                  <a:lnTo>
                    <a:pt x="1518" y="1540"/>
                  </a:lnTo>
                  <a:lnTo>
                    <a:pt x="1516" y="1538"/>
                  </a:lnTo>
                  <a:lnTo>
                    <a:pt x="1516" y="1538"/>
                  </a:lnTo>
                  <a:lnTo>
                    <a:pt x="1516" y="1536"/>
                  </a:lnTo>
                  <a:lnTo>
                    <a:pt x="1514" y="1534"/>
                  </a:lnTo>
                  <a:lnTo>
                    <a:pt x="1514" y="1532"/>
                  </a:lnTo>
                  <a:lnTo>
                    <a:pt x="1514" y="1530"/>
                  </a:lnTo>
                  <a:lnTo>
                    <a:pt x="1514" y="1530"/>
                  </a:lnTo>
                  <a:lnTo>
                    <a:pt x="1510" y="1528"/>
                  </a:lnTo>
                  <a:lnTo>
                    <a:pt x="1502" y="1528"/>
                  </a:lnTo>
                  <a:lnTo>
                    <a:pt x="1502" y="1528"/>
                  </a:lnTo>
                  <a:lnTo>
                    <a:pt x="1500" y="1530"/>
                  </a:lnTo>
                  <a:lnTo>
                    <a:pt x="1498" y="1532"/>
                  </a:lnTo>
                  <a:lnTo>
                    <a:pt x="1494" y="1534"/>
                  </a:lnTo>
                  <a:lnTo>
                    <a:pt x="1484" y="1538"/>
                  </a:lnTo>
                  <a:lnTo>
                    <a:pt x="1480" y="1542"/>
                  </a:lnTo>
                  <a:lnTo>
                    <a:pt x="1476" y="1546"/>
                  </a:lnTo>
                  <a:lnTo>
                    <a:pt x="1472" y="1548"/>
                  </a:lnTo>
                  <a:lnTo>
                    <a:pt x="1472" y="1548"/>
                  </a:lnTo>
                  <a:lnTo>
                    <a:pt x="1472" y="1550"/>
                  </a:lnTo>
                  <a:lnTo>
                    <a:pt x="1470" y="1554"/>
                  </a:lnTo>
                  <a:lnTo>
                    <a:pt x="1470" y="1554"/>
                  </a:lnTo>
                  <a:lnTo>
                    <a:pt x="1470" y="1556"/>
                  </a:lnTo>
                  <a:lnTo>
                    <a:pt x="1470" y="1558"/>
                  </a:lnTo>
                  <a:close/>
                  <a:moveTo>
                    <a:pt x="1218" y="1752"/>
                  </a:moveTo>
                  <a:lnTo>
                    <a:pt x="1218" y="1754"/>
                  </a:lnTo>
                  <a:lnTo>
                    <a:pt x="1218" y="1754"/>
                  </a:lnTo>
                  <a:lnTo>
                    <a:pt x="1218" y="1754"/>
                  </a:lnTo>
                  <a:lnTo>
                    <a:pt x="1218" y="1756"/>
                  </a:lnTo>
                  <a:lnTo>
                    <a:pt x="1218" y="1756"/>
                  </a:lnTo>
                  <a:lnTo>
                    <a:pt x="1220" y="1756"/>
                  </a:lnTo>
                  <a:lnTo>
                    <a:pt x="1220" y="1758"/>
                  </a:lnTo>
                  <a:lnTo>
                    <a:pt x="1220" y="1758"/>
                  </a:lnTo>
                  <a:lnTo>
                    <a:pt x="1222" y="1758"/>
                  </a:lnTo>
                  <a:lnTo>
                    <a:pt x="1222" y="1758"/>
                  </a:lnTo>
                  <a:lnTo>
                    <a:pt x="1222" y="1758"/>
                  </a:lnTo>
                  <a:lnTo>
                    <a:pt x="1224" y="1758"/>
                  </a:lnTo>
                  <a:lnTo>
                    <a:pt x="1224" y="1760"/>
                  </a:lnTo>
                  <a:lnTo>
                    <a:pt x="1226" y="1760"/>
                  </a:lnTo>
                  <a:lnTo>
                    <a:pt x="1226" y="1760"/>
                  </a:lnTo>
                  <a:lnTo>
                    <a:pt x="1226" y="1760"/>
                  </a:lnTo>
                  <a:lnTo>
                    <a:pt x="1228" y="1758"/>
                  </a:lnTo>
                  <a:lnTo>
                    <a:pt x="1230" y="1758"/>
                  </a:lnTo>
                  <a:lnTo>
                    <a:pt x="1230" y="1758"/>
                  </a:lnTo>
                  <a:lnTo>
                    <a:pt x="1232" y="1758"/>
                  </a:lnTo>
                  <a:lnTo>
                    <a:pt x="1236" y="1756"/>
                  </a:lnTo>
                  <a:lnTo>
                    <a:pt x="1238" y="1754"/>
                  </a:lnTo>
                  <a:lnTo>
                    <a:pt x="1242" y="1750"/>
                  </a:lnTo>
                  <a:lnTo>
                    <a:pt x="1244" y="1748"/>
                  </a:lnTo>
                  <a:lnTo>
                    <a:pt x="1244" y="1748"/>
                  </a:lnTo>
                  <a:lnTo>
                    <a:pt x="1244" y="1748"/>
                  </a:lnTo>
                  <a:lnTo>
                    <a:pt x="1246" y="1744"/>
                  </a:lnTo>
                  <a:lnTo>
                    <a:pt x="1246" y="1744"/>
                  </a:lnTo>
                  <a:lnTo>
                    <a:pt x="1246" y="1744"/>
                  </a:lnTo>
                  <a:lnTo>
                    <a:pt x="1246" y="1740"/>
                  </a:lnTo>
                  <a:lnTo>
                    <a:pt x="1248" y="1732"/>
                  </a:lnTo>
                  <a:lnTo>
                    <a:pt x="1248" y="1728"/>
                  </a:lnTo>
                  <a:lnTo>
                    <a:pt x="1248" y="1724"/>
                  </a:lnTo>
                  <a:lnTo>
                    <a:pt x="1248" y="1724"/>
                  </a:lnTo>
                  <a:lnTo>
                    <a:pt x="1250" y="1722"/>
                  </a:lnTo>
                  <a:lnTo>
                    <a:pt x="1252" y="1718"/>
                  </a:lnTo>
                  <a:lnTo>
                    <a:pt x="1252" y="1714"/>
                  </a:lnTo>
                  <a:lnTo>
                    <a:pt x="1256" y="1710"/>
                  </a:lnTo>
                  <a:lnTo>
                    <a:pt x="1258" y="1706"/>
                  </a:lnTo>
                  <a:lnTo>
                    <a:pt x="1262" y="1702"/>
                  </a:lnTo>
                  <a:lnTo>
                    <a:pt x="1264" y="1698"/>
                  </a:lnTo>
                  <a:lnTo>
                    <a:pt x="1268" y="1696"/>
                  </a:lnTo>
                  <a:lnTo>
                    <a:pt x="1270" y="1692"/>
                  </a:lnTo>
                  <a:lnTo>
                    <a:pt x="1274" y="1690"/>
                  </a:lnTo>
                  <a:lnTo>
                    <a:pt x="1274" y="1688"/>
                  </a:lnTo>
                  <a:lnTo>
                    <a:pt x="1276" y="1688"/>
                  </a:lnTo>
                  <a:lnTo>
                    <a:pt x="1278" y="1688"/>
                  </a:lnTo>
                  <a:lnTo>
                    <a:pt x="1280" y="1686"/>
                  </a:lnTo>
                  <a:lnTo>
                    <a:pt x="1284" y="1684"/>
                  </a:lnTo>
                  <a:lnTo>
                    <a:pt x="1290" y="1680"/>
                  </a:lnTo>
                  <a:lnTo>
                    <a:pt x="1292" y="1680"/>
                  </a:lnTo>
                  <a:lnTo>
                    <a:pt x="1292" y="1678"/>
                  </a:lnTo>
                  <a:lnTo>
                    <a:pt x="1292" y="1678"/>
                  </a:lnTo>
                  <a:lnTo>
                    <a:pt x="1294" y="1678"/>
                  </a:lnTo>
                  <a:lnTo>
                    <a:pt x="1294" y="1676"/>
                  </a:lnTo>
                  <a:lnTo>
                    <a:pt x="1294" y="1676"/>
                  </a:lnTo>
                  <a:lnTo>
                    <a:pt x="1294" y="1676"/>
                  </a:lnTo>
                  <a:lnTo>
                    <a:pt x="1294" y="1674"/>
                  </a:lnTo>
                  <a:lnTo>
                    <a:pt x="1294" y="1674"/>
                  </a:lnTo>
                  <a:lnTo>
                    <a:pt x="1294" y="1672"/>
                  </a:lnTo>
                  <a:lnTo>
                    <a:pt x="1294" y="1672"/>
                  </a:lnTo>
                  <a:lnTo>
                    <a:pt x="1294" y="1672"/>
                  </a:lnTo>
                  <a:lnTo>
                    <a:pt x="1294" y="1670"/>
                  </a:lnTo>
                  <a:lnTo>
                    <a:pt x="1292" y="1668"/>
                  </a:lnTo>
                  <a:lnTo>
                    <a:pt x="1292" y="1668"/>
                  </a:lnTo>
                  <a:lnTo>
                    <a:pt x="1292" y="1668"/>
                  </a:lnTo>
                  <a:lnTo>
                    <a:pt x="1290" y="1668"/>
                  </a:lnTo>
                  <a:lnTo>
                    <a:pt x="1292" y="1664"/>
                  </a:lnTo>
                  <a:lnTo>
                    <a:pt x="1294" y="1660"/>
                  </a:lnTo>
                  <a:lnTo>
                    <a:pt x="1298" y="1656"/>
                  </a:lnTo>
                  <a:lnTo>
                    <a:pt x="1300" y="1650"/>
                  </a:lnTo>
                  <a:lnTo>
                    <a:pt x="1302" y="1648"/>
                  </a:lnTo>
                  <a:lnTo>
                    <a:pt x="1302" y="1648"/>
                  </a:lnTo>
                  <a:lnTo>
                    <a:pt x="1302" y="1648"/>
                  </a:lnTo>
                  <a:lnTo>
                    <a:pt x="1302" y="1646"/>
                  </a:lnTo>
                  <a:lnTo>
                    <a:pt x="1302" y="1646"/>
                  </a:lnTo>
                  <a:lnTo>
                    <a:pt x="1302" y="1646"/>
                  </a:lnTo>
                  <a:lnTo>
                    <a:pt x="1302" y="1644"/>
                  </a:lnTo>
                  <a:lnTo>
                    <a:pt x="1302" y="1644"/>
                  </a:lnTo>
                  <a:lnTo>
                    <a:pt x="1302" y="1642"/>
                  </a:lnTo>
                  <a:lnTo>
                    <a:pt x="1300" y="1642"/>
                  </a:lnTo>
                  <a:lnTo>
                    <a:pt x="1300" y="1642"/>
                  </a:lnTo>
                  <a:lnTo>
                    <a:pt x="1300" y="1640"/>
                  </a:lnTo>
                  <a:lnTo>
                    <a:pt x="1298" y="1640"/>
                  </a:lnTo>
                  <a:lnTo>
                    <a:pt x="1298" y="1640"/>
                  </a:lnTo>
                  <a:lnTo>
                    <a:pt x="1296" y="1640"/>
                  </a:lnTo>
                  <a:lnTo>
                    <a:pt x="1294" y="1640"/>
                  </a:lnTo>
                  <a:lnTo>
                    <a:pt x="1294" y="1640"/>
                  </a:lnTo>
                  <a:lnTo>
                    <a:pt x="1294" y="1640"/>
                  </a:lnTo>
                  <a:lnTo>
                    <a:pt x="1290" y="1642"/>
                  </a:lnTo>
                  <a:lnTo>
                    <a:pt x="1286" y="1644"/>
                  </a:lnTo>
                  <a:lnTo>
                    <a:pt x="1280" y="1646"/>
                  </a:lnTo>
                  <a:lnTo>
                    <a:pt x="1274" y="1650"/>
                  </a:lnTo>
                  <a:lnTo>
                    <a:pt x="1268" y="1652"/>
                  </a:lnTo>
                  <a:lnTo>
                    <a:pt x="1264" y="1656"/>
                  </a:lnTo>
                  <a:lnTo>
                    <a:pt x="1264" y="1656"/>
                  </a:lnTo>
                  <a:lnTo>
                    <a:pt x="1264" y="1656"/>
                  </a:lnTo>
                  <a:lnTo>
                    <a:pt x="1260" y="1662"/>
                  </a:lnTo>
                  <a:lnTo>
                    <a:pt x="1260" y="1662"/>
                  </a:lnTo>
                  <a:lnTo>
                    <a:pt x="1260" y="1662"/>
                  </a:lnTo>
                  <a:lnTo>
                    <a:pt x="1258" y="1666"/>
                  </a:lnTo>
                  <a:lnTo>
                    <a:pt x="1258" y="1666"/>
                  </a:lnTo>
                  <a:lnTo>
                    <a:pt x="1256" y="1666"/>
                  </a:lnTo>
                  <a:lnTo>
                    <a:pt x="1254" y="1674"/>
                  </a:lnTo>
                  <a:lnTo>
                    <a:pt x="1252" y="1678"/>
                  </a:lnTo>
                  <a:lnTo>
                    <a:pt x="1252" y="1678"/>
                  </a:lnTo>
                  <a:lnTo>
                    <a:pt x="1252" y="1678"/>
                  </a:lnTo>
                  <a:lnTo>
                    <a:pt x="1252" y="1678"/>
                  </a:lnTo>
                  <a:lnTo>
                    <a:pt x="1250" y="1680"/>
                  </a:lnTo>
                  <a:lnTo>
                    <a:pt x="1250" y="1680"/>
                  </a:lnTo>
                  <a:lnTo>
                    <a:pt x="1250" y="1680"/>
                  </a:lnTo>
                  <a:lnTo>
                    <a:pt x="1248" y="1682"/>
                  </a:lnTo>
                  <a:lnTo>
                    <a:pt x="1248" y="1682"/>
                  </a:lnTo>
                  <a:lnTo>
                    <a:pt x="1248" y="1682"/>
                  </a:lnTo>
                  <a:lnTo>
                    <a:pt x="1246" y="1684"/>
                  </a:lnTo>
                  <a:lnTo>
                    <a:pt x="1244" y="1688"/>
                  </a:lnTo>
                  <a:lnTo>
                    <a:pt x="1244" y="1690"/>
                  </a:lnTo>
                  <a:lnTo>
                    <a:pt x="1242" y="1692"/>
                  </a:lnTo>
                  <a:lnTo>
                    <a:pt x="1240" y="1694"/>
                  </a:lnTo>
                  <a:lnTo>
                    <a:pt x="1238" y="1696"/>
                  </a:lnTo>
                  <a:lnTo>
                    <a:pt x="1232" y="1698"/>
                  </a:lnTo>
                  <a:lnTo>
                    <a:pt x="1230" y="1700"/>
                  </a:lnTo>
                  <a:lnTo>
                    <a:pt x="1228" y="1702"/>
                  </a:lnTo>
                  <a:lnTo>
                    <a:pt x="1228" y="1702"/>
                  </a:lnTo>
                  <a:lnTo>
                    <a:pt x="1228" y="1702"/>
                  </a:lnTo>
                  <a:lnTo>
                    <a:pt x="1226" y="1704"/>
                  </a:lnTo>
                  <a:lnTo>
                    <a:pt x="1226" y="1704"/>
                  </a:lnTo>
                  <a:lnTo>
                    <a:pt x="1226" y="1704"/>
                  </a:lnTo>
                  <a:lnTo>
                    <a:pt x="1224" y="1706"/>
                  </a:lnTo>
                  <a:lnTo>
                    <a:pt x="1224" y="1706"/>
                  </a:lnTo>
                  <a:lnTo>
                    <a:pt x="1224" y="1710"/>
                  </a:lnTo>
                  <a:lnTo>
                    <a:pt x="1224" y="1710"/>
                  </a:lnTo>
                  <a:lnTo>
                    <a:pt x="1228" y="1712"/>
                  </a:lnTo>
                  <a:lnTo>
                    <a:pt x="1230" y="1712"/>
                  </a:lnTo>
                  <a:lnTo>
                    <a:pt x="1230" y="1712"/>
                  </a:lnTo>
                  <a:lnTo>
                    <a:pt x="1230" y="1712"/>
                  </a:lnTo>
                  <a:lnTo>
                    <a:pt x="1228" y="1716"/>
                  </a:lnTo>
                  <a:lnTo>
                    <a:pt x="1226" y="1720"/>
                  </a:lnTo>
                  <a:lnTo>
                    <a:pt x="1226" y="1722"/>
                  </a:lnTo>
                  <a:lnTo>
                    <a:pt x="1224" y="1724"/>
                  </a:lnTo>
                  <a:lnTo>
                    <a:pt x="1224" y="1726"/>
                  </a:lnTo>
                  <a:lnTo>
                    <a:pt x="1224" y="1726"/>
                  </a:lnTo>
                  <a:lnTo>
                    <a:pt x="1224" y="1726"/>
                  </a:lnTo>
                  <a:lnTo>
                    <a:pt x="1224" y="1728"/>
                  </a:lnTo>
                  <a:lnTo>
                    <a:pt x="1224" y="1738"/>
                  </a:lnTo>
                  <a:lnTo>
                    <a:pt x="1224" y="1738"/>
                  </a:lnTo>
                  <a:lnTo>
                    <a:pt x="1222" y="1738"/>
                  </a:lnTo>
                  <a:lnTo>
                    <a:pt x="1222" y="1738"/>
                  </a:lnTo>
                  <a:lnTo>
                    <a:pt x="1220" y="1740"/>
                  </a:lnTo>
                  <a:lnTo>
                    <a:pt x="1218" y="1740"/>
                  </a:lnTo>
                  <a:lnTo>
                    <a:pt x="1218" y="1740"/>
                  </a:lnTo>
                  <a:lnTo>
                    <a:pt x="1216" y="1740"/>
                  </a:lnTo>
                  <a:lnTo>
                    <a:pt x="1216" y="1742"/>
                  </a:lnTo>
                  <a:lnTo>
                    <a:pt x="1216" y="1748"/>
                  </a:lnTo>
                  <a:lnTo>
                    <a:pt x="1216" y="1748"/>
                  </a:lnTo>
                  <a:lnTo>
                    <a:pt x="1216" y="1750"/>
                  </a:lnTo>
                  <a:lnTo>
                    <a:pt x="1218" y="1752"/>
                  </a:lnTo>
                  <a:close/>
                  <a:moveTo>
                    <a:pt x="1272" y="1960"/>
                  </a:moveTo>
                  <a:lnTo>
                    <a:pt x="1272" y="1960"/>
                  </a:lnTo>
                  <a:lnTo>
                    <a:pt x="1274" y="1960"/>
                  </a:lnTo>
                  <a:lnTo>
                    <a:pt x="1276" y="1960"/>
                  </a:lnTo>
                  <a:lnTo>
                    <a:pt x="1290" y="1944"/>
                  </a:lnTo>
                  <a:lnTo>
                    <a:pt x="1290" y="1944"/>
                  </a:lnTo>
                  <a:lnTo>
                    <a:pt x="1290" y="1942"/>
                  </a:lnTo>
                  <a:lnTo>
                    <a:pt x="1290" y="1940"/>
                  </a:lnTo>
                  <a:lnTo>
                    <a:pt x="1286" y="1932"/>
                  </a:lnTo>
                  <a:lnTo>
                    <a:pt x="1286" y="1932"/>
                  </a:lnTo>
                  <a:lnTo>
                    <a:pt x="1284" y="1930"/>
                  </a:lnTo>
                  <a:lnTo>
                    <a:pt x="1284" y="1930"/>
                  </a:lnTo>
                  <a:lnTo>
                    <a:pt x="1280" y="1932"/>
                  </a:lnTo>
                  <a:lnTo>
                    <a:pt x="1262" y="1948"/>
                  </a:lnTo>
                  <a:lnTo>
                    <a:pt x="1262" y="1948"/>
                  </a:lnTo>
                  <a:lnTo>
                    <a:pt x="1262" y="1950"/>
                  </a:lnTo>
                  <a:lnTo>
                    <a:pt x="1262" y="1950"/>
                  </a:lnTo>
                  <a:lnTo>
                    <a:pt x="1262" y="1952"/>
                  </a:lnTo>
                  <a:lnTo>
                    <a:pt x="1272" y="1960"/>
                  </a:lnTo>
                  <a:close/>
                  <a:moveTo>
                    <a:pt x="1352" y="1670"/>
                  </a:moveTo>
                  <a:lnTo>
                    <a:pt x="1348" y="1670"/>
                  </a:lnTo>
                  <a:lnTo>
                    <a:pt x="1348" y="1670"/>
                  </a:lnTo>
                  <a:lnTo>
                    <a:pt x="1346" y="1668"/>
                  </a:lnTo>
                  <a:lnTo>
                    <a:pt x="1340" y="1666"/>
                  </a:lnTo>
                  <a:lnTo>
                    <a:pt x="1338" y="1666"/>
                  </a:lnTo>
                  <a:lnTo>
                    <a:pt x="1338" y="1666"/>
                  </a:lnTo>
                  <a:lnTo>
                    <a:pt x="1338" y="1664"/>
                  </a:lnTo>
                  <a:lnTo>
                    <a:pt x="1336" y="1664"/>
                  </a:lnTo>
                  <a:lnTo>
                    <a:pt x="1336" y="1664"/>
                  </a:lnTo>
                  <a:lnTo>
                    <a:pt x="1334" y="1664"/>
                  </a:lnTo>
                  <a:lnTo>
                    <a:pt x="1332" y="1664"/>
                  </a:lnTo>
                  <a:lnTo>
                    <a:pt x="1332" y="1664"/>
                  </a:lnTo>
                  <a:lnTo>
                    <a:pt x="1332" y="1664"/>
                  </a:lnTo>
                  <a:lnTo>
                    <a:pt x="1328" y="1666"/>
                  </a:lnTo>
                  <a:lnTo>
                    <a:pt x="1328" y="1666"/>
                  </a:lnTo>
                  <a:lnTo>
                    <a:pt x="1326" y="1668"/>
                  </a:lnTo>
                  <a:lnTo>
                    <a:pt x="1326" y="1668"/>
                  </a:lnTo>
                  <a:lnTo>
                    <a:pt x="1328" y="1670"/>
                  </a:lnTo>
                  <a:lnTo>
                    <a:pt x="1328" y="1672"/>
                  </a:lnTo>
                  <a:lnTo>
                    <a:pt x="1330" y="1674"/>
                  </a:lnTo>
                  <a:lnTo>
                    <a:pt x="1330" y="1674"/>
                  </a:lnTo>
                  <a:lnTo>
                    <a:pt x="1328" y="1676"/>
                  </a:lnTo>
                  <a:lnTo>
                    <a:pt x="1328" y="1676"/>
                  </a:lnTo>
                  <a:lnTo>
                    <a:pt x="1328" y="1676"/>
                  </a:lnTo>
                  <a:lnTo>
                    <a:pt x="1326" y="1680"/>
                  </a:lnTo>
                  <a:lnTo>
                    <a:pt x="1326" y="1680"/>
                  </a:lnTo>
                  <a:lnTo>
                    <a:pt x="1326" y="1680"/>
                  </a:lnTo>
                  <a:lnTo>
                    <a:pt x="1326" y="1682"/>
                  </a:lnTo>
                  <a:lnTo>
                    <a:pt x="1326" y="1682"/>
                  </a:lnTo>
                  <a:lnTo>
                    <a:pt x="1320" y="1682"/>
                  </a:lnTo>
                  <a:lnTo>
                    <a:pt x="1320" y="1682"/>
                  </a:lnTo>
                  <a:lnTo>
                    <a:pt x="1318" y="1684"/>
                  </a:lnTo>
                  <a:lnTo>
                    <a:pt x="1318" y="1684"/>
                  </a:lnTo>
                  <a:lnTo>
                    <a:pt x="1318" y="1686"/>
                  </a:lnTo>
                  <a:lnTo>
                    <a:pt x="1318" y="1686"/>
                  </a:lnTo>
                  <a:lnTo>
                    <a:pt x="1316" y="1688"/>
                  </a:lnTo>
                  <a:lnTo>
                    <a:pt x="1316" y="1688"/>
                  </a:lnTo>
                  <a:lnTo>
                    <a:pt x="1316" y="1688"/>
                  </a:lnTo>
                  <a:lnTo>
                    <a:pt x="1314" y="1688"/>
                  </a:lnTo>
                  <a:lnTo>
                    <a:pt x="1314" y="1688"/>
                  </a:lnTo>
                  <a:lnTo>
                    <a:pt x="1312" y="1688"/>
                  </a:lnTo>
                  <a:lnTo>
                    <a:pt x="1312" y="1690"/>
                  </a:lnTo>
                  <a:lnTo>
                    <a:pt x="1312" y="1690"/>
                  </a:lnTo>
                  <a:lnTo>
                    <a:pt x="1310" y="1690"/>
                  </a:lnTo>
                  <a:lnTo>
                    <a:pt x="1310" y="1692"/>
                  </a:lnTo>
                  <a:lnTo>
                    <a:pt x="1310" y="1692"/>
                  </a:lnTo>
                  <a:lnTo>
                    <a:pt x="1310" y="1692"/>
                  </a:lnTo>
                  <a:lnTo>
                    <a:pt x="1310" y="1694"/>
                  </a:lnTo>
                  <a:lnTo>
                    <a:pt x="1310" y="1694"/>
                  </a:lnTo>
                  <a:lnTo>
                    <a:pt x="1310" y="1696"/>
                  </a:lnTo>
                  <a:lnTo>
                    <a:pt x="1310" y="1698"/>
                  </a:lnTo>
                  <a:lnTo>
                    <a:pt x="1310" y="1698"/>
                  </a:lnTo>
                  <a:lnTo>
                    <a:pt x="1312" y="1700"/>
                  </a:lnTo>
                  <a:lnTo>
                    <a:pt x="1310" y="1700"/>
                  </a:lnTo>
                  <a:lnTo>
                    <a:pt x="1308" y="1700"/>
                  </a:lnTo>
                  <a:lnTo>
                    <a:pt x="1306" y="1700"/>
                  </a:lnTo>
                  <a:lnTo>
                    <a:pt x="1302" y="1700"/>
                  </a:lnTo>
                  <a:lnTo>
                    <a:pt x="1300" y="1700"/>
                  </a:lnTo>
                  <a:lnTo>
                    <a:pt x="1300" y="1700"/>
                  </a:lnTo>
                  <a:lnTo>
                    <a:pt x="1298" y="1700"/>
                  </a:lnTo>
                  <a:lnTo>
                    <a:pt x="1296" y="1702"/>
                  </a:lnTo>
                  <a:lnTo>
                    <a:pt x="1296" y="1704"/>
                  </a:lnTo>
                  <a:lnTo>
                    <a:pt x="1296" y="1706"/>
                  </a:lnTo>
                  <a:lnTo>
                    <a:pt x="1296" y="1708"/>
                  </a:lnTo>
                  <a:lnTo>
                    <a:pt x="1296" y="1708"/>
                  </a:lnTo>
                  <a:lnTo>
                    <a:pt x="1296" y="1708"/>
                  </a:lnTo>
                  <a:lnTo>
                    <a:pt x="1296" y="1710"/>
                  </a:lnTo>
                  <a:lnTo>
                    <a:pt x="1294" y="1710"/>
                  </a:lnTo>
                  <a:lnTo>
                    <a:pt x="1292" y="1712"/>
                  </a:lnTo>
                  <a:lnTo>
                    <a:pt x="1292" y="1712"/>
                  </a:lnTo>
                  <a:lnTo>
                    <a:pt x="1292" y="1712"/>
                  </a:lnTo>
                  <a:lnTo>
                    <a:pt x="1288" y="1714"/>
                  </a:lnTo>
                  <a:lnTo>
                    <a:pt x="1288" y="1714"/>
                  </a:lnTo>
                  <a:lnTo>
                    <a:pt x="1288" y="1714"/>
                  </a:lnTo>
                  <a:lnTo>
                    <a:pt x="1288" y="1714"/>
                  </a:lnTo>
                  <a:lnTo>
                    <a:pt x="1284" y="1710"/>
                  </a:lnTo>
                  <a:lnTo>
                    <a:pt x="1280" y="1708"/>
                  </a:lnTo>
                  <a:lnTo>
                    <a:pt x="1278" y="1704"/>
                  </a:lnTo>
                  <a:lnTo>
                    <a:pt x="1274" y="1702"/>
                  </a:lnTo>
                  <a:lnTo>
                    <a:pt x="1274" y="1702"/>
                  </a:lnTo>
                  <a:lnTo>
                    <a:pt x="1274" y="1702"/>
                  </a:lnTo>
                  <a:lnTo>
                    <a:pt x="1272" y="1700"/>
                  </a:lnTo>
                  <a:lnTo>
                    <a:pt x="1272" y="1700"/>
                  </a:lnTo>
                  <a:lnTo>
                    <a:pt x="1270" y="1700"/>
                  </a:lnTo>
                  <a:lnTo>
                    <a:pt x="1268" y="1700"/>
                  </a:lnTo>
                  <a:lnTo>
                    <a:pt x="1268" y="1700"/>
                  </a:lnTo>
                  <a:lnTo>
                    <a:pt x="1266" y="1700"/>
                  </a:lnTo>
                  <a:lnTo>
                    <a:pt x="1264" y="1702"/>
                  </a:lnTo>
                  <a:lnTo>
                    <a:pt x="1262" y="1710"/>
                  </a:lnTo>
                  <a:lnTo>
                    <a:pt x="1262" y="1710"/>
                  </a:lnTo>
                  <a:lnTo>
                    <a:pt x="1264" y="1712"/>
                  </a:lnTo>
                  <a:lnTo>
                    <a:pt x="1264" y="1712"/>
                  </a:lnTo>
                  <a:lnTo>
                    <a:pt x="1264" y="1714"/>
                  </a:lnTo>
                  <a:lnTo>
                    <a:pt x="1266" y="1714"/>
                  </a:lnTo>
                  <a:lnTo>
                    <a:pt x="1268" y="1714"/>
                  </a:lnTo>
                  <a:lnTo>
                    <a:pt x="1270" y="1714"/>
                  </a:lnTo>
                  <a:lnTo>
                    <a:pt x="1268" y="1716"/>
                  </a:lnTo>
                  <a:lnTo>
                    <a:pt x="1264" y="1718"/>
                  </a:lnTo>
                  <a:lnTo>
                    <a:pt x="1260" y="1722"/>
                  </a:lnTo>
                  <a:lnTo>
                    <a:pt x="1258" y="1724"/>
                  </a:lnTo>
                  <a:lnTo>
                    <a:pt x="1258" y="1726"/>
                  </a:lnTo>
                  <a:lnTo>
                    <a:pt x="1258" y="1726"/>
                  </a:lnTo>
                  <a:lnTo>
                    <a:pt x="1256" y="1726"/>
                  </a:lnTo>
                  <a:lnTo>
                    <a:pt x="1256" y="1726"/>
                  </a:lnTo>
                  <a:lnTo>
                    <a:pt x="1256" y="1726"/>
                  </a:lnTo>
                  <a:lnTo>
                    <a:pt x="1256" y="1728"/>
                  </a:lnTo>
                  <a:lnTo>
                    <a:pt x="1256" y="1728"/>
                  </a:lnTo>
                  <a:lnTo>
                    <a:pt x="1256" y="1728"/>
                  </a:lnTo>
                  <a:lnTo>
                    <a:pt x="1256" y="1730"/>
                  </a:lnTo>
                  <a:lnTo>
                    <a:pt x="1256" y="1732"/>
                  </a:lnTo>
                  <a:lnTo>
                    <a:pt x="1256" y="1732"/>
                  </a:lnTo>
                  <a:lnTo>
                    <a:pt x="1256" y="1732"/>
                  </a:lnTo>
                  <a:lnTo>
                    <a:pt x="1256" y="1734"/>
                  </a:lnTo>
                  <a:lnTo>
                    <a:pt x="1256" y="1734"/>
                  </a:lnTo>
                  <a:lnTo>
                    <a:pt x="1258" y="1734"/>
                  </a:lnTo>
                  <a:lnTo>
                    <a:pt x="1260" y="1736"/>
                  </a:lnTo>
                  <a:lnTo>
                    <a:pt x="1260" y="1736"/>
                  </a:lnTo>
                  <a:lnTo>
                    <a:pt x="1260" y="1736"/>
                  </a:lnTo>
                  <a:lnTo>
                    <a:pt x="1258" y="1738"/>
                  </a:lnTo>
                  <a:lnTo>
                    <a:pt x="1258" y="1738"/>
                  </a:lnTo>
                  <a:lnTo>
                    <a:pt x="1258" y="1738"/>
                  </a:lnTo>
                  <a:lnTo>
                    <a:pt x="1258" y="1740"/>
                  </a:lnTo>
                  <a:lnTo>
                    <a:pt x="1258" y="1740"/>
                  </a:lnTo>
                  <a:lnTo>
                    <a:pt x="1258" y="1742"/>
                  </a:lnTo>
                  <a:lnTo>
                    <a:pt x="1258" y="1742"/>
                  </a:lnTo>
                  <a:lnTo>
                    <a:pt x="1258" y="1742"/>
                  </a:lnTo>
                  <a:lnTo>
                    <a:pt x="1260" y="1744"/>
                  </a:lnTo>
                  <a:lnTo>
                    <a:pt x="1260" y="1744"/>
                  </a:lnTo>
                  <a:lnTo>
                    <a:pt x="1260" y="1744"/>
                  </a:lnTo>
                  <a:lnTo>
                    <a:pt x="1260" y="1746"/>
                  </a:lnTo>
                  <a:lnTo>
                    <a:pt x="1262" y="1746"/>
                  </a:lnTo>
                  <a:lnTo>
                    <a:pt x="1262" y="1746"/>
                  </a:lnTo>
                  <a:lnTo>
                    <a:pt x="1262" y="1746"/>
                  </a:lnTo>
                  <a:lnTo>
                    <a:pt x="1266" y="1748"/>
                  </a:lnTo>
                  <a:lnTo>
                    <a:pt x="1270" y="1750"/>
                  </a:lnTo>
                  <a:lnTo>
                    <a:pt x="1274" y="1752"/>
                  </a:lnTo>
                  <a:lnTo>
                    <a:pt x="1276" y="1754"/>
                  </a:lnTo>
                  <a:lnTo>
                    <a:pt x="1276" y="1754"/>
                  </a:lnTo>
                  <a:lnTo>
                    <a:pt x="1278" y="1754"/>
                  </a:lnTo>
                  <a:lnTo>
                    <a:pt x="1280" y="1756"/>
                  </a:lnTo>
                  <a:lnTo>
                    <a:pt x="1280" y="1758"/>
                  </a:lnTo>
                  <a:lnTo>
                    <a:pt x="1280" y="1760"/>
                  </a:lnTo>
                  <a:lnTo>
                    <a:pt x="1280" y="1762"/>
                  </a:lnTo>
                  <a:lnTo>
                    <a:pt x="1280" y="1764"/>
                  </a:lnTo>
                  <a:lnTo>
                    <a:pt x="1278" y="1766"/>
                  </a:lnTo>
                  <a:lnTo>
                    <a:pt x="1278" y="1766"/>
                  </a:lnTo>
                  <a:lnTo>
                    <a:pt x="1276" y="1768"/>
                  </a:lnTo>
                  <a:lnTo>
                    <a:pt x="1276" y="1768"/>
                  </a:lnTo>
                  <a:lnTo>
                    <a:pt x="1274" y="1768"/>
                  </a:lnTo>
                  <a:lnTo>
                    <a:pt x="1272" y="1768"/>
                  </a:lnTo>
                  <a:lnTo>
                    <a:pt x="1270" y="1768"/>
                  </a:lnTo>
                  <a:lnTo>
                    <a:pt x="1268" y="1766"/>
                  </a:lnTo>
                  <a:lnTo>
                    <a:pt x="1268" y="1764"/>
                  </a:lnTo>
                  <a:lnTo>
                    <a:pt x="1266" y="1764"/>
                  </a:lnTo>
                  <a:lnTo>
                    <a:pt x="1266" y="1764"/>
                  </a:lnTo>
                  <a:lnTo>
                    <a:pt x="1266" y="1762"/>
                  </a:lnTo>
                  <a:lnTo>
                    <a:pt x="1264" y="1758"/>
                  </a:lnTo>
                  <a:lnTo>
                    <a:pt x="1264" y="1754"/>
                  </a:lnTo>
                  <a:lnTo>
                    <a:pt x="1264" y="1754"/>
                  </a:lnTo>
                  <a:lnTo>
                    <a:pt x="1264" y="1754"/>
                  </a:lnTo>
                  <a:lnTo>
                    <a:pt x="1262" y="1752"/>
                  </a:lnTo>
                  <a:lnTo>
                    <a:pt x="1258" y="1752"/>
                  </a:lnTo>
                  <a:lnTo>
                    <a:pt x="1258" y="1752"/>
                  </a:lnTo>
                  <a:lnTo>
                    <a:pt x="1254" y="1754"/>
                  </a:lnTo>
                  <a:lnTo>
                    <a:pt x="1254" y="1756"/>
                  </a:lnTo>
                  <a:lnTo>
                    <a:pt x="1254" y="1756"/>
                  </a:lnTo>
                  <a:lnTo>
                    <a:pt x="1254" y="1756"/>
                  </a:lnTo>
                  <a:lnTo>
                    <a:pt x="1252" y="1758"/>
                  </a:lnTo>
                  <a:lnTo>
                    <a:pt x="1252" y="1758"/>
                  </a:lnTo>
                  <a:lnTo>
                    <a:pt x="1252" y="1760"/>
                  </a:lnTo>
                  <a:lnTo>
                    <a:pt x="1252" y="1762"/>
                  </a:lnTo>
                  <a:lnTo>
                    <a:pt x="1252" y="1762"/>
                  </a:lnTo>
                  <a:lnTo>
                    <a:pt x="1252" y="1764"/>
                  </a:lnTo>
                  <a:lnTo>
                    <a:pt x="1252" y="1764"/>
                  </a:lnTo>
                  <a:lnTo>
                    <a:pt x="1252" y="1764"/>
                  </a:lnTo>
                  <a:lnTo>
                    <a:pt x="1254" y="1766"/>
                  </a:lnTo>
                  <a:lnTo>
                    <a:pt x="1254" y="1766"/>
                  </a:lnTo>
                  <a:lnTo>
                    <a:pt x="1254" y="1766"/>
                  </a:lnTo>
                  <a:lnTo>
                    <a:pt x="1256" y="1768"/>
                  </a:lnTo>
                  <a:lnTo>
                    <a:pt x="1256" y="1768"/>
                  </a:lnTo>
                  <a:lnTo>
                    <a:pt x="1256" y="1768"/>
                  </a:lnTo>
                  <a:lnTo>
                    <a:pt x="1254" y="1770"/>
                  </a:lnTo>
                  <a:lnTo>
                    <a:pt x="1248" y="1772"/>
                  </a:lnTo>
                  <a:lnTo>
                    <a:pt x="1244" y="1776"/>
                  </a:lnTo>
                  <a:lnTo>
                    <a:pt x="1240" y="1780"/>
                  </a:lnTo>
                  <a:lnTo>
                    <a:pt x="1236" y="1782"/>
                  </a:lnTo>
                  <a:lnTo>
                    <a:pt x="1236" y="1782"/>
                  </a:lnTo>
                  <a:lnTo>
                    <a:pt x="1236" y="1784"/>
                  </a:lnTo>
                  <a:lnTo>
                    <a:pt x="1234" y="1786"/>
                  </a:lnTo>
                  <a:lnTo>
                    <a:pt x="1234" y="1786"/>
                  </a:lnTo>
                  <a:lnTo>
                    <a:pt x="1234" y="1788"/>
                  </a:lnTo>
                  <a:lnTo>
                    <a:pt x="1234" y="1788"/>
                  </a:lnTo>
                  <a:lnTo>
                    <a:pt x="1234" y="1788"/>
                  </a:lnTo>
                  <a:lnTo>
                    <a:pt x="1234" y="1790"/>
                  </a:lnTo>
                  <a:lnTo>
                    <a:pt x="1232" y="1790"/>
                  </a:lnTo>
                  <a:lnTo>
                    <a:pt x="1232" y="1790"/>
                  </a:lnTo>
                  <a:lnTo>
                    <a:pt x="1234" y="1794"/>
                  </a:lnTo>
                  <a:lnTo>
                    <a:pt x="1234" y="1794"/>
                  </a:lnTo>
                  <a:lnTo>
                    <a:pt x="1236" y="1794"/>
                  </a:lnTo>
                  <a:lnTo>
                    <a:pt x="1240" y="1794"/>
                  </a:lnTo>
                  <a:lnTo>
                    <a:pt x="1240" y="1794"/>
                  </a:lnTo>
                  <a:lnTo>
                    <a:pt x="1244" y="1794"/>
                  </a:lnTo>
                  <a:lnTo>
                    <a:pt x="1244" y="1794"/>
                  </a:lnTo>
                  <a:lnTo>
                    <a:pt x="1244" y="1794"/>
                  </a:lnTo>
                  <a:lnTo>
                    <a:pt x="1248" y="1792"/>
                  </a:lnTo>
                  <a:lnTo>
                    <a:pt x="1252" y="1790"/>
                  </a:lnTo>
                  <a:lnTo>
                    <a:pt x="1254" y="1788"/>
                  </a:lnTo>
                  <a:lnTo>
                    <a:pt x="1258" y="1788"/>
                  </a:lnTo>
                  <a:lnTo>
                    <a:pt x="1258" y="1788"/>
                  </a:lnTo>
                  <a:lnTo>
                    <a:pt x="1260" y="1786"/>
                  </a:lnTo>
                  <a:lnTo>
                    <a:pt x="1262" y="1786"/>
                  </a:lnTo>
                  <a:lnTo>
                    <a:pt x="1262" y="1788"/>
                  </a:lnTo>
                  <a:lnTo>
                    <a:pt x="1262" y="1790"/>
                  </a:lnTo>
                  <a:lnTo>
                    <a:pt x="1262" y="1790"/>
                  </a:lnTo>
                  <a:lnTo>
                    <a:pt x="1260" y="1792"/>
                  </a:lnTo>
                  <a:lnTo>
                    <a:pt x="1258" y="1794"/>
                  </a:lnTo>
                  <a:lnTo>
                    <a:pt x="1256" y="1794"/>
                  </a:lnTo>
                  <a:lnTo>
                    <a:pt x="1252" y="1794"/>
                  </a:lnTo>
                  <a:lnTo>
                    <a:pt x="1248" y="1794"/>
                  </a:lnTo>
                  <a:lnTo>
                    <a:pt x="1248" y="1794"/>
                  </a:lnTo>
                  <a:lnTo>
                    <a:pt x="1246" y="1796"/>
                  </a:lnTo>
                  <a:lnTo>
                    <a:pt x="1246" y="1798"/>
                  </a:lnTo>
                  <a:lnTo>
                    <a:pt x="1246" y="1798"/>
                  </a:lnTo>
                  <a:lnTo>
                    <a:pt x="1246" y="1800"/>
                  </a:lnTo>
                  <a:lnTo>
                    <a:pt x="1248" y="1800"/>
                  </a:lnTo>
                  <a:lnTo>
                    <a:pt x="1250" y="1802"/>
                  </a:lnTo>
                  <a:lnTo>
                    <a:pt x="1250" y="1802"/>
                  </a:lnTo>
                  <a:lnTo>
                    <a:pt x="1252" y="1802"/>
                  </a:lnTo>
                  <a:lnTo>
                    <a:pt x="1252" y="1802"/>
                  </a:lnTo>
                  <a:lnTo>
                    <a:pt x="1250" y="1804"/>
                  </a:lnTo>
                  <a:lnTo>
                    <a:pt x="1250" y="1804"/>
                  </a:lnTo>
                  <a:lnTo>
                    <a:pt x="1250" y="1806"/>
                  </a:lnTo>
                  <a:lnTo>
                    <a:pt x="1248" y="1808"/>
                  </a:lnTo>
                  <a:lnTo>
                    <a:pt x="1248" y="1808"/>
                  </a:lnTo>
                  <a:lnTo>
                    <a:pt x="1248" y="1808"/>
                  </a:lnTo>
                  <a:lnTo>
                    <a:pt x="1248" y="1812"/>
                  </a:lnTo>
                  <a:lnTo>
                    <a:pt x="1248" y="1812"/>
                  </a:lnTo>
                  <a:lnTo>
                    <a:pt x="1248" y="1812"/>
                  </a:lnTo>
                  <a:lnTo>
                    <a:pt x="1248" y="1814"/>
                  </a:lnTo>
                  <a:lnTo>
                    <a:pt x="1248" y="1814"/>
                  </a:lnTo>
                  <a:lnTo>
                    <a:pt x="1248" y="1814"/>
                  </a:lnTo>
                  <a:lnTo>
                    <a:pt x="1248" y="1816"/>
                  </a:lnTo>
                  <a:lnTo>
                    <a:pt x="1248" y="1816"/>
                  </a:lnTo>
                  <a:lnTo>
                    <a:pt x="1248" y="1816"/>
                  </a:lnTo>
                  <a:lnTo>
                    <a:pt x="1250" y="1818"/>
                  </a:lnTo>
                  <a:lnTo>
                    <a:pt x="1250" y="1818"/>
                  </a:lnTo>
                  <a:lnTo>
                    <a:pt x="1250" y="1818"/>
                  </a:lnTo>
                  <a:lnTo>
                    <a:pt x="1252" y="1820"/>
                  </a:lnTo>
                  <a:lnTo>
                    <a:pt x="1252" y="1820"/>
                  </a:lnTo>
                  <a:lnTo>
                    <a:pt x="1252" y="1820"/>
                  </a:lnTo>
                  <a:lnTo>
                    <a:pt x="1254" y="1820"/>
                  </a:lnTo>
                  <a:lnTo>
                    <a:pt x="1256" y="1820"/>
                  </a:lnTo>
                  <a:lnTo>
                    <a:pt x="1256" y="1820"/>
                  </a:lnTo>
                  <a:lnTo>
                    <a:pt x="1256" y="1820"/>
                  </a:lnTo>
                  <a:lnTo>
                    <a:pt x="1258" y="1820"/>
                  </a:lnTo>
                  <a:lnTo>
                    <a:pt x="1258" y="1820"/>
                  </a:lnTo>
                  <a:lnTo>
                    <a:pt x="1258" y="1820"/>
                  </a:lnTo>
                  <a:lnTo>
                    <a:pt x="1260" y="1820"/>
                  </a:lnTo>
                  <a:lnTo>
                    <a:pt x="1260" y="1820"/>
                  </a:lnTo>
                  <a:lnTo>
                    <a:pt x="1260" y="1820"/>
                  </a:lnTo>
                  <a:lnTo>
                    <a:pt x="1260" y="1820"/>
                  </a:lnTo>
                  <a:lnTo>
                    <a:pt x="1260" y="1820"/>
                  </a:lnTo>
                  <a:lnTo>
                    <a:pt x="1262" y="1822"/>
                  </a:lnTo>
                  <a:lnTo>
                    <a:pt x="1264" y="1822"/>
                  </a:lnTo>
                  <a:lnTo>
                    <a:pt x="1264" y="1822"/>
                  </a:lnTo>
                  <a:lnTo>
                    <a:pt x="1264" y="1822"/>
                  </a:lnTo>
                  <a:lnTo>
                    <a:pt x="1260" y="1824"/>
                  </a:lnTo>
                  <a:lnTo>
                    <a:pt x="1258" y="1824"/>
                  </a:lnTo>
                  <a:lnTo>
                    <a:pt x="1254" y="1826"/>
                  </a:lnTo>
                  <a:lnTo>
                    <a:pt x="1250" y="1828"/>
                  </a:lnTo>
                  <a:lnTo>
                    <a:pt x="1250" y="1828"/>
                  </a:lnTo>
                  <a:lnTo>
                    <a:pt x="1250" y="1828"/>
                  </a:lnTo>
                  <a:lnTo>
                    <a:pt x="1246" y="1830"/>
                  </a:lnTo>
                  <a:lnTo>
                    <a:pt x="1246" y="1830"/>
                  </a:lnTo>
                  <a:lnTo>
                    <a:pt x="1246" y="1830"/>
                  </a:lnTo>
                  <a:lnTo>
                    <a:pt x="1244" y="1832"/>
                  </a:lnTo>
                  <a:lnTo>
                    <a:pt x="1244" y="1832"/>
                  </a:lnTo>
                  <a:lnTo>
                    <a:pt x="1244" y="1832"/>
                  </a:lnTo>
                  <a:lnTo>
                    <a:pt x="1242" y="1836"/>
                  </a:lnTo>
                  <a:lnTo>
                    <a:pt x="1242" y="1836"/>
                  </a:lnTo>
                  <a:lnTo>
                    <a:pt x="1242" y="1836"/>
                  </a:lnTo>
                  <a:lnTo>
                    <a:pt x="1242" y="1840"/>
                  </a:lnTo>
                  <a:lnTo>
                    <a:pt x="1242" y="1840"/>
                  </a:lnTo>
                  <a:lnTo>
                    <a:pt x="1242" y="1840"/>
                  </a:lnTo>
                  <a:lnTo>
                    <a:pt x="1244" y="1842"/>
                  </a:lnTo>
                  <a:lnTo>
                    <a:pt x="1244" y="1842"/>
                  </a:lnTo>
                  <a:lnTo>
                    <a:pt x="1244" y="1844"/>
                  </a:lnTo>
                  <a:lnTo>
                    <a:pt x="1246" y="1844"/>
                  </a:lnTo>
                  <a:lnTo>
                    <a:pt x="1246" y="1844"/>
                  </a:lnTo>
                  <a:lnTo>
                    <a:pt x="1246" y="1846"/>
                  </a:lnTo>
                  <a:lnTo>
                    <a:pt x="1250" y="1846"/>
                  </a:lnTo>
                  <a:lnTo>
                    <a:pt x="1250" y="1846"/>
                  </a:lnTo>
                  <a:lnTo>
                    <a:pt x="1250" y="1846"/>
                  </a:lnTo>
                  <a:lnTo>
                    <a:pt x="1252" y="1846"/>
                  </a:lnTo>
                  <a:lnTo>
                    <a:pt x="1254" y="1846"/>
                  </a:lnTo>
                  <a:lnTo>
                    <a:pt x="1256" y="1846"/>
                  </a:lnTo>
                  <a:lnTo>
                    <a:pt x="1256" y="1846"/>
                  </a:lnTo>
                  <a:lnTo>
                    <a:pt x="1256" y="1846"/>
                  </a:lnTo>
                  <a:lnTo>
                    <a:pt x="1258" y="1848"/>
                  </a:lnTo>
                  <a:lnTo>
                    <a:pt x="1258" y="1850"/>
                  </a:lnTo>
                  <a:lnTo>
                    <a:pt x="1262" y="1850"/>
                  </a:lnTo>
                  <a:lnTo>
                    <a:pt x="1262" y="1850"/>
                  </a:lnTo>
                  <a:lnTo>
                    <a:pt x="1262" y="1850"/>
                  </a:lnTo>
                  <a:lnTo>
                    <a:pt x="1264" y="1848"/>
                  </a:lnTo>
                  <a:lnTo>
                    <a:pt x="1264" y="1848"/>
                  </a:lnTo>
                  <a:lnTo>
                    <a:pt x="1266" y="1848"/>
                  </a:lnTo>
                  <a:lnTo>
                    <a:pt x="1268" y="1848"/>
                  </a:lnTo>
                  <a:lnTo>
                    <a:pt x="1270" y="1846"/>
                  </a:lnTo>
                  <a:lnTo>
                    <a:pt x="1272" y="1844"/>
                  </a:lnTo>
                  <a:lnTo>
                    <a:pt x="1274" y="1842"/>
                  </a:lnTo>
                  <a:lnTo>
                    <a:pt x="1276" y="1842"/>
                  </a:lnTo>
                  <a:lnTo>
                    <a:pt x="1276" y="1842"/>
                  </a:lnTo>
                  <a:lnTo>
                    <a:pt x="1276" y="1842"/>
                  </a:lnTo>
                  <a:lnTo>
                    <a:pt x="1278" y="1842"/>
                  </a:lnTo>
                  <a:lnTo>
                    <a:pt x="1278" y="1842"/>
                  </a:lnTo>
                  <a:lnTo>
                    <a:pt x="1278" y="1844"/>
                  </a:lnTo>
                  <a:lnTo>
                    <a:pt x="1278" y="1844"/>
                  </a:lnTo>
                  <a:lnTo>
                    <a:pt x="1276" y="1846"/>
                  </a:lnTo>
                  <a:lnTo>
                    <a:pt x="1274" y="1848"/>
                  </a:lnTo>
                  <a:lnTo>
                    <a:pt x="1272" y="1850"/>
                  </a:lnTo>
                  <a:lnTo>
                    <a:pt x="1270" y="1850"/>
                  </a:lnTo>
                  <a:lnTo>
                    <a:pt x="1270" y="1850"/>
                  </a:lnTo>
                  <a:lnTo>
                    <a:pt x="1270" y="1852"/>
                  </a:lnTo>
                  <a:lnTo>
                    <a:pt x="1268" y="1852"/>
                  </a:lnTo>
                  <a:lnTo>
                    <a:pt x="1268" y="1854"/>
                  </a:lnTo>
                  <a:lnTo>
                    <a:pt x="1264" y="1856"/>
                  </a:lnTo>
                  <a:lnTo>
                    <a:pt x="1264" y="1856"/>
                  </a:lnTo>
                  <a:lnTo>
                    <a:pt x="1264" y="1856"/>
                  </a:lnTo>
                  <a:lnTo>
                    <a:pt x="1262" y="1858"/>
                  </a:lnTo>
                  <a:lnTo>
                    <a:pt x="1262" y="1858"/>
                  </a:lnTo>
                  <a:lnTo>
                    <a:pt x="1262" y="1858"/>
                  </a:lnTo>
                  <a:lnTo>
                    <a:pt x="1262" y="1860"/>
                  </a:lnTo>
                  <a:lnTo>
                    <a:pt x="1262" y="1860"/>
                  </a:lnTo>
                  <a:lnTo>
                    <a:pt x="1260" y="1862"/>
                  </a:lnTo>
                  <a:lnTo>
                    <a:pt x="1260" y="1864"/>
                  </a:lnTo>
                  <a:lnTo>
                    <a:pt x="1260" y="1864"/>
                  </a:lnTo>
                  <a:lnTo>
                    <a:pt x="1260" y="1864"/>
                  </a:lnTo>
                  <a:lnTo>
                    <a:pt x="1260" y="1868"/>
                  </a:lnTo>
                  <a:lnTo>
                    <a:pt x="1260" y="1868"/>
                  </a:lnTo>
                  <a:lnTo>
                    <a:pt x="1260" y="1868"/>
                  </a:lnTo>
                  <a:lnTo>
                    <a:pt x="1262" y="1872"/>
                  </a:lnTo>
                  <a:lnTo>
                    <a:pt x="1262" y="1872"/>
                  </a:lnTo>
                  <a:lnTo>
                    <a:pt x="1264" y="1874"/>
                  </a:lnTo>
                  <a:lnTo>
                    <a:pt x="1264" y="1874"/>
                  </a:lnTo>
                  <a:lnTo>
                    <a:pt x="1264" y="1874"/>
                  </a:lnTo>
                  <a:lnTo>
                    <a:pt x="1266" y="1876"/>
                  </a:lnTo>
                  <a:lnTo>
                    <a:pt x="1266" y="1876"/>
                  </a:lnTo>
                  <a:lnTo>
                    <a:pt x="1268" y="1876"/>
                  </a:lnTo>
                  <a:lnTo>
                    <a:pt x="1268" y="1876"/>
                  </a:lnTo>
                  <a:lnTo>
                    <a:pt x="1268" y="1876"/>
                  </a:lnTo>
                  <a:lnTo>
                    <a:pt x="1270" y="1876"/>
                  </a:lnTo>
                  <a:lnTo>
                    <a:pt x="1272" y="1876"/>
                  </a:lnTo>
                  <a:lnTo>
                    <a:pt x="1272" y="1876"/>
                  </a:lnTo>
                  <a:lnTo>
                    <a:pt x="1272" y="1876"/>
                  </a:lnTo>
                  <a:lnTo>
                    <a:pt x="1274" y="1874"/>
                  </a:lnTo>
                  <a:lnTo>
                    <a:pt x="1274" y="1874"/>
                  </a:lnTo>
                  <a:lnTo>
                    <a:pt x="1274" y="1874"/>
                  </a:lnTo>
                  <a:lnTo>
                    <a:pt x="1276" y="1872"/>
                  </a:lnTo>
                  <a:lnTo>
                    <a:pt x="1278" y="1874"/>
                  </a:lnTo>
                  <a:lnTo>
                    <a:pt x="1278" y="1874"/>
                  </a:lnTo>
                  <a:lnTo>
                    <a:pt x="1278" y="1874"/>
                  </a:lnTo>
                  <a:lnTo>
                    <a:pt x="1280" y="1876"/>
                  </a:lnTo>
                  <a:lnTo>
                    <a:pt x="1280" y="1876"/>
                  </a:lnTo>
                  <a:lnTo>
                    <a:pt x="1282" y="1876"/>
                  </a:lnTo>
                  <a:lnTo>
                    <a:pt x="1284" y="1876"/>
                  </a:lnTo>
                  <a:lnTo>
                    <a:pt x="1284" y="1876"/>
                  </a:lnTo>
                  <a:lnTo>
                    <a:pt x="1284" y="1876"/>
                  </a:lnTo>
                  <a:lnTo>
                    <a:pt x="1286" y="1876"/>
                  </a:lnTo>
                  <a:lnTo>
                    <a:pt x="1286" y="1876"/>
                  </a:lnTo>
                  <a:lnTo>
                    <a:pt x="1288" y="1876"/>
                  </a:lnTo>
                  <a:lnTo>
                    <a:pt x="1290" y="1876"/>
                  </a:lnTo>
                  <a:lnTo>
                    <a:pt x="1290" y="1876"/>
                  </a:lnTo>
                  <a:lnTo>
                    <a:pt x="1290" y="1874"/>
                  </a:lnTo>
                  <a:lnTo>
                    <a:pt x="1292" y="1872"/>
                  </a:lnTo>
                  <a:lnTo>
                    <a:pt x="1292" y="1872"/>
                  </a:lnTo>
                  <a:lnTo>
                    <a:pt x="1292" y="1872"/>
                  </a:lnTo>
                  <a:lnTo>
                    <a:pt x="1294" y="1870"/>
                  </a:lnTo>
                  <a:lnTo>
                    <a:pt x="1294" y="1868"/>
                  </a:lnTo>
                  <a:lnTo>
                    <a:pt x="1296" y="1862"/>
                  </a:lnTo>
                  <a:lnTo>
                    <a:pt x="1296" y="1860"/>
                  </a:lnTo>
                  <a:lnTo>
                    <a:pt x="1298" y="1856"/>
                  </a:lnTo>
                  <a:lnTo>
                    <a:pt x="1298" y="1856"/>
                  </a:lnTo>
                  <a:lnTo>
                    <a:pt x="1298" y="1856"/>
                  </a:lnTo>
                  <a:lnTo>
                    <a:pt x="1300" y="1854"/>
                  </a:lnTo>
                  <a:lnTo>
                    <a:pt x="1300" y="1854"/>
                  </a:lnTo>
                  <a:lnTo>
                    <a:pt x="1300" y="1856"/>
                  </a:lnTo>
                  <a:lnTo>
                    <a:pt x="1300" y="1858"/>
                  </a:lnTo>
                  <a:lnTo>
                    <a:pt x="1300" y="1862"/>
                  </a:lnTo>
                  <a:lnTo>
                    <a:pt x="1300" y="1866"/>
                  </a:lnTo>
                  <a:lnTo>
                    <a:pt x="1300" y="1870"/>
                  </a:lnTo>
                  <a:lnTo>
                    <a:pt x="1300" y="1872"/>
                  </a:lnTo>
                  <a:lnTo>
                    <a:pt x="1300" y="1872"/>
                  </a:lnTo>
                  <a:lnTo>
                    <a:pt x="1298" y="1874"/>
                  </a:lnTo>
                  <a:lnTo>
                    <a:pt x="1294" y="1878"/>
                  </a:lnTo>
                  <a:lnTo>
                    <a:pt x="1288" y="1882"/>
                  </a:lnTo>
                  <a:lnTo>
                    <a:pt x="1288" y="1882"/>
                  </a:lnTo>
                  <a:lnTo>
                    <a:pt x="1288" y="1882"/>
                  </a:lnTo>
                  <a:lnTo>
                    <a:pt x="1286" y="1884"/>
                  </a:lnTo>
                  <a:lnTo>
                    <a:pt x="1286" y="1884"/>
                  </a:lnTo>
                  <a:lnTo>
                    <a:pt x="1286" y="1884"/>
                  </a:lnTo>
                  <a:lnTo>
                    <a:pt x="1284" y="1888"/>
                  </a:lnTo>
                  <a:lnTo>
                    <a:pt x="1282" y="1892"/>
                  </a:lnTo>
                  <a:lnTo>
                    <a:pt x="1282" y="1892"/>
                  </a:lnTo>
                  <a:lnTo>
                    <a:pt x="1280" y="1894"/>
                  </a:lnTo>
                  <a:lnTo>
                    <a:pt x="1278" y="1898"/>
                  </a:lnTo>
                  <a:lnTo>
                    <a:pt x="1278" y="1898"/>
                  </a:lnTo>
                  <a:lnTo>
                    <a:pt x="1278" y="1898"/>
                  </a:lnTo>
                  <a:lnTo>
                    <a:pt x="1278" y="1904"/>
                  </a:lnTo>
                  <a:lnTo>
                    <a:pt x="1278" y="1904"/>
                  </a:lnTo>
                  <a:lnTo>
                    <a:pt x="1278" y="1908"/>
                  </a:lnTo>
                  <a:lnTo>
                    <a:pt x="1278" y="1908"/>
                  </a:lnTo>
                  <a:lnTo>
                    <a:pt x="1280" y="1914"/>
                  </a:lnTo>
                  <a:lnTo>
                    <a:pt x="1280" y="1914"/>
                  </a:lnTo>
                  <a:lnTo>
                    <a:pt x="1280" y="1914"/>
                  </a:lnTo>
                  <a:lnTo>
                    <a:pt x="1282" y="1918"/>
                  </a:lnTo>
                  <a:lnTo>
                    <a:pt x="1286" y="1924"/>
                  </a:lnTo>
                  <a:lnTo>
                    <a:pt x="1288" y="1928"/>
                  </a:lnTo>
                  <a:lnTo>
                    <a:pt x="1288" y="1928"/>
                  </a:lnTo>
                  <a:lnTo>
                    <a:pt x="1290" y="1930"/>
                  </a:lnTo>
                  <a:lnTo>
                    <a:pt x="1290" y="1930"/>
                  </a:lnTo>
                  <a:lnTo>
                    <a:pt x="1292" y="1930"/>
                  </a:lnTo>
                  <a:lnTo>
                    <a:pt x="1294" y="1928"/>
                  </a:lnTo>
                  <a:lnTo>
                    <a:pt x="1294" y="1928"/>
                  </a:lnTo>
                  <a:lnTo>
                    <a:pt x="1296" y="1928"/>
                  </a:lnTo>
                  <a:lnTo>
                    <a:pt x="1298" y="1926"/>
                  </a:lnTo>
                  <a:lnTo>
                    <a:pt x="1298" y="1926"/>
                  </a:lnTo>
                  <a:lnTo>
                    <a:pt x="1298" y="1926"/>
                  </a:lnTo>
                  <a:lnTo>
                    <a:pt x="1298" y="1924"/>
                  </a:lnTo>
                  <a:lnTo>
                    <a:pt x="1298" y="1926"/>
                  </a:lnTo>
                  <a:lnTo>
                    <a:pt x="1298" y="1926"/>
                  </a:lnTo>
                  <a:lnTo>
                    <a:pt x="1298" y="1926"/>
                  </a:lnTo>
                  <a:lnTo>
                    <a:pt x="1300" y="1928"/>
                  </a:lnTo>
                  <a:lnTo>
                    <a:pt x="1300" y="1928"/>
                  </a:lnTo>
                  <a:lnTo>
                    <a:pt x="1300" y="1930"/>
                  </a:lnTo>
                  <a:lnTo>
                    <a:pt x="1302" y="1932"/>
                  </a:lnTo>
                  <a:lnTo>
                    <a:pt x="1302" y="1932"/>
                  </a:lnTo>
                  <a:lnTo>
                    <a:pt x="1302" y="1932"/>
                  </a:lnTo>
                  <a:lnTo>
                    <a:pt x="1304" y="1932"/>
                  </a:lnTo>
                  <a:lnTo>
                    <a:pt x="1304" y="1932"/>
                  </a:lnTo>
                  <a:lnTo>
                    <a:pt x="1304" y="1932"/>
                  </a:lnTo>
                  <a:lnTo>
                    <a:pt x="1304" y="1934"/>
                  </a:lnTo>
                  <a:lnTo>
                    <a:pt x="1304" y="1934"/>
                  </a:lnTo>
                  <a:lnTo>
                    <a:pt x="1306" y="1934"/>
                  </a:lnTo>
                  <a:lnTo>
                    <a:pt x="1306" y="1934"/>
                  </a:lnTo>
                  <a:lnTo>
                    <a:pt x="1308" y="1934"/>
                  </a:lnTo>
                  <a:lnTo>
                    <a:pt x="1308" y="1934"/>
                  </a:lnTo>
                  <a:lnTo>
                    <a:pt x="1308" y="1934"/>
                  </a:lnTo>
                  <a:lnTo>
                    <a:pt x="1310" y="1934"/>
                  </a:lnTo>
                  <a:lnTo>
                    <a:pt x="1310" y="1932"/>
                  </a:lnTo>
                  <a:lnTo>
                    <a:pt x="1310" y="1932"/>
                  </a:lnTo>
                  <a:lnTo>
                    <a:pt x="1312" y="1932"/>
                  </a:lnTo>
                  <a:lnTo>
                    <a:pt x="1312" y="1930"/>
                  </a:lnTo>
                  <a:lnTo>
                    <a:pt x="1312" y="1930"/>
                  </a:lnTo>
                  <a:lnTo>
                    <a:pt x="1314" y="1928"/>
                  </a:lnTo>
                  <a:lnTo>
                    <a:pt x="1314" y="1926"/>
                  </a:lnTo>
                  <a:lnTo>
                    <a:pt x="1314" y="1924"/>
                  </a:lnTo>
                  <a:lnTo>
                    <a:pt x="1314" y="1922"/>
                  </a:lnTo>
                  <a:lnTo>
                    <a:pt x="1316" y="1924"/>
                  </a:lnTo>
                  <a:lnTo>
                    <a:pt x="1320" y="1924"/>
                  </a:lnTo>
                  <a:lnTo>
                    <a:pt x="1322" y="1926"/>
                  </a:lnTo>
                  <a:lnTo>
                    <a:pt x="1322" y="1926"/>
                  </a:lnTo>
                  <a:lnTo>
                    <a:pt x="1322" y="1926"/>
                  </a:lnTo>
                  <a:lnTo>
                    <a:pt x="1326" y="1926"/>
                  </a:lnTo>
                  <a:lnTo>
                    <a:pt x="1326" y="1926"/>
                  </a:lnTo>
                  <a:lnTo>
                    <a:pt x="1326" y="1926"/>
                  </a:lnTo>
                  <a:lnTo>
                    <a:pt x="1328" y="1926"/>
                  </a:lnTo>
                  <a:lnTo>
                    <a:pt x="1328" y="1926"/>
                  </a:lnTo>
                  <a:lnTo>
                    <a:pt x="1330" y="1926"/>
                  </a:lnTo>
                  <a:lnTo>
                    <a:pt x="1332" y="1924"/>
                  </a:lnTo>
                  <a:lnTo>
                    <a:pt x="1332" y="1924"/>
                  </a:lnTo>
                  <a:lnTo>
                    <a:pt x="1334" y="1924"/>
                  </a:lnTo>
                  <a:lnTo>
                    <a:pt x="1334" y="1922"/>
                  </a:lnTo>
                  <a:lnTo>
                    <a:pt x="1336" y="1922"/>
                  </a:lnTo>
                  <a:lnTo>
                    <a:pt x="1340" y="1922"/>
                  </a:lnTo>
                  <a:lnTo>
                    <a:pt x="1344" y="1922"/>
                  </a:lnTo>
                  <a:lnTo>
                    <a:pt x="1342" y="1924"/>
                  </a:lnTo>
                  <a:lnTo>
                    <a:pt x="1340" y="1926"/>
                  </a:lnTo>
                  <a:lnTo>
                    <a:pt x="1336" y="1928"/>
                  </a:lnTo>
                  <a:lnTo>
                    <a:pt x="1334" y="1930"/>
                  </a:lnTo>
                  <a:lnTo>
                    <a:pt x="1332" y="1932"/>
                  </a:lnTo>
                  <a:lnTo>
                    <a:pt x="1332" y="1932"/>
                  </a:lnTo>
                  <a:lnTo>
                    <a:pt x="1332" y="1932"/>
                  </a:lnTo>
                  <a:lnTo>
                    <a:pt x="1330" y="1934"/>
                  </a:lnTo>
                  <a:lnTo>
                    <a:pt x="1330" y="1934"/>
                  </a:lnTo>
                  <a:lnTo>
                    <a:pt x="1330" y="1936"/>
                  </a:lnTo>
                  <a:lnTo>
                    <a:pt x="1330" y="1938"/>
                  </a:lnTo>
                  <a:lnTo>
                    <a:pt x="1330" y="1938"/>
                  </a:lnTo>
                  <a:lnTo>
                    <a:pt x="1330" y="1938"/>
                  </a:lnTo>
                  <a:lnTo>
                    <a:pt x="1330" y="1942"/>
                  </a:lnTo>
                  <a:lnTo>
                    <a:pt x="1330" y="1942"/>
                  </a:lnTo>
                  <a:lnTo>
                    <a:pt x="1332" y="1946"/>
                  </a:lnTo>
                  <a:lnTo>
                    <a:pt x="1332" y="1948"/>
                  </a:lnTo>
                  <a:lnTo>
                    <a:pt x="1336" y="1954"/>
                  </a:lnTo>
                  <a:lnTo>
                    <a:pt x="1336" y="1956"/>
                  </a:lnTo>
                  <a:lnTo>
                    <a:pt x="1338" y="1958"/>
                  </a:lnTo>
                  <a:lnTo>
                    <a:pt x="1338" y="1962"/>
                  </a:lnTo>
                  <a:lnTo>
                    <a:pt x="1338" y="1966"/>
                  </a:lnTo>
                  <a:lnTo>
                    <a:pt x="1338" y="1972"/>
                  </a:lnTo>
                  <a:lnTo>
                    <a:pt x="1338" y="1980"/>
                  </a:lnTo>
                  <a:lnTo>
                    <a:pt x="1338" y="1984"/>
                  </a:lnTo>
                  <a:lnTo>
                    <a:pt x="1338" y="1984"/>
                  </a:lnTo>
                  <a:lnTo>
                    <a:pt x="1338" y="1984"/>
                  </a:lnTo>
                  <a:lnTo>
                    <a:pt x="1340" y="1986"/>
                  </a:lnTo>
                  <a:lnTo>
                    <a:pt x="1340" y="1986"/>
                  </a:lnTo>
                  <a:lnTo>
                    <a:pt x="1340" y="1988"/>
                  </a:lnTo>
                  <a:lnTo>
                    <a:pt x="1340" y="1990"/>
                  </a:lnTo>
                  <a:lnTo>
                    <a:pt x="1340" y="1990"/>
                  </a:lnTo>
                  <a:lnTo>
                    <a:pt x="1340" y="1990"/>
                  </a:lnTo>
                  <a:lnTo>
                    <a:pt x="1342" y="1992"/>
                  </a:lnTo>
                  <a:lnTo>
                    <a:pt x="1342" y="1992"/>
                  </a:lnTo>
                  <a:lnTo>
                    <a:pt x="1342" y="1992"/>
                  </a:lnTo>
                  <a:lnTo>
                    <a:pt x="1344" y="1992"/>
                  </a:lnTo>
                  <a:lnTo>
                    <a:pt x="1344" y="1992"/>
                  </a:lnTo>
                  <a:lnTo>
                    <a:pt x="1346" y="1994"/>
                  </a:lnTo>
                  <a:lnTo>
                    <a:pt x="1348" y="1994"/>
                  </a:lnTo>
                  <a:lnTo>
                    <a:pt x="1348" y="1994"/>
                  </a:lnTo>
                  <a:lnTo>
                    <a:pt x="1348" y="1994"/>
                  </a:lnTo>
                  <a:lnTo>
                    <a:pt x="1348" y="1998"/>
                  </a:lnTo>
                  <a:lnTo>
                    <a:pt x="1348" y="2000"/>
                  </a:lnTo>
                  <a:lnTo>
                    <a:pt x="1346" y="2004"/>
                  </a:lnTo>
                  <a:lnTo>
                    <a:pt x="1346" y="2006"/>
                  </a:lnTo>
                  <a:lnTo>
                    <a:pt x="1346" y="2006"/>
                  </a:lnTo>
                  <a:lnTo>
                    <a:pt x="1344" y="2008"/>
                  </a:lnTo>
                  <a:lnTo>
                    <a:pt x="1344" y="2008"/>
                  </a:lnTo>
                  <a:lnTo>
                    <a:pt x="1342" y="2012"/>
                  </a:lnTo>
                  <a:lnTo>
                    <a:pt x="1340" y="2014"/>
                  </a:lnTo>
                  <a:lnTo>
                    <a:pt x="1340" y="2014"/>
                  </a:lnTo>
                  <a:lnTo>
                    <a:pt x="1340" y="2016"/>
                  </a:lnTo>
                  <a:lnTo>
                    <a:pt x="1332" y="2016"/>
                  </a:lnTo>
                  <a:lnTo>
                    <a:pt x="1328" y="2016"/>
                  </a:lnTo>
                  <a:lnTo>
                    <a:pt x="1324" y="2016"/>
                  </a:lnTo>
                  <a:lnTo>
                    <a:pt x="1320" y="2016"/>
                  </a:lnTo>
                  <a:lnTo>
                    <a:pt x="1320" y="2016"/>
                  </a:lnTo>
                  <a:lnTo>
                    <a:pt x="1320" y="2016"/>
                  </a:lnTo>
                  <a:lnTo>
                    <a:pt x="1318" y="2016"/>
                  </a:lnTo>
                  <a:lnTo>
                    <a:pt x="1318" y="2016"/>
                  </a:lnTo>
                  <a:lnTo>
                    <a:pt x="1318" y="2016"/>
                  </a:lnTo>
                  <a:lnTo>
                    <a:pt x="1318" y="2014"/>
                  </a:lnTo>
                  <a:lnTo>
                    <a:pt x="1318" y="2014"/>
                  </a:lnTo>
                  <a:lnTo>
                    <a:pt x="1318" y="2014"/>
                  </a:lnTo>
                  <a:lnTo>
                    <a:pt x="1318" y="2014"/>
                  </a:lnTo>
                  <a:lnTo>
                    <a:pt x="1316" y="2012"/>
                  </a:lnTo>
                  <a:lnTo>
                    <a:pt x="1316" y="2012"/>
                  </a:lnTo>
                  <a:lnTo>
                    <a:pt x="1316" y="2012"/>
                  </a:lnTo>
                  <a:lnTo>
                    <a:pt x="1314" y="2012"/>
                  </a:lnTo>
                  <a:lnTo>
                    <a:pt x="1310" y="2012"/>
                  </a:lnTo>
                  <a:lnTo>
                    <a:pt x="1308" y="2014"/>
                  </a:lnTo>
                  <a:lnTo>
                    <a:pt x="1306" y="2014"/>
                  </a:lnTo>
                  <a:lnTo>
                    <a:pt x="1306" y="2014"/>
                  </a:lnTo>
                  <a:lnTo>
                    <a:pt x="1306" y="2014"/>
                  </a:lnTo>
                  <a:lnTo>
                    <a:pt x="1306" y="2014"/>
                  </a:lnTo>
                  <a:lnTo>
                    <a:pt x="1304" y="2012"/>
                  </a:lnTo>
                  <a:lnTo>
                    <a:pt x="1298" y="2008"/>
                  </a:lnTo>
                  <a:lnTo>
                    <a:pt x="1298" y="2008"/>
                  </a:lnTo>
                  <a:lnTo>
                    <a:pt x="1298" y="2008"/>
                  </a:lnTo>
                  <a:lnTo>
                    <a:pt x="1294" y="2006"/>
                  </a:lnTo>
                  <a:lnTo>
                    <a:pt x="1294" y="2006"/>
                  </a:lnTo>
                  <a:lnTo>
                    <a:pt x="1294" y="2006"/>
                  </a:lnTo>
                  <a:lnTo>
                    <a:pt x="1290" y="2004"/>
                  </a:lnTo>
                  <a:lnTo>
                    <a:pt x="1290" y="2004"/>
                  </a:lnTo>
                  <a:lnTo>
                    <a:pt x="1290" y="2004"/>
                  </a:lnTo>
                  <a:lnTo>
                    <a:pt x="1286" y="2004"/>
                  </a:lnTo>
                  <a:lnTo>
                    <a:pt x="1286" y="2004"/>
                  </a:lnTo>
                  <a:lnTo>
                    <a:pt x="1286" y="2004"/>
                  </a:lnTo>
                  <a:lnTo>
                    <a:pt x="1282" y="2006"/>
                  </a:lnTo>
                  <a:lnTo>
                    <a:pt x="1282" y="2006"/>
                  </a:lnTo>
                  <a:lnTo>
                    <a:pt x="1282" y="2006"/>
                  </a:lnTo>
                  <a:lnTo>
                    <a:pt x="1278" y="2006"/>
                  </a:lnTo>
                  <a:lnTo>
                    <a:pt x="1278" y="2006"/>
                  </a:lnTo>
                  <a:lnTo>
                    <a:pt x="1278" y="2008"/>
                  </a:lnTo>
                  <a:lnTo>
                    <a:pt x="1276" y="2010"/>
                  </a:lnTo>
                  <a:lnTo>
                    <a:pt x="1276" y="2010"/>
                  </a:lnTo>
                  <a:lnTo>
                    <a:pt x="1276" y="2010"/>
                  </a:lnTo>
                  <a:lnTo>
                    <a:pt x="1274" y="2012"/>
                  </a:lnTo>
                  <a:lnTo>
                    <a:pt x="1274" y="2012"/>
                  </a:lnTo>
                  <a:lnTo>
                    <a:pt x="1274" y="2012"/>
                  </a:lnTo>
                  <a:lnTo>
                    <a:pt x="1272" y="2014"/>
                  </a:lnTo>
                  <a:lnTo>
                    <a:pt x="1272" y="2014"/>
                  </a:lnTo>
                  <a:lnTo>
                    <a:pt x="1272" y="2016"/>
                  </a:lnTo>
                  <a:lnTo>
                    <a:pt x="1272" y="2018"/>
                  </a:lnTo>
                  <a:lnTo>
                    <a:pt x="1272" y="2018"/>
                  </a:lnTo>
                  <a:lnTo>
                    <a:pt x="1274" y="2018"/>
                  </a:lnTo>
                  <a:lnTo>
                    <a:pt x="1274" y="2020"/>
                  </a:lnTo>
                  <a:lnTo>
                    <a:pt x="1274" y="2020"/>
                  </a:lnTo>
                  <a:lnTo>
                    <a:pt x="1274" y="2022"/>
                  </a:lnTo>
                  <a:lnTo>
                    <a:pt x="1276" y="2024"/>
                  </a:lnTo>
                  <a:lnTo>
                    <a:pt x="1276" y="2024"/>
                  </a:lnTo>
                  <a:lnTo>
                    <a:pt x="1278" y="2024"/>
                  </a:lnTo>
                  <a:lnTo>
                    <a:pt x="1280" y="2026"/>
                  </a:lnTo>
                  <a:lnTo>
                    <a:pt x="1280" y="2026"/>
                  </a:lnTo>
                  <a:lnTo>
                    <a:pt x="1280" y="2026"/>
                  </a:lnTo>
                  <a:lnTo>
                    <a:pt x="1286" y="2028"/>
                  </a:lnTo>
                  <a:lnTo>
                    <a:pt x="1286" y="2028"/>
                  </a:lnTo>
                  <a:lnTo>
                    <a:pt x="1286" y="2028"/>
                  </a:lnTo>
                  <a:lnTo>
                    <a:pt x="1288" y="2028"/>
                  </a:lnTo>
                  <a:lnTo>
                    <a:pt x="1288" y="2030"/>
                  </a:lnTo>
                  <a:lnTo>
                    <a:pt x="1286" y="2030"/>
                  </a:lnTo>
                  <a:lnTo>
                    <a:pt x="1286" y="2032"/>
                  </a:lnTo>
                  <a:lnTo>
                    <a:pt x="1284" y="2032"/>
                  </a:lnTo>
                  <a:lnTo>
                    <a:pt x="1284" y="2034"/>
                  </a:lnTo>
                  <a:lnTo>
                    <a:pt x="1280" y="2034"/>
                  </a:lnTo>
                  <a:lnTo>
                    <a:pt x="1274" y="2036"/>
                  </a:lnTo>
                  <a:lnTo>
                    <a:pt x="1274" y="2036"/>
                  </a:lnTo>
                  <a:lnTo>
                    <a:pt x="1274" y="2036"/>
                  </a:lnTo>
                  <a:lnTo>
                    <a:pt x="1270" y="2038"/>
                  </a:lnTo>
                  <a:lnTo>
                    <a:pt x="1270" y="2038"/>
                  </a:lnTo>
                  <a:lnTo>
                    <a:pt x="1270" y="2038"/>
                  </a:lnTo>
                  <a:lnTo>
                    <a:pt x="1266" y="2038"/>
                  </a:lnTo>
                  <a:lnTo>
                    <a:pt x="1266" y="2038"/>
                  </a:lnTo>
                  <a:lnTo>
                    <a:pt x="1266" y="2040"/>
                  </a:lnTo>
                  <a:lnTo>
                    <a:pt x="1264" y="2040"/>
                  </a:lnTo>
                  <a:lnTo>
                    <a:pt x="1264" y="2040"/>
                  </a:lnTo>
                  <a:lnTo>
                    <a:pt x="1264" y="2042"/>
                  </a:lnTo>
                  <a:lnTo>
                    <a:pt x="1262" y="2044"/>
                  </a:lnTo>
                  <a:lnTo>
                    <a:pt x="1262" y="2044"/>
                  </a:lnTo>
                  <a:lnTo>
                    <a:pt x="1262" y="2044"/>
                  </a:lnTo>
                  <a:lnTo>
                    <a:pt x="1260" y="2046"/>
                  </a:lnTo>
                  <a:lnTo>
                    <a:pt x="1260" y="2046"/>
                  </a:lnTo>
                  <a:lnTo>
                    <a:pt x="1262" y="2050"/>
                  </a:lnTo>
                  <a:lnTo>
                    <a:pt x="1262" y="2050"/>
                  </a:lnTo>
                  <a:lnTo>
                    <a:pt x="1264" y="2050"/>
                  </a:lnTo>
                  <a:lnTo>
                    <a:pt x="1270" y="2050"/>
                  </a:lnTo>
                  <a:lnTo>
                    <a:pt x="1278" y="2050"/>
                  </a:lnTo>
                  <a:lnTo>
                    <a:pt x="1284" y="2050"/>
                  </a:lnTo>
                  <a:lnTo>
                    <a:pt x="1288" y="2050"/>
                  </a:lnTo>
                  <a:lnTo>
                    <a:pt x="1286" y="2052"/>
                  </a:lnTo>
                  <a:lnTo>
                    <a:pt x="1286" y="2052"/>
                  </a:lnTo>
                  <a:lnTo>
                    <a:pt x="1284" y="2056"/>
                  </a:lnTo>
                  <a:lnTo>
                    <a:pt x="1284" y="2058"/>
                  </a:lnTo>
                  <a:lnTo>
                    <a:pt x="1284" y="2056"/>
                  </a:lnTo>
                  <a:lnTo>
                    <a:pt x="1282" y="2058"/>
                  </a:lnTo>
                  <a:lnTo>
                    <a:pt x="1282" y="2058"/>
                  </a:lnTo>
                  <a:lnTo>
                    <a:pt x="1280" y="2060"/>
                  </a:lnTo>
                  <a:lnTo>
                    <a:pt x="1278" y="2060"/>
                  </a:lnTo>
                  <a:lnTo>
                    <a:pt x="1278" y="2060"/>
                  </a:lnTo>
                  <a:lnTo>
                    <a:pt x="1276" y="2062"/>
                  </a:lnTo>
                  <a:lnTo>
                    <a:pt x="1276" y="2064"/>
                  </a:lnTo>
                  <a:lnTo>
                    <a:pt x="1276" y="2064"/>
                  </a:lnTo>
                  <a:lnTo>
                    <a:pt x="1276" y="2066"/>
                  </a:lnTo>
                  <a:lnTo>
                    <a:pt x="1278" y="2066"/>
                  </a:lnTo>
                  <a:lnTo>
                    <a:pt x="1282" y="2066"/>
                  </a:lnTo>
                  <a:lnTo>
                    <a:pt x="1282" y="2066"/>
                  </a:lnTo>
                  <a:lnTo>
                    <a:pt x="1284" y="2066"/>
                  </a:lnTo>
                  <a:lnTo>
                    <a:pt x="1284" y="2066"/>
                  </a:lnTo>
                  <a:lnTo>
                    <a:pt x="1284" y="2068"/>
                  </a:lnTo>
                  <a:lnTo>
                    <a:pt x="1286" y="2070"/>
                  </a:lnTo>
                  <a:lnTo>
                    <a:pt x="1288" y="2072"/>
                  </a:lnTo>
                  <a:lnTo>
                    <a:pt x="1288" y="2074"/>
                  </a:lnTo>
                  <a:lnTo>
                    <a:pt x="1286" y="2074"/>
                  </a:lnTo>
                  <a:lnTo>
                    <a:pt x="1286" y="2074"/>
                  </a:lnTo>
                  <a:lnTo>
                    <a:pt x="1284" y="2076"/>
                  </a:lnTo>
                  <a:lnTo>
                    <a:pt x="1284" y="2076"/>
                  </a:lnTo>
                  <a:lnTo>
                    <a:pt x="1282" y="2078"/>
                  </a:lnTo>
                  <a:lnTo>
                    <a:pt x="1278" y="2080"/>
                  </a:lnTo>
                  <a:lnTo>
                    <a:pt x="1272" y="2084"/>
                  </a:lnTo>
                  <a:lnTo>
                    <a:pt x="1262" y="2086"/>
                  </a:lnTo>
                  <a:lnTo>
                    <a:pt x="1256" y="2088"/>
                  </a:lnTo>
                  <a:lnTo>
                    <a:pt x="1248" y="2092"/>
                  </a:lnTo>
                  <a:lnTo>
                    <a:pt x="1248" y="2092"/>
                  </a:lnTo>
                  <a:lnTo>
                    <a:pt x="1248" y="2092"/>
                  </a:lnTo>
                  <a:lnTo>
                    <a:pt x="1244" y="2094"/>
                  </a:lnTo>
                  <a:lnTo>
                    <a:pt x="1244" y="2094"/>
                  </a:lnTo>
                  <a:lnTo>
                    <a:pt x="1244" y="2094"/>
                  </a:lnTo>
                  <a:lnTo>
                    <a:pt x="1242" y="2098"/>
                  </a:lnTo>
                  <a:lnTo>
                    <a:pt x="1242" y="2098"/>
                  </a:lnTo>
                  <a:lnTo>
                    <a:pt x="1242" y="2098"/>
                  </a:lnTo>
                  <a:lnTo>
                    <a:pt x="1240" y="2100"/>
                  </a:lnTo>
                  <a:lnTo>
                    <a:pt x="1240" y="2100"/>
                  </a:lnTo>
                  <a:lnTo>
                    <a:pt x="1238" y="2100"/>
                  </a:lnTo>
                  <a:lnTo>
                    <a:pt x="1238" y="2102"/>
                  </a:lnTo>
                  <a:lnTo>
                    <a:pt x="1238" y="2102"/>
                  </a:lnTo>
                  <a:lnTo>
                    <a:pt x="1234" y="2100"/>
                  </a:lnTo>
                  <a:lnTo>
                    <a:pt x="1228" y="2098"/>
                  </a:lnTo>
                  <a:lnTo>
                    <a:pt x="1226" y="2098"/>
                  </a:lnTo>
                  <a:lnTo>
                    <a:pt x="1226" y="2098"/>
                  </a:lnTo>
                  <a:lnTo>
                    <a:pt x="1222" y="2100"/>
                  </a:lnTo>
                  <a:lnTo>
                    <a:pt x="1222" y="2100"/>
                  </a:lnTo>
                  <a:lnTo>
                    <a:pt x="1222" y="2102"/>
                  </a:lnTo>
                  <a:lnTo>
                    <a:pt x="1226" y="2108"/>
                  </a:lnTo>
                  <a:lnTo>
                    <a:pt x="1230" y="2114"/>
                  </a:lnTo>
                  <a:lnTo>
                    <a:pt x="1230" y="2114"/>
                  </a:lnTo>
                  <a:lnTo>
                    <a:pt x="1230" y="2116"/>
                  </a:lnTo>
                  <a:lnTo>
                    <a:pt x="1234" y="2120"/>
                  </a:lnTo>
                  <a:lnTo>
                    <a:pt x="1234" y="2120"/>
                  </a:lnTo>
                  <a:lnTo>
                    <a:pt x="1234" y="2120"/>
                  </a:lnTo>
                  <a:lnTo>
                    <a:pt x="1238" y="2124"/>
                  </a:lnTo>
                  <a:lnTo>
                    <a:pt x="1240" y="2124"/>
                  </a:lnTo>
                  <a:lnTo>
                    <a:pt x="1240" y="2124"/>
                  </a:lnTo>
                  <a:lnTo>
                    <a:pt x="1244" y="2124"/>
                  </a:lnTo>
                  <a:lnTo>
                    <a:pt x="1246" y="2122"/>
                  </a:lnTo>
                  <a:lnTo>
                    <a:pt x="1246" y="2122"/>
                  </a:lnTo>
                  <a:lnTo>
                    <a:pt x="1248" y="2122"/>
                  </a:lnTo>
                  <a:lnTo>
                    <a:pt x="1250" y="2120"/>
                  </a:lnTo>
                  <a:lnTo>
                    <a:pt x="1250" y="2120"/>
                  </a:lnTo>
                  <a:lnTo>
                    <a:pt x="1252" y="2122"/>
                  </a:lnTo>
                  <a:lnTo>
                    <a:pt x="1254" y="2122"/>
                  </a:lnTo>
                  <a:lnTo>
                    <a:pt x="1252" y="2122"/>
                  </a:lnTo>
                  <a:lnTo>
                    <a:pt x="1256" y="2124"/>
                  </a:lnTo>
                  <a:lnTo>
                    <a:pt x="1258" y="2126"/>
                  </a:lnTo>
                  <a:lnTo>
                    <a:pt x="1260" y="2128"/>
                  </a:lnTo>
                  <a:lnTo>
                    <a:pt x="1260" y="2128"/>
                  </a:lnTo>
                  <a:lnTo>
                    <a:pt x="1260" y="2128"/>
                  </a:lnTo>
                  <a:lnTo>
                    <a:pt x="1262" y="2128"/>
                  </a:lnTo>
                  <a:lnTo>
                    <a:pt x="1262" y="2128"/>
                  </a:lnTo>
                  <a:lnTo>
                    <a:pt x="1262" y="2130"/>
                  </a:lnTo>
                  <a:lnTo>
                    <a:pt x="1264" y="2130"/>
                  </a:lnTo>
                  <a:lnTo>
                    <a:pt x="1264" y="2130"/>
                  </a:lnTo>
                  <a:lnTo>
                    <a:pt x="1264" y="2130"/>
                  </a:lnTo>
                  <a:lnTo>
                    <a:pt x="1266" y="2130"/>
                  </a:lnTo>
                  <a:lnTo>
                    <a:pt x="1266" y="2130"/>
                  </a:lnTo>
                  <a:lnTo>
                    <a:pt x="1268" y="2130"/>
                  </a:lnTo>
                  <a:lnTo>
                    <a:pt x="1270" y="2128"/>
                  </a:lnTo>
                  <a:lnTo>
                    <a:pt x="1270" y="2128"/>
                  </a:lnTo>
                  <a:lnTo>
                    <a:pt x="1270" y="2128"/>
                  </a:lnTo>
                  <a:lnTo>
                    <a:pt x="1270" y="2128"/>
                  </a:lnTo>
                  <a:lnTo>
                    <a:pt x="1274" y="2128"/>
                  </a:lnTo>
                  <a:lnTo>
                    <a:pt x="1278" y="2132"/>
                  </a:lnTo>
                  <a:lnTo>
                    <a:pt x="1282" y="2132"/>
                  </a:lnTo>
                  <a:lnTo>
                    <a:pt x="1282" y="2132"/>
                  </a:lnTo>
                  <a:lnTo>
                    <a:pt x="1282" y="2134"/>
                  </a:lnTo>
                  <a:lnTo>
                    <a:pt x="1286" y="2134"/>
                  </a:lnTo>
                  <a:lnTo>
                    <a:pt x="1286" y="2134"/>
                  </a:lnTo>
                  <a:lnTo>
                    <a:pt x="1286" y="2140"/>
                  </a:lnTo>
                  <a:lnTo>
                    <a:pt x="1286" y="2140"/>
                  </a:lnTo>
                  <a:lnTo>
                    <a:pt x="1288" y="2142"/>
                  </a:lnTo>
                  <a:lnTo>
                    <a:pt x="1292" y="2146"/>
                  </a:lnTo>
                  <a:lnTo>
                    <a:pt x="1292" y="2146"/>
                  </a:lnTo>
                  <a:lnTo>
                    <a:pt x="1292" y="2146"/>
                  </a:lnTo>
                  <a:lnTo>
                    <a:pt x="1296" y="2148"/>
                  </a:lnTo>
                  <a:lnTo>
                    <a:pt x="1296" y="2148"/>
                  </a:lnTo>
                  <a:lnTo>
                    <a:pt x="1296" y="2148"/>
                  </a:lnTo>
                  <a:lnTo>
                    <a:pt x="1300" y="2148"/>
                  </a:lnTo>
                  <a:lnTo>
                    <a:pt x="1300" y="2148"/>
                  </a:lnTo>
                  <a:lnTo>
                    <a:pt x="1302" y="2148"/>
                  </a:lnTo>
                  <a:lnTo>
                    <a:pt x="1304" y="2148"/>
                  </a:lnTo>
                  <a:lnTo>
                    <a:pt x="1306" y="2148"/>
                  </a:lnTo>
                  <a:lnTo>
                    <a:pt x="1308" y="2148"/>
                  </a:lnTo>
                  <a:lnTo>
                    <a:pt x="1308" y="2148"/>
                  </a:lnTo>
                  <a:lnTo>
                    <a:pt x="1308" y="2148"/>
                  </a:lnTo>
                  <a:lnTo>
                    <a:pt x="1312" y="2148"/>
                  </a:lnTo>
                  <a:lnTo>
                    <a:pt x="1316" y="2146"/>
                  </a:lnTo>
                  <a:lnTo>
                    <a:pt x="1318" y="2144"/>
                  </a:lnTo>
                  <a:lnTo>
                    <a:pt x="1324" y="2140"/>
                  </a:lnTo>
                  <a:lnTo>
                    <a:pt x="1326" y="2138"/>
                  </a:lnTo>
                  <a:lnTo>
                    <a:pt x="1330" y="2136"/>
                  </a:lnTo>
                  <a:lnTo>
                    <a:pt x="1332" y="2136"/>
                  </a:lnTo>
                  <a:lnTo>
                    <a:pt x="1332" y="2136"/>
                  </a:lnTo>
                  <a:lnTo>
                    <a:pt x="1336" y="2136"/>
                  </a:lnTo>
                  <a:lnTo>
                    <a:pt x="1340" y="2136"/>
                  </a:lnTo>
                  <a:lnTo>
                    <a:pt x="1340" y="2136"/>
                  </a:lnTo>
                  <a:lnTo>
                    <a:pt x="1340" y="2138"/>
                  </a:lnTo>
                  <a:lnTo>
                    <a:pt x="1340" y="2138"/>
                  </a:lnTo>
                  <a:lnTo>
                    <a:pt x="1336" y="2142"/>
                  </a:lnTo>
                  <a:lnTo>
                    <a:pt x="1332" y="2146"/>
                  </a:lnTo>
                  <a:lnTo>
                    <a:pt x="1328" y="2148"/>
                  </a:lnTo>
                  <a:lnTo>
                    <a:pt x="1322" y="2152"/>
                  </a:lnTo>
                  <a:lnTo>
                    <a:pt x="1318" y="2156"/>
                  </a:lnTo>
                  <a:lnTo>
                    <a:pt x="1318" y="2156"/>
                  </a:lnTo>
                  <a:lnTo>
                    <a:pt x="1318" y="2156"/>
                  </a:lnTo>
                  <a:lnTo>
                    <a:pt x="1314" y="2162"/>
                  </a:lnTo>
                  <a:lnTo>
                    <a:pt x="1314" y="2162"/>
                  </a:lnTo>
                  <a:lnTo>
                    <a:pt x="1312" y="2162"/>
                  </a:lnTo>
                  <a:lnTo>
                    <a:pt x="1310" y="2166"/>
                  </a:lnTo>
                  <a:lnTo>
                    <a:pt x="1308" y="2164"/>
                  </a:lnTo>
                  <a:lnTo>
                    <a:pt x="1304" y="2162"/>
                  </a:lnTo>
                  <a:lnTo>
                    <a:pt x="1304" y="2164"/>
                  </a:lnTo>
                  <a:lnTo>
                    <a:pt x="1300" y="2160"/>
                  </a:lnTo>
                  <a:lnTo>
                    <a:pt x="1296" y="2158"/>
                  </a:lnTo>
                  <a:lnTo>
                    <a:pt x="1294" y="2154"/>
                  </a:lnTo>
                  <a:lnTo>
                    <a:pt x="1290" y="2152"/>
                  </a:lnTo>
                  <a:lnTo>
                    <a:pt x="1290" y="2152"/>
                  </a:lnTo>
                  <a:lnTo>
                    <a:pt x="1288" y="2152"/>
                  </a:lnTo>
                  <a:lnTo>
                    <a:pt x="1284" y="2152"/>
                  </a:lnTo>
                  <a:lnTo>
                    <a:pt x="1284" y="2152"/>
                  </a:lnTo>
                  <a:lnTo>
                    <a:pt x="1284" y="2152"/>
                  </a:lnTo>
                  <a:lnTo>
                    <a:pt x="1282" y="2152"/>
                  </a:lnTo>
                  <a:lnTo>
                    <a:pt x="1282" y="2152"/>
                  </a:lnTo>
                  <a:lnTo>
                    <a:pt x="1282" y="2150"/>
                  </a:lnTo>
                  <a:lnTo>
                    <a:pt x="1282" y="2150"/>
                  </a:lnTo>
                  <a:lnTo>
                    <a:pt x="1282" y="2150"/>
                  </a:lnTo>
                  <a:lnTo>
                    <a:pt x="1280" y="2148"/>
                  </a:lnTo>
                  <a:lnTo>
                    <a:pt x="1280" y="2148"/>
                  </a:lnTo>
                  <a:lnTo>
                    <a:pt x="1280" y="2148"/>
                  </a:lnTo>
                  <a:lnTo>
                    <a:pt x="1278" y="2148"/>
                  </a:lnTo>
                  <a:lnTo>
                    <a:pt x="1276" y="2148"/>
                  </a:lnTo>
                  <a:lnTo>
                    <a:pt x="1274" y="2152"/>
                  </a:lnTo>
                  <a:lnTo>
                    <a:pt x="1272" y="2156"/>
                  </a:lnTo>
                  <a:lnTo>
                    <a:pt x="1270" y="2160"/>
                  </a:lnTo>
                  <a:lnTo>
                    <a:pt x="1268" y="2160"/>
                  </a:lnTo>
                  <a:lnTo>
                    <a:pt x="1268" y="2160"/>
                  </a:lnTo>
                  <a:lnTo>
                    <a:pt x="1268" y="2160"/>
                  </a:lnTo>
                  <a:lnTo>
                    <a:pt x="1268" y="2160"/>
                  </a:lnTo>
                  <a:lnTo>
                    <a:pt x="1264" y="2158"/>
                  </a:lnTo>
                  <a:lnTo>
                    <a:pt x="1260" y="2156"/>
                  </a:lnTo>
                  <a:lnTo>
                    <a:pt x="1256" y="2156"/>
                  </a:lnTo>
                  <a:lnTo>
                    <a:pt x="1256" y="2156"/>
                  </a:lnTo>
                  <a:lnTo>
                    <a:pt x="1252" y="2156"/>
                  </a:lnTo>
                  <a:lnTo>
                    <a:pt x="1252" y="2156"/>
                  </a:lnTo>
                  <a:lnTo>
                    <a:pt x="1252" y="2160"/>
                  </a:lnTo>
                  <a:lnTo>
                    <a:pt x="1252" y="2160"/>
                  </a:lnTo>
                  <a:lnTo>
                    <a:pt x="1252" y="2160"/>
                  </a:lnTo>
                  <a:lnTo>
                    <a:pt x="1252" y="2162"/>
                  </a:lnTo>
                  <a:lnTo>
                    <a:pt x="1252" y="2166"/>
                  </a:lnTo>
                  <a:lnTo>
                    <a:pt x="1252" y="2166"/>
                  </a:lnTo>
                  <a:lnTo>
                    <a:pt x="1250" y="2166"/>
                  </a:lnTo>
                  <a:lnTo>
                    <a:pt x="1250" y="2166"/>
                  </a:lnTo>
                  <a:lnTo>
                    <a:pt x="1250" y="2168"/>
                  </a:lnTo>
                  <a:lnTo>
                    <a:pt x="1248" y="2168"/>
                  </a:lnTo>
                  <a:lnTo>
                    <a:pt x="1244" y="2170"/>
                  </a:lnTo>
                  <a:lnTo>
                    <a:pt x="1242" y="2170"/>
                  </a:lnTo>
                  <a:lnTo>
                    <a:pt x="1244" y="2170"/>
                  </a:lnTo>
                  <a:lnTo>
                    <a:pt x="1242" y="2170"/>
                  </a:lnTo>
                  <a:lnTo>
                    <a:pt x="1242" y="2170"/>
                  </a:lnTo>
                  <a:lnTo>
                    <a:pt x="1240" y="2172"/>
                  </a:lnTo>
                  <a:lnTo>
                    <a:pt x="1240" y="2172"/>
                  </a:lnTo>
                  <a:lnTo>
                    <a:pt x="1240" y="2174"/>
                  </a:lnTo>
                  <a:lnTo>
                    <a:pt x="1240" y="2176"/>
                  </a:lnTo>
                  <a:lnTo>
                    <a:pt x="1240" y="2180"/>
                  </a:lnTo>
                  <a:lnTo>
                    <a:pt x="1240" y="2182"/>
                  </a:lnTo>
                  <a:lnTo>
                    <a:pt x="1238" y="2184"/>
                  </a:lnTo>
                  <a:lnTo>
                    <a:pt x="1240" y="2184"/>
                  </a:lnTo>
                  <a:lnTo>
                    <a:pt x="1238" y="2186"/>
                  </a:lnTo>
                  <a:lnTo>
                    <a:pt x="1234" y="2188"/>
                  </a:lnTo>
                  <a:lnTo>
                    <a:pt x="1232" y="2188"/>
                  </a:lnTo>
                  <a:lnTo>
                    <a:pt x="1228" y="2192"/>
                  </a:lnTo>
                  <a:lnTo>
                    <a:pt x="1222" y="2196"/>
                  </a:lnTo>
                  <a:lnTo>
                    <a:pt x="1214" y="2200"/>
                  </a:lnTo>
                  <a:lnTo>
                    <a:pt x="1212" y="2202"/>
                  </a:lnTo>
                  <a:lnTo>
                    <a:pt x="1210" y="2206"/>
                  </a:lnTo>
                  <a:lnTo>
                    <a:pt x="1210" y="2206"/>
                  </a:lnTo>
                  <a:lnTo>
                    <a:pt x="1208" y="2206"/>
                  </a:lnTo>
                  <a:lnTo>
                    <a:pt x="1206" y="2208"/>
                  </a:lnTo>
                  <a:lnTo>
                    <a:pt x="1206" y="2208"/>
                  </a:lnTo>
                  <a:lnTo>
                    <a:pt x="1206" y="2210"/>
                  </a:lnTo>
                  <a:lnTo>
                    <a:pt x="1206" y="2210"/>
                  </a:lnTo>
                  <a:lnTo>
                    <a:pt x="1206" y="2210"/>
                  </a:lnTo>
                  <a:lnTo>
                    <a:pt x="1204" y="2208"/>
                  </a:lnTo>
                  <a:lnTo>
                    <a:pt x="1204" y="2208"/>
                  </a:lnTo>
                  <a:lnTo>
                    <a:pt x="1202" y="2208"/>
                  </a:lnTo>
                  <a:lnTo>
                    <a:pt x="1200" y="2208"/>
                  </a:lnTo>
                  <a:lnTo>
                    <a:pt x="1200" y="2208"/>
                  </a:lnTo>
                  <a:lnTo>
                    <a:pt x="1196" y="2208"/>
                  </a:lnTo>
                  <a:lnTo>
                    <a:pt x="1196" y="2208"/>
                  </a:lnTo>
                  <a:lnTo>
                    <a:pt x="1196" y="2208"/>
                  </a:lnTo>
                  <a:lnTo>
                    <a:pt x="1192" y="2210"/>
                  </a:lnTo>
                  <a:lnTo>
                    <a:pt x="1188" y="2212"/>
                  </a:lnTo>
                  <a:lnTo>
                    <a:pt x="1184" y="2214"/>
                  </a:lnTo>
                  <a:lnTo>
                    <a:pt x="1182" y="2216"/>
                  </a:lnTo>
                  <a:lnTo>
                    <a:pt x="1182" y="2216"/>
                  </a:lnTo>
                  <a:lnTo>
                    <a:pt x="1180" y="2218"/>
                  </a:lnTo>
                  <a:lnTo>
                    <a:pt x="1180" y="2218"/>
                  </a:lnTo>
                  <a:lnTo>
                    <a:pt x="1180" y="2220"/>
                  </a:lnTo>
                  <a:lnTo>
                    <a:pt x="1182" y="2222"/>
                  </a:lnTo>
                  <a:lnTo>
                    <a:pt x="1182" y="2222"/>
                  </a:lnTo>
                  <a:lnTo>
                    <a:pt x="1182" y="2222"/>
                  </a:lnTo>
                  <a:lnTo>
                    <a:pt x="1184" y="2222"/>
                  </a:lnTo>
                  <a:lnTo>
                    <a:pt x="1184" y="2222"/>
                  </a:lnTo>
                  <a:lnTo>
                    <a:pt x="1186" y="2222"/>
                  </a:lnTo>
                  <a:lnTo>
                    <a:pt x="1186" y="2222"/>
                  </a:lnTo>
                  <a:lnTo>
                    <a:pt x="1186" y="2222"/>
                  </a:lnTo>
                  <a:lnTo>
                    <a:pt x="1186" y="2222"/>
                  </a:lnTo>
                  <a:lnTo>
                    <a:pt x="1186" y="2224"/>
                  </a:lnTo>
                  <a:lnTo>
                    <a:pt x="1186" y="2224"/>
                  </a:lnTo>
                  <a:lnTo>
                    <a:pt x="1188" y="2226"/>
                  </a:lnTo>
                  <a:lnTo>
                    <a:pt x="1188" y="2226"/>
                  </a:lnTo>
                  <a:lnTo>
                    <a:pt x="1190" y="2226"/>
                  </a:lnTo>
                  <a:lnTo>
                    <a:pt x="1192" y="2226"/>
                  </a:lnTo>
                  <a:lnTo>
                    <a:pt x="1194" y="2224"/>
                  </a:lnTo>
                  <a:lnTo>
                    <a:pt x="1196" y="2224"/>
                  </a:lnTo>
                  <a:lnTo>
                    <a:pt x="1198" y="2224"/>
                  </a:lnTo>
                  <a:lnTo>
                    <a:pt x="1200" y="2224"/>
                  </a:lnTo>
                  <a:lnTo>
                    <a:pt x="1202" y="2226"/>
                  </a:lnTo>
                  <a:lnTo>
                    <a:pt x="1206" y="2226"/>
                  </a:lnTo>
                  <a:lnTo>
                    <a:pt x="1208" y="2228"/>
                  </a:lnTo>
                  <a:lnTo>
                    <a:pt x="1208" y="2228"/>
                  </a:lnTo>
                  <a:lnTo>
                    <a:pt x="1210" y="2228"/>
                  </a:lnTo>
                  <a:lnTo>
                    <a:pt x="1212" y="2230"/>
                  </a:lnTo>
                  <a:lnTo>
                    <a:pt x="1212" y="2230"/>
                  </a:lnTo>
                  <a:lnTo>
                    <a:pt x="1214" y="2230"/>
                  </a:lnTo>
                  <a:lnTo>
                    <a:pt x="1216" y="2230"/>
                  </a:lnTo>
                  <a:lnTo>
                    <a:pt x="1216" y="2230"/>
                  </a:lnTo>
                  <a:lnTo>
                    <a:pt x="1218" y="2230"/>
                  </a:lnTo>
                  <a:lnTo>
                    <a:pt x="1222" y="2228"/>
                  </a:lnTo>
                  <a:lnTo>
                    <a:pt x="1222" y="2228"/>
                  </a:lnTo>
                  <a:lnTo>
                    <a:pt x="1222" y="2228"/>
                  </a:lnTo>
                  <a:lnTo>
                    <a:pt x="1228" y="2226"/>
                  </a:lnTo>
                  <a:lnTo>
                    <a:pt x="1230" y="2222"/>
                  </a:lnTo>
                  <a:lnTo>
                    <a:pt x="1234" y="2220"/>
                  </a:lnTo>
                  <a:lnTo>
                    <a:pt x="1238" y="2216"/>
                  </a:lnTo>
                  <a:lnTo>
                    <a:pt x="1242" y="2214"/>
                  </a:lnTo>
                  <a:lnTo>
                    <a:pt x="1246" y="2212"/>
                  </a:lnTo>
                  <a:lnTo>
                    <a:pt x="1246" y="2212"/>
                  </a:lnTo>
                  <a:lnTo>
                    <a:pt x="1248" y="2210"/>
                  </a:lnTo>
                  <a:lnTo>
                    <a:pt x="1248" y="2210"/>
                  </a:lnTo>
                  <a:lnTo>
                    <a:pt x="1248" y="2212"/>
                  </a:lnTo>
                  <a:lnTo>
                    <a:pt x="1250" y="2212"/>
                  </a:lnTo>
                  <a:lnTo>
                    <a:pt x="1250" y="2212"/>
                  </a:lnTo>
                  <a:lnTo>
                    <a:pt x="1250" y="2212"/>
                  </a:lnTo>
                  <a:lnTo>
                    <a:pt x="1250" y="2214"/>
                  </a:lnTo>
                  <a:lnTo>
                    <a:pt x="1250" y="2214"/>
                  </a:lnTo>
                  <a:lnTo>
                    <a:pt x="1254" y="2214"/>
                  </a:lnTo>
                  <a:lnTo>
                    <a:pt x="1258" y="2214"/>
                  </a:lnTo>
                  <a:lnTo>
                    <a:pt x="1258" y="2216"/>
                  </a:lnTo>
                  <a:lnTo>
                    <a:pt x="1258" y="2216"/>
                  </a:lnTo>
                  <a:lnTo>
                    <a:pt x="1258" y="2216"/>
                  </a:lnTo>
                  <a:lnTo>
                    <a:pt x="1260" y="2218"/>
                  </a:lnTo>
                  <a:lnTo>
                    <a:pt x="1260" y="2218"/>
                  </a:lnTo>
                  <a:lnTo>
                    <a:pt x="1260" y="2220"/>
                  </a:lnTo>
                  <a:lnTo>
                    <a:pt x="1262" y="2222"/>
                  </a:lnTo>
                  <a:lnTo>
                    <a:pt x="1262" y="2222"/>
                  </a:lnTo>
                  <a:lnTo>
                    <a:pt x="1262" y="2222"/>
                  </a:lnTo>
                  <a:lnTo>
                    <a:pt x="1264" y="2224"/>
                  </a:lnTo>
                  <a:lnTo>
                    <a:pt x="1264" y="2224"/>
                  </a:lnTo>
                  <a:lnTo>
                    <a:pt x="1264" y="2224"/>
                  </a:lnTo>
                  <a:lnTo>
                    <a:pt x="1268" y="2224"/>
                  </a:lnTo>
                  <a:lnTo>
                    <a:pt x="1268" y="2224"/>
                  </a:lnTo>
                  <a:lnTo>
                    <a:pt x="1268" y="2226"/>
                  </a:lnTo>
                  <a:lnTo>
                    <a:pt x="1270" y="2226"/>
                  </a:lnTo>
                  <a:lnTo>
                    <a:pt x="1270" y="2226"/>
                  </a:lnTo>
                  <a:lnTo>
                    <a:pt x="1272" y="2226"/>
                  </a:lnTo>
                  <a:lnTo>
                    <a:pt x="1272" y="2232"/>
                  </a:lnTo>
                  <a:lnTo>
                    <a:pt x="1272" y="2232"/>
                  </a:lnTo>
                  <a:lnTo>
                    <a:pt x="1272" y="2234"/>
                  </a:lnTo>
                  <a:lnTo>
                    <a:pt x="1274" y="2236"/>
                  </a:lnTo>
                  <a:lnTo>
                    <a:pt x="1274" y="2236"/>
                  </a:lnTo>
                  <a:lnTo>
                    <a:pt x="1276" y="2236"/>
                  </a:lnTo>
                  <a:lnTo>
                    <a:pt x="1276" y="2234"/>
                  </a:lnTo>
                  <a:lnTo>
                    <a:pt x="1278" y="2232"/>
                  </a:lnTo>
                  <a:lnTo>
                    <a:pt x="1278" y="2230"/>
                  </a:lnTo>
                  <a:lnTo>
                    <a:pt x="1282" y="2226"/>
                  </a:lnTo>
                  <a:lnTo>
                    <a:pt x="1284" y="2222"/>
                  </a:lnTo>
                  <a:lnTo>
                    <a:pt x="1286" y="2220"/>
                  </a:lnTo>
                  <a:lnTo>
                    <a:pt x="1288" y="2220"/>
                  </a:lnTo>
                  <a:lnTo>
                    <a:pt x="1288" y="2220"/>
                  </a:lnTo>
                  <a:lnTo>
                    <a:pt x="1288" y="2218"/>
                  </a:lnTo>
                  <a:lnTo>
                    <a:pt x="1288" y="2214"/>
                  </a:lnTo>
                  <a:lnTo>
                    <a:pt x="1290" y="2208"/>
                  </a:lnTo>
                  <a:lnTo>
                    <a:pt x="1292" y="2204"/>
                  </a:lnTo>
                  <a:lnTo>
                    <a:pt x="1294" y="2202"/>
                  </a:lnTo>
                  <a:lnTo>
                    <a:pt x="1294" y="2202"/>
                  </a:lnTo>
                  <a:lnTo>
                    <a:pt x="1294" y="2202"/>
                  </a:lnTo>
                  <a:lnTo>
                    <a:pt x="1294" y="2204"/>
                  </a:lnTo>
                  <a:lnTo>
                    <a:pt x="1298" y="2204"/>
                  </a:lnTo>
                  <a:lnTo>
                    <a:pt x="1298" y="2204"/>
                  </a:lnTo>
                  <a:lnTo>
                    <a:pt x="1298" y="2204"/>
                  </a:lnTo>
                  <a:lnTo>
                    <a:pt x="1302" y="2204"/>
                  </a:lnTo>
                  <a:lnTo>
                    <a:pt x="1306" y="2206"/>
                  </a:lnTo>
                  <a:lnTo>
                    <a:pt x="1312" y="2204"/>
                  </a:lnTo>
                  <a:lnTo>
                    <a:pt x="1320" y="2204"/>
                  </a:lnTo>
                  <a:lnTo>
                    <a:pt x="1324" y="2204"/>
                  </a:lnTo>
                  <a:lnTo>
                    <a:pt x="1328" y="2204"/>
                  </a:lnTo>
                  <a:lnTo>
                    <a:pt x="1328" y="2204"/>
                  </a:lnTo>
                  <a:lnTo>
                    <a:pt x="1330" y="2206"/>
                  </a:lnTo>
                  <a:lnTo>
                    <a:pt x="1332" y="2206"/>
                  </a:lnTo>
                  <a:lnTo>
                    <a:pt x="1334" y="2208"/>
                  </a:lnTo>
                  <a:lnTo>
                    <a:pt x="1336" y="2210"/>
                  </a:lnTo>
                  <a:lnTo>
                    <a:pt x="1336" y="2212"/>
                  </a:lnTo>
                  <a:lnTo>
                    <a:pt x="1338" y="2216"/>
                  </a:lnTo>
                  <a:lnTo>
                    <a:pt x="1338" y="2216"/>
                  </a:lnTo>
                  <a:lnTo>
                    <a:pt x="1338" y="2218"/>
                  </a:lnTo>
                  <a:lnTo>
                    <a:pt x="1340" y="2218"/>
                  </a:lnTo>
                  <a:lnTo>
                    <a:pt x="1342" y="2218"/>
                  </a:lnTo>
                  <a:lnTo>
                    <a:pt x="1342" y="2218"/>
                  </a:lnTo>
                  <a:lnTo>
                    <a:pt x="1344" y="2218"/>
                  </a:lnTo>
                  <a:lnTo>
                    <a:pt x="1346" y="2218"/>
                  </a:lnTo>
                  <a:lnTo>
                    <a:pt x="1346" y="2218"/>
                  </a:lnTo>
                  <a:lnTo>
                    <a:pt x="1346" y="2218"/>
                  </a:lnTo>
                  <a:lnTo>
                    <a:pt x="1350" y="2216"/>
                  </a:lnTo>
                  <a:lnTo>
                    <a:pt x="1350" y="2216"/>
                  </a:lnTo>
                  <a:lnTo>
                    <a:pt x="1350" y="2214"/>
                  </a:lnTo>
                  <a:lnTo>
                    <a:pt x="1352" y="2210"/>
                  </a:lnTo>
                  <a:lnTo>
                    <a:pt x="1352" y="2210"/>
                  </a:lnTo>
                  <a:lnTo>
                    <a:pt x="1352" y="2210"/>
                  </a:lnTo>
                  <a:lnTo>
                    <a:pt x="1354" y="2208"/>
                  </a:lnTo>
                  <a:lnTo>
                    <a:pt x="1354" y="2208"/>
                  </a:lnTo>
                  <a:lnTo>
                    <a:pt x="1354" y="2208"/>
                  </a:lnTo>
                  <a:lnTo>
                    <a:pt x="1354" y="2210"/>
                  </a:lnTo>
                  <a:lnTo>
                    <a:pt x="1354" y="2212"/>
                  </a:lnTo>
                  <a:lnTo>
                    <a:pt x="1354" y="2214"/>
                  </a:lnTo>
                  <a:lnTo>
                    <a:pt x="1354" y="2214"/>
                  </a:lnTo>
                  <a:lnTo>
                    <a:pt x="1356" y="2216"/>
                  </a:lnTo>
                  <a:lnTo>
                    <a:pt x="1356" y="2216"/>
                  </a:lnTo>
                  <a:lnTo>
                    <a:pt x="1358" y="2216"/>
                  </a:lnTo>
                  <a:lnTo>
                    <a:pt x="1360" y="2216"/>
                  </a:lnTo>
                  <a:lnTo>
                    <a:pt x="1362" y="2214"/>
                  </a:lnTo>
                  <a:lnTo>
                    <a:pt x="1366" y="2210"/>
                  </a:lnTo>
                  <a:lnTo>
                    <a:pt x="1370" y="2210"/>
                  </a:lnTo>
                  <a:lnTo>
                    <a:pt x="1370" y="2210"/>
                  </a:lnTo>
                  <a:lnTo>
                    <a:pt x="1370" y="2216"/>
                  </a:lnTo>
                  <a:lnTo>
                    <a:pt x="1370" y="2216"/>
                  </a:lnTo>
                  <a:lnTo>
                    <a:pt x="1372" y="2218"/>
                  </a:lnTo>
                  <a:lnTo>
                    <a:pt x="1374" y="2218"/>
                  </a:lnTo>
                  <a:lnTo>
                    <a:pt x="1376" y="2218"/>
                  </a:lnTo>
                  <a:lnTo>
                    <a:pt x="1376" y="2220"/>
                  </a:lnTo>
                  <a:lnTo>
                    <a:pt x="1376" y="2220"/>
                  </a:lnTo>
                  <a:lnTo>
                    <a:pt x="1376" y="2220"/>
                  </a:lnTo>
                  <a:lnTo>
                    <a:pt x="1376" y="2222"/>
                  </a:lnTo>
                  <a:lnTo>
                    <a:pt x="1376" y="2222"/>
                  </a:lnTo>
                  <a:lnTo>
                    <a:pt x="1378" y="2222"/>
                  </a:lnTo>
                  <a:lnTo>
                    <a:pt x="1380" y="2222"/>
                  </a:lnTo>
                  <a:lnTo>
                    <a:pt x="1382" y="2224"/>
                  </a:lnTo>
                  <a:lnTo>
                    <a:pt x="1382" y="2224"/>
                  </a:lnTo>
                  <a:lnTo>
                    <a:pt x="1382" y="2224"/>
                  </a:lnTo>
                  <a:lnTo>
                    <a:pt x="1384" y="2224"/>
                  </a:lnTo>
                  <a:lnTo>
                    <a:pt x="1384" y="2224"/>
                  </a:lnTo>
                  <a:lnTo>
                    <a:pt x="1384" y="2224"/>
                  </a:lnTo>
                  <a:lnTo>
                    <a:pt x="1386" y="2224"/>
                  </a:lnTo>
                  <a:lnTo>
                    <a:pt x="1386" y="2224"/>
                  </a:lnTo>
                  <a:lnTo>
                    <a:pt x="1388" y="2222"/>
                  </a:lnTo>
                  <a:lnTo>
                    <a:pt x="1390" y="2220"/>
                  </a:lnTo>
                  <a:lnTo>
                    <a:pt x="1390" y="2220"/>
                  </a:lnTo>
                  <a:lnTo>
                    <a:pt x="1390" y="2220"/>
                  </a:lnTo>
                  <a:lnTo>
                    <a:pt x="1390" y="2218"/>
                  </a:lnTo>
                  <a:lnTo>
                    <a:pt x="1390" y="2218"/>
                  </a:lnTo>
                  <a:lnTo>
                    <a:pt x="1390" y="2216"/>
                  </a:lnTo>
                  <a:lnTo>
                    <a:pt x="1390" y="2214"/>
                  </a:lnTo>
                  <a:lnTo>
                    <a:pt x="1390" y="2210"/>
                  </a:lnTo>
                  <a:lnTo>
                    <a:pt x="1390" y="2208"/>
                  </a:lnTo>
                  <a:lnTo>
                    <a:pt x="1392" y="2210"/>
                  </a:lnTo>
                  <a:lnTo>
                    <a:pt x="1394" y="2212"/>
                  </a:lnTo>
                  <a:lnTo>
                    <a:pt x="1394" y="2214"/>
                  </a:lnTo>
                  <a:lnTo>
                    <a:pt x="1394" y="2214"/>
                  </a:lnTo>
                  <a:lnTo>
                    <a:pt x="1394" y="2216"/>
                  </a:lnTo>
                  <a:lnTo>
                    <a:pt x="1394" y="2216"/>
                  </a:lnTo>
                  <a:lnTo>
                    <a:pt x="1396" y="2218"/>
                  </a:lnTo>
                  <a:lnTo>
                    <a:pt x="1396" y="2218"/>
                  </a:lnTo>
                  <a:lnTo>
                    <a:pt x="1398" y="2218"/>
                  </a:lnTo>
                  <a:lnTo>
                    <a:pt x="1398" y="2218"/>
                  </a:lnTo>
                  <a:lnTo>
                    <a:pt x="1400" y="2218"/>
                  </a:lnTo>
                  <a:lnTo>
                    <a:pt x="1402" y="2218"/>
                  </a:lnTo>
                  <a:lnTo>
                    <a:pt x="1402" y="2218"/>
                  </a:lnTo>
                  <a:lnTo>
                    <a:pt x="1402" y="2216"/>
                  </a:lnTo>
                  <a:lnTo>
                    <a:pt x="1404" y="2216"/>
                  </a:lnTo>
                  <a:lnTo>
                    <a:pt x="1404" y="2216"/>
                  </a:lnTo>
                  <a:lnTo>
                    <a:pt x="1404" y="2216"/>
                  </a:lnTo>
                  <a:lnTo>
                    <a:pt x="1404" y="2218"/>
                  </a:lnTo>
                  <a:lnTo>
                    <a:pt x="1406" y="2218"/>
                  </a:lnTo>
                  <a:lnTo>
                    <a:pt x="1406" y="2218"/>
                  </a:lnTo>
                  <a:lnTo>
                    <a:pt x="1406" y="2218"/>
                  </a:lnTo>
                  <a:lnTo>
                    <a:pt x="1408" y="2220"/>
                  </a:lnTo>
                  <a:lnTo>
                    <a:pt x="1408" y="2220"/>
                  </a:lnTo>
                  <a:lnTo>
                    <a:pt x="1410" y="2220"/>
                  </a:lnTo>
                  <a:lnTo>
                    <a:pt x="1412" y="2218"/>
                  </a:lnTo>
                  <a:lnTo>
                    <a:pt x="1412" y="2218"/>
                  </a:lnTo>
                  <a:lnTo>
                    <a:pt x="1412" y="2218"/>
                  </a:lnTo>
                  <a:lnTo>
                    <a:pt x="1414" y="2218"/>
                  </a:lnTo>
                  <a:lnTo>
                    <a:pt x="1414" y="2218"/>
                  </a:lnTo>
                  <a:lnTo>
                    <a:pt x="1414" y="2220"/>
                  </a:lnTo>
                  <a:lnTo>
                    <a:pt x="1414" y="2220"/>
                  </a:lnTo>
                  <a:lnTo>
                    <a:pt x="1418" y="2220"/>
                  </a:lnTo>
                  <a:lnTo>
                    <a:pt x="1420" y="2220"/>
                  </a:lnTo>
                  <a:lnTo>
                    <a:pt x="1422" y="2218"/>
                  </a:lnTo>
                  <a:lnTo>
                    <a:pt x="1426" y="2218"/>
                  </a:lnTo>
                  <a:lnTo>
                    <a:pt x="1428" y="2218"/>
                  </a:lnTo>
                  <a:lnTo>
                    <a:pt x="1432" y="2220"/>
                  </a:lnTo>
                  <a:lnTo>
                    <a:pt x="1434" y="2220"/>
                  </a:lnTo>
                  <a:lnTo>
                    <a:pt x="1440" y="2222"/>
                  </a:lnTo>
                  <a:lnTo>
                    <a:pt x="1442" y="2224"/>
                  </a:lnTo>
                  <a:lnTo>
                    <a:pt x="1442" y="2224"/>
                  </a:lnTo>
                  <a:lnTo>
                    <a:pt x="1444" y="2224"/>
                  </a:lnTo>
                  <a:lnTo>
                    <a:pt x="1444" y="2226"/>
                  </a:lnTo>
                  <a:lnTo>
                    <a:pt x="1444" y="2226"/>
                  </a:lnTo>
                  <a:lnTo>
                    <a:pt x="1444" y="2226"/>
                  </a:lnTo>
                  <a:lnTo>
                    <a:pt x="1446" y="2228"/>
                  </a:lnTo>
                  <a:lnTo>
                    <a:pt x="1446" y="2228"/>
                  </a:lnTo>
                  <a:lnTo>
                    <a:pt x="1446" y="2228"/>
                  </a:lnTo>
                  <a:lnTo>
                    <a:pt x="1448" y="2228"/>
                  </a:lnTo>
                  <a:lnTo>
                    <a:pt x="1450" y="2228"/>
                  </a:lnTo>
                  <a:lnTo>
                    <a:pt x="1450" y="2228"/>
                  </a:lnTo>
                  <a:lnTo>
                    <a:pt x="1450" y="2230"/>
                  </a:lnTo>
                  <a:lnTo>
                    <a:pt x="1452" y="2230"/>
                  </a:lnTo>
                  <a:lnTo>
                    <a:pt x="1452" y="2230"/>
                  </a:lnTo>
                  <a:lnTo>
                    <a:pt x="1454" y="2228"/>
                  </a:lnTo>
                  <a:lnTo>
                    <a:pt x="1454" y="2228"/>
                  </a:lnTo>
                  <a:lnTo>
                    <a:pt x="1456" y="2228"/>
                  </a:lnTo>
                  <a:lnTo>
                    <a:pt x="1458" y="2226"/>
                  </a:lnTo>
                  <a:lnTo>
                    <a:pt x="1460" y="2226"/>
                  </a:lnTo>
                  <a:lnTo>
                    <a:pt x="1462" y="2224"/>
                  </a:lnTo>
                  <a:lnTo>
                    <a:pt x="1462" y="2224"/>
                  </a:lnTo>
                  <a:lnTo>
                    <a:pt x="1464" y="2222"/>
                  </a:lnTo>
                  <a:lnTo>
                    <a:pt x="1464" y="2222"/>
                  </a:lnTo>
                  <a:lnTo>
                    <a:pt x="1466" y="2222"/>
                  </a:lnTo>
                  <a:lnTo>
                    <a:pt x="1470" y="2220"/>
                  </a:lnTo>
                  <a:lnTo>
                    <a:pt x="1472" y="2218"/>
                  </a:lnTo>
                  <a:lnTo>
                    <a:pt x="1476" y="2218"/>
                  </a:lnTo>
                  <a:lnTo>
                    <a:pt x="1484" y="2214"/>
                  </a:lnTo>
                  <a:lnTo>
                    <a:pt x="1492" y="2212"/>
                  </a:lnTo>
                  <a:lnTo>
                    <a:pt x="1500" y="2208"/>
                  </a:lnTo>
                  <a:lnTo>
                    <a:pt x="1502" y="2206"/>
                  </a:lnTo>
                  <a:lnTo>
                    <a:pt x="1506" y="2204"/>
                  </a:lnTo>
                  <a:lnTo>
                    <a:pt x="1508" y="2202"/>
                  </a:lnTo>
                  <a:lnTo>
                    <a:pt x="1508" y="2202"/>
                  </a:lnTo>
                  <a:lnTo>
                    <a:pt x="1508" y="2200"/>
                  </a:lnTo>
                  <a:lnTo>
                    <a:pt x="1510" y="2198"/>
                  </a:lnTo>
                  <a:lnTo>
                    <a:pt x="1510" y="2198"/>
                  </a:lnTo>
                  <a:lnTo>
                    <a:pt x="1510" y="2198"/>
                  </a:lnTo>
                  <a:lnTo>
                    <a:pt x="1512" y="2196"/>
                  </a:lnTo>
                  <a:lnTo>
                    <a:pt x="1512" y="2196"/>
                  </a:lnTo>
                  <a:lnTo>
                    <a:pt x="1512" y="2196"/>
                  </a:lnTo>
                  <a:lnTo>
                    <a:pt x="1512" y="2192"/>
                  </a:lnTo>
                  <a:lnTo>
                    <a:pt x="1512" y="2192"/>
                  </a:lnTo>
                  <a:lnTo>
                    <a:pt x="1512" y="2190"/>
                  </a:lnTo>
                  <a:lnTo>
                    <a:pt x="1508" y="2188"/>
                  </a:lnTo>
                  <a:lnTo>
                    <a:pt x="1506" y="2186"/>
                  </a:lnTo>
                  <a:lnTo>
                    <a:pt x="1504" y="2184"/>
                  </a:lnTo>
                  <a:lnTo>
                    <a:pt x="1504" y="2184"/>
                  </a:lnTo>
                  <a:lnTo>
                    <a:pt x="1504" y="2184"/>
                  </a:lnTo>
                  <a:lnTo>
                    <a:pt x="1500" y="2182"/>
                  </a:lnTo>
                  <a:lnTo>
                    <a:pt x="1500" y="2182"/>
                  </a:lnTo>
                  <a:lnTo>
                    <a:pt x="1500" y="2182"/>
                  </a:lnTo>
                  <a:lnTo>
                    <a:pt x="1494" y="2180"/>
                  </a:lnTo>
                  <a:lnTo>
                    <a:pt x="1490" y="2180"/>
                  </a:lnTo>
                  <a:lnTo>
                    <a:pt x="1484" y="2178"/>
                  </a:lnTo>
                  <a:lnTo>
                    <a:pt x="1480" y="2178"/>
                  </a:lnTo>
                  <a:lnTo>
                    <a:pt x="1478" y="2178"/>
                  </a:lnTo>
                  <a:lnTo>
                    <a:pt x="1476" y="2178"/>
                  </a:lnTo>
                  <a:lnTo>
                    <a:pt x="1474" y="2178"/>
                  </a:lnTo>
                  <a:lnTo>
                    <a:pt x="1472" y="2178"/>
                  </a:lnTo>
                  <a:lnTo>
                    <a:pt x="1470" y="2176"/>
                  </a:lnTo>
                  <a:lnTo>
                    <a:pt x="1470" y="2176"/>
                  </a:lnTo>
                  <a:lnTo>
                    <a:pt x="1470" y="2176"/>
                  </a:lnTo>
                  <a:lnTo>
                    <a:pt x="1470" y="2174"/>
                  </a:lnTo>
                  <a:lnTo>
                    <a:pt x="1472" y="2172"/>
                  </a:lnTo>
                  <a:lnTo>
                    <a:pt x="1474" y="2172"/>
                  </a:lnTo>
                  <a:lnTo>
                    <a:pt x="1474" y="2170"/>
                  </a:lnTo>
                  <a:lnTo>
                    <a:pt x="1476" y="2170"/>
                  </a:lnTo>
                  <a:lnTo>
                    <a:pt x="1476" y="2170"/>
                  </a:lnTo>
                  <a:lnTo>
                    <a:pt x="1478" y="2168"/>
                  </a:lnTo>
                  <a:lnTo>
                    <a:pt x="1480" y="2168"/>
                  </a:lnTo>
                  <a:lnTo>
                    <a:pt x="1482" y="2170"/>
                  </a:lnTo>
                  <a:lnTo>
                    <a:pt x="1482" y="2170"/>
                  </a:lnTo>
                  <a:lnTo>
                    <a:pt x="1486" y="2170"/>
                  </a:lnTo>
                  <a:lnTo>
                    <a:pt x="1484" y="2170"/>
                  </a:lnTo>
                  <a:lnTo>
                    <a:pt x="1488" y="2172"/>
                  </a:lnTo>
                  <a:lnTo>
                    <a:pt x="1488" y="2172"/>
                  </a:lnTo>
                  <a:lnTo>
                    <a:pt x="1490" y="2172"/>
                  </a:lnTo>
                  <a:lnTo>
                    <a:pt x="1490" y="2172"/>
                  </a:lnTo>
                  <a:lnTo>
                    <a:pt x="1492" y="2170"/>
                  </a:lnTo>
                  <a:lnTo>
                    <a:pt x="1492" y="2168"/>
                  </a:lnTo>
                  <a:lnTo>
                    <a:pt x="1492" y="2168"/>
                  </a:lnTo>
                  <a:lnTo>
                    <a:pt x="1492" y="2168"/>
                  </a:lnTo>
                  <a:lnTo>
                    <a:pt x="1492" y="2166"/>
                  </a:lnTo>
                  <a:lnTo>
                    <a:pt x="1492" y="2166"/>
                  </a:lnTo>
                  <a:lnTo>
                    <a:pt x="1492" y="2164"/>
                  </a:lnTo>
                  <a:lnTo>
                    <a:pt x="1492" y="2162"/>
                  </a:lnTo>
                  <a:lnTo>
                    <a:pt x="1492" y="2162"/>
                  </a:lnTo>
                  <a:lnTo>
                    <a:pt x="1492" y="2162"/>
                  </a:lnTo>
                  <a:lnTo>
                    <a:pt x="1490" y="2160"/>
                  </a:lnTo>
                  <a:lnTo>
                    <a:pt x="1490" y="2160"/>
                  </a:lnTo>
                  <a:lnTo>
                    <a:pt x="1490" y="2160"/>
                  </a:lnTo>
                  <a:lnTo>
                    <a:pt x="1490" y="2160"/>
                  </a:lnTo>
                  <a:lnTo>
                    <a:pt x="1490" y="2160"/>
                  </a:lnTo>
                  <a:lnTo>
                    <a:pt x="1496" y="2158"/>
                  </a:lnTo>
                  <a:lnTo>
                    <a:pt x="1502" y="2158"/>
                  </a:lnTo>
                  <a:lnTo>
                    <a:pt x="1502" y="2158"/>
                  </a:lnTo>
                  <a:lnTo>
                    <a:pt x="1502" y="2158"/>
                  </a:lnTo>
                  <a:lnTo>
                    <a:pt x="1506" y="2156"/>
                  </a:lnTo>
                  <a:lnTo>
                    <a:pt x="1506" y="2156"/>
                  </a:lnTo>
                  <a:lnTo>
                    <a:pt x="1508" y="2156"/>
                  </a:lnTo>
                  <a:lnTo>
                    <a:pt x="1510" y="2154"/>
                  </a:lnTo>
                  <a:lnTo>
                    <a:pt x="1510" y="2154"/>
                  </a:lnTo>
                  <a:lnTo>
                    <a:pt x="1510" y="2154"/>
                  </a:lnTo>
                  <a:lnTo>
                    <a:pt x="1512" y="2152"/>
                  </a:lnTo>
                  <a:lnTo>
                    <a:pt x="1512" y="2152"/>
                  </a:lnTo>
                  <a:lnTo>
                    <a:pt x="1512" y="2152"/>
                  </a:lnTo>
                  <a:lnTo>
                    <a:pt x="1514" y="2150"/>
                  </a:lnTo>
                  <a:lnTo>
                    <a:pt x="1514" y="2150"/>
                  </a:lnTo>
                  <a:lnTo>
                    <a:pt x="1514" y="2150"/>
                  </a:lnTo>
                  <a:lnTo>
                    <a:pt x="1516" y="2146"/>
                  </a:lnTo>
                  <a:lnTo>
                    <a:pt x="1516" y="2146"/>
                  </a:lnTo>
                  <a:lnTo>
                    <a:pt x="1516" y="2146"/>
                  </a:lnTo>
                  <a:lnTo>
                    <a:pt x="1516" y="2144"/>
                  </a:lnTo>
                  <a:lnTo>
                    <a:pt x="1516" y="2144"/>
                  </a:lnTo>
                  <a:lnTo>
                    <a:pt x="1516" y="2144"/>
                  </a:lnTo>
                  <a:lnTo>
                    <a:pt x="1516" y="2140"/>
                  </a:lnTo>
                  <a:lnTo>
                    <a:pt x="1516" y="2140"/>
                  </a:lnTo>
                  <a:lnTo>
                    <a:pt x="1516" y="2138"/>
                  </a:lnTo>
                  <a:lnTo>
                    <a:pt x="1516" y="2138"/>
                  </a:lnTo>
                  <a:lnTo>
                    <a:pt x="1514" y="2136"/>
                  </a:lnTo>
                  <a:lnTo>
                    <a:pt x="1510" y="2136"/>
                  </a:lnTo>
                  <a:lnTo>
                    <a:pt x="1506" y="2136"/>
                  </a:lnTo>
                  <a:lnTo>
                    <a:pt x="1506" y="2136"/>
                  </a:lnTo>
                  <a:lnTo>
                    <a:pt x="1510" y="2134"/>
                  </a:lnTo>
                  <a:lnTo>
                    <a:pt x="1516" y="2134"/>
                  </a:lnTo>
                  <a:lnTo>
                    <a:pt x="1516" y="2134"/>
                  </a:lnTo>
                  <a:lnTo>
                    <a:pt x="1516" y="2134"/>
                  </a:lnTo>
                  <a:lnTo>
                    <a:pt x="1518" y="2132"/>
                  </a:lnTo>
                  <a:lnTo>
                    <a:pt x="1518" y="2132"/>
                  </a:lnTo>
                  <a:lnTo>
                    <a:pt x="1520" y="2132"/>
                  </a:lnTo>
                  <a:lnTo>
                    <a:pt x="1522" y="2132"/>
                  </a:lnTo>
                  <a:lnTo>
                    <a:pt x="1522" y="2132"/>
                  </a:lnTo>
                  <a:lnTo>
                    <a:pt x="1522" y="2130"/>
                  </a:lnTo>
                  <a:lnTo>
                    <a:pt x="1526" y="2126"/>
                  </a:lnTo>
                  <a:lnTo>
                    <a:pt x="1526" y="2126"/>
                  </a:lnTo>
                  <a:lnTo>
                    <a:pt x="1526" y="2126"/>
                  </a:lnTo>
                  <a:lnTo>
                    <a:pt x="1528" y="2122"/>
                  </a:lnTo>
                  <a:lnTo>
                    <a:pt x="1530" y="2116"/>
                  </a:lnTo>
                  <a:lnTo>
                    <a:pt x="1532" y="2110"/>
                  </a:lnTo>
                  <a:lnTo>
                    <a:pt x="1532" y="2104"/>
                  </a:lnTo>
                  <a:lnTo>
                    <a:pt x="1534" y="2100"/>
                  </a:lnTo>
                  <a:lnTo>
                    <a:pt x="1534" y="2094"/>
                  </a:lnTo>
                  <a:lnTo>
                    <a:pt x="1534" y="2088"/>
                  </a:lnTo>
                  <a:lnTo>
                    <a:pt x="1534" y="2088"/>
                  </a:lnTo>
                  <a:lnTo>
                    <a:pt x="1532" y="2086"/>
                  </a:lnTo>
                  <a:lnTo>
                    <a:pt x="1528" y="2084"/>
                  </a:lnTo>
                  <a:lnTo>
                    <a:pt x="1528" y="2084"/>
                  </a:lnTo>
                  <a:lnTo>
                    <a:pt x="1524" y="2082"/>
                  </a:lnTo>
                  <a:lnTo>
                    <a:pt x="1518" y="2076"/>
                  </a:lnTo>
                  <a:lnTo>
                    <a:pt x="1514" y="2074"/>
                  </a:lnTo>
                  <a:lnTo>
                    <a:pt x="1510" y="2070"/>
                  </a:lnTo>
                  <a:lnTo>
                    <a:pt x="1510" y="2070"/>
                  </a:lnTo>
                  <a:lnTo>
                    <a:pt x="1508" y="2070"/>
                  </a:lnTo>
                  <a:lnTo>
                    <a:pt x="1504" y="2070"/>
                  </a:lnTo>
                  <a:lnTo>
                    <a:pt x="1504" y="2070"/>
                  </a:lnTo>
                  <a:lnTo>
                    <a:pt x="1504" y="2070"/>
                  </a:lnTo>
                  <a:lnTo>
                    <a:pt x="1498" y="2068"/>
                  </a:lnTo>
                  <a:lnTo>
                    <a:pt x="1496" y="2068"/>
                  </a:lnTo>
                  <a:lnTo>
                    <a:pt x="1494" y="2068"/>
                  </a:lnTo>
                  <a:lnTo>
                    <a:pt x="1494" y="2068"/>
                  </a:lnTo>
                  <a:lnTo>
                    <a:pt x="1490" y="2070"/>
                  </a:lnTo>
                  <a:lnTo>
                    <a:pt x="1490" y="2070"/>
                  </a:lnTo>
                  <a:lnTo>
                    <a:pt x="1490" y="2070"/>
                  </a:lnTo>
                  <a:lnTo>
                    <a:pt x="1486" y="2072"/>
                  </a:lnTo>
                  <a:lnTo>
                    <a:pt x="1486" y="2072"/>
                  </a:lnTo>
                  <a:lnTo>
                    <a:pt x="1486" y="2072"/>
                  </a:lnTo>
                  <a:lnTo>
                    <a:pt x="1482" y="2074"/>
                  </a:lnTo>
                  <a:lnTo>
                    <a:pt x="1480" y="2076"/>
                  </a:lnTo>
                  <a:lnTo>
                    <a:pt x="1476" y="2076"/>
                  </a:lnTo>
                  <a:lnTo>
                    <a:pt x="1476" y="2076"/>
                  </a:lnTo>
                  <a:lnTo>
                    <a:pt x="1476" y="2076"/>
                  </a:lnTo>
                  <a:lnTo>
                    <a:pt x="1474" y="2076"/>
                  </a:lnTo>
                  <a:lnTo>
                    <a:pt x="1474" y="2076"/>
                  </a:lnTo>
                  <a:lnTo>
                    <a:pt x="1474" y="2076"/>
                  </a:lnTo>
                  <a:lnTo>
                    <a:pt x="1472" y="2074"/>
                  </a:lnTo>
                  <a:lnTo>
                    <a:pt x="1470" y="2072"/>
                  </a:lnTo>
                  <a:lnTo>
                    <a:pt x="1470" y="2070"/>
                  </a:lnTo>
                  <a:lnTo>
                    <a:pt x="1474" y="2068"/>
                  </a:lnTo>
                  <a:lnTo>
                    <a:pt x="1474" y="2068"/>
                  </a:lnTo>
                  <a:lnTo>
                    <a:pt x="1474" y="2068"/>
                  </a:lnTo>
                  <a:lnTo>
                    <a:pt x="1476" y="2066"/>
                  </a:lnTo>
                  <a:lnTo>
                    <a:pt x="1476" y="2066"/>
                  </a:lnTo>
                  <a:lnTo>
                    <a:pt x="1476" y="2066"/>
                  </a:lnTo>
                  <a:lnTo>
                    <a:pt x="1478" y="2062"/>
                  </a:lnTo>
                  <a:lnTo>
                    <a:pt x="1478" y="2062"/>
                  </a:lnTo>
                  <a:lnTo>
                    <a:pt x="1478" y="2062"/>
                  </a:lnTo>
                  <a:lnTo>
                    <a:pt x="1478" y="2060"/>
                  </a:lnTo>
                  <a:lnTo>
                    <a:pt x="1478" y="2060"/>
                  </a:lnTo>
                  <a:lnTo>
                    <a:pt x="1478" y="2060"/>
                  </a:lnTo>
                  <a:lnTo>
                    <a:pt x="1480" y="2056"/>
                  </a:lnTo>
                  <a:lnTo>
                    <a:pt x="1480" y="2056"/>
                  </a:lnTo>
                  <a:lnTo>
                    <a:pt x="1480" y="2054"/>
                  </a:lnTo>
                  <a:lnTo>
                    <a:pt x="1480" y="2052"/>
                  </a:lnTo>
                  <a:lnTo>
                    <a:pt x="1478" y="2050"/>
                  </a:lnTo>
                  <a:lnTo>
                    <a:pt x="1478" y="2050"/>
                  </a:lnTo>
                  <a:lnTo>
                    <a:pt x="1476" y="2048"/>
                  </a:lnTo>
                  <a:lnTo>
                    <a:pt x="1474" y="2048"/>
                  </a:lnTo>
                  <a:lnTo>
                    <a:pt x="1472" y="2046"/>
                  </a:lnTo>
                  <a:lnTo>
                    <a:pt x="1470" y="2046"/>
                  </a:lnTo>
                  <a:lnTo>
                    <a:pt x="1470" y="2044"/>
                  </a:lnTo>
                  <a:lnTo>
                    <a:pt x="1470" y="2044"/>
                  </a:lnTo>
                  <a:lnTo>
                    <a:pt x="1470" y="2042"/>
                  </a:lnTo>
                  <a:lnTo>
                    <a:pt x="1472" y="2040"/>
                  </a:lnTo>
                  <a:lnTo>
                    <a:pt x="1474" y="2038"/>
                  </a:lnTo>
                  <a:lnTo>
                    <a:pt x="1474" y="2038"/>
                  </a:lnTo>
                  <a:lnTo>
                    <a:pt x="1474" y="2036"/>
                  </a:lnTo>
                  <a:lnTo>
                    <a:pt x="1474" y="2036"/>
                  </a:lnTo>
                  <a:lnTo>
                    <a:pt x="1474" y="2032"/>
                  </a:lnTo>
                  <a:lnTo>
                    <a:pt x="1470" y="2032"/>
                  </a:lnTo>
                  <a:lnTo>
                    <a:pt x="1470" y="2030"/>
                  </a:lnTo>
                  <a:lnTo>
                    <a:pt x="1468" y="2026"/>
                  </a:lnTo>
                  <a:lnTo>
                    <a:pt x="1468" y="2026"/>
                  </a:lnTo>
                  <a:lnTo>
                    <a:pt x="1470" y="2026"/>
                  </a:lnTo>
                  <a:lnTo>
                    <a:pt x="1472" y="2024"/>
                  </a:lnTo>
                  <a:lnTo>
                    <a:pt x="1474" y="2024"/>
                  </a:lnTo>
                  <a:lnTo>
                    <a:pt x="1476" y="2024"/>
                  </a:lnTo>
                  <a:lnTo>
                    <a:pt x="1476" y="2024"/>
                  </a:lnTo>
                  <a:lnTo>
                    <a:pt x="1478" y="2022"/>
                  </a:lnTo>
                  <a:lnTo>
                    <a:pt x="1478" y="2020"/>
                  </a:lnTo>
                  <a:lnTo>
                    <a:pt x="1478" y="2020"/>
                  </a:lnTo>
                  <a:lnTo>
                    <a:pt x="1478" y="2020"/>
                  </a:lnTo>
                  <a:lnTo>
                    <a:pt x="1476" y="2018"/>
                  </a:lnTo>
                  <a:lnTo>
                    <a:pt x="1474" y="2016"/>
                  </a:lnTo>
                  <a:lnTo>
                    <a:pt x="1472" y="2016"/>
                  </a:lnTo>
                  <a:lnTo>
                    <a:pt x="1472" y="2016"/>
                  </a:lnTo>
                  <a:lnTo>
                    <a:pt x="1470" y="2014"/>
                  </a:lnTo>
                  <a:lnTo>
                    <a:pt x="1468" y="2010"/>
                  </a:lnTo>
                  <a:lnTo>
                    <a:pt x="1466" y="2008"/>
                  </a:lnTo>
                  <a:lnTo>
                    <a:pt x="1466" y="2008"/>
                  </a:lnTo>
                  <a:lnTo>
                    <a:pt x="1464" y="2006"/>
                  </a:lnTo>
                  <a:lnTo>
                    <a:pt x="1464" y="2002"/>
                  </a:lnTo>
                  <a:lnTo>
                    <a:pt x="1464" y="2002"/>
                  </a:lnTo>
                  <a:lnTo>
                    <a:pt x="1464" y="2000"/>
                  </a:lnTo>
                  <a:lnTo>
                    <a:pt x="1464" y="2000"/>
                  </a:lnTo>
                  <a:lnTo>
                    <a:pt x="1466" y="1998"/>
                  </a:lnTo>
                  <a:lnTo>
                    <a:pt x="1468" y="1996"/>
                  </a:lnTo>
                  <a:lnTo>
                    <a:pt x="1468" y="1996"/>
                  </a:lnTo>
                  <a:lnTo>
                    <a:pt x="1468" y="1994"/>
                  </a:lnTo>
                  <a:lnTo>
                    <a:pt x="1468" y="1994"/>
                  </a:lnTo>
                  <a:lnTo>
                    <a:pt x="1468" y="1994"/>
                  </a:lnTo>
                  <a:lnTo>
                    <a:pt x="1468" y="1992"/>
                  </a:lnTo>
                  <a:lnTo>
                    <a:pt x="1468" y="1992"/>
                  </a:lnTo>
                  <a:lnTo>
                    <a:pt x="1468" y="1990"/>
                  </a:lnTo>
                  <a:lnTo>
                    <a:pt x="1468" y="1990"/>
                  </a:lnTo>
                  <a:lnTo>
                    <a:pt x="1468" y="1990"/>
                  </a:lnTo>
                  <a:lnTo>
                    <a:pt x="1468" y="1988"/>
                  </a:lnTo>
                  <a:lnTo>
                    <a:pt x="1468" y="1988"/>
                  </a:lnTo>
                  <a:lnTo>
                    <a:pt x="1468" y="1988"/>
                  </a:lnTo>
                  <a:lnTo>
                    <a:pt x="1466" y="1986"/>
                  </a:lnTo>
                  <a:lnTo>
                    <a:pt x="1466" y="1984"/>
                  </a:lnTo>
                  <a:lnTo>
                    <a:pt x="1464" y="1984"/>
                  </a:lnTo>
                  <a:lnTo>
                    <a:pt x="1464" y="1982"/>
                  </a:lnTo>
                  <a:lnTo>
                    <a:pt x="1464" y="1982"/>
                  </a:lnTo>
                  <a:lnTo>
                    <a:pt x="1462" y="1974"/>
                  </a:lnTo>
                  <a:lnTo>
                    <a:pt x="1460" y="1968"/>
                  </a:lnTo>
                  <a:lnTo>
                    <a:pt x="1460" y="1968"/>
                  </a:lnTo>
                  <a:lnTo>
                    <a:pt x="1458" y="1968"/>
                  </a:lnTo>
                  <a:lnTo>
                    <a:pt x="1456" y="1962"/>
                  </a:lnTo>
                  <a:lnTo>
                    <a:pt x="1456" y="1962"/>
                  </a:lnTo>
                  <a:lnTo>
                    <a:pt x="1456" y="1962"/>
                  </a:lnTo>
                  <a:lnTo>
                    <a:pt x="1452" y="1958"/>
                  </a:lnTo>
                  <a:lnTo>
                    <a:pt x="1452" y="1958"/>
                  </a:lnTo>
                  <a:lnTo>
                    <a:pt x="1450" y="1958"/>
                  </a:lnTo>
                  <a:lnTo>
                    <a:pt x="1446" y="1954"/>
                  </a:lnTo>
                  <a:lnTo>
                    <a:pt x="1446" y="1954"/>
                  </a:lnTo>
                  <a:lnTo>
                    <a:pt x="1446" y="1954"/>
                  </a:lnTo>
                  <a:lnTo>
                    <a:pt x="1440" y="1952"/>
                  </a:lnTo>
                  <a:lnTo>
                    <a:pt x="1434" y="1950"/>
                  </a:lnTo>
                  <a:lnTo>
                    <a:pt x="1428" y="1948"/>
                  </a:lnTo>
                  <a:lnTo>
                    <a:pt x="1428" y="1944"/>
                  </a:lnTo>
                  <a:lnTo>
                    <a:pt x="1428" y="1938"/>
                  </a:lnTo>
                  <a:lnTo>
                    <a:pt x="1426" y="1926"/>
                  </a:lnTo>
                  <a:lnTo>
                    <a:pt x="1424" y="1914"/>
                  </a:lnTo>
                  <a:lnTo>
                    <a:pt x="1424" y="1908"/>
                  </a:lnTo>
                  <a:lnTo>
                    <a:pt x="1424" y="1902"/>
                  </a:lnTo>
                  <a:lnTo>
                    <a:pt x="1424" y="1896"/>
                  </a:lnTo>
                  <a:lnTo>
                    <a:pt x="1422" y="1890"/>
                  </a:lnTo>
                  <a:lnTo>
                    <a:pt x="1420" y="1884"/>
                  </a:lnTo>
                  <a:lnTo>
                    <a:pt x="1420" y="1880"/>
                  </a:lnTo>
                  <a:lnTo>
                    <a:pt x="1420" y="1880"/>
                  </a:lnTo>
                  <a:lnTo>
                    <a:pt x="1418" y="1878"/>
                  </a:lnTo>
                  <a:lnTo>
                    <a:pt x="1416" y="1876"/>
                  </a:lnTo>
                  <a:lnTo>
                    <a:pt x="1416" y="1876"/>
                  </a:lnTo>
                  <a:lnTo>
                    <a:pt x="1416" y="1876"/>
                  </a:lnTo>
                  <a:lnTo>
                    <a:pt x="1412" y="1874"/>
                  </a:lnTo>
                  <a:lnTo>
                    <a:pt x="1410" y="1872"/>
                  </a:lnTo>
                  <a:lnTo>
                    <a:pt x="1408" y="1870"/>
                  </a:lnTo>
                  <a:lnTo>
                    <a:pt x="1406" y="1868"/>
                  </a:lnTo>
                  <a:lnTo>
                    <a:pt x="1402" y="1866"/>
                  </a:lnTo>
                  <a:lnTo>
                    <a:pt x="1402" y="1864"/>
                  </a:lnTo>
                  <a:lnTo>
                    <a:pt x="1400" y="1862"/>
                  </a:lnTo>
                  <a:lnTo>
                    <a:pt x="1400" y="1860"/>
                  </a:lnTo>
                  <a:lnTo>
                    <a:pt x="1400" y="1858"/>
                  </a:lnTo>
                  <a:lnTo>
                    <a:pt x="1400" y="1856"/>
                  </a:lnTo>
                  <a:lnTo>
                    <a:pt x="1400" y="1854"/>
                  </a:lnTo>
                  <a:lnTo>
                    <a:pt x="1400" y="1854"/>
                  </a:lnTo>
                  <a:lnTo>
                    <a:pt x="1400" y="1854"/>
                  </a:lnTo>
                  <a:lnTo>
                    <a:pt x="1400" y="1852"/>
                  </a:lnTo>
                  <a:lnTo>
                    <a:pt x="1400" y="1852"/>
                  </a:lnTo>
                  <a:lnTo>
                    <a:pt x="1400" y="1850"/>
                  </a:lnTo>
                  <a:lnTo>
                    <a:pt x="1400" y="1848"/>
                  </a:lnTo>
                  <a:lnTo>
                    <a:pt x="1400" y="1848"/>
                  </a:lnTo>
                  <a:lnTo>
                    <a:pt x="1398" y="1848"/>
                  </a:lnTo>
                  <a:lnTo>
                    <a:pt x="1398" y="1846"/>
                  </a:lnTo>
                  <a:lnTo>
                    <a:pt x="1398" y="1846"/>
                  </a:lnTo>
                  <a:lnTo>
                    <a:pt x="1398" y="1846"/>
                  </a:lnTo>
                  <a:lnTo>
                    <a:pt x="1396" y="1846"/>
                  </a:lnTo>
                  <a:lnTo>
                    <a:pt x="1394" y="1844"/>
                  </a:lnTo>
                  <a:lnTo>
                    <a:pt x="1392" y="1844"/>
                  </a:lnTo>
                  <a:lnTo>
                    <a:pt x="1392" y="1844"/>
                  </a:lnTo>
                  <a:lnTo>
                    <a:pt x="1392" y="1844"/>
                  </a:lnTo>
                  <a:lnTo>
                    <a:pt x="1388" y="1844"/>
                  </a:lnTo>
                  <a:lnTo>
                    <a:pt x="1388" y="1844"/>
                  </a:lnTo>
                  <a:lnTo>
                    <a:pt x="1388" y="1844"/>
                  </a:lnTo>
                  <a:lnTo>
                    <a:pt x="1384" y="1844"/>
                  </a:lnTo>
                  <a:lnTo>
                    <a:pt x="1380" y="1844"/>
                  </a:lnTo>
                  <a:lnTo>
                    <a:pt x="1376" y="1846"/>
                  </a:lnTo>
                  <a:lnTo>
                    <a:pt x="1374" y="1846"/>
                  </a:lnTo>
                  <a:lnTo>
                    <a:pt x="1374" y="1846"/>
                  </a:lnTo>
                  <a:lnTo>
                    <a:pt x="1370" y="1846"/>
                  </a:lnTo>
                  <a:lnTo>
                    <a:pt x="1370" y="1846"/>
                  </a:lnTo>
                  <a:lnTo>
                    <a:pt x="1368" y="1844"/>
                  </a:lnTo>
                  <a:lnTo>
                    <a:pt x="1368" y="1844"/>
                  </a:lnTo>
                  <a:lnTo>
                    <a:pt x="1366" y="1844"/>
                  </a:lnTo>
                  <a:lnTo>
                    <a:pt x="1366" y="1840"/>
                  </a:lnTo>
                  <a:lnTo>
                    <a:pt x="1366" y="1842"/>
                  </a:lnTo>
                  <a:lnTo>
                    <a:pt x="1366" y="1838"/>
                  </a:lnTo>
                  <a:lnTo>
                    <a:pt x="1366" y="1836"/>
                  </a:lnTo>
                  <a:lnTo>
                    <a:pt x="1366" y="1836"/>
                  </a:lnTo>
                  <a:lnTo>
                    <a:pt x="1366" y="1836"/>
                  </a:lnTo>
                  <a:lnTo>
                    <a:pt x="1368" y="1836"/>
                  </a:lnTo>
                  <a:lnTo>
                    <a:pt x="1368" y="1838"/>
                  </a:lnTo>
                  <a:lnTo>
                    <a:pt x="1368" y="1838"/>
                  </a:lnTo>
                  <a:lnTo>
                    <a:pt x="1370" y="1838"/>
                  </a:lnTo>
                  <a:lnTo>
                    <a:pt x="1370" y="1840"/>
                  </a:lnTo>
                  <a:lnTo>
                    <a:pt x="1370" y="1840"/>
                  </a:lnTo>
                  <a:lnTo>
                    <a:pt x="1372" y="1840"/>
                  </a:lnTo>
                  <a:lnTo>
                    <a:pt x="1372" y="1840"/>
                  </a:lnTo>
                  <a:lnTo>
                    <a:pt x="1372" y="1840"/>
                  </a:lnTo>
                  <a:lnTo>
                    <a:pt x="1374" y="1840"/>
                  </a:lnTo>
                  <a:lnTo>
                    <a:pt x="1378" y="1842"/>
                  </a:lnTo>
                  <a:lnTo>
                    <a:pt x="1380" y="1842"/>
                  </a:lnTo>
                  <a:lnTo>
                    <a:pt x="1380" y="1842"/>
                  </a:lnTo>
                  <a:lnTo>
                    <a:pt x="1382" y="1842"/>
                  </a:lnTo>
                  <a:lnTo>
                    <a:pt x="1382" y="1842"/>
                  </a:lnTo>
                  <a:lnTo>
                    <a:pt x="1384" y="1842"/>
                  </a:lnTo>
                  <a:lnTo>
                    <a:pt x="1386" y="1840"/>
                  </a:lnTo>
                  <a:lnTo>
                    <a:pt x="1386" y="1840"/>
                  </a:lnTo>
                  <a:lnTo>
                    <a:pt x="1386" y="1840"/>
                  </a:lnTo>
                  <a:lnTo>
                    <a:pt x="1388" y="1838"/>
                  </a:lnTo>
                  <a:lnTo>
                    <a:pt x="1388" y="1838"/>
                  </a:lnTo>
                  <a:lnTo>
                    <a:pt x="1388" y="1836"/>
                  </a:lnTo>
                  <a:lnTo>
                    <a:pt x="1388" y="1834"/>
                  </a:lnTo>
                  <a:lnTo>
                    <a:pt x="1388" y="1834"/>
                  </a:lnTo>
                  <a:lnTo>
                    <a:pt x="1388" y="1832"/>
                  </a:lnTo>
                  <a:lnTo>
                    <a:pt x="1394" y="1836"/>
                  </a:lnTo>
                  <a:lnTo>
                    <a:pt x="1394" y="1836"/>
                  </a:lnTo>
                  <a:lnTo>
                    <a:pt x="1396" y="1836"/>
                  </a:lnTo>
                  <a:lnTo>
                    <a:pt x="1398" y="1836"/>
                  </a:lnTo>
                  <a:lnTo>
                    <a:pt x="1398" y="1836"/>
                  </a:lnTo>
                  <a:lnTo>
                    <a:pt x="1398" y="1834"/>
                  </a:lnTo>
                  <a:lnTo>
                    <a:pt x="1398" y="1832"/>
                  </a:lnTo>
                  <a:lnTo>
                    <a:pt x="1396" y="1830"/>
                  </a:lnTo>
                  <a:lnTo>
                    <a:pt x="1394" y="1826"/>
                  </a:lnTo>
                  <a:lnTo>
                    <a:pt x="1392" y="1824"/>
                  </a:lnTo>
                  <a:lnTo>
                    <a:pt x="1390" y="1822"/>
                  </a:lnTo>
                  <a:lnTo>
                    <a:pt x="1390" y="1822"/>
                  </a:lnTo>
                  <a:lnTo>
                    <a:pt x="1390" y="1822"/>
                  </a:lnTo>
                  <a:lnTo>
                    <a:pt x="1388" y="1820"/>
                  </a:lnTo>
                  <a:lnTo>
                    <a:pt x="1392" y="1820"/>
                  </a:lnTo>
                  <a:lnTo>
                    <a:pt x="1392" y="1820"/>
                  </a:lnTo>
                  <a:lnTo>
                    <a:pt x="1394" y="1820"/>
                  </a:lnTo>
                  <a:lnTo>
                    <a:pt x="1396" y="1818"/>
                  </a:lnTo>
                  <a:lnTo>
                    <a:pt x="1396" y="1818"/>
                  </a:lnTo>
                  <a:lnTo>
                    <a:pt x="1396" y="1818"/>
                  </a:lnTo>
                  <a:lnTo>
                    <a:pt x="1398" y="1816"/>
                  </a:lnTo>
                  <a:lnTo>
                    <a:pt x="1402" y="1814"/>
                  </a:lnTo>
                  <a:lnTo>
                    <a:pt x="1402" y="1814"/>
                  </a:lnTo>
                  <a:lnTo>
                    <a:pt x="1402" y="1814"/>
                  </a:lnTo>
                  <a:lnTo>
                    <a:pt x="1406" y="1812"/>
                  </a:lnTo>
                  <a:lnTo>
                    <a:pt x="1406" y="1812"/>
                  </a:lnTo>
                  <a:lnTo>
                    <a:pt x="1406" y="1812"/>
                  </a:lnTo>
                  <a:lnTo>
                    <a:pt x="1408" y="1808"/>
                  </a:lnTo>
                  <a:lnTo>
                    <a:pt x="1410" y="1804"/>
                  </a:lnTo>
                  <a:lnTo>
                    <a:pt x="1412" y="1798"/>
                  </a:lnTo>
                  <a:lnTo>
                    <a:pt x="1412" y="1796"/>
                  </a:lnTo>
                  <a:lnTo>
                    <a:pt x="1414" y="1794"/>
                  </a:lnTo>
                  <a:lnTo>
                    <a:pt x="1416" y="1792"/>
                  </a:lnTo>
                  <a:lnTo>
                    <a:pt x="1418" y="1790"/>
                  </a:lnTo>
                  <a:lnTo>
                    <a:pt x="1420" y="1788"/>
                  </a:lnTo>
                  <a:lnTo>
                    <a:pt x="1422" y="1788"/>
                  </a:lnTo>
                  <a:lnTo>
                    <a:pt x="1422" y="1788"/>
                  </a:lnTo>
                  <a:lnTo>
                    <a:pt x="1422" y="1786"/>
                  </a:lnTo>
                  <a:lnTo>
                    <a:pt x="1424" y="1786"/>
                  </a:lnTo>
                  <a:lnTo>
                    <a:pt x="1424" y="1784"/>
                  </a:lnTo>
                  <a:lnTo>
                    <a:pt x="1426" y="1780"/>
                  </a:lnTo>
                  <a:lnTo>
                    <a:pt x="1428" y="1778"/>
                  </a:lnTo>
                  <a:lnTo>
                    <a:pt x="1428" y="1776"/>
                  </a:lnTo>
                  <a:lnTo>
                    <a:pt x="1428" y="1776"/>
                  </a:lnTo>
                  <a:lnTo>
                    <a:pt x="1430" y="1774"/>
                  </a:lnTo>
                  <a:lnTo>
                    <a:pt x="1434" y="1772"/>
                  </a:lnTo>
                  <a:lnTo>
                    <a:pt x="1436" y="1770"/>
                  </a:lnTo>
                  <a:lnTo>
                    <a:pt x="1436" y="1770"/>
                  </a:lnTo>
                  <a:lnTo>
                    <a:pt x="1436" y="1770"/>
                  </a:lnTo>
                  <a:lnTo>
                    <a:pt x="1438" y="1768"/>
                  </a:lnTo>
                  <a:lnTo>
                    <a:pt x="1438" y="1768"/>
                  </a:lnTo>
                  <a:lnTo>
                    <a:pt x="1438" y="1768"/>
                  </a:lnTo>
                  <a:lnTo>
                    <a:pt x="1438" y="1766"/>
                  </a:lnTo>
                  <a:lnTo>
                    <a:pt x="1438" y="1766"/>
                  </a:lnTo>
                  <a:lnTo>
                    <a:pt x="1438" y="1764"/>
                  </a:lnTo>
                  <a:lnTo>
                    <a:pt x="1438" y="1762"/>
                  </a:lnTo>
                  <a:lnTo>
                    <a:pt x="1438" y="1762"/>
                  </a:lnTo>
                  <a:lnTo>
                    <a:pt x="1436" y="1762"/>
                  </a:lnTo>
                  <a:lnTo>
                    <a:pt x="1434" y="1760"/>
                  </a:lnTo>
                  <a:lnTo>
                    <a:pt x="1434" y="1760"/>
                  </a:lnTo>
                  <a:lnTo>
                    <a:pt x="1434" y="1760"/>
                  </a:lnTo>
                  <a:lnTo>
                    <a:pt x="1438" y="1756"/>
                  </a:lnTo>
                  <a:lnTo>
                    <a:pt x="1440" y="1752"/>
                  </a:lnTo>
                  <a:lnTo>
                    <a:pt x="1444" y="1746"/>
                  </a:lnTo>
                  <a:lnTo>
                    <a:pt x="1444" y="1746"/>
                  </a:lnTo>
                  <a:lnTo>
                    <a:pt x="1444" y="1744"/>
                  </a:lnTo>
                  <a:lnTo>
                    <a:pt x="1444" y="1742"/>
                  </a:lnTo>
                  <a:lnTo>
                    <a:pt x="1442" y="1740"/>
                  </a:lnTo>
                  <a:lnTo>
                    <a:pt x="1442" y="1740"/>
                  </a:lnTo>
                  <a:lnTo>
                    <a:pt x="1442" y="1740"/>
                  </a:lnTo>
                  <a:lnTo>
                    <a:pt x="1440" y="1738"/>
                  </a:lnTo>
                  <a:lnTo>
                    <a:pt x="1440" y="1738"/>
                  </a:lnTo>
                  <a:lnTo>
                    <a:pt x="1438" y="1738"/>
                  </a:lnTo>
                  <a:lnTo>
                    <a:pt x="1436" y="1738"/>
                  </a:lnTo>
                  <a:lnTo>
                    <a:pt x="1436" y="1738"/>
                  </a:lnTo>
                  <a:lnTo>
                    <a:pt x="1436" y="1738"/>
                  </a:lnTo>
                  <a:lnTo>
                    <a:pt x="1434" y="1738"/>
                  </a:lnTo>
                  <a:lnTo>
                    <a:pt x="1428" y="1738"/>
                  </a:lnTo>
                  <a:lnTo>
                    <a:pt x="1426" y="1738"/>
                  </a:lnTo>
                  <a:lnTo>
                    <a:pt x="1424" y="1732"/>
                  </a:lnTo>
                  <a:lnTo>
                    <a:pt x="1424" y="1732"/>
                  </a:lnTo>
                  <a:lnTo>
                    <a:pt x="1422" y="1730"/>
                  </a:lnTo>
                  <a:lnTo>
                    <a:pt x="1420" y="1730"/>
                  </a:lnTo>
                  <a:lnTo>
                    <a:pt x="1416" y="1730"/>
                  </a:lnTo>
                  <a:lnTo>
                    <a:pt x="1412" y="1730"/>
                  </a:lnTo>
                  <a:lnTo>
                    <a:pt x="1408" y="1732"/>
                  </a:lnTo>
                  <a:lnTo>
                    <a:pt x="1404" y="1734"/>
                  </a:lnTo>
                  <a:lnTo>
                    <a:pt x="1402" y="1734"/>
                  </a:lnTo>
                  <a:lnTo>
                    <a:pt x="1400" y="1734"/>
                  </a:lnTo>
                  <a:lnTo>
                    <a:pt x="1400" y="1732"/>
                  </a:lnTo>
                  <a:lnTo>
                    <a:pt x="1400" y="1732"/>
                  </a:lnTo>
                  <a:lnTo>
                    <a:pt x="1398" y="1732"/>
                  </a:lnTo>
                  <a:lnTo>
                    <a:pt x="1398" y="1730"/>
                  </a:lnTo>
                  <a:lnTo>
                    <a:pt x="1398" y="1728"/>
                  </a:lnTo>
                  <a:lnTo>
                    <a:pt x="1398" y="1728"/>
                  </a:lnTo>
                  <a:lnTo>
                    <a:pt x="1398" y="1726"/>
                  </a:lnTo>
                  <a:lnTo>
                    <a:pt x="1398" y="1726"/>
                  </a:lnTo>
                  <a:lnTo>
                    <a:pt x="1394" y="1724"/>
                  </a:lnTo>
                  <a:lnTo>
                    <a:pt x="1388" y="1726"/>
                  </a:lnTo>
                  <a:lnTo>
                    <a:pt x="1382" y="1726"/>
                  </a:lnTo>
                  <a:lnTo>
                    <a:pt x="1376" y="1728"/>
                  </a:lnTo>
                  <a:lnTo>
                    <a:pt x="1370" y="1730"/>
                  </a:lnTo>
                  <a:lnTo>
                    <a:pt x="1364" y="1732"/>
                  </a:lnTo>
                  <a:lnTo>
                    <a:pt x="1358" y="1732"/>
                  </a:lnTo>
                  <a:lnTo>
                    <a:pt x="1354" y="1734"/>
                  </a:lnTo>
                  <a:lnTo>
                    <a:pt x="1354" y="1734"/>
                  </a:lnTo>
                  <a:lnTo>
                    <a:pt x="1352" y="1734"/>
                  </a:lnTo>
                  <a:lnTo>
                    <a:pt x="1352" y="1732"/>
                  </a:lnTo>
                  <a:lnTo>
                    <a:pt x="1352" y="1732"/>
                  </a:lnTo>
                  <a:lnTo>
                    <a:pt x="1352" y="1730"/>
                  </a:lnTo>
                  <a:lnTo>
                    <a:pt x="1354" y="1728"/>
                  </a:lnTo>
                  <a:lnTo>
                    <a:pt x="1358" y="1728"/>
                  </a:lnTo>
                  <a:lnTo>
                    <a:pt x="1362" y="1726"/>
                  </a:lnTo>
                  <a:lnTo>
                    <a:pt x="1362" y="1726"/>
                  </a:lnTo>
                  <a:lnTo>
                    <a:pt x="1362" y="1726"/>
                  </a:lnTo>
                  <a:lnTo>
                    <a:pt x="1364" y="1724"/>
                  </a:lnTo>
                  <a:lnTo>
                    <a:pt x="1364" y="1724"/>
                  </a:lnTo>
                  <a:lnTo>
                    <a:pt x="1366" y="1724"/>
                  </a:lnTo>
                  <a:lnTo>
                    <a:pt x="1366" y="1722"/>
                  </a:lnTo>
                  <a:lnTo>
                    <a:pt x="1366" y="1722"/>
                  </a:lnTo>
                  <a:lnTo>
                    <a:pt x="1368" y="1722"/>
                  </a:lnTo>
                  <a:lnTo>
                    <a:pt x="1368" y="1720"/>
                  </a:lnTo>
                  <a:lnTo>
                    <a:pt x="1368" y="1720"/>
                  </a:lnTo>
                  <a:lnTo>
                    <a:pt x="1368" y="1720"/>
                  </a:lnTo>
                  <a:lnTo>
                    <a:pt x="1368" y="1718"/>
                  </a:lnTo>
                  <a:lnTo>
                    <a:pt x="1368" y="1718"/>
                  </a:lnTo>
                  <a:lnTo>
                    <a:pt x="1368" y="1716"/>
                  </a:lnTo>
                  <a:lnTo>
                    <a:pt x="1368" y="1714"/>
                  </a:lnTo>
                  <a:lnTo>
                    <a:pt x="1368" y="1714"/>
                  </a:lnTo>
                  <a:lnTo>
                    <a:pt x="1368" y="1714"/>
                  </a:lnTo>
                  <a:lnTo>
                    <a:pt x="1368" y="1714"/>
                  </a:lnTo>
                  <a:lnTo>
                    <a:pt x="1368" y="1714"/>
                  </a:lnTo>
                  <a:lnTo>
                    <a:pt x="1368" y="1714"/>
                  </a:lnTo>
                  <a:lnTo>
                    <a:pt x="1368" y="1710"/>
                  </a:lnTo>
                  <a:lnTo>
                    <a:pt x="1366" y="1708"/>
                  </a:lnTo>
                  <a:lnTo>
                    <a:pt x="1364" y="1708"/>
                  </a:lnTo>
                  <a:lnTo>
                    <a:pt x="1364" y="1708"/>
                  </a:lnTo>
                  <a:lnTo>
                    <a:pt x="1366" y="1706"/>
                  </a:lnTo>
                  <a:lnTo>
                    <a:pt x="1368" y="1706"/>
                  </a:lnTo>
                  <a:lnTo>
                    <a:pt x="1368" y="1706"/>
                  </a:lnTo>
                  <a:lnTo>
                    <a:pt x="1370" y="1704"/>
                  </a:lnTo>
                  <a:lnTo>
                    <a:pt x="1376" y="1702"/>
                  </a:lnTo>
                  <a:lnTo>
                    <a:pt x="1380" y="1702"/>
                  </a:lnTo>
                  <a:lnTo>
                    <a:pt x="1384" y="1700"/>
                  </a:lnTo>
                  <a:lnTo>
                    <a:pt x="1384" y="1700"/>
                  </a:lnTo>
                  <a:lnTo>
                    <a:pt x="1384" y="1700"/>
                  </a:lnTo>
                  <a:lnTo>
                    <a:pt x="1388" y="1698"/>
                  </a:lnTo>
                  <a:lnTo>
                    <a:pt x="1390" y="1696"/>
                  </a:lnTo>
                  <a:lnTo>
                    <a:pt x="1392" y="1694"/>
                  </a:lnTo>
                  <a:lnTo>
                    <a:pt x="1392" y="1692"/>
                  </a:lnTo>
                  <a:lnTo>
                    <a:pt x="1394" y="1690"/>
                  </a:lnTo>
                  <a:lnTo>
                    <a:pt x="1396" y="1690"/>
                  </a:lnTo>
                  <a:lnTo>
                    <a:pt x="1398" y="1690"/>
                  </a:lnTo>
                  <a:lnTo>
                    <a:pt x="1400" y="1690"/>
                  </a:lnTo>
                  <a:lnTo>
                    <a:pt x="1404" y="1690"/>
                  </a:lnTo>
                  <a:lnTo>
                    <a:pt x="1404" y="1690"/>
                  </a:lnTo>
                  <a:lnTo>
                    <a:pt x="1406" y="1690"/>
                  </a:lnTo>
                  <a:lnTo>
                    <a:pt x="1406" y="1690"/>
                  </a:lnTo>
                  <a:lnTo>
                    <a:pt x="1406" y="1686"/>
                  </a:lnTo>
                  <a:lnTo>
                    <a:pt x="1406" y="1684"/>
                  </a:lnTo>
                  <a:lnTo>
                    <a:pt x="1406" y="1682"/>
                  </a:lnTo>
                  <a:lnTo>
                    <a:pt x="1406" y="1680"/>
                  </a:lnTo>
                  <a:lnTo>
                    <a:pt x="1406" y="1678"/>
                  </a:lnTo>
                  <a:lnTo>
                    <a:pt x="1406" y="1676"/>
                  </a:lnTo>
                  <a:lnTo>
                    <a:pt x="1408" y="1676"/>
                  </a:lnTo>
                  <a:lnTo>
                    <a:pt x="1410" y="1676"/>
                  </a:lnTo>
                  <a:lnTo>
                    <a:pt x="1412" y="1676"/>
                  </a:lnTo>
                  <a:lnTo>
                    <a:pt x="1412" y="1676"/>
                  </a:lnTo>
                  <a:lnTo>
                    <a:pt x="1414" y="1674"/>
                  </a:lnTo>
                  <a:lnTo>
                    <a:pt x="1414" y="1674"/>
                  </a:lnTo>
                  <a:lnTo>
                    <a:pt x="1414" y="1670"/>
                  </a:lnTo>
                  <a:lnTo>
                    <a:pt x="1412" y="1668"/>
                  </a:lnTo>
                  <a:lnTo>
                    <a:pt x="1412" y="1666"/>
                  </a:lnTo>
                  <a:lnTo>
                    <a:pt x="1412" y="1664"/>
                  </a:lnTo>
                  <a:lnTo>
                    <a:pt x="1412" y="1664"/>
                  </a:lnTo>
                  <a:lnTo>
                    <a:pt x="1412" y="1662"/>
                  </a:lnTo>
                  <a:lnTo>
                    <a:pt x="1414" y="1658"/>
                  </a:lnTo>
                  <a:lnTo>
                    <a:pt x="1416" y="1656"/>
                  </a:lnTo>
                  <a:lnTo>
                    <a:pt x="1418" y="1654"/>
                  </a:lnTo>
                  <a:lnTo>
                    <a:pt x="1420" y="1652"/>
                  </a:lnTo>
                  <a:lnTo>
                    <a:pt x="1422" y="1650"/>
                  </a:lnTo>
                  <a:lnTo>
                    <a:pt x="1426" y="1646"/>
                  </a:lnTo>
                  <a:lnTo>
                    <a:pt x="1428" y="1644"/>
                  </a:lnTo>
                  <a:lnTo>
                    <a:pt x="1428" y="1642"/>
                  </a:lnTo>
                  <a:lnTo>
                    <a:pt x="1430" y="1640"/>
                  </a:lnTo>
                  <a:lnTo>
                    <a:pt x="1432" y="1638"/>
                  </a:lnTo>
                  <a:lnTo>
                    <a:pt x="1432" y="1638"/>
                  </a:lnTo>
                  <a:lnTo>
                    <a:pt x="1432" y="1638"/>
                  </a:lnTo>
                  <a:lnTo>
                    <a:pt x="1432" y="1636"/>
                  </a:lnTo>
                  <a:lnTo>
                    <a:pt x="1432" y="1636"/>
                  </a:lnTo>
                  <a:lnTo>
                    <a:pt x="1432" y="1634"/>
                  </a:lnTo>
                  <a:lnTo>
                    <a:pt x="1434" y="1632"/>
                  </a:lnTo>
                  <a:lnTo>
                    <a:pt x="1434" y="1632"/>
                  </a:lnTo>
                  <a:lnTo>
                    <a:pt x="1434" y="1630"/>
                  </a:lnTo>
                  <a:lnTo>
                    <a:pt x="1434" y="1630"/>
                  </a:lnTo>
                  <a:lnTo>
                    <a:pt x="1434" y="1628"/>
                  </a:lnTo>
                  <a:lnTo>
                    <a:pt x="1436" y="1628"/>
                  </a:lnTo>
                  <a:lnTo>
                    <a:pt x="1438" y="1628"/>
                  </a:lnTo>
                  <a:lnTo>
                    <a:pt x="1438" y="1628"/>
                  </a:lnTo>
                  <a:lnTo>
                    <a:pt x="1438" y="1628"/>
                  </a:lnTo>
                  <a:lnTo>
                    <a:pt x="1440" y="1626"/>
                  </a:lnTo>
                  <a:lnTo>
                    <a:pt x="1440" y="1626"/>
                  </a:lnTo>
                  <a:lnTo>
                    <a:pt x="1440" y="1626"/>
                  </a:lnTo>
                  <a:lnTo>
                    <a:pt x="1442" y="1624"/>
                  </a:lnTo>
                  <a:lnTo>
                    <a:pt x="1442" y="1624"/>
                  </a:lnTo>
                  <a:lnTo>
                    <a:pt x="1442" y="1622"/>
                  </a:lnTo>
                  <a:lnTo>
                    <a:pt x="1442" y="1622"/>
                  </a:lnTo>
                  <a:lnTo>
                    <a:pt x="1442" y="1622"/>
                  </a:lnTo>
                  <a:lnTo>
                    <a:pt x="1442" y="1620"/>
                  </a:lnTo>
                  <a:lnTo>
                    <a:pt x="1440" y="1618"/>
                  </a:lnTo>
                  <a:lnTo>
                    <a:pt x="1440" y="1618"/>
                  </a:lnTo>
                  <a:lnTo>
                    <a:pt x="1440" y="1618"/>
                  </a:lnTo>
                  <a:lnTo>
                    <a:pt x="1438" y="1616"/>
                  </a:lnTo>
                  <a:lnTo>
                    <a:pt x="1438" y="1616"/>
                  </a:lnTo>
                  <a:lnTo>
                    <a:pt x="1438" y="1616"/>
                  </a:lnTo>
                  <a:lnTo>
                    <a:pt x="1436" y="1614"/>
                  </a:lnTo>
                  <a:lnTo>
                    <a:pt x="1436" y="1614"/>
                  </a:lnTo>
                  <a:lnTo>
                    <a:pt x="1436" y="1614"/>
                  </a:lnTo>
                  <a:lnTo>
                    <a:pt x="1434" y="1614"/>
                  </a:lnTo>
                  <a:lnTo>
                    <a:pt x="1434" y="1614"/>
                  </a:lnTo>
                  <a:lnTo>
                    <a:pt x="1432" y="1614"/>
                  </a:lnTo>
                  <a:lnTo>
                    <a:pt x="1430" y="1614"/>
                  </a:lnTo>
                  <a:lnTo>
                    <a:pt x="1430" y="1614"/>
                  </a:lnTo>
                  <a:lnTo>
                    <a:pt x="1430" y="1614"/>
                  </a:lnTo>
                  <a:lnTo>
                    <a:pt x="1428" y="1614"/>
                  </a:lnTo>
                  <a:lnTo>
                    <a:pt x="1428" y="1614"/>
                  </a:lnTo>
                  <a:lnTo>
                    <a:pt x="1426" y="1614"/>
                  </a:lnTo>
                  <a:lnTo>
                    <a:pt x="1424" y="1616"/>
                  </a:lnTo>
                  <a:lnTo>
                    <a:pt x="1424" y="1616"/>
                  </a:lnTo>
                  <a:lnTo>
                    <a:pt x="1424" y="1616"/>
                  </a:lnTo>
                  <a:lnTo>
                    <a:pt x="1420" y="1618"/>
                  </a:lnTo>
                  <a:lnTo>
                    <a:pt x="1418" y="1620"/>
                  </a:lnTo>
                  <a:lnTo>
                    <a:pt x="1416" y="1622"/>
                  </a:lnTo>
                  <a:lnTo>
                    <a:pt x="1414" y="1624"/>
                  </a:lnTo>
                  <a:lnTo>
                    <a:pt x="1412" y="1628"/>
                  </a:lnTo>
                  <a:lnTo>
                    <a:pt x="1412" y="1628"/>
                  </a:lnTo>
                  <a:lnTo>
                    <a:pt x="1412" y="1628"/>
                  </a:lnTo>
                  <a:lnTo>
                    <a:pt x="1412" y="1630"/>
                  </a:lnTo>
                  <a:lnTo>
                    <a:pt x="1410" y="1634"/>
                  </a:lnTo>
                  <a:lnTo>
                    <a:pt x="1408" y="1640"/>
                  </a:lnTo>
                  <a:lnTo>
                    <a:pt x="1406" y="1644"/>
                  </a:lnTo>
                  <a:lnTo>
                    <a:pt x="1406" y="1646"/>
                  </a:lnTo>
                  <a:lnTo>
                    <a:pt x="1404" y="1648"/>
                  </a:lnTo>
                  <a:lnTo>
                    <a:pt x="1402" y="1648"/>
                  </a:lnTo>
                  <a:lnTo>
                    <a:pt x="1402" y="1648"/>
                  </a:lnTo>
                  <a:lnTo>
                    <a:pt x="1400" y="1650"/>
                  </a:lnTo>
                  <a:lnTo>
                    <a:pt x="1396" y="1650"/>
                  </a:lnTo>
                  <a:lnTo>
                    <a:pt x="1396" y="1650"/>
                  </a:lnTo>
                  <a:lnTo>
                    <a:pt x="1396" y="1650"/>
                  </a:lnTo>
                  <a:lnTo>
                    <a:pt x="1394" y="1652"/>
                  </a:lnTo>
                  <a:lnTo>
                    <a:pt x="1394" y="1652"/>
                  </a:lnTo>
                  <a:lnTo>
                    <a:pt x="1394" y="1652"/>
                  </a:lnTo>
                  <a:lnTo>
                    <a:pt x="1394" y="1654"/>
                  </a:lnTo>
                  <a:lnTo>
                    <a:pt x="1392" y="1654"/>
                  </a:lnTo>
                  <a:lnTo>
                    <a:pt x="1392" y="1654"/>
                  </a:lnTo>
                  <a:lnTo>
                    <a:pt x="1392" y="1654"/>
                  </a:lnTo>
                  <a:lnTo>
                    <a:pt x="1390" y="1656"/>
                  </a:lnTo>
                  <a:lnTo>
                    <a:pt x="1390" y="1656"/>
                  </a:lnTo>
                  <a:lnTo>
                    <a:pt x="1390" y="1656"/>
                  </a:lnTo>
                  <a:lnTo>
                    <a:pt x="1390" y="1658"/>
                  </a:lnTo>
                  <a:lnTo>
                    <a:pt x="1390" y="1658"/>
                  </a:lnTo>
                  <a:lnTo>
                    <a:pt x="1390" y="1660"/>
                  </a:lnTo>
                  <a:lnTo>
                    <a:pt x="1390" y="1662"/>
                  </a:lnTo>
                  <a:lnTo>
                    <a:pt x="1388" y="1662"/>
                  </a:lnTo>
                  <a:lnTo>
                    <a:pt x="1388" y="1662"/>
                  </a:lnTo>
                  <a:lnTo>
                    <a:pt x="1386" y="1662"/>
                  </a:lnTo>
                  <a:lnTo>
                    <a:pt x="1384" y="1662"/>
                  </a:lnTo>
                  <a:lnTo>
                    <a:pt x="1380" y="1662"/>
                  </a:lnTo>
                  <a:lnTo>
                    <a:pt x="1376" y="1662"/>
                  </a:lnTo>
                  <a:lnTo>
                    <a:pt x="1372" y="1662"/>
                  </a:lnTo>
                  <a:lnTo>
                    <a:pt x="1370" y="1662"/>
                  </a:lnTo>
                  <a:lnTo>
                    <a:pt x="1370" y="1662"/>
                  </a:lnTo>
                  <a:lnTo>
                    <a:pt x="1368" y="1662"/>
                  </a:lnTo>
                  <a:lnTo>
                    <a:pt x="1366" y="1662"/>
                  </a:lnTo>
                  <a:lnTo>
                    <a:pt x="1364" y="1664"/>
                  </a:lnTo>
                  <a:lnTo>
                    <a:pt x="1358" y="1666"/>
                  </a:lnTo>
                  <a:lnTo>
                    <a:pt x="1354" y="1668"/>
                  </a:lnTo>
                  <a:lnTo>
                    <a:pt x="1352" y="1670"/>
                  </a:lnTo>
                  <a:close/>
                  <a:moveTo>
                    <a:pt x="1264" y="1822"/>
                  </a:moveTo>
                  <a:lnTo>
                    <a:pt x="1264" y="1822"/>
                  </a:lnTo>
                  <a:lnTo>
                    <a:pt x="1264" y="1822"/>
                  </a:lnTo>
                  <a:lnTo>
                    <a:pt x="1264" y="1822"/>
                  </a:lnTo>
                  <a:close/>
                  <a:moveTo>
                    <a:pt x="1274" y="1814"/>
                  </a:moveTo>
                  <a:lnTo>
                    <a:pt x="1272" y="1816"/>
                  </a:lnTo>
                  <a:lnTo>
                    <a:pt x="1272" y="1816"/>
                  </a:lnTo>
                  <a:lnTo>
                    <a:pt x="1270" y="1816"/>
                  </a:lnTo>
                  <a:lnTo>
                    <a:pt x="1270" y="1816"/>
                  </a:lnTo>
                  <a:lnTo>
                    <a:pt x="1268" y="1816"/>
                  </a:lnTo>
                  <a:lnTo>
                    <a:pt x="1266" y="1816"/>
                  </a:lnTo>
                  <a:lnTo>
                    <a:pt x="1266" y="1816"/>
                  </a:lnTo>
                  <a:lnTo>
                    <a:pt x="1266" y="1816"/>
                  </a:lnTo>
                  <a:lnTo>
                    <a:pt x="1266" y="1816"/>
                  </a:lnTo>
                  <a:lnTo>
                    <a:pt x="1270" y="1814"/>
                  </a:lnTo>
                  <a:lnTo>
                    <a:pt x="1268" y="1814"/>
                  </a:lnTo>
                  <a:lnTo>
                    <a:pt x="1272" y="1814"/>
                  </a:lnTo>
                  <a:lnTo>
                    <a:pt x="1272" y="1814"/>
                  </a:lnTo>
                  <a:lnTo>
                    <a:pt x="1274" y="1814"/>
                  </a:lnTo>
                  <a:lnTo>
                    <a:pt x="1274" y="1814"/>
                  </a:lnTo>
                  <a:close/>
                  <a:moveTo>
                    <a:pt x="1288" y="2028"/>
                  </a:moveTo>
                  <a:lnTo>
                    <a:pt x="1288" y="2028"/>
                  </a:lnTo>
                  <a:lnTo>
                    <a:pt x="1288" y="2028"/>
                  </a:lnTo>
                  <a:lnTo>
                    <a:pt x="1288" y="2028"/>
                  </a:lnTo>
                  <a:close/>
                  <a:moveTo>
                    <a:pt x="1202" y="1850"/>
                  </a:moveTo>
                  <a:lnTo>
                    <a:pt x="1202" y="1850"/>
                  </a:lnTo>
                  <a:lnTo>
                    <a:pt x="1202" y="1850"/>
                  </a:lnTo>
                  <a:lnTo>
                    <a:pt x="1200" y="1848"/>
                  </a:lnTo>
                  <a:lnTo>
                    <a:pt x="1200" y="1848"/>
                  </a:lnTo>
                  <a:lnTo>
                    <a:pt x="1200" y="1848"/>
                  </a:lnTo>
                  <a:lnTo>
                    <a:pt x="1198" y="1848"/>
                  </a:lnTo>
                  <a:lnTo>
                    <a:pt x="1198" y="1848"/>
                  </a:lnTo>
                  <a:lnTo>
                    <a:pt x="1198" y="1848"/>
                  </a:lnTo>
                  <a:lnTo>
                    <a:pt x="1196" y="1848"/>
                  </a:lnTo>
                  <a:lnTo>
                    <a:pt x="1196" y="1848"/>
                  </a:lnTo>
                  <a:lnTo>
                    <a:pt x="1196" y="1848"/>
                  </a:lnTo>
                  <a:lnTo>
                    <a:pt x="1194" y="1850"/>
                  </a:lnTo>
                  <a:lnTo>
                    <a:pt x="1190" y="1852"/>
                  </a:lnTo>
                  <a:lnTo>
                    <a:pt x="1186" y="1854"/>
                  </a:lnTo>
                  <a:lnTo>
                    <a:pt x="1184" y="1854"/>
                  </a:lnTo>
                  <a:lnTo>
                    <a:pt x="1182" y="1854"/>
                  </a:lnTo>
                  <a:lnTo>
                    <a:pt x="1182" y="1854"/>
                  </a:lnTo>
                  <a:lnTo>
                    <a:pt x="1180" y="1854"/>
                  </a:lnTo>
                  <a:lnTo>
                    <a:pt x="1174" y="1852"/>
                  </a:lnTo>
                  <a:lnTo>
                    <a:pt x="1170" y="1850"/>
                  </a:lnTo>
                  <a:lnTo>
                    <a:pt x="1168" y="1850"/>
                  </a:lnTo>
                  <a:lnTo>
                    <a:pt x="1166" y="1850"/>
                  </a:lnTo>
                  <a:lnTo>
                    <a:pt x="1166" y="1850"/>
                  </a:lnTo>
                  <a:lnTo>
                    <a:pt x="1164" y="1850"/>
                  </a:lnTo>
                  <a:lnTo>
                    <a:pt x="1162" y="1850"/>
                  </a:lnTo>
                  <a:lnTo>
                    <a:pt x="1162" y="1850"/>
                  </a:lnTo>
                  <a:lnTo>
                    <a:pt x="1162" y="1850"/>
                  </a:lnTo>
                  <a:lnTo>
                    <a:pt x="1160" y="1852"/>
                  </a:lnTo>
                  <a:lnTo>
                    <a:pt x="1160" y="1852"/>
                  </a:lnTo>
                  <a:lnTo>
                    <a:pt x="1160" y="1852"/>
                  </a:lnTo>
                  <a:lnTo>
                    <a:pt x="1156" y="1852"/>
                  </a:lnTo>
                  <a:lnTo>
                    <a:pt x="1152" y="1856"/>
                  </a:lnTo>
                  <a:lnTo>
                    <a:pt x="1148" y="1858"/>
                  </a:lnTo>
                  <a:lnTo>
                    <a:pt x="1146" y="1860"/>
                  </a:lnTo>
                  <a:lnTo>
                    <a:pt x="1142" y="1862"/>
                  </a:lnTo>
                  <a:lnTo>
                    <a:pt x="1142" y="1862"/>
                  </a:lnTo>
                  <a:lnTo>
                    <a:pt x="1142" y="1862"/>
                  </a:lnTo>
                  <a:lnTo>
                    <a:pt x="1138" y="1866"/>
                  </a:lnTo>
                  <a:lnTo>
                    <a:pt x="1138" y="1866"/>
                  </a:lnTo>
                  <a:lnTo>
                    <a:pt x="1138" y="1866"/>
                  </a:lnTo>
                  <a:lnTo>
                    <a:pt x="1136" y="1868"/>
                  </a:lnTo>
                  <a:lnTo>
                    <a:pt x="1136" y="1870"/>
                  </a:lnTo>
                  <a:lnTo>
                    <a:pt x="1136" y="1870"/>
                  </a:lnTo>
                  <a:lnTo>
                    <a:pt x="1136" y="1870"/>
                  </a:lnTo>
                  <a:lnTo>
                    <a:pt x="1134" y="1870"/>
                  </a:lnTo>
                  <a:lnTo>
                    <a:pt x="1134" y="1870"/>
                  </a:lnTo>
                  <a:lnTo>
                    <a:pt x="1134" y="1870"/>
                  </a:lnTo>
                  <a:lnTo>
                    <a:pt x="1132" y="1872"/>
                  </a:lnTo>
                  <a:lnTo>
                    <a:pt x="1132" y="1872"/>
                  </a:lnTo>
                  <a:lnTo>
                    <a:pt x="1132" y="1872"/>
                  </a:lnTo>
                  <a:lnTo>
                    <a:pt x="1132" y="1874"/>
                  </a:lnTo>
                  <a:lnTo>
                    <a:pt x="1132" y="1874"/>
                  </a:lnTo>
                  <a:lnTo>
                    <a:pt x="1132" y="1874"/>
                  </a:lnTo>
                  <a:lnTo>
                    <a:pt x="1132" y="1876"/>
                  </a:lnTo>
                  <a:lnTo>
                    <a:pt x="1132" y="1878"/>
                  </a:lnTo>
                  <a:lnTo>
                    <a:pt x="1132" y="1884"/>
                  </a:lnTo>
                  <a:lnTo>
                    <a:pt x="1132" y="1890"/>
                  </a:lnTo>
                  <a:lnTo>
                    <a:pt x="1132" y="1894"/>
                  </a:lnTo>
                  <a:lnTo>
                    <a:pt x="1132" y="1896"/>
                  </a:lnTo>
                  <a:lnTo>
                    <a:pt x="1132" y="1896"/>
                  </a:lnTo>
                  <a:lnTo>
                    <a:pt x="1132" y="1896"/>
                  </a:lnTo>
                  <a:lnTo>
                    <a:pt x="1132" y="1896"/>
                  </a:lnTo>
                  <a:lnTo>
                    <a:pt x="1132" y="1896"/>
                  </a:lnTo>
                  <a:lnTo>
                    <a:pt x="1130" y="1894"/>
                  </a:lnTo>
                  <a:lnTo>
                    <a:pt x="1130" y="1894"/>
                  </a:lnTo>
                  <a:lnTo>
                    <a:pt x="1128" y="1894"/>
                  </a:lnTo>
                  <a:lnTo>
                    <a:pt x="1124" y="1894"/>
                  </a:lnTo>
                  <a:lnTo>
                    <a:pt x="1122" y="1894"/>
                  </a:lnTo>
                  <a:lnTo>
                    <a:pt x="1120" y="1894"/>
                  </a:lnTo>
                  <a:lnTo>
                    <a:pt x="1120" y="1896"/>
                  </a:lnTo>
                  <a:lnTo>
                    <a:pt x="1118" y="1896"/>
                  </a:lnTo>
                  <a:lnTo>
                    <a:pt x="1118" y="1896"/>
                  </a:lnTo>
                  <a:lnTo>
                    <a:pt x="1118" y="1896"/>
                  </a:lnTo>
                  <a:lnTo>
                    <a:pt x="1118" y="1896"/>
                  </a:lnTo>
                  <a:lnTo>
                    <a:pt x="1118" y="1896"/>
                  </a:lnTo>
                  <a:lnTo>
                    <a:pt x="1118" y="1896"/>
                  </a:lnTo>
                  <a:lnTo>
                    <a:pt x="1116" y="1898"/>
                  </a:lnTo>
                  <a:lnTo>
                    <a:pt x="1116" y="1902"/>
                  </a:lnTo>
                  <a:lnTo>
                    <a:pt x="1114" y="1904"/>
                  </a:lnTo>
                  <a:lnTo>
                    <a:pt x="1114" y="1906"/>
                  </a:lnTo>
                  <a:lnTo>
                    <a:pt x="1114" y="1900"/>
                  </a:lnTo>
                  <a:lnTo>
                    <a:pt x="1114" y="1896"/>
                  </a:lnTo>
                  <a:lnTo>
                    <a:pt x="1114" y="1896"/>
                  </a:lnTo>
                  <a:lnTo>
                    <a:pt x="1112" y="1894"/>
                  </a:lnTo>
                  <a:lnTo>
                    <a:pt x="1112" y="1894"/>
                  </a:lnTo>
                  <a:lnTo>
                    <a:pt x="1110" y="1894"/>
                  </a:lnTo>
                  <a:lnTo>
                    <a:pt x="1108" y="1894"/>
                  </a:lnTo>
                  <a:lnTo>
                    <a:pt x="1106" y="1894"/>
                  </a:lnTo>
                  <a:lnTo>
                    <a:pt x="1102" y="1894"/>
                  </a:lnTo>
                  <a:lnTo>
                    <a:pt x="1096" y="1896"/>
                  </a:lnTo>
                  <a:lnTo>
                    <a:pt x="1094" y="1896"/>
                  </a:lnTo>
                  <a:lnTo>
                    <a:pt x="1092" y="1896"/>
                  </a:lnTo>
                  <a:lnTo>
                    <a:pt x="1090" y="1896"/>
                  </a:lnTo>
                  <a:lnTo>
                    <a:pt x="1086" y="1894"/>
                  </a:lnTo>
                  <a:lnTo>
                    <a:pt x="1082" y="1890"/>
                  </a:lnTo>
                  <a:lnTo>
                    <a:pt x="1078" y="1888"/>
                  </a:lnTo>
                  <a:lnTo>
                    <a:pt x="1078" y="1888"/>
                  </a:lnTo>
                  <a:lnTo>
                    <a:pt x="1076" y="1886"/>
                  </a:lnTo>
                  <a:lnTo>
                    <a:pt x="1076" y="1886"/>
                  </a:lnTo>
                  <a:lnTo>
                    <a:pt x="1076" y="1886"/>
                  </a:lnTo>
                  <a:lnTo>
                    <a:pt x="1074" y="1886"/>
                  </a:lnTo>
                  <a:lnTo>
                    <a:pt x="1074" y="1888"/>
                  </a:lnTo>
                  <a:lnTo>
                    <a:pt x="1074" y="1888"/>
                  </a:lnTo>
                  <a:lnTo>
                    <a:pt x="1072" y="1888"/>
                  </a:lnTo>
                  <a:lnTo>
                    <a:pt x="1070" y="1890"/>
                  </a:lnTo>
                  <a:lnTo>
                    <a:pt x="1068" y="1892"/>
                  </a:lnTo>
                  <a:lnTo>
                    <a:pt x="1068" y="1892"/>
                  </a:lnTo>
                  <a:lnTo>
                    <a:pt x="1068" y="1892"/>
                  </a:lnTo>
                  <a:lnTo>
                    <a:pt x="1068" y="1892"/>
                  </a:lnTo>
                  <a:lnTo>
                    <a:pt x="1068" y="1890"/>
                  </a:lnTo>
                  <a:lnTo>
                    <a:pt x="1066" y="1888"/>
                  </a:lnTo>
                  <a:lnTo>
                    <a:pt x="1066" y="1888"/>
                  </a:lnTo>
                  <a:lnTo>
                    <a:pt x="1064" y="1886"/>
                  </a:lnTo>
                  <a:lnTo>
                    <a:pt x="1064" y="1886"/>
                  </a:lnTo>
                  <a:lnTo>
                    <a:pt x="1060" y="1884"/>
                  </a:lnTo>
                  <a:lnTo>
                    <a:pt x="1060" y="1884"/>
                  </a:lnTo>
                  <a:lnTo>
                    <a:pt x="1058" y="1888"/>
                  </a:lnTo>
                  <a:lnTo>
                    <a:pt x="1058" y="1890"/>
                  </a:lnTo>
                  <a:lnTo>
                    <a:pt x="1060" y="1892"/>
                  </a:lnTo>
                  <a:lnTo>
                    <a:pt x="1060" y="1894"/>
                  </a:lnTo>
                  <a:lnTo>
                    <a:pt x="1060" y="1894"/>
                  </a:lnTo>
                  <a:lnTo>
                    <a:pt x="1060" y="1896"/>
                  </a:lnTo>
                  <a:lnTo>
                    <a:pt x="1060" y="1896"/>
                  </a:lnTo>
                  <a:lnTo>
                    <a:pt x="1060" y="1898"/>
                  </a:lnTo>
                  <a:lnTo>
                    <a:pt x="1060" y="1898"/>
                  </a:lnTo>
                  <a:lnTo>
                    <a:pt x="1062" y="1900"/>
                  </a:lnTo>
                  <a:lnTo>
                    <a:pt x="1062" y="1902"/>
                  </a:lnTo>
                  <a:lnTo>
                    <a:pt x="1064" y="1902"/>
                  </a:lnTo>
                  <a:lnTo>
                    <a:pt x="1062" y="1904"/>
                  </a:lnTo>
                  <a:lnTo>
                    <a:pt x="1062" y="1904"/>
                  </a:lnTo>
                  <a:lnTo>
                    <a:pt x="1060" y="1904"/>
                  </a:lnTo>
                  <a:lnTo>
                    <a:pt x="1058" y="1906"/>
                  </a:lnTo>
                  <a:lnTo>
                    <a:pt x="1058" y="1906"/>
                  </a:lnTo>
                  <a:lnTo>
                    <a:pt x="1058" y="1908"/>
                  </a:lnTo>
                  <a:lnTo>
                    <a:pt x="1058" y="1908"/>
                  </a:lnTo>
                  <a:lnTo>
                    <a:pt x="1058" y="1908"/>
                  </a:lnTo>
                  <a:lnTo>
                    <a:pt x="1058" y="1910"/>
                  </a:lnTo>
                  <a:lnTo>
                    <a:pt x="1056" y="1910"/>
                  </a:lnTo>
                  <a:lnTo>
                    <a:pt x="1056" y="1910"/>
                  </a:lnTo>
                  <a:lnTo>
                    <a:pt x="1058" y="1914"/>
                  </a:lnTo>
                  <a:lnTo>
                    <a:pt x="1060" y="1916"/>
                  </a:lnTo>
                  <a:lnTo>
                    <a:pt x="1062" y="1916"/>
                  </a:lnTo>
                  <a:lnTo>
                    <a:pt x="1064" y="1918"/>
                  </a:lnTo>
                  <a:lnTo>
                    <a:pt x="1064" y="1918"/>
                  </a:lnTo>
                  <a:lnTo>
                    <a:pt x="1064" y="1918"/>
                  </a:lnTo>
                  <a:lnTo>
                    <a:pt x="1064" y="1920"/>
                  </a:lnTo>
                  <a:lnTo>
                    <a:pt x="1064" y="1922"/>
                  </a:lnTo>
                  <a:lnTo>
                    <a:pt x="1064" y="1922"/>
                  </a:lnTo>
                  <a:lnTo>
                    <a:pt x="1064" y="1924"/>
                  </a:lnTo>
                  <a:lnTo>
                    <a:pt x="1062" y="1922"/>
                  </a:lnTo>
                  <a:lnTo>
                    <a:pt x="1058" y="1920"/>
                  </a:lnTo>
                  <a:lnTo>
                    <a:pt x="1054" y="1918"/>
                  </a:lnTo>
                  <a:lnTo>
                    <a:pt x="1052" y="1918"/>
                  </a:lnTo>
                  <a:lnTo>
                    <a:pt x="1050" y="1916"/>
                  </a:lnTo>
                  <a:lnTo>
                    <a:pt x="1050" y="1916"/>
                  </a:lnTo>
                  <a:lnTo>
                    <a:pt x="1048" y="1916"/>
                  </a:lnTo>
                  <a:lnTo>
                    <a:pt x="1048" y="1916"/>
                  </a:lnTo>
                  <a:lnTo>
                    <a:pt x="1046" y="1918"/>
                  </a:lnTo>
                  <a:lnTo>
                    <a:pt x="1044" y="1924"/>
                  </a:lnTo>
                  <a:lnTo>
                    <a:pt x="1040" y="1928"/>
                  </a:lnTo>
                  <a:lnTo>
                    <a:pt x="1038" y="1932"/>
                  </a:lnTo>
                  <a:lnTo>
                    <a:pt x="1038" y="1936"/>
                  </a:lnTo>
                  <a:lnTo>
                    <a:pt x="1036" y="1940"/>
                  </a:lnTo>
                  <a:lnTo>
                    <a:pt x="1036" y="1940"/>
                  </a:lnTo>
                  <a:lnTo>
                    <a:pt x="1036" y="1940"/>
                  </a:lnTo>
                  <a:lnTo>
                    <a:pt x="1036" y="1942"/>
                  </a:lnTo>
                  <a:lnTo>
                    <a:pt x="1036" y="1942"/>
                  </a:lnTo>
                  <a:lnTo>
                    <a:pt x="1036" y="1944"/>
                  </a:lnTo>
                  <a:lnTo>
                    <a:pt x="1038" y="1946"/>
                  </a:lnTo>
                  <a:lnTo>
                    <a:pt x="1038" y="1946"/>
                  </a:lnTo>
                  <a:lnTo>
                    <a:pt x="1042" y="1944"/>
                  </a:lnTo>
                  <a:lnTo>
                    <a:pt x="1044" y="1942"/>
                  </a:lnTo>
                  <a:lnTo>
                    <a:pt x="1044" y="1944"/>
                  </a:lnTo>
                  <a:lnTo>
                    <a:pt x="1048" y="1948"/>
                  </a:lnTo>
                  <a:lnTo>
                    <a:pt x="1048" y="1952"/>
                  </a:lnTo>
                  <a:lnTo>
                    <a:pt x="1050" y="1954"/>
                  </a:lnTo>
                  <a:lnTo>
                    <a:pt x="1050" y="1956"/>
                  </a:lnTo>
                  <a:lnTo>
                    <a:pt x="1050" y="1956"/>
                  </a:lnTo>
                  <a:lnTo>
                    <a:pt x="1050" y="1960"/>
                  </a:lnTo>
                  <a:lnTo>
                    <a:pt x="1050" y="1960"/>
                  </a:lnTo>
                  <a:lnTo>
                    <a:pt x="1052" y="1962"/>
                  </a:lnTo>
                  <a:lnTo>
                    <a:pt x="1052" y="1962"/>
                  </a:lnTo>
                  <a:lnTo>
                    <a:pt x="1056" y="1962"/>
                  </a:lnTo>
                  <a:lnTo>
                    <a:pt x="1058" y="1960"/>
                  </a:lnTo>
                  <a:lnTo>
                    <a:pt x="1058" y="1962"/>
                  </a:lnTo>
                  <a:lnTo>
                    <a:pt x="1060" y="1966"/>
                  </a:lnTo>
                  <a:lnTo>
                    <a:pt x="1060" y="1968"/>
                  </a:lnTo>
                  <a:lnTo>
                    <a:pt x="1062" y="1972"/>
                  </a:lnTo>
                  <a:lnTo>
                    <a:pt x="1064" y="1974"/>
                  </a:lnTo>
                  <a:lnTo>
                    <a:pt x="1064" y="1974"/>
                  </a:lnTo>
                  <a:lnTo>
                    <a:pt x="1066" y="1974"/>
                  </a:lnTo>
                  <a:lnTo>
                    <a:pt x="1068" y="1974"/>
                  </a:lnTo>
                  <a:lnTo>
                    <a:pt x="1072" y="1974"/>
                  </a:lnTo>
                  <a:lnTo>
                    <a:pt x="1074" y="1974"/>
                  </a:lnTo>
                  <a:lnTo>
                    <a:pt x="1074" y="1974"/>
                  </a:lnTo>
                  <a:lnTo>
                    <a:pt x="1074" y="1978"/>
                  </a:lnTo>
                  <a:lnTo>
                    <a:pt x="1074" y="1976"/>
                  </a:lnTo>
                  <a:lnTo>
                    <a:pt x="1072" y="1980"/>
                  </a:lnTo>
                  <a:lnTo>
                    <a:pt x="1072" y="1984"/>
                  </a:lnTo>
                  <a:lnTo>
                    <a:pt x="1070" y="1986"/>
                  </a:lnTo>
                  <a:lnTo>
                    <a:pt x="1068" y="1988"/>
                  </a:lnTo>
                  <a:lnTo>
                    <a:pt x="1064" y="1988"/>
                  </a:lnTo>
                  <a:lnTo>
                    <a:pt x="1062" y="1990"/>
                  </a:lnTo>
                  <a:lnTo>
                    <a:pt x="1058" y="1990"/>
                  </a:lnTo>
                  <a:lnTo>
                    <a:pt x="1052" y="1990"/>
                  </a:lnTo>
                  <a:lnTo>
                    <a:pt x="1048" y="1992"/>
                  </a:lnTo>
                  <a:lnTo>
                    <a:pt x="1044" y="1992"/>
                  </a:lnTo>
                  <a:lnTo>
                    <a:pt x="1044" y="1992"/>
                  </a:lnTo>
                  <a:lnTo>
                    <a:pt x="1044" y="1992"/>
                  </a:lnTo>
                  <a:lnTo>
                    <a:pt x="1040" y="1994"/>
                  </a:lnTo>
                  <a:lnTo>
                    <a:pt x="1040" y="1994"/>
                  </a:lnTo>
                  <a:lnTo>
                    <a:pt x="1040" y="1994"/>
                  </a:lnTo>
                  <a:lnTo>
                    <a:pt x="1036" y="1996"/>
                  </a:lnTo>
                  <a:lnTo>
                    <a:pt x="1036" y="1996"/>
                  </a:lnTo>
                  <a:lnTo>
                    <a:pt x="1036" y="1998"/>
                  </a:lnTo>
                  <a:lnTo>
                    <a:pt x="1032" y="2000"/>
                  </a:lnTo>
                  <a:lnTo>
                    <a:pt x="1032" y="2000"/>
                  </a:lnTo>
                  <a:lnTo>
                    <a:pt x="1032" y="2000"/>
                  </a:lnTo>
                  <a:lnTo>
                    <a:pt x="1030" y="2004"/>
                  </a:lnTo>
                  <a:lnTo>
                    <a:pt x="1030" y="2004"/>
                  </a:lnTo>
                  <a:lnTo>
                    <a:pt x="1030" y="2008"/>
                  </a:lnTo>
                  <a:lnTo>
                    <a:pt x="1030" y="2008"/>
                  </a:lnTo>
                  <a:lnTo>
                    <a:pt x="1032" y="2008"/>
                  </a:lnTo>
                  <a:lnTo>
                    <a:pt x="1044" y="2008"/>
                  </a:lnTo>
                  <a:lnTo>
                    <a:pt x="1042" y="2012"/>
                  </a:lnTo>
                  <a:lnTo>
                    <a:pt x="1042" y="2010"/>
                  </a:lnTo>
                  <a:lnTo>
                    <a:pt x="1042" y="2014"/>
                  </a:lnTo>
                  <a:lnTo>
                    <a:pt x="1042" y="2014"/>
                  </a:lnTo>
                  <a:lnTo>
                    <a:pt x="1040" y="2014"/>
                  </a:lnTo>
                  <a:lnTo>
                    <a:pt x="1036" y="2018"/>
                  </a:lnTo>
                  <a:lnTo>
                    <a:pt x="1032" y="2020"/>
                  </a:lnTo>
                  <a:lnTo>
                    <a:pt x="1026" y="2020"/>
                  </a:lnTo>
                  <a:lnTo>
                    <a:pt x="1020" y="2020"/>
                  </a:lnTo>
                  <a:lnTo>
                    <a:pt x="1014" y="2020"/>
                  </a:lnTo>
                  <a:lnTo>
                    <a:pt x="1006" y="2020"/>
                  </a:lnTo>
                  <a:lnTo>
                    <a:pt x="1006" y="2020"/>
                  </a:lnTo>
                  <a:lnTo>
                    <a:pt x="1004" y="2020"/>
                  </a:lnTo>
                  <a:lnTo>
                    <a:pt x="1004" y="2020"/>
                  </a:lnTo>
                  <a:lnTo>
                    <a:pt x="1004" y="2024"/>
                  </a:lnTo>
                  <a:lnTo>
                    <a:pt x="1004" y="2032"/>
                  </a:lnTo>
                  <a:lnTo>
                    <a:pt x="1004" y="2032"/>
                  </a:lnTo>
                  <a:lnTo>
                    <a:pt x="1004" y="2034"/>
                  </a:lnTo>
                  <a:lnTo>
                    <a:pt x="1006" y="2034"/>
                  </a:lnTo>
                  <a:lnTo>
                    <a:pt x="1012" y="2034"/>
                  </a:lnTo>
                  <a:lnTo>
                    <a:pt x="1012" y="2036"/>
                  </a:lnTo>
                  <a:lnTo>
                    <a:pt x="1012" y="2036"/>
                  </a:lnTo>
                  <a:lnTo>
                    <a:pt x="1014" y="2036"/>
                  </a:lnTo>
                  <a:lnTo>
                    <a:pt x="1016" y="2038"/>
                  </a:lnTo>
                  <a:lnTo>
                    <a:pt x="1016" y="2038"/>
                  </a:lnTo>
                  <a:lnTo>
                    <a:pt x="1014" y="2038"/>
                  </a:lnTo>
                  <a:lnTo>
                    <a:pt x="1014" y="2038"/>
                  </a:lnTo>
                  <a:lnTo>
                    <a:pt x="1012" y="2040"/>
                  </a:lnTo>
                  <a:lnTo>
                    <a:pt x="1008" y="2040"/>
                  </a:lnTo>
                  <a:lnTo>
                    <a:pt x="1008" y="2040"/>
                  </a:lnTo>
                  <a:lnTo>
                    <a:pt x="1006" y="2040"/>
                  </a:lnTo>
                  <a:lnTo>
                    <a:pt x="1006" y="2040"/>
                  </a:lnTo>
                  <a:lnTo>
                    <a:pt x="1006" y="2044"/>
                  </a:lnTo>
                  <a:lnTo>
                    <a:pt x="1010" y="2048"/>
                  </a:lnTo>
                  <a:lnTo>
                    <a:pt x="1014" y="2054"/>
                  </a:lnTo>
                  <a:lnTo>
                    <a:pt x="1014" y="2054"/>
                  </a:lnTo>
                  <a:lnTo>
                    <a:pt x="1016" y="2054"/>
                  </a:lnTo>
                  <a:lnTo>
                    <a:pt x="1018" y="2056"/>
                  </a:lnTo>
                  <a:lnTo>
                    <a:pt x="1020" y="2058"/>
                  </a:lnTo>
                  <a:lnTo>
                    <a:pt x="1022" y="2058"/>
                  </a:lnTo>
                  <a:lnTo>
                    <a:pt x="1020" y="2058"/>
                  </a:lnTo>
                  <a:lnTo>
                    <a:pt x="1018" y="2060"/>
                  </a:lnTo>
                  <a:lnTo>
                    <a:pt x="1018" y="2060"/>
                  </a:lnTo>
                  <a:lnTo>
                    <a:pt x="1014" y="2062"/>
                  </a:lnTo>
                  <a:lnTo>
                    <a:pt x="1014" y="2062"/>
                  </a:lnTo>
                  <a:lnTo>
                    <a:pt x="1016" y="2064"/>
                  </a:lnTo>
                  <a:lnTo>
                    <a:pt x="1022" y="2068"/>
                  </a:lnTo>
                  <a:lnTo>
                    <a:pt x="1030" y="2072"/>
                  </a:lnTo>
                  <a:lnTo>
                    <a:pt x="1038" y="2074"/>
                  </a:lnTo>
                  <a:lnTo>
                    <a:pt x="1046" y="2076"/>
                  </a:lnTo>
                  <a:lnTo>
                    <a:pt x="1046" y="2076"/>
                  </a:lnTo>
                  <a:lnTo>
                    <a:pt x="1048" y="2076"/>
                  </a:lnTo>
                  <a:lnTo>
                    <a:pt x="1050" y="2076"/>
                  </a:lnTo>
                  <a:lnTo>
                    <a:pt x="1052" y="2076"/>
                  </a:lnTo>
                  <a:lnTo>
                    <a:pt x="1052" y="2076"/>
                  </a:lnTo>
                  <a:lnTo>
                    <a:pt x="1052" y="2080"/>
                  </a:lnTo>
                  <a:lnTo>
                    <a:pt x="1052" y="2084"/>
                  </a:lnTo>
                  <a:lnTo>
                    <a:pt x="1052" y="2088"/>
                  </a:lnTo>
                  <a:lnTo>
                    <a:pt x="1052" y="2088"/>
                  </a:lnTo>
                  <a:lnTo>
                    <a:pt x="1054" y="2090"/>
                  </a:lnTo>
                  <a:lnTo>
                    <a:pt x="1054" y="2090"/>
                  </a:lnTo>
                  <a:lnTo>
                    <a:pt x="1058" y="2088"/>
                  </a:lnTo>
                  <a:lnTo>
                    <a:pt x="1060" y="2086"/>
                  </a:lnTo>
                  <a:lnTo>
                    <a:pt x="1062" y="2084"/>
                  </a:lnTo>
                  <a:lnTo>
                    <a:pt x="1066" y="2082"/>
                  </a:lnTo>
                  <a:lnTo>
                    <a:pt x="1068" y="2080"/>
                  </a:lnTo>
                  <a:lnTo>
                    <a:pt x="1068" y="2080"/>
                  </a:lnTo>
                  <a:lnTo>
                    <a:pt x="1072" y="2080"/>
                  </a:lnTo>
                  <a:lnTo>
                    <a:pt x="1076" y="2082"/>
                  </a:lnTo>
                  <a:lnTo>
                    <a:pt x="1080" y="2082"/>
                  </a:lnTo>
                  <a:lnTo>
                    <a:pt x="1084" y="2084"/>
                  </a:lnTo>
                  <a:lnTo>
                    <a:pt x="1084" y="2084"/>
                  </a:lnTo>
                  <a:lnTo>
                    <a:pt x="1088" y="2084"/>
                  </a:lnTo>
                  <a:lnTo>
                    <a:pt x="1088" y="2084"/>
                  </a:lnTo>
                  <a:lnTo>
                    <a:pt x="1088" y="2082"/>
                  </a:lnTo>
                  <a:lnTo>
                    <a:pt x="1090" y="2078"/>
                  </a:lnTo>
                  <a:lnTo>
                    <a:pt x="1090" y="2076"/>
                  </a:lnTo>
                  <a:lnTo>
                    <a:pt x="1092" y="2072"/>
                  </a:lnTo>
                  <a:lnTo>
                    <a:pt x="1094" y="2072"/>
                  </a:lnTo>
                  <a:lnTo>
                    <a:pt x="1096" y="2070"/>
                  </a:lnTo>
                  <a:lnTo>
                    <a:pt x="1096" y="2070"/>
                  </a:lnTo>
                  <a:lnTo>
                    <a:pt x="1102" y="2070"/>
                  </a:lnTo>
                  <a:lnTo>
                    <a:pt x="1108" y="2070"/>
                  </a:lnTo>
                  <a:lnTo>
                    <a:pt x="1114" y="2068"/>
                  </a:lnTo>
                  <a:lnTo>
                    <a:pt x="1118" y="2068"/>
                  </a:lnTo>
                  <a:lnTo>
                    <a:pt x="1118" y="2068"/>
                  </a:lnTo>
                  <a:lnTo>
                    <a:pt x="1118" y="2068"/>
                  </a:lnTo>
                  <a:lnTo>
                    <a:pt x="1122" y="2066"/>
                  </a:lnTo>
                  <a:lnTo>
                    <a:pt x="1124" y="2064"/>
                  </a:lnTo>
                  <a:lnTo>
                    <a:pt x="1124" y="2064"/>
                  </a:lnTo>
                  <a:lnTo>
                    <a:pt x="1124" y="2064"/>
                  </a:lnTo>
                  <a:lnTo>
                    <a:pt x="1126" y="2066"/>
                  </a:lnTo>
                  <a:lnTo>
                    <a:pt x="1126" y="2068"/>
                  </a:lnTo>
                  <a:lnTo>
                    <a:pt x="1126" y="2068"/>
                  </a:lnTo>
                  <a:lnTo>
                    <a:pt x="1126" y="2068"/>
                  </a:lnTo>
                  <a:lnTo>
                    <a:pt x="1128" y="2070"/>
                  </a:lnTo>
                  <a:lnTo>
                    <a:pt x="1128" y="2070"/>
                  </a:lnTo>
                  <a:lnTo>
                    <a:pt x="1130" y="2072"/>
                  </a:lnTo>
                  <a:lnTo>
                    <a:pt x="1130" y="2072"/>
                  </a:lnTo>
                  <a:lnTo>
                    <a:pt x="1132" y="2072"/>
                  </a:lnTo>
                  <a:lnTo>
                    <a:pt x="1134" y="2070"/>
                  </a:lnTo>
                  <a:lnTo>
                    <a:pt x="1138" y="2066"/>
                  </a:lnTo>
                  <a:lnTo>
                    <a:pt x="1140" y="2064"/>
                  </a:lnTo>
                  <a:lnTo>
                    <a:pt x="1142" y="2064"/>
                  </a:lnTo>
                  <a:lnTo>
                    <a:pt x="1146" y="2062"/>
                  </a:lnTo>
                  <a:lnTo>
                    <a:pt x="1144" y="2062"/>
                  </a:lnTo>
                  <a:lnTo>
                    <a:pt x="1148" y="2062"/>
                  </a:lnTo>
                  <a:lnTo>
                    <a:pt x="1150" y="2062"/>
                  </a:lnTo>
                  <a:lnTo>
                    <a:pt x="1152" y="2062"/>
                  </a:lnTo>
                  <a:lnTo>
                    <a:pt x="1158" y="2062"/>
                  </a:lnTo>
                  <a:lnTo>
                    <a:pt x="1156" y="2062"/>
                  </a:lnTo>
                  <a:lnTo>
                    <a:pt x="1162" y="2064"/>
                  </a:lnTo>
                  <a:lnTo>
                    <a:pt x="1166" y="2068"/>
                  </a:lnTo>
                  <a:lnTo>
                    <a:pt x="1172" y="2072"/>
                  </a:lnTo>
                  <a:lnTo>
                    <a:pt x="1172" y="2072"/>
                  </a:lnTo>
                  <a:lnTo>
                    <a:pt x="1174" y="2072"/>
                  </a:lnTo>
                  <a:lnTo>
                    <a:pt x="1174" y="2072"/>
                  </a:lnTo>
                  <a:lnTo>
                    <a:pt x="1176" y="2072"/>
                  </a:lnTo>
                  <a:lnTo>
                    <a:pt x="1178" y="2070"/>
                  </a:lnTo>
                  <a:lnTo>
                    <a:pt x="1180" y="2070"/>
                  </a:lnTo>
                  <a:lnTo>
                    <a:pt x="1184" y="2068"/>
                  </a:lnTo>
                  <a:lnTo>
                    <a:pt x="1186" y="2066"/>
                  </a:lnTo>
                  <a:lnTo>
                    <a:pt x="1186" y="2066"/>
                  </a:lnTo>
                  <a:lnTo>
                    <a:pt x="1186" y="2066"/>
                  </a:lnTo>
                  <a:lnTo>
                    <a:pt x="1188" y="2066"/>
                  </a:lnTo>
                  <a:lnTo>
                    <a:pt x="1188" y="2064"/>
                  </a:lnTo>
                  <a:lnTo>
                    <a:pt x="1188" y="2060"/>
                  </a:lnTo>
                  <a:lnTo>
                    <a:pt x="1188" y="2058"/>
                  </a:lnTo>
                  <a:lnTo>
                    <a:pt x="1188" y="2052"/>
                  </a:lnTo>
                  <a:lnTo>
                    <a:pt x="1188" y="2046"/>
                  </a:lnTo>
                  <a:lnTo>
                    <a:pt x="1188" y="2042"/>
                  </a:lnTo>
                  <a:lnTo>
                    <a:pt x="1200" y="2042"/>
                  </a:lnTo>
                  <a:lnTo>
                    <a:pt x="1200" y="2042"/>
                  </a:lnTo>
                  <a:lnTo>
                    <a:pt x="1202" y="2042"/>
                  </a:lnTo>
                  <a:lnTo>
                    <a:pt x="1202" y="2042"/>
                  </a:lnTo>
                  <a:lnTo>
                    <a:pt x="1202" y="2040"/>
                  </a:lnTo>
                  <a:lnTo>
                    <a:pt x="1202" y="2034"/>
                  </a:lnTo>
                  <a:lnTo>
                    <a:pt x="1200" y="2030"/>
                  </a:lnTo>
                  <a:lnTo>
                    <a:pt x="1200" y="2026"/>
                  </a:lnTo>
                  <a:lnTo>
                    <a:pt x="1202" y="2022"/>
                  </a:lnTo>
                  <a:lnTo>
                    <a:pt x="1202" y="2020"/>
                  </a:lnTo>
                  <a:lnTo>
                    <a:pt x="1206" y="2018"/>
                  </a:lnTo>
                  <a:lnTo>
                    <a:pt x="1210" y="2016"/>
                  </a:lnTo>
                  <a:lnTo>
                    <a:pt x="1214" y="2016"/>
                  </a:lnTo>
                  <a:lnTo>
                    <a:pt x="1214" y="2016"/>
                  </a:lnTo>
                  <a:lnTo>
                    <a:pt x="1216" y="2014"/>
                  </a:lnTo>
                  <a:lnTo>
                    <a:pt x="1216" y="2014"/>
                  </a:lnTo>
                  <a:lnTo>
                    <a:pt x="1216" y="2012"/>
                  </a:lnTo>
                  <a:lnTo>
                    <a:pt x="1212" y="2006"/>
                  </a:lnTo>
                  <a:lnTo>
                    <a:pt x="1214" y="2006"/>
                  </a:lnTo>
                  <a:lnTo>
                    <a:pt x="1212" y="2000"/>
                  </a:lnTo>
                  <a:lnTo>
                    <a:pt x="1210" y="1992"/>
                  </a:lnTo>
                  <a:lnTo>
                    <a:pt x="1210" y="1986"/>
                  </a:lnTo>
                  <a:lnTo>
                    <a:pt x="1210" y="1972"/>
                  </a:lnTo>
                  <a:lnTo>
                    <a:pt x="1210" y="1964"/>
                  </a:lnTo>
                  <a:lnTo>
                    <a:pt x="1210" y="1956"/>
                  </a:lnTo>
                  <a:lnTo>
                    <a:pt x="1210" y="1956"/>
                  </a:lnTo>
                  <a:lnTo>
                    <a:pt x="1212" y="1954"/>
                  </a:lnTo>
                  <a:lnTo>
                    <a:pt x="1214" y="1952"/>
                  </a:lnTo>
                  <a:lnTo>
                    <a:pt x="1216" y="1952"/>
                  </a:lnTo>
                  <a:lnTo>
                    <a:pt x="1216" y="1952"/>
                  </a:lnTo>
                  <a:lnTo>
                    <a:pt x="1216" y="1952"/>
                  </a:lnTo>
                  <a:lnTo>
                    <a:pt x="1218" y="1950"/>
                  </a:lnTo>
                  <a:lnTo>
                    <a:pt x="1218" y="1944"/>
                  </a:lnTo>
                  <a:lnTo>
                    <a:pt x="1220" y="1944"/>
                  </a:lnTo>
                  <a:lnTo>
                    <a:pt x="1222" y="1946"/>
                  </a:lnTo>
                  <a:lnTo>
                    <a:pt x="1226" y="1946"/>
                  </a:lnTo>
                  <a:lnTo>
                    <a:pt x="1228" y="1946"/>
                  </a:lnTo>
                  <a:lnTo>
                    <a:pt x="1230" y="1946"/>
                  </a:lnTo>
                  <a:lnTo>
                    <a:pt x="1230" y="1946"/>
                  </a:lnTo>
                  <a:lnTo>
                    <a:pt x="1230" y="1946"/>
                  </a:lnTo>
                  <a:lnTo>
                    <a:pt x="1232" y="1946"/>
                  </a:lnTo>
                  <a:lnTo>
                    <a:pt x="1232" y="1946"/>
                  </a:lnTo>
                  <a:lnTo>
                    <a:pt x="1234" y="1944"/>
                  </a:lnTo>
                  <a:lnTo>
                    <a:pt x="1234" y="1944"/>
                  </a:lnTo>
                  <a:lnTo>
                    <a:pt x="1234" y="1944"/>
                  </a:lnTo>
                  <a:lnTo>
                    <a:pt x="1236" y="1944"/>
                  </a:lnTo>
                  <a:lnTo>
                    <a:pt x="1236" y="1942"/>
                  </a:lnTo>
                  <a:lnTo>
                    <a:pt x="1236" y="1942"/>
                  </a:lnTo>
                  <a:lnTo>
                    <a:pt x="1236" y="1942"/>
                  </a:lnTo>
                  <a:lnTo>
                    <a:pt x="1236" y="1940"/>
                  </a:lnTo>
                  <a:lnTo>
                    <a:pt x="1238" y="1940"/>
                  </a:lnTo>
                  <a:lnTo>
                    <a:pt x="1238" y="1940"/>
                  </a:lnTo>
                  <a:lnTo>
                    <a:pt x="1242" y="1938"/>
                  </a:lnTo>
                  <a:lnTo>
                    <a:pt x="1246" y="1938"/>
                  </a:lnTo>
                  <a:lnTo>
                    <a:pt x="1248" y="1938"/>
                  </a:lnTo>
                  <a:lnTo>
                    <a:pt x="1250" y="1938"/>
                  </a:lnTo>
                  <a:lnTo>
                    <a:pt x="1250" y="1936"/>
                  </a:lnTo>
                  <a:lnTo>
                    <a:pt x="1250" y="1936"/>
                  </a:lnTo>
                  <a:lnTo>
                    <a:pt x="1252" y="1936"/>
                  </a:lnTo>
                  <a:lnTo>
                    <a:pt x="1252" y="1936"/>
                  </a:lnTo>
                  <a:lnTo>
                    <a:pt x="1252" y="1936"/>
                  </a:lnTo>
                  <a:lnTo>
                    <a:pt x="1254" y="1936"/>
                  </a:lnTo>
                  <a:lnTo>
                    <a:pt x="1254" y="1934"/>
                  </a:lnTo>
                  <a:lnTo>
                    <a:pt x="1256" y="1934"/>
                  </a:lnTo>
                  <a:lnTo>
                    <a:pt x="1256" y="1934"/>
                  </a:lnTo>
                  <a:lnTo>
                    <a:pt x="1258" y="1934"/>
                  </a:lnTo>
                  <a:lnTo>
                    <a:pt x="1260" y="1932"/>
                  </a:lnTo>
                  <a:lnTo>
                    <a:pt x="1260" y="1932"/>
                  </a:lnTo>
                  <a:lnTo>
                    <a:pt x="1260" y="1930"/>
                  </a:lnTo>
                  <a:lnTo>
                    <a:pt x="1262" y="1928"/>
                  </a:lnTo>
                  <a:lnTo>
                    <a:pt x="1262" y="1928"/>
                  </a:lnTo>
                  <a:lnTo>
                    <a:pt x="1262" y="1928"/>
                  </a:lnTo>
                  <a:lnTo>
                    <a:pt x="1262" y="1924"/>
                  </a:lnTo>
                  <a:lnTo>
                    <a:pt x="1262" y="1922"/>
                  </a:lnTo>
                  <a:lnTo>
                    <a:pt x="1262" y="1918"/>
                  </a:lnTo>
                  <a:lnTo>
                    <a:pt x="1262" y="1914"/>
                  </a:lnTo>
                  <a:lnTo>
                    <a:pt x="1262" y="1912"/>
                  </a:lnTo>
                  <a:lnTo>
                    <a:pt x="1262" y="1912"/>
                  </a:lnTo>
                  <a:lnTo>
                    <a:pt x="1260" y="1908"/>
                  </a:lnTo>
                  <a:lnTo>
                    <a:pt x="1260" y="1908"/>
                  </a:lnTo>
                  <a:lnTo>
                    <a:pt x="1260" y="1908"/>
                  </a:lnTo>
                  <a:lnTo>
                    <a:pt x="1258" y="1908"/>
                  </a:lnTo>
                  <a:lnTo>
                    <a:pt x="1256" y="1908"/>
                  </a:lnTo>
                  <a:lnTo>
                    <a:pt x="1256" y="1908"/>
                  </a:lnTo>
                  <a:lnTo>
                    <a:pt x="1256" y="1908"/>
                  </a:lnTo>
                  <a:lnTo>
                    <a:pt x="1252" y="1910"/>
                  </a:lnTo>
                  <a:lnTo>
                    <a:pt x="1250" y="1910"/>
                  </a:lnTo>
                  <a:lnTo>
                    <a:pt x="1248" y="1912"/>
                  </a:lnTo>
                  <a:lnTo>
                    <a:pt x="1246" y="1912"/>
                  </a:lnTo>
                  <a:lnTo>
                    <a:pt x="1246" y="1910"/>
                  </a:lnTo>
                  <a:lnTo>
                    <a:pt x="1248" y="1906"/>
                  </a:lnTo>
                  <a:lnTo>
                    <a:pt x="1250" y="1904"/>
                  </a:lnTo>
                  <a:lnTo>
                    <a:pt x="1250" y="1904"/>
                  </a:lnTo>
                  <a:lnTo>
                    <a:pt x="1252" y="1902"/>
                  </a:lnTo>
                  <a:lnTo>
                    <a:pt x="1252" y="1902"/>
                  </a:lnTo>
                  <a:lnTo>
                    <a:pt x="1252" y="1902"/>
                  </a:lnTo>
                  <a:lnTo>
                    <a:pt x="1254" y="1900"/>
                  </a:lnTo>
                  <a:lnTo>
                    <a:pt x="1254" y="1900"/>
                  </a:lnTo>
                  <a:lnTo>
                    <a:pt x="1254" y="1900"/>
                  </a:lnTo>
                  <a:lnTo>
                    <a:pt x="1256" y="1898"/>
                  </a:lnTo>
                  <a:lnTo>
                    <a:pt x="1256" y="1898"/>
                  </a:lnTo>
                  <a:lnTo>
                    <a:pt x="1256" y="1896"/>
                  </a:lnTo>
                  <a:lnTo>
                    <a:pt x="1256" y="1894"/>
                  </a:lnTo>
                  <a:lnTo>
                    <a:pt x="1256" y="1894"/>
                  </a:lnTo>
                  <a:lnTo>
                    <a:pt x="1256" y="1894"/>
                  </a:lnTo>
                  <a:lnTo>
                    <a:pt x="1256" y="1892"/>
                  </a:lnTo>
                  <a:lnTo>
                    <a:pt x="1256" y="1892"/>
                  </a:lnTo>
                  <a:lnTo>
                    <a:pt x="1254" y="1892"/>
                  </a:lnTo>
                  <a:lnTo>
                    <a:pt x="1254" y="1890"/>
                  </a:lnTo>
                  <a:lnTo>
                    <a:pt x="1254" y="1890"/>
                  </a:lnTo>
                  <a:lnTo>
                    <a:pt x="1254" y="1888"/>
                  </a:lnTo>
                  <a:lnTo>
                    <a:pt x="1252" y="1886"/>
                  </a:lnTo>
                  <a:lnTo>
                    <a:pt x="1248" y="1884"/>
                  </a:lnTo>
                  <a:lnTo>
                    <a:pt x="1248" y="1884"/>
                  </a:lnTo>
                  <a:lnTo>
                    <a:pt x="1248" y="1884"/>
                  </a:lnTo>
                  <a:lnTo>
                    <a:pt x="1244" y="1882"/>
                  </a:lnTo>
                  <a:lnTo>
                    <a:pt x="1244" y="1882"/>
                  </a:lnTo>
                  <a:lnTo>
                    <a:pt x="1248" y="1876"/>
                  </a:lnTo>
                  <a:lnTo>
                    <a:pt x="1248" y="1876"/>
                  </a:lnTo>
                  <a:lnTo>
                    <a:pt x="1248" y="1874"/>
                  </a:lnTo>
                  <a:lnTo>
                    <a:pt x="1246" y="1870"/>
                  </a:lnTo>
                  <a:lnTo>
                    <a:pt x="1244" y="1868"/>
                  </a:lnTo>
                  <a:lnTo>
                    <a:pt x="1242" y="1864"/>
                  </a:lnTo>
                  <a:lnTo>
                    <a:pt x="1242" y="1860"/>
                  </a:lnTo>
                  <a:lnTo>
                    <a:pt x="1242" y="1860"/>
                  </a:lnTo>
                  <a:lnTo>
                    <a:pt x="1240" y="1858"/>
                  </a:lnTo>
                  <a:lnTo>
                    <a:pt x="1238" y="1856"/>
                  </a:lnTo>
                  <a:lnTo>
                    <a:pt x="1238" y="1856"/>
                  </a:lnTo>
                  <a:lnTo>
                    <a:pt x="1238" y="1856"/>
                  </a:lnTo>
                  <a:lnTo>
                    <a:pt x="1236" y="1856"/>
                  </a:lnTo>
                  <a:lnTo>
                    <a:pt x="1236" y="1856"/>
                  </a:lnTo>
                  <a:lnTo>
                    <a:pt x="1234" y="1856"/>
                  </a:lnTo>
                  <a:lnTo>
                    <a:pt x="1232" y="1858"/>
                  </a:lnTo>
                  <a:lnTo>
                    <a:pt x="1230" y="1858"/>
                  </a:lnTo>
                  <a:lnTo>
                    <a:pt x="1224" y="1860"/>
                  </a:lnTo>
                  <a:lnTo>
                    <a:pt x="1222" y="1860"/>
                  </a:lnTo>
                  <a:lnTo>
                    <a:pt x="1222" y="1860"/>
                  </a:lnTo>
                  <a:lnTo>
                    <a:pt x="1222" y="1860"/>
                  </a:lnTo>
                  <a:lnTo>
                    <a:pt x="1220" y="1860"/>
                  </a:lnTo>
                  <a:lnTo>
                    <a:pt x="1220" y="1860"/>
                  </a:lnTo>
                  <a:lnTo>
                    <a:pt x="1218" y="1858"/>
                  </a:lnTo>
                  <a:lnTo>
                    <a:pt x="1216" y="1856"/>
                  </a:lnTo>
                  <a:lnTo>
                    <a:pt x="1216" y="1856"/>
                  </a:lnTo>
                  <a:lnTo>
                    <a:pt x="1216" y="1856"/>
                  </a:lnTo>
                  <a:lnTo>
                    <a:pt x="1214" y="1854"/>
                  </a:lnTo>
                  <a:lnTo>
                    <a:pt x="1214" y="1854"/>
                  </a:lnTo>
                  <a:lnTo>
                    <a:pt x="1214" y="1854"/>
                  </a:lnTo>
                  <a:lnTo>
                    <a:pt x="1212" y="1854"/>
                  </a:lnTo>
                  <a:lnTo>
                    <a:pt x="1212" y="1854"/>
                  </a:lnTo>
                  <a:lnTo>
                    <a:pt x="1212" y="1856"/>
                  </a:lnTo>
                  <a:lnTo>
                    <a:pt x="1208" y="1856"/>
                  </a:lnTo>
                  <a:lnTo>
                    <a:pt x="1208" y="1856"/>
                  </a:lnTo>
                  <a:lnTo>
                    <a:pt x="1208" y="1856"/>
                  </a:lnTo>
                  <a:lnTo>
                    <a:pt x="1208" y="1854"/>
                  </a:lnTo>
                  <a:lnTo>
                    <a:pt x="1208" y="1854"/>
                  </a:lnTo>
                  <a:lnTo>
                    <a:pt x="1208" y="1854"/>
                  </a:lnTo>
                  <a:lnTo>
                    <a:pt x="1206" y="1852"/>
                  </a:lnTo>
                  <a:lnTo>
                    <a:pt x="1206" y="1852"/>
                  </a:lnTo>
                  <a:lnTo>
                    <a:pt x="1204" y="1852"/>
                  </a:lnTo>
                  <a:lnTo>
                    <a:pt x="1202" y="1850"/>
                  </a:lnTo>
                  <a:close/>
                  <a:moveTo>
                    <a:pt x="30" y="2662"/>
                  </a:moveTo>
                  <a:lnTo>
                    <a:pt x="30" y="2662"/>
                  </a:lnTo>
                  <a:lnTo>
                    <a:pt x="26" y="2662"/>
                  </a:lnTo>
                  <a:lnTo>
                    <a:pt x="22" y="2664"/>
                  </a:lnTo>
                  <a:lnTo>
                    <a:pt x="22" y="2664"/>
                  </a:lnTo>
                  <a:lnTo>
                    <a:pt x="22" y="2666"/>
                  </a:lnTo>
                  <a:lnTo>
                    <a:pt x="20" y="2670"/>
                  </a:lnTo>
                  <a:lnTo>
                    <a:pt x="20" y="2670"/>
                  </a:lnTo>
                  <a:lnTo>
                    <a:pt x="20" y="2670"/>
                  </a:lnTo>
                  <a:lnTo>
                    <a:pt x="20" y="2672"/>
                  </a:lnTo>
                  <a:lnTo>
                    <a:pt x="20" y="2672"/>
                  </a:lnTo>
                  <a:lnTo>
                    <a:pt x="20" y="2676"/>
                  </a:lnTo>
                  <a:lnTo>
                    <a:pt x="22" y="2678"/>
                  </a:lnTo>
                  <a:lnTo>
                    <a:pt x="22" y="2678"/>
                  </a:lnTo>
                  <a:lnTo>
                    <a:pt x="26" y="2678"/>
                  </a:lnTo>
                  <a:lnTo>
                    <a:pt x="30" y="2676"/>
                  </a:lnTo>
                  <a:lnTo>
                    <a:pt x="30" y="2676"/>
                  </a:lnTo>
                  <a:lnTo>
                    <a:pt x="30" y="2676"/>
                  </a:lnTo>
                  <a:lnTo>
                    <a:pt x="32" y="2672"/>
                  </a:lnTo>
                  <a:lnTo>
                    <a:pt x="32" y="2672"/>
                  </a:lnTo>
                  <a:lnTo>
                    <a:pt x="32" y="2670"/>
                  </a:lnTo>
                  <a:lnTo>
                    <a:pt x="32" y="2666"/>
                  </a:lnTo>
                  <a:lnTo>
                    <a:pt x="32" y="2666"/>
                  </a:lnTo>
                  <a:lnTo>
                    <a:pt x="32" y="2664"/>
                  </a:lnTo>
                  <a:lnTo>
                    <a:pt x="30" y="2662"/>
                  </a:lnTo>
                  <a:close/>
                  <a:moveTo>
                    <a:pt x="204" y="2840"/>
                  </a:moveTo>
                  <a:lnTo>
                    <a:pt x="200" y="2838"/>
                  </a:lnTo>
                  <a:lnTo>
                    <a:pt x="196" y="2834"/>
                  </a:lnTo>
                  <a:lnTo>
                    <a:pt x="194" y="2832"/>
                  </a:lnTo>
                  <a:lnTo>
                    <a:pt x="194" y="2832"/>
                  </a:lnTo>
                  <a:lnTo>
                    <a:pt x="192" y="2832"/>
                  </a:lnTo>
                  <a:lnTo>
                    <a:pt x="182" y="2832"/>
                  </a:lnTo>
                  <a:lnTo>
                    <a:pt x="182" y="2832"/>
                  </a:lnTo>
                  <a:lnTo>
                    <a:pt x="180" y="2834"/>
                  </a:lnTo>
                  <a:lnTo>
                    <a:pt x="178" y="2838"/>
                  </a:lnTo>
                  <a:lnTo>
                    <a:pt x="178" y="2838"/>
                  </a:lnTo>
                  <a:lnTo>
                    <a:pt x="178" y="2838"/>
                  </a:lnTo>
                  <a:lnTo>
                    <a:pt x="178" y="2846"/>
                  </a:lnTo>
                  <a:lnTo>
                    <a:pt x="178" y="2846"/>
                  </a:lnTo>
                  <a:lnTo>
                    <a:pt x="178" y="2848"/>
                  </a:lnTo>
                  <a:lnTo>
                    <a:pt x="180" y="2850"/>
                  </a:lnTo>
                  <a:lnTo>
                    <a:pt x="180" y="2850"/>
                  </a:lnTo>
                  <a:lnTo>
                    <a:pt x="182" y="2850"/>
                  </a:lnTo>
                  <a:lnTo>
                    <a:pt x="184" y="2852"/>
                  </a:lnTo>
                  <a:lnTo>
                    <a:pt x="184" y="2852"/>
                  </a:lnTo>
                  <a:lnTo>
                    <a:pt x="184" y="2854"/>
                  </a:lnTo>
                  <a:lnTo>
                    <a:pt x="188" y="2854"/>
                  </a:lnTo>
                  <a:lnTo>
                    <a:pt x="192" y="2858"/>
                  </a:lnTo>
                  <a:lnTo>
                    <a:pt x="192" y="2858"/>
                  </a:lnTo>
                  <a:lnTo>
                    <a:pt x="194" y="2860"/>
                  </a:lnTo>
                  <a:lnTo>
                    <a:pt x="196" y="2858"/>
                  </a:lnTo>
                  <a:lnTo>
                    <a:pt x="198" y="2858"/>
                  </a:lnTo>
                  <a:lnTo>
                    <a:pt x="198" y="2858"/>
                  </a:lnTo>
                  <a:lnTo>
                    <a:pt x="198" y="2858"/>
                  </a:lnTo>
                  <a:lnTo>
                    <a:pt x="200" y="2858"/>
                  </a:lnTo>
                  <a:lnTo>
                    <a:pt x="204" y="2856"/>
                  </a:lnTo>
                  <a:lnTo>
                    <a:pt x="204" y="2856"/>
                  </a:lnTo>
                  <a:lnTo>
                    <a:pt x="204" y="2852"/>
                  </a:lnTo>
                  <a:lnTo>
                    <a:pt x="204" y="2842"/>
                  </a:lnTo>
                  <a:lnTo>
                    <a:pt x="204" y="2842"/>
                  </a:lnTo>
                  <a:lnTo>
                    <a:pt x="204" y="2840"/>
                  </a:lnTo>
                  <a:lnTo>
                    <a:pt x="204" y="2840"/>
                  </a:lnTo>
                  <a:close/>
                  <a:moveTo>
                    <a:pt x="248" y="3010"/>
                  </a:moveTo>
                  <a:lnTo>
                    <a:pt x="244" y="3008"/>
                  </a:lnTo>
                  <a:lnTo>
                    <a:pt x="244" y="3008"/>
                  </a:lnTo>
                  <a:lnTo>
                    <a:pt x="242" y="3006"/>
                  </a:lnTo>
                  <a:lnTo>
                    <a:pt x="240" y="3006"/>
                  </a:lnTo>
                  <a:lnTo>
                    <a:pt x="238" y="3006"/>
                  </a:lnTo>
                  <a:lnTo>
                    <a:pt x="238" y="3006"/>
                  </a:lnTo>
                  <a:lnTo>
                    <a:pt x="236" y="3006"/>
                  </a:lnTo>
                  <a:lnTo>
                    <a:pt x="232" y="3010"/>
                  </a:lnTo>
                  <a:lnTo>
                    <a:pt x="232" y="3010"/>
                  </a:lnTo>
                  <a:lnTo>
                    <a:pt x="232" y="3010"/>
                  </a:lnTo>
                  <a:lnTo>
                    <a:pt x="230" y="3014"/>
                  </a:lnTo>
                  <a:lnTo>
                    <a:pt x="230" y="3014"/>
                  </a:lnTo>
                  <a:lnTo>
                    <a:pt x="230" y="3018"/>
                  </a:lnTo>
                  <a:lnTo>
                    <a:pt x="232" y="3020"/>
                  </a:lnTo>
                  <a:lnTo>
                    <a:pt x="232" y="3020"/>
                  </a:lnTo>
                  <a:lnTo>
                    <a:pt x="232" y="3020"/>
                  </a:lnTo>
                  <a:lnTo>
                    <a:pt x="236" y="3022"/>
                  </a:lnTo>
                  <a:lnTo>
                    <a:pt x="238" y="3024"/>
                  </a:lnTo>
                  <a:lnTo>
                    <a:pt x="240" y="3026"/>
                  </a:lnTo>
                  <a:lnTo>
                    <a:pt x="240" y="3026"/>
                  </a:lnTo>
                  <a:lnTo>
                    <a:pt x="242" y="3026"/>
                  </a:lnTo>
                  <a:lnTo>
                    <a:pt x="244" y="3026"/>
                  </a:lnTo>
                  <a:lnTo>
                    <a:pt x="244" y="3026"/>
                  </a:lnTo>
                  <a:lnTo>
                    <a:pt x="246" y="3026"/>
                  </a:lnTo>
                  <a:lnTo>
                    <a:pt x="248" y="3024"/>
                  </a:lnTo>
                  <a:lnTo>
                    <a:pt x="248" y="3024"/>
                  </a:lnTo>
                  <a:lnTo>
                    <a:pt x="250" y="3022"/>
                  </a:lnTo>
                  <a:lnTo>
                    <a:pt x="250" y="3012"/>
                  </a:lnTo>
                  <a:lnTo>
                    <a:pt x="250" y="3012"/>
                  </a:lnTo>
                  <a:lnTo>
                    <a:pt x="248" y="3010"/>
                  </a:lnTo>
                  <a:lnTo>
                    <a:pt x="248" y="3010"/>
                  </a:lnTo>
                  <a:close/>
                  <a:moveTo>
                    <a:pt x="22" y="2676"/>
                  </a:moveTo>
                  <a:lnTo>
                    <a:pt x="18" y="2674"/>
                  </a:lnTo>
                  <a:lnTo>
                    <a:pt x="16" y="2672"/>
                  </a:lnTo>
                  <a:lnTo>
                    <a:pt x="16" y="2672"/>
                  </a:lnTo>
                  <a:lnTo>
                    <a:pt x="14" y="2672"/>
                  </a:lnTo>
                  <a:lnTo>
                    <a:pt x="12" y="2672"/>
                  </a:lnTo>
                  <a:lnTo>
                    <a:pt x="12" y="2672"/>
                  </a:lnTo>
                  <a:lnTo>
                    <a:pt x="10" y="2672"/>
                  </a:lnTo>
                  <a:lnTo>
                    <a:pt x="8" y="2674"/>
                  </a:lnTo>
                  <a:lnTo>
                    <a:pt x="6" y="2674"/>
                  </a:lnTo>
                  <a:lnTo>
                    <a:pt x="6" y="2674"/>
                  </a:lnTo>
                  <a:lnTo>
                    <a:pt x="4" y="2676"/>
                  </a:lnTo>
                  <a:lnTo>
                    <a:pt x="2" y="2680"/>
                  </a:lnTo>
                  <a:lnTo>
                    <a:pt x="0" y="2680"/>
                  </a:lnTo>
                  <a:lnTo>
                    <a:pt x="0" y="2680"/>
                  </a:lnTo>
                  <a:lnTo>
                    <a:pt x="0" y="2682"/>
                  </a:lnTo>
                  <a:lnTo>
                    <a:pt x="0" y="2684"/>
                  </a:lnTo>
                  <a:lnTo>
                    <a:pt x="0" y="2684"/>
                  </a:lnTo>
                  <a:lnTo>
                    <a:pt x="0" y="2686"/>
                  </a:lnTo>
                  <a:lnTo>
                    <a:pt x="2" y="2690"/>
                  </a:lnTo>
                  <a:lnTo>
                    <a:pt x="4" y="2690"/>
                  </a:lnTo>
                  <a:lnTo>
                    <a:pt x="4" y="2690"/>
                  </a:lnTo>
                  <a:lnTo>
                    <a:pt x="4" y="2690"/>
                  </a:lnTo>
                  <a:lnTo>
                    <a:pt x="4" y="2692"/>
                  </a:lnTo>
                  <a:lnTo>
                    <a:pt x="6" y="2696"/>
                  </a:lnTo>
                  <a:lnTo>
                    <a:pt x="6" y="2696"/>
                  </a:lnTo>
                  <a:lnTo>
                    <a:pt x="8" y="2696"/>
                  </a:lnTo>
                  <a:lnTo>
                    <a:pt x="10" y="2696"/>
                  </a:lnTo>
                  <a:lnTo>
                    <a:pt x="10" y="2696"/>
                  </a:lnTo>
                  <a:lnTo>
                    <a:pt x="12" y="2696"/>
                  </a:lnTo>
                  <a:lnTo>
                    <a:pt x="14" y="2692"/>
                  </a:lnTo>
                  <a:lnTo>
                    <a:pt x="14" y="2692"/>
                  </a:lnTo>
                  <a:lnTo>
                    <a:pt x="14" y="2690"/>
                  </a:lnTo>
                  <a:lnTo>
                    <a:pt x="14" y="2690"/>
                  </a:lnTo>
                  <a:lnTo>
                    <a:pt x="16" y="2690"/>
                  </a:lnTo>
                  <a:lnTo>
                    <a:pt x="18" y="2690"/>
                  </a:lnTo>
                  <a:lnTo>
                    <a:pt x="18" y="2690"/>
                  </a:lnTo>
                  <a:lnTo>
                    <a:pt x="20" y="2690"/>
                  </a:lnTo>
                  <a:lnTo>
                    <a:pt x="22" y="2686"/>
                  </a:lnTo>
                  <a:lnTo>
                    <a:pt x="22" y="2686"/>
                  </a:lnTo>
                  <a:lnTo>
                    <a:pt x="22" y="2684"/>
                  </a:lnTo>
                  <a:lnTo>
                    <a:pt x="22" y="2678"/>
                  </a:lnTo>
                  <a:lnTo>
                    <a:pt x="22" y="2678"/>
                  </a:lnTo>
                  <a:lnTo>
                    <a:pt x="22" y="2676"/>
                  </a:lnTo>
                  <a:lnTo>
                    <a:pt x="22" y="2676"/>
                  </a:lnTo>
                  <a:close/>
                  <a:moveTo>
                    <a:pt x="272" y="2954"/>
                  </a:moveTo>
                  <a:lnTo>
                    <a:pt x="272" y="2954"/>
                  </a:lnTo>
                  <a:lnTo>
                    <a:pt x="272" y="2952"/>
                  </a:lnTo>
                  <a:lnTo>
                    <a:pt x="270" y="2950"/>
                  </a:lnTo>
                  <a:lnTo>
                    <a:pt x="268" y="2948"/>
                  </a:lnTo>
                  <a:lnTo>
                    <a:pt x="268" y="2948"/>
                  </a:lnTo>
                  <a:lnTo>
                    <a:pt x="266" y="2948"/>
                  </a:lnTo>
                  <a:lnTo>
                    <a:pt x="264" y="2948"/>
                  </a:lnTo>
                  <a:lnTo>
                    <a:pt x="262" y="2946"/>
                  </a:lnTo>
                  <a:lnTo>
                    <a:pt x="262" y="2946"/>
                  </a:lnTo>
                  <a:lnTo>
                    <a:pt x="260" y="2946"/>
                  </a:lnTo>
                  <a:lnTo>
                    <a:pt x="258" y="2946"/>
                  </a:lnTo>
                  <a:lnTo>
                    <a:pt x="258" y="2944"/>
                  </a:lnTo>
                  <a:lnTo>
                    <a:pt x="258" y="2944"/>
                  </a:lnTo>
                  <a:lnTo>
                    <a:pt x="256" y="2942"/>
                  </a:lnTo>
                  <a:lnTo>
                    <a:pt x="254" y="2942"/>
                  </a:lnTo>
                  <a:lnTo>
                    <a:pt x="250" y="2942"/>
                  </a:lnTo>
                  <a:lnTo>
                    <a:pt x="250" y="2942"/>
                  </a:lnTo>
                  <a:lnTo>
                    <a:pt x="248" y="2942"/>
                  </a:lnTo>
                  <a:lnTo>
                    <a:pt x="248" y="2942"/>
                  </a:lnTo>
                  <a:lnTo>
                    <a:pt x="248" y="2942"/>
                  </a:lnTo>
                  <a:lnTo>
                    <a:pt x="248" y="2938"/>
                  </a:lnTo>
                  <a:lnTo>
                    <a:pt x="248" y="2938"/>
                  </a:lnTo>
                  <a:lnTo>
                    <a:pt x="246" y="2936"/>
                  </a:lnTo>
                  <a:lnTo>
                    <a:pt x="244" y="2936"/>
                  </a:lnTo>
                  <a:lnTo>
                    <a:pt x="244" y="2936"/>
                  </a:lnTo>
                  <a:lnTo>
                    <a:pt x="244" y="2936"/>
                  </a:lnTo>
                  <a:lnTo>
                    <a:pt x="244" y="2934"/>
                  </a:lnTo>
                  <a:lnTo>
                    <a:pt x="244" y="2934"/>
                  </a:lnTo>
                  <a:lnTo>
                    <a:pt x="242" y="2932"/>
                  </a:lnTo>
                  <a:lnTo>
                    <a:pt x="240" y="2932"/>
                  </a:lnTo>
                  <a:lnTo>
                    <a:pt x="240" y="2932"/>
                  </a:lnTo>
                  <a:lnTo>
                    <a:pt x="240" y="2930"/>
                  </a:lnTo>
                  <a:lnTo>
                    <a:pt x="238" y="2930"/>
                  </a:lnTo>
                  <a:lnTo>
                    <a:pt x="236" y="2930"/>
                  </a:lnTo>
                  <a:lnTo>
                    <a:pt x="236" y="2930"/>
                  </a:lnTo>
                  <a:lnTo>
                    <a:pt x="234" y="2930"/>
                  </a:lnTo>
                  <a:lnTo>
                    <a:pt x="232" y="2932"/>
                  </a:lnTo>
                  <a:lnTo>
                    <a:pt x="230" y="2934"/>
                  </a:lnTo>
                  <a:lnTo>
                    <a:pt x="230" y="2934"/>
                  </a:lnTo>
                  <a:lnTo>
                    <a:pt x="230" y="2934"/>
                  </a:lnTo>
                  <a:lnTo>
                    <a:pt x="228" y="2934"/>
                  </a:lnTo>
                  <a:lnTo>
                    <a:pt x="226" y="2936"/>
                  </a:lnTo>
                  <a:lnTo>
                    <a:pt x="226" y="2936"/>
                  </a:lnTo>
                  <a:lnTo>
                    <a:pt x="226" y="2938"/>
                  </a:lnTo>
                  <a:lnTo>
                    <a:pt x="226" y="2938"/>
                  </a:lnTo>
                  <a:lnTo>
                    <a:pt x="226" y="2940"/>
                  </a:lnTo>
                  <a:lnTo>
                    <a:pt x="228" y="2942"/>
                  </a:lnTo>
                  <a:lnTo>
                    <a:pt x="228" y="2944"/>
                  </a:lnTo>
                  <a:lnTo>
                    <a:pt x="228" y="2944"/>
                  </a:lnTo>
                  <a:lnTo>
                    <a:pt x="228" y="2946"/>
                  </a:lnTo>
                  <a:lnTo>
                    <a:pt x="230" y="2948"/>
                  </a:lnTo>
                  <a:lnTo>
                    <a:pt x="230" y="2950"/>
                  </a:lnTo>
                  <a:lnTo>
                    <a:pt x="230" y="2950"/>
                  </a:lnTo>
                  <a:lnTo>
                    <a:pt x="230" y="2952"/>
                  </a:lnTo>
                  <a:lnTo>
                    <a:pt x="232" y="2954"/>
                  </a:lnTo>
                  <a:lnTo>
                    <a:pt x="232" y="2954"/>
                  </a:lnTo>
                  <a:lnTo>
                    <a:pt x="232" y="2954"/>
                  </a:lnTo>
                  <a:lnTo>
                    <a:pt x="232" y="2956"/>
                  </a:lnTo>
                  <a:lnTo>
                    <a:pt x="234" y="2958"/>
                  </a:lnTo>
                  <a:lnTo>
                    <a:pt x="238" y="2958"/>
                  </a:lnTo>
                  <a:lnTo>
                    <a:pt x="240" y="2958"/>
                  </a:lnTo>
                  <a:lnTo>
                    <a:pt x="242" y="2960"/>
                  </a:lnTo>
                  <a:lnTo>
                    <a:pt x="244" y="2962"/>
                  </a:lnTo>
                  <a:lnTo>
                    <a:pt x="246" y="2964"/>
                  </a:lnTo>
                  <a:lnTo>
                    <a:pt x="246" y="2964"/>
                  </a:lnTo>
                  <a:lnTo>
                    <a:pt x="248" y="2966"/>
                  </a:lnTo>
                  <a:lnTo>
                    <a:pt x="248" y="2966"/>
                  </a:lnTo>
                  <a:lnTo>
                    <a:pt x="250" y="2966"/>
                  </a:lnTo>
                  <a:lnTo>
                    <a:pt x="250" y="2966"/>
                  </a:lnTo>
                  <a:lnTo>
                    <a:pt x="252" y="2968"/>
                  </a:lnTo>
                  <a:lnTo>
                    <a:pt x="260" y="2968"/>
                  </a:lnTo>
                  <a:lnTo>
                    <a:pt x="262" y="2968"/>
                  </a:lnTo>
                  <a:lnTo>
                    <a:pt x="262" y="2968"/>
                  </a:lnTo>
                  <a:lnTo>
                    <a:pt x="264" y="2970"/>
                  </a:lnTo>
                  <a:lnTo>
                    <a:pt x="268" y="2970"/>
                  </a:lnTo>
                  <a:lnTo>
                    <a:pt x="268" y="2970"/>
                  </a:lnTo>
                  <a:lnTo>
                    <a:pt x="270" y="2968"/>
                  </a:lnTo>
                  <a:lnTo>
                    <a:pt x="272" y="2966"/>
                  </a:lnTo>
                  <a:lnTo>
                    <a:pt x="272" y="2966"/>
                  </a:lnTo>
                  <a:lnTo>
                    <a:pt x="272" y="2966"/>
                  </a:lnTo>
                  <a:lnTo>
                    <a:pt x="274" y="2962"/>
                  </a:lnTo>
                  <a:lnTo>
                    <a:pt x="274" y="2962"/>
                  </a:lnTo>
                  <a:lnTo>
                    <a:pt x="276" y="2960"/>
                  </a:lnTo>
                  <a:lnTo>
                    <a:pt x="276" y="2958"/>
                  </a:lnTo>
                  <a:lnTo>
                    <a:pt x="276" y="2958"/>
                  </a:lnTo>
                  <a:lnTo>
                    <a:pt x="274" y="2956"/>
                  </a:lnTo>
                  <a:lnTo>
                    <a:pt x="272" y="2954"/>
                  </a:lnTo>
                  <a:close/>
                  <a:moveTo>
                    <a:pt x="166" y="2794"/>
                  </a:moveTo>
                  <a:lnTo>
                    <a:pt x="164" y="2792"/>
                  </a:lnTo>
                  <a:lnTo>
                    <a:pt x="164" y="2792"/>
                  </a:lnTo>
                  <a:lnTo>
                    <a:pt x="160" y="2792"/>
                  </a:lnTo>
                  <a:lnTo>
                    <a:pt x="156" y="2794"/>
                  </a:lnTo>
                  <a:lnTo>
                    <a:pt x="156" y="2794"/>
                  </a:lnTo>
                  <a:lnTo>
                    <a:pt x="156" y="2794"/>
                  </a:lnTo>
                  <a:lnTo>
                    <a:pt x="154" y="2796"/>
                  </a:lnTo>
                  <a:lnTo>
                    <a:pt x="152" y="2798"/>
                  </a:lnTo>
                  <a:lnTo>
                    <a:pt x="152" y="2798"/>
                  </a:lnTo>
                  <a:lnTo>
                    <a:pt x="152" y="2800"/>
                  </a:lnTo>
                  <a:lnTo>
                    <a:pt x="152" y="2800"/>
                  </a:lnTo>
                  <a:lnTo>
                    <a:pt x="152" y="2802"/>
                  </a:lnTo>
                  <a:lnTo>
                    <a:pt x="154" y="2804"/>
                  </a:lnTo>
                  <a:lnTo>
                    <a:pt x="156" y="2806"/>
                  </a:lnTo>
                  <a:lnTo>
                    <a:pt x="160" y="2810"/>
                  </a:lnTo>
                  <a:lnTo>
                    <a:pt x="160" y="2810"/>
                  </a:lnTo>
                  <a:lnTo>
                    <a:pt x="162" y="2812"/>
                  </a:lnTo>
                  <a:lnTo>
                    <a:pt x="164" y="2810"/>
                  </a:lnTo>
                  <a:lnTo>
                    <a:pt x="166" y="2808"/>
                  </a:lnTo>
                  <a:lnTo>
                    <a:pt x="168" y="2806"/>
                  </a:lnTo>
                  <a:lnTo>
                    <a:pt x="168" y="2806"/>
                  </a:lnTo>
                  <a:lnTo>
                    <a:pt x="168" y="2804"/>
                  </a:lnTo>
                  <a:lnTo>
                    <a:pt x="168" y="2798"/>
                  </a:lnTo>
                  <a:lnTo>
                    <a:pt x="168" y="2798"/>
                  </a:lnTo>
                  <a:lnTo>
                    <a:pt x="168" y="2796"/>
                  </a:lnTo>
                  <a:lnTo>
                    <a:pt x="166" y="2794"/>
                  </a:lnTo>
                  <a:close/>
                  <a:moveTo>
                    <a:pt x="136" y="2832"/>
                  </a:moveTo>
                  <a:lnTo>
                    <a:pt x="134" y="2832"/>
                  </a:lnTo>
                  <a:lnTo>
                    <a:pt x="132" y="2830"/>
                  </a:lnTo>
                  <a:lnTo>
                    <a:pt x="132" y="2828"/>
                  </a:lnTo>
                  <a:lnTo>
                    <a:pt x="132" y="2828"/>
                  </a:lnTo>
                  <a:lnTo>
                    <a:pt x="132" y="2826"/>
                  </a:lnTo>
                  <a:lnTo>
                    <a:pt x="130" y="2824"/>
                  </a:lnTo>
                  <a:lnTo>
                    <a:pt x="128" y="2822"/>
                  </a:lnTo>
                  <a:lnTo>
                    <a:pt x="126" y="2820"/>
                  </a:lnTo>
                  <a:lnTo>
                    <a:pt x="124" y="2818"/>
                  </a:lnTo>
                  <a:lnTo>
                    <a:pt x="122" y="2816"/>
                  </a:lnTo>
                  <a:lnTo>
                    <a:pt x="122" y="2816"/>
                  </a:lnTo>
                  <a:lnTo>
                    <a:pt x="122" y="2814"/>
                  </a:lnTo>
                  <a:lnTo>
                    <a:pt x="120" y="2812"/>
                  </a:lnTo>
                  <a:lnTo>
                    <a:pt x="120" y="2812"/>
                  </a:lnTo>
                  <a:lnTo>
                    <a:pt x="118" y="2812"/>
                  </a:lnTo>
                  <a:lnTo>
                    <a:pt x="116" y="2812"/>
                  </a:lnTo>
                  <a:lnTo>
                    <a:pt x="116" y="2812"/>
                  </a:lnTo>
                  <a:lnTo>
                    <a:pt x="116" y="2812"/>
                  </a:lnTo>
                  <a:lnTo>
                    <a:pt x="114" y="2808"/>
                  </a:lnTo>
                  <a:lnTo>
                    <a:pt x="114" y="2808"/>
                  </a:lnTo>
                  <a:lnTo>
                    <a:pt x="114" y="2806"/>
                  </a:lnTo>
                  <a:lnTo>
                    <a:pt x="112" y="2804"/>
                  </a:lnTo>
                  <a:lnTo>
                    <a:pt x="110" y="2802"/>
                  </a:lnTo>
                  <a:lnTo>
                    <a:pt x="110" y="2802"/>
                  </a:lnTo>
                  <a:lnTo>
                    <a:pt x="108" y="2802"/>
                  </a:lnTo>
                  <a:lnTo>
                    <a:pt x="104" y="2802"/>
                  </a:lnTo>
                  <a:lnTo>
                    <a:pt x="102" y="2800"/>
                  </a:lnTo>
                  <a:lnTo>
                    <a:pt x="102" y="2800"/>
                  </a:lnTo>
                  <a:lnTo>
                    <a:pt x="100" y="2800"/>
                  </a:lnTo>
                  <a:lnTo>
                    <a:pt x="98" y="2800"/>
                  </a:lnTo>
                  <a:lnTo>
                    <a:pt x="96" y="2802"/>
                  </a:lnTo>
                  <a:lnTo>
                    <a:pt x="96" y="2802"/>
                  </a:lnTo>
                  <a:lnTo>
                    <a:pt x="96" y="2804"/>
                  </a:lnTo>
                  <a:lnTo>
                    <a:pt x="94" y="2808"/>
                  </a:lnTo>
                  <a:lnTo>
                    <a:pt x="94" y="2808"/>
                  </a:lnTo>
                  <a:lnTo>
                    <a:pt x="94" y="2810"/>
                  </a:lnTo>
                  <a:lnTo>
                    <a:pt x="94" y="2810"/>
                  </a:lnTo>
                  <a:lnTo>
                    <a:pt x="94" y="2812"/>
                  </a:lnTo>
                  <a:lnTo>
                    <a:pt x="94" y="2812"/>
                  </a:lnTo>
                  <a:lnTo>
                    <a:pt x="94" y="2814"/>
                  </a:lnTo>
                  <a:lnTo>
                    <a:pt x="96" y="2816"/>
                  </a:lnTo>
                  <a:lnTo>
                    <a:pt x="98" y="2818"/>
                  </a:lnTo>
                  <a:lnTo>
                    <a:pt x="98" y="2818"/>
                  </a:lnTo>
                  <a:lnTo>
                    <a:pt x="98" y="2820"/>
                  </a:lnTo>
                  <a:lnTo>
                    <a:pt x="102" y="2822"/>
                  </a:lnTo>
                  <a:lnTo>
                    <a:pt x="104" y="2822"/>
                  </a:lnTo>
                  <a:lnTo>
                    <a:pt x="104" y="2824"/>
                  </a:lnTo>
                  <a:lnTo>
                    <a:pt x="104" y="2824"/>
                  </a:lnTo>
                  <a:lnTo>
                    <a:pt x="104" y="2824"/>
                  </a:lnTo>
                  <a:lnTo>
                    <a:pt x="104" y="2828"/>
                  </a:lnTo>
                  <a:lnTo>
                    <a:pt x="104" y="2828"/>
                  </a:lnTo>
                  <a:lnTo>
                    <a:pt x="104" y="2832"/>
                  </a:lnTo>
                  <a:lnTo>
                    <a:pt x="108" y="2834"/>
                  </a:lnTo>
                  <a:lnTo>
                    <a:pt x="112" y="2836"/>
                  </a:lnTo>
                  <a:lnTo>
                    <a:pt x="112" y="2836"/>
                  </a:lnTo>
                  <a:lnTo>
                    <a:pt x="116" y="2836"/>
                  </a:lnTo>
                  <a:lnTo>
                    <a:pt x="116" y="2836"/>
                  </a:lnTo>
                  <a:lnTo>
                    <a:pt x="116" y="2836"/>
                  </a:lnTo>
                  <a:lnTo>
                    <a:pt x="116" y="2838"/>
                  </a:lnTo>
                  <a:lnTo>
                    <a:pt x="118" y="2840"/>
                  </a:lnTo>
                  <a:lnTo>
                    <a:pt x="118" y="2840"/>
                  </a:lnTo>
                  <a:lnTo>
                    <a:pt x="120" y="2842"/>
                  </a:lnTo>
                  <a:lnTo>
                    <a:pt x="124" y="2844"/>
                  </a:lnTo>
                  <a:lnTo>
                    <a:pt x="128" y="2846"/>
                  </a:lnTo>
                  <a:lnTo>
                    <a:pt x="130" y="2846"/>
                  </a:lnTo>
                  <a:lnTo>
                    <a:pt x="130" y="2846"/>
                  </a:lnTo>
                  <a:lnTo>
                    <a:pt x="134" y="2848"/>
                  </a:lnTo>
                  <a:lnTo>
                    <a:pt x="138" y="2846"/>
                  </a:lnTo>
                  <a:lnTo>
                    <a:pt x="138" y="2846"/>
                  </a:lnTo>
                  <a:lnTo>
                    <a:pt x="138" y="2842"/>
                  </a:lnTo>
                  <a:lnTo>
                    <a:pt x="138" y="2834"/>
                  </a:lnTo>
                  <a:lnTo>
                    <a:pt x="138" y="2834"/>
                  </a:lnTo>
                  <a:lnTo>
                    <a:pt x="138" y="2832"/>
                  </a:lnTo>
                  <a:lnTo>
                    <a:pt x="136" y="2832"/>
                  </a:lnTo>
                  <a:lnTo>
                    <a:pt x="136" y="2832"/>
                  </a:lnTo>
                  <a:close/>
                  <a:moveTo>
                    <a:pt x="158" y="2834"/>
                  </a:moveTo>
                  <a:lnTo>
                    <a:pt x="156" y="2834"/>
                  </a:lnTo>
                  <a:lnTo>
                    <a:pt x="156" y="2832"/>
                  </a:lnTo>
                  <a:lnTo>
                    <a:pt x="156" y="2832"/>
                  </a:lnTo>
                  <a:lnTo>
                    <a:pt x="156" y="2830"/>
                  </a:lnTo>
                  <a:lnTo>
                    <a:pt x="156" y="2830"/>
                  </a:lnTo>
                  <a:lnTo>
                    <a:pt x="156" y="2828"/>
                  </a:lnTo>
                  <a:lnTo>
                    <a:pt x="156" y="2828"/>
                  </a:lnTo>
                  <a:lnTo>
                    <a:pt x="154" y="2826"/>
                  </a:lnTo>
                  <a:lnTo>
                    <a:pt x="152" y="2824"/>
                  </a:lnTo>
                  <a:lnTo>
                    <a:pt x="150" y="2822"/>
                  </a:lnTo>
                  <a:lnTo>
                    <a:pt x="148" y="2820"/>
                  </a:lnTo>
                  <a:lnTo>
                    <a:pt x="146" y="2818"/>
                  </a:lnTo>
                  <a:lnTo>
                    <a:pt x="144" y="2818"/>
                  </a:lnTo>
                  <a:lnTo>
                    <a:pt x="144" y="2816"/>
                  </a:lnTo>
                  <a:lnTo>
                    <a:pt x="144" y="2816"/>
                  </a:lnTo>
                  <a:lnTo>
                    <a:pt x="144" y="2814"/>
                  </a:lnTo>
                  <a:lnTo>
                    <a:pt x="142" y="2814"/>
                  </a:lnTo>
                  <a:lnTo>
                    <a:pt x="142" y="2814"/>
                  </a:lnTo>
                  <a:lnTo>
                    <a:pt x="140" y="2812"/>
                  </a:lnTo>
                  <a:lnTo>
                    <a:pt x="140" y="2812"/>
                  </a:lnTo>
                  <a:lnTo>
                    <a:pt x="140" y="2810"/>
                  </a:lnTo>
                  <a:lnTo>
                    <a:pt x="138" y="2808"/>
                  </a:lnTo>
                  <a:lnTo>
                    <a:pt x="136" y="2806"/>
                  </a:lnTo>
                  <a:lnTo>
                    <a:pt x="136" y="2806"/>
                  </a:lnTo>
                  <a:lnTo>
                    <a:pt x="134" y="2806"/>
                  </a:lnTo>
                  <a:lnTo>
                    <a:pt x="132" y="2806"/>
                  </a:lnTo>
                  <a:lnTo>
                    <a:pt x="132" y="2806"/>
                  </a:lnTo>
                  <a:lnTo>
                    <a:pt x="130" y="2806"/>
                  </a:lnTo>
                  <a:lnTo>
                    <a:pt x="128" y="2808"/>
                  </a:lnTo>
                  <a:lnTo>
                    <a:pt x="128" y="2808"/>
                  </a:lnTo>
                  <a:lnTo>
                    <a:pt x="128" y="2810"/>
                  </a:lnTo>
                  <a:lnTo>
                    <a:pt x="128" y="2812"/>
                  </a:lnTo>
                  <a:lnTo>
                    <a:pt x="128" y="2812"/>
                  </a:lnTo>
                  <a:lnTo>
                    <a:pt x="128" y="2814"/>
                  </a:lnTo>
                  <a:lnTo>
                    <a:pt x="128" y="2816"/>
                  </a:lnTo>
                  <a:lnTo>
                    <a:pt x="128" y="2816"/>
                  </a:lnTo>
                  <a:lnTo>
                    <a:pt x="128" y="2816"/>
                  </a:lnTo>
                  <a:lnTo>
                    <a:pt x="128" y="2820"/>
                  </a:lnTo>
                  <a:lnTo>
                    <a:pt x="128" y="2820"/>
                  </a:lnTo>
                  <a:lnTo>
                    <a:pt x="130" y="2822"/>
                  </a:lnTo>
                  <a:lnTo>
                    <a:pt x="130" y="2822"/>
                  </a:lnTo>
                  <a:lnTo>
                    <a:pt x="132" y="2822"/>
                  </a:lnTo>
                  <a:lnTo>
                    <a:pt x="134" y="2826"/>
                  </a:lnTo>
                  <a:lnTo>
                    <a:pt x="134" y="2826"/>
                  </a:lnTo>
                  <a:lnTo>
                    <a:pt x="136" y="2828"/>
                  </a:lnTo>
                  <a:lnTo>
                    <a:pt x="136" y="2828"/>
                  </a:lnTo>
                  <a:lnTo>
                    <a:pt x="138" y="2832"/>
                  </a:lnTo>
                  <a:lnTo>
                    <a:pt x="138" y="2832"/>
                  </a:lnTo>
                  <a:lnTo>
                    <a:pt x="138" y="2834"/>
                  </a:lnTo>
                  <a:lnTo>
                    <a:pt x="140" y="2834"/>
                  </a:lnTo>
                  <a:lnTo>
                    <a:pt x="140" y="2834"/>
                  </a:lnTo>
                  <a:lnTo>
                    <a:pt x="140" y="2834"/>
                  </a:lnTo>
                  <a:lnTo>
                    <a:pt x="142" y="2834"/>
                  </a:lnTo>
                  <a:lnTo>
                    <a:pt x="142" y="2834"/>
                  </a:lnTo>
                  <a:lnTo>
                    <a:pt x="142" y="2834"/>
                  </a:lnTo>
                  <a:lnTo>
                    <a:pt x="142" y="2836"/>
                  </a:lnTo>
                  <a:lnTo>
                    <a:pt x="144" y="2838"/>
                  </a:lnTo>
                  <a:lnTo>
                    <a:pt x="146" y="2842"/>
                  </a:lnTo>
                  <a:lnTo>
                    <a:pt x="146" y="2842"/>
                  </a:lnTo>
                  <a:lnTo>
                    <a:pt x="146" y="2844"/>
                  </a:lnTo>
                  <a:lnTo>
                    <a:pt x="148" y="2844"/>
                  </a:lnTo>
                  <a:lnTo>
                    <a:pt x="148" y="2844"/>
                  </a:lnTo>
                  <a:lnTo>
                    <a:pt x="148" y="2844"/>
                  </a:lnTo>
                  <a:lnTo>
                    <a:pt x="150" y="2846"/>
                  </a:lnTo>
                  <a:lnTo>
                    <a:pt x="150" y="2846"/>
                  </a:lnTo>
                  <a:lnTo>
                    <a:pt x="152" y="2846"/>
                  </a:lnTo>
                  <a:lnTo>
                    <a:pt x="152" y="2846"/>
                  </a:lnTo>
                  <a:lnTo>
                    <a:pt x="154" y="2848"/>
                  </a:lnTo>
                  <a:lnTo>
                    <a:pt x="156" y="2848"/>
                  </a:lnTo>
                  <a:lnTo>
                    <a:pt x="156" y="2848"/>
                  </a:lnTo>
                  <a:lnTo>
                    <a:pt x="158" y="2846"/>
                  </a:lnTo>
                  <a:lnTo>
                    <a:pt x="160" y="2842"/>
                  </a:lnTo>
                  <a:lnTo>
                    <a:pt x="160" y="2842"/>
                  </a:lnTo>
                  <a:lnTo>
                    <a:pt x="162" y="2840"/>
                  </a:lnTo>
                  <a:lnTo>
                    <a:pt x="162" y="2838"/>
                  </a:lnTo>
                  <a:lnTo>
                    <a:pt x="162" y="2838"/>
                  </a:lnTo>
                  <a:lnTo>
                    <a:pt x="160" y="2836"/>
                  </a:lnTo>
                  <a:lnTo>
                    <a:pt x="158" y="2834"/>
                  </a:lnTo>
                  <a:close/>
                  <a:moveTo>
                    <a:pt x="312" y="3324"/>
                  </a:moveTo>
                  <a:lnTo>
                    <a:pt x="312" y="3324"/>
                  </a:lnTo>
                  <a:lnTo>
                    <a:pt x="310" y="3322"/>
                  </a:lnTo>
                  <a:lnTo>
                    <a:pt x="304" y="3322"/>
                  </a:lnTo>
                  <a:lnTo>
                    <a:pt x="304" y="3322"/>
                  </a:lnTo>
                  <a:lnTo>
                    <a:pt x="302" y="3324"/>
                  </a:lnTo>
                  <a:lnTo>
                    <a:pt x="300" y="3324"/>
                  </a:lnTo>
                  <a:lnTo>
                    <a:pt x="300" y="3324"/>
                  </a:lnTo>
                  <a:lnTo>
                    <a:pt x="300" y="3324"/>
                  </a:lnTo>
                  <a:lnTo>
                    <a:pt x="298" y="3324"/>
                  </a:lnTo>
                  <a:lnTo>
                    <a:pt x="294" y="3322"/>
                  </a:lnTo>
                  <a:lnTo>
                    <a:pt x="294" y="3322"/>
                  </a:lnTo>
                  <a:lnTo>
                    <a:pt x="294" y="3322"/>
                  </a:lnTo>
                  <a:lnTo>
                    <a:pt x="292" y="3322"/>
                  </a:lnTo>
                  <a:lnTo>
                    <a:pt x="292" y="3322"/>
                  </a:lnTo>
                  <a:lnTo>
                    <a:pt x="290" y="3324"/>
                  </a:lnTo>
                  <a:lnTo>
                    <a:pt x="288" y="3326"/>
                  </a:lnTo>
                  <a:lnTo>
                    <a:pt x="288" y="3326"/>
                  </a:lnTo>
                  <a:lnTo>
                    <a:pt x="286" y="3326"/>
                  </a:lnTo>
                  <a:lnTo>
                    <a:pt x="286" y="3326"/>
                  </a:lnTo>
                  <a:lnTo>
                    <a:pt x="284" y="3328"/>
                  </a:lnTo>
                  <a:lnTo>
                    <a:pt x="284" y="3330"/>
                  </a:lnTo>
                  <a:lnTo>
                    <a:pt x="284" y="3336"/>
                  </a:lnTo>
                  <a:lnTo>
                    <a:pt x="284" y="3336"/>
                  </a:lnTo>
                  <a:lnTo>
                    <a:pt x="286" y="3338"/>
                  </a:lnTo>
                  <a:lnTo>
                    <a:pt x="288" y="3338"/>
                  </a:lnTo>
                  <a:lnTo>
                    <a:pt x="288" y="3338"/>
                  </a:lnTo>
                  <a:lnTo>
                    <a:pt x="290" y="3340"/>
                  </a:lnTo>
                  <a:lnTo>
                    <a:pt x="290" y="3340"/>
                  </a:lnTo>
                  <a:lnTo>
                    <a:pt x="292" y="3340"/>
                  </a:lnTo>
                  <a:lnTo>
                    <a:pt x="292" y="3340"/>
                  </a:lnTo>
                  <a:lnTo>
                    <a:pt x="292" y="3340"/>
                  </a:lnTo>
                  <a:lnTo>
                    <a:pt x="292" y="3346"/>
                  </a:lnTo>
                  <a:lnTo>
                    <a:pt x="292" y="3346"/>
                  </a:lnTo>
                  <a:lnTo>
                    <a:pt x="294" y="3348"/>
                  </a:lnTo>
                  <a:lnTo>
                    <a:pt x="296" y="3348"/>
                  </a:lnTo>
                  <a:lnTo>
                    <a:pt x="302" y="3348"/>
                  </a:lnTo>
                  <a:lnTo>
                    <a:pt x="302" y="3348"/>
                  </a:lnTo>
                  <a:lnTo>
                    <a:pt x="304" y="3346"/>
                  </a:lnTo>
                  <a:lnTo>
                    <a:pt x="306" y="3342"/>
                  </a:lnTo>
                  <a:lnTo>
                    <a:pt x="306" y="3342"/>
                  </a:lnTo>
                  <a:lnTo>
                    <a:pt x="306" y="3342"/>
                  </a:lnTo>
                  <a:lnTo>
                    <a:pt x="310" y="3342"/>
                  </a:lnTo>
                  <a:lnTo>
                    <a:pt x="310" y="3342"/>
                  </a:lnTo>
                  <a:lnTo>
                    <a:pt x="312" y="3342"/>
                  </a:lnTo>
                  <a:lnTo>
                    <a:pt x="312" y="3340"/>
                  </a:lnTo>
                  <a:lnTo>
                    <a:pt x="312" y="3338"/>
                  </a:lnTo>
                  <a:lnTo>
                    <a:pt x="312" y="3338"/>
                  </a:lnTo>
                  <a:lnTo>
                    <a:pt x="314" y="3336"/>
                  </a:lnTo>
                  <a:lnTo>
                    <a:pt x="314" y="3328"/>
                  </a:lnTo>
                  <a:lnTo>
                    <a:pt x="314" y="3328"/>
                  </a:lnTo>
                  <a:lnTo>
                    <a:pt x="314" y="3326"/>
                  </a:lnTo>
                  <a:lnTo>
                    <a:pt x="312" y="3324"/>
                  </a:lnTo>
                  <a:close/>
                  <a:moveTo>
                    <a:pt x="346" y="3284"/>
                  </a:moveTo>
                  <a:lnTo>
                    <a:pt x="346" y="3282"/>
                  </a:lnTo>
                  <a:lnTo>
                    <a:pt x="346" y="3282"/>
                  </a:lnTo>
                  <a:lnTo>
                    <a:pt x="348" y="3282"/>
                  </a:lnTo>
                  <a:lnTo>
                    <a:pt x="350" y="3280"/>
                  </a:lnTo>
                  <a:lnTo>
                    <a:pt x="350" y="3280"/>
                  </a:lnTo>
                  <a:lnTo>
                    <a:pt x="350" y="3278"/>
                  </a:lnTo>
                  <a:lnTo>
                    <a:pt x="350" y="3278"/>
                  </a:lnTo>
                  <a:lnTo>
                    <a:pt x="352" y="3276"/>
                  </a:lnTo>
                  <a:lnTo>
                    <a:pt x="352" y="3274"/>
                  </a:lnTo>
                  <a:lnTo>
                    <a:pt x="352" y="3274"/>
                  </a:lnTo>
                  <a:lnTo>
                    <a:pt x="352" y="3272"/>
                  </a:lnTo>
                  <a:lnTo>
                    <a:pt x="350" y="3268"/>
                  </a:lnTo>
                  <a:lnTo>
                    <a:pt x="350" y="3266"/>
                  </a:lnTo>
                  <a:lnTo>
                    <a:pt x="350" y="3266"/>
                  </a:lnTo>
                  <a:lnTo>
                    <a:pt x="350" y="3264"/>
                  </a:lnTo>
                  <a:lnTo>
                    <a:pt x="348" y="3262"/>
                  </a:lnTo>
                  <a:lnTo>
                    <a:pt x="346" y="3260"/>
                  </a:lnTo>
                  <a:lnTo>
                    <a:pt x="346" y="3260"/>
                  </a:lnTo>
                  <a:lnTo>
                    <a:pt x="344" y="3258"/>
                  </a:lnTo>
                  <a:lnTo>
                    <a:pt x="342" y="3258"/>
                  </a:lnTo>
                  <a:lnTo>
                    <a:pt x="342" y="3258"/>
                  </a:lnTo>
                  <a:lnTo>
                    <a:pt x="342" y="3258"/>
                  </a:lnTo>
                  <a:lnTo>
                    <a:pt x="340" y="3256"/>
                  </a:lnTo>
                  <a:lnTo>
                    <a:pt x="330" y="3256"/>
                  </a:lnTo>
                  <a:lnTo>
                    <a:pt x="330" y="3256"/>
                  </a:lnTo>
                  <a:lnTo>
                    <a:pt x="328" y="3258"/>
                  </a:lnTo>
                  <a:lnTo>
                    <a:pt x="326" y="3260"/>
                  </a:lnTo>
                  <a:lnTo>
                    <a:pt x="326" y="3260"/>
                  </a:lnTo>
                  <a:lnTo>
                    <a:pt x="326" y="3262"/>
                  </a:lnTo>
                  <a:lnTo>
                    <a:pt x="324" y="3264"/>
                  </a:lnTo>
                  <a:lnTo>
                    <a:pt x="324" y="3264"/>
                  </a:lnTo>
                  <a:lnTo>
                    <a:pt x="322" y="3266"/>
                  </a:lnTo>
                  <a:lnTo>
                    <a:pt x="322" y="3276"/>
                  </a:lnTo>
                  <a:lnTo>
                    <a:pt x="322" y="3276"/>
                  </a:lnTo>
                  <a:lnTo>
                    <a:pt x="324" y="3278"/>
                  </a:lnTo>
                  <a:lnTo>
                    <a:pt x="324" y="3278"/>
                  </a:lnTo>
                  <a:lnTo>
                    <a:pt x="322" y="3280"/>
                  </a:lnTo>
                  <a:lnTo>
                    <a:pt x="324" y="3282"/>
                  </a:lnTo>
                  <a:lnTo>
                    <a:pt x="324" y="3284"/>
                  </a:lnTo>
                  <a:lnTo>
                    <a:pt x="324" y="3284"/>
                  </a:lnTo>
                  <a:lnTo>
                    <a:pt x="322" y="3286"/>
                  </a:lnTo>
                  <a:lnTo>
                    <a:pt x="322" y="3290"/>
                  </a:lnTo>
                  <a:lnTo>
                    <a:pt x="322" y="3290"/>
                  </a:lnTo>
                  <a:lnTo>
                    <a:pt x="324" y="3292"/>
                  </a:lnTo>
                  <a:lnTo>
                    <a:pt x="324" y="3292"/>
                  </a:lnTo>
                  <a:lnTo>
                    <a:pt x="324" y="3296"/>
                  </a:lnTo>
                  <a:lnTo>
                    <a:pt x="324" y="3296"/>
                  </a:lnTo>
                  <a:lnTo>
                    <a:pt x="326" y="3298"/>
                  </a:lnTo>
                  <a:lnTo>
                    <a:pt x="328" y="3298"/>
                  </a:lnTo>
                  <a:lnTo>
                    <a:pt x="334" y="3298"/>
                  </a:lnTo>
                  <a:lnTo>
                    <a:pt x="334" y="3298"/>
                  </a:lnTo>
                  <a:lnTo>
                    <a:pt x="336" y="3298"/>
                  </a:lnTo>
                  <a:lnTo>
                    <a:pt x="336" y="3296"/>
                  </a:lnTo>
                  <a:lnTo>
                    <a:pt x="336" y="3294"/>
                  </a:lnTo>
                  <a:lnTo>
                    <a:pt x="336" y="3294"/>
                  </a:lnTo>
                  <a:lnTo>
                    <a:pt x="338" y="3294"/>
                  </a:lnTo>
                  <a:lnTo>
                    <a:pt x="338" y="3292"/>
                  </a:lnTo>
                  <a:lnTo>
                    <a:pt x="342" y="3290"/>
                  </a:lnTo>
                  <a:lnTo>
                    <a:pt x="342" y="3290"/>
                  </a:lnTo>
                  <a:lnTo>
                    <a:pt x="344" y="3288"/>
                  </a:lnTo>
                  <a:lnTo>
                    <a:pt x="344" y="3286"/>
                  </a:lnTo>
                  <a:lnTo>
                    <a:pt x="346" y="3286"/>
                  </a:lnTo>
                  <a:lnTo>
                    <a:pt x="346" y="3286"/>
                  </a:lnTo>
                  <a:lnTo>
                    <a:pt x="346" y="3284"/>
                  </a:lnTo>
                  <a:lnTo>
                    <a:pt x="346" y="3284"/>
                  </a:lnTo>
                  <a:close/>
                  <a:moveTo>
                    <a:pt x="620" y="3332"/>
                  </a:moveTo>
                  <a:lnTo>
                    <a:pt x="620" y="3332"/>
                  </a:lnTo>
                  <a:lnTo>
                    <a:pt x="620" y="3332"/>
                  </a:lnTo>
                  <a:lnTo>
                    <a:pt x="620" y="3330"/>
                  </a:lnTo>
                  <a:lnTo>
                    <a:pt x="618" y="3328"/>
                  </a:lnTo>
                  <a:lnTo>
                    <a:pt x="618" y="3328"/>
                  </a:lnTo>
                  <a:lnTo>
                    <a:pt x="618" y="3328"/>
                  </a:lnTo>
                  <a:lnTo>
                    <a:pt x="620" y="3328"/>
                  </a:lnTo>
                  <a:lnTo>
                    <a:pt x="622" y="3326"/>
                  </a:lnTo>
                  <a:lnTo>
                    <a:pt x="622" y="3326"/>
                  </a:lnTo>
                  <a:lnTo>
                    <a:pt x="622" y="3324"/>
                  </a:lnTo>
                  <a:lnTo>
                    <a:pt x="622" y="3322"/>
                  </a:lnTo>
                  <a:lnTo>
                    <a:pt x="622" y="3322"/>
                  </a:lnTo>
                  <a:lnTo>
                    <a:pt x="622" y="3320"/>
                  </a:lnTo>
                  <a:lnTo>
                    <a:pt x="620" y="3318"/>
                  </a:lnTo>
                  <a:lnTo>
                    <a:pt x="620" y="3318"/>
                  </a:lnTo>
                  <a:lnTo>
                    <a:pt x="618" y="3316"/>
                  </a:lnTo>
                  <a:lnTo>
                    <a:pt x="612" y="3316"/>
                  </a:lnTo>
                  <a:lnTo>
                    <a:pt x="612" y="3316"/>
                  </a:lnTo>
                  <a:lnTo>
                    <a:pt x="610" y="3318"/>
                  </a:lnTo>
                  <a:lnTo>
                    <a:pt x="608" y="3320"/>
                  </a:lnTo>
                  <a:lnTo>
                    <a:pt x="608" y="3320"/>
                  </a:lnTo>
                  <a:lnTo>
                    <a:pt x="608" y="3320"/>
                  </a:lnTo>
                  <a:lnTo>
                    <a:pt x="608" y="3322"/>
                  </a:lnTo>
                  <a:lnTo>
                    <a:pt x="606" y="3324"/>
                  </a:lnTo>
                  <a:lnTo>
                    <a:pt x="606" y="3324"/>
                  </a:lnTo>
                  <a:lnTo>
                    <a:pt x="604" y="3326"/>
                  </a:lnTo>
                  <a:lnTo>
                    <a:pt x="604" y="3328"/>
                  </a:lnTo>
                  <a:lnTo>
                    <a:pt x="604" y="3330"/>
                  </a:lnTo>
                  <a:lnTo>
                    <a:pt x="604" y="3330"/>
                  </a:lnTo>
                  <a:lnTo>
                    <a:pt x="602" y="3332"/>
                  </a:lnTo>
                  <a:lnTo>
                    <a:pt x="602" y="3332"/>
                  </a:lnTo>
                  <a:lnTo>
                    <a:pt x="590" y="3332"/>
                  </a:lnTo>
                  <a:lnTo>
                    <a:pt x="590" y="3332"/>
                  </a:lnTo>
                  <a:lnTo>
                    <a:pt x="588" y="3334"/>
                  </a:lnTo>
                  <a:lnTo>
                    <a:pt x="586" y="3334"/>
                  </a:lnTo>
                  <a:lnTo>
                    <a:pt x="586" y="3334"/>
                  </a:lnTo>
                  <a:lnTo>
                    <a:pt x="586" y="3334"/>
                  </a:lnTo>
                  <a:lnTo>
                    <a:pt x="584" y="3336"/>
                  </a:lnTo>
                  <a:lnTo>
                    <a:pt x="582" y="3338"/>
                  </a:lnTo>
                  <a:lnTo>
                    <a:pt x="582" y="3338"/>
                  </a:lnTo>
                  <a:lnTo>
                    <a:pt x="580" y="3338"/>
                  </a:lnTo>
                  <a:lnTo>
                    <a:pt x="580" y="3338"/>
                  </a:lnTo>
                  <a:lnTo>
                    <a:pt x="578" y="3342"/>
                  </a:lnTo>
                  <a:lnTo>
                    <a:pt x="578" y="3344"/>
                  </a:lnTo>
                  <a:lnTo>
                    <a:pt x="578" y="3344"/>
                  </a:lnTo>
                  <a:lnTo>
                    <a:pt x="578" y="3344"/>
                  </a:lnTo>
                  <a:lnTo>
                    <a:pt x="578" y="3344"/>
                  </a:lnTo>
                  <a:lnTo>
                    <a:pt x="576" y="3346"/>
                  </a:lnTo>
                  <a:lnTo>
                    <a:pt x="574" y="3348"/>
                  </a:lnTo>
                  <a:lnTo>
                    <a:pt x="574" y="3348"/>
                  </a:lnTo>
                  <a:lnTo>
                    <a:pt x="572" y="3350"/>
                  </a:lnTo>
                  <a:lnTo>
                    <a:pt x="572" y="3350"/>
                  </a:lnTo>
                  <a:lnTo>
                    <a:pt x="568" y="3350"/>
                  </a:lnTo>
                  <a:lnTo>
                    <a:pt x="568" y="3350"/>
                  </a:lnTo>
                  <a:lnTo>
                    <a:pt x="566" y="3352"/>
                  </a:lnTo>
                  <a:lnTo>
                    <a:pt x="564" y="3352"/>
                  </a:lnTo>
                  <a:lnTo>
                    <a:pt x="564" y="3352"/>
                  </a:lnTo>
                  <a:lnTo>
                    <a:pt x="564" y="3354"/>
                  </a:lnTo>
                  <a:lnTo>
                    <a:pt x="562" y="3356"/>
                  </a:lnTo>
                  <a:lnTo>
                    <a:pt x="562" y="3356"/>
                  </a:lnTo>
                  <a:lnTo>
                    <a:pt x="562" y="3358"/>
                  </a:lnTo>
                  <a:lnTo>
                    <a:pt x="562" y="3358"/>
                  </a:lnTo>
                  <a:lnTo>
                    <a:pt x="560" y="3358"/>
                  </a:lnTo>
                  <a:lnTo>
                    <a:pt x="560" y="3362"/>
                  </a:lnTo>
                  <a:lnTo>
                    <a:pt x="558" y="3364"/>
                  </a:lnTo>
                  <a:lnTo>
                    <a:pt x="556" y="3366"/>
                  </a:lnTo>
                  <a:lnTo>
                    <a:pt x="554" y="3366"/>
                  </a:lnTo>
                  <a:lnTo>
                    <a:pt x="554" y="3366"/>
                  </a:lnTo>
                  <a:lnTo>
                    <a:pt x="554" y="3366"/>
                  </a:lnTo>
                  <a:lnTo>
                    <a:pt x="550" y="3368"/>
                  </a:lnTo>
                  <a:lnTo>
                    <a:pt x="550" y="3368"/>
                  </a:lnTo>
                  <a:lnTo>
                    <a:pt x="550" y="3370"/>
                  </a:lnTo>
                  <a:lnTo>
                    <a:pt x="548" y="3372"/>
                  </a:lnTo>
                  <a:lnTo>
                    <a:pt x="546" y="3374"/>
                  </a:lnTo>
                  <a:lnTo>
                    <a:pt x="546" y="3374"/>
                  </a:lnTo>
                  <a:lnTo>
                    <a:pt x="544" y="3374"/>
                  </a:lnTo>
                  <a:lnTo>
                    <a:pt x="544" y="3374"/>
                  </a:lnTo>
                  <a:lnTo>
                    <a:pt x="544" y="3376"/>
                  </a:lnTo>
                  <a:lnTo>
                    <a:pt x="542" y="3378"/>
                  </a:lnTo>
                  <a:lnTo>
                    <a:pt x="540" y="3380"/>
                  </a:lnTo>
                  <a:lnTo>
                    <a:pt x="540" y="3380"/>
                  </a:lnTo>
                  <a:lnTo>
                    <a:pt x="538" y="3382"/>
                  </a:lnTo>
                  <a:lnTo>
                    <a:pt x="538" y="3382"/>
                  </a:lnTo>
                  <a:lnTo>
                    <a:pt x="538" y="3382"/>
                  </a:lnTo>
                  <a:lnTo>
                    <a:pt x="538" y="3382"/>
                  </a:lnTo>
                  <a:lnTo>
                    <a:pt x="536" y="3384"/>
                  </a:lnTo>
                  <a:lnTo>
                    <a:pt x="534" y="3384"/>
                  </a:lnTo>
                  <a:lnTo>
                    <a:pt x="530" y="3384"/>
                  </a:lnTo>
                  <a:lnTo>
                    <a:pt x="526" y="3382"/>
                  </a:lnTo>
                  <a:lnTo>
                    <a:pt x="526" y="3382"/>
                  </a:lnTo>
                  <a:lnTo>
                    <a:pt x="526" y="3382"/>
                  </a:lnTo>
                  <a:lnTo>
                    <a:pt x="524" y="3382"/>
                  </a:lnTo>
                  <a:lnTo>
                    <a:pt x="524" y="3382"/>
                  </a:lnTo>
                  <a:lnTo>
                    <a:pt x="522" y="3384"/>
                  </a:lnTo>
                  <a:lnTo>
                    <a:pt x="520" y="3386"/>
                  </a:lnTo>
                  <a:lnTo>
                    <a:pt x="518" y="3388"/>
                  </a:lnTo>
                  <a:lnTo>
                    <a:pt x="518" y="3388"/>
                  </a:lnTo>
                  <a:lnTo>
                    <a:pt x="516" y="3390"/>
                  </a:lnTo>
                  <a:lnTo>
                    <a:pt x="516" y="3394"/>
                  </a:lnTo>
                  <a:lnTo>
                    <a:pt x="516" y="3394"/>
                  </a:lnTo>
                  <a:lnTo>
                    <a:pt x="518" y="3396"/>
                  </a:lnTo>
                  <a:lnTo>
                    <a:pt x="518" y="3396"/>
                  </a:lnTo>
                  <a:lnTo>
                    <a:pt x="518" y="3396"/>
                  </a:lnTo>
                  <a:lnTo>
                    <a:pt x="520" y="3398"/>
                  </a:lnTo>
                  <a:lnTo>
                    <a:pt x="522" y="3398"/>
                  </a:lnTo>
                  <a:lnTo>
                    <a:pt x="524" y="3398"/>
                  </a:lnTo>
                  <a:lnTo>
                    <a:pt x="524" y="3398"/>
                  </a:lnTo>
                  <a:lnTo>
                    <a:pt x="524" y="3400"/>
                  </a:lnTo>
                  <a:lnTo>
                    <a:pt x="524" y="3400"/>
                  </a:lnTo>
                  <a:lnTo>
                    <a:pt x="526" y="3402"/>
                  </a:lnTo>
                  <a:lnTo>
                    <a:pt x="528" y="3402"/>
                  </a:lnTo>
                  <a:lnTo>
                    <a:pt x="538" y="3402"/>
                  </a:lnTo>
                  <a:lnTo>
                    <a:pt x="538" y="3402"/>
                  </a:lnTo>
                  <a:lnTo>
                    <a:pt x="540" y="3402"/>
                  </a:lnTo>
                  <a:lnTo>
                    <a:pt x="540" y="3400"/>
                  </a:lnTo>
                  <a:lnTo>
                    <a:pt x="540" y="3398"/>
                  </a:lnTo>
                  <a:lnTo>
                    <a:pt x="540" y="3398"/>
                  </a:lnTo>
                  <a:lnTo>
                    <a:pt x="542" y="3398"/>
                  </a:lnTo>
                  <a:lnTo>
                    <a:pt x="542" y="3398"/>
                  </a:lnTo>
                  <a:lnTo>
                    <a:pt x="544" y="3398"/>
                  </a:lnTo>
                  <a:lnTo>
                    <a:pt x="544" y="3396"/>
                  </a:lnTo>
                  <a:lnTo>
                    <a:pt x="544" y="3398"/>
                  </a:lnTo>
                  <a:lnTo>
                    <a:pt x="544" y="3398"/>
                  </a:lnTo>
                  <a:lnTo>
                    <a:pt x="546" y="3400"/>
                  </a:lnTo>
                  <a:lnTo>
                    <a:pt x="548" y="3400"/>
                  </a:lnTo>
                  <a:lnTo>
                    <a:pt x="554" y="3400"/>
                  </a:lnTo>
                  <a:lnTo>
                    <a:pt x="554" y="3400"/>
                  </a:lnTo>
                  <a:lnTo>
                    <a:pt x="556" y="3400"/>
                  </a:lnTo>
                  <a:lnTo>
                    <a:pt x="556" y="3398"/>
                  </a:lnTo>
                  <a:lnTo>
                    <a:pt x="564" y="3398"/>
                  </a:lnTo>
                  <a:lnTo>
                    <a:pt x="564" y="3398"/>
                  </a:lnTo>
                  <a:lnTo>
                    <a:pt x="566" y="3398"/>
                  </a:lnTo>
                  <a:lnTo>
                    <a:pt x="568" y="3396"/>
                  </a:lnTo>
                  <a:lnTo>
                    <a:pt x="570" y="3394"/>
                  </a:lnTo>
                  <a:lnTo>
                    <a:pt x="570" y="3394"/>
                  </a:lnTo>
                  <a:lnTo>
                    <a:pt x="570" y="3392"/>
                  </a:lnTo>
                  <a:lnTo>
                    <a:pt x="570" y="3392"/>
                  </a:lnTo>
                  <a:lnTo>
                    <a:pt x="572" y="3392"/>
                  </a:lnTo>
                  <a:lnTo>
                    <a:pt x="574" y="3390"/>
                  </a:lnTo>
                  <a:lnTo>
                    <a:pt x="574" y="3390"/>
                  </a:lnTo>
                  <a:lnTo>
                    <a:pt x="574" y="3388"/>
                  </a:lnTo>
                  <a:lnTo>
                    <a:pt x="574" y="3386"/>
                  </a:lnTo>
                  <a:lnTo>
                    <a:pt x="576" y="3386"/>
                  </a:lnTo>
                  <a:lnTo>
                    <a:pt x="576" y="3386"/>
                  </a:lnTo>
                  <a:lnTo>
                    <a:pt x="576" y="3384"/>
                  </a:lnTo>
                  <a:lnTo>
                    <a:pt x="578" y="3380"/>
                  </a:lnTo>
                  <a:lnTo>
                    <a:pt x="578" y="3380"/>
                  </a:lnTo>
                  <a:lnTo>
                    <a:pt x="578" y="3380"/>
                  </a:lnTo>
                  <a:lnTo>
                    <a:pt x="578" y="3378"/>
                  </a:lnTo>
                  <a:lnTo>
                    <a:pt x="580" y="3378"/>
                  </a:lnTo>
                  <a:lnTo>
                    <a:pt x="580" y="3378"/>
                  </a:lnTo>
                  <a:lnTo>
                    <a:pt x="580" y="3376"/>
                  </a:lnTo>
                  <a:lnTo>
                    <a:pt x="580" y="3372"/>
                  </a:lnTo>
                  <a:lnTo>
                    <a:pt x="582" y="3372"/>
                  </a:lnTo>
                  <a:lnTo>
                    <a:pt x="582" y="3372"/>
                  </a:lnTo>
                  <a:lnTo>
                    <a:pt x="582" y="3370"/>
                  </a:lnTo>
                  <a:lnTo>
                    <a:pt x="582" y="3366"/>
                  </a:lnTo>
                  <a:lnTo>
                    <a:pt x="582" y="3366"/>
                  </a:lnTo>
                  <a:lnTo>
                    <a:pt x="584" y="3366"/>
                  </a:lnTo>
                  <a:lnTo>
                    <a:pt x="584" y="3366"/>
                  </a:lnTo>
                  <a:lnTo>
                    <a:pt x="586" y="3366"/>
                  </a:lnTo>
                  <a:lnTo>
                    <a:pt x="586" y="3364"/>
                  </a:lnTo>
                  <a:lnTo>
                    <a:pt x="586" y="3360"/>
                  </a:lnTo>
                  <a:lnTo>
                    <a:pt x="590" y="3360"/>
                  </a:lnTo>
                  <a:lnTo>
                    <a:pt x="590" y="3360"/>
                  </a:lnTo>
                  <a:lnTo>
                    <a:pt x="592" y="3360"/>
                  </a:lnTo>
                  <a:lnTo>
                    <a:pt x="592" y="3358"/>
                  </a:lnTo>
                  <a:lnTo>
                    <a:pt x="604" y="3358"/>
                  </a:lnTo>
                  <a:lnTo>
                    <a:pt x="604" y="3358"/>
                  </a:lnTo>
                  <a:lnTo>
                    <a:pt x="606" y="3358"/>
                  </a:lnTo>
                  <a:lnTo>
                    <a:pt x="606" y="3356"/>
                  </a:lnTo>
                  <a:lnTo>
                    <a:pt x="612" y="3356"/>
                  </a:lnTo>
                  <a:lnTo>
                    <a:pt x="612" y="3356"/>
                  </a:lnTo>
                  <a:lnTo>
                    <a:pt x="614" y="3356"/>
                  </a:lnTo>
                  <a:lnTo>
                    <a:pt x="614" y="3354"/>
                  </a:lnTo>
                  <a:lnTo>
                    <a:pt x="614" y="3350"/>
                  </a:lnTo>
                  <a:lnTo>
                    <a:pt x="616" y="3350"/>
                  </a:lnTo>
                  <a:lnTo>
                    <a:pt x="618" y="3348"/>
                  </a:lnTo>
                  <a:lnTo>
                    <a:pt x="618" y="3348"/>
                  </a:lnTo>
                  <a:lnTo>
                    <a:pt x="618" y="3346"/>
                  </a:lnTo>
                  <a:lnTo>
                    <a:pt x="618" y="3342"/>
                  </a:lnTo>
                  <a:lnTo>
                    <a:pt x="620" y="3342"/>
                  </a:lnTo>
                  <a:lnTo>
                    <a:pt x="622" y="3340"/>
                  </a:lnTo>
                  <a:lnTo>
                    <a:pt x="622" y="3340"/>
                  </a:lnTo>
                  <a:lnTo>
                    <a:pt x="622" y="3338"/>
                  </a:lnTo>
                  <a:lnTo>
                    <a:pt x="622" y="3336"/>
                  </a:lnTo>
                  <a:lnTo>
                    <a:pt x="620" y="3332"/>
                  </a:lnTo>
                  <a:close/>
                  <a:moveTo>
                    <a:pt x="1428" y="3030"/>
                  </a:moveTo>
                  <a:lnTo>
                    <a:pt x="1428" y="3030"/>
                  </a:lnTo>
                  <a:lnTo>
                    <a:pt x="1428" y="3030"/>
                  </a:lnTo>
                  <a:lnTo>
                    <a:pt x="1428" y="3028"/>
                  </a:lnTo>
                  <a:lnTo>
                    <a:pt x="1426" y="3028"/>
                  </a:lnTo>
                  <a:lnTo>
                    <a:pt x="1426" y="3028"/>
                  </a:lnTo>
                  <a:lnTo>
                    <a:pt x="1424" y="3026"/>
                  </a:lnTo>
                  <a:lnTo>
                    <a:pt x="1422" y="3024"/>
                  </a:lnTo>
                  <a:lnTo>
                    <a:pt x="1422" y="3024"/>
                  </a:lnTo>
                  <a:lnTo>
                    <a:pt x="1420" y="3024"/>
                  </a:lnTo>
                  <a:lnTo>
                    <a:pt x="1418" y="3024"/>
                  </a:lnTo>
                  <a:lnTo>
                    <a:pt x="1416" y="3022"/>
                  </a:lnTo>
                  <a:lnTo>
                    <a:pt x="1416" y="3022"/>
                  </a:lnTo>
                  <a:lnTo>
                    <a:pt x="1414" y="3022"/>
                  </a:lnTo>
                  <a:lnTo>
                    <a:pt x="1410" y="3022"/>
                  </a:lnTo>
                  <a:lnTo>
                    <a:pt x="1410" y="3022"/>
                  </a:lnTo>
                  <a:lnTo>
                    <a:pt x="1408" y="3022"/>
                  </a:lnTo>
                  <a:lnTo>
                    <a:pt x="1404" y="3026"/>
                  </a:lnTo>
                  <a:lnTo>
                    <a:pt x="1404" y="3026"/>
                  </a:lnTo>
                  <a:lnTo>
                    <a:pt x="1404" y="3026"/>
                  </a:lnTo>
                  <a:lnTo>
                    <a:pt x="1402" y="3030"/>
                  </a:lnTo>
                  <a:lnTo>
                    <a:pt x="1400" y="3032"/>
                  </a:lnTo>
                  <a:lnTo>
                    <a:pt x="1396" y="3036"/>
                  </a:lnTo>
                  <a:lnTo>
                    <a:pt x="1396" y="3036"/>
                  </a:lnTo>
                  <a:lnTo>
                    <a:pt x="1396" y="3038"/>
                  </a:lnTo>
                  <a:lnTo>
                    <a:pt x="1396" y="3040"/>
                  </a:lnTo>
                  <a:lnTo>
                    <a:pt x="1396" y="3040"/>
                  </a:lnTo>
                  <a:lnTo>
                    <a:pt x="1396" y="3042"/>
                  </a:lnTo>
                  <a:lnTo>
                    <a:pt x="1398" y="3044"/>
                  </a:lnTo>
                  <a:lnTo>
                    <a:pt x="1400" y="3046"/>
                  </a:lnTo>
                  <a:lnTo>
                    <a:pt x="1402" y="3048"/>
                  </a:lnTo>
                  <a:lnTo>
                    <a:pt x="1402" y="3048"/>
                  </a:lnTo>
                  <a:lnTo>
                    <a:pt x="1404" y="3048"/>
                  </a:lnTo>
                  <a:lnTo>
                    <a:pt x="1404" y="3048"/>
                  </a:lnTo>
                  <a:lnTo>
                    <a:pt x="1406" y="3050"/>
                  </a:lnTo>
                  <a:lnTo>
                    <a:pt x="1406" y="3050"/>
                  </a:lnTo>
                  <a:lnTo>
                    <a:pt x="1406" y="3050"/>
                  </a:lnTo>
                  <a:lnTo>
                    <a:pt x="1406" y="3052"/>
                  </a:lnTo>
                  <a:lnTo>
                    <a:pt x="1408" y="3054"/>
                  </a:lnTo>
                  <a:lnTo>
                    <a:pt x="1408" y="3058"/>
                  </a:lnTo>
                  <a:lnTo>
                    <a:pt x="1408" y="3058"/>
                  </a:lnTo>
                  <a:lnTo>
                    <a:pt x="1408" y="3060"/>
                  </a:lnTo>
                  <a:lnTo>
                    <a:pt x="1410" y="3062"/>
                  </a:lnTo>
                  <a:lnTo>
                    <a:pt x="1410" y="3062"/>
                  </a:lnTo>
                  <a:lnTo>
                    <a:pt x="1412" y="3062"/>
                  </a:lnTo>
                  <a:lnTo>
                    <a:pt x="1414" y="3062"/>
                  </a:lnTo>
                  <a:lnTo>
                    <a:pt x="1414" y="3062"/>
                  </a:lnTo>
                  <a:lnTo>
                    <a:pt x="1416" y="3062"/>
                  </a:lnTo>
                  <a:lnTo>
                    <a:pt x="1418" y="3060"/>
                  </a:lnTo>
                  <a:lnTo>
                    <a:pt x="1418" y="3060"/>
                  </a:lnTo>
                  <a:lnTo>
                    <a:pt x="1418" y="3060"/>
                  </a:lnTo>
                  <a:lnTo>
                    <a:pt x="1420" y="3060"/>
                  </a:lnTo>
                  <a:lnTo>
                    <a:pt x="1422" y="3058"/>
                  </a:lnTo>
                  <a:lnTo>
                    <a:pt x="1422" y="3058"/>
                  </a:lnTo>
                  <a:lnTo>
                    <a:pt x="1422" y="3056"/>
                  </a:lnTo>
                  <a:lnTo>
                    <a:pt x="1422" y="3056"/>
                  </a:lnTo>
                  <a:lnTo>
                    <a:pt x="1424" y="3056"/>
                  </a:lnTo>
                  <a:lnTo>
                    <a:pt x="1424" y="3054"/>
                  </a:lnTo>
                  <a:lnTo>
                    <a:pt x="1424" y="3048"/>
                  </a:lnTo>
                  <a:lnTo>
                    <a:pt x="1426" y="3046"/>
                  </a:lnTo>
                  <a:lnTo>
                    <a:pt x="1430" y="3044"/>
                  </a:lnTo>
                  <a:lnTo>
                    <a:pt x="1430" y="3044"/>
                  </a:lnTo>
                  <a:lnTo>
                    <a:pt x="1430" y="3042"/>
                  </a:lnTo>
                  <a:lnTo>
                    <a:pt x="1430" y="3034"/>
                  </a:lnTo>
                  <a:lnTo>
                    <a:pt x="1430" y="3034"/>
                  </a:lnTo>
                  <a:lnTo>
                    <a:pt x="1430" y="3032"/>
                  </a:lnTo>
                  <a:lnTo>
                    <a:pt x="1428" y="3030"/>
                  </a:lnTo>
                  <a:close/>
                  <a:moveTo>
                    <a:pt x="1580" y="2980"/>
                  </a:moveTo>
                  <a:lnTo>
                    <a:pt x="1578" y="2978"/>
                  </a:lnTo>
                  <a:lnTo>
                    <a:pt x="1578" y="2978"/>
                  </a:lnTo>
                  <a:lnTo>
                    <a:pt x="1576" y="2978"/>
                  </a:lnTo>
                  <a:lnTo>
                    <a:pt x="1576" y="2978"/>
                  </a:lnTo>
                  <a:lnTo>
                    <a:pt x="1576" y="2976"/>
                  </a:lnTo>
                  <a:lnTo>
                    <a:pt x="1574" y="2974"/>
                  </a:lnTo>
                  <a:lnTo>
                    <a:pt x="1574" y="2974"/>
                  </a:lnTo>
                  <a:lnTo>
                    <a:pt x="1572" y="2974"/>
                  </a:lnTo>
                  <a:lnTo>
                    <a:pt x="1572" y="2974"/>
                  </a:lnTo>
                  <a:lnTo>
                    <a:pt x="1570" y="2972"/>
                  </a:lnTo>
                  <a:lnTo>
                    <a:pt x="1568" y="2970"/>
                  </a:lnTo>
                  <a:lnTo>
                    <a:pt x="1568" y="2970"/>
                  </a:lnTo>
                  <a:lnTo>
                    <a:pt x="1566" y="2970"/>
                  </a:lnTo>
                  <a:lnTo>
                    <a:pt x="1566" y="2970"/>
                  </a:lnTo>
                  <a:lnTo>
                    <a:pt x="1566" y="2968"/>
                  </a:lnTo>
                  <a:lnTo>
                    <a:pt x="1564" y="2966"/>
                  </a:lnTo>
                  <a:lnTo>
                    <a:pt x="1564" y="2966"/>
                  </a:lnTo>
                  <a:lnTo>
                    <a:pt x="1562" y="2966"/>
                  </a:lnTo>
                  <a:lnTo>
                    <a:pt x="1554" y="2966"/>
                  </a:lnTo>
                  <a:lnTo>
                    <a:pt x="1554" y="2966"/>
                  </a:lnTo>
                  <a:lnTo>
                    <a:pt x="1552" y="2966"/>
                  </a:lnTo>
                  <a:lnTo>
                    <a:pt x="1550" y="2968"/>
                  </a:lnTo>
                  <a:lnTo>
                    <a:pt x="1548" y="2968"/>
                  </a:lnTo>
                  <a:lnTo>
                    <a:pt x="1548" y="2968"/>
                  </a:lnTo>
                  <a:lnTo>
                    <a:pt x="1546" y="2968"/>
                  </a:lnTo>
                  <a:lnTo>
                    <a:pt x="1546" y="2970"/>
                  </a:lnTo>
                  <a:lnTo>
                    <a:pt x="1546" y="2970"/>
                  </a:lnTo>
                  <a:lnTo>
                    <a:pt x="1544" y="2970"/>
                  </a:lnTo>
                  <a:lnTo>
                    <a:pt x="1544" y="2972"/>
                  </a:lnTo>
                  <a:lnTo>
                    <a:pt x="1544" y="2976"/>
                  </a:lnTo>
                  <a:lnTo>
                    <a:pt x="1544" y="2976"/>
                  </a:lnTo>
                  <a:lnTo>
                    <a:pt x="1544" y="2978"/>
                  </a:lnTo>
                  <a:lnTo>
                    <a:pt x="1552" y="2986"/>
                  </a:lnTo>
                  <a:lnTo>
                    <a:pt x="1552" y="2986"/>
                  </a:lnTo>
                  <a:lnTo>
                    <a:pt x="1554" y="2988"/>
                  </a:lnTo>
                  <a:lnTo>
                    <a:pt x="1554" y="2988"/>
                  </a:lnTo>
                  <a:lnTo>
                    <a:pt x="1556" y="2988"/>
                  </a:lnTo>
                  <a:lnTo>
                    <a:pt x="1558" y="2990"/>
                  </a:lnTo>
                  <a:lnTo>
                    <a:pt x="1560" y="2992"/>
                  </a:lnTo>
                  <a:lnTo>
                    <a:pt x="1562" y="2994"/>
                  </a:lnTo>
                  <a:lnTo>
                    <a:pt x="1562" y="2994"/>
                  </a:lnTo>
                  <a:lnTo>
                    <a:pt x="1564" y="2996"/>
                  </a:lnTo>
                  <a:lnTo>
                    <a:pt x="1570" y="2996"/>
                  </a:lnTo>
                  <a:lnTo>
                    <a:pt x="1570" y="2996"/>
                  </a:lnTo>
                  <a:lnTo>
                    <a:pt x="1570" y="2994"/>
                  </a:lnTo>
                  <a:lnTo>
                    <a:pt x="1578" y="2992"/>
                  </a:lnTo>
                  <a:lnTo>
                    <a:pt x="1578" y="2992"/>
                  </a:lnTo>
                  <a:lnTo>
                    <a:pt x="1580" y="2992"/>
                  </a:lnTo>
                  <a:lnTo>
                    <a:pt x="1580" y="2990"/>
                  </a:lnTo>
                  <a:lnTo>
                    <a:pt x="1580" y="2990"/>
                  </a:lnTo>
                  <a:lnTo>
                    <a:pt x="1582" y="2988"/>
                  </a:lnTo>
                  <a:lnTo>
                    <a:pt x="1582" y="2988"/>
                  </a:lnTo>
                  <a:lnTo>
                    <a:pt x="1582" y="2986"/>
                  </a:lnTo>
                  <a:lnTo>
                    <a:pt x="1582" y="2984"/>
                  </a:lnTo>
                  <a:lnTo>
                    <a:pt x="1582" y="2984"/>
                  </a:lnTo>
                  <a:lnTo>
                    <a:pt x="1582" y="2982"/>
                  </a:lnTo>
                  <a:lnTo>
                    <a:pt x="1580" y="2980"/>
                  </a:lnTo>
                  <a:close/>
                  <a:moveTo>
                    <a:pt x="1522" y="2988"/>
                  </a:moveTo>
                  <a:lnTo>
                    <a:pt x="1522" y="2988"/>
                  </a:lnTo>
                  <a:lnTo>
                    <a:pt x="1520" y="2988"/>
                  </a:lnTo>
                  <a:lnTo>
                    <a:pt x="1518" y="2988"/>
                  </a:lnTo>
                  <a:lnTo>
                    <a:pt x="1516" y="2986"/>
                  </a:lnTo>
                  <a:lnTo>
                    <a:pt x="1516" y="2986"/>
                  </a:lnTo>
                  <a:lnTo>
                    <a:pt x="1516" y="2986"/>
                  </a:lnTo>
                  <a:lnTo>
                    <a:pt x="1512" y="2984"/>
                  </a:lnTo>
                  <a:lnTo>
                    <a:pt x="1512" y="2984"/>
                  </a:lnTo>
                  <a:lnTo>
                    <a:pt x="1512" y="2984"/>
                  </a:lnTo>
                  <a:lnTo>
                    <a:pt x="1512" y="2980"/>
                  </a:lnTo>
                  <a:lnTo>
                    <a:pt x="1512" y="2980"/>
                  </a:lnTo>
                  <a:lnTo>
                    <a:pt x="1510" y="2980"/>
                  </a:lnTo>
                  <a:lnTo>
                    <a:pt x="1510" y="2978"/>
                  </a:lnTo>
                  <a:lnTo>
                    <a:pt x="1510" y="2978"/>
                  </a:lnTo>
                  <a:lnTo>
                    <a:pt x="1510" y="2976"/>
                  </a:lnTo>
                  <a:lnTo>
                    <a:pt x="1508" y="2974"/>
                  </a:lnTo>
                  <a:lnTo>
                    <a:pt x="1506" y="2972"/>
                  </a:lnTo>
                  <a:lnTo>
                    <a:pt x="1504" y="2970"/>
                  </a:lnTo>
                  <a:lnTo>
                    <a:pt x="1504" y="2968"/>
                  </a:lnTo>
                  <a:lnTo>
                    <a:pt x="1504" y="2968"/>
                  </a:lnTo>
                  <a:lnTo>
                    <a:pt x="1504" y="2966"/>
                  </a:lnTo>
                  <a:lnTo>
                    <a:pt x="1502" y="2966"/>
                  </a:lnTo>
                  <a:lnTo>
                    <a:pt x="1488" y="2966"/>
                  </a:lnTo>
                  <a:lnTo>
                    <a:pt x="1488" y="2966"/>
                  </a:lnTo>
                  <a:lnTo>
                    <a:pt x="1488" y="2966"/>
                  </a:lnTo>
                  <a:lnTo>
                    <a:pt x="1482" y="2968"/>
                  </a:lnTo>
                  <a:lnTo>
                    <a:pt x="1474" y="2970"/>
                  </a:lnTo>
                  <a:lnTo>
                    <a:pt x="1474" y="2970"/>
                  </a:lnTo>
                  <a:lnTo>
                    <a:pt x="1472" y="2970"/>
                  </a:lnTo>
                  <a:lnTo>
                    <a:pt x="1466" y="2974"/>
                  </a:lnTo>
                  <a:lnTo>
                    <a:pt x="1466" y="2974"/>
                  </a:lnTo>
                  <a:lnTo>
                    <a:pt x="1466" y="2974"/>
                  </a:lnTo>
                  <a:lnTo>
                    <a:pt x="1462" y="2978"/>
                  </a:lnTo>
                  <a:lnTo>
                    <a:pt x="1462" y="2978"/>
                  </a:lnTo>
                  <a:lnTo>
                    <a:pt x="1462" y="2978"/>
                  </a:lnTo>
                  <a:lnTo>
                    <a:pt x="1460" y="2978"/>
                  </a:lnTo>
                  <a:lnTo>
                    <a:pt x="1456" y="2982"/>
                  </a:lnTo>
                  <a:lnTo>
                    <a:pt x="1456" y="2982"/>
                  </a:lnTo>
                  <a:lnTo>
                    <a:pt x="1456" y="2982"/>
                  </a:lnTo>
                  <a:lnTo>
                    <a:pt x="1454" y="2986"/>
                  </a:lnTo>
                  <a:lnTo>
                    <a:pt x="1452" y="2988"/>
                  </a:lnTo>
                  <a:lnTo>
                    <a:pt x="1452" y="2988"/>
                  </a:lnTo>
                  <a:lnTo>
                    <a:pt x="1452" y="2990"/>
                  </a:lnTo>
                  <a:lnTo>
                    <a:pt x="1452" y="2996"/>
                  </a:lnTo>
                  <a:lnTo>
                    <a:pt x="1452" y="2996"/>
                  </a:lnTo>
                  <a:lnTo>
                    <a:pt x="1452" y="2998"/>
                  </a:lnTo>
                  <a:lnTo>
                    <a:pt x="1454" y="3000"/>
                  </a:lnTo>
                  <a:lnTo>
                    <a:pt x="1454" y="3000"/>
                  </a:lnTo>
                  <a:lnTo>
                    <a:pt x="1456" y="3002"/>
                  </a:lnTo>
                  <a:lnTo>
                    <a:pt x="1456" y="3002"/>
                  </a:lnTo>
                  <a:lnTo>
                    <a:pt x="1458" y="3002"/>
                  </a:lnTo>
                  <a:lnTo>
                    <a:pt x="1458" y="3002"/>
                  </a:lnTo>
                  <a:lnTo>
                    <a:pt x="1460" y="3002"/>
                  </a:lnTo>
                  <a:lnTo>
                    <a:pt x="1468" y="3002"/>
                  </a:lnTo>
                  <a:lnTo>
                    <a:pt x="1468" y="3004"/>
                  </a:lnTo>
                  <a:lnTo>
                    <a:pt x="1468" y="3004"/>
                  </a:lnTo>
                  <a:lnTo>
                    <a:pt x="1468" y="3006"/>
                  </a:lnTo>
                  <a:lnTo>
                    <a:pt x="1470" y="3008"/>
                  </a:lnTo>
                  <a:lnTo>
                    <a:pt x="1470" y="3010"/>
                  </a:lnTo>
                  <a:lnTo>
                    <a:pt x="1470" y="3010"/>
                  </a:lnTo>
                  <a:lnTo>
                    <a:pt x="1470" y="3012"/>
                  </a:lnTo>
                  <a:lnTo>
                    <a:pt x="1472" y="3012"/>
                  </a:lnTo>
                  <a:lnTo>
                    <a:pt x="1472" y="3012"/>
                  </a:lnTo>
                  <a:lnTo>
                    <a:pt x="1472" y="3014"/>
                  </a:lnTo>
                  <a:lnTo>
                    <a:pt x="1474" y="3014"/>
                  </a:lnTo>
                  <a:lnTo>
                    <a:pt x="1478" y="3014"/>
                  </a:lnTo>
                  <a:lnTo>
                    <a:pt x="1480" y="3016"/>
                  </a:lnTo>
                  <a:lnTo>
                    <a:pt x="1480" y="3016"/>
                  </a:lnTo>
                  <a:lnTo>
                    <a:pt x="1482" y="3016"/>
                  </a:lnTo>
                  <a:lnTo>
                    <a:pt x="1482" y="3024"/>
                  </a:lnTo>
                  <a:lnTo>
                    <a:pt x="1482" y="3024"/>
                  </a:lnTo>
                  <a:lnTo>
                    <a:pt x="1482" y="3026"/>
                  </a:lnTo>
                  <a:lnTo>
                    <a:pt x="1484" y="3028"/>
                  </a:lnTo>
                  <a:lnTo>
                    <a:pt x="1484" y="3028"/>
                  </a:lnTo>
                  <a:lnTo>
                    <a:pt x="1486" y="3028"/>
                  </a:lnTo>
                  <a:lnTo>
                    <a:pt x="1488" y="3028"/>
                  </a:lnTo>
                  <a:lnTo>
                    <a:pt x="1488" y="3028"/>
                  </a:lnTo>
                  <a:lnTo>
                    <a:pt x="1488" y="3028"/>
                  </a:lnTo>
                  <a:lnTo>
                    <a:pt x="1494" y="3026"/>
                  </a:lnTo>
                  <a:lnTo>
                    <a:pt x="1494" y="3026"/>
                  </a:lnTo>
                  <a:lnTo>
                    <a:pt x="1496" y="3026"/>
                  </a:lnTo>
                  <a:lnTo>
                    <a:pt x="1500" y="3024"/>
                  </a:lnTo>
                  <a:lnTo>
                    <a:pt x="1506" y="3020"/>
                  </a:lnTo>
                  <a:lnTo>
                    <a:pt x="1506" y="3020"/>
                  </a:lnTo>
                  <a:lnTo>
                    <a:pt x="1506" y="3020"/>
                  </a:lnTo>
                  <a:lnTo>
                    <a:pt x="1510" y="3016"/>
                  </a:lnTo>
                  <a:lnTo>
                    <a:pt x="1514" y="3012"/>
                  </a:lnTo>
                  <a:lnTo>
                    <a:pt x="1514" y="3012"/>
                  </a:lnTo>
                  <a:lnTo>
                    <a:pt x="1514" y="3012"/>
                  </a:lnTo>
                  <a:lnTo>
                    <a:pt x="1518" y="3006"/>
                  </a:lnTo>
                  <a:lnTo>
                    <a:pt x="1524" y="2998"/>
                  </a:lnTo>
                  <a:lnTo>
                    <a:pt x="1524" y="2998"/>
                  </a:lnTo>
                  <a:lnTo>
                    <a:pt x="1524" y="2996"/>
                  </a:lnTo>
                  <a:lnTo>
                    <a:pt x="1524" y="2992"/>
                  </a:lnTo>
                  <a:lnTo>
                    <a:pt x="1524" y="2992"/>
                  </a:lnTo>
                  <a:lnTo>
                    <a:pt x="1524" y="2990"/>
                  </a:lnTo>
                  <a:lnTo>
                    <a:pt x="1522" y="2988"/>
                  </a:lnTo>
                  <a:close/>
                  <a:moveTo>
                    <a:pt x="368" y="3324"/>
                  </a:moveTo>
                  <a:lnTo>
                    <a:pt x="368" y="3322"/>
                  </a:lnTo>
                  <a:lnTo>
                    <a:pt x="368" y="3322"/>
                  </a:lnTo>
                  <a:lnTo>
                    <a:pt x="368" y="3320"/>
                  </a:lnTo>
                  <a:lnTo>
                    <a:pt x="366" y="3318"/>
                  </a:lnTo>
                  <a:lnTo>
                    <a:pt x="364" y="3318"/>
                  </a:lnTo>
                  <a:lnTo>
                    <a:pt x="364" y="3318"/>
                  </a:lnTo>
                  <a:lnTo>
                    <a:pt x="362" y="3316"/>
                  </a:lnTo>
                  <a:lnTo>
                    <a:pt x="362" y="3316"/>
                  </a:lnTo>
                  <a:lnTo>
                    <a:pt x="360" y="3314"/>
                  </a:lnTo>
                  <a:lnTo>
                    <a:pt x="352" y="3314"/>
                  </a:lnTo>
                  <a:lnTo>
                    <a:pt x="352" y="3314"/>
                  </a:lnTo>
                  <a:lnTo>
                    <a:pt x="350" y="3316"/>
                  </a:lnTo>
                  <a:lnTo>
                    <a:pt x="348" y="3318"/>
                  </a:lnTo>
                  <a:lnTo>
                    <a:pt x="348" y="3318"/>
                  </a:lnTo>
                  <a:lnTo>
                    <a:pt x="348" y="3320"/>
                  </a:lnTo>
                  <a:lnTo>
                    <a:pt x="348" y="3320"/>
                  </a:lnTo>
                  <a:lnTo>
                    <a:pt x="346" y="3322"/>
                  </a:lnTo>
                  <a:lnTo>
                    <a:pt x="346" y="3322"/>
                  </a:lnTo>
                  <a:lnTo>
                    <a:pt x="346" y="3324"/>
                  </a:lnTo>
                  <a:lnTo>
                    <a:pt x="346" y="3324"/>
                  </a:lnTo>
                  <a:lnTo>
                    <a:pt x="344" y="3326"/>
                  </a:lnTo>
                  <a:lnTo>
                    <a:pt x="344" y="3328"/>
                  </a:lnTo>
                  <a:lnTo>
                    <a:pt x="344" y="3328"/>
                  </a:lnTo>
                  <a:lnTo>
                    <a:pt x="346" y="3330"/>
                  </a:lnTo>
                  <a:lnTo>
                    <a:pt x="346" y="3330"/>
                  </a:lnTo>
                  <a:lnTo>
                    <a:pt x="346" y="3332"/>
                  </a:lnTo>
                  <a:lnTo>
                    <a:pt x="346" y="3332"/>
                  </a:lnTo>
                  <a:lnTo>
                    <a:pt x="348" y="3334"/>
                  </a:lnTo>
                  <a:lnTo>
                    <a:pt x="348" y="3334"/>
                  </a:lnTo>
                  <a:lnTo>
                    <a:pt x="348" y="3340"/>
                  </a:lnTo>
                  <a:lnTo>
                    <a:pt x="348" y="3340"/>
                  </a:lnTo>
                  <a:lnTo>
                    <a:pt x="350" y="3342"/>
                  </a:lnTo>
                  <a:lnTo>
                    <a:pt x="352" y="3342"/>
                  </a:lnTo>
                  <a:lnTo>
                    <a:pt x="364" y="3342"/>
                  </a:lnTo>
                  <a:lnTo>
                    <a:pt x="364" y="3342"/>
                  </a:lnTo>
                  <a:lnTo>
                    <a:pt x="366" y="3342"/>
                  </a:lnTo>
                  <a:lnTo>
                    <a:pt x="366" y="3340"/>
                  </a:lnTo>
                  <a:lnTo>
                    <a:pt x="366" y="3338"/>
                  </a:lnTo>
                  <a:lnTo>
                    <a:pt x="368" y="3338"/>
                  </a:lnTo>
                  <a:lnTo>
                    <a:pt x="368" y="3338"/>
                  </a:lnTo>
                  <a:lnTo>
                    <a:pt x="370" y="3338"/>
                  </a:lnTo>
                  <a:lnTo>
                    <a:pt x="370" y="3336"/>
                  </a:lnTo>
                  <a:lnTo>
                    <a:pt x="370" y="3328"/>
                  </a:lnTo>
                  <a:lnTo>
                    <a:pt x="370" y="3328"/>
                  </a:lnTo>
                  <a:lnTo>
                    <a:pt x="370" y="3326"/>
                  </a:lnTo>
                  <a:lnTo>
                    <a:pt x="368" y="3324"/>
                  </a:lnTo>
                  <a:close/>
                  <a:moveTo>
                    <a:pt x="474" y="3362"/>
                  </a:moveTo>
                  <a:lnTo>
                    <a:pt x="472" y="3360"/>
                  </a:lnTo>
                  <a:lnTo>
                    <a:pt x="472" y="3360"/>
                  </a:lnTo>
                  <a:lnTo>
                    <a:pt x="470" y="3358"/>
                  </a:lnTo>
                  <a:lnTo>
                    <a:pt x="466" y="3358"/>
                  </a:lnTo>
                  <a:lnTo>
                    <a:pt x="466" y="3358"/>
                  </a:lnTo>
                  <a:lnTo>
                    <a:pt x="466" y="3358"/>
                  </a:lnTo>
                  <a:lnTo>
                    <a:pt x="464" y="3356"/>
                  </a:lnTo>
                  <a:lnTo>
                    <a:pt x="460" y="3356"/>
                  </a:lnTo>
                  <a:lnTo>
                    <a:pt x="460" y="3356"/>
                  </a:lnTo>
                  <a:lnTo>
                    <a:pt x="460" y="3356"/>
                  </a:lnTo>
                  <a:lnTo>
                    <a:pt x="458" y="3354"/>
                  </a:lnTo>
                  <a:lnTo>
                    <a:pt x="450" y="3354"/>
                  </a:lnTo>
                  <a:lnTo>
                    <a:pt x="450" y="3354"/>
                  </a:lnTo>
                  <a:lnTo>
                    <a:pt x="448" y="3356"/>
                  </a:lnTo>
                  <a:lnTo>
                    <a:pt x="446" y="3358"/>
                  </a:lnTo>
                  <a:lnTo>
                    <a:pt x="446" y="3358"/>
                  </a:lnTo>
                  <a:lnTo>
                    <a:pt x="444" y="3360"/>
                  </a:lnTo>
                  <a:lnTo>
                    <a:pt x="444" y="3360"/>
                  </a:lnTo>
                  <a:lnTo>
                    <a:pt x="444" y="3360"/>
                  </a:lnTo>
                  <a:lnTo>
                    <a:pt x="438" y="3360"/>
                  </a:lnTo>
                  <a:lnTo>
                    <a:pt x="438" y="3360"/>
                  </a:lnTo>
                  <a:lnTo>
                    <a:pt x="436" y="3362"/>
                  </a:lnTo>
                  <a:lnTo>
                    <a:pt x="434" y="3364"/>
                  </a:lnTo>
                  <a:lnTo>
                    <a:pt x="434" y="3364"/>
                  </a:lnTo>
                  <a:lnTo>
                    <a:pt x="432" y="3368"/>
                  </a:lnTo>
                  <a:lnTo>
                    <a:pt x="432" y="3368"/>
                  </a:lnTo>
                  <a:lnTo>
                    <a:pt x="432" y="3370"/>
                  </a:lnTo>
                  <a:lnTo>
                    <a:pt x="432" y="3382"/>
                  </a:lnTo>
                  <a:lnTo>
                    <a:pt x="432" y="3382"/>
                  </a:lnTo>
                  <a:lnTo>
                    <a:pt x="432" y="3382"/>
                  </a:lnTo>
                  <a:lnTo>
                    <a:pt x="434" y="3386"/>
                  </a:lnTo>
                  <a:lnTo>
                    <a:pt x="434" y="3386"/>
                  </a:lnTo>
                  <a:lnTo>
                    <a:pt x="436" y="3388"/>
                  </a:lnTo>
                  <a:lnTo>
                    <a:pt x="436" y="3390"/>
                  </a:lnTo>
                  <a:lnTo>
                    <a:pt x="436" y="3390"/>
                  </a:lnTo>
                  <a:lnTo>
                    <a:pt x="438" y="3392"/>
                  </a:lnTo>
                  <a:lnTo>
                    <a:pt x="440" y="3392"/>
                  </a:lnTo>
                  <a:lnTo>
                    <a:pt x="440" y="3392"/>
                  </a:lnTo>
                  <a:lnTo>
                    <a:pt x="442" y="3394"/>
                  </a:lnTo>
                  <a:lnTo>
                    <a:pt x="442" y="3394"/>
                  </a:lnTo>
                  <a:lnTo>
                    <a:pt x="442" y="3394"/>
                  </a:lnTo>
                  <a:lnTo>
                    <a:pt x="446" y="3396"/>
                  </a:lnTo>
                  <a:lnTo>
                    <a:pt x="446" y="3396"/>
                  </a:lnTo>
                  <a:lnTo>
                    <a:pt x="448" y="3396"/>
                  </a:lnTo>
                  <a:lnTo>
                    <a:pt x="450" y="3396"/>
                  </a:lnTo>
                  <a:lnTo>
                    <a:pt x="450" y="3396"/>
                  </a:lnTo>
                  <a:lnTo>
                    <a:pt x="452" y="3396"/>
                  </a:lnTo>
                  <a:lnTo>
                    <a:pt x="452" y="3394"/>
                  </a:lnTo>
                  <a:lnTo>
                    <a:pt x="462" y="3394"/>
                  </a:lnTo>
                  <a:lnTo>
                    <a:pt x="462" y="3394"/>
                  </a:lnTo>
                  <a:lnTo>
                    <a:pt x="464" y="3394"/>
                  </a:lnTo>
                  <a:lnTo>
                    <a:pt x="466" y="3392"/>
                  </a:lnTo>
                  <a:lnTo>
                    <a:pt x="466" y="3390"/>
                  </a:lnTo>
                  <a:lnTo>
                    <a:pt x="470" y="3390"/>
                  </a:lnTo>
                  <a:lnTo>
                    <a:pt x="470" y="3390"/>
                  </a:lnTo>
                  <a:lnTo>
                    <a:pt x="472" y="3390"/>
                  </a:lnTo>
                  <a:lnTo>
                    <a:pt x="472" y="3388"/>
                  </a:lnTo>
                  <a:lnTo>
                    <a:pt x="472" y="3384"/>
                  </a:lnTo>
                  <a:lnTo>
                    <a:pt x="472" y="3384"/>
                  </a:lnTo>
                  <a:lnTo>
                    <a:pt x="474" y="3382"/>
                  </a:lnTo>
                  <a:lnTo>
                    <a:pt x="474" y="3376"/>
                  </a:lnTo>
                  <a:lnTo>
                    <a:pt x="474" y="3376"/>
                  </a:lnTo>
                  <a:lnTo>
                    <a:pt x="474" y="3374"/>
                  </a:lnTo>
                  <a:lnTo>
                    <a:pt x="474" y="3374"/>
                  </a:lnTo>
                  <a:lnTo>
                    <a:pt x="474" y="3372"/>
                  </a:lnTo>
                  <a:lnTo>
                    <a:pt x="474" y="3370"/>
                  </a:lnTo>
                  <a:lnTo>
                    <a:pt x="476" y="3370"/>
                  </a:lnTo>
                  <a:lnTo>
                    <a:pt x="476" y="3370"/>
                  </a:lnTo>
                  <a:lnTo>
                    <a:pt x="476" y="3368"/>
                  </a:lnTo>
                  <a:lnTo>
                    <a:pt x="476" y="3366"/>
                  </a:lnTo>
                  <a:lnTo>
                    <a:pt x="476" y="3366"/>
                  </a:lnTo>
                  <a:lnTo>
                    <a:pt x="476" y="3364"/>
                  </a:lnTo>
                  <a:lnTo>
                    <a:pt x="474" y="3362"/>
                  </a:lnTo>
                  <a:close/>
                  <a:moveTo>
                    <a:pt x="440" y="3330"/>
                  </a:moveTo>
                  <a:lnTo>
                    <a:pt x="442" y="3328"/>
                  </a:lnTo>
                  <a:lnTo>
                    <a:pt x="442" y="3328"/>
                  </a:lnTo>
                  <a:lnTo>
                    <a:pt x="442" y="3326"/>
                  </a:lnTo>
                  <a:lnTo>
                    <a:pt x="442" y="3318"/>
                  </a:lnTo>
                  <a:lnTo>
                    <a:pt x="442" y="3318"/>
                  </a:lnTo>
                  <a:lnTo>
                    <a:pt x="442" y="3316"/>
                  </a:lnTo>
                  <a:lnTo>
                    <a:pt x="440" y="3314"/>
                  </a:lnTo>
                  <a:lnTo>
                    <a:pt x="432" y="3314"/>
                  </a:lnTo>
                  <a:lnTo>
                    <a:pt x="432" y="3314"/>
                  </a:lnTo>
                  <a:lnTo>
                    <a:pt x="432" y="3314"/>
                  </a:lnTo>
                  <a:lnTo>
                    <a:pt x="430" y="3312"/>
                  </a:lnTo>
                  <a:lnTo>
                    <a:pt x="418" y="3312"/>
                  </a:lnTo>
                  <a:lnTo>
                    <a:pt x="418" y="3312"/>
                  </a:lnTo>
                  <a:lnTo>
                    <a:pt x="416" y="3314"/>
                  </a:lnTo>
                  <a:lnTo>
                    <a:pt x="414" y="3316"/>
                  </a:lnTo>
                  <a:lnTo>
                    <a:pt x="412" y="3318"/>
                  </a:lnTo>
                  <a:lnTo>
                    <a:pt x="408" y="3318"/>
                  </a:lnTo>
                  <a:lnTo>
                    <a:pt x="404" y="3318"/>
                  </a:lnTo>
                  <a:lnTo>
                    <a:pt x="404" y="3318"/>
                  </a:lnTo>
                  <a:lnTo>
                    <a:pt x="404" y="3318"/>
                  </a:lnTo>
                  <a:lnTo>
                    <a:pt x="402" y="3316"/>
                  </a:lnTo>
                  <a:lnTo>
                    <a:pt x="394" y="3316"/>
                  </a:lnTo>
                  <a:lnTo>
                    <a:pt x="394" y="3316"/>
                  </a:lnTo>
                  <a:lnTo>
                    <a:pt x="392" y="3314"/>
                  </a:lnTo>
                  <a:lnTo>
                    <a:pt x="392" y="3314"/>
                  </a:lnTo>
                  <a:lnTo>
                    <a:pt x="390" y="3312"/>
                  </a:lnTo>
                  <a:lnTo>
                    <a:pt x="380" y="3312"/>
                  </a:lnTo>
                  <a:lnTo>
                    <a:pt x="380" y="3312"/>
                  </a:lnTo>
                  <a:lnTo>
                    <a:pt x="378" y="3314"/>
                  </a:lnTo>
                  <a:lnTo>
                    <a:pt x="376" y="3316"/>
                  </a:lnTo>
                  <a:lnTo>
                    <a:pt x="376" y="3320"/>
                  </a:lnTo>
                  <a:lnTo>
                    <a:pt x="376" y="3320"/>
                  </a:lnTo>
                  <a:lnTo>
                    <a:pt x="378" y="3322"/>
                  </a:lnTo>
                  <a:lnTo>
                    <a:pt x="378" y="3322"/>
                  </a:lnTo>
                  <a:lnTo>
                    <a:pt x="378" y="3340"/>
                  </a:lnTo>
                  <a:lnTo>
                    <a:pt x="378" y="3340"/>
                  </a:lnTo>
                  <a:lnTo>
                    <a:pt x="380" y="3342"/>
                  </a:lnTo>
                  <a:lnTo>
                    <a:pt x="380" y="3342"/>
                  </a:lnTo>
                  <a:lnTo>
                    <a:pt x="380" y="3350"/>
                  </a:lnTo>
                  <a:lnTo>
                    <a:pt x="380" y="3350"/>
                  </a:lnTo>
                  <a:lnTo>
                    <a:pt x="382" y="3352"/>
                  </a:lnTo>
                  <a:lnTo>
                    <a:pt x="384" y="3354"/>
                  </a:lnTo>
                  <a:lnTo>
                    <a:pt x="384" y="3354"/>
                  </a:lnTo>
                  <a:lnTo>
                    <a:pt x="384" y="3354"/>
                  </a:lnTo>
                  <a:lnTo>
                    <a:pt x="384" y="3354"/>
                  </a:lnTo>
                  <a:lnTo>
                    <a:pt x="388" y="3356"/>
                  </a:lnTo>
                  <a:lnTo>
                    <a:pt x="394" y="3356"/>
                  </a:lnTo>
                  <a:lnTo>
                    <a:pt x="394" y="3356"/>
                  </a:lnTo>
                  <a:lnTo>
                    <a:pt x="394" y="3356"/>
                  </a:lnTo>
                  <a:lnTo>
                    <a:pt x="394" y="3356"/>
                  </a:lnTo>
                  <a:lnTo>
                    <a:pt x="396" y="3356"/>
                  </a:lnTo>
                  <a:lnTo>
                    <a:pt x="398" y="3356"/>
                  </a:lnTo>
                  <a:lnTo>
                    <a:pt x="398" y="3356"/>
                  </a:lnTo>
                  <a:lnTo>
                    <a:pt x="400" y="3356"/>
                  </a:lnTo>
                  <a:lnTo>
                    <a:pt x="400" y="3354"/>
                  </a:lnTo>
                  <a:lnTo>
                    <a:pt x="402" y="3354"/>
                  </a:lnTo>
                  <a:lnTo>
                    <a:pt x="402" y="3354"/>
                  </a:lnTo>
                  <a:lnTo>
                    <a:pt x="404" y="3354"/>
                  </a:lnTo>
                  <a:lnTo>
                    <a:pt x="404" y="3352"/>
                  </a:lnTo>
                  <a:lnTo>
                    <a:pt x="406" y="3352"/>
                  </a:lnTo>
                  <a:lnTo>
                    <a:pt x="406" y="3352"/>
                  </a:lnTo>
                  <a:lnTo>
                    <a:pt x="408" y="3352"/>
                  </a:lnTo>
                  <a:lnTo>
                    <a:pt x="410" y="3350"/>
                  </a:lnTo>
                  <a:lnTo>
                    <a:pt x="412" y="3348"/>
                  </a:lnTo>
                  <a:lnTo>
                    <a:pt x="414" y="3346"/>
                  </a:lnTo>
                  <a:lnTo>
                    <a:pt x="414" y="3346"/>
                  </a:lnTo>
                  <a:lnTo>
                    <a:pt x="414" y="3344"/>
                  </a:lnTo>
                  <a:lnTo>
                    <a:pt x="416" y="3342"/>
                  </a:lnTo>
                  <a:lnTo>
                    <a:pt x="416" y="3342"/>
                  </a:lnTo>
                  <a:lnTo>
                    <a:pt x="416" y="3342"/>
                  </a:lnTo>
                  <a:lnTo>
                    <a:pt x="418" y="3342"/>
                  </a:lnTo>
                  <a:lnTo>
                    <a:pt x="418" y="3340"/>
                  </a:lnTo>
                  <a:lnTo>
                    <a:pt x="420" y="3340"/>
                  </a:lnTo>
                  <a:lnTo>
                    <a:pt x="420" y="3340"/>
                  </a:lnTo>
                  <a:lnTo>
                    <a:pt x="422" y="3340"/>
                  </a:lnTo>
                  <a:lnTo>
                    <a:pt x="422" y="3338"/>
                  </a:lnTo>
                  <a:lnTo>
                    <a:pt x="422" y="3334"/>
                  </a:lnTo>
                  <a:lnTo>
                    <a:pt x="426" y="3334"/>
                  </a:lnTo>
                  <a:lnTo>
                    <a:pt x="426" y="3334"/>
                  </a:lnTo>
                  <a:lnTo>
                    <a:pt x="428" y="3334"/>
                  </a:lnTo>
                  <a:lnTo>
                    <a:pt x="430" y="3332"/>
                  </a:lnTo>
                  <a:lnTo>
                    <a:pt x="430" y="3330"/>
                  </a:lnTo>
                  <a:lnTo>
                    <a:pt x="438" y="3330"/>
                  </a:lnTo>
                  <a:lnTo>
                    <a:pt x="438" y="3330"/>
                  </a:lnTo>
                  <a:lnTo>
                    <a:pt x="440" y="3330"/>
                  </a:lnTo>
                  <a:lnTo>
                    <a:pt x="440" y="3330"/>
                  </a:lnTo>
                  <a:close/>
                </a:path>
              </a:pathLst>
            </a:custGeom>
            <a:solidFill>
              <a:schemeClr val="bg1"/>
            </a:solidFill>
            <a:ln w="9525" cap="flat" cmpd="sng">
              <a:noFill/>
              <a:prstDash val="solid"/>
              <a:round/>
              <a:headEnd type="none" w="med" len="med"/>
              <a:tailEnd type="none" w="med" len="med"/>
            </a:ln>
            <a:effectLst/>
            <a:extLst/>
          </p:spPr>
          <p:txBody>
            <a:bodyPr/>
            <a:lstStyle/>
            <a:p>
              <a:endParaRPr lang="en-US" sz="800">
                <a:latin typeface="+mn-lt"/>
              </a:endParaRPr>
            </a:p>
          </p:txBody>
        </p:sp>
      </p:grpSp>
      <p:cxnSp>
        <p:nvCxnSpPr>
          <p:cNvPr id="7" name="Straight Connector 6"/>
          <p:cNvCxnSpPr>
            <a:cxnSpLocks/>
          </p:cNvCxnSpPr>
          <p:nvPr/>
        </p:nvCxnSpPr>
        <p:spPr bwMode="gray">
          <a:xfrm>
            <a:off x="2624941" y="3185186"/>
            <a:ext cx="6089648" cy="0"/>
          </a:xfrm>
          <a:prstGeom prst="line">
            <a:avLst/>
          </a:prstGeom>
          <a:ln w="9525">
            <a:solidFill>
              <a:schemeClr val="accent6"/>
            </a:solidFill>
            <a:prstDash val="sysDot"/>
          </a:ln>
        </p:spPr>
        <p:style>
          <a:lnRef idx="1">
            <a:schemeClr val="accent1"/>
          </a:lnRef>
          <a:fillRef idx="0">
            <a:schemeClr val="accent1"/>
          </a:fillRef>
          <a:effectRef idx="0">
            <a:schemeClr val="accent1"/>
          </a:effectRef>
          <a:fontRef idx="minor">
            <a:schemeClr val="tx1"/>
          </a:fontRef>
        </p:style>
      </p:cxnSp>
      <p:cxnSp>
        <p:nvCxnSpPr>
          <p:cNvPr id="106" name="Straight Connector 105"/>
          <p:cNvCxnSpPr>
            <a:cxnSpLocks/>
          </p:cNvCxnSpPr>
          <p:nvPr/>
        </p:nvCxnSpPr>
        <p:spPr bwMode="gray">
          <a:xfrm>
            <a:off x="2624941" y="4078299"/>
            <a:ext cx="6089648" cy="0"/>
          </a:xfrm>
          <a:prstGeom prst="line">
            <a:avLst/>
          </a:prstGeom>
          <a:ln w="9525">
            <a:solidFill>
              <a:schemeClr val="accent6"/>
            </a:solidFill>
            <a:prstDash val="sysDot"/>
          </a:ln>
        </p:spPr>
        <p:style>
          <a:lnRef idx="1">
            <a:schemeClr val="accent1"/>
          </a:lnRef>
          <a:fillRef idx="0">
            <a:schemeClr val="accent1"/>
          </a:fillRef>
          <a:effectRef idx="0">
            <a:schemeClr val="accent1"/>
          </a:effectRef>
          <a:fontRef idx="minor">
            <a:schemeClr val="tx1"/>
          </a:fontRef>
        </p:style>
      </p:cxnSp>
      <p:cxnSp>
        <p:nvCxnSpPr>
          <p:cNvPr id="103" name="Straight Connector 102"/>
          <p:cNvCxnSpPr>
            <a:cxnSpLocks/>
          </p:cNvCxnSpPr>
          <p:nvPr/>
        </p:nvCxnSpPr>
        <p:spPr bwMode="gray">
          <a:xfrm>
            <a:off x="2624941" y="3732915"/>
            <a:ext cx="6089648" cy="0"/>
          </a:xfrm>
          <a:prstGeom prst="line">
            <a:avLst/>
          </a:prstGeom>
          <a:ln w="9525">
            <a:solidFill>
              <a:schemeClr val="accent6"/>
            </a:solidFill>
            <a:prstDash val="sysDot"/>
          </a:ln>
        </p:spPr>
        <p:style>
          <a:lnRef idx="1">
            <a:schemeClr val="accent1"/>
          </a:lnRef>
          <a:fillRef idx="0">
            <a:schemeClr val="accent1"/>
          </a:fillRef>
          <a:effectRef idx="0">
            <a:schemeClr val="accent1"/>
          </a:effectRef>
          <a:fontRef idx="minor">
            <a:schemeClr val="tx1"/>
          </a:fontRef>
        </p:style>
      </p:cxnSp>
      <p:sp>
        <p:nvSpPr>
          <p:cNvPr id="45" name="Rectangle 11"/>
          <p:cNvSpPr>
            <a:spLocks noChangeArrowheads="1"/>
          </p:cNvSpPr>
          <p:nvPr/>
        </p:nvSpPr>
        <p:spPr bwMode="gray">
          <a:xfrm>
            <a:off x="2624941" y="3212829"/>
            <a:ext cx="6089648" cy="4924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algn="l" defTabSz="895350">
              <a:buClr>
                <a:schemeClr val="tx2"/>
              </a:buClr>
              <a:tabLst>
                <a:tab pos="177800" algn="l"/>
              </a:tabLst>
              <a:defRPr sz="1600">
                <a:solidFill>
                  <a:schemeClr val="tx1"/>
                </a:solidFill>
                <a:latin typeface="Arial" charset="0"/>
              </a:defRPr>
            </a:lvl1pPr>
            <a:lvl2pPr marL="179388" indent="-177800" algn="l" defTabSz="895350">
              <a:buClr>
                <a:schemeClr val="tx2"/>
              </a:buClr>
              <a:buSzPct val="125000"/>
              <a:buFont typeface="Arial" charset="0"/>
              <a:buChar char="▪"/>
              <a:tabLst>
                <a:tab pos="177800" algn="l"/>
              </a:tabLst>
              <a:defRPr sz="1600">
                <a:solidFill>
                  <a:schemeClr val="tx1"/>
                </a:solidFill>
                <a:latin typeface="Arial" charset="0"/>
              </a:defRPr>
            </a:lvl2pPr>
            <a:lvl3pPr marL="1192213" indent="-304800" algn="l" defTabSz="895350">
              <a:buClr>
                <a:schemeClr val="tx2"/>
              </a:buClr>
              <a:buSzPct val="120000"/>
              <a:buFont typeface="Arial" charset="0"/>
              <a:buChar char="–"/>
              <a:tabLst>
                <a:tab pos="177800" algn="l"/>
              </a:tabLst>
              <a:defRPr sz="1600">
                <a:solidFill>
                  <a:schemeClr val="tx1"/>
                </a:solidFill>
                <a:latin typeface="Arial" charset="0"/>
              </a:defRPr>
            </a:lvl3pPr>
            <a:lvl4pPr marL="1676400" indent="-304800" algn="l" defTabSz="895350">
              <a:buClr>
                <a:schemeClr val="tx2"/>
              </a:buClr>
              <a:buSzPct val="120000"/>
              <a:buFont typeface="Arial" charset="0"/>
              <a:buChar char="▫"/>
              <a:tabLst>
                <a:tab pos="177800" algn="l"/>
              </a:tabLst>
              <a:defRPr sz="1600">
                <a:solidFill>
                  <a:schemeClr val="tx1"/>
                </a:solidFill>
                <a:latin typeface="Arial" charset="0"/>
              </a:defRPr>
            </a:lvl4pPr>
            <a:lvl5pPr marL="2160588" indent="-304800" algn="l" defTabSz="895350">
              <a:buClr>
                <a:schemeClr val="tx2"/>
              </a:buClr>
              <a:buSzPct val="89000"/>
              <a:buFont typeface="Arial" charset="0"/>
              <a:buChar char="-"/>
              <a:tabLst>
                <a:tab pos="177800" algn="l"/>
              </a:tabLst>
              <a:defRPr sz="1600">
                <a:solidFill>
                  <a:schemeClr val="tx1"/>
                </a:solidFill>
                <a:latin typeface="Arial" charset="0"/>
              </a:defRPr>
            </a:lvl5pPr>
            <a:lvl6pPr marL="2617788" indent="-304800" defTabSz="895350" fontAlgn="base">
              <a:spcBef>
                <a:spcPct val="0"/>
              </a:spcBef>
              <a:spcAft>
                <a:spcPct val="0"/>
              </a:spcAft>
              <a:buClr>
                <a:schemeClr val="tx2"/>
              </a:buClr>
              <a:buSzPct val="89000"/>
              <a:buFont typeface="Arial" charset="0"/>
              <a:buChar char="-"/>
              <a:tabLst>
                <a:tab pos="177800" algn="l"/>
              </a:tabLst>
              <a:defRPr sz="1600">
                <a:solidFill>
                  <a:schemeClr val="tx1"/>
                </a:solidFill>
                <a:latin typeface="Arial" charset="0"/>
              </a:defRPr>
            </a:lvl6pPr>
            <a:lvl7pPr marL="3074988" indent="-304800" defTabSz="895350" fontAlgn="base">
              <a:spcBef>
                <a:spcPct val="0"/>
              </a:spcBef>
              <a:spcAft>
                <a:spcPct val="0"/>
              </a:spcAft>
              <a:buClr>
                <a:schemeClr val="tx2"/>
              </a:buClr>
              <a:buSzPct val="89000"/>
              <a:buFont typeface="Arial" charset="0"/>
              <a:buChar char="-"/>
              <a:tabLst>
                <a:tab pos="177800" algn="l"/>
              </a:tabLst>
              <a:defRPr sz="1600">
                <a:solidFill>
                  <a:schemeClr val="tx1"/>
                </a:solidFill>
                <a:latin typeface="Arial" charset="0"/>
              </a:defRPr>
            </a:lvl7pPr>
            <a:lvl8pPr marL="3532188" indent="-304800" defTabSz="895350" fontAlgn="base">
              <a:spcBef>
                <a:spcPct val="0"/>
              </a:spcBef>
              <a:spcAft>
                <a:spcPct val="0"/>
              </a:spcAft>
              <a:buClr>
                <a:schemeClr val="tx2"/>
              </a:buClr>
              <a:buSzPct val="89000"/>
              <a:buFont typeface="Arial" charset="0"/>
              <a:buChar char="-"/>
              <a:tabLst>
                <a:tab pos="177800" algn="l"/>
              </a:tabLst>
              <a:defRPr sz="1600">
                <a:solidFill>
                  <a:schemeClr val="tx1"/>
                </a:solidFill>
                <a:latin typeface="Arial" charset="0"/>
              </a:defRPr>
            </a:lvl8pPr>
            <a:lvl9pPr marL="3989388" indent="-304800" defTabSz="895350" fontAlgn="base">
              <a:spcBef>
                <a:spcPct val="0"/>
              </a:spcBef>
              <a:spcAft>
                <a:spcPct val="0"/>
              </a:spcAft>
              <a:buClr>
                <a:schemeClr val="tx2"/>
              </a:buClr>
              <a:buSzPct val="89000"/>
              <a:buFont typeface="Arial" charset="0"/>
              <a:buChar char="-"/>
              <a:tabLst>
                <a:tab pos="177800" algn="l"/>
              </a:tabLst>
              <a:defRPr sz="1600">
                <a:solidFill>
                  <a:schemeClr val="tx1"/>
                </a:solidFill>
                <a:latin typeface="Arial" charset="0"/>
              </a:defRPr>
            </a:lvl9pPr>
          </a:lstStyle>
          <a:p>
            <a:pPr lvl="1"/>
            <a:r>
              <a:rPr lang="en-US" sz="800" dirty="0">
                <a:latin typeface="+mn-lt"/>
              </a:rPr>
              <a:t>Led improvement programs at Tata Steel Europe and Tata Steel India, each leading to +200 </a:t>
            </a:r>
            <a:r>
              <a:rPr lang="en-US" sz="800" dirty="0" err="1">
                <a:latin typeface="+mn-lt"/>
              </a:rPr>
              <a:t>Mn</a:t>
            </a:r>
            <a:r>
              <a:rPr lang="en-US" sz="800" dirty="0">
                <a:latin typeface="+mn-lt"/>
              </a:rPr>
              <a:t> </a:t>
            </a:r>
            <a:r>
              <a:rPr lang="en-US" sz="800" dirty="0" err="1">
                <a:latin typeface="+mn-lt"/>
              </a:rPr>
              <a:t>EUR</a:t>
            </a:r>
            <a:r>
              <a:rPr lang="en-US" sz="800" dirty="0">
                <a:latin typeface="+mn-lt"/>
              </a:rPr>
              <a:t> impact </a:t>
            </a:r>
          </a:p>
          <a:p>
            <a:pPr lvl="1"/>
            <a:r>
              <a:rPr lang="en-US" sz="800" dirty="0">
                <a:latin typeface="+mn-lt"/>
              </a:rPr>
              <a:t>Led successful turnaround and scrap sourcing improvement program at Tata Steel’s South East Asian operations, improving EBITDA margin by 5% points in adverse market </a:t>
            </a:r>
          </a:p>
          <a:p>
            <a:pPr lvl="1"/>
            <a:r>
              <a:rPr lang="en-US" sz="800" dirty="0">
                <a:latin typeface="+mn-lt"/>
              </a:rPr>
              <a:t>Developed and implemented group raw material sourcing strategy</a:t>
            </a:r>
          </a:p>
        </p:txBody>
      </p:sp>
      <p:sp>
        <p:nvSpPr>
          <p:cNvPr id="100" name="Rectangle 99"/>
          <p:cNvSpPr>
            <a:spLocks/>
          </p:cNvSpPr>
          <p:nvPr/>
        </p:nvSpPr>
        <p:spPr bwMode="gray">
          <a:xfrm>
            <a:off x="1459302" y="3212829"/>
            <a:ext cx="1087463" cy="492443"/>
          </a:xfrm>
          <a:prstGeom prst="rect">
            <a:avLst/>
          </a:prstGeom>
          <a:solidFill>
            <a:schemeClr val="bg1"/>
          </a:solid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800" dirty="0" err="1">
              <a:solidFill>
                <a:schemeClr val="tx1"/>
              </a:solidFill>
            </a:endParaRPr>
          </a:p>
        </p:txBody>
      </p:sp>
      <p:pic>
        <p:nvPicPr>
          <p:cNvPr id="109" name="Picture 40"/>
          <p:cNvPicPr>
            <a:picLocks noChangeAspect="1" noChangeArrowheads="1"/>
          </p:cNvPicPr>
          <p:nvPr/>
        </p:nvPicPr>
        <p:blipFill rotWithShape="1">
          <a:blip r:embed="rId10" cstate="email">
            <a:extLst>
              <a:ext uri="{28A0092B-C50C-407E-A947-70E740481C1C}">
                <a14:useLocalDpi xmlns:a14="http://schemas.microsoft.com/office/drawing/2010/main"/>
              </a:ext>
            </a:extLst>
          </a:blip>
          <a:srcRect/>
          <a:stretch/>
        </p:blipFill>
        <p:spPr bwMode="gray">
          <a:xfrm>
            <a:off x="1675198" y="3296453"/>
            <a:ext cx="655671" cy="32519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2" name="Rectangle 11"/>
          <p:cNvSpPr>
            <a:spLocks noChangeArrowheads="1"/>
          </p:cNvSpPr>
          <p:nvPr/>
        </p:nvSpPr>
        <p:spPr bwMode="gray">
          <a:xfrm>
            <a:off x="2624941" y="3760558"/>
            <a:ext cx="6089648"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algn="l" defTabSz="895350">
              <a:buClr>
                <a:schemeClr val="tx2"/>
              </a:buClr>
              <a:tabLst>
                <a:tab pos="177800" algn="l"/>
              </a:tabLst>
              <a:defRPr sz="1600">
                <a:solidFill>
                  <a:schemeClr val="tx1"/>
                </a:solidFill>
                <a:latin typeface="Arial" charset="0"/>
              </a:defRPr>
            </a:lvl1pPr>
            <a:lvl2pPr marL="179388" indent="-177800" algn="l" defTabSz="895350">
              <a:buClr>
                <a:schemeClr val="tx2"/>
              </a:buClr>
              <a:buSzPct val="125000"/>
              <a:buFont typeface="Arial" charset="0"/>
              <a:buChar char="▪"/>
              <a:tabLst>
                <a:tab pos="177800" algn="l"/>
              </a:tabLst>
              <a:defRPr sz="1600">
                <a:solidFill>
                  <a:schemeClr val="tx1"/>
                </a:solidFill>
                <a:latin typeface="Arial" charset="0"/>
              </a:defRPr>
            </a:lvl2pPr>
            <a:lvl3pPr marL="1192213" indent="-304800" algn="l" defTabSz="895350">
              <a:buClr>
                <a:schemeClr val="tx2"/>
              </a:buClr>
              <a:buSzPct val="120000"/>
              <a:buFont typeface="Arial" charset="0"/>
              <a:buChar char="–"/>
              <a:tabLst>
                <a:tab pos="177800" algn="l"/>
              </a:tabLst>
              <a:defRPr sz="1600">
                <a:solidFill>
                  <a:schemeClr val="tx1"/>
                </a:solidFill>
                <a:latin typeface="Arial" charset="0"/>
              </a:defRPr>
            </a:lvl3pPr>
            <a:lvl4pPr marL="1676400" indent="-304800" algn="l" defTabSz="895350">
              <a:buClr>
                <a:schemeClr val="tx2"/>
              </a:buClr>
              <a:buSzPct val="120000"/>
              <a:buFont typeface="Arial" charset="0"/>
              <a:buChar char="▫"/>
              <a:tabLst>
                <a:tab pos="177800" algn="l"/>
              </a:tabLst>
              <a:defRPr sz="1600">
                <a:solidFill>
                  <a:schemeClr val="tx1"/>
                </a:solidFill>
                <a:latin typeface="Arial" charset="0"/>
              </a:defRPr>
            </a:lvl4pPr>
            <a:lvl5pPr marL="2160588" indent="-304800" algn="l" defTabSz="895350">
              <a:buClr>
                <a:schemeClr val="tx2"/>
              </a:buClr>
              <a:buSzPct val="89000"/>
              <a:buFont typeface="Arial" charset="0"/>
              <a:buChar char="-"/>
              <a:tabLst>
                <a:tab pos="177800" algn="l"/>
              </a:tabLst>
              <a:defRPr sz="1600">
                <a:solidFill>
                  <a:schemeClr val="tx1"/>
                </a:solidFill>
                <a:latin typeface="Arial" charset="0"/>
              </a:defRPr>
            </a:lvl5pPr>
            <a:lvl6pPr marL="2617788" indent="-304800" defTabSz="895350" fontAlgn="base">
              <a:spcBef>
                <a:spcPct val="0"/>
              </a:spcBef>
              <a:spcAft>
                <a:spcPct val="0"/>
              </a:spcAft>
              <a:buClr>
                <a:schemeClr val="tx2"/>
              </a:buClr>
              <a:buSzPct val="89000"/>
              <a:buFont typeface="Arial" charset="0"/>
              <a:buChar char="-"/>
              <a:tabLst>
                <a:tab pos="177800" algn="l"/>
              </a:tabLst>
              <a:defRPr sz="1600">
                <a:solidFill>
                  <a:schemeClr val="tx1"/>
                </a:solidFill>
                <a:latin typeface="Arial" charset="0"/>
              </a:defRPr>
            </a:lvl6pPr>
            <a:lvl7pPr marL="3074988" indent="-304800" defTabSz="895350" fontAlgn="base">
              <a:spcBef>
                <a:spcPct val="0"/>
              </a:spcBef>
              <a:spcAft>
                <a:spcPct val="0"/>
              </a:spcAft>
              <a:buClr>
                <a:schemeClr val="tx2"/>
              </a:buClr>
              <a:buSzPct val="89000"/>
              <a:buFont typeface="Arial" charset="0"/>
              <a:buChar char="-"/>
              <a:tabLst>
                <a:tab pos="177800" algn="l"/>
              </a:tabLst>
              <a:defRPr sz="1600">
                <a:solidFill>
                  <a:schemeClr val="tx1"/>
                </a:solidFill>
                <a:latin typeface="Arial" charset="0"/>
              </a:defRPr>
            </a:lvl7pPr>
            <a:lvl8pPr marL="3532188" indent="-304800" defTabSz="895350" fontAlgn="base">
              <a:spcBef>
                <a:spcPct val="0"/>
              </a:spcBef>
              <a:spcAft>
                <a:spcPct val="0"/>
              </a:spcAft>
              <a:buClr>
                <a:schemeClr val="tx2"/>
              </a:buClr>
              <a:buSzPct val="89000"/>
              <a:buFont typeface="Arial" charset="0"/>
              <a:buChar char="-"/>
              <a:tabLst>
                <a:tab pos="177800" algn="l"/>
              </a:tabLst>
              <a:defRPr sz="1600">
                <a:solidFill>
                  <a:schemeClr val="tx1"/>
                </a:solidFill>
                <a:latin typeface="Arial" charset="0"/>
              </a:defRPr>
            </a:lvl8pPr>
            <a:lvl9pPr marL="3989388" indent="-304800" defTabSz="895350" fontAlgn="base">
              <a:spcBef>
                <a:spcPct val="0"/>
              </a:spcBef>
              <a:spcAft>
                <a:spcPct val="0"/>
              </a:spcAft>
              <a:buClr>
                <a:schemeClr val="tx2"/>
              </a:buClr>
              <a:buSzPct val="89000"/>
              <a:buFont typeface="Arial" charset="0"/>
              <a:buChar char="-"/>
              <a:tabLst>
                <a:tab pos="177800" algn="l"/>
              </a:tabLst>
              <a:defRPr sz="1600">
                <a:solidFill>
                  <a:schemeClr val="tx1"/>
                </a:solidFill>
                <a:latin typeface="Arial" charset="0"/>
              </a:defRPr>
            </a:lvl9pPr>
          </a:lstStyle>
          <a:p>
            <a:pPr lvl="1"/>
            <a:r>
              <a:rPr lang="en-US" sz="800" dirty="0">
                <a:latin typeface="+mn-lt"/>
              </a:rPr>
              <a:t>Performed all strategy, transformational, and performance improvement work in the last decade, except for the carve out </a:t>
            </a:r>
          </a:p>
          <a:p>
            <a:pPr lvl="1"/>
            <a:r>
              <a:rPr lang="en-US" sz="800" dirty="0">
                <a:latin typeface="+mn-lt"/>
              </a:rPr>
              <a:t>Led 2-3 strategies, 2-3 transformations and performance improvement programs</a:t>
            </a:r>
          </a:p>
        </p:txBody>
      </p:sp>
      <p:sp>
        <p:nvSpPr>
          <p:cNvPr id="119" name="Rectangle 118"/>
          <p:cNvSpPr>
            <a:spLocks/>
          </p:cNvSpPr>
          <p:nvPr/>
        </p:nvSpPr>
        <p:spPr bwMode="gray">
          <a:xfrm>
            <a:off x="1459302" y="3760558"/>
            <a:ext cx="1087463" cy="290098"/>
          </a:xfrm>
          <a:prstGeom prst="rect">
            <a:avLst/>
          </a:prstGeom>
          <a:solidFill>
            <a:schemeClr val="bg1"/>
          </a:solid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54000" tIns="36000" rIns="54000" bIns="36000" rtlCol="0" anchor="ctr">
            <a:noAutofit/>
          </a:bodyPr>
          <a:lstStyle/>
          <a:p>
            <a:r>
              <a:rPr lang="en-US" sz="800" dirty="0">
                <a:solidFill>
                  <a:schemeClr val="tx1"/>
                </a:solidFill>
              </a:rPr>
              <a:t>European leading steel company</a:t>
            </a:r>
          </a:p>
        </p:txBody>
      </p:sp>
      <p:sp>
        <p:nvSpPr>
          <p:cNvPr id="1995787" name="Rectangle 11"/>
          <p:cNvSpPr>
            <a:spLocks noChangeArrowheads="1"/>
          </p:cNvSpPr>
          <p:nvPr/>
        </p:nvSpPr>
        <p:spPr bwMode="gray">
          <a:xfrm>
            <a:off x="2624941" y="2665100"/>
            <a:ext cx="6089648" cy="4924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algn="l" defTabSz="895350">
              <a:buClr>
                <a:schemeClr val="tx2"/>
              </a:buClr>
              <a:tabLst>
                <a:tab pos="177800" algn="l"/>
              </a:tabLst>
              <a:defRPr sz="1600">
                <a:solidFill>
                  <a:schemeClr val="tx1"/>
                </a:solidFill>
                <a:latin typeface="Arial" charset="0"/>
              </a:defRPr>
            </a:lvl1pPr>
            <a:lvl2pPr marL="179388" indent="-177800" algn="l" defTabSz="895350">
              <a:buClr>
                <a:schemeClr val="tx2"/>
              </a:buClr>
              <a:buSzPct val="125000"/>
              <a:buFont typeface="Arial" charset="0"/>
              <a:buChar char="▪"/>
              <a:tabLst>
                <a:tab pos="177800" algn="l"/>
              </a:tabLst>
              <a:defRPr sz="1600">
                <a:solidFill>
                  <a:schemeClr val="tx1"/>
                </a:solidFill>
                <a:latin typeface="Arial" charset="0"/>
              </a:defRPr>
            </a:lvl2pPr>
            <a:lvl3pPr marL="1192213" indent="-304800" algn="l" defTabSz="895350">
              <a:buClr>
                <a:schemeClr val="tx2"/>
              </a:buClr>
              <a:buSzPct val="120000"/>
              <a:buFont typeface="Arial" charset="0"/>
              <a:buChar char="–"/>
              <a:tabLst>
                <a:tab pos="177800" algn="l"/>
              </a:tabLst>
              <a:defRPr sz="1600">
                <a:solidFill>
                  <a:schemeClr val="tx1"/>
                </a:solidFill>
                <a:latin typeface="Arial" charset="0"/>
              </a:defRPr>
            </a:lvl3pPr>
            <a:lvl4pPr marL="1676400" indent="-304800" algn="l" defTabSz="895350">
              <a:buClr>
                <a:schemeClr val="tx2"/>
              </a:buClr>
              <a:buSzPct val="120000"/>
              <a:buFont typeface="Arial" charset="0"/>
              <a:buChar char="▫"/>
              <a:tabLst>
                <a:tab pos="177800" algn="l"/>
              </a:tabLst>
              <a:defRPr sz="1600">
                <a:solidFill>
                  <a:schemeClr val="tx1"/>
                </a:solidFill>
                <a:latin typeface="Arial" charset="0"/>
              </a:defRPr>
            </a:lvl4pPr>
            <a:lvl5pPr marL="2160588" indent="-304800" algn="l" defTabSz="895350">
              <a:buClr>
                <a:schemeClr val="tx2"/>
              </a:buClr>
              <a:buSzPct val="89000"/>
              <a:buFont typeface="Arial" charset="0"/>
              <a:buChar char="-"/>
              <a:tabLst>
                <a:tab pos="177800" algn="l"/>
              </a:tabLst>
              <a:defRPr sz="1600">
                <a:solidFill>
                  <a:schemeClr val="tx1"/>
                </a:solidFill>
                <a:latin typeface="Arial" charset="0"/>
              </a:defRPr>
            </a:lvl5pPr>
            <a:lvl6pPr marL="2617788" indent="-304800" defTabSz="895350" fontAlgn="base">
              <a:spcBef>
                <a:spcPct val="0"/>
              </a:spcBef>
              <a:spcAft>
                <a:spcPct val="0"/>
              </a:spcAft>
              <a:buClr>
                <a:schemeClr val="tx2"/>
              </a:buClr>
              <a:buSzPct val="89000"/>
              <a:buFont typeface="Arial" charset="0"/>
              <a:buChar char="-"/>
              <a:tabLst>
                <a:tab pos="177800" algn="l"/>
              </a:tabLst>
              <a:defRPr sz="1600">
                <a:solidFill>
                  <a:schemeClr val="tx1"/>
                </a:solidFill>
                <a:latin typeface="Arial" charset="0"/>
              </a:defRPr>
            </a:lvl6pPr>
            <a:lvl7pPr marL="3074988" indent="-304800" defTabSz="895350" fontAlgn="base">
              <a:spcBef>
                <a:spcPct val="0"/>
              </a:spcBef>
              <a:spcAft>
                <a:spcPct val="0"/>
              </a:spcAft>
              <a:buClr>
                <a:schemeClr val="tx2"/>
              </a:buClr>
              <a:buSzPct val="89000"/>
              <a:buFont typeface="Arial" charset="0"/>
              <a:buChar char="-"/>
              <a:tabLst>
                <a:tab pos="177800" algn="l"/>
              </a:tabLst>
              <a:defRPr sz="1600">
                <a:solidFill>
                  <a:schemeClr val="tx1"/>
                </a:solidFill>
                <a:latin typeface="Arial" charset="0"/>
              </a:defRPr>
            </a:lvl7pPr>
            <a:lvl8pPr marL="3532188" indent="-304800" defTabSz="895350" fontAlgn="base">
              <a:spcBef>
                <a:spcPct val="0"/>
              </a:spcBef>
              <a:spcAft>
                <a:spcPct val="0"/>
              </a:spcAft>
              <a:buClr>
                <a:schemeClr val="tx2"/>
              </a:buClr>
              <a:buSzPct val="89000"/>
              <a:buFont typeface="Arial" charset="0"/>
              <a:buChar char="-"/>
              <a:tabLst>
                <a:tab pos="177800" algn="l"/>
              </a:tabLst>
              <a:defRPr sz="1600">
                <a:solidFill>
                  <a:schemeClr val="tx1"/>
                </a:solidFill>
                <a:latin typeface="Arial" charset="0"/>
              </a:defRPr>
            </a:lvl8pPr>
            <a:lvl9pPr marL="3989388" indent="-304800" defTabSz="895350" fontAlgn="base">
              <a:spcBef>
                <a:spcPct val="0"/>
              </a:spcBef>
              <a:spcAft>
                <a:spcPct val="0"/>
              </a:spcAft>
              <a:buClr>
                <a:schemeClr val="tx2"/>
              </a:buClr>
              <a:buSzPct val="89000"/>
              <a:buFont typeface="Arial" charset="0"/>
              <a:buChar char="-"/>
              <a:tabLst>
                <a:tab pos="177800" algn="l"/>
              </a:tabLst>
              <a:defRPr sz="1600">
                <a:solidFill>
                  <a:schemeClr val="tx1"/>
                </a:solidFill>
                <a:latin typeface="Arial" charset="0"/>
              </a:defRPr>
            </a:lvl9pPr>
          </a:lstStyle>
          <a:p>
            <a:pPr lvl="1"/>
            <a:r>
              <a:rPr lang="en-US" sz="800" dirty="0">
                <a:latin typeface="+mn-lt"/>
              </a:rPr>
              <a:t>Supported the integration of two steel players to form the world’s leading steel company</a:t>
            </a:r>
          </a:p>
          <a:p>
            <a:pPr lvl="1"/>
            <a:r>
              <a:rPr lang="en-US" sz="800" dirty="0">
                <a:latin typeface="+mn-lt"/>
              </a:rPr>
              <a:t>Redesigned Group Corporate Centre</a:t>
            </a:r>
          </a:p>
          <a:p>
            <a:pPr lvl="1"/>
            <a:r>
              <a:rPr lang="en-US" sz="800" dirty="0">
                <a:latin typeface="+mn-lt"/>
              </a:rPr>
              <a:t>Assessed options to develop several of its iron ore mining projects, and supported execution </a:t>
            </a:r>
          </a:p>
          <a:p>
            <a:pPr lvl="1"/>
            <a:r>
              <a:rPr lang="en-US" sz="800" dirty="0">
                <a:latin typeface="+mn-lt"/>
              </a:rPr>
              <a:t>Led +10 plant-wide +100 </a:t>
            </a:r>
            <a:r>
              <a:rPr lang="en-US" sz="800" dirty="0" err="1">
                <a:latin typeface="+mn-lt"/>
              </a:rPr>
              <a:t>Mn</a:t>
            </a:r>
            <a:r>
              <a:rPr lang="en-US" sz="800" dirty="0">
                <a:latin typeface="+mn-lt"/>
              </a:rPr>
              <a:t> </a:t>
            </a:r>
            <a:r>
              <a:rPr lang="en-US" sz="800" dirty="0" err="1">
                <a:latin typeface="+mn-lt"/>
              </a:rPr>
              <a:t>EUR</a:t>
            </a:r>
            <a:r>
              <a:rPr lang="en-US" sz="800" dirty="0">
                <a:latin typeface="+mn-lt"/>
              </a:rPr>
              <a:t> transformation programs</a:t>
            </a:r>
          </a:p>
        </p:txBody>
      </p:sp>
      <p:sp>
        <p:nvSpPr>
          <p:cNvPr id="142" name="Rectangle 141"/>
          <p:cNvSpPr>
            <a:spLocks/>
          </p:cNvSpPr>
          <p:nvPr/>
        </p:nvSpPr>
        <p:spPr bwMode="gray">
          <a:xfrm>
            <a:off x="1459302" y="2665100"/>
            <a:ext cx="1087463" cy="492443"/>
          </a:xfrm>
          <a:prstGeom prst="rect">
            <a:avLst/>
          </a:prstGeom>
          <a:solidFill>
            <a:schemeClr val="bg1"/>
          </a:solid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54000" tIns="36000" rIns="54000" bIns="36000" rtlCol="0" anchor="ctr">
            <a:noAutofit/>
          </a:bodyPr>
          <a:lstStyle/>
          <a:p>
            <a:r>
              <a:rPr lang="en-US" sz="800">
                <a:solidFill>
                  <a:schemeClr val="tx1"/>
                </a:solidFill>
              </a:rPr>
              <a:t>World leading steel company</a:t>
            </a:r>
            <a:endParaRPr lang="en-US" sz="800" dirty="0" err="1">
              <a:solidFill>
                <a:schemeClr val="tx1"/>
              </a:solidFill>
            </a:endParaRPr>
          </a:p>
        </p:txBody>
      </p:sp>
      <p:sp>
        <p:nvSpPr>
          <p:cNvPr id="137" name="Rectangle 11"/>
          <p:cNvSpPr>
            <a:spLocks noChangeArrowheads="1"/>
          </p:cNvSpPr>
          <p:nvPr/>
        </p:nvSpPr>
        <p:spPr bwMode="gray">
          <a:xfrm>
            <a:off x="2624941" y="4105942"/>
            <a:ext cx="6089648"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algn="l" defTabSz="895350">
              <a:buClr>
                <a:schemeClr val="tx2"/>
              </a:buClr>
              <a:tabLst>
                <a:tab pos="177800" algn="l"/>
              </a:tabLst>
              <a:defRPr sz="1600">
                <a:solidFill>
                  <a:schemeClr val="tx1"/>
                </a:solidFill>
                <a:latin typeface="Arial" charset="0"/>
              </a:defRPr>
            </a:lvl1pPr>
            <a:lvl2pPr marL="179388" indent="-177800" algn="l" defTabSz="895350">
              <a:buClr>
                <a:schemeClr val="tx2"/>
              </a:buClr>
              <a:buSzPct val="125000"/>
              <a:buFont typeface="Arial" charset="0"/>
              <a:buChar char="▪"/>
              <a:tabLst>
                <a:tab pos="177800" algn="l"/>
              </a:tabLst>
              <a:defRPr sz="1600">
                <a:solidFill>
                  <a:schemeClr val="tx1"/>
                </a:solidFill>
                <a:latin typeface="Arial" charset="0"/>
              </a:defRPr>
            </a:lvl2pPr>
            <a:lvl3pPr marL="1192213" indent="-304800" algn="l" defTabSz="895350">
              <a:buClr>
                <a:schemeClr val="tx2"/>
              </a:buClr>
              <a:buSzPct val="120000"/>
              <a:buFont typeface="Arial" charset="0"/>
              <a:buChar char="–"/>
              <a:tabLst>
                <a:tab pos="177800" algn="l"/>
              </a:tabLst>
              <a:defRPr sz="1600">
                <a:solidFill>
                  <a:schemeClr val="tx1"/>
                </a:solidFill>
                <a:latin typeface="Arial" charset="0"/>
              </a:defRPr>
            </a:lvl3pPr>
            <a:lvl4pPr marL="1676400" indent="-304800" algn="l" defTabSz="895350">
              <a:buClr>
                <a:schemeClr val="tx2"/>
              </a:buClr>
              <a:buSzPct val="120000"/>
              <a:buFont typeface="Arial" charset="0"/>
              <a:buChar char="▫"/>
              <a:tabLst>
                <a:tab pos="177800" algn="l"/>
              </a:tabLst>
              <a:defRPr sz="1600">
                <a:solidFill>
                  <a:schemeClr val="tx1"/>
                </a:solidFill>
                <a:latin typeface="Arial" charset="0"/>
              </a:defRPr>
            </a:lvl4pPr>
            <a:lvl5pPr marL="2160588" indent="-304800" algn="l" defTabSz="895350">
              <a:buClr>
                <a:schemeClr val="tx2"/>
              </a:buClr>
              <a:buSzPct val="89000"/>
              <a:buFont typeface="Arial" charset="0"/>
              <a:buChar char="-"/>
              <a:tabLst>
                <a:tab pos="177800" algn="l"/>
              </a:tabLst>
              <a:defRPr sz="1600">
                <a:solidFill>
                  <a:schemeClr val="tx1"/>
                </a:solidFill>
                <a:latin typeface="Arial" charset="0"/>
              </a:defRPr>
            </a:lvl5pPr>
            <a:lvl6pPr marL="2617788" indent="-304800" defTabSz="895350" fontAlgn="base">
              <a:spcBef>
                <a:spcPct val="0"/>
              </a:spcBef>
              <a:spcAft>
                <a:spcPct val="0"/>
              </a:spcAft>
              <a:buClr>
                <a:schemeClr val="tx2"/>
              </a:buClr>
              <a:buSzPct val="89000"/>
              <a:buFont typeface="Arial" charset="0"/>
              <a:buChar char="-"/>
              <a:tabLst>
                <a:tab pos="177800" algn="l"/>
              </a:tabLst>
              <a:defRPr sz="1600">
                <a:solidFill>
                  <a:schemeClr val="tx1"/>
                </a:solidFill>
                <a:latin typeface="Arial" charset="0"/>
              </a:defRPr>
            </a:lvl6pPr>
            <a:lvl7pPr marL="3074988" indent="-304800" defTabSz="895350" fontAlgn="base">
              <a:spcBef>
                <a:spcPct val="0"/>
              </a:spcBef>
              <a:spcAft>
                <a:spcPct val="0"/>
              </a:spcAft>
              <a:buClr>
                <a:schemeClr val="tx2"/>
              </a:buClr>
              <a:buSzPct val="89000"/>
              <a:buFont typeface="Arial" charset="0"/>
              <a:buChar char="-"/>
              <a:tabLst>
                <a:tab pos="177800" algn="l"/>
              </a:tabLst>
              <a:defRPr sz="1600">
                <a:solidFill>
                  <a:schemeClr val="tx1"/>
                </a:solidFill>
                <a:latin typeface="Arial" charset="0"/>
              </a:defRPr>
            </a:lvl7pPr>
            <a:lvl8pPr marL="3532188" indent="-304800" defTabSz="895350" fontAlgn="base">
              <a:spcBef>
                <a:spcPct val="0"/>
              </a:spcBef>
              <a:spcAft>
                <a:spcPct val="0"/>
              </a:spcAft>
              <a:buClr>
                <a:schemeClr val="tx2"/>
              </a:buClr>
              <a:buSzPct val="89000"/>
              <a:buFont typeface="Arial" charset="0"/>
              <a:buChar char="-"/>
              <a:tabLst>
                <a:tab pos="177800" algn="l"/>
              </a:tabLst>
              <a:defRPr sz="1600">
                <a:solidFill>
                  <a:schemeClr val="tx1"/>
                </a:solidFill>
                <a:latin typeface="Arial" charset="0"/>
              </a:defRPr>
            </a:lvl8pPr>
            <a:lvl9pPr marL="3989388" indent="-304800" defTabSz="895350" fontAlgn="base">
              <a:spcBef>
                <a:spcPct val="0"/>
              </a:spcBef>
              <a:spcAft>
                <a:spcPct val="0"/>
              </a:spcAft>
              <a:buClr>
                <a:schemeClr val="tx2"/>
              </a:buClr>
              <a:buSzPct val="89000"/>
              <a:buFont typeface="Arial" charset="0"/>
              <a:buChar char="-"/>
              <a:tabLst>
                <a:tab pos="177800" algn="l"/>
              </a:tabLst>
              <a:defRPr sz="1600">
                <a:solidFill>
                  <a:schemeClr val="tx1"/>
                </a:solidFill>
                <a:latin typeface="Arial" charset="0"/>
              </a:defRPr>
            </a:lvl9pPr>
          </a:lstStyle>
          <a:p>
            <a:pPr lvl="1"/>
            <a:r>
              <a:rPr lang="en-US" sz="800" b="0" dirty="0">
                <a:latin typeface="+mn-lt"/>
              </a:rPr>
              <a:t>Supported several strategic and growth efforts</a:t>
            </a:r>
          </a:p>
          <a:p>
            <a:pPr lvl="1"/>
            <a:r>
              <a:rPr lang="en-US" sz="800" dirty="0">
                <a:latin typeface="+mn-lt"/>
              </a:rPr>
              <a:t>Ran large-scale operations transformation efforts</a:t>
            </a:r>
          </a:p>
          <a:p>
            <a:pPr lvl="1"/>
            <a:r>
              <a:rPr lang="en-US" sz="800" dirty="0">
                <a:latin typeface="+mn-lt"/>
              </a:rPr>
              <a:t>Worked at top management level as well as with the frontline </a:t>
            </a:r>
            <a:r>
              <a:rPr lang="en-US" sz="800" dirty="0" err="1">
                <a:latin typeface="+mn-lt"/>
              </a:rPr>
              <a:t>shopfloor</a:t>
            </a:r>
            <a:r>
              <a:rPr lang="en-US" sz="800" dirty="0">
                <a:latin typeface="+mn-lt"/>
              </a:rPr>
              <a:t> operations</a:t>
            </a:r>
          </a:p>
        </p:txBody>
      </p:sp>
      <p:sp>
        <p:nvSpPr>
          <p:cNvPr id="143" name="Rectangle 142"/>
          <p:cNvSpPr>
            <a:spLocks/>
          </p:cNvSpPr>
          <p:nvPr/>
        </p:nvSpPr>
        <p:spPr bwMode="gray">
          <a:xfrm>
            <a:off x="1459302" y="4105942"/>
            <a:ext cx="1087463" cy="369332"/>
          </a:xfrm>
          <a:prstGeom prst="rect">
            <a:avLst/>
          </a:prstGeom>
          <a:solidFill>
            <a:schemeClr val="bg1"/>
          </a:solid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54000" tIns="36000" rIns="54000" bIns="36000" rtlCol="0" anchor="ctr">
            <a:noAutofit/>
          </a:bodyPr>
          <a:lstStyle/>
          <a:p>
            <a:r>
              <a:rPr lang="en-US" sz="800">
                <a:solidFill>
                  <a:schemeClr val="tx1"/>
                </a:solidFill>
              </a:rPr>
              <a:t>European leading steel company</a:t>
            </a:r>
            <a:endParaRPr lang="en-US" sz="800" dirty="0" err="1">
              <a:solidFill>
                <a:schemeClr val="tx1"/>
              </a:solidFill>
            </a:endParaRPr>
          </a:p>
        </p:txBody>
      </p:sp>
      <p:sp>
        <p:nvSpPr>
          <p:cNvPr id="131" name="Rectangle 5"/>
          <p:cNvSpPr txBox="1">
            <a:spLocks noChangeArrowheads="1"/>
          </p:cNvSpPr>
          <p:nvPr>
            <p:custDataLst>
              <p:tags r:id="rId5"/>
            </p:custDataLst>
          </p:nvPr>
        </p:nvSpPr>
        <p:spPr bwMode="gray">
          <a:xfrm>
            <a:off x="476116" y="936560"/>
            <a:ext cx="932345" cy="1651213"/>
          </a:xfrm>
          <a:prstGeom prst="rect">
            <a:avLst/>
          </a:prstGeom>
          <a:solidFill>
            <a:schemeClr val="accent2"/>
          </a:solidFill>
          <a:ln w="9525">
            <a:noFill/>
            <a:miter lim="800000"/>
            <a:headEnd/>
            <a:tailEnd/>
          </a:ln>
          <a:effectLst/>
          <a:extLst/>
        </p:spPr>
        <p:txBody>
          <a:bodyPr vert="horz" wrap="square" lIns="365760" tIns="72009" rIns="72009" bIns="72009" numCol="1" anchor="ctr" anchorCtr="0" compatLnSpc="1">
            <a:prstTxWarp prst="textNoShape">
              <a:avLst/>
            </a:prstTxWarp>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defTabSz="1019175"/>
            <a:r>
              <a:rPr lang="en-US" sz="800" b="1" dirty="0">
                <a:solidFill>
                  <a:schemeClr val="bg1"/>
                </a:solidFill>
              </a:rPr>
              <a:t>Close to 100% market share in steel sector in China</a:t>
            </a:r>
            <a:endParaRPr lang="en-US" sz="800" i="1" dirty="0">
              <a:solidFill>
                <a:schemeClr val="bg1"/>
              </a:solidFill>
            </a:endParaRPr>
          </a:p>
        </p:txBody>
      </p:sp>
      <p:cxnSp>
        <p:nvCxnSpPr>
          <p:cNvPr id="136" name="Straight Connector 135"/>
          <p:cNvCxnSpPr>
            <a:cxnSpLocks/>
          </p:cNvCxnSpPr>
          <p:nvPr/>
        </p:nvCxnSpPr>
        <p:spPr bwMode="gray">
          <a:xfrm>
            <a:off x="2624941" y="1229886"/>
            <a:ext cx="6089648" cy="0"/>
          </a:xfrm>
          <a:prstGeom prst="line">
            <a:avLst/>
          </a:prstGeom>
          <a:ln w="9525">
            <a:solidFill>
              <a:schemeClr val="accent6"/>
            </a:solidFill>
            <a:prstDash val="sysDot"/>
          </a:ln>
        </p:spPr>
        <p:style>
          <a:lnRef idx="1">
            <a:schemeClr val="accent1"/>
          </a:lnRef>
          <a:fillRef idx="0">
            <a:schemeClr val="accent1"/>
          </a:fillRef>
          <a:effectRef idx="0">
            <a:schemeClr val="accent1"/>
          </a:effectRef>
          <a:fontRef idx="minor">
            <a:schemeClr val="tx1"/>
          </a:fontRef>
        </p:style>
      </p:cxnSp>
      <p:cxnSp>
        <p:nvCxnSpPr>
          <p:cNvPr id="153" name="Straight Connector 152"/>
          <p:cNvCxnSpPr>
            <a:cxnSpLocks/>
          </p:cNvCxnSpPr>
          <p:nvPr/>
        </p:nvCxnSpPr>
        <p:spPr bwMode="gray">
          <a:xfrm>
            <a:off x="2624941" y="1837367"/>
            <a:ext cx="6089648" cy="0"/>
          </a:xfrm>
          <a:prstGeom prst="line">
            <a:avLst/>
          </a:prstGeom>
          <a:ln w="9525">
            <a:solidFill>
              <a:schemeClr val="accent6"/>
            </a:solidFill>
            <a:prstDash val="sysDot"/>
          </a:ln>
        </p:spPr>
        <p:style>
          <a:lnRef idx="1">
            <a:schemeClr val="accent1"/>
          </a:lnRef>
          <a:fillRef idx="0">
            <a:schemeClr val="accent1"/>
          </a:fillRef>
          <a:effectRef idx="0">
            <a:schemeClr val="accent1"/>
          </a:effectRef>
          <a:fontRef idx="minor">
            <a:schemeClr val="tx1"/>
          </a:fontRef>
        </p:style>
      </p:cxnSp>
      <p:cxnSp>
        <p:nvCxnSpPr>
          <p:cNvPr id="154" name="Straight Connector 153"/>
          <p:cNvCxnSpPr>
            <a:cxnSpLocks/>
          </p:cNvCxnSpPr>
          <p:nvPr/>
        </p:nvCxnSpPr>
        <p:spPr bwMode="gray">
          <a:xfrm>
            <a:off x="2624941" y="1531393"/>
            <a:ext cx="6089648" cy="0"/>
          </a:xfrm>
          <a:prstGeom prst="line">
            <a:avLst/>
          </a:prstGeom>
          <a:ln w="9525">
            <a:solidFill>
              <a:schemeClr val="accent6"/>
            </a:solidFill>
            <a:prstDash val="sysDot"/>
          </a:ln>
        </p:spPr>
        <p:style>
          <a:lnRef idx="1">
            <a:schemeClr val="accent1"/>
          </a:lnRef>
          <a:fillRef idx="0">
            <a:schemeClr val="accent1"/>
          </a:fillRef>
          <a:effectRef idx="0">
            <a:schemeClr val="accent1"/>
          </a:effectRef>
          <a:fontRef idx="minor">
            <a:schemeClr val="tx1"/>
          </a:fontRef>
        </p:style>
      </p:cxnSp>
      <p:cxnSp>
        <p:nvCxnSpPr>
          <p:cNvPr id="157" name="Straight Connector 156"/>
          <p:cNvCxnSpPr>
            <a:cxnSpLocks/>
          </p:cNvCxnSpPr>
          <p:nvPr/>
        </p:nvCxnSpPr>
        <p:spPr bwMode="gray">
          <a:xfrm>
            <a:off x="2624941" y="2261985"/>
            <a:ext cx="6089648" cy="0"/>
          </a:xfrm>
          <a:prstGeom prst="line">
            <a:avLst/>
          </a:prstGeom>
          <a:ln w="9525">
            <a:solidFill>
              <a:schemeClr val="accent6"/>
            </a:solidFill>
            <a:prstDash val="sysDot"/>
          </a:ln>
        </p:spPr>
        <p:style>
          <a:lnRef idx="1">
            <a:schemeClr val="accent1"/>
          </a:lnRef>
          <a:fillRef idx="0">
            <a:schemeClr val="accent1"/>
          </a:fillRef>
          <a:effectRef idx="0">
            <a:schemeClr val="accent1"/>
          </a:effectRef>
          <a:fontRef idx="minor">
            <a:schemeClr val="tx1"/>
          </a:fontRef>
        </p:style>
      </p:cxnSp>
      <p:grpSp>
        <p:nvGrpSpPr>
          <p:cNvPr id="10" name="Group 9"/>
          <p:cNvGrpSpPr/>
          <p:nvPr/>
        </p:nvGrpSpPr>
        <p:grpSpPr>
          <a:xfrm>
            <a:off x="255814" y="1488110"/>
            <a:ext cx="548112" cy="548112"/>
            <a:chOff x="189698" y="3492603"/>
            <a:chExt cx="548112" cy="548112"/>
          </a:xfrm>
        </p:grpSpPr>
        <p:sp>
          <p:nvSpPr>
            <p:cNvPr id="184" name="Oval 183"/>
            <p:cNvSpPr>
              <a:spLocks/>
            </p:cNvSpPr>
            <p:nvPr/>
          </p:nvSpPr>
          <p:spPr bwMode="gray">
            <a:xfrm>
              <a:off x="189698" y="3492603"/>
              <a:ext cx="548112" cy="548112"/>
            </a:xfrm>
            <a:prstGeom prst="ellipse">
              <a:avLst/>
            </a:prstGeom>
            <a:solidFill>
              <a:schemeClr val="accent3"/>
            </a:solidFill>
            <a:ln w="9525">
              <a:noFill/>
            </a:ln>
            <a:effectLst>
              <a:outerShdw blurRad="63500" dist="127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err="1">
                <a:solidFill>
                  <a:schemeClr val="tx1"/>
                </a:solidFill>
              </a:endParaRPr>
            </a:p>
          </p:txBody>
        </p:sp>
        <p:pic>
          <p:nvPicPr>
            <p:cNvPr id="200722" name="Picture 18" descr="Image result for china icon"/>
            <p:cNvPicPr>
              <a:picLocks noChangeAspect="1" noChangeArrowheads="1"/>
            </p:cNvPicPr>
            <p:nvPr/>
          </p:nvPicPr>
          <p:blipFill>
            <a:blip r:embed="rId11" cstate="email">
              <a:extLst>
                <a:ext uri="{28A0092B-C50C-407E-A947-70E740481C1C}">
                  <a14:useLocalDpi xmlns:a14="http://schemas.microsoft.com/office/drawing/2010/main"/>
                </a:ext>
              </a:extLst>
            </a:blip>
            <a:srcRect/>
            <a:stretch>
              <a:fillRect/>
            </a:stretch>
          </p:blipFill>
          <p:spPr bwMode="auto">
            <a:xfrm>
              <a:off x="215098" y="3518003"/>
              <a:ext cx="502165" cy="502165"/>
            </a:xfrm>
            <a:prstGeom prst="rect">
              <a:avLst/>
            </a:prstGeom>
            <a:noFill/>
            <a:extLst>
              <a:ext uri="{909E8E84-426E-40DD-AFC4-6F175D3DCCD1}">
                <a14:hiddenFill xmlns:a14="http://schemas.microsoft.com/office/drawing/2010/main">
                  <a:solidFill>
                    <a:srgbClr val="FFFFFF"/>
                  </a:solidFill>
                </a14:hiddenFill>
              </a:ext>
            </a:extLst>
          </p:spPr>
        </p:pic>
      </p:grpSp>
      <p:sp>
        <p:nvSpPr>
          <p:cNvPr id="116" name="Rectangle 11"/>
          <p:cNvSpPr>
            <a:spLocks noChangeArrowheads="1"/>
          </p:cNvSpPr>
          <p:nvPr/>
        </p:nvSpPr>
        <p:spPr bwMode="gray">
          <a:xfrm>
            <a:off x="2624941" y="1257529"/>
            <a:ext cx="6089648"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algn="l" defTabSz="895350">
              <a:buClr>
                <a:schemeClr val="tx2"/>
              </a:buClr>
              <a:tabLst>
                <a:tab pos="177800" algn="l"/>
              </a:tabLst>
              <a:defRPr sz="1600">
                <a:solidFill>
                  <a:schemeClr val="tx1"/>
                </a:solidFill>
                <a:latin typeface="Arial" charset="0"/>
              </a:defRPr>
            </a:lvl1pPr>
            <a:lvl2pPr marL="179388" indent="-177800" algn="l" defTabSz="895350">
              <a:buClr>
                <a:schemeClr val="tx2"/>
              </a:buClr>
              <a:buSzPct val="125000"/>
              <a:buFont typeface="Arial" charset="0"/>
              <a:buChar char="▪"/>
              <a:tabLst>
                <a:tab pos="177800" algn="l"/>
              </a:tabLst>
              <a:defRPr sz="1600">
                <a:solidFill>
                  <a:schemeClr val="tx1"/>
                </a:solidFill>
                <a:latin typeface="Arial" charset="0"/>
              </a:defRPr>
            </a:lvl2pPr>
            <a:lvl3pPr marL="1192213" indent="-304800" algn="l" defTabSz="895350">
              <a:buClr>
                <a:schemeClr val="tx2"/>
              </a:buClr>
              <a:buSzPct val="120000"/>
              <a:buFont typeface="Arial" charset="0"/>
              <a:buChar char="–"/>
              <a:tabLst>
                <a:tab pos="177800" algn="l"/>
              </a:tabLst>
              <a:defRPr sz="1600">
                <a:solidFill>
                  <a:schemeClr val="tx1"/>
                </a:solidFill>
                <a:latin typeface="Arial" charset="0"/>
              </a:defRPr>
            </a:lvl3pPr>
            <a:lvl4pPr marL="1676400" indent="-304800" algn="l" defTabSz="895350">
              <a:buClr>
                <a:schemeClr val="tx2"/>
              </a:buClr>
              <a:buSzPct val="120000"/>
              <a:buFont typeface="Arial" charset="0"/>
              <a:buChar char="▫"/>
              <a:tabLst>
                <a:tab pos="177800" algn="l"/>
              </a:tabLst>
              <a:defRPr sz="1600">
                <a:solidFill>
                  <a:schemeClr val="tx1"/>
                </a:solidFill>
                <a:latin typeface="Arial" charset="0"/>
              </a:defRPr>
            </a:lvl4pPr>
            <a:lvl5pPr marL="2160588" indent="-304800" algn="l" defTabSz="895350">
              <a:buClr>
                <a:schemeClr val="tx2"/>
              </a:buClr>
              <a:buSzPct val="89000"/>
              <a:buFont typeface="Arial" charset="0"/>
              <a:buChar char="-"/>
              <a:tabLst>
                <a:tab pos="177800" algn="l"/>
              </a:tabLst>
              <a:defRPr sz="1600">
                <a:solidFill>
                  <a:schemeClr val="tx1"/>
                </a:solidFill>
                <a:latin typeface="Arial" charset="0"/>
              </a:defRPr>
            </a:lvl5pPr>
            <a:lvl6pPr marL="2617788" indent="-304800" defTabSz="895350" fontAlgn="base">
              <a:spcBef>
                <a:spcPct val="0"/>
              </a:spcBef>
              <a:spcAft>
                <a:spcPct val="0"/>
              </a:spcAft>
              <a:buClr>
                <a:schemeClr val="tx2"/>
              </a:buClr>
              <a:buSzPct val="89000"/>
              <a:buFont typeface="Arial" charset="0"/>
              <a:buChar char="-"/>
              <a:tabLst>
                <a:tab pos="177800" algn="l"/>
              </a:tabLst>
              <a:defRPr sz="1600">
                <a:solidFill>
                  <a:schemeClr val="tx1"/>
                </a:solidFill>
                <a:latin typeface="Arial" charset="0"/>
              </a:defRPr>
            </a:lvl6pPr>
            <a:lvl7pPr marL="3074988" indent="-304800" defTabSz="895350" fontAlgn="base">
              <a:spcBef>
                <a:spcPct val="0"/>
              </a:spcBef>
              <a:spcAft>
                <a:spcPct val="0"/>
              </a:spcAft>
              <a:buClr>
                <a:schemeClr val="tx2"/>
              </a:buClr>
              <a:buSzPct val="89000"/>
              <a:buFont typeface="Arial" charset="0"/>
              <a:buChar char="-"/>
              <a:tabLst>
                <a:tab pos="177800" algn="l"/>
              </a:tabLst>
              <a:defRPr sz="1600">
                <a:solidFill>
                  <a:schemeClr val="tx1"/>
                </a:solidFill>
                <a:latin typeface="Arial" charset="0"/>
              </a:defRPr>
            </a:lvl7pPr>
            <a:lvl8pPr marL="3532188" indent="-304800" defTabSz="895350" fontAlgn="base">
              <a:spcBef>
                <a:spcPct val="0"/>
              </a:spcBef>
              <a:spcAft>
                <a:spcPct val="0"/>
              </a:spcAft>
              <a:buClr>
                <a:schemeClr val="tx2"/>
              </a:buClr>
              <a:buSzPct val="89000"/>
              <a:buFont typeface="Arial" charset="0"/>
              <a:buChar char="-"/>
              <a:tabLst>
                <a:tab pos="177800" algn="l"/>
              </a:tabLst>
              <a:defRPr sz="1600">
                <a:solidFill>
                  <a:schemeClr val="tx1"/>
                </a:solidFill>
                <a:latin typeface="Arial" charset="0"/>
              </a:defRPr>
            </a:lvl8pPr>
            <a:lvl9pPr marL="3989388" indent="-304800" defTabSz="895350" fontAlgn="base">
              <a:spcBef>
                <a:spcPct val="0"/>
              </a:spcBef>
              <a:spcAft>
                <a:spcPct val="0"/>
              </a:spcAft>
              <a:buClr>
                <a:schemeClr val="tx2"/>
              </a:buClr>
              <a:buSzPct val="89000"/>
              <a:buFont typeface="Arial" charset="0"/>
              <a:buChar char="-"/>
              <a:tabLst>
                <a:tab pos="177800" algn="l"/>
              </a:tabLst>
              <a:defRPr sz="1600">
                <a:solidFill>
                  <a:schemeClr val="tx1"/>
                </a:solidFill>
                <a:latin typeface="Arial" charset="0"/>
              </a:defRPr>
            </a:lvl9pPr>
          </a:lstStyle>
          <a:p>
            <a:pPr lvl="1"/>
            <a:r>
              <a:rPr lang="en-US" sz="800" dirty="0">
                <a:latin typeface="+mn-lt"/>
              </a:rPr>
              <a:t>Leading </a:t>
            </a:r>
            <a:r>
              <a:rPr lang="en-US" sz="800" dirty="0" err="1">
                <a:latin typeface="+mn-lt"/>
              </a:rPr>
              <a:t>speciality</a:t>
            </a:r>
            <a:r>
              <a:rPr lang="en-US" sz="800" dirty="0">
                <a:latin typeface="+mn-lt"/>
              </a:rPr>
              <a:t> steel manufacturer in China with 10mt steel capacity</a:t>
            </a:r>
          </a:p>
          <a:p>
            <a:pPr lvl="1"/>
            <a:r>
              <a:rPr lang="en-US" sz="800" dirty="0">
                <a:latin typeface="+mn-lt"/>
              </a:rPr>
              <a:t>Supported operations and merger strategy</a:t>
            </a:r>
          </a:p>
        </p:txBody>
      </p:sp>
      <p:sp>
        <p:nvSpPr>
          <p:cNvPr id="144" name="Rectangle 143"/>
          <p:cNvSpPr>
            <a:spLocks/>
          </p:cNvSpPr>
          <p:nvPr/>
        </p:nvSpPr>
        <p:spPr bwMode="gray">
          <a:xfrm>
            <a:off x="1459302" y="1257529"/>
            <a:ext cx="1087463" cy="246221"/>
          </a:xfrm>
          <a:prstGeom prst="rect">
            <a:avLst/>
          </a:prstGeom>
          <a:solidFill>
            <a:schemeClr val="bg1"/>
          </a:solid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800" dirty="0" err="1">
              <a:solidFill>
                <a:schemeClr val="tx1"/>
              </a:solidFill>
            </a:endParaRPr>
          </a:p>
        </p:txBody>
      </p:sp>
      <p:pic>
        <p:nvPicPr>
          <p:cNvPr id="149" name="Picture 10" descr="https://upload.wikimedia.org/wikipedia/commons/thumb/b/ba/CITIC_group_logo_2.svg/1200px-CITIC_group_logo_2.svg.png"/>
          <p:cNvPicPr>
            <a:picLocks noChangeAspect="1" noChangeArrowheads="1"/>
          </p:cNvPicPr>
          <p:nvPr/>
        </p:nvPicPr>
        <p:blipFill>
          <a:blip r:embed="rId12" cstate="email">
            <a:extLst>
              <a:ext uri="{28A0092B-C50C-407E-A947-70E740481C1C}">
                <a14:useLocalDpi xmlns:a14="http://schemas.microsoft.com/office/drawing/2010/main"/>
              </a:ext>
            </a:extLst>
          </a:blip>
          <a:srcRect/>
          <a:stretch>
            <a:fillRect/>
          </a:stretch>
        </p:blipFill>
        <p:spPr bwMode="gray">
          <a:xfrm>
            <a:off x="1890738" y="1269456"/>
            <a:ext cx="224591" cy="222367"/>
          </a:xfrm>
          <a:prstGeom prst="rect">
            <a:avLst/>
          </a:prstGeom>
          <a:noFill/>
          <a:extLst>
            <a:ext uri="{909E8E84-426E-40DD-AFC4-6F175D3DCCD1}">
              <a14:hiddenFill xmlns:a14="http://schemas.microsoft.com/office/drawing/2010/main">
                <a:solidFill>
                  <a:srgbClr val="FFFFFF"/>
                </a:solidFill>
              </a14:hiddenFill>
            </a:ext>
          </a:extLst>
        </p:spPr>
      </p:pic>
      <p:sp>
        <p:nvSpPr>
          <p:cNvPr id="158" name="Rectangle 11"/>
          <p:cNvSpPr>
            <a:spLocks noChangeArrowheads="1"/>
          </p:cNvSpPr>
          <p:nvPr/>
        </p:nvSpPr>
        <p:spPr bwMode="gray">
          <a:xfrm>
            <a:off x="2624941" y="1559036"/>
            <a:ext cx="6089648"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algn="l" defTabSz="895350">
              <a:buClr>
                <a:schemeClr val="tx2"/>
              </a:buClr>
              <a:tabLst>
                <a:tab pos="177800" algn="l"/>
              </a:tabLst>
              <a:defRPr sz="1600">
                <a:solidFill>
                  <a:schemeClr val="tx1"/>
                </a:solidFill>
                <a:latin typeface="Arial" charset="0"/>
              </a:defRPr>
            </a:lvl1pPr>
            <a:lvl2pPr marL="179388" indent="-177800" algn="l" defTabSz="895350">
              <a:buClr>
                <a:schemeClr val="tx2"/>
              </a:buClr>
              <a:buSzPct val="125000"/>
              <a:buFont typeface="Arial" charset="0"/>
              <a:buChar char="▪"/>
              <a:tabLst>
                <a:tab pos="177800" algn="l"/>
              </a:tabLst>
              <a:defRPr sz="1600">
                <a:solidFill>
                  <a:schemeClr val="tx1"/>
                </a:solidFill>
                <a:latin typeface="Arial" charset="0"/>
              </a:defRPr>
            </a:lvl2pPr>
            <a:lvl3pPr marL="1192213" indent="-304800" algn="l" defTabSz="895350">
              <a:buClr>
                <a:schemeClr val="tx2"/>
              </a:buClr>
              <a:buSzPct val="120000"/>
              <a:buFont typeface="Arial" charset="0"/>
              <a:buChar char="–"/>
              <a:tabLst>
                <a:tab pos="177800" algn="l"/>
              </a:tabLst>
              <a:defRPr sz="1600">
                <a:solidFill>
                  <a:schemeClr val="tx1"/>
                </a:solidFill>
                <a:latin typeface="Arial" charset="0"/>
              </a:defRPr>
            </a:lvl3pPr>
            <a:lvl4pPr marL="1676400" indent="-304800" algn="l" defTabSz="895350">
              <a:buClr>
                <a:schemeClr val="tx2"/>
              </a:buClr>
              <a:buSzPct val="120000"/>
              <a:buFont typeface="Arial" charset="0"/>
              <a:buChar char="▫"/>
              <a:tabLst>
                <a:tab pos="177800" algn="l"/>
              </a:tabLst>
              <a:defRPr sz="1600">
                <a:solidFill>
                  <a:schemeClr val="tx1"/>
                </a:solidFill>
                <a:latin typeface="Arial" charset="0"/>
              </a:defRPr>
            </a:lvl4pPr>
            <a:lvl5pPr marL="2160588" indent="-304800" algn="l" defTabSz="895350">
              <a:buClr>
                <a:schemeClr val="tx2"/>
              </a:buClr>
              <a:buSzPct val="89000"/>
              <a:buFont typeface="Arial" charset="0"/>
              <a:buChar char="-"/>
              <a:tabLst>
                <a:tab pos="177800" algn="l"/>
              </a:tabLst>
              <a:defRPr sz="1600">
                <a:solidFill>
                  <a:schemeClr val="tx1"/>
                </a:solidFill>
                <a:latin typeface="Arial" charset="0"/>
              </a:defRPr>
            </a:lvl5pPr>
            <a:lvl6pPr marL="2617788" indent="-304800" defTabSz="895350" fontAlgn="base">
              <a:spcBef>
                <a:spcPct val="0"/>
              </a:spcBef>
              <a:spcAft>
                <a:spcPct val="0"/>
              </a:spcAft>
              <a:buClr>
                <a:schemeClr val="tx2"/>
              </a:buClr>
              <a:buSzPct val="89000"/>
              <a:buFont typeface="Arial" charset="0"/>
              <a:buChar char="-"/>
              <a:tabLst>
                <a:tab pos="177800" algn="l"/>
              </a:tabLst>
              <a:defRPr sz="1600">
                <a:solidFill>
                  <a:schemeClr val="tx1"/>
                </a:solidFill>
                <a:latin typeface="Arial" charset="0"/>
              </a:defRPr>
            </a:lvl6pPr>
            <a:lvl7pPr marL="3074988" indent="-304800" defTabSz="895350" fontAlgn="base">
              <a:spcBef>
                <a:spcPct val="0"/>
              </a:spcBef>
              <a:spcAft>
                <a:spcPct val="0"/>
              </a:spcAft>
              <a:buClr>
                <a:schemeClr val="tx2"/>
              </a:buClr>
              <a:buSzPct val="89000"/>
              <a:buFont typeface="Arial" charset="0"/>
              <a:buChar char="-"/>
              <a:tabLst>
                <a:tab pos="177800" algn="l"/>
              </a:tabLst>
              <a:defRPr sz="1600">
                <a:solidFill>
                  <a:schemeClr val="tx1"/>
                </a:solidFill>
                <a:latin typeface="Arial" charset="0"/>
              </a:defRPr>
            </a:lvl7pPr>
            <a:lvl8pPr marL="3532188" indent="-304800" defTabSz="895350" fontAlgn="base">
              <a:spcBef>
                <a:spcPct val="0"/>
              </a:spcBef>
              <a:spcAft>
                <a:spcPct val="0"/>
              </a:spcAft>
              <a:buClr>
                <a:schemeClr val="tx2"/>
              </a:buClr>
              <a:buSzPct val="89000"/>
              <a:buFont typeface="Arial" charset="0"/>
              <a:buChar char="-"/>
              <a:tabLst>
                <a:tab pos="177800" algn="l"/>
              </a:tabLst>
              <a:defRPr sz="1600">
                <a:solidFill>
                  <a:schemeClr val="tx1"/>
                </a:solidFill>
                <a:latin typeface="Arial" charset="0"/>
              </a:defRPr>
            </a:lvl8pPr>
            <a:lvl9pPr marL="3989388" indent="-304800" defTabSz="895350" fontAlgn="base">
              <a:spcBef>
                <a:spcPct val="0"/>
              </a:spcBef>
              <a:spcAft>
                <a:spcPct val="0"/>
              </a:spcAft>
              <a:buClr>
                <a:schemeClr val="tx2"/>
              </a:buClr>
              <a:buSzPct val="89000"/>
              <a:buFont typeface="Arial" charset="0"/>
              <a:buChar char="-"/>
              <a:tabLst>
                <a:tab pos="177800" algn="l"/>
              </a:tabLst>
              <a:defRPr sz="1600">
                <a:solidFill>
                  <a:schemeClr val="tx1"/>
                </a:solidFill>
                <a:latin typeface="Arial" charset="0"/>
              </a:defRPr>
            </a:lvl9pPr>
          </a:lstStyle>
          <a:p>
            <a:pPr lvl="1"/>
            <a:r>
              <a:rPr lang="en-US" sz="800" dirty="0">
                <a:latin typeface="+mn-lt"/>
              </a:rPr>
              <a:t>Leading state owned enterprise (</a:t>
            </a:r>
            <a:r>
              <a:rPr lang="en-US" sz="800" dirty="0" err="1">
                <a:latin typeface="+mn-lt"/>
              </a:rPr>
              <a:t>SOE</a:t>
            </a:r>
            <a:r>
              <a:rPr lang="en-US" sz="800" dirty="0">
                <a:latin typeface="+mn-lt"/>
              </a:rPr>
              <a:t>) with 10mt steel capacity</a:t>
            </a:r>
          </a:p>
          <a:p>
            <a:pPr lvl="1"/>
            <a:r>
              <a:rPr lang="en-US" sz="800" dirty="0">
                <a:latin typeface="+mn-lt"/>
              </a:rPr>
              <a:t>Supported operation transformation and </a:t>
            </a:r>
            <a:r>
              <a:rPr lang="en-US" sz="800" dirty="0" err="1">
                <a:latin typeface="+mn-lt"/>
              </a:rPr>
              <a:t>M&amp;S</a:t>
            </a:r>
            <a:endParaRPr lang="en-US" sz="800" dirty="0">
              <a:latin typeface="+mn-lt"/>
            </a:endParaRPr>
          </a:p>
        </p:txBody>
      </p:sp>
      <p:pic>
        <p:nvPicPr>
          <p:cNvPr id="148" name="Picture 147"/>
          <p:cNvPicPr>
            <a:picLocks noChangeAspect="1"/>
          </p:cNvPicPr>
          <p:nvPr/>
        </p:nvPicPr>
        <p:blipFill rotWithShape="1">
          <a:blip r:embed="rId13" cstate="email">
            <a:extLst>
              <a:ext uri="{28A0092B-C50C-407E-A947-70E740481C1C}">
                <a14:useLocalDpi xmlns:a14="http://schemas.microsoft.com/office/drawing/2010/main"/>
              </a:ext>
            </a:extLst>
          </a:blip>
          <a:srcRect t="17717" b="17716"/>
          <a:stretch/>
        </p:blipFill>
        <p:spPr bwMode="gray">
          <a:xfrm>
            <a:off x="1611760" y="1585119"/>
            <a:ext cx="782546" cy="198536"/>
          </a:xfrm>
          <a:prstGeom prst="rect">
            <a:avLst/>
          </a:prstGeom>
        </p:spPr>
      </p:pic>
      <p:sp>
        <p:nvSpPr>
          <p:cNvPr id="150" name="Rectangle 149"/>
          <p:cNvSpPr>
            <a:spLocks/>
          </p:cNvSpPr>
          <p:nvPr/>
        </p:nvSpPr>
        <p:spPr bwMode="gray">
          <a:xfrm>
            <a:off x="1459302" y="1559036"/>
            <a:ext cx="1087463" cy="250688"/>
          </a:xfrm>
          <a:prstGeom prst="rect">
            <a:avLst/>
          </a:prstGeom>
          <a:no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800" dirty="0" err="1">
              <a:solidFill>
                <a:schemeClr val="tx1"/>
              </a:solidFill>
            </a:endParaRPr>
          </a:p>
        </p:txBody>
      </p:sp>
      <p:sp>
        <p:nvSpPr>
          <p:cNvPr id="121" name="Rectangle 11"/>
          <p:cNvSpPr>
            <a:spLocks noChangeArrowheads="1"/>
          </p:cNvSpPr>
          <p:nvPr/>
        </p:nvSpPr>
        <p:spPr bwMode="gray">
          <a:xfrm>
            <a:off x="2624941" y="933023"/>
            <a:ext cx="6089648"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algn="l" defTabSz="895350">
              <a:buClr>
                <a:schemeClr val="tx2"/>
              </a:buClr>
              <a:tabLst>
                <a:tab pos="177800" algn="l"/>
              </a:tabLst>
              <a:defRPr sz="1600">
                <a:solidFill>
                  <a:schemeClr val="tx1"/>
                </a:solidFill>
                <a:latin typeface="Arial" charset="0"/>
              </a:defRPr>
            </a:lvl1pPr>
            <a:lvl2pPr marL="179388" indent="-177800" algn="l" defTabSz="895350">
              <a:buClr>
                <a:schemeClr val="tx2"/>
              </a:buClr>
              <a:buSzPct val="125000"/>
              <a:buFont typeface="Arial" charset="0"/>
              <a:buChar char="▪"/>
              <a:tabLst>
                <a:tab pos="177800" algn="l"/>
              </a:tabLst>
              <a:defRPr sz="1600">
                <a:solidFill>
                  <a:schemeClr val="tx1"/>
                </a:solidFill>
                <a:latin typeface="Arial" charset="0"/>
              </a:defRPr>
            </a:lvl2pPr>
            <a:lvl3pPr marL="1192213" indent="-304800" algn="l" defTabSz="895350">
              <a:buClr>
                <a:schemeClr val="tx2"/>
              </a:buClr>
              <a:buSzPct val="120000"/>
              <a:buFont typeface="Arial" charset="0"/>
              <a:buChar char="–"/>
              <a:tabLst>
                <a:tab pos="177800" algn="l"/>
              </a:tabLst>
              <a:defRPr sz="1600">
                <a:solidFill>
                  <a:schemeClr val="tx1"/>
                </a:solidFill>
                <a:latin typeface="Arial" charset="0"/>
              </a:defRPr>
            </a:lvl3pPr>
            <a:lvl4pPr marL="1676400" indent="-304800" algn="l" defTabSz="895350">
              <a:buClr>
                <a:schemeClr val="tx2"/>
              </a:buClr>
              <a:buSzPct val="120000"/>
              <a:buFont typeface="Arial" charset="0"/>
              <a:buChar char="▫"/>
              <a:tabLst>
                <a:tab pos="177800" algn="l"/>
              </a:tabLst>
              <a:defRPr sz="1600">
                <a:solidFill>
                  <a:schemeClr val="tx1"/>
                </a:solidFill>
                <a:latin typeface="Arial" charset="0"/>
              </a:defRPr>
            </a:lvl4pPr>
            <a:lvl5pPr marL="2160588" indent="-304800" algn="l" defTabSz="895350">
              <a:buClr>
                <a:schemeClr val="tx2"/>
              </a:buClr>
              <a:buSzPct val="89000"/>
              <a:buFont typeface="Arial" charset="0"/>
              <a:buChar char="-"/>
              <a:tabLst>
                <a:tab pos="177800" algn="l"/>
              </a:tabLst>
              <a:defRPr sz="1600">
                <a:solidFill>
                  <a:schemeClr val="tx1"/>
                </a:solidFill>
                <a:latin typeface="Arial" charset="0"/>
              </a:defRPr>
            </a:lvl5pPr>
            <a:lvl6pPr marL="2617788" indent="-304800" defTabSz="895350" fontAlgn="base">
              <a:spcBef>
                <a:spcPct val="0"/>
              </a:spcBef>
              <a:spcAft>
                <a:spcPct val="0"/>
              </a:spcAft>
              <a:buClr>
                <a:schemeClr val="tx2"/>
              </a:buClr>
              <a:buSzPct val="89000"/>
              <a:buFont typeface="Arial" charset="0"/>
              <a:buChar char="-"/>
              <a:tabLst>
                <a:tab pos="177800" algn="l"/>
              </a:tabLst>
              <a:defRPr sz="1600">
                <a:solidFill>
                  <a:schemeClr val="tx1"/>
                </a:solidFill>
                <a:latin typeface="Arial" charset="0"/>
              </a:defRPr>
            </a:lvl6pPr>
            <a:lvl7pPr marL="3074988" indent="-304800" defTabSz="895350" fontAlgn="base">
              <a:spcBef>
                <a:spcPct val="0"/>
              </a:spcBef>
              <a:spcAft>
                <a:spcPct val="0"/>
              </a:spcAft>
              <a:buClr>
                <a:schemeClr val="tx2"/>
              </a:buClr>
              <a:buSzPct val="89000"/>
              <a:buFont typeface="Arial" charset="0"/>
              <a:buChar char="-"/>
              <a:tabLst>
                <a:tab pos="177800" algn="l"/>
              </a:tabLst>
              <a:defRPr sz="1600">
                <a:solidFill>
                  <a:schemeClr val="tx1"/>
                </a:solidFill>
                <a:latin typeface="Arial" charset="0"/>
              </a:defRPr>
            </a:lvl7pPr>
            <a:lvl8pPr marL="3532188" indent="-304800" defTabSz="895350" fontAlgn="base">
              <a:spcBef>
                <a:spcPct val="0"/>
              </a:spcBef>
              <a:spcAft>
                <a:spcPct val="0"/>
              </a:spcAft>
              <a:buClr>
                <a:schemeClr val="tx2"/>
              </a:buClr>
              <a:buSzPct val="89000"/>
              <a:buFont typeface="Arial" charset="0"/>
              <a:buChar char="-"/>
              <a:tabLst>
                <a:tab pos="177800" algn="l"/>
              </a:tabLst>
              <a:defRPr sz="1600">
                <a:solidFill>
                  <a:schemeClr val="tx1"/>
                </a:solidFill>
                <a:latin typeface="Arial" charset="0"/>
              </a:defRPr>
            </a:lvl8pPr>
            <a:lvl9pPr marL="3989388" indent="-304800" defTabSz="895350" fontAlgn="base">
              <a:spcBef>
                <a:spcPct val="0"/>
              </a:spcBef>
              <a:spcAft>
                <a:spcPct val="0"/>
              </a:spcAft>
              <a:buClr>
                <a:schemeClr val="tx2"/>
              </a:buClr>
              <a:buSzPct val="89000"/>
              <a:buFont typeface="Arial" charset="0"/>
              <a:buChar char="-"/>
              <a:tabLst>
                <a:tab pos="177800" algn="l"/>
              </a:tabLst>
              <a:defRPr sz="1600">
                <a:solidFill>
                  <a:schemeClr val="tx1"/>
                </a:solidFill>
                <a:latin typeface="Arial" charset="0"/>
              </a:defRPr>
            </a:lvl9pPr>
          </a:lstStyle>
          <a:p>
            <a:pPr lvl="1"/>
            <a:r>
              <a:rPr lang="en-US" sz="800" dirty="0">
                <a:latin typeface="+mn-lt"/>
              </a:rPr>
              <a:t>Led operational transformation program for the client</a:t>
            </a:r>
          </a:p>
          <a:p>
            <a:pPr lvl="1"/>
            <a:r>
              <a:rPr lang="en-US" sz="800" b="0" dirty="0">
                <a:latin typeface="+mn-lt"/>
              </a:rPr>
              <a:t>Focuses on technical topics such as Energy Efficiency and </a:t>
            </a:r>
            <a:r>
              <a:rPr lang="en-US" sz="800" b="0" dirty="0" err="1">
                <a:latin typeface="+mn-lt"/>
              </a:rPr>
              <a:t>VIU</a:t>
            </a:r>
            <a:endParaRPr lang="en-US" sz="800" b="0" dirty="0">
              <a:latin typeface="+mn-lt"/>
            </a:endParaRPr>
          </a:p>
        </p:txBody>
      </p:sp>
      <p:sp>
        <p:nvSpPr>
          <p:cNvPr id="145" name="Rectangle 144"/>
          <p:cNvSpPr>
            <a:spLocks/>
          </p:cNvSpPr>
          <p:nvPr/>
        </p:nvSpPr>
        <p:spPr bwMode="gray">
          <a:xfrm>
            <a:off x="1459302" y="933023"/>
            <a:ext cx="1087463" cy="269220"/>
          </a:xfrm>
          <a:prstGeom prst="rect">
            <a:avLst/>
          </a:prstGeom>
          <a:solidFill>
            <a:schemeClr val="bg1"/>
          </a:solid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800" dirty="0" err="1">
              <a:solidFill>
                <a:schemeClr val="tx1"/>
              </a:solidFill>
            </a:endParaRPr>
          </a:p>
        </p:txBody>
      </p:sp>
      <p:pic>
        <p:nvPicPr>
          <p:cNvPr id="151" name="Picture 150"/>
          <p:cNvPicPr>
            <a:picLocks noChangeAspect="1"/>
          </p:cNvPicPr>
          <p:nvPr/>
        </p:nvPicPr>
        <p:blipFill>
          <a:blip r:embed="rId14" cstate="email">
            <a:extLst>
              <a:ext uri="{28A0092B-C50C-407E-A947-70E740481C1C}">
                <a14:useLocalDpi xmlns:a14="http://schemas.microsoft.com/office/drawing/2010/main"/>
              </a:ext>
            </a:extLst>
          </a:blip>
          <a:stretch>
            <a:fillRect/>
          </a:stretch>
        </p:blipFill>
        <p:spPr>
          <a:xfrm>
            <a:off x="1876797" y="942647"/>
            <a:ext cx="252473" cy="249973"/>
          </a:xfrm>
          <a:prstGeom prst="rect">
            <a:avLst/>
          </a:prstGeom>
        </p:spPr>
      </p:pic>
      <p:sp>
        <p:nvSpPr>
          <p:cNvPr id="115" name="Rectangle 11"/>
          <p:cNvSpPr>
            <a:spLocks noChangeArrowheads="1"/>
          </p:cNvSpPr>
          <p:nvPr/>
        </p:nvSpPr>
        <p:spPr bwMode="gray">
          <a:xfrm>
            <a:off x="2624941" y="1865010"/>
            <a:ext cx="6089648"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algn="l" defTabSz="895350">
              <a:buClr>
                <a:schemeClr val="tx2"/>
              </a:buClr>
              <a:tabLst>
                <a:tab pos="177800" algn="l"/>
              </a:tabLst>
              <a:defRPr sz="1600">
                <a:solidFill>
                  <a:schemeClr val="tx1"/>
                </a:solidFill>
                <a:latin typeface="Arial" charset="0"/>
              </a:defRPr>
            </a:lvl1pPr>
            <a:lvl2pPr marL="179388" indent="-177800" algn="l" defTabSz="895350">
              <a:buClr>
                <a:schemeClr val="tx2"/>
              </a:buClr>
              <a:buSzPct val="125000"/>
              <a:buFont typeface="Arial" charset="0"/>
              <a:buChar char="▪"/>
              <a:tabLst>
                <a:tab pos="177800" algn="l"/>
              </a:tabLst>
              <a:defRPr sz="1600">
                <a:solidFill>
                  <a:schemeClr val="tx1"/>
                </a:solidFill>
                <a:latin typeface="Arial" charset="0"/>
              </a:defRPr>
            </a:lvl2pPr>
            <a:lvl3pPr marL="1192213" indent="-304800" algn="l" defTabSz="895350">
              <a:buClr>
                <a:schemeClr val="tx2"/>
              </a:buClr>
              <a:buSzPct val="120000"/>
              <a:buFont typeface="Arial" charset="0"/>
              <a:buChar char="–"/>
              <a:tabLst>
                <a:tab pos="177800" algn="l"/>
              </a:tabLst>
              <a:defRPr sz="1600">
                <a:solidFill>
                  <a:schemeClr val="tx1"/>
                </a:solidFill>
                <a:latin typeface="Arial" charset="0"/>
              </a:defRPr>
            </a:lvl3pPr>
            <a:lvl4pPr marL="1676400" indent="-304800" algn="l" defTabSz="895350">
              <a:buClr>
                <a:schemeClr val="tx2"/>
              </a:buClr>
              <a:buSzPct val="120000"/>
              <a:buFont typeface="Arial" charset="0"/>
              <a:buChar char="▫"/>
              <a:tabLst>
                <a:tab pos="177800" algn="l"/>
              </a:tabLst>
              <a:defRPr sz="1600">
                <a:solidFill>
                  <a:schemeClr val="tx1"/>
                </a:solidFill>
                <a:latin typeface="Arial" charset="0"/>
              </a:defRPr>
            </a:lvl4pPr>
            <a:lvl5pPr marL="2160588" indent="-304800" algn="l" defTabSz="895350">
              <a:buClr>
                <a:schemeClr val="tx2"/>
              </a:buClr>
              <a:buSzPct val="89000"/>
              <a:buFont typeface="Arial" charset="0"/>
              <a:buChar char="-"/>
              <a:tabLst>
                <a:tab pos="177800" algn="l"/>
              </a:tabLst>
              <a:defRPr sz="1600">
                <a:solidFill>
                  <a:schemeClr val="tx1"/>
                </a:solidFill>
                <a:latin typeface="Arial" charset="0"/>
              </a:defRPr>
            </a:lvl5pPr>
            <a:lvl6pPr marL="2617788" indent="-304800" defTabSz="895350" fontAlgn="base">
              <a:spcBef>
                <a:spcPct val="0"/>
              </a:spcBef>
              <a:spcAft>
                <a:spcPct val="0"/>
              </a:spcAft>
              <a:buClr>
                <a:schemeClr val="tx2"/>
              </a:buClr>
              <a:buSzPct val="89000"/>
              <a:buFont typeface="Arial" charset="0"/>
              <a:buChar char="-"/>
              <a:tabLst>
                <a:tab pos="177800" algn="l"/>
              </a:tabLst>
              <a:defRPr sz="1600">
                <a:solidFill>
                  <a:schemeClr val="tx1"/>
                </a:solidFill>
                <a:latin typeface="Arial" charset="0"/>
              </a:defRPr>
            </a:lvl6pPr>
            <a:lvl7pPr marL="3074988" indent="-304800" defTabSz="895350" fontAlgn="base">
              <a:spcBef>
                <a:spcPct val="0"/>
              </a:spcBef>
              <a:spcAft>
                <a:spcPct val="0"/>
              </a:spcAft>
              <a:buClr>
                <a:schemeClr val="tx2"/>
              </a:buClr>
              <a:buSzPct val="89000"/>
              <a:buFont typeface="Arial" charset="0"/>
              <a:buChar char="-"/>
              <a:tabLst>
                <a:tab pos="177800" algn="l"/>
              </a:tabLst>
              <a:defRPr sz="1600">
                <a:solidFill>
                  <a:schemeClr val="tx1"/>
                </a:solidFill>
                <a:latin typeface="Arial" charset="0"/>
              </a:defRPr>
            </a:lvl7pPr>
            <a:lvl8pPr marL="3532188" indent="-304800" defTabSz="895350" fontAlgn="base">
              <a:spcBef>
                <a:spcPct val="0"/>
              </a:spcBef>
              <a:spcAft>
                <a:spcPct val="0"/>
              </a:spcAft>
              <a:buClr>
                <a:schemeClr val="tx2"/>
              </a:buClr>
              <a:buSzPct val="89000"/>
              <a:buFont typeface="Arial" charset="0"/>
              <a:buChar char="-"/>
              <a:tabLst>
                <a:tab pos="177800" algn="l"/>
              </a:tabLst>
              <a:defRPr sz="1600">
                <a:solidFill>
                  <a:schemeClr val="tx1"/>
                </a:solidFill>
                <a:latin typeface="Arial" charset="0"/>
              </a:defRPr>
            </a:lvl8pPr>
            <a:lvl9pPr marL="3989388" indent="-304800" defTabSz="895350" fontAlgn="base">
              <a:spcBef>
                <a:spcPct val="0"/>
              </a:spcBef>
              <a:spcAft>
                <a:spcPct val="0"/>
              </a:spcAft>
              <a:buClr>
                <a:schemeClr val="tx2"/>
              </a:buClr>
              <a:buSzPct val="89000"/>
              <a:buFont typeface="Arial" charset="0"/>
              <a:buChar char="-"/>
              <a:tabLst>
                <a:tab pos="177800" algn="l"/>
              </a:tabLst>
              <a:defRPr sz="1600">
                <a:solidFill>
                  <a:schemeClr val="tx1"/>
                </a:solidFill>
                <a:latin typeface="Arial" charset="0"/>
              </a:defRPr>
            </a:lvl9pPr>
          </a:lstStyle>
          <a:p>
            <a:pPr lvl="1"/>
            <a:r>
              <a:rPr lang="en-US" sz="800" b="0" dirty="0">
                <a:latin typeface="+mn-lt"/>
              </a:rPr>
              <a:t>Leading private Chinese player in rebar and wire</a:t>
            </a:r>
            <a:r>
              <a:rPr lang="en-US" sz="800" dirty="0">
                <a:latin typeface="+mn-lt"/>
              </a:rPr>
              <a:t> with total capacity of 5mt</a:t>
            </a:r>
          </a:p>
          <a:p>
            <a:pPr lvl="1"/>
            <a:r>
              <a:rPr lang="en-US" sz="800" b="0" dirty="0">
                <a:latin typeface="+mn-lt"/>
              </a:rPr>
              <a:t>Supported 3 year transformation program covering operations, organization, marketing and sales</a:t>
            </a:r>
          </a:p>
          <a:p>
            <a:pPr lvl="1"/>
            <a:r>
              <a:rPr lang="en-US" sz="800" dirty="0">
                <a:latin typeface="+mn-lt"/>
              </a:rPr>
              <a:t>Developed non-steel asset strategy for the client</a:t>
            </a:r>
            <a:endParaRPr lang="en-US" sz="800" b="0" dirty="0">
              <a:latin typeface="+mn-lt"/>
            </a:endParaRPr>
          </a:p>
        </p:txBody>
      </p:sp>
      <p:sp>
        <p:nvSpPr>
          <p:cNvPr id="97" name="Rectangle 96"/>
          <p:cNvSpPr>
            <a:spLocks/>
          </p:cNvSpPr>
          <p:nvPr/>
        </p:nvSpPr>
        <p:spPr bwMode="gray">
          <a:xfrm>
            <a:off x="1459302" y="1865010"/>
            <a:ext cx="1087463" cy="369332"/>
          </a:xfrm>
          <a:prstGeom prst="rect">
            <a:avLst/>
          </a:prstGeom>
          <a:solidFill>
            <a:schemeClr val="bg1"/>
          </a:solid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800" dirty="0" err="1">
              <a:solidFill>
                <a:schemeClr val="tx1"/>
              </a:solidFill>
            </a:endParaRPr>
          </a:p>
        </p:txBody>
      </p:sp>
      <p:pic>
        <p:nvPicPr>
          <p:cNvPr id="152" name="Picture 151"/>
          <p:cNvPicPr>
            <a:picLocks noChangeAspect="1"/>
          </p:cNvPicPr>
          <p:nvPr/>
        </p:nvPicPr>
        <p:blipFill rotWithShape="1">
          <a:blip r:embed="rId15" cstate="email">
            <a:extLst>
              <a:ext uri="{28A0092B-C50C-407E-A947-70E740481C1C}">
                <a14:useLocalDpi xmlns:a14="http://schemas.microsoft.com/office/drawing/2010/main"/>
              </a:ext>
            </a:extLst>
          </a:blip>
          <a:srcRect/>
          <a:stretch/>
        </p:blipFill>
        <p:spPr>
          <a:xfrm>
            <a:off x="1832639" y="1888848"/>
            <a:ext cx="340788" cy="330244"/>
          </a:xfrm>
          <a:prstGeom prst="rect">
            <a:avLst/>
          </a:prstGeom>
        </p:spPr>
      </p:pic>
      <p:sp>
        <p:nvSpPr>
          <p:cNvPr id="147" name="Rectangle 11"/>
          <p:cNvSpPr>
            <a:spLocks noChangeArrowheads="1"/>
          </p:cNvSpPr>
          <p:nvPr/>
        </p:nvSpPr>
        <p:spPr bwMode="gray">
          <a:xfrm>
            <a:off x="2624941" y="2289628"/>
            <a:ext cx="6089648"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algn="l" defTabSz="895350">
              <a:buClr>
                <a:schemeClr val="tx2"/>
              </a:buClr>
              <a:tabLst>
                <a:tab pos="177800" algn="l"/>
              </a:tabLst>
              <a:defRPr sz="1600">
                <a:solidFill>
                  <a:schemeClr val="tx1"/>
                </a:solidFill>
                <a:latin typeface="Arial" charset="0"/>
              </a:defRPr>
            </a:lvl1pPr>
            <a:lvl2pPr marL="179388" indent="-177800" algn="l" defTabSz="895350">
              <a:buClr>
                <a:schemeClr val="tx2"/>
              </a:buClr>
              <a:buSzPct val="125000"/>
              <a:buFont typeface="Arial" charset="0"/>
              <a:buChar char="▪"/>
              <a:tabLst>
                <a:tab pos="177800" algn="l"/>
              </a:tabLst>
              <a:defRPr sz="1600">
                <a:solidFill>
                  <a:schemeClr val="tx1"/>
                </a:solidFill>
                <a:latin typeface="Arial" charset="0"/>
              </a:defRPr>
            </a:lvl2pPr>
            <a:lvl3pPr marL="1192213" indent="-304800" algn="l" defTabSz="895350">
              <a:buClr>
                <a:schemeClr val="tx2"/>
              </a:buClr>
              <a:buSzPct val="120000"/>
              <a:buFont typeface="Arial" charset="0"/>
              <a:buChar char="–"/>
              <a:tabLst>
                <a:tab pos="177800" algn="l"/>
              </a:tabLst>
              <a:defRPr sz="1600">
                <a:solidFill>
                  <a:schemeClr val="tx1"/>
                </a:solidFill>
                <a:latin typeface="Arial" charset="0"/>
              </a:defRPr>
            </a:lvl3pPr>
            <a:lvl4pPr marL="1676400" indent="-304800" algn="l" defTabSz="895350">
              <a:buClr>
                <a:schemeClr val="tx2"/>
              </a:buClr>
              <a:buSzPct val="120000"/>
              <a:buFont typeface="Arial" charset="0"/>
              <a:buChar char="▫"/>
              <a:tabLst>
                <a:tab pos="177800" algn="l"/>
              </a:tabLst>
              <a:defRPr sz="1600">
                <a:solidFill>
                  <a:schemeClr val="tx1"/>
                </a:solidFill>
                <a:latin typeface="Arial" charset="0"/>
              </a:defRPr>
            </a:lvl4pPr>
            <a:lvl5pPr marL="2160588" indent="-304800" algn="l" defTabSz="895350">
              <a:buClr>
                <a:schemeClr val="tx2"/>
              </a:buClr>
              <a:buSzPct val="89000"/>
              <a:buFont typeface="Arial" charset="0"/>
              <a:buChar char="-"/>
              <a:tabLst>
                <a:tab pos="177800" algn="l"/>
              </a:tabLst>
              <a:defRPr sz="1600">
                <a:solidFill>
                  <a:schemeClr val="tx1"/>
                </a:solidFill>
                <a:latin typeface="Arial" charset="0"/>
              </a:defRPr>
            </a:lvl5pPr>
            <a:lvl6pPr marL="2617788" indent="-304800" defTabSz="895350" fontAlgn="base">
              <a:spcBef>
                <a:spcPct val="0"/>
              </a:spcBef>
              <a:spcAft>
                <a:spcPct val="0"/>
              </a:spcAft>
              <a:buClr>
                <a:schemeClr val="tx2"/>
              </a:buClr>
              <a:buSzPct val="89000"/>
              <a:buFont typeface="Arial" charset="0"/>
              <a:buChar char="-"/>
              <a:tabLst>
                <a:tab pos="177800" algn="l"/>
              </a:tabLst>
              <a:defRPr sz="1600">
                <a:solidFill>
                  <a:schemeClr val="tx1"/>
                </a:solidFill>
                <a:latin typeface="Arial" charset="0"/>
              </a:defRPr>
            </a:lvl6pPr>
            <a:lvl7pPr marL="3074988" indent="-304800" defTabSz="895350" fontAlgn="base">
              <a:spcBef>
                <a:spcPct val="0"/>
              </a:spcBef>
              <a:spcAft>
                <a:spcPct val="0"/>
              </a:spcAft>
              <a:buClr>
                <a:schemeClr val="tx2"/>
              </a:buClr>
              <a:buSzPct val="89000"/>
              <a:buFont typeface="Arial" charset="0"/>
              <a:buChar char="-"/>
              <a:tabLst>
                <a:tab pos="177800" algn="l"/>
              </a:tabLst>
              <a:defRPr sz="1600">
                <a:solidFill>
                  <a:schemeClr val="tx1"/>
                </a:solidFill>
                <a:latin typeface="Arial" charset="0"/>
              </a:defRPr>
            </a:lvl7pPr>
            <a:lvl8pPr marL="3532188" indent="-304800" defTabSz="895350" fontAlgn="base">
              <a:spcBef>
                <a:spcPct val="0"/>
              </a:spcBef>
              <a:spcAft>
                <a:spcPct val="0"/>
              </a:spcAft>
              <a:buClr>
                <a:schemeClr val="tx2"/>
              </a:buClr>
              <a:buSzPct val="89000"/>
              <a:buFont typeface="Arial" charset="0"/>
              <a:buChar char="-"/>
              <a:tabLst>
                <a:tab pos="177800" algn="l"/>
              </a:tabLst>
              <a:defRPr sz="1600">
                <a:solidFill>
                  <a:schemeClr val="tx1"/>
                </a:solidFill>
                <a:latin typeface="Arial" charset="0"/>
              </a:defRPr>
            </a:lvl8pPr>
            <a:lvl9pPr marL="3989388" indent="-304800" defTabSz="895350" fontAlgn="base">
              <a:spcBef>
                <a:spcPct val="0"/>
              </a:spcBef>
              <a:spcAft>
                <a:spcPct val="0"/>
              </a:spcAft>
              <a:buClr>
                <a:schemeClr val="tx2"/>
              </a:buClr>
              <a:buSzPct val="89000"/>
              <a:buFont typeface="Arial" charset="0"/>
              <a:buChar char="-"/>
              <a:tabLst>
                <a:tab pos="177800" algn="l"/>
              </a:tabLst>
              <a:defRPr sz="1600">
                <a:solidFill>
                  <a:schemeClr val="tx1"/>
                </a:solidFill>
                <a:latin typeface="Arial" charset="0"/>
              </a:defRPr>
            </a:lvl9pPr>
          </a:lstStyle>
          <a:p>
            <a:pPr lvl="1"/>
            <a:r>
              <a:rPr lang="en-US" sz="800" b="0" dirty="0">
                <a:latin typeface="+mn-lt"/>
              </a:rPr>
              <a:t>World’s largest H beam producer with total 7mt steel capacity</a:t>
            </a:r>
          </a:p>
          <a:p>
            <a:pPr lvl="1"/>
            <a:r>
              <a:rPr lang="en-US" sz="800" dirty="0">
                <a:latin typeface="+mn-lt"/>
              </a:rPr>
              <a:t>Supported steel operational transformation</a:t>
            </a:r>
            <a:endParaRPr lang="en-US" sz="800" b="0" dirty="0">
              <a:latin typeface="+mn-lt"/>
            </a:endParaRPr>
          </a:p>
        </p:txBody>
      </p:sp>
      <p:sp>
        <p:nvSpPr>
          <p:cNvPr id="146" name="Rectangle 145"/>
          <p:cNvSpPr>
            <a:spLocks/>
          </p:cNvSpPr>
          <p:nvPr/>
        </p:nvSpPr>
        <p:spPr bwMode="gray">
          <a:xfrm>
            <a:off x="1459302" y="2289628"/>
            <a:ext cx="1087463" cy="298145"/>
          </a:xfrm>
          <a:prstGeom prst="rect">
            <a:avLst/>
          </a:prstGeom>
          <a:solidFill>
            <a:schemeClr val="bg1"/>
          </a:solid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800" dirty="0" err="1">
              <a:solidFill>
                <a:schemeClr val="tx1"/>
              </a:solidFill>
            </a:endParaRPr>
          </a:p>
        </p:txBody>
      </p:sp>
      <p:pic>
        <p:nvPicPr>
          <p:cNvPr id="155" name="Picture 20" descr="http://www.hbjx.com.cn/cyportal2.0/images_jx/index_logo.gif"/>
          <p:cNvPicPr>
            <a:picLocks noChangeAspect="1" noChangeArrowheads="1"/>
          </p:cNvPicPr>
          <p:nvPr/>
        </p:nvPicPr>
        <p:blipFill rotWithShape="1">
          <a:blip r:embed="rId16" cstate="email">
            <a:extLst>
              <a:ext uri="{28A0092B-C50C-407E-A947-70E740481C1C}">
                <a14:useLocalDpi xmlns:a14="http://schemas.microsoft.com/office/drawing/2010/main"/>
              </a:ext>
            </a:extLst>
          </a:blip>
          <a:srcRect l="3788" r="71095"/>
          <a:stretch/>
        </p:blipFill>
        <p:spPr bwMode="auto">
          <a:xfrm>
            <a:off x="1836140" y="2299789"/>
            <a:ext cx="333787" cy="277823"/>
          </a:xfrm>
          <a:prstGeom prst="rect">
            <a:avLst/>
          </a:prstGeom>
          <a:noFill/>
          <a:extLst>
            <a:ext uri="{909E8E84-426E-40DD-AFC4-6F175D3DCCD1}">
              <a14:hiddenFill xmlns:a14="http://schemas.microsoft.com/office/drawing/2010/main">
                <a:solidFill>
                  <a:srgbClr val="FFFFFF"/>
                </a:solidFill>
              </a14:hiddenFill>
            </a:ext>
          </a:extLst>
        </p:spPr>
      </p:pic>
      <p:sp>
        <p:nvSpPr>
          <p:cNvPr id="79" name="5. Source">
            <a:extLst>
              <a:ext uri="{FF2B5EF4-FFF2-40B4-BE49-F238E27FC236}">
                <a16:creationId xmlns:a16="http://schemas.microsoft.com/office/drawing/2014/main" id="{31A08710-DBCE-487A-B9C3-167FAAEFAD0C}"/>
              </a:ext>
            </a:extLst>
          </p:cNvPr>
          <p:cNvSpPr>
            <a:spLocks noChangeArrowheads="1"/>
          </p:cNvSpPr>
          <p:nvPr/>
        </p:nvSpPr>
        <p:spPr bwMode="gray">
          <a:xfrm>
            <a:off x="119063" y="6507558"/>
            <a:ext cx="7200000" cy="123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marL="609600" indent="-609600" defTabSz="895350">
              <a:tabLst>
                <a:tab pos="612775" algn="l"/>
              </a:tabLst>
            </a:pPr>
            <a:r>
              <a:rPr lang="en-US" sz="800" dirty="0">
                <a:solidFill>
                  <a:srgbClr val="808080"/>
                </a:solidFill>
                <a:latin typeface="Arial"/>
              </a:rPr>
              <a:t>SOURCE: McKinsey Global Basic Materials Practice</a:t>
            </a:r>
          </a:p>
        </p:txBody>
      </p:sp>
    </p:spTree>
    <p:extLst>
      <p:ext uri="{BB962C8B-B14F-4D97-AF65-F5344CB8AC3E}">
        <p14:creationId xmlns:p14="http://schemas.microsoft.com/office/powerpoint/2010/main" val="3089272664"/>
      </p:ext>
    </p:extLst>
  </p:cSld>
  <p:clrMapOvr>
    <a:masterClrMapping/>
  </p:clrMapOvr>
  <p:transition/>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19063" y="230188"/>
            <a:ext cx="8618537" cy="615553"/>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r>
              <a:rPr lang="en-US" dirty="0"/>
              <a:t>We partnered with major Indian steel clients across 60+ assignments in India over the last 10 years</a:t>
            </a:r>
            <a:endParaRPr lang="en-GB" dirty="0"/>
          </a:p>
        </p:txBody>
      </p:sp>
      <p:sp>
        <p:nvSpPr>
          <p:cNvPr id="4" name="Rectangle 3"/>
          <p:cNvSpPr/>
          <p:nvPr/>
        </p:nvSpPr>
        <p:spPr>
          <a:xfrm>
            <a:off x="171451" y="922287"/>
            <a:ext cx="8618537" cy="5508725"/>
          </a:xfrm>
          <a:prstGeom prst="rect">
            <a:avLst/>
          </a:prstGeom>
          <a:solidFill>
            <a:schemeClr val="bg1"/>
          </a:solidFill>
          <a:ln w="19050" cap="flat" cmpd="sng" algn="ctr">
            <a:solidFill>
              <a:schemeClr val="accent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endParaRPr lang="en-GB" sz="1400" dirty="0">
              <a:solidFill>
                <a:srgbClr val="000000"/>
              </a:solidFill>
              <a:latin typeface="+mn-lt"/>
            </a:endParaRPr>
          </a:p>
        </p:txBody>
      </p:sp>
      <p:cxnSp>
        <p:nvCxnSpPr>
          <p:cNvPr id="8" name="AutoShape 249"/>
          <p:cNvCxnSpPr>
            <a:cxnSpLocks noChangeShapeType="1"/>
            <a:stCxn id="9" idx="4"/>
            <a:endCxn id="9" idx="6"/>
          </p:cNvCxnSpPr>
          <p:nvPr/>
        </p:nvCxnSpPr>
        <p:spPr bwMode="gray">
          <a:xfrm>
            <a:off x="1618797" y="1401359"/>
            <a:ext cx="1775529" cy="0"/>
          </a:xfrm>
          <a:prstGeom prst="straightConnector1">
            <a:avLst/>
          </a:prstGeom>
          <a:solidFill>
            <a:schemeClr val="bg1"/>
          </a:solidFill>
          <a:ln w="9525">
            <a:solidFill>
              <a:schemeClr val="accent3"/>
            </a:solidFill>
          </a:ln>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9" name="AutoShape 250"/>
          <p:cNvSpPr>
            <a:spLocks noChangeArrowheads="1"/>
          </p:cNvSpPr>
          <p:nvPr/>
        </p:nvSpPr>
        <p:spPr bwMode="gray">
          <a:xfrm>
            <a:off x="1618797" y="952096"/>
            <a:ext cx="1775529" cy="449263"/>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US" sz="1400" b="1" dirty="0">
                <a:solidFill>
                  <a:schemeClr val="accent3"/>
                </a:solidFill>
                <a:latin typeface="+mn-lt"/>
              </a:rPr>
              <a:t>No. of engagements undertaken </a:t>
            </a:r>
            <a:endParaRPr lang="en-US" sz="1400" baseline="0" dirty="0">
              <a:solidFill>
                <a:schemeClr val="accent3"/>
              </a:solidFill>
              <a:latin typeface="+mn-lt"/>
            </a:endParaRPr>
          </a:p>
        </p:txBody>
      </p:sp>
      <p:cxnSp>
        <p:nvCxnSpPr>
          <p:cNvPr id="11" name="AutoShape 249"/>
          <p:cNvCxnSpPr>
            <a:cxnSpLocks noChangeShapeType="1"/>
            <a:stCxn id="12" idx="4"/>
            <a:endCxn id="12" idx="6"/>
          </p:cNvCxnSpPr>
          <p:nvPr/>
        </p:nvCxnSpPr>
        <p:spPr bwMode="gray">
          <a:xfrm>
            <a:off x="3483839" y="1401360"/>
            <a:ext cx="5247920" cy="0"/>
          </a:xfrm>
          <a:prstGeom prst="straightConnector1">
            <a:avLst/>
          </a:prstGeom>
          <a:solidFill>
            <a:schemeClr val="bg1"/>
          </a:solidFill>
          <a:ln w="9525">
            <a:solidFill>
              <a:schemeClr val="accent3"/>
            </a:solidFill>
          </a:ln>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2" name="AutoShape 250"/>
          <p:cNvSpPr>
            <a:spLocks noChangeArrowheads="1"/>
          </p:cNvSpPr>
          <p:nvPr/>
        </p:nvSpPr>
        <p:spPr bwMode="gray">
          <a:xfrm>
            <a:off x="3483839" y="1167997"/>
            <a:ext cx="5247920" cy="233363"/>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US" sz="1400" b="1" dirty="0">
                <a:solidFill>
                  <a:schemeClr val="accent3"/>
                </a:solidFill>
                <a:latin typeface="+mn-lt"/>
              </a:rPr>
              <a:t>Critical areas of impact</a:t>
            </a:r>
            <a:endParaRPr lang="en-US" sz="1400" baseline="0" dirty="0">
              <a:solidFill>
                <a:schemeClr val="accent3"/>
              </a:solidFill>
              <a:latin typeface="+mn-lt"/>
            </a:endParaRPr>
          </a:p>
        </p:txBody>
      </p:sp>
      <p:cxnSp>
        <p:nvCxnSpPr>
          <p:cNvPr id="100" name="Straight Connector 99"/>
          <p:cNvCxnSpPr>
            <a:cxnSpLocks/>
          </p:cNvCxnSpPr>
          <p:nvPr/>
        </p:nvCxnSpPr>
        <p:spPr>
          <a:xfrm>
            <a:off x="238866" y="2436438"/>
            <a:ext cx="8492894" cy="0"/>
          </a:xfrm>
          <a:prstGeom prst="line">
            <a:avLst/>
          </a:prstGeom>
          <a:ln w="19050" cmpd="sng">
            <a:solidFill>
              <a:srgbClr val="808080"/>
            </a:solidFill>
            <a:prstDash val="sysDot"/>
          </a:ln>
        </p:spPr>
        <p:style>
          <a:lnRef idx="1">
            <a:schemeClr val="accent1"/>
          </a:lnRef>
          <a:fillRef idx="0">
            <a:schemeClr val="accent1"/>
          </a:fillRef>
          <a:effectRef idx="0">
            <a:schemeClr val="accent1"/>
          </a:effectRef>
          <a:fontRef idx="minor">
            <a:schemeClr val="tx1"/>
          </a:fontRef>
        </p:style>
      </p:cxnSp>
      <p:cxnSp>
        <p:nvCxnSpPr>
          <p:cNvPr id="101" name="Straight Connector 100"/>
          <p:cNvCxnSpPr>
            <a:cxnSpLocks/>
          </p:cNvCxnSpPr>
          <p:nvPr/>
        </p:nvCxnSpPr>
        <p:spPr>
          <a:xfrm>
            <a:off x="238866" y="4504368"/>
            <a:ext cx="8492894" cy="0"/>
          </a:xfrm>
          <a:prstGeom prst="line">
            <a:avLst/>
          </a:prstGeom>
          <a:ln w="19050" cmpd="sng">
            <a:solidFill>
              <a:srgbClr val="808080"/>
            </a:solidFill>
            <a:prstDash val="sysDot"/>
          </a:ln>
        </p:spPr>
        <p:style>
          <a:lnRef idx="1">
            <a:schemeClr val="accent1"/>
          </a:lnRef>
          <a:fillRef idx="0">
            <a:schemeClr val="accent1"/>
          </a:fillRef>
          <a:effectRef idx="0">
            <a:schemeClr val="accent1"/>
          </a:effectRef>
          <a:fontRef idx="minor">
            <a:schemeClr val="tx1"/>
          </a:fontRef>
        </p:style>
      </p:cxnSp>
      <p:cxnSp>
        <p:nvCxnSpPr>
          <p:cNvPr id="102" name="Straight Connector 101"/>
          <p:cNvCxnSpPr>
            <a:cxnSpLocks/>
          </p:cNvCxnSpPr>
          <p:nvPr/>
        </p:nvCxnSpPr>
        <p:spPr>
          <a:xfrm>
            <a:off x="238866" y="5499860"/>
            <a:ext cx="8492894" cy="0"/>
          </a:xfrm>
          <a:prstGeom prst="line">
            <a:avLst/>
          </a:prstGeom>
          <a:ln w="19050" cmpd="sng">
            <a:solidFill>
              <a:srgbClr val="808080"/>
            </a:solidFill>
            <a:prstDash val="sysDot"/>
          </a:ln>
        </p:spPr>
        <p:style>
          <a:lnRef idx="1">
            <a:schemeClr val="accent1"/>
          </a:lnRef>
          <a:fillRef idx="0">
            <a:schemeClr val="accent1"/>
          </a:fillRef>
          <a:effectRef idx="0">
            <a:schemeClr val="accent1"/>
          </a:effectRef>
          <a:fontRef idx="minor">
            <a:schemeClr val="tx1"/>
          </a:fontRef>
        </p:style>
      </p:cxnSp>
      <p:cxnSp>
        <p:nvCxnSpPr>
          <p:cNvPr id="73" name="Straight Connector 72"/>
          <p:cNvCxnSpPr>
            <a:cxnSpLocks/>
          </p:cNvCxnSpPr>
          <p:nvPr/>
        </p:nvCxnSpPr>
        <p:spPr>
          <a:xfrm>
            <a:off x="238866" y="3470403"/>
            <a:ext cx="8492894" cy="0"/>
          </a:xfrm>
          <a:prstGeom prst="line">
            <a:avLst/>
          </a:prstGeom>
          <a:ln w="19050" cmpd="sng">
            <a:solidFill>
              <a:srgbClr val="808080"/>
            </a:solidFill>
            <a:prstDash val="sysDot"/>
          </a:ln>
        </p:spPr>
        <p:style>
          <a:lnRef idx="1">
            <a:schemeClr val="accent1"/>
          </a:lnRef>
          <a:fillRef idx="0">
            <a:schemeClr val="accent1"/>
          </a:fillRef>
          <a:effectRef idx="0">
            <a:schemeClr val="accent1"/>
          </a:effectRef>
          <a:fontRef idx="minor">
            <a:schemeClr val="tx1"/>
          </a:fontRef>
        </p:style>
      </p:cxnSp>
      <p:sp>
        <p:nvSpPr>
          <p:cNvPr id="13" name="TextBox 12"/>
          <p:cNvSpPr txBox="1">
            <a:spLocks/>
          </p:cNvSpPr>
          <p:nvPr/>
        </p:nvSpPr>
        <p:spPr>
          <a:xfrm>
            <a:off x="3483840" y="1450095"/>
            <a:ext cx="5247920" cy="938719"/>
          </a:xfrm>
          <a:prstGeom prst="rect">
            <a:avLst/>
          </a:prstGeom>
        </p:spPr>
        <p:txBody>
          <a:bodyPr vert="horz" wrap="square" lIns="0" tIns="0" rIns="0" bIns="0" rtlCol="0">
            <a:sp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1">
              <a:spcAft>
                <a:spcPts val="300"/>
              </a:spcAft>
            </a:pPr>
            <a:r>
              <a:rPr lang="en-US" dirty="0"/>
              <a:t>Plant Operations Excellence, Logistics Transformation</a:t>
            </a:r>
          </a:p>
          <a:p>
            <a:pPr lvl="1">
              <a:spcAft>
                <a:spcPts val="300"/>
              </a:spcAft>
            </a:pPr>
            <a:r>
              <a:rPr lang="en-US" dirty="0"/>
              <a:t>Iron ore and metals end game </a:t>
            </a:r>
          </a:p>
          <a:p>
            <a:pPr lvl="1">
              <a:spcAft>
                <a:spcPts val="300"/>
              </a:spcAft>
            </a:pPr>
            <a:r>
              <a:rPr lang="en-US" dirty="0"/>
              <a:t>Procurement operations, Project acceleration and capability building</a:t>
            </a:r>
            <a:endParaRPr lang="en-GB" dirty="0"/>
          </a:p>
        </p:txBody>
      </p:sp>
      <p:sp>
        <p:nvSpPr>
          <p:cNvPr id="87" name="Oval 86"/>
          <p:cNvSpPr/>
          <p:nvPr/>
        </p:nvSpPr>
        <p:spPr>
          <a:xfrm>
            <a:off x="2110629" y="1796583"/>
            <a:ext cx="791866" cy="307298"/>
          </a:xfrm>
          <a:prstGeom prst="ellipse">
            <a:avLst/>
          </a:prstGeom>
          <a:solidFill>
            <a:schemeClr val="tx2"/>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bg1"/>
                </a:solidFill>
              </a:rPr>
              <a:t>21</a:t>
            </a:r>
            <a:endParaRPr lang="en-GB" sz="1400" b="1" dirty="0">
              <a:solidFill>
                <a:schemeClr val="bg1"/>
              </a:solidFill>
            </a:endParaRPr>
          </a:p>
        </p:txBody>
      </p:sp>
      <p:sp>
        <p:nvSpPr>
          <p:cNvPr id="18" name="Rectangle 17"/>
          <p:cNvSpPr>
            <a:spLocks/>
          </p:cNvSpPr>
          <p:nvPr/>
        </p:nvSpPr>
        <p:spPr>
          <a:xfrm>
            <a:off x="238866" y="1450096"/>
            <a:ext cx="1290418" cy="938719"/>
          </a:xfrm>
          <a:prstGeom prst="rect">
            <a:avLst/>
          </a:prstGeom>
          <a:solidFill>
            <a:schemeClr val="accent2"/>
          </a:solid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noAutofit/>
          </a:bodyPr>
          <a:lstStyle/>
          <a:p>
            <a:r>
              <a:rPr lang="en-GB" sz="1400" b="1" dirty="0">
                <a:solidFill>
                  <a:schemeClr val="bg1"/>
                </a:solidFill>
              </a:rPr>
              <a:t>Operations</a:t>
            </a:r>
          </a:p>
        </p:txBody>
      </p:sp>
      <p:sp>
        <p:nvSpPr>
          <p:cNvPr id="23" name="Freeform 22"/>
          <p:cNvSpPr>
            <a:spLocks noEditPoints="1"/>
          </p:cNvSpPr>
          <p:nvPr/>
        </p:nvSpPr>
        <p:spPr bwMode="auto">
          <a:xfrm>
            <a:off x="842449" y="1845170"/>
            <a:ext cx="639234" cy="511329"/>
          </a:xfrm>
          <a:custGeom>
            <a:avLst/>
            <a:gdLst>
              <a:gd name="T0" fmla="*/ 398 w 430"/>
              <a:gd name="T1" fmla="*/ 129 h 398"/>
              <a:gd name="T2" fmla="*/ 430 w 430"/>
              <a:gd name="T3" fmla="*/ 113 h 398"/>
              <a:gd name="T4" fmla="*/ 402 w 430"/>
              <a:gd name="T5" fmla="*/ 83 h 398"/>
              <a:gd name="T6" fmla="*/ 397 w 430"/>
              <a:gd name="T7" fmla="*/ 70 h 398"/>
              <a:gd name="T8" fmla="*/ 394 w 430"/>
              <a:gd name="T9" fmla="*/ 31 h 398"/>
              <a:gd name="T10" fmla="*/ 359 w 430"/>
              <a:gd name="T11" fmla="*/ 41 h 398"/>
              <a:gd name="T12" fmla="*/ 329 w 430"/>
              <a:gd name="T13" fmla="*/ 16 h 398"/>
              <a:gd name="T14" fmla="*/ 321 w 430"/>
              <a:gd name="T15" fmla="*/ 44 h 398"/>
              <a:gd name="T16" fmla="*/ 290 w 430"/>
              <a:gd name="T17" fmla="*/ 33 h 398"/>
              <a:gd name="T18" fmla="*/ 288 w 430"/>
              <a:gd name="T19" fmla="*/ 74 h 398"/>
              <a:gd name="T20" fmla="*/ 257 w 430"/>
              <a:gd name="T21" fmla="*/ 90 h 398"/>
              <a:gd name="T22" fmla="*/ 224 w 430"/>
              <a:gd name="T23" fmla="*/ 104 h 398"/>
              <a:gd name="T24" fmla="*/ 214 w 430"/>
              <a:gd name="T25" fmla="*/ 83 h 398"/>
              <a:gd name="T26" fmla="*/ 210 w 430"/>
              <a:gd name="T27" fmla="*/ 23 h 398"/>
              <a:gd name="T28" fmla="*/ 156 w 430"/>
              <a:gd name="T29" fmla="*/ 39 h 398"/>
              <a:gd name="T30" fmla="*/ 111 w 430"/>
              <a:gd name="T31" fmla="*/ 0 h 398"/>
              <a:gd name="T32" fmla="*/ 99 w 430"/>
              <a:gd name="T33" fmla="*/ 41 h 398"/>
              <a:gd name="T34" fmla="*/ 51 w 430"/>
              <a:gd name="T35" fmla="*/ 26 h 398"/>
              <a:gd name="T36" fmla="*/ 47 w 430"/>
              <a:gd name="T37" fmla="*/ 88 h 398"/>
              <a:gd name="T38" fmla="*/ 0 w 430"/>
              <a:gd name="T39" fmla="*/ 115 h 398"/>
              <a:gd name="T40" fmla="*/ 41 w 430"/>
              <a:gd name="T41" fmla="*/ 160 h 398"/>
              <a:gd name="T42" fmla="*/ 49 w 430"/>
              <a:gd name="T43" fmla="*/ 180 h 398"/>
              <a:gd name="T44" fmla="*/ 55 w 430"/>
              <a:gd name="T45" fmla="*/ 240 h 398"/>
              <a:gd name="T46" fmla="*/ 108 w 430"/>
              <a:gd name="T47" fmla="*/ 225 h 398"/>
              <a:gd name="T48" fmla="*/ 101 w 430"/>
              <a:gd name="T49" fmla="*/ 261 h 398"/>
              <a:gd name="T50" fmla="*/ 94 w 430"/>
              <a:gd name="T51" fmla="*/ 282 h 398"/>
              <a:gd name="T52" fmla="*/ 69 w 430"/>
              <a:gd name="T53" fmla="*/ 276 h 398"/>
              <a:gd name="T54" fmla="*/ 68 w 430"/>
              <a:gd name="T55" fmla="*/ 305 h 398"/>
              <a:gd name="T56" fmla="*/ 43 w 430"/>
              <a:gd name="T57" fmla="*/ 321 h 398"/>
              <a:gd name="T58" fmla="*/ 63 w 430"/>
              <a:gd name="T59" fmla="*/ 343 h 398"/>
              <a:gd name="T60" fmla="*/ 69 w 430"/>
              <a:gd name="T61" fmla="*/ 356 h 398"/>
              <a:gd name="T62" fmla="*/ 71 w 430"/>
              <a:gd name="T63" fmla="*/ 386 h 398"/>
              <a:gd name="T64" fmla="*/ 101 w 430"/>
              <a:gd name="T65" fmla="*/ 379 h 398"/>
              <a:gd name="T66" fmla="*/ 122 w 430"/>
              <a:gd name="T67" fmla="*/ 398 h 398"/>
              <a:gd name="T68" fmla="*/ 129 w 430"/>
              <a:gd name="T69" fmla="*/ 377 h 398"/>
              <a:gd name="T70" fmla="*/ 155 w 430"/>
              <a:gd name="T71" fmla="*/ 383 h 398"/>
              <a:gd name="T72" fmla="*/ 156 w 430"/>
              <a:gd name="T73" fmla="*/ 354 h 398"/>
              <a:gd name="T74" fmla="*/ 180 w 430"/>
              <a:gd name="T75" fmla="*/ 337 h 398"/>
              <a:gd name="T76" fmla="*/ 160 w 430"/>
              <a:gd name="T77" fmla="*/ 316 h 398"/>
              <a:gd name="T78" fmla="*/ 154 w 430"/>
              <a:gd name="T79" fmla="*/ 303 h 398"/>
              <a:gd name="T80" fmla="*/ 153 w 430"/>
              <a:gd name="T81" fmla="*/ 273 h 398"/>
              <a:gd name="T82" fmla="*/ 123 w 430"/>
              <a:gd name="T83" fmla="*/ 280 h 398"/>
              <a:gd name="T84" fmla="*/ 154 w 430"/>
              <a:gd name="T85" fmla="*/ 264 h 398"/>
              <a:gd name="T86" fmla="*/ 166 w 430"/>
              <a:gd name="T87" fmla="*/ 222 h 398"/>
              <a:gd name="T88" fmla="*/ 213 w 430"/>
              <a:gd name="T89" fmla="*/ 237 h 398"/>
              <a:gd name="T90" fmla="*/ 217 w 430"/>
              <a:gd name="T91" fmla="*/ 176 h 398"/>
              <a:gd name="T92" fmla="*/ 264 w 430"/>
              <a:gd name="T93" fmla="*/ 149 h 398"/>
              <a:gd name="T94" fmla="*/ 284 w 430"/>
              <a:gd name="T95" fmla="*/ 120 h 398"/>
              <a:gd name="T96" fmla="*/ 289 w 430"/>
              <a:gd name="T97" fmla="*/ 132 h 398"/>
              <a:gd name="T98" fmla="*/ 292 w 430"/>
              <a:gd name="T99" fmla="*/ 172 h 398"/>
              <a:gd name="T100" fmla="*/ 328 w 430"/>
              <a:gd name="T101" fmla="*/ 162 h 398"/>
              <a:gd name="T102" fmla="*/ 358 w 430"/>
              <a:gd name="T103" fmla="*/ 187 h 398"/>
              <a:gd name="T104" fmla="*/ 365 w 430"/>
              <a:gd name="T105" fmla="*/ 160 h 398"/>
              <a:gd name="T106" fmla="*/ 396 w 430"/>
              <a:gd name="T107" fmla="*/ 170 h 398"/>
              <a:gd name="T108" fmla="*/ 140 w 430"/>
              <a:gd name="T109" fmla="*/ 331 h 398"/>
              <a:gd name="T110" fmla="*/ 85 w 430"/>
              <a:gd name="T111" fmla="*/ 331 h 398"/>
              <a:gd name="T112" fmla="*/ 140 w 430"/>
              <a:gd name="T113" fmla="*/ 331 h 398"/>
              <a:gd name="T114" fmla="*/ 106 w 430"/>
              <a:gd name="T115" fmla="*/ 130 h 398"/>
              <a:gd name="T116" fmla="*/ 161 w 430"/>
              <a:gd name="T117" fmla="*/ 130 h 398"/>
              <a:gd name="T118" fmla="*/ 345 w 430"/>
              <a:gd name="T119" fmla="*/ 127 h 398"/>
              <a:gd name="T120" fmla="*/ 345 w 430"/>
              <a:gd name="T121" fmla="*/ 72 h 398"/>
              <a:gd name="T122" fmla="*/ 345 w 430"/>
              <a:gd name="T123" fmla="*/ 127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30" h="398">
                <a:moveTo>
                  <a:pt x="415" y="152"/>
                </a:moveTo>
                <a:cubicBezTo>
                  <a:pt x="398" y="129"/>
                  <a:pt x="398" y="129"/>
                  <a:pt x="398" y="129"/>
                </a:cubicBezTo>
                <a:cubicBezTo>
                  <a:pt x="400" y="126"/>
                  <a:pt x="402" y="121"/>
                  <a:pt x="403" y="117"/>
                </a:cubicBezTo>
                <a:cubicBezTo>
                  <a:pt x="430" y="113"/>
                  <a:pt x="430" y="113"/>
                  <a:pt x="430" y="113"/>
                </a:cubicBezTo>
                <a:cubicBezTo>
                  <a:pt x="430" y="87"/>
                  <a:pt x="430" y="87"/>
                  <a:pt x="430" y="87"/>
                </a:cubicBezTo>
                <a:cubicBezTo>
                  <a:pt x="402" y="83"/>
                  <a:pt x="402" y="83"/>
                  <a:pt x="402" y="83"/>
                </a:cubicBezTo>
                <a:cubicBezTo>
                  <a:pt x="402" y="82"/>
                  <a:pt x="402" y="81"/>
                  <a:pt x="402" y="80"/>
                </a:cubicBezTo>
                <a:cubicBezTo>
                  <a:pt x="400" y="77"/>
                  <a:pt x="399" y="74"/>
                  <a:pt x="397" y="70"/>
                </a:cubicBezTo>
                <a:cubicBezTo>
                  <a:pt x="413" y="49"/>
                  <a:pt x="413" y="49"/>
                  <a:pt x="413" y="49"/>
                </a:cubicBezTo>
                <a:cubicBezTo>
                  <a:pt x="394" y="31"/>
                  <a:pt x="394" y="31"/>
                  <a:pt x="394" y="31"/>
                </a:cubicBezTo>
                <a:cubicBezTo>
                  <a:pt x="372" y="47"/>
                  <a:pt x="372" y="47"/>
                  <a:pt x="372" y="47"/>
                </a:cubicBezTo>
                <a:cubicBezTo>
                  <a:pt x="368" y="44"/>
                  <a:pt x="364" y="42"/>
                  <a:pt x="359" y="41"/>
                </a:cubicBezTo>
                <a:cubicBezTo>
                  <a:pt x="355" y="16"/>
                  <a:pt x="355" y="16"/>
                  <a:pt x="355" y="16"/>
                </a:cubicBezTo>
                <a:cubicBezTo>
                  <a:pt x="329" y="16"/>
                  <a:pt x="329" y="16"/>
                  <a:pt x="329" y="16"/>
                </a:cubicBezTo>
                <a:cubicBezTo>
                  <a:pt x="324" y="42"/>
                  <a:pt x="324" y="42"/>
                  <a:pt x="324" y="42"/>
                </a:cubicBezTo>
                <a:cubicBezTo>
                  <a:pt x="324" y="42"/>
                  <a:pt x="322" y="42"/>
                  <a:pt x="321" y="44"/>
                </a:cubicBezTo>
                <a:cubicBezTo>
                  <a:pt x="318" y="44"/>
                  <a:pt x="315" y="46"/>
                  <a:pt x="312" y="48"/>
                </a:cubicBezTo>
                <a:cubicBezTo>
                  <a:pt x="290" y="33"/>
                  <a:pt x="290" y="33"/>
                  <a:pt x="290" y="33"/>
                </a:cubicBezTo>
                <a:cubicBezTo>
                  <a:pt x="273" y="51"/>
                  <a:pt x="273" y="51"/>
                  <a:pt x="273" y="51"/>
                </a:cubicBezTo>
                <a:cubicBezTo>
                  <a:pt x="288" y="74"/>
                  <a:pt x="288" y="74"/>
                  <a:pt x="288" y="74"/>
                </a:cubicBezTo>
                <a:cubicBezTo>
                  <a:pt x="286" y="77"/>
                  <a:pt x="284" y="82"/>
                  <a:pt x="283" y="86"/>
                </a:cubicBezTo>
                <a:cubicBezTo>
                  <a:pt x="257" y="90"/>
                  <a:pt x="257" y="90"/>
                  <a:pt x="257" y="90"/>
                </a:cubicBezTo>
                <a:cubicBezTo>
                  <a:pt x="257" y="109"/>
                  <a:pt x="257" y="109"/>
                  <a:pt x="257" y="109"/>
                </a:cubicBezTo>
                <a:cubicBezTo>
                  <a:pt x="224" y="104"/>
                  <a:pt x="224" y="104"/>
                  <a:pt x="224" y="104"/>
                </a:cubicBezTo>
                <a:cubicBezTo>
                  <a:pt x="224" y="102"/>
                  <a:pt x="223" y="100"/>
                  <a:pt x="223" y="99"/>
                </a:cubicBezTo>
                <a:cubicBezTo>
                  <a:pt x="220" y="93"/>
                  <a:pt x="217" y="88"/>
                  <a:pt x="214" y="83"/>
                </a:cubicBezTo>
                <a:cubicBezTo>
                  <a:pt x="238" y="51"/>
                  <a:pt x="238" y="51"/>
                  <a:pt x="238" y="51"/>
                </a:cubicBezTo>
                <a:cubicBezTo>
                  <a:pt x="210" y="23"/>
                  <a:pt x="210" y="23"/>
                  <a:pt x="210" y="23"/>
                </a:cubicBezTo>
                <a:cubicBezTo>
                  <a:pt x="177" y="47"/>
                  <a:pt x="177" y="47"/>
                  <a:pt x="177" y="47"/>
                </a:cubicBezTo>
                <a:cubicBezTo>
                  <a:pt x="170" y="44"/>
                  <a:pt x="164" y="40"/>
                  <a:pt x="156" y="39"/>
                </a:cubicBezTo>
                <a:cubicBezTo>
                  <a:pt x="150" y="0"/>
                  <a:pt x="150" y="0"/>
                  <a:pt x="150" y="0"/>
                </a:cubicBezTo>
                <a:cubicBezTo>
                  <a:pt x="111" y="0"/>
                  <a:pt x="111" y="0"/>
                  <a:pt x="111" y="0"/>
                </a:cubicBezTo>
                <a:cubicBezTo>
                  <a:pt x="103" y="40"/>
                  <a:pt x="103" y="40"/>
                  <a:pt x="103" y="40"/>
                </a:cubicBezTo>
                <a:cubicBezTo>
                  <a:pt x="102" y="41"/>
                  <a:pt x="100" y="41"/>
                  <a:pt x="99" y="41"/>
                </a:cubicBezTo>
                <a:cubicBezTo>
                  <a:pt x="93" y="44"/>
                  <a:pt x="88" y="47"/>
                  <a:pt x="83" y="50"/>
                </a:cubicBezTo>
                <a:cubicBezTo>
                  <a:pt x="51" y="26"/>
                  <a:pt x="51" y="26"/>
                  <a:pt x="51" y="26"/>
                </a:cubicBezTo>
                <a:cubicBezTo>
                  <a:pt x="23" y="54"/>
                  <a:pt x="23" y="54"/>
                  <a:pt x="23" y="54"/>
                </a:cubicBezTo>
                <a:cubicBezTo>
                  <a:pt x="47" y="88"/>
                  <a:pt x="47" y="88"/>
                  <a:pt x="47" y="88"/>
                </a:cubicBezTo>
                <a:cubicBezTo>
                  <a:pt x="44" y="94"/>
                  <a:pt x="41" y="100"/>
                  <a:pt x="39" y="108"/>
                </a:cubicBezTo>
                <a:cubicBezTo>
                  <a:pt x="0" y="115"/>
                  <a:pt x="0" y="115"/>
                  <a:pt x="0" y="115"/>
                </a:cubicBezTo>
                <a:cubicBezTo>
                  <a:pt x="0" y="153"/>
                  <a:pt x="0" y="153"/>
                  <a:pt x="0" y="153"/>
                </a:cubicBezTo>
                <a:cubicBezTo>
                  <a:pt x="41" y="160"/>
                  <a:pt x="41" y="160"/>
                  <a:pt x="41" y="160"/>
                </a:cubicBezTo>
                <a:cubicBezTo>
                  <a:pt x="41" y="162"/>
                  <a:pt x="42" y="164"/>
                  <a:pt x="42" y="165"/>
                </a:cubicBezTo>
                <a:cubicBezTo>
                  <a:pt x="44" y="171"/>
                  <a:pt x="46" y="176"/>
                  <a:pt x="49" y="180"/>
                </a:cubicBezTo>
                <a:cubicBezTo>
                  <a:pt x="27" y="213"/>
                  <a:pt x="27" y="213"/>
                  <a:pt x="27" y="213"/>
                </a:cubicBezTo>
                <a:cubicBezTo>
                  <a:pt x="55" y="240"/>
                  <a:pt x="55" y="240"/>
                  <a:pt x="55" y="240"/>
                </a:cubicBezTo>
                <a:cubicBezTo>
                  <a:pt x="88" y="217"/>
                  <a:pt x="88" y="217"/>
                  <a:pt x="88" y="217"/>
                </a:cubicBezTo>
                <a:cubicBezTo>
                  <a:pt x="94" y="221"/>
                  <a:pt x="101" y="223"/>
                  <a:pt x="108" y="225"/>
                </a:cubicBezTo>
                <a:cubicBezTo>
                  <a:pt x="115" y="261"/>
                  <a:pt x="115" y="261"/>
                  <a:pt x="115" y="261"/>
                </a:cubicBezTo>
                <a:cubicBezTo>
                  <a:pt x="101" y="261"/>
                  <a:pt x="101" y="261"/>
                  <a:pt x="101" y="261"/>
                </a:cubicBezTo>
                <a:cubicBezTo>
                  <a:pt x="98" y="281"/>
                  <a:pt x="98" y="281"/>
                  <a:pt x="98" y="281"/>
                </a:cubicBezTo>
                <a:cubicBezTo>
                  <a:pt x="97" y="281"/>
                  <a:pt x="95" y="282"/>
                  <a:pt x="94" y="282"/>
                </a:cubicBezTo>
                <a:cubicBezTo>
                  <a:pt x="91" y="283"/>
                  <a:pt x="88" y="285"/>
                  <a:pt x="85" y="287"/>
                </a:cubicBezTo>
                <a:cubicBezTo>
                  <a:pt x="69" y="276"/>
                  <a:pt x="69" y="276"/>
                  <a:pt x="69" y="276"/>
                </a:cubicBezTo>
                <a:cubicBezTo>
                  <a:pt x="57" y="288"/>
                  <a:pt x="57" y="288"/>
                  <a:pt x="57" y="288"/>
                </a:cubicBezTo>
                <a:cubicBezTo>
                  <a:pt x="68" y="305"/>
                  <a:pt x="68" y="305"/>
                  <a:pt x="68" y="305"/>
                </a:cubicBezTo>
                <a:cubicBezTo>
                  <a:pt x="65" y="309"/>
                  <a:pt x="63" y="314"/>
                  <a:pt x="62" y="318"/>
                </a:cubicBezTo>
                <a:cubicBezTo>
                  <a:pt x="43" y="321"/>
                  <a:pt x="43" y="321"/>
                  <a:pt x="43" y="321"/>
                </a:cubicBezTo>
                <a:cubicBezTo>
                  <a:pt x="43" y="340"/>
                  <a:pt x="43" y="340"/>
                  <a:pt x="43" y="340"/>
                </a:cubicBezTo>
                <a:cubicBezTo>
                  <a:pt x="63" y="343"/>
                  <a:pt x="63" y="343"/>
                  <a:pt x="63" y="343"/>
                </a:cubicBezTo>
                <a:cubicBezTo>
                  <a:pt x="64" y="344"/>
                  <a:pt x="64" y="346"/>
                  <a:pt x="64" y="347"/>
                </a:cubicBezTo>
                <a:cubicBezTo>
                  <a:pt x="65" y="350"/>
                  <a:pt x="67" y="353"/>
                  <a:pt x="69" y="356"/>
                </a:cubicBezTo>
                <a:cubicBezTo>
                  <a:pt x="58" y="372"/>
                  <a:pt x="58" y="372"/>
                  <a:pt x="58" y="372"/>
                </a:cubicBezTo>
                <a:cubicBezTo>
                  <a:pt x="71" y="386"/>
                  <a:pt x="71" y="386"/>
                  <a:pt x="71" y="386"/>
                </a:cubicBezTo>
                <a:cubicBezTo>
                  <a:pt x="86" y="373"/>
                  <a:pt x="86" y="373"/>
                  <a:pt x="86" y="373"/>
                </a:cubicBezTo>
                <a:cubicBezTo>
                  <a:pt x="91" y="376"/>
                  <a:pt x="96" y="378"/>
                  <a:pt x="101" y="379"/>
                </a:cubicBezTo>
                <a:cubicBezTo>
                  <a:pt x="104" y="398"/>
                  <a:pt x="104" y="398"/>
                  <a:pt x="104" y="398"/>
                </a:cubicBezTo>
                <a:cubicBezTo>
                  <a:pt x="122" y="398"/>
                  <a:pt x="122" y="398"/>
                  <a:pt x="122" y="398"/>
                </a:cubicBezTo>
                <a:cubicBezTo>
                  <a:pt x="125" y="378"/>
                  <a:pt x="125" y="378"/>
                  <a:pt x="125" y="378"/>
                </a:cubicBezTo>
                <a:cubicBezTo>
                  <a:pt x="127" y="378"/>
                  <a:pt x="128" y="377"/>
                  <a:pt x="129" y="377"/>
                </a:cubicBezTo>
                <a:cubicBezTo>
                  <a:pt x="133" y="376"/>
                  <a:pt x="136" y="374"/>
                  <a:pt x="139" y="372"/>
                </a:cubicBezTo>
                <a:cubicBezTo>
                  <a:pt x="155" y="383"/>
                  <a:pt x="155" y="383"/>
                  <a:pt x="155" y="383"/>
                </a:cubicBezTo>
                <a:cubicBezTo>
                  <a:pt x="167" y="371"/>
                  <a:pt x="167" y="371"/>
                  <a:pt x="167" y="371"/>
                </a:cubicBezTo>
                <a:cubicBezTo>
                  <a:pt x="156" y="354"/>
                  <a:pt x="156" y="354"/>
                  <a:pt x="156" y="354"/>
                </a:cubicBezTo>
                <a:cubicBezTo>
                  <a:pt x="158" y="350"/>
                  <a:pt x="160" y="345"/>
                  <a:pt x="161" y="341"/>
                </a:cubicBezTo>
                <a:cubicBezTo>
                  <a:pt x="180" y="337"/>
                  <a:pt x="180" y="337"/>
                  <a:pt x="180" y="337"/>
                </a:cubicBezTo>
                <a:cubicBezTo>
                  <a:pt x="180" y="319"/>
                  <a:pt x="180" y="319"/>
                  <a:pt x="180" y="319"/>
                </a:cubicBezTo>
                <a:cubicBezTo>
                  <a:pt x="160" y="316"/>
                  <a:pt x="160" y="316"/>
                  <a:pt x="160" y="316"/>
                </a:cubicBezTo>
                <a:cubicBezTo>
                  <a:pt x="160" y="315"/>
                  <a:pt x="160" y="313"/>
                  <a:pt x="159" y="312"/>
                </a:cubicBezTo>
                <a:cubicBezTo>
                  <a:pt x="158" y="309"/>
                  <a:pt x="156" y="306"/>
                  <a:pt x="154" y="303"/>
                </a:cubicBezTo>
                <a:cubicBezTo>
                  <a:pt x="166" y="287"/>
                  <a:pt x="166" y="287"/>
                  <a:pt x="166" y="287"/>
                </a:cubicBezTo>
                <a:cubicBezTo>
                  <a:pt x="153" y="273"/>
                  <a:pt x="153" y="273"/>
                  <a:pt x="153" y="273"/>
                </a:cubicBezTo>
                <a:cubicBezTo>
                  <a:pt x="136" y="286"/>
                  <a:pt x="136" y="286"/>
                  <a:pt x="136" y="286"/>
                </a:cubicBezTo>
                <a:cubicBezTo>
                  <a:pt x="132" y="283"/>
                  <a:pt x="128" y="281"/>
                  <a:pt x="123" y="280"/>
                </a:cubicBezTo>
                <a:cubicBezTo>
                  <a:pt x="120" y="264"/>
                  <a:pt x="120" y="264"/>
                  <a:pt x="120" y="264"/>
                </a:cubicBezTo>
                <a:cubicBezTo>
                  <a:pt x="154" y="264"/>
                  <a:pt x="154" y="264"/>
                  <a:pt x="154" y="264"/>
                </a:cubicBezTo>
                <a:cubicBezTo>
                  <a:pt x="161" y="223"/>
                  <a:pt x="161" y="223"/>
                  <a:pt x="161" y="223"/>
                </a:cubicBezTo>
                <a:cubicBezTo>
                  <a:pt x="162" y="223"/>
                  <a:pt x="164" y="223"/>
                  <a:pt x="166" y="222"/>
                </a:cubicBezTo>
                <a:cubicBezTo>
                  <a:pt x="171" y="220"/>
                  <a:pt x="176" y="218"/>
                  <a:pt x="181" y="215"/>
                </a:cubicBezTo>
                <a:cubicBezTo>
                  <a:pt x="213" y="237"/>
                  <a:pt x="213" y="237"/>
                  <a:pt x="213" y="237"/>
                </a:cubicBezTo>
                <a:cubicBezTo>
                  <a:pt x="241" y="209"/>
                  <a:pt x="241" y="209"/>
                  <a:pt x="241" y="209"/>
                </a:cubicBezTo>
                <a:cubicBezTo>
                  <a:pt x="217" y="176"/>
                  <a:pt x="217" y="176"/>
                  <a:pt x="217" y="176"/>
                </a:cubicBezTo>
                <a:cubicBezTo>
                  <a:pt x="220" y="170"/>
                  <a:pt x="224" y="163"/>
                  <a:pt x="225" y="155"/>
                </a:cubicBezTo>
                <a:cubicBezTo>
                  <a:pt x="264" y="149"/>
                  <a:pt x="264" y="149"/>
                  <a:pt x="264" y="149"/>
                </a:cubicBezTo>
                <a:cubicBezTo>
                  <a:pt x="264" y="117"/>
                  <a:pt x="264" y="117"/>
                  <a:pt x="264" y="117"/>
                </a:cubicBezTo>
                <a:cubicBezTo>
                  <a:pt x="284" y="120"/>
                  <a:pt x="284" y="120"/>
                  <a:pt x="284" y="120"/>
                </a:cubicBezTo>
                <a:cubicBezTo>
                  <a:pt x="284" y="121"/>
                  <a:pt x="284" y="122"/>
                  <a:pt x="285" y="123"/>
                </a:cubicBezTo>
                <a:cubicBezTo>
                  <a:pt x="286" y="126"/>
                  <a:pt x="288" y="129"/>
                  <a:pt x="289" y="132"/>
                </a:cubicBezTo>
                <a:cubicBezTo>
                  <a:pt x="275" y="154"/>
                  <a:pt x="275" y="154"/>
                  <a:pt x="275" y="154"/>
                </a:cubicBezTo>
                <a:cubicBezTo>
                  <a:pt x="292" y="172"/>
                  <a:pt x="292" y="172"/>
                  <a:pt x="292" y="172"/>
                </a:cubicBezTo>
                <a:cubicBezTo>
                  <a:pt x="315" y="157"/>
                  <a:pt x="315" y="157"/>
                  <a:pt x="315" y="157"/>
                </a:cubicBezTo>
                <a:cubicBezTo>
                  <a:pt x="319" y="158"/>
                  <a:pt x="324" y="160"/>
                  <a:pt x="328" y="162"/>
                </a:cubicBezTo>
                <a:cubicBezTo>
                  <a:pt x="332" y="187"/>
                  <a:pt x="332" y="187"/>
                  <a:pt x="332" y="187"/>
                </a:cubicBezTo>
                <a:cubicBezTo>
                  <a:pt x="358" y="187"/>
                  <a:pt x="358" y="187"/>
                  <a:pt x="358" y="187"/>
                </a:cubicBezTo>
                <a:cubicBezTo>
                  <a:pt x="362" y="160"/>
                  <a:pt x="362" y="160"/>
                  <a:pt x="362" y="160"/>
                </a:cubicBezTo>
                <a:cubicBezTo>
                  <a:pt x="363" y="160"/>
                  <a:pt x="364" y="160"/>
                  <a:pt x="365" y="160"/>
                </a:cubicBezTo>
                <a:cubicBezTo>
                  <a:pt x="368" y="158"/>
                  <a:pt x="372" y="157"/>
                  <a:pt x="375" y="155"/>
                </a:cubicBezTo>
                <a:cubicBezTo>
                  <a:pt x="396" y="170"/>
                  <a:pt x="396" y="170"/>
                  <a:pt x="396" y="170"/>
                </a:cubicBezTo>
                <a:cubicBezTo>
                  <a:pt x="415" y="152"/>
                  <a:pt x="415" y="152"/>
                  <a:pt x="415" y="152"/>
                </a:cubicBezTo>
                <a:close/>
                <a:moveTo>
                  <a:pt x="140" y="331"/>
                </a:moveTo>
                <a:cubicBezTo>
                  <a:pt x="140" y="347"/>
                  <a:pt x="127" y="360"/>
                  <a:pt x="112" y="360"/>
                </a:cubicBezTo>
                <a:cubicBezTo>
                  <a:pt x="97" y="360"/>
                  <a:pt x="85" y="347"/>
                  <a:pt x="85" y="331"/>
                </a:cubicBezTo>
                <a:cubicBezTo>
                  <a:pt x="85" y="315"/>
                  <a:pt x="97" y="303"/>
                  <a:pt x="112" y="303"/>
                </a:cubicBezTo>
                <a:cubicBezTo>
                  <a:pt x="127" y="303"/>
                  <a:pt x="140" y="315"/>
                  <a:pt x="140" y="331"/>
                </a:cubicBezTo>
                <a:close/>
                <a:moveTo>
                  <a:pt x="134" y="158"/>
                </a:moveTo>
                <a:cubicBezTo>
                  <a:pt x="118" y="158"/>
                  <a:pt x="106" y="146"/>
                  <a:pt x="106" y="130"/>
                </a:cubicBezTo>
                <a:cubicBezTo>
                  <a:pt x="106" y="114"/>
                  <a:pt x="118" y="101"/>
                  <a:pt x="134" y="101"/>
                </a:cubicBezTo>
                <a:cubicBezTo>
                  <a:pt x="149" y="101"/>
                  <a:pt x="161" y="114"/>
                  <a:pt x="161" y="130"/>
                </a:cubicBezTo>
                <a:cubicBezTo>
                  <a:pt x="161" y="146"/>
                  <a:pt x="149" y="158"/>
                  <a:pt x="134" y="158"/>
                </a:cubicBezTo>
                <a:close/>
                <a:moveTo>
                  <a:pt x="345" y="127"/>
                </a:moveTo>
                <a:cubicBezTo>
                  <a:pt x="330" y="127"/>
                  <a:pt x="317" y="115"/>
                  <a:pt x="317" y="100"/>
                </a:cubicBezTo>
                <a:cubicBezTo>
                  <a:pt x="317" y="85"/>
                  <a:pt x="330" y="72"/>
                  <a:pt x="345" y="72"/>
                </a:cubicBezTo>
                <a:cubicBezTo>
                  <a:pt x="360" y="72"/>
                  <a:pt x="373" y="85"/>
                  <a:pt x="373" y="100"/>
                </a:cubicBezTo>
                <a:cubicBezTo>
                  <a:pt x="373" y="115"/>
                  <a:pt x="360" y="127"/>
                  <a:pt x="345" y="127"/>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sz="1400" dirty="0">
              <a:latin typeface="+mn-lt"/>
            </a:endParaRPr>
          </a:p>
        </p:txBody>
      </p:sp>
      <p:sp>
        <p:nvSpPr>
          <p:cNvPr id="14" name="TextBox 13"/>
          <p:cNvSpPr txBox="1">
            <a:spLocks/>
          </p:cNvSpPr>
          <p:nvPr/>
        </p:nvSpPr>
        <p:spPr>
          <a:xfrm>
            <a:off x="3483840" y="3518026"/>
            <a:ext cx="5247920" cy="938719"/>
          </a:xfrm>
          <a:prstGeom prst="rect">
            <a:avLst/>
          </a:prstGeom>
        </p:spPr>
        <p:txBody>
          <a:bodyPr vert="horz" wrap="square" lIns="0" tIns="0" rIns="0" bIns="0" rtlCol="0">
            <a:sp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1">
              <a:spcAft>
                <a:spcPts val="300"/>
              </a:spcAft>
            </a:pPr>
            <a:r>
              <a:rPr lang="en-US" dirty="0"/>
              <a:t>India-specific strategy for global clients</a:t>
            </a:r>
          </a:p>
          <a:p>
            <a:pPr lvl="1">
              <a:spcAft>
                <a:spcPts val="300"/>
              </a:spcAft>
            </a:pPr>
            <a:r>
              <a:rPr lang="en-US" dirty="0"/>
              <a:t>Corporate Strategy, Regulatory Strategy, Performance transformation of select functions</a:t>
            </a:r>
          </a:p>
          <a:p>
            <a:pPr lvl="1">
              <a:spcAft>
                <a:spcPts val="300"/>
              </a:spcAft>
            </a:pPr>
            <a:r>
              <a:rPr lang="en-US" dirty="0"/>
              <a:t>Growth Strategy for metals in emerging markets</a:t>
            </a:r>
          </a:p>
        </p:txBody>
      </p:sp>
      <p:sp>
        <p:nvSpPr>
          <p:cNvPr id="88" name="Oval 87"/>
          <p:cNvSpPr/>
          <p:nvPr/>
        </p:nvSpPr>
        <p:spPr>
          <a:xfrm>
            <a:off x="2110629" y="3833736"/>
            <a:ext cx="791866" cy="307298"/>
          </a:xfrm>
          <a:prstGeom prst="ellipse">
            <a:avLst/>
          </a:prstGeom>
          <a:solidFill>
            <a:schemeClr val="tx2"/>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bg1"/>
                </a:solidFill>
              </a:rPr>
              <a:t>17</a:t>
            </a:r>
            <a:endParaRPr lang="en-GB" sz="1400" b="1" dirty="0">
              <a:solidFill>
                <a:schemeClr val="bg1"/>
              </a:solidFill>
            </a:endParaRPr>
          </a:p>
        </p:txBody>
      </p:sp>
      <p:grpSp>
        <p:nvGrpSpPr>
          <p:cNvPr id="81" name="Group 80"/>
          <p:cNvGrpSpPr>
            <a:grpSpLocks/>
          </p:cNvGrpSpPr>
          <p:nvPr/>
        </p:nvGrpSpPr>
        <p:grpSpPr>
          <a:xfrm>
            <a:off x="238866" y="3518026"/>
            <a:ext cx="1290418" cy="938719"/>
            <a:chOff x="276257" y="3479316"/>
            <a:chExt cx="1276870" cy="1027597"/>
          </a:xfrm>
        </p:grpSpPr>
        <p:sp>
          <p:nvSpPr>
            <p:cNvPr id="19" name="Rectangle 18"/>
            <p:cNvSpPr>
              <a:spLocks/>
            </p:cNvSpPr>
            <p:nvPr/>
          </p:nvSpPr>
          <p:spPr>
            <a:xfrm>
              <a:off x="276257" y="3479316"/>
              <a:ext cx="1276870" cy="1027597"/>
            </a:xfrm>
            <a:prstGeom prst="rect">
              <a:avLst/>
            </a:prstGeom>
            <a:solidFill>
              <a:schemeClr val="accent2"/>
            </a:solid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noAutofit/>
            </a:bodyPr>
            <a:lstStyle/>
            <a:p>
              <a:r>
                <a:rPr lang="en-GB" sz="1400" b="1" dirty="0">
                  <a:solidFill>
                    <a:schemeClr val="bg1"/>
                  </a:solidFill>
                </a:rPr>
                <a:t>Strategy</a:t>
              </a:r>
            </a:p>
          </p:txBody>
        </p:sp>
        <p:grpSp>
          <p:nvGrpSpPr>
            <p:cNvPr id="77" name="Group 76"/>
            <p:cNvGrpSpPr/>
            <p:nvPr/>
          </p:nvGrpSpPr>
          <p:grpSpPr>
            <a:xfrm>
              <a:off x="879333" y="3976369"/>
              <a:ext cx="621188" cy="341908"/>
              <a:chOff x="879333" y="3976369"/>
              <a:chExt cx="621188" cy="341908"/>
            </a:xfrm>
          </p:grpSpPr>
          <p:sp>
            <p:nvSpPr>
              <p:cNvPr id="39" name="Freeform 39"/>
              <p:cNvSpPr>
                <a:spLocks/>
              </p:cNvSpPr>
              <p:nvPr/>
            </p:nvSpPr>
            <p:spPr bwMode="auto">
              <a:xfrm>
                <a:off x="925537" y="4090338"/>
                <a:ext cx="164281" cy="227939"/>
              </a:xfrm>
              <a:custGeom>
                <a:avLst/>
                <a:gdLst>
                  <a:gd name="T0" fmla="*/ 47 w 119"/>
                  <a:gd name="T1" fmla="*/ 37 h 188"/>
                  <a:gd name="T2" fmla="*/ 48 w 119"/>
                  <a:gd name="T3" fmla="*/ 71 h 188"/>
                  <a:gd name="T4" fmla="*/ 55 w 119"/>
                  <a:gd name="T5" fmla="*/ 77 h 188"/>
                  <a:gd name="T6" fmla="*/ 71 w 119"/>
                  <a:gd name="T7" fmla="*/ 77 h 188"/>
                  <a:gd name="T8" fmla="*/ 85 w 119"/>
                  <a:gd name="T9" fmla="*/ 87 h 188"/>
                  <a:gd name="T10" fmla="*/ 106 w 119"/>
                  <a:gd name="T11" fmla="*/ 142 h 188"/>
                  <a:gd name="T12" fmla="*/ 116 w 119"/>
                  <a:gd name="T13" fmla="*/ 168 h 188"/>
                  <a:gd name="T14" fmla="*/ 109 w 119"/>
                  <a:gd name="T15" fmla="*/ 185 h 188"/>
                  <a:gd name="T16" fmla="*/ 91 w 119"/>
                  <a:gd name="T17" fmla="*/ 177 h 188"/>
                  <a:gd name="T18" fmla="*/ 83 w 119"/>
                  <a:gd name="T19" fmla="*/ 156 h 188"/>
                  <a:gd name="T20" fmla="*/ 69 w 119"/>
                  <a:gd name="T21" fmla="*/ 117 h 188"/>
                  <a:gd name="T22" fmla="*/ 58 w 119"/>
                  <a:gd name="T23" fmla="*/ 110 h 188"/>
                  <a:gd name="T24" fmla="*/ 19 w 119"/>
                  <a:gd name="T25" fmla="*/ 110 h 188"/>
                  <a:gd name="T26" fmla="*/ 11 w 119"/>
                  <a:gd name="T27" fmla="*/ 109 h 188"/>
                  <a:gd name="T28" fmla="*/ 0 w 119"/>
                  <a:gd name="T29" fmla="*/ 96 h 188"/>
                  <a:gd name="T30" fmla="*/ 2 w 119"/>
                  <a:gd name="T31" fmla="*/ 40 h 188"/>
                  <a:gd name="T32" fmla="*/ 3 w 119"/>
                  <a:gd name="T33" fmla="*/ 25 h 188"/>
                  <a:gd name="T34" fmla="*/ 16 w 119"/>
                  <a:gd name="T35" fmla="*/ 4 h 188"/>
                  <a:gd name="T36" fmla="*/ 43 w 119"/>
                  <a:gd name="T37" fmla="*/ 7 h 188"/>
                  <a:gd name="T38" fmla="*/ 73 w 119"/>
                  <a:gd name="T39" fmla="*/ 29 h 188"/>
                  <a:gd name="T40" fmla="*/ 81 w 119"/>
                  <a:gd name="T41" fmla="*/ 31 h 188"/>
                  <a:gd name="T42" fmla="*/ 105 w 119"/>
                  <a:gd name="T43" fmla="*/ 32 h 188"/>
                  <a:gd name="T44" fmla="*/ 116 w 119"/>
                  <a:gd name="T45" fmla="*/ 40 h 188"/>
                  <a:gd name="T46" fmla="*/ 108 w 119"/>
                  <a:gd name="T47" fmla="*/ 50 h 188"/>
                  <a:gd name="T48" fmla="*/ 74 w 119"/>
                  <a:gd name="T49" fmla="*/ 50 h 188"/>
                  <a:gd name="T50" fmla="*/ 68 w 119"/>
                  <a:gd name="T51" fmla="*/ 48 h 188"/>
                  <a:gd name="T52" fmla="*/ 47 w 119"/>
                  <a:gd name="T53" fmla="*/ 37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19" h="188">
                    <a:moveTo>
                      <a:pt x="47" y="37"/>
                    </a:moveTo>
                    <a:cubicBezTo>
                      <a:pt x="47" y="49"/>
                      <a:pt x="47" y="60"/>
                      <a:pt x="48" y="71"/>
                    </a:cubicBezTo>
                    <a:cubicBezTo>
                      <a:pt x="48" y="75"/>
                      <a:pt x="51" y="77"/>
                      <a:pt x="55" y="77"/>
                    </a:cubicBezTo>
                    <a:cubicBezTo>
                      <a:pt x="60" y="77"/>
                      <a:pt x="65" y="78"/>
                      <a:pt x="71" y="77"/>
                    </a:cubicBezTo>
                    <a:cubicBezTo>
                      <a:pt x="78" y="77"/>
                      <a:pt x="83" y="80"/>
                      <a:pt x="85" y="87"/>
                    </a:cubicBezTo>
                    <a:cubicBezTo>
                      <a:pt x="92" y="106"/>
                      <a:pt x="99" y="124"/>
                      <a:pt x="106" y="142"/>
                    </a:cubicBezTo>
                    <a:cubicBezTo>
                      <a:pt x="110" y="151"/>
                      <a:pt x="113" y="159"/>
                      <a:pt x="116" y="168"/>
                    </a:cubicBezTo>
                    <a:cubicBezTo>
                      <a:pt x="119" y="177"/>
                      <a:pt x="117" y="182"/>
                      <a:pt x="109" y="185"/>
                    </a:cubicBezTo>
                    <a:cubicBezTo>
                      <a:pt x="102" y="188"/>
                      <a:pt x="94" y="185"/>
                      <a:pt x="91" y="177"/>
                    </a:cubicBezTo>
                    <a:cubicBezTo>
                      <a:pt x="88" y="170"/>
                      <a:pt x="86" y="163"/>
                      <a:pt x="83" y="156"/>
                    </a:cubicBezTo>
                    <a:cubicBezTo>
                      <a:pt x="78" y="143"/>
                      <a:pt x="73" y="130"/>
                      <a:pt x="69" y="117"/>
                    </a:cubicBezTo>
                    <a:cubicBezTo>
                      <a:pt x="67" y="112"/>
                      <a:pt x="64" y="110"/>
                      <a:pt x="58" y="110"/>
                    </a:cubicBezTo>
                    <a:cubicBezTo>
                      <a:pt x="45" y="111"/>
                      <a:pt x="33" y="110"/>
                      <a:pt x="19" y="110"/>
                    </a:cubicBezTo>
                    <a:cubicBezTo>
                      <a:pt x="17" y="110"/>
                      <a:pt x="13" y="110"/>
                      <a:pt x="11" y="109"/>
                    </a:cubicBezTo>
                    <a:cubicBezTo>
                      <a:pt x="3" y="108"/>
                      <a:pt x="0" y="103"/>
                      <a:pt x="0" y="96"/>
                    </a:cubicBezTo>
                    <a:cubicBezTo>
                      <a:pt x="1" y="77"/>
                      <a:pt x="2" y="58"/>
                      <a:pt x="2" y="40"/>
                    </a:cubicBezTo>
                    <a:cubicBezTo>
                      <a:pt x="3" y="35"/>
                      <a:pt x="3" y="30"/>
                      <a:pt x="3" y="25"/>
                    </a:cubicBezTo>
                    <a:cubicBezTo>
                      <a:pt x="4" y="16"/>
                      <a:pt x="7" y="8"/>
                      <a:pt x="16" y="4"/>
                    </a:cubicBezTo>
                    <a:cubicBezTo>
                      <a:pt x="26" y="0"/>
                      <a:pt x="35" y="1"/>
                      <a:pt x="43" y="7"/>
                    </a:cubicBezTo>
                    <a:cubicBezTo>
                      <a:pt x="53" y="14"/>
                      <a:pt x="63" y="22"/>
                      <a:pt x="73" y="29"/>
                    </a:cubicBezTo>
                    <a:cubicBezTo>
                      <a:pt x="76" y="30"/>
                      <a:pt x="79" y="31"/>
                      <a:pt x="81" y="31"/>
                    </a:cubicBezTo>
                    <a:cubicBezTo>
                      <a:pt x="89" y="32"/>
                      <a:pt x="97" y="31"/>
                      <a:pt x="105" y="32"/>
                    </a:cubicBezTo>
                    <a:cubicBezTo>
                      <a:pt x="112" y="32"/>
                      <a:pt x="116" y="34"/>
                      <a:pt x="116" y="40"/>
                    </a:cubicBezTo>
                    <a:cubicBezTo>
                      <a:pt x="117" y="45"/>
                      <a:pt x="114" y="50"/>
                      <a:pt x="108" y="50"/>
                    </a:cubicBezTo>
                    <a:cubicBezTo>
                      <a:pt x="97" y="50"/>
                      <a:pt x="85" y="50"/>
                      <a:pt x="74" y="50"/>
                    </a:cubicBezTo>
                    <a:cubicBezTo>
                      <a:pt x="72" y="50"/>
                      <a:pt x="70" y="49"/>
                      <a:pt x="68" y="48"/>
                    </a:cubicBezTo>
                    <a:cubicBezTo>
                      <a:pt x="61" y="45"/>
                      <a:pt x="54" y="41"/>
                      <a:pt x="47" y="37"/>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GB" sz="1400" dirty="0">
                  <a:latin typeface="+mn-lt"/>
                </a:endParaRPr>
              </a:p>
            </p:txBody>
          </p:sp>
          <p:sp>
            <p:nvSpPr>
              <p:cNvPr id="40" name="Freeform 40"/>
              <p:cNvSpPr>
                <a:spLocks/>
              </p:cNvSpPr>
              <p:nvPr/>
            </p:nvSpPr>
            <p:spPr bwMode="auto">
              <a:xfrm>
                <a:off x="1290035" y="4090338"/>
                <a:ext cx="166335" cy="227939"/>
              </a:xfrm>
              <a:custGeom>
                <a:avLst/>
                <a:gdLst>
                  <a:gd name="T0" fmla="*/ 72 w 121"/>
                  <a:gd name="T1" fmla="*/ 37 h 188"/>
                  <a:gd name="T2" fmla="*/ 55 w 121"/>
                  <a:gd name="T3" fmla="*/ 46 h 188"/>
                  <a:gd name="T4" fmla="*/ 41 w 121"/>
                  <a:gd name="T5" fmla="*/ 50 h 188"/>
                  <a:gd name="T6" fmla="*/ 15 w 121"/>
                  <a:gd name="T7" fmla="*/ 50 h 188"/>
                  <a:gd name="T8" fmla="*/ 9 w 121"/>
                  <a:gd name="T9" fmla="*/ 49 h 188"/>
                  <a:gd name="T10" fmla="*/ 3 w 121"/>
                  <a:gd name="T11" fmla="*/ 39 h 188"/>
                  <a:gd name="T12" fmla="*/ 12 w 121"/>
                  <a:gd name="T13" fmla="*/ 32 h 188"/>
                  <a:gd name="T14" fmla="*/ 38 w 121"/>
                  <a:gd name="T15" fmla="*/ 31 h 188"/>
                  <a:gd name="T16" fmla="*/ 46 w 121"/>
                  <a:gd name="T17" fmla="*/ 29 h 188"/>
                  <a:gd name="T18" fmla="*/ 76 w 121"/>
                  <a:gd name="T19" fmla="*/ 7 h 188"/>
                  <a:gd name="T20" fmla="*/ 104 w 121"/>
                  <a:gd name="T21" fmla="*/ 4 h 188"/>
                  <a:gd name="T22" fmla="*/ 117 w 121"/>
                  <a:gd name="T23" fmla="*/ 26 h 188"/>
                  <a:gd name="T24" fmla="*/ 117 w 121"/>
                  <a:gd name="T25" fmla="*/ 40 h 188"/>
                  <a:gd name="T26" fmla="*/ 120 w 121"/>
                  <a:gd name="T27" fmla="*/ 93 h 188"/>
                  <a:gd name="T28" fmla="*/ 102 w 121"/>
                  <a:gd name="T29" fmla="*/ 110 h 188"/>
                  <a:gd name="T30" fmla="*/ 63 w 121"/>
                  <a:gd name="T31" fmla="*/ 110 h 188"/>
                  <a:gd name="T32" fmla="*/ 51 w 121"/>
                  <a:gd name="T33" fmla="*/ 119 h 188"/>
                  <a:gd name="T34" fmla="*/ 29 w 121"/>
                  <a:gd name="T35" fmla="*/ 176 h 188"/>
                  <a:gd name="T36" fmla="*/ 11 w 121"/>
                  <a:gd name="T37" fmla="*/ 186 h 188"/>
                  <a:gd name="T38" fmla="*/ 3 w 121"/>
                  <a:gd name="T39" fmla="*/ 169 h 188"/>
                  <a:gd name="T40" fmla="*/ 29 w 121"/>
                  <a:gd name="T41" fmla="*/ 101 h 188"/>
                  <a:gd name="T42" fmla="*/ 35 w 121"/>
                  <a:gd name="T43" fmla="*/ 84 h 188"/>
                  <a:gd name="T44" fmla="*/ 46 w 121"/>
                  <a:gd name="T45" fmla="*/ 77 h 188"/>
                  <a:gd name="T46" fmla="*/ 64 w 121"/>
                  <a:gd name="T47" fmla="*/ 77 h 188"/>
                  <a:gd name="T48" fmla="*/ 72 w 121"/>
                  <a:gd name="T49" fmla="*/ 72 h 188"/>
                  <a:gd name="T50" fmla="*/ 72 w 121"/>
                  <a:gd name="T51" fmla="*/ 37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1" h="188">
                    <a:moveTo>
                      <a:pt x="72" y="37"/>
                    </a:moveTo>
                    <a:cubicBezTo>
                      <a:pt x="66" y="40"/>
                      <a:pt x="61" y="43"/>
                      <a:pt x="55" y="46"/>
                    </a:cubicBezTo>
                    <a:cubicBezTo>
                      <a:pt x="51" y="49"/>
                      <a:pt x="46" y="50"/>
                      <a:pt x="41" y="50"/>
                    </a:cubicBezTo>
                    <a:cubicBezTo>
                      <a:pt x="32" y="50"/>
                      <a:pt x="24" y="50"/>
                      <a:pt x="15" y="50"/>
                    </a:cubicBezTo>
                    <a:cubicBezTo>
                      <a:pt x="13" y="50"/>
                      <a:pt x="11" y="50"/>
                      <a:pt x="9" y="49"/>
                    </a:cubicBezTo>
                    <a:cubicBezTo>
                      <a:pt x="5" y="47"/>
                      <a:pt x="3" y="44"/>
                      <a:pt x="3" y="39"/>
                    </a:cubicBezTo>
                    <a:cubicBezTo>
                      <a:pt x="4" y="35"/>
                      <a:pt x="7" y="32"/>
                      <a:pt x="12" y="32"/>
                    </a:cubicBezTo>
                    <a:cubicBezTo>
                      <a:pt x="21" y="31"/>
                      <a:pt x="29" y="32"/>
                      <a:pt x="38" y="31"/>
                    </a:cubicBezTo>
                    <a:cubicBezTo>
                      <a:pt x="41" y="31"/>
                      <a:pt x="44" y="30"/>
                      <a:pt x="46" y="29"/>
                    </a:cubicBezTo>
                    <a:cubicBezTo>
                      <a:pt x="57" y="22"/>
                      <a:pt x="66" y="14"/>
                      <a:pt x="76" y="7"/>
                    </a:cubicBezTo>
                    <a:cubicBezTo>
                      <a:pt x="85" y="0"/>
                      <a:pt x="94" y="0"/>
                      <a:pt x="104" y="4"/>
                    </a:cubicBezTo>
                    <a:cubicBezTo>
                      <a:pt x="113" y="9"/>
                      <a:pt x="116" y="17"/>
                      <a:pt x="117" y="26"/>
                    </a:cubicBezTo>
                    <a:cubicBezTo>
                      <a:pt x="117" y="31"/>
                      <a:pt x="117" y="36"/>
                      <a:pt x="117" y="40"/>
                    </a:cubicBezTo>
                    <a:cubicBezTo>
                      <a:pt x="118" y="58"/>
                      <a:pt x="119" y="75"/>
                      <a:pt x="120" y="93"/>
                    </a:cubicBezTo>
                    <a:cubicBezTo>
                      <a:pt x="121" y="107"/>
                      <a:pt x="113" y="110"/>
                      <a:pt x="102" y="110"/>
                    </a:cubicBezTo>
                    <a:cubicBezTo>
                      <a:pt x="89" y="111"/>
                      <a:pt x="76" y="110"/>
                      <a:pt x="63" y="110"/>
                    </a:cubicBezTo>
                    <a:cubicBezTo>
                      <a:pt x="54" y="110"/>
                      <a:pt x="54" y="111"/>
                      <a:pt x="51" y="119"/>
                    </a:cubicBezTo>
                    <a:cubicBezTo>
                      <a:pt x="43" y="138"/>
                      <a:pt x="36" y="157"/>
                      <a:pt x="29" y="176"/>
                    </a:cubicBezTo>
                    <a:cubicBezTo>
                      <a:pt x="26" y="184"/>
                      <a:pt x="19" y="188"/>
                      <a:pt x="11" y="186"/>
                    </a:cubicBezTo>
                    <a:cubicBezTo>
                      <a:pt x="3" y="183"/>
                      <a:pt x="0" y="177"/>
                      <a:pt x="3" y="169"/>
                    </a:cubicBezTo>
                    <a:cubicBezTo>
                      <a:pt x="12" y="146"/>
                      <a:pt x="20" y="123"/>
                      <a:pt x="29" y="101"/>
                    </a:cubicBezTo>
                    <a:cubicBezTo>
                      <a:pt x="31" y="95"/>
                      <a:pt x="33" y="90"/>
                      <a:pt x="35" y="84"/>
                    </a:cubicBezTo>
                    <a:cubicBezTo>
                      <a:pt x="37" y="79"/>
                      <a:pt x="41" y="77"/>
                      <a:pt x="46" y="77"/>
                    </a:cubicBezTo>
                    <a:cubicBezTo>
                      <a:pt x="52" y="77"/>
                      <a:pt x="58" y="77"/>
                      <a:pt x="64" y="77"/>
                    </a:cubicBezTo>
                    <a:cubicBezTo>
                      <a:pt x="68" y="77"/>
                      <a:pt x="72" y="76"/>
                      <a:pt x="72" y="72"/>
                    </a:cubicBezTo>
                    <a:cubicBezTo>
                      <a:pt x="72" y="60"/>
                      <a:pt x="72" y="49"/>
                      <a:pt x="72" y="37"/>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GB" sz="1400" dirty="0">
                  <a:latin typeface="+mn-lt"/>
                </a:endParaRPr>
              </a:p>
            </p:txBody>
          </p:sp>
          <p:sp>
            <p:nvSpPr>
              <p:cNvPr id="41" name="Freeform 41"/>
              <p:cNvSpPr>
                <a:spLocks/>
              </p:cNvSpPr>
              <p:nvPr/>
            </p:nvSpPr>
            <p:spPr bwMode="auto">
              <a:xfrm>
                <a:off x="1110352" y="4040084"/>
                <a:ext cx="224860" cy="74484"/>
              </a:xfrm>
              <a:custGeom>
                <a:avLst/>
                <a:gdLst>
                  <a:gd name="T0" fmla="*/ 91 w 163"/>
                  <a:gd name="T1" fmla="*/ 39 h 61"/>
                  <a:gd name="T2" fmla="*/ 91 w 163"/>
                  <a:gd name="T3" fmla="*/ 59 h 61"/>
                  <a:gd name="T4" fmla="*/ 23 w 163"/>
                  <a:gd name="T5" fmla="*/ 59 h 61"/>
                  <a:gd name="T6" fmla="*/ 23 w 163"/>
                  <a:gd name="T7" fmla="*/ 48 h 61"/>
                  <a:gd name="T8" fmla="*/ 23 w 163"/>
                  <a:gd name="T9" fmla="*/ 43 h 61"/>
                  <a:gd name="T10" fmla="*/ 21 w 163"/>
                  <a:gd name="T11" fmla="*/ 37 h 61"/>
                  <a:gd name="T12" fmla="*/ 18 w 163"/>
                  <a:gd name="T13" fmla="*/ 43 h 61"/>
                  <a:gd name="T14" fmla="*/ 18 w 163"/>
                  <a:gd name="T15" fmla="*/ 55 h 61"/>
                  <a:gd name="T16" fmla="*/ 18 w 163"/>
                  <a:gd name="T17" fmla="*/ 59 h 61"/>
                  <a:gd name="T18" fmla="*/ 0 w 163"/>
                  <a:gd name="T19" fmla="*/ 59 h 61"/>
                  <a:gd name="T20" fmla="*/ 2 w 163"/>
                  <a:gd name="T21" fmla="*/ 20 h 61"/>
                  <a:gd name="T22" fmla="*/ 24 w 163"/>
                  <a:gd name="T23" fmla="*/ 1 h 61"/>
                  <a:gd name="T24" fmla="*/ 72 w 163"/>
                  <a:gd name="T25" fmla="*/ 1 h 61"/>
                  <a:gd name="T26" fmla="*/ 87 w 163"/>
                  <a:gd name="T27" fmla="*/ 8 h 61"/>
                  <a:gd name="T28" fmla="*/ 116 w 163"/>
                  <a:gd name="T29" fmla="*/ 37 h 61"/>
                  <a:gd name="T30" fmla="*/ 125 w 163"/>
                  <a:gd name="T31" fmla="*/ 37 h 61"/>
                  <a:gd name="T32" fmla="*/ 143 w 163"/>
                  <a:gd name="T33" fmla="*/ 19 h 61"/>
                  <a:gd name="T34" fmla="*/ 149 w 163"/>
                  <a:gd name="T35" fmla="*/ 15 h 61"/>
                  <a:gd name="T36" fmla="*/ 160 w 163"/>
                  <a:gd name="T37" fmla="*/ 17 h 61"/>
                  <a:gd name="T38" fmla="*/ 159 w 163"/>
                  <a:gd name="T39" fmla="*/ 28 h 61"/>
                  <a:gd name="T40" fmla="*/ 130 w 163"/>
                  <a:gd name="T41" fmla="*/ 58 h 61"/>
                  <a:gd name="T42" fmla="*/ 124 w 163"/>
                  <a:gd name="T43" fmla="*/ 59 h 61"/>
                  <a:gd name="T44" fmla="*/ 104 w 163"/>
                  <a:gd name="T45" fmla="*/ 51 h 61"/>
                  <a:gd name="T46" fmla="*/ 92 w 163"/>
                  <a:gd name="T47" fmla="*/ 39 h 61"/>
                  <a:gd name="T48" fmla="*/ 91 w 163"/>
                  <a:gd name="T49" fmla="*/ 39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63" h="61">
                    <a:moveTo>
                      <a:pt x="91" y="39"/>
                    </a:moveTo>
                    <a:cubicBezTo>
                      <a:pt x="91" y="46"/>
                      <a:pt x="91" y="52"/>
                      <a:pt x="91" y="59"/>
                    </a:cubicBezTo>
                    <a:cubicBezTo>
                      <a:pt x="68" y="59"/>
                      <a:pt x="46" y="59"/>
                      <a:pt x="23" y="59"/>
                    </a:cubicBezTo>
                    <a:cubicBezTo>
                      <a:pt x="23" y="55"/>
                      <a:pt x="23" y="51"/>
                      <a:pt x="23" y="48"/>
                    </a:cubicBezTo>
                    <a:cubicBezTo>
                      <a:pt x="23" y="46"/>
                      <a:pt x="23" y="44"/>
                      <a:pt x="23" y="43"/>
                    </a:cubicBezTo>
                    <a:cubicBezTo>
                      <a:pt x="22" y="41"/>
                      <a:pt x="21" y="39"/>
                      <a:pt x="21" y="37"/>
                    </a:cubicBezTo>
                    <a:cubicBezTo>
                      <a:pt x="20" y="39"/>
                      <a:pt x="19" y="41"/>
                      <a:pt x="18" y="43"/>
                    </a:cubicBezTo>
                    <a:cubicBezTo>
                      <a:pt x="18" y="47"/>
                      <a:pt x="18" y="51"/>
                      <a:pt x="18" y="55"/>
                    </a:cubicBezTo>
                    <a:cubicBezTo>
                      <a:pt x="18" y="56"/>
                      <a:pt x="18" y="57"/>
                      <a:pt x="18" y="59"/>
                    </a:cubicBezTo>
                    <a:cubicBezTo>
                      <a:pt x="12" y="59"/>
                      <a:pt x="7" y="59"/>
                      <a:pt x="0" y="59"/>
                    </a:cubicBezTo>
                    <a:cubicBezTo>
                      <a:pt x="1" y="46"/>
                      <a:pt x="0" y="33"/>
                      <a:pt x="2" y="20"/>
                    </a:cubicBezTo>
                    <a:cubicBezTo>
                      <a:pt x="4" y="9"/>
                      <a:pt x="13" y="2"/>
                      <a:pt x="24" y="1"/>
                    </a:cubicBezTo>
                    <a:cubicBezTo>
                      <a:pt x="40" y="0"/>
                      <a:pt x="56" y="0"/>
                      <a:pt x="72" y="1"/>
                    </a:cubicBezTo>
                    <a:cubicBezTo>
                      <a:pt x="78" y="1"/>
                      <a:pt x="83" y="4"/>
                      <a:pt x="87" y="8"/>
                    </a:cubicBezTo>
                    <a:cubicBezTo>
                      <a:pt x="97" y="18"/>
                      <a:pt x="106" y="27"/>
                      <a:pt x="116" y="37"/>
                    </a:cubicBezTo>
                    <a:cubicBezTo>
                      <a:pt x="120" y="41"/>
                      <a:pt x="121" y="41"/>
                      <a:pt x="125" y="37"/>
                    </a:cubicBezTo>
                    <a:cubicBezTo>
                      <a:pt x="131" y="31"/>
                      <a:pt x="137" y="25"/>
                      <a:pt x="143" y="19"/>
                    </a:cubicBezTo>
                    <a:cubicBezTo>
                      <a:pt x="145" y="18"/>
                      <a:pt x="147" y="16"/>
                      <a:pt x="149" y="15"/>
                    </a:cubicBezTo>
                    <a:cubicBezTo>
                      <a:pt x="153" y="13"/>
                      <a:pt x="157" y="14"/>
                      <a:pt x="160" y="17"/>
                    </a:cubicBezTo>
                    <a:cubicBezTo>
                      <a:pt x="163" y="21"/>
                      <a:pt x="162" y="25"/>
                      <a:pt x="159" y="28"/>
                    </a:cubicBezTo>
                    <a:cubicBezTo>
                      <a:pt x="150" y="38"/>
                      <a:pt x="140" y="48"/>
                      <a:pt x="130" y="58"/>
                    </a:cubicBezTo>
                    <a:cubicBezTo>
                      <a:pt x="129" y="59"/>
                      <a:pt x="126" y="59"/>
                      <a:pt x="124" y="59"/>
                    </a:cubicBezTo>
                    <a:cubicBezTo>
                      <a:pt x="115" y="61"/>
                      <a:pt x="109" y="58"/>
                      <a:pt x="104" y="51"/>
                    </a:cubicBezTo>
                    <a:cubicBezTo>
                      <a:pt x="100" y="47"/>
                      <a:pt x="96" y="43"/>
                      <a:pt x="92" y="39"/>
                    </a:cubicBezTo>
                    <a:cubicBezTo>
                      <a:pt x="91" y="39"/>
                      <a:pt x="91" y="39"/>
                      <a:pt x="91" y="39"/>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GB" sz="1400" dirty="0">
                  <a:latin typeface="+mn-lt"/>
                </a:endParaRPr>
              </a:p>
            </p:txBody>
          </p:sp>
          <p:sp>
            <p:nvSpPr>
              <p:cNvPr id="42" name="Freeform 42"/>
              <p:cNvSpPr>
                <a:spLocks/>
              </p:cNvSpPr>
              <p:nvPr/>
            </p:nvSpPr>
            <p:spPr bwMode="auto">
              <a:xfrm>
                <a:off x="1002544" y="4152258"/>
                <a:ext cx="375793" cy="25127"/>
              </a:xfrm>
              <a:custGeom>
                <a:avLst/>
                <a:gdLst>
                  <a:gd name="T0" fmla="*/ 1 w 272"/>
                  <a:gd name="T1" fmla="*/ 21 h 21"/>
                  <a:gd name="T2" fmla="*/ 7 w 272"/>
                  <a:gd name="T3" fmla="*/ 0 h 21"/>
                  <a:gd name="T4" fmla="*/ 11 w 272"/>
                  <a:gd name="T5" fmla="*/ 2 h 21"/>
                  <a:gd name="T6" fmla="*/ 15 w 272"/>
                  <a:gd name="T7" fmla="*/ 4 h 21"/>
                  <a:gd name="T8" fmla="*/ 11 w 272"/>
                  <a:gd name="T9" fmla="*/ 11 h 21"/>
                  <a:gd name="T10" fmla="*/ 260 w 272"/>
                  <a:gd name="T11" fmla="*/ 11 h 21"/>
                  <a:gd name="T12" fmla="*/ 257 w 272"/>
                  <a:gd name="T13" fmla="*/ 4 h 21"/>
                  <a:gd name="T14" fmla="*/ 265 w 272"/>
                  <a:gd name="T15" fmla="*/ 0 h 21"/>
                  <a:gd name="T16" fmla="*/ 271 w 272"/>
                  <a:gd name="T17" fmla="*/ 21 h 21"/>
                  <a:gd name="T18" fmla="*/ 1 w 272"/>
                  <a:gd name="T19" fmla="*/ 21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72" h="21">
                    <a:moveTo>
                      <a:pt x="1" y="21"/>
                    </a:moveTo>
                    <a:cubicBezTo>
                      <a:pt x="0" y="9"/>
                      <a:pt x="0" y="6"/>
                      <a:pt x="7" y="0"/>
                    </a:cubicBezTo>
                    <a:cubicBezTo>
                      <a:pt x="8" y="1"/>
                      <a:pt x="10" y="1"/>
                      <a:pt x="11" y="2"/>
                    </a:cubicBezTo>
                    <a:cubicBezTo>
                      <a:pt x="13" y="3"/>
                      <a:pt x="14" y="4"/>
                      <a:pt x="15" y="4"/>
                    </a:cubicBezTo>
                    <a:cubicBezTo>
                      <a:pt x="14" y="6"/>
                      <a:pt x="13" y="8"/>
                      <a:pt x="11" y="11"/>
                    </a:cubicBezTo>
                    <a:cubicBezTo>
                      <a:pt x="94" y="11"/>
                      <a:pt x="177" y="11"/>
                      <a:pt x="260" y="11"/>
                    </a:cubicBezTo>
                    <a:cubicBezTo>
                      <a:pt x="259" y="9"/>
                      <a:pt x="258" y="7"/>
                      <a:pt x="257" y="4"/>
                    </a:cubicBezTo>
                    <a:cubicBezTo>
                      <a:pt x="259" y="3"/>
                      <a:pt x="262" y="1"/>
                      <a:pt x="265" y="0"/>
                    </a:cubicBezTo>
                    <a:cubicBezTo>
                      <a:pt x="272" y="6"/>
                      <a:pt x="271" y="13"/>
                      <a:pt x="271" y="21"/>
                    </a:cubicBezTo>
                    <a:cubicBezTo>
                      <a:pt x="181" y="21"/>
                      <a:pt x="91" y="21"/>
                      <a:pt x="1" y="21"/>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GB" sz="1400" dirty="0">
                  <a:latin typeface="+mn-lt"/>
                </a:endParaRPr>
              </a:p>
            </p:txBody>
          </p:sp>
          <p:sp>
            <p:nvSpPr>
              <p:cNvPr id="43" name="Freeform 43"/>
              <p:cNvSpPr>
                <a:spLocks/>
              </p:cNvSpPr>
              <p:nvPr/>
            </p:nvSpPr>
            <p:spPr bwMode="auto">
              <a:xfrm>
                <a:off x="1198653" y="4184565"/>
                <a:ext cx="36963" cy="109482"/>
              </a:xfrm>
              <a:custGeom>
                <a:avLst/>
                <a:gdLst>
                  <a:gd name="T0" fmla="*/ 0 w 27"/>
                  <a:gd name="T1" fmla="*/ 45 h 90"/>
                  <a:gd name="T2" fmla="*/ 0 w 27"/>
                  <a:gd name="T3" fmla="*/ 15 h 90"/>
                  <a:gd name="T4" fmla="*/ 13 w 27"/>
                  <a:gd name="T5" fmla="*/ 0 h 90"/>
                  <a:gd name="T6" fmla="*/ 27 w 27"/>
                  <a:gd name="T7" fmla="*/ 14 h 90"/>
                  <a:gd name="T8" fmla="*/ 27 w 27"/>
                  <a:gd name="T9" fmla="*/ 76 h 90"/>
                  <a:gd name="T10" fmla="*/ 13 w 27"/>
                  <a:gd name="T11" fmla="*/ 90 h 90"/>
                  <a:gd name="T12" fmla="*/ 0 w 27"/>
                  <a:gd name="T13" fmla="*/ 75 h 90"/>
                  <a:gd name="T14" fmla="*/ 0 w 27"/>
                  <a:gd name="T15" fmla="*/ 45 h 9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7" h="90">
                    <a:moveTo>
                      <a:pt x="0" y="45"/>
                    </a:moveTo>
                    <a:cubicBezTo>
                      <a:pt x="0" y="35"/>
                      <a:pt x="0" y="25"/>
                      <a:pt x="0" y="15"/>
                    </a:cubicBezTo>
                    <a:cubicBezTo>
                      <a:pt x="0" y="7"/>
                      <a:pt x="6" y="1"/>
                      <a:pt x="13" y="0"/>
                    </a:cubicBezTo>
                    <a:cubicBezTo>
                      <a:pt x="21" y="0"/>
                      <a:pt x="27" y="6"/>
                      <a:pt x="27" y="14"/>
                    </a:cubicBezTo>
                    <a:cubicBezTo>
                      <a:pt x="27" y="35"/>
                      <a:pt x="27" y="55"/>
                      <a:pt x="27" y="76"/>
                    </a:cubicBezTo>
                    <a:cubicBezTo>
                      <a:pt x="27" y="84"/>
                      <a:pt x="21" y="90"/>
                      <a:pt x="13" y="90"/>
                    </a:cubicBezTo>
                    <a:cubicBezTo>
                      <a:pt x="5" y="89"/>
                      <a:pt x="0" y="84"/>
                      <a:pt x="0" y="75"/>
                    </a:cubicBezTo>
                    <a:cubicBezTo>
                      <a:pt x="0" y="65"/>
                      <a:pt x="0" y="55"/>
                      <a:pt x="0" y="45"/>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GB" sz="1400" dirty="0">
                  <a:latin typeface="+mn-lt"/>
                </a:endParaRPr>
              </a:p>
            </p:txBody>
          </p:sp>
          <p:sp>
            <p:nvSpPr>
              <p:cNvPr id="44" name="Freeform 44"/>
              <p:cNvSpPr>
                <a:spLocks/>
              </p:cNvSpPr>
              <p:nvPr/>
            </p:nvSpPr>
            <p:spPr bwMode="auto">
              <a:xfrm>
                <a:off x="879333" y="4118157"/>
                <a:ext cx="31830" cy="198324"/>
              </a:xfrm>
              <a:custGeom>
                <a:avLst/>
                <a:gdLst>
                  <a:gd name="T0" fmla="*/ 0 w 23"/>
                  <a:gd name="T1" fmla="*/ 2 h 164"/>
                  <a:gd name="T2" fmla="*/ 14 w 23"/>
                  <a:gd name="T3" fmla="*/ 10 h 164"/>
                  <a:gd name="T4" fmla="*/ 22 w 23"/>
                  <a:gd name="T5" fmla="*/ 106 h 164"/>
                  <a:gd name="T6" fmla="*/ 22 w 23"/>
                  <a:gd name="T7" fmla="*/ 156 h 164"/>
                  <a:gd name="T8" fmla="*/ 22 w 23"/>
                  <a:gd name="T9" fmla="*/ 161 h 164"/>
                  <a:gd name="T10" fmla="*/ 21 w 23"/>
                  <a:gd name="T11" fmla="*/ 162 h 164"/>
                  <a:gd name="T12" fmla="*/ 8 w 23"/>
                  <a:gd name="T13" fmla="*/ 151 h 164"/>
                  <a:gd name="T14" fmla="*/ 8 w 23"/>
                  <a:gd name="T15" fmla="*/ 76 h 164"/>
                  <a:gd name="T16" fmla="*/ 0 w 23"/>
                  <a:gd name="T17" fmla="*/ 7 h 164"/>
                  <a:gd name="T18" fmla="*/ 0 w 23"/>
                  <a:gd name="T19" fmla="*/ 2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 h="164">
                    <a:moveTo>
                      <a:pt x="0" y="2"/>
                    </a:moveTo>
                    <a:cubicBezTo>
                      <a:pt x="9" y="0"/>
                      <a:pt x="12" y="2"/>
                      <a:pt x="14" y="10"/>
                    </a:cubicBezTo>
                    <a:cubicBezTo>
                      <a:pt x="17" y="42"/>
                      <a:pt x="23" y="74"/>
                      <a:pt x="22" y="106"/>
                    </a:cubicBezTo>
                    <a:cubicBezTo>
                      <a:pt x="22" y="123"/>
                      <a:pt x="22" y="139"/>
                      <a:pt x="22" y="156"/>
                    </a:cubicBezTo>
                    <a:cubicBezTo>
                      <a:pt x="22" y="158"/>
                      <a:pt x="22" y="160"/>
                      <a:pt x="22" y="161"/>
                    </a:cubicBezTo>
                    <a:cubicBezTo>
                      <a:pt x="21" y="162"/>
                      <a:pt x="21" y="162"/>
                      <a:pt x="21" y="162"/>
                    </a:cubicBezTo>
                    <a:cubicBezTo>
                      <a:pt x="8" y="164"/>
                      <a:pt x="8" y="163"/>
                      <a:pt x="8" y="151"/>
                    </a:cubicBezTo>
                    <a:cubicBezTo>
                      <a:pt x="8" y="126"/>
                      <a:pt x="9" y="101"/>
                      <a:pt x="8" y="76"/>
                    </a:cubicBezTo>
                    <a:cubicBezTo>
                      <a:pt x="6" y="53"/>
                      <a:pt x="3" y="30"/>
                      <a:pt x="0" y="7"/>
                    </a:cubicBezTo>
                    <a:cubicBezTo>
                      <a:pt x="0" y="5"/>
                      <a:pt x="0" y="4"/>
                      <a:pt x="0" y="2"/>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GB" sz="1400" dirty="0">
                  <a:latin typeface="+mn-lt"/>
                </a:endParaRPr>
              </a:p>
            </p:txBody>
          </p:sp>
          <p:sp>
            <p:nvSpPr>
              <p:cNvPr id="45" name="Freeform 45"/>
              <p:cNvSpPr>
                <a:spLocks/>
              </p:cNvSpPr>
              <p:nvPr/>
            </p:nvSpPr>
            <p:spPr bwMode="auto">
              <a:xfrm>
                <a:off x="1142182" y="4184565"/>
                <a:ext cx="36963" cy="109482"/>
              </a:xfrm>
              <a:custGeom>
                <a:avLst/>
                <a:gdLst>
                  <a:gd name="T0" fmla="*/ 0 w 27"/>
                  <a:gd name="T1" fmla="*/ 45 h 90"/>
                  <a:gd name="T2" fmla="*/ 0 w 27"/>
                  <a:gd name="T3" fmla="*/ 15 h 90"/>
                  <a:gd name="T4" fmla="*/ 13 w 27"/>
                  <a:gd name="T5" fmla="*/ 0 h 90"/>
                  <a:gd name="T6" fmla="*/ 26 w 27"/>
                  <a:gd name="T7" fmla="*/ 14 h 90"/>
                  <a:gd name="T8" fmla="*/ 26 w 27"/>
                  <a:gd name="T9" fmla="*/ 76 h 90"/>
                  <a:gd name="T10" fmla="*/ 13 w 27"/>
                  <a:gd name="T11" fmla="*/ 90 h 90"/>
                  <a:gd name="T12" fmla="*/ 0 w 27"/>
                  <a:gd name="T13" fmla="*/ 76 h 90"/>
                  <a:gd name="T14" fmla="*/ 0 w 27"/>
                  <a:gd name="T15" fmla="*/ 45 h 9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7" h="90">
                    <a:moveTo>
                      <a:pt x="0" y="45"/>
                    </a:moveTo>
                    <a:cubicBezTo>
                      <a:pt x="0" y="35"/>
                      <a:pt x="0" y="25"/>
                      <a:pt x="0" y="15"/>
                    </a:cubicBezTo>
                    <a:cubicBezTo>
                      <a:pt x="0" y="6"/>
                      <a:pt x="6" y="0"/>
                      <a:pt x="13" y="0"/>
                    </a:cubicBezTo>
                    <a:cubicBezTo>
                      <a:pt x="21" y="0"/>
                      <a:pt x="26" y="6"/>
                      <a:pt x="26" y="14"/>
                    </a:cubicBezTo>
                    <a:cubicBezTo>
                      <a:pt x="27" y="35"/>
                      <a:pt x="27" y="55"/>
                      <a:pt x="26" y="76"/>
                    </a:cubicBezTo>
                    <a:cubicBezTo>
                      <a:pt x="26" y="84"/>
                      <a:pt x="21" y="90"/>
                      <a:pt x="13" y="90"/>
                    </a:cubicBezTo>
                    <a:cubicBezTo>
                      <a:pt x="5" y="90"/>
                      <a:pt x="0" y="84"/>
                      <a:pt x="0" y="76"/>
                    </a:cubicBezTo>
                    <a:cubicBezTo>
                      <a:pt x="0" y="65"/>
                      <a:pt x="0" y="55"/>
                      <a:pt x="0" y="45"/>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GB" sz="1400" dirty="0">
                  <a:latin typeface="+mn-lt"/>
                </a:endParaRPr>
              </a:p>
            </p:txBody>
          </p:sp>
          <p:sp>
            <p:nvSpPr>
              <p:cNvPr id="46" name="Freeform 46"/>
              <p:cNvSpPr>
                <a:spLocks/>
              </p:cNvSpPr>
              <p:nvPr/>
            </p:nvSpPr>
            <p:spPr bwMode="auto">
              <a:xfrm>
                <a:off x="1468691" y="4118157"/>
                <a:ext cx="31830" cy="197427"/>
              </a:xfrm>
              <a:custGeom>
                <a:avLst/>
                <a:gdLst>
                  <a:gd name="T0" fmla="*/ 23 w 23"/>
                  <a:gd name="T1" fmla="*/ 3 h 163"/>
                  <a:gd name="T2" fmla="*/ 18 w 23"/>
                  <a:gd name="T3" fmla="*/ 44 h 163"/>
                  <a:gd name="T4" fmla="*/ 14 w 23"/>
                  <a:gd name="T5" fmla="*/ 121 h 163"/>
                  <a:gd name="T6" fmla="*/ 14 w 23"/>
                  <a:gd name="T7" fmla="*/ 157 h 163"/>
                  <a:gd name="T8" fmla="*/ 9 w 23"/>
                  <a:gd name="T9" fmla="*/ 162 h 163"/>
                  <a:gd name="T10" fmla="*/ 1 w 23"/>
                  <a:gd name="T11" fmla="*/ 162 h 163"/>
                  <a:gd name="T12" fmla="*/ 1 w 23"/>
                  <a:gd name="T13" fmla="*/ 156 h 163"/>
                  <a:gd name="T14" fmla="*/ 0 w 23"/>
                  <a:gd name="T15" fmla="*/ 105 h 163"/>
                  <a:gd name="T16" fmla="*/ 6 w 23"/>
                  <a:gd name="T17" fmla="*/ 37 h 163"/>
                  <a:gd name="T18" fmla="*/ 10 w 23"/>
                  <a:gd name="T19" fmla="*/ 10 h 163"/>
                  <a:gd name="T20" fmla="*/ 23 w 23"/>
                  <a:gd name="T21" fmla="*/ 3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 h="163">
                    <a:moveTo>
                      <a:pt x="23" y="3"/>
                    </a:moveTo>
                    <a:cubicBezTo>
                      <a:pt x="22" y="17"/>
                      <a:pt x="20" y="30"/>
                      <a:pt x="18" y="44"/>
                    </a:cubicBezTo>
                    <a:cubicBezTo>
                      <a:pt x="15" y="70"/>
                      <a:pt x="14" y="96"/>
                      <a:pt x="14" y="121"/>
                    </a:cubicBezTo>
                    <a:cubicBezTo>
                      <a:pt x="14" y="133"/>
                      <a:pt x="14" y="145"/>
                      <a:pt x="14" y="157"/>
                    </a:cubicBezTo>
                    <a:cubicBezTo>
                      <a:pt x="14" y="161"/>
                      <a:pt x="13" y="163"/>
                      <a:pt x="9" y="162"/>
                    </a:cubicBezTo>
                    <a:cubicBezTo>
                      <a:pt x="6" y="162"/>
                      <a:pt x="4" y="162"/>
                      <a:pt x="1" y="162"/>
                    </a:cubicBezTo>
                    <a:cubicBezTo>
                      <a:pt x="1" y="160"/>
                      <a:pt x="1" y="158"/>
                      <a:pt x="1" y="156"/>
                    </a:cubicBezTo>
                    <a:cubicBezTo>
                      <a:pt x="1" y="139"/>
                      <a:pt x="1" y="122"/>
                      <a:pt x="0" y="105"/>
                    </a:cubicBezTo>
                    <a:cubicBezTo>
                      <a:pt x="0" y="82"/>
                      <a:pt x="3" y="60"/>
                      <a:pt x="6" y="37"/>
                    </a:cubicBezTo>
                    <a:cubicBezTo>
                      <a:pt x="7" y="28"/>
                      <a:pt x="8" y="19"/>
                      <a:pt x="10" y="10"/>
                    </a:cubicBezTo>
                    <a:cubicBezTo>
                      <a:pt x="11" y="2"/>
                      <a:pt x="15" y="0"/>
                      <a:pt x="23" y="3"/>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GB" sz="1400" dirty="0">
                  <a:latin typeface="+mn-lt"/>
                </a:endParaRPr>
              </a:p>
            </p:txBody>
          </p:sp>
          <p:sp>
            <p:nvSpPr>
              <p:cNvPr id="47" name="Freeform 47"/>
              <p:cNvSpPr>
                <a:spLocks/>
              </p:cNvSpPr>
              <p:nvPr/>
            </p:nvSpPr>
            <p:spPr bwMode="auto">
              <a:xfrm>
                <a:off x="941965" y="4030212"/>
                <a:ext cx="59551" cy="52946"/>
              </a:xfrm>
              <a:custGeom>
                <a:avLst/>
                <a:gdLst>
                  <a:gd name="T0" fmla="*/ 22 w 43"/>
                  <a:gd name="T1" fmla="*/ 0 h 43"/>
                  <a:gd name="T2" fmla="*/ 43 w 43"/>
                  <a:gd name="T3" fmla="*/ 21 h 43"/>
                  <a:gd name="T4" fmla="*/ 22 w 43"/>
                  <a:gd name="T5" fmla="*/ 42 h 43"/>
                  <a:gd name="T6" fmla="*/ 0 w 43"/>
                  <a:gd name="T7" fmla="*/ 21 h 43"/>
                  <a:gd name="T8" fmla="*/ 22 w 43"/>
                  <a:gd name="T9" fmla="*/ 0 h 43"/>
                </a:gdLst>
                <a:ahLst/>
                <a:cxnLst>
                  <a:cxn ang="0">
                    <a:pos x="T0" y="T1"/>
                  </a:cxn>
                  <a:cxn ang="0">
                    <a:pos x="T2" y="T3"/>
                  </a:cxn>
                  <a:cxn ang="0">
                    <a:pos x="T4" y="T5"/>
                  </a:cxn>
                  <a:cxn ang="0">
                    <a:pos x="T6" y="T7"/>
                  </a:cxn>
                  <a:cxn ang="0">
                    <a:pos x="T8" y="T9"/>
                  </a:cxn>
                </a:cxnLst>
                <a:rect l="0" t="0" r="r" b="b"/>
                <a:pathLst>
                  <a:path w="43" h="43">
                    <a:moveTo>
                      <a:pt x="22" y="0"/>
                    </a:moveTo>
                    <a:cubicBezTo>
                      <a:pt x="33" y="0"/>
                      <a:pt x="43" y="10"/>
                      <a:pt x="43" y="21"/>
                    </a:cubicBezTo>
                    <a:cubicBezTo>
                      <a:pt x="43" y="33"/>
                      <a:pt x="33" y="42"/>
                      <a:pt x="22" y="42"/>
                    </a:cubicBezTo>
                    <a:cubicBezTo>
                      <a:pt x="10" y="43"/>
                      <a:pt x="0" y="33"/>
                      <a:pt x="0" y="21"/>
                    </a:cubicBezTo>
                    <a:cubicBezTo>
                      <a:pt x="0" y="10"/>
                      <a:pt x="10" y="0"/>
                      <a:pt x="22" y="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GB" sz="1400" dirty="0">
                  <a:latin typeface="+mn-lt"/>
                </a:endParaRPr>
              </a:p>
            </p:txBody>
          </p:sp>
          <p:sp>
            <p:nvSpPr>
              <p:cNvPr id="48" name="Freeform 48"/>
              <p:cNvSpPr>
                <a:spLocks/>
              </p:cNvSpPr>
              <p:nvPr/>
            </p:nvSpPr>
            <p:spPr bwMode="auto">
              <a:xfrm>
                <a:off x="1379363" y="4030212"/>
                <a:ext cx="59551" cy="51151"/>
              </a:xfrm>
              <a:custGeom>
                <a:avLst/>
                <a:gdLst>
                  <a:gd name="T0" fmla="*/ 21 w 43"/>
                  <a:gd name="T1" fmla="*/ 42 h 42"/>
                  <a:gd name="T2" fmla="*/ 0 w 43"/>
                  <a:gd name="T3" fmla="*/ 21 h 42"/>
                  <a:gd name="T4" fmla="*/ 21 w 43"/>
                  <a:gd name="T5" fmla="*/ 0 h 42"/>
                  <a:gd name="T6" fmla="*/ 42 w 43"/>
                  <a:gd name="T7" fmla="*/ 21 h 42"/>
                  <a:gd name="T8" fmla="*/ 21 w 43"/>
                  <a:gd name="T9" fmla="*/ 42 h 42"/>
                </a:gdLst>
                <a:ahLst/>
                <a:cxnLst>
                  <a:cxn ang="0">
                    <a:pos x="T0" y="T1"/>
                  </a:cxn>
                  <a:cxn ang="0">
                    <a:pos x="T2" y="T3"/>
                  </a:cxn>
                  <a:cxn ang="0">
                    <a:pos x="T4" y="T5"/>
                  </a:cxn>
                  <a:cxn ang="0">
                    <a:pos x="T6" y="T7"/>
                  </a:cxn>
                  <a:cxn ang="0">
                    <a:pos x="T8" y="T9"/>
                  </a:cxn>
                </a:cxnLst>
                <a:rect l="0" t="0" r="r" b="b"/>
                <a:pathLst>
                  <a:path w="43" h="42">
                    <a:moveTo>
                      <a:pt x="21" y="42"/>
                    </a:moveTo>
                    <a:cubicBezTo>
                      <a:pt x="9" y="42"/>
                      <a:pt x="0" y="33"/>
                      <a:pt x="0" y="21"/>
                    </a:cubicBezTo>
                    <a:cubicBezTo>
                      <a:pt x="0" y="10"/>
                      <a:pt x="9" y="0"/>
                      <a:pt x="21" y="0"/>
                    </a:cubicBezTo>
                    <a:cubicBezTo>
                      <a:pt x="33" y="0"/>
                      <a:pt x="42" y="9"/>
                      <a:pt x="42" y="21"/>
                    </a:cubicBezTo>
                    <a:cubicBezTo>
                      <a:pt x="43" y="33"/>
                      <a:pt x="33" y="42"/>
                      <a:pt x="21" y="42"/>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GB" sz="1400" dirty="0">
                  <a:latin typeface="+mn-lt"/>
                </a:endParaRPr>
              </a:p>
            </p:txBody>
          </p:sp>
          <p:sp>
            <p:nvSpPr>
              <p:cNvPr id="49" name="Freeform 49"/>
              <p:cNvSpPr>
                <a:spLocks/>
              </p:cNvSpPr>
              <p:nvPr/>
            </p:nvSpPr>
            <p:spPr bwMode="auto">
              <a:xfrm>
                <a:off x="1149369" y="3976369"/>
                <a:ext cx="58525" cy="50254"/>
              </a:xfrm>
              <a:custGeom>
                <a:avLst/>
                <a:gdLst>
                  <a:gd name="T0" fmla="*/ 43 w 43"/>
                  <a:gd name="T1" fmla="*/ 21 h 42"/>
                  <a:gd name="T2" fmla="*/ 21 w 43"/>
                  <a:gd name="T3" fmla="*/ 42 h 42"/>
                  <a:gd name="T4" fmla="*/ 0 w 43"/>
                  <a:gd name="T5" fmla="*/ 21 h 42"/>
                  <a:gd name="T6" fmla="*/ 21 w 43"/>
                  <a:gd name="T7" fmla="*/ 0 h 42"/>
                  <a:gd name="T8" fmla="*/ 43 w 43"/>
                  <a:gd name="T9" fmla="*/ 21 h 42"/>
                </a:gdLst>
                <a:ahLst/>
                <a:cxnLst>
                  <a:cxn ang="0">
                    <a:pos x="T0" y="T1"/>
                  </a:cxn>
                  <a:cxn ang="0">
                    <a:pos x="T2" y="T3"/>
                  </a:cxn>
                  <a:cxn ang="0">
                    <a:pos x="T4" y="T5"/>
                  </a:cxn>
                  <a:cxn ang="0">
                    <a:pos x="T6" y="T7"/>
                  </a:cxn>
                  <a:cxn ang="0">
                    <a:pos x="T8" y="T9"/>
                  </a:cxn>
                </a:cxnLst>
                <a:rect l="0" t="0" r="r" b="b"/>
                <a:pathLst>
                  <a:path w="43" h="42">
                    <a:moveTo>
                      <a:pt x="43" y="21"/>
                    </a:moveTo>
                    <a:cubicBezTo>
                      <a:pt x="43" y="33"/>
                      <a:pt x="34" y="42"/>
                      <a:pt x="21" y="42"/>
                    </a:cubicBezTo>
                    <a:cubicBezTo>
                      <a:pt x="10" y="42"/>
                      <a:pt x="0" y="33"/>
                      <a:pt x="0" y="21"/>
                    </a:cubicBezTo>
                    <a:cubicBezTo>
                      <a:pt x="1" y="9"/>
                      <a:pt x="10" y="0"/>
                      <a:pt x="21" y="0"/>
                    </a:cubicBezTo>
                    <a:cubicBezTo>
                      <a:pt x="34" y="0"/>
                      <a:pt x="43" y="9"/>
                      <a:pt x="43" y="21"/>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GB" sz="1400" dirty="0">
                  <a:latin typeface="+mn-lt"/>
                </a:endParaRPr>
              </a:p>
            </p:txBody>
          </p:sp>
          <p:sp>
            <p:nvSpPr>
              <p:cNvPr id="50" name="Freeform 50"/>
              <p:cNvSpPr>
                <a:spLocks/>
              </p:cNvSpPr>
              <p:nvPr/>
            </p:nvSpPr>
            <p:spPr bwMode="auto">
              <a:xfrm>
                <a:off x="1047721" y="4098414"/>
                <a:ext cx="25669" cy="26024"/>
              </a:xfrm>
              <a:custGeom>
                <a:avLst/>
                <a:gdLst>
                  <a:gd name="T0" fmla="*/ 0 w 18"/>
                  <a:gd name="T1" fmla="*/ 4 h 21"/>
                  <a:gd name="T2" fmla="*/ 5 w 18"/>
                  <a:gd name="T3" fmla="*/ 0 h 21"/>
                  <a:gd name="T4" fmla="*/ 18 w 18"/>
                  <a:gd name="T5" fmla="*/ 19 h 21"/>
                  <a:gd name="T6" fmla="*/ 8 w 18"/>
                  <a:gd name="T7" fmla="*/ 16 h 21"/>
                  <a:gd name="T8" fmla="*/ 0 w 18"/>
                  <a:gd name="T9" fmla="*/ 4 h 21"/>
                </a:gdLst>
                <a:ahLst/>
                <a:cxnLst>
                  <a:cxn ang="0">
                    <a:pos x="T0" y="T1"/>
                  </a:cxn>
                  <a:cxn ang="0">
                    <a:pos x="T2" y="T3"/>
                  </a:cxn>
                  <a:cxn ang="0">
                    <a:pos x="T4" y="T5"/>
                  </a:cxn>
                  <a:cxn ang="0">
                    <a:pos x="T6" y="T7"/>
                  </a:cxn>
                  <a:cxn ang="0">
                    <a:pos x="T8" y="T9"/>
                  </a:cxn>
                </a:cxnLst>
                <a:rect l="0" t="0" r="r" b="b"/>
                <a:pathLst>
                  <a:path w="18" h="21">
                    <a:moveTo>
                      <a:pt x="0" y="4"/>
                    </a:moveTo>
                    <a:cubicBezTo>
                      <a:pt x="1" y="2"/>
                      <a:pt x="3" y="1"/>
                      <a:pt x="5" y="0"/>
                    </a:cubicBezTo>
                    <a:cubicBezTo>
                      <a:pt x="9" y="7"/>
                      <a:pt x="14" y="13"/>
                      <a:pt x="18" y="19"/>
                    </a:cubicBezTo>
                    <a:cubicBezTo>
                      <a:pt x="12" y="21"/>
                      <a:pt x="11" y="21"/>
                      <a:pt x="8" y="16"/>
                    </a:cubicBezTo>
                    <a:cubicBezTo>
                      <a:pt x="5" y="12"/>
                      <a:pt x="3" y="8"/>
                      <a:pt x="0" y="4"/>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GB" sz="1400" dirty="0">
                  <a:latin typeface="+mn-lt"/>
                </a:endParaRPr>
              </a:p>
            </p:txBody>
          </p:sp>
          <p:sp>
            <p:nvSpPr>
              <p:cNvPr id="51" name="Freeform 51"/>
              <p:cNvSpPr>
                <a:spLocks/>
              </p:cNvSpPr>
              <p:nvPr/>
            </p:nvSpPr>
            <p:spPr bwMode="auto">
              <a:xfrm>
                <a:off x="1323917" y="4110978"/>
                <a:ext cx="20535" cy="14358"/>
              </a:xfrm>
              <a:custGeom>
                <a:avLst/>
                <a:gdLst>
                  <a:gd name="T0" fmla="*/ 0 w 15"/>
                  <a:gd name="T1" fmla="*/ 2 h 12"/>
                  <a:gd name="T2" fmla="*/ 15 w 15"/>
                  <a:gd name="T3" fmla="*/ 10 h 12"/>
                  <a:gd name="T4" fmla="*/ 0 w 15"/>
                  <a:gd name="T5" fmla="*/ 2 h 12"/>
                </a:gdLst>
                <a:ahLst/>
                <a:cxnLst>
                  <a:cxn ang="0">
                    <a:pos x="T0" y="T1"/>
                  </a:cxn>
                  <a:cxn ang="0">
                    <a:pos x="T2" y="T3"/>
                  </a:cxn>
                  <a:cxn ang="0">
                    <a:pos x="T4" y="T5"/>
                  </a:cxn>
                </a:cxnLst>
                <a:rect l="0" t="0" r="r" b="b"/>
                <a:pathLst>
                  <a:path w="15" h="12">
                    <a:moveTo>
                      <a:pt x="0" y="2"/>
                    </a:moveTo>
                    <a:cubicBezTo>
                      <a:pt x="12" y="1"/>
                      <a:pt x="10" y="0"/>
                      <a:pt x="15" y="10"/>
                    </a:cubicBezTo>
                    <a:cubicBezTo>
                      <a:pt x="3" y="11"/>
                      <a:pt x="5" y="12"/>
                      <a:pt x="0" y="2"/>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GB" sz="1400" dirty="0">
                  <a:latin typeface="+mn-lt"/>
                </a:endParaRPr>
              </a:p>
            </p:txBody>
          </p:sp>
          <p:sp>
            <p:nvSpPr>
              <p:cNvPr id="52" name="Freeform 52"/>
              <p:cNvSpPr>
                <a:spLocks/>
              </p:cNvSpPr>
              <p:nvPr/>
            </p:nvSpPr>
            <p:spPr bwMode="auto">
              <a:xfrm>
                <a:off x="1033347" y="4111876"/>
                <a:ext cx="17455" cy="12564"/>
              </a:xfrm>
              <a:custGeom>
                <a:avLst/>
                <a:gdLst>
                  <a:gd name="T0" fmla="*/ 0 w 13"/>
                  <a:gd name="T1" fmla="*/ 9 h 10"/>
                  <a:gd name="T2" fmla="*/ 4 w 13"/>
                  <a:gd name="T3" fmla="*/ 3 h 10"/>
                  <a:gd name="T4" fmla="*/ 9 w 13"/>
                  <a:gd name="T5" fmla="*/ 0 h 10"/>
                  <a:gd name="T6" fmla="*/ 13 w 13"/>
                  <a:gd name="T7" fmla="*/ 5 h 10"/>
                  <a:gd name="T8" fmla="*/ 10 w 13"/>
                  <a:gd name="T9" fmla="*/ 9 h 10"/>
                  <a:gd name="T10" fmla="*/ 0 w 13"/>
                  <a:gd name="T11" fmla="*/ 9 h 10"/>
                </a:gdLst>
                <a:ahLst/>
                <a:cxnLst>
                  <a:cxn ang="0">
                    <a:pos x="T0" y="T1"/>
                  </a:cxn>
                  <a:cxn ang="0">
                    <a:pos x="T2" y="T3"/>
                  </a:cxn>
                  <a:cxn ang="0">
                    <a:pos x="T4" y="T5"/>
                  </a:cxn>
                  <a:cxn ang="0">
                    <a:pos x="T6" y="T7"/>
                  </a:cxn>
                  <a:cxn ang="0">
                    <a:pos x="T8" y="T9"/>
                  </a:cxn>
                  <a:cxn ang="0">
                    <a:pos x="T10" y="T11"/>
                  </a:cxn>
                </a:cxnLst>
                <a:rect l="0" t="0" r="r" b="b"/>
                <a:pathLst>
                  <a:path w="13" h="10">
                    <a:moveTo>
                      <a:pt x="0" y="9"/>
                    </a:moveTo>
                    <a:cubicBezTo>
                      <a:pt x="2" y="7"/>
                      <a:pt x="2" y="5"/>
                      <a:pt x="4" y="3"/>
                    </a:cubicBezTo>
                    <a:cubicBezTo>
                      <a:pt x="5" y="2"/>
                      <a:pt x="8" y="0"/>
                      <a:pt x="9" y="0"/>
                    </a:cubicBezTo>
                    <a:cubicBezTo>
                      <a:pt x="11" y="1"/>
                      <a:pt x="12" y="3"/>
                      <a:pt x="13" y="5"/>
                    </a:cubicBezTo>
                    <a:cubicBezTo>
                      <a:pt x="13" y="6"/>
                      <a:pt x="11" y="9"/>
                      <a:pt x="10" y="9"/>
                    </a:cubicBezTo>
                    <a:cubicBezTo>
                      <a:pt x="7" y="10"/>
                      <a:pt x="4" y="9"/>
                      <a:pt x="0" y="9"/>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GB" sz="1400" dirty="0">
                  <a:latin typeface="+mn-lt"/>
                </a:endParaRPr>
              </a:p>
            </p:txBody>
          </p:sp>
          <p:sp>
            <p:nvSpPr>
              <p:cNvPr id="53" name="Freeform 53"/>
              <p:cNvSpPr>
                <a:spLocks/>
              </p:cNvSpPr>
              <p:nvPr/>
            </p:nvSpPr>
            <p:spPr bwMode="auto">
              <a:xfrm>
                <a:off x="1041560" y="4091235"/>
                <a:ext cx="10268" cy="7179"/>
              </a:xfrm>
              <a:custGeom>
                <a:avLst/>
                <a:gdLst>
                  <a:gd name="T0" fmla="*/ 0 w 10"/>
                  <a:gd name="T1" fmla="*/ 4 h 8"/>
                  <a:gd name="T2" fmla="*/ 4 w 10"/>
                  <a:gd name="T3" fmla="*/ 8 h 8"/>
                  <a:gd name="T4" fmla="*/ 10 w 10"/>
                  <a:gd name="T5" fmla="*/ 4 h 8"/>
                  <a:gd name="T6" fmla="*/ 8 w 10"/>
                  <a:gd name="T7" fmla="*/ 0 h 8"/>
                  <a:gd name="T8" fmla="*/ 0 w 10"/>
                  <a:gd name="T9" fmla="*/ 4 h 8"/>
                  <a:gd name="T10" fmla="*/ 0 w 10"/>
                  <a:gd name="T11" fmla="*/ 4 h 8"/>
                </a:gdLst>
                <a:ahLst/>
                <a:cxnLst>
                  <a:cxn ang="0">
                    <a:pos x="T0" y="T1"/>
                  </a:cxn>
                  <a:cxn ang="0">
                    <a:pos x="T2" y="T3"/>
                  </a:cxn>
                  <a:cxn ang="0">
                    <a:pos x="T4" y="T5"/>
                  </a:cxn>
                  <a:cxn ang="0">
                    <a:pos x="T6" y="T7"/>
                  </a:cxn>
                  <a:cxn ang="0">
                    <a:pos x="T8" y="T9"/>
                  </a:cxn>
                  <a:cxn ang="0">
                    <a:pos x="T10" y="T11"/>
                  </a:cxn>
                </a:cxnLst>
                <a:rect l="0" t="0" r="r" b="b"/>
                <a:pathLst>
                  <a:path w="10" h="8">
                    <a:moveTo>
                      <a:pt x="0" y="4"/>
                    </a:moveTo>
                    <a:lnTo>
                      <a:pt x="4" y="8"/>
                    </a:lnTo>
                    <a:lnTo>
                      <a:pt x="10" y="4"/>
                    </a:lnTo>
                    <a:lnTo>
                      <a:pt x="8" y="0"/>
                    </a:lnTo>
                    <a:lnTo>
                      <a:pt x="0" y="4"/>
                    </a:lnTo>
                    <a:lnTo>
                      <a:pt x="0" y="4"/>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GB" sz="1400" dirty="0">
                  <a:latin typeface="+mn-lt"/>
                </a:endParaRPr>
              </a:p>
            </p:txBody>
          </p:sp>
        </p:grpSp>
      </p:grpSp>
      <p:sp>
        <p:nvSpPr>
          <p:cNvPr id="15" name="TextBox 14"/>
          <p:cNvSpPr txBox="1">
            <a:spLocks/>
          </p:cNvSpPr>
          <p:nvPr/>
        </p:nvSpPr>
        <p:spPr>
          <a:xfrm>
            <a:off x="3483840" y="4551991"/>
            <a:ext cx="5247920" cy="900246"/>
          </a:xfrm>
          <a:prstGeom prst="rect">
            <a:avLst/>
          </a:prstGeom>
        </p:spPr>
        <p:txBody>
          <a:bodyPr vert="horz" wrap="square" lIns="0" tIns="0" rIns="0" bIns="0" rtlCol="0">
            <a:sp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1">
              <a:spcAft>
                <a:spcPts val="300"/>
              </a:spcAft>
            </a:pPr>
            <a:r>
              <a:rPr lang="en-US" dirty="0"/>
              <a:t>India-specific Regional Org Structure for global clients, Governance models</a:t>
            </a:r>
          </a:p>
          <a:p>
            <a:pPr lvl="1">
              <a:spcAft>
                <a:spcPts val="300"/>
              </a:spcAft>
            </a:pPr>
            <a:r>
              <a:rPr lang="en-US" dirty="0"/>
              <a:t>Best-in-class Overhead functions, Leadership Capability Building</a:t>
            </a:r>
            <a:endParaRPr lang="en-GB" dirty="0"/>
          </a:p>
        </p:txBody>
      </p:sp>
      <p:sp>
        <p:nvSpPr>
          <p:cNvPr id="89" name="Oval 88"/>
          <p:cNvSpPr/>
          <p:nvPr/>
        </p:nvSpPr>
        <p:spPr>
          <a:xfrm>
            <a:off x="2110629" y="4848465"/>
            <a:ext cx="791866" cy="307298"/>
          </a:xfrm>
          <a:prstGeom prst="ellipse">
            <a:avLst/>
          </a:prstGeom>
          <a:solidFill>
            <a:schemeClr val="tx2"/>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bg1"/>
                </a:solidFill>
              </a:rPr>
              <a:t>12</a:t>
            </a:r>
            <a:endParaRPr lang="en-GB" sz="1400" b="1" dirty="0">
              <a:solidFill>
                <a:schemeClr val="bg1"/>
              </a:solidFill>
            </a:endParaRPr>
          </a:p>
        </p:txBody>
      </p:sp>
      <p:grpSp>
        <p:nvGrpSpPr>
          <p:cNvPr id="85" name="Group 84"/>
          <p:cNvGrpSpPr>
            <a:grpSpLocks/>
          </p:cNvGrpSpPr>
          <p:nvPr/>
        </p:nvGrpSpPr>
        <p:grpSpPr>
          <a:xfrm>
            <a:off x="238866" y="4551991"/>
            <a:ext cx="1290418" cy="900246"/>
            <a:chOff x="276257" y="4566289"/>
            <a:chExt cx="1276870" cy="864000"/>
          </a:xfrm>
        </p:grpSpPr>
        <p:sp>
          <p:nvSpPr>
            <p:cNvPr id="20" name="Rectangle 19"/>
            <p:cNvSpPr>
              <a:spLocks/>
            </p:cNvSpPr>
            <p:nvPr/>
          </p:nvSpPr>
          <p:spPr>
            <a:xfrm>
              <a:off x="276257" y="4566289"/>
              <a:ext cx="1276870" cy="864000"/>
            </a:xfrm>
            <a:prstGeom prst="rect">
              <a:avLst/>
            </a:prstGeom>
            <a:solidFill>
              <a:schemeClr val="accent2"/>
            </a:solid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noAutofit/>
            </a:bodyPr>
            <a:lstStyle/>
            <a:p>
              <a:r>
                <a:rPr lang="en-GB" sz="1400" b="1" dirty="0">
                  <a:solidFill>
                    <a:schemeClr val="bg1"/>
                  </a:solidFill>
                </a:rPr>
                <a:t>Organisation</a:t>
              </a:r>
            </a:p>
          </p:txBody>
        </p:sp>
        <p:grpSp>
          <p:nvGrpSpPr>
            <p:cNvPr id="84" name="Group 83"/>
            <p:cNvGrpSpPr/>
            <p:nvPr/>
          </p:nvGrpSpPr>
          <p:grpSpPr>
            <a:xfrm>
              <a:off x="992070" y="4899246"/>
              <a:ext cx="537102" cy="495383"/>
              <a:chOff x="992070" y="4899246"/>
              <a:chExt cx="537102" cy="495383"/>
            </a:xfrm>
          </p:grpSpPr>
          <p:sp>
            <p:nvSpPr>
              <p:cNvPr id="55" name="Freeform 37"/>
              <p:cNvSpPr>
                <a:spLocks/>
              </p:cNvSpPr>
              <p:nvPr/>
            </p:nvSpPr>
            <p:spPr bwMode="auto">
              <a:xfrm>
                <a:off x="1051448" y="4932272"/>
                <a:ext cx="75572" cy="73128"/>
              </a:xfrm>
              <a:custGeom>
                <a:avLst/>
                <a:gdLst>
                  <a:gd name="T0" fmla="*/ 6 w 59"/>
                  <a:gd name="T1" fmla="*/ 42 h 65"/>
                  <a:gd name="T2" fmla="*/ 30 w 59"/>
                  <a:gd name="T3" fmla="*/ 65 h 65"/>
                  <a:gd name="T4" fmla="*/ 53 w 59"/>
                  <a:gd name="T5" fmla="*/ 41 h 65"/>
                  <a:gd name="T6" fmla="*/ 58 w 59"/>
                  <a:gd name="T7" fmla="*/ 31 h 65"/>
                  <a:gd name="T8" fmla="*/ 55 w 59"/>
                  <a:gd name="T9" fmla="*/ 27 h 65"/>
                  <a:gd name="T10" fmla="*/ 30 w 59"/>
                  <a:gd name="T11" fmla="*/ 0 h 65"/>
                  <a:gd name="T12" fmla="*/ 4 w 59"/>
                  <a:gd name="T13" fmla="*/ 26 h 65"/>
                  <a:gd name="T14" fmla="*/ 0 w 59"/>
                  <a:gd name="T15" fmla="*/ 31 h 65"/>
                  <a:gd name="T16" fmla="*/ 6 w 59"/>
                  <a:gd name="T17" fmla="*/ 42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9" h="65">
                    <a:moveTo>
                      <a:pt x="6" y="42"/>
                    </a:moveTo>
                    <a:cubicBezTo>
                      <a:pt x="9" y="54"/>
                      <a:pt x="17" y="65"/>
                      <a:pt x="30" y="65"/>
                    </a:cubicBezTo>
                    <a:cubicBezTo>
                      <a:pt x="42" y="65"/>
                      <a:pt x="50" y="53"/>
                      <a:pt x="53" y="41"/>
                    </a:cubicBezTo>
                    <a:cubicBezTo>
                      <a:pt x="57" y="40"/>
                      <a:pt x="59" y="35"/>
                      <a:pt x="58" y="31"/>
                    </a:cubicBezTo>
                    <a:cubicBezTo>
                      <a:pt x="58" y="29"/>
                      <a:pt x="57" y="27"/>
                      <a:pt x="55" y="27"/>
                    </a:cubicBezTo>
                    <a:cubicBezTo>
                      <a:pt x="54" y="12"/>
                      <a:pt x="44" y="0"/>
                      <a:pt x="30" y="0"/>
                    </a:cubicBezTo>
                    <a:cubicBezTo>
                      <a:pt x="15" y="0"/>
                      <a:pt x="5" y="12"/>
                      <a:pt x="4" y="26"/>
                    </a:cubicBezTo>
                    <a:cubicBezTo>
                      <a:pt x="2" y="27"/>
                      <a:pt x="1" y="28"/>
                      <a:pt x="0" y="31"/>
                    </a:cubicBezTo>
                    <a:cubicBezTo>
                      <a:pt x="0" y="35"/>
                      <a:pt x="2" y="41"/>
                      <a:pt x="6" y="42"/>
                    </a:cubicBezTo>
                  </a:path>
                </a:pathLst>
              </a:custGeom>
              <a:solidFill>
                <a:schemeClr val="bg1"/>
              </a:solidFill>
              <a:ln>
                <a:noFill/>
              </a:ln>
            </p:spPr>
            <p:txBody>
              <a:bodyPr vert="horz" wrap="square" lIns="91440" tIns="45720" rIns="91440" bIns="45720" numCol="1" anchor="t" anchorCtr="0" compatLnSpc="1">
                <a:prstTxWarp prst="textNoShape">
                  <a:avLst/>
                </a:prstTxWarp>
                <a:noAutofit/>
              </a:bodyPr>
              <a:lstStyle/>
              <a:p>
                <a:endParaRPr lang="en-GB" sz="1400" dirty="0">
                  <a:latin typeface="+mn-lt"/>
                </a:endParaRPr>
              </a:p>
            </p:txBody>
          </p:sp>
          <p:sp>
            <p:nvSpPr>
              <p:cNvPr id="56" name="Freeform 38"/>
              <p:cNvSpPr>
                <a:spLocks/>
              </p:cNvSpPr>
              <p:nvPr/>
            </p:nvSpPr>
            <p:spPr bwMode="auto">
              <a:xfrm>
                <a:off x="1394222" y="4932272"/>
                <a:ext cx="75572" cy="73128"/>
              </a:xfrm>
              <a:custGeom>
                <a:avLst/>
                <a:gdLst>
                  <a:gd name="T0" fmla="*/ 7 w 59"/>
                  <a:gd name="T1" fmla="*/ 42 h 65"/>
                  <a:gd name="T2" fmla="*/ 30 w 59"/>
                  <a:gd name="T3" fmla="*/ 65 h 65"/>
                  <a:gd name="T4" fmla="*/ 53 w 59"/>
                  <a:gd name="T5" fmla="*/ 41 h 65"/>
                  <a:gd name="T6" fmla="*/ 59 w 59"/>
                  <a:gd name="T7" fmla="*/ 31 h 65"/>
                  <a:gd name="T8" fmla="*/ 55 w 59"/>
                  <a:gd name="T9" fmla="*/ 27 h 65"/>
                  <a:gd name="T10" fmla="*/ 30 w 59"/>
                  <a:gd name="T11" fmla="*/ 0 h 65"/>
                  <a:gd name="T12" fmla="*/ 5 w 59"/>
                  <a:gd name="T13" fmla="*/ 26 h 65"/>
                  <a:gd name="T14" fmla="*/ 0 w 59"/>
                  <a:gd name="T15" fmla="*/ 31 h 65"/>
                  <a:gd name="T16" fmla="*/ 7 w 59"/>
                  <a:gd name="T17" fmla="*/ 42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9" h="65">
                    <a:moveTo>
                      <a:pt x="7" y="42"/>
                    </a:moveTo>
                    <a:cubicBezTo>
                      <a:pt x="10" y="54"/>
                      <a:pt x="18" y="65"/>
                      <a:pt x="30" y="65"/>
                    </a:cubicBezTo>
                    <a:cubicBezTo>
                      <a:pt x="42" y="65"/>
                      <a:pt x="50" y="53"/>
                      <a:pt x="53" y="41"/>
                    </a:cubicBezTo>
                    <a:cubicBezTo>
                      <a:pt x="57" y="40"/>
                      <a:pt x="59" y="35"/>
                      <a:pt x="59" y="31"/>
                    </a:cubicBezTo>
                    <a:cubicBezTo>
                      <a:pt x="58" y="29"/>
                      <a:pt x="57" y="27"/>
                      <a:pt x="55" y="27"/>
                    </a:cubicBezTo>
                    <a:cubicBezTo>
                      <a:pt x="54" y="12"/>
                      <a:pt x="45" y="0"/>
                      <a:pt x="30" y="0"/>
                    </a:cubicBezTo>
                    <a:cubicBezTo>
                      <a:pt x="15" y="0"/>
                      <a:pt x="6" y="12"/>
                      <a:pt x="5" y="26"/>
                    </a:cubicBezTo>
                    <a:cubicBezTo>
                      <a:pt x="3" y="27"/>
                      <a:pt x="1" y="28"/>
                      <a:pt x="0" y="31"/>
                    </a:cubicBezTo>
                    <a:cubicBezTo>
                      <a:pt x="0" y="35"/>
                      <a:pt x="3" y="41"/>
                      <a:pt x="7" y="42"/>
                    </a:cubicBezTo>
                  </a:path>
                </a:pathLst>
              </a:custGeom>
              <a:solidFill>
                <a:schemeClr val="bg1"/>
              </a:solidFill>
              <a:ln>
                <a:noFill/>
              </a:ln>
            </p:spPr>
            <p:txBody>
              <a:bodyPr vert="horz" wrap="square" lIns="91440" tIns="45720" rIns="91440" bIns="45720" numCol="1" anchor="t" anchorCtr="0" compatLnSpc="1">
                <a:prstTxWarp prst="textNoShape">
                  <a:avLst/>
                </a:prstTxWarp>
                <a:noAutofit/>
              </a:bodyPr>
              <a:lstStyle/>
              <a:p>
                <a:endParaRPr lang="en-GB" sz="1400" dirty="0">
                  <a:latin typeface="+mn-lt"/>
                </a:endParaRPr>
              </a:p>
            </p:txBody>
          </p:sp>
          <p:sp>
            <p:nvSpPr>
              <p:cNvPr id="57" name="Freeform 39"/>
              <p:cNvSpPr>
                <a:spLocks/>
              </p:cNvSpPr>
              <p:nvPr/>
            </p:nvSpPr>
            <p:spPr bwMode="auto">
              <a:xfrm>
                <a:off x="1009613" y="5007758"/>
                <a:ext cx="149795" cy="259486"/>
              </a:xfrm>
              <a:custGeom>
                <a:avLst/>
                <a:gdLst>
                  <a:gd name="T0" fmla="*/ 12 w 116"/>
                  <a:gd name="T1" fmla="*/ 120 h 230"/>
                  <a:gd name="T2" fmla="*/ 23 w 116"/>
                  <a:gd name="T3" fmla="*/ 109 h 230"/>
                  <a:gd name="T4" fmla="*/ 22 w 116"/>
                  <a:gd name="T5" fmla="*/ 70 h 230"/>
                  <a:gd name="T6" fmla="*/ 28 w 116"/>
                  <a:gd name="T7" fmla="*/ 35 h 230"/>
                  <a:gd name="T8" fmla="*/ 28 w 116"/>
                  <a:gd name="T9" fmla="*/ 35 h 230"/>
                  <a:gd name="T10" fmla="*/ 28 w 116"/>
                  <a:gd name="T11" fmla="*/ 102 h 230"/>
                  <a:gd name="T12" fmla="*/ 29 w 116"/>
                  <a:gd name="T13" fmla="*/ 109 h 230"/>
                  <a:gd name="T14" fmla="*/ 29 w 116"/>
                  <a:gd name="T15" fmla="*/ 216 h 230"/>
                  <a:gd name="T16" fmla="*/ 43 w 116"/>
                  <a:gd name="T17" fmla="*/ 230 h 230"/>
                  <a:gd name="T18" fmla="*/ 43 w 116"/>
                  <a:gd name="T19" fmla="*/ 230 h 230"/>
                  <a:gd name="T20" fmla="*/ 58 w 116"/>
                  <a:gd name="T21" fmla="*/ 216 h 230"/>
                  <a:gd name="T22" fmla="*/ 58 w 116"/>
                  <a:gd name="T23" fmla="*/ 121 h 230"/>
                  <a:gd name="T24" fmla="*/ 65 w 116"/>
                  <a:gd name="T25" fmla="*/ 121 h 230"/>
                  <a:gd name="T26" fmla="*/ 65 w 116"/>
                  <a:gd name="T27" fmla="*/ 216 h 230"/>
                  <a:gd name="T28" fmla="*/ 79 w 116"/>
                  <a:gd name="T29" fmla="*/ 230 h 230"/>
                  <a:gd name="T30" fmla="*/ 79 w 116"/>
                  <a:gd name="T31" fmla="*/ 230 h 230"/>
                  <a:gd name="T32" fmla="*/ 93 w 116"/>
                  <a:gd name="T33" fmla="*/ 216 h 230"/>
                  <a:gd name="T34" fmla="*/ 93 w 116"/>
                  <a:gd name="T35" fmla="*/ 109 h 230"/>
                  <a:gd name="T36" fmla="*/ 94 w 116"/>
                  <a:gd name="T37" fmla="*/ 102 h 230"/>
                  <a:gd name="T38" fmla="*/ 94 w 116"/>
                  <a:gd name="T39" fmla="*/ 35 h 230"/>
                  <a:gd name="T40" fmla="*/ 94 w 116"/>
                  <a:gd name="T41" fmla="*/ 35 h 230"/>
                  <a:gd name="T42" fmla="*/ 100 w 116"/>
                  <a:gd name="T43" fmla="*/ 70 h 230"/>
                  <a:gd name="T44" fmla="*/ 99 w 116"/>
                  <a:gd name="T45" fmla="*/ 109 h 230"/>
                  <a:gd name="T46" fmla="*/ 108 w 116"/>
                  <a:gd name="T47" fmla="*/ 120 h 230"/>
                  <a:gd name="T48" fmla="*/ 107 w 116"/>
                  <a:gd name="T49" fmla="*/ 85 h 230"/>
                  <a:gd name="T50" fmla="*/ 116 w 116"/>
                  <a:gd name="T51" fmla="*/ 33 h 230"/>
                  <a:gd name="T52" fmla="*/ 106 w 116"/>
                  <a:gd name="T53" fmla="*/ 11 h 230"/>
                  <a:gd name="T54" fmla="*/ 84 w 116"/>
                  <a:gd name="T55" fmla="*/ 2 h 230"/>
                  <a:gd name="T56" fmla="*/ 78 w 116"/>
                  <a:gd name="T57" fmla="*/ 0 h 230"/>
                  <a:gd name="T58" fmla="*/ 78 w 116"/>
                  <a:gd name="T59" fmla="*/ 0 h 230"/>
                  <a:gd name="T60" fmla="*/ 78 w 116"/>
                  <a:gd name="T61" fmla="*/ 0 h 230"/>
                  <a:gd name="T62" fmla="*/ 68 w 116"/>
                  <a:gd name="T63" fmla="*/ 34 h 230"/>
                  <a:gd name="T64" fmla="*/ 64 w 116"/>
                  <a:gd name="T65" fmla="*/ 13 h 230"/>
                  <a:gd name="T66" fmla="*/ 67 w 116"/>
                  <a:gd name="T67" fmla="*/ 7 h 230"/>
                  <a:gd name="T68" fmla="*/ 63 w 116"/>
                  <a:gd name="T69" fmla="*/ 3 h 230"/>
                  <a:gd name="T70" fmla="*/ 60 w 116"/>
                  <a:gd name="T71" fmla="*/ 3 h 230"/>
                  <a:gd name="T72" fmla="*/ 55 w 116"/>
                  <a:gd name="T73" fmla="*/ 7 h 230"/>
                  <a:gd name="T74" fmla="*/ 58 w 116"/>
                  <a:gd name="T75" fmla="*/ 13 h 230"/>
                  <a:gd name="T76" fmla="*/ 55 w 116"/>
                  <a:gd name="T77" fmla="*/ 34 h 230"/>
                  <a:gd name="T78" fmla="*/ 45 w 116"/>
                  <a:gd name="T79" fmla="*/ 0 h 230"/>
                  <a:gd name="T80" fmla="*/ 45 w 116"/>
                  <a:gd name="T81" fmla="*/ 0 h 230"/>
                  <a:gd name="T82" fmla="*/ 45 w 116"/>
                  <a:gd name="T83" fmla="*/ 0 h 230"/>
                  <a:gd name="T84" fmla="*/ 38 w 116"/>
                  <a:gd name="T85" fmla="*/ 2 h 230"/>
                  <a:gd name="T86" fmla="*/ 16 w 116"/>
                  <a:gd name="T87" fmla="*/ 11 h 230"/>
                  <a:gd name="T88" fmla="*/ 1 w 116"/>
                  <a:gd name="T89" fmla="*/ 69 h 230"/>
                  <a:gd name="T90" fmla="*/ 3 w 116"/>
                  <a:gd name="T91" fmla="*/ 107 h 230"/>
                  <a:gd name="T92" fmla="*/ 12 w 116"/>
                  <a:gd name="T93" fmla="*/ 120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16" h="230">
                    <a:moveTo>
                      <a:pt x="12" y="120"/>
                    </a:moveTo>
                    <a:cubicBezTo>
                      <a:pt x="20" y="120"/>
                      <a:pt x="23" y="115"/>
                      <a:pt x="23" y="109"/>
                    </a:cubicBezTo>
                    <a:cubicBezTo>
                      <a:pt x="23" y="109"/>
                      <a:pt x="21" y="88"/>
                      <a:pt x="22" y="70"/>
                    </a:cubicBezTo>
                    <a:cubicBezTo>
                      <a:pt x="22" y="56"/>
                      <a:pt x="27" y="36"/>
                      <a:pt x="28" y="35"/>
                    </a:cubicBezTo>
                    <a:cubicBezTo>
                      <a:pt x="28" y="35"/>
                      <a:pt x="28" y="35"/>
                      <a:pt x="28" y="35"/>
                    </a:cubicBezTo>
                    <a:cubicBezTo>
                      <a:pt x="28" y="102"/>
                      <a:pt x="28" y="102"/>
                      <a:pt x="28" y="102"/>
                    </a:cubicBezTo>
                    <a:cubicBezTo>
                      <a:pt x="28" y="105"/>
                      <a:pt x="28" y="107"/>
                      <a:pt x="29" y="109"/>
                    </a:cubicBezTo>
                    <a:cubicBezTo>
                      <a:pt x="29" y="216"/>
                      <a:pt x="29" y="216"/>
                      <a:pt x="29" y="216"/>
                    </a:cubicBezTo>
                    <a:cubicBezTo>
                      <a:pt x="29" y="224"/>
                      <a:pt x="35" y="230"/>
                      <a:pt x="43" y="230"/>
                    </a:cubicBezTo>
                    <a:cubicBezTo>
                      <a:pt x="43" y="230"/>
                      <a:pt x="43" y="230"/>
                      <a:pt x="43" y="230"/>
                    </a:cubicBezTo>
                    <a:cubicBezTo>
                      <a:pt x="51" y="230"/>
                      <a:pt x="58" y="224"/>
                      <a:pt x="58" y="216"/>
                    </a:cubicBezTo>
                    <a:cubicBezTo>
                      <a:pt x="58" y="121"/>
                      <a:pt x="58" y="121"/>
                      <a:pt x="58" y="121"/>
                    </a:cubicBezTo>
                    <a:cubicBezTo>
                      <a:pt x="65" y="121"/>
                      <a:pt x="65" y="121"/>
                      <a:pt x="65" y="121"/>
                    </a:cubicBezTo>
                    <a:cubicBezTo>
                      <a:pt x="65" y="216"/>
                      <a:pt x="65" y="216"/>
                      <a:pt x="65" y="216"/>
                    </a:cubicBezTo>
                    <a:cubicBezTo>
                      <a:pt x="65" y="224"/>
                      <a:pt x="71" y="230"/>
                      <a:pt x="79" y="230"/>
                    </a:cubicBezTo>
                    <a:cubicBezTo>
                      <a:pt x="79" y="230"/>
                      <a:pt x="79" y="230"/>
                      <a:pt x="79" y="230"/>
                    </a:cubicBezTo>
                    <a:cubicBezTo>
                      <a:pt x="87" y="230"/>
                      <a:pt x="93" y="224"/>
                      <a:pt x="93" y="216"/>
                    </a:cubicBezTo>
                    <a:cubicBezTo>
                      <a:pt x="93" y="109"/>
                      <a:pt x="93" y="109"/>
                      <a:pt x="93" y="109"/>
                    </a:cubicBezTo>
                    <a:cubicBezTo>
                      <a:pt x="94" y="107"/>
                      <a:pt x="94" y="105"/>
                      <a:pt x="94" y="102"/>
                    </a:cubicBezTo>
                    <a:cubicBezTo>
                      <a:pt x="94" y="35"/>
                      <a:pt x="94" y="35"/>
                      <a:pt x="94" y="35"/>
                    </a:cubicBezTo>
                    <a:cubicBezTo>
                      <a:pt x="94" y="35"/>
                      <a:pt x="94" y="35"/>
                      <a:pt x="94" y="35"/>
                    </a:cubicBezTo>
                    <a:cubicBezTo>
                      <a:pt x="96" y="36"/>
                      <a:pt x="100" y="56"/>
                      <a:pt x="100" y="70"/>
                    </a:cubicBezTo>
                    <a:cubicBezTo>
                      <a:pt x="101" y="88"/>
                      <a:pt x="99" y="109"/>
                      <a:pt x="99" y="109"/>
                    </a:cubicBezTo>
                    <a:cubicBezTo>
                      <a:pt x="99" y="114"/>
                      <a:pt x="102" y="120"/>
                      <a:pt x="108" y="120"/>
                    </a:cubicBezTo>
                    <a:cubicBezTo>
                      <a:pt x="107" y="109"/>
                      <a:pt x="106" y="95"/>
                      <a:pt x="107" y="85"/>
                    </a:cubicBezTo>
                    <a:cubicBezTo>
                      <a:pt x="109" y="62"/>
                      <a:pt x="112" y="45"/>
                      <a:pt x="116" y="33"/>
                    </a:cubicBezTo>
                    <a:cubicBezTo>
                      <a:pt x="112" y="18"/>
                      <a:pt x="107" y="13"/>
                      <a:pt x="106" y="11"/>
                    </a:cubicBezTo>
                    <a:cubicBezTo>
                      <a:pt x="100" y="8"/>
                      <a:pt x="91" y="5"/>
                      <a:pt x="84" y="2"/>
                    </a:cubicBezTo>
                    <a:cubicBezTo>
                      <a:pt x="82" y="1"/>
                      <a:pt x="80" y="0"/>
                      <a:pt x="78" y="0"/>
                    </a:cubicBezTo>
                    <a:cubicBezTo>
                      <a:pt x="78" y="0"/>
                      <a:pt x="78" y="0"/>
                      <a:pt x="78" y="0"/>
                    </a:cubicBezTo>
                    <a:cubicBezTo>
                      <a:pt x="78" y="0"/>
                      <a:pt x="78" y="0"/>
                      <a:pt x="78" y="0"/>
                    </a:cubicBezTo>
                    <a:cubicBezTo>
                      <a:pt x="77" y="6"/>
                      <a:pt x="75" y="18"/>
                      <a:pt x="68" y="34"/>
                    </a:cubicBezTo>
                    <a:cubicBezTo>
                      <a:pt x="67" y="24"/>
                      <a:pt x="65" y="14"/>
                      <a:pt x="64" y="13"/>
                    </a:cubicBezTo>
                    <a:cubicBezTo>
                      <a:pt x="67" y="7"/>
                      <a:pt x="67" y="7"/>
                      <a:pt x="67" y="7"/>
                    </a:cubicBezTo>
                    <a:cubicBezTo>
                      <a:pt x="63" y="3"/>
                      <a:pt x="63" y="3"/>
                      <a:pt x="63" y="3"/>
                    </a:cubicBezTo>
                    <a:cubicBezTo>
                      <a:pt x="60" y="3"/>
                      <a:pt x="60" y="3"/>
                      <a:pt x="60" y="3"/>
                    </a:cubicBezTo>
                    <a:cubicBezTo>
                      <a:pt x="55" y="7"/>
                      <a:pt x="55" y="7"/>
                      <a:pt x="55" y="7"/>
                    </a:cubicBezTo>
                    <a:cubicBezTo>
                      <a:pt x="58" y="13"/>
                      <a:pt x="58" y="13"/>
                      <a:pt x="58" y="13"/>
                    </a:cubicBezTo>
                    <a:cubicBezTo>
                      <a:pt x="58" y="14"/>
                      <a:pt x="56" y="24"/>
                      <a:pt x="55" y="34"/>
                    </a:cubicBezTo>
                    <a:cubicBezTo>
                      <a:pt x="47" y="18"/>
                      <a:pt x="45" y="6"/>
                      <a:pt x="45" y="0"/>
                    </a:cubicBezTo>
                    <a:cubicBezTo>
                      <a:pt x="45" y="0"/>
                      <a:pt x="45" y="0"/>
                      <a:pt x="45" y="0"/>
                    </a:cubicBezTo>
                    <a:cubicBezTo>
                      <a:pt x="45" y="0"/>
                      <a:pt x="45" y="0"/>
                      <a:pt x="45" y="0"/>
                    </a:cubicBezTo>
                    <a:cubicBezTo>
                      <a:pt x="42" y="0"/>
                      <a:pt x="40" y="1"/>
                      <a:pt x="38" y="2"/>
                    </a:cubicBezTo>
                    <a:cubicBezTo>
                      <a:pt x="32" y="5"/>
                      <a:pt x="22" y="8"/>
                      <a:pt x="16" y="11"/>
                    </a:cubicBezTo>
                    <a:cubicBezTo>
                      <a:pt x="14" y="13"/>
                      <a:pt x="4" y="27"/>
                      <a:pt x="1" y="69"/>
                    </a:cubicBezTo>
                    <a:cubicBezTo>
                      <a:pt x="0" y="82"/>
                      <a:pt x="3" y="107"/>
                      <a:pt x="3" y="107"/>
                    </a:cubicBezTo>
                    <a:cubicBezTo>
                      <a:pt x="4" y="114"/>
                      <a:pt x="5" y="120"/>
                      <a:pt x="12" y="120"/>
                    </a:cubicBezTo>
                  </a:path>
                </a:pathLst>
              </a:custGeom>
              <a:solidFill>
                <a:schemeClr val="bg1"/>
              </a:solidFill>
              <a:ln>
                <a:noFill/>
              </a:ln>
            </p:spPr>
            <p:txBody>
              <a:bodyPr vert="horz" wrap="square" lIns="91440" tIns="45720" rIns="91440" bIns="45720" numCol="1" anchor="t" anchorCtr="0" compatLnSpc="1">
                <a:prstTxWarp prst="textNoShape">
                  <a:avLst/>
                </a:prstTxWarp>
                <a:noAutofit/>
              </a:bodyPr>
              <a:lstStyle/>
              <a:p>
                <a:endParaRPr lang="en-GB" sz="1400" dirty="0">
                  <a:latin typeface="+mn-lt"/>
                </a:endParaRPr>
              </a:p>
            </p:txBody>
          </p:sp>
          <p:sp>
            <p:nvSpPr>
              <p:cNvPr id="58" name="Freeform 40"/>
              <p:cNvSpPr>
                <a:spLocks/>
              </p:cNvSpPr>
              <p:nvPr/>
            </p:nvSpPr>
            <p:spPr bwMode="auto">
              <a:xfrm>
                <a:off x="1361833" y="5007758"/>
                <a:ext cx="149795" cy="259486"/>
              </a:xfrm>
              <a:custGeom>
                <a:avLst/>
                <a:gdLst>
                  <a:gd name="T0" fmla="*/ 8 w 116"/>
                  <a:gd name="T1" fmla="*/ 120 h 230"/>
                  <a:gd name="T2" fmla="*/ 17 w 116"/>
                  <a:gd name="T3" fmla="*/ 109 h 230"/>
                  <a:gd name="T4" fmla="*/ 15 w 116"/>
                  <a:gd name="T5" fmla="*/ 70 h 230"/>
                  <a:gd name="T6" fmla="*/ 22 w 116"/>
                  <a:gd name="T7" fmla="*/ 35 h 230"/>
                  <a:gd name="T8" fmla="*/ 22 w 116"/>
                  <a:gd name="T9" fmla="*/ 35 h 230"/>
                  <a:gd name="T10" fmla="*/ 22 w 116"/>
                  <a:gd name="T11" fmla="*/ 102 h 230"/>
                  <a:gd name="T12" fmla="*/ 23 w 116"/>
                  <a:gd name="T13" fmla="*/ 109 h 230"/>
                  <a:gd name="T14" fmla="*/ 23 w 116"/>
                  <a:gd name="T15" fmla="*/ 216 h 230"/>
                  <a:gd name="T16" fmla="*/ 37 w 116"/>
                  <a:gd name="T17" fmla="*/ 230 h 230"/>
                  <a:gd name="T18" fmla="*/ 37 w 116"/>
                  <a:gd name="T19" fmla="*/ 230 h 230"/>
                  <a:gd name="T20" fmla="*/ 51 w 116"/>
                  <a:gd name="T21" fmla="*/ 216 h 230"/>
                  <a:gd name="T22" fmla="*/ 51 w 116"/>
                  <a:gd name="T23" fmla="*/ 121 h 230"/>
                  <a:gd name="T24" fmla="*/ 58 w 116"/>
                  <a:gd name="T25" fmla="*/ 121 h 230"/>
                  <a:gd name="T26" fmla="*/ 58 w 116"/>
                  <a:gd name="T27" fmla="*/ 216 h 230"/>
                  <a:gd name="T28" fmla="*/ 72 w 116"/>
                  <a:gd name="T29" fmla="*/ 230 h 230"/>
                  <a:gd name="T30" fmla="*/ 73 w 116"/>
                  <a:gd name="T31" fmla="*/ 230 h 230"/>
                  <a:gd name="T32" fmla="*/ 87 w 116"/>
                  <a:gd name="T33" fmla="*/ 216 h 230"/>
                  <a:gd name="T34" fmla="*/ 87 w 116"/>
                  <a:gd name="T35" fmla="*/ 109 h 230"/>
                  <a:gd name="T36" fmla="*/ 88 w 116"/>
                  <a:gd name="T37" fmla="*/ 102 h 230"/>
                  <a:gd name="T38" fmla="*/ 88 w 116"/>
                  <a:gd name="T39" fmla="*/ 35 h 230"/>
                  <a:gd name="T40" fmla="*/ 88 w 116"/>
                  <a:gd name="T41" fmla="*/ 35 h 230"/>
                  <a:gd name="T42" fmla="*/ 94 w 116"/>
                  <a:gd name="T43" fmla="*/ 70 h 230"/>
                  <a:gd name="T44" fmla="*/ 93 w 116"/>
                  <a:gd name="T45" fmla="*/ 109 h 230"/>
                  <a:gd name="T46" fmla="*/ 103 w 116"/>
                  <a:gd name="T47" fmla="*/ 120 h 230"/>
                  <a:gd name="T48" fmla="*/ 113 w 116"/>
                  <a:gd name="T49" fmla="*/ 107 h 230"/>
                  <a:gd name="T50" fmla="*/ 115 w 116"/>
                  <a:gd name="T51" fmla="*/ 69 h 230"/>
                  <a:gd name="T52" fmla="*/ 99 w 116"/>
                  <a:gd name="T53" fmla="*/ 11 h 230"/>
                  <a:gd name="T54" fmla="*/ 77 w 116"/>
                  <a:gd name="T55" fmla="*/ 2 h 230"/>
                  <a:gd name="T56" fmla="*/ 71 w 116"/>
                  <a:gd name="T57" fmla="*/ 0 h 230"/>
                  <a:gd name="T58" fmla="*/ 71 w 116"/>
                  <a:gd name="T59" fmla="*/ 0 h 230"/>
                  <a:gd name="T60" fmla="*/ 71 w 116"/>
                  <a:gd name="T61" fmla="*/ 0 h 230"/>
                  <a:gd name="T62" fmla="*/ 61 w 116"/>
                  <a:gd name="T63" fmla="*/ 34 h 230"/>
                  <a:gd name="T64" fmla="*/ 58 w 116"/>
                  <a:gd name="T65" fmla="*/ 13 h 230"/>
                  <a:gd name="T66" fmla="*/ 61 w 116"/>
                  <a:gd name="T67" fmla="*/ 7 h 230"/>
                  <a:gd name="T68" fmla="*/ 56 w 116"/>
                  <a:gd name="T69" fmla="*/ 3 h 230"/>
                  <a:gd name="T70" fmla="*/ 53 w 116"/>
                  <a:gd name="T71" fmla="*/ 3 h 230"/>
                  <a:gd name="T72" fmla="*/ 48 w 116"/>
                  <a:gd name="T73" fmla="*/ 7 h 230"/>
                  <a:gd name="T74" fmla="*/ 51 w 116"/>
                  <a:gd name="T75" fmla="*/ 13 h 230"/>
                  <a:gd name="T76" fmla="*/ 48 w 116"/>
                  <a:gd name="T77" fmla="*/ 34 h 230"/>
                  <a:gd name="T78" fmla="*/ 38 w 116"/>
                  <a:gd name="T79" fmla="*/ 0 h 230"/>
                  <a:gd name="T80" fmla="*/ 38 w 116"/>
                  <a:gd name="T81" fmla="*/ 0 h 230"/>
                  <a:gd name="T82" fmla="*/ 38 w 116"/>
                  <a:gd name="T83" fmla="*/ 0 h 230"/>
                  <a:gd name="T84" fmla="*/ 32 w 116"/>
                  <a:gd name="T85" fmla="*/ 2 h 230"/>
                  <a:gd name="T86" fmla="*/ 10 w 116"/>
                  <a:gd name="T87" fmla="*/ 11 h 230"/>
                  <a:gd name="T88" fmla="*/ 0 w 116"/>
                  <a:gd name="T89" fmla="*/ 33 h 230"/>
                  <a:gd name="T90" fmla="*/ 9 w 116"/>
                  <a:gd name="T91" fmla="*/ 85 h 230"/>
                  <a:gd name="T92" fmla="*/ 8 w 116"/>
                  <a:gd name="T93" fmla="*/ 120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16" h="230">
                    <a:moveTo>
                      <a:pt x="8" y="120"/>
                    </a:moveTo>
                    <a:cubicBezTo>
                      <a:pt x="14" y="120"/>
                      <a:pt x="17" y="114"/>
                      <a:pt x="17" y="109"/>
                    </a:cubicBezTo>
                    <a:cubicBezTo>
                      <a:pt x="17" y="109"/>
                      <a:pt x="14" y="88"/>
                      <a:pt x="15" y="70"/>
                    </a:cubicBezTo>
                    <a:cubicBezTo>
                      <a:pt x="16" y="56"/>
                      <a:pt x="20" y="36"/>
                      <a:pt x="22" y="35"/>
                    </a:cubicBezTo>
                    <a:cubicBezTo>
                      <a:pt x="22" y="35"/>
                      <a:pt x="22" y="35"/>
                      <a:pt x="22" y="35"/>
                    </a:cubicBezTo>
                    <a:cubicBezTo>
                      <a:pt x="22" y="102"/>
                      <a:pt x="22" y="102"/>
                      <a:pt x="22" y="102"/>
                    </a:cubicBezTo>
                    <a:cubicBezTo>
                      <a:pt x="22" y="105"/>
                      <a:pt x="22" y="107"/>
                      <a:pt x="23" y="109"/>
                    </a:cubicBezTo>
                    <a:cubicBezTo>
                      <a:pt x="23" y="216"/>
                      <a:pt x="23" y="216"/>
                      <a:pt x="23" y="216"/>
                    </a:cubicBezTo>
                    <a:cubicBezTo>
                      <a:pt x="23" y="224"/>
                      <a:pt x="29" y="230"/>
                      <a:pt x="37" y="230"/>
                    </a:cubicBezTo>
                    <a:cubicBezTo>
                      <a:pt x="37" y="230"/>
                      <a:pt x="37" y="230"/>
                      <a:pt x="37" y="230"/>
                    </a:cubicBezTo>
                    <a:cubicBezTo>
                      <a:pt x="45" y="230"/>
                      <a:pt x="51" y="224"/>
                      <a:pt x="51" y="216"/>
                    </a:cubicBezTo>
                    <a:cubicBezTo>
                      <a:pt x="51" y="121"/>
                      <a:pt x="51" y="121"/>
                      <a:pt x="51" y="121"/>
                    </a:cubicBezTo>
                    <a:cubicBezTo>
                      <a:pt x="58" y="121"/>
                      <a:pt x="58" y="121"/>
                      <a:pt x="58" y="121"/>
                    </a:cubicBezTo>
                    <a:cubicBezTo>
                      <a:pt x="58" y="216"/>
                      <a:pt x="58" y="216"/>
                      <a:pt x="58" y="216"/>
                    </a:cubicBezTo>
                    <a:cubicBezTo>
                      <a:pt x="58" y="224"/>
                      <a:pt x="65" y="230"/>
                      <a:pt x="72" y="230"/>
                    </a:cubicBezTo>
                    <a:cubicBezTo>
                      <a:pt x="73" y="230"/>
                      <a:pt x="73" y="230"/>
                      <a:pt x="73" y="230"/>
                    </a:cubicBezTo>
                    <a:cubicBezTo>
                      <a:pt x="80" y="230"/>
                      <a:pt x="87" y="224"/>
                      <a:pt x="87" y="216"/>
                    </a:cubicBezTo>
                    <a:cubicBezTo>
                      <a:pt x="87" y="109"/>
                      <a:pt x="87" y="109"/>
                      <a:pt x="87" y="109"/>
                    </a:cubicBezTo>
                    <a:cubicBezTo>
                      <a:pt x="87" y="107"/>
                      <a:pt x="88" y="105"/>
                      <a:pt x="88" y="102"/>
                    </a:cubicBezTo>
                    <a:cubicBezTo>
                      <a:pt x="88" y="35"/>
                      <a:pt x="88" y="35"/>
                      <a:pt x="88" y="35"/>
                    </a:cubicBezTo>
                    <a:cubicBezTo>
                      <a:pt x="88" y="35"/>
                      <a:pt x="88" y="35"/>
                      <a:pt x="88" y="35"/>
                    </a:cubicBezTo>
                    <a:cubicBezTo>
                      <a:pt x="89" y="36"/>
                      <a:pt x="93" y="56"/>
                      <a:pt x="94" y="70"/>
                    </a:cubicBezTo>
                    <a:cubicBezTo>
                      <a:pt x="95" y="88"/>
                      <a:pt x="93" y="109"/>
                      <a:pt x="93" y="109"/>
                    </a:cubicBezTo>
                    <a:cubicBezTo>
                      <a:pt x="93" y="115"/>
                      <a:pt x="96" y="120"/>
                      <a:pt x="103" y="120"/>
                    </a:cubicBezTo>
                    <a:cubicBezTo>
                      <a:pt x="111" y="120"/>
                      <a:pt x="111" y="114"/>
                      <a:pt x="113" y="107"/>
                    </a:cubicBezTo>
                    <a:cubicBezTo>
                      <a:pt x="113" y="107"/>
                      <a:pt x="116" y="82"/>
                      <a:pt x="115" y="69"/>
                    </a:cubicBezTo>
                    <a:cubicBezTo>
                      <a:pt x="111" y="27"/>
                      <a:pt x="102" y="13"/>
                      <a:pt x="99" y="11"/>
                    </a:cubicBezTo>
                    <a:cubicBezTo>
                      <a:pt x="94" y="8"/>
                      <a:pt x="84" y="5"/>
                      <a:pt x="77" y="2"/>
                    </a:cubicBezTo>
                    <a:cubicBezTo>
                      <a:pt x="76" y="1"/>
                      <a:pt x="74" y="0"/>
                      <a:pt x="71" y="0"/>
                    </a:cubicBezTo>
                    <a:cubicBezTo>
                      <a:pt x="71" y="0"/>
                      <a:pt x="71" y="0"/>
                      <a:pt x="71" y="0"/>
                    </a:cubicBezTo>
                    <a:cubicBezTo>
                      <a:pt x="71" y="0"/>
                      <a:pt x="71" y="0"/>
                      <a:pt x="71" y="0"/>
                    </a:cubicBezTo>
                    <a:cubicBezTo>
                      <a:pt x="71" y="6"/>
                      <a:pt x="69" y="18"/>
                      <a:pt x="61" y="34"/>
                    </a:cubicBezTo>
                    <a:cubicBezTo>
                      <a:pt x="60" y="24"/>
                      <a:pt x="58" y="14"/>
                      <a:pt x="58" y="13"/>
                    </a:cubicBezTo>
                    <a:cubicBezTo>
                      <a:pt x="61" y="7"/>
                      <a:pt x="61" y="7"/>
                      <a:pt x="61" y="7"/>
                    </a:cubicBezTo>
                    <a:cubicBezTo>
                      <a:pt x="56" y="3"/>
                      <a:pt x="56" y="3"/>
                      <a:pt x="56" y="3"/>
                    </a:cubicBezTo>
                    <a:cubicBezTo>
                      <a:pt x="53" y="3"/>
                      <a:pt x="53" y="3"/>
                      <a:pt x="53" y="3"/>
                    </a:cubicBezTo>
                    <a:cubicBezTo>
                      <a:pt x="48" y="7"/>
                      <a:pt x="48" y="7"/>
                      <a:pt x="48" y="7"/>
                    </a:cubicBezTo>
                    <a:cubicBezTo>
                      <a:pt x="51" y="13"/>
                      <a:pt x="51" y="13"/>
                      <a:pt x="51" y="13"/>
                    </a:cubicBezTo>
                    <a:cubicBezTo>
                      <a:pt x="51" y="14"/>
                      <a:pt x="49" y="24"/>
                      <a:pt x="48" y="34"/>
                    </a:cubicBezTo>
                    <a:cubicBezTo>
                      <a:pt x="40" y="18"/>
                      <a:pt x="39" y="6"/>
                      <a:pt x="38" y="0"/>
                    </a:cubicBezTo>
                    <a:cubicBezTo>
                      <a:pt x="38" y="0"/>
                      <a:pt x="38" y="0"/>
                      <a:pt x="38" y="0"/>
                    </a:cubicBezTo>
                    <a:cubicBezTo>
                      <a:pt x="38" y="0"/>
                      <a:pt x="38" y="0"/>
                      <a:pt x="38" y="0"/>
                    </a:cubicBezTo>
                    <a:cubicBezTo>
                      <a:pt x="36" y="0"/>
                      <a:pt x="34" y="1"/>
                      <a:pt x="32" y="2"/>
                    </a:cubicBezTo>
                    <a:cubicBezTo>
                      <a:pt x="25" y="5"/>
                      <a:pt x="16" y="8"/>
                      <a:pt x="10" y="11"/>
                    </a:cubicBezTo>
                    <a:cubicBezTo>
                      <a:pt x="8" y="13"/>
                      <a:pt x="4" y="18"/>
                      <a:pt x="0" y="33"/>
                    </a:cubicBezTo>
                    <a:cubicBezTo>
                      <a:pt x="4" y="45"/>
                      <a:pt x="7" y="62"/>
                      <a:pt x="9" y="85"/>
                    </a:cubicBezTo>
                    <a:cubicBezTo>
                      <a:pt x="9" y="95"/>
                      <a:pt x="9" y="109"/>
                      <a:pt x="8" y="120"/>
                    </a:cubicBezTo>
                  </a:path>
                </a:pathLst>
              </a:custGeom>
              <a:solidFill>
                <a:schemeClr val="bg1"/>
              </a:solidFill>
              <a:ln>
                <a:noFill/>
              </a:ln>
            </p:spPr>
            <p:txBody>
              <a:bodyPr vert="horz" wrap="square" lIns="91440" tIns="45720" rIns="91440" bIns="45720" numCol="1" anchor="t" anchorCtr="0" compatLnSpc="1">
                <a:prstTxWarp prst="textNoShape">
                  <a:avLst/>
                </a:prstTxWarp>
                <a:noAutofit/>
              </a:bodyPr>
              <a:lstStyle/>
              <a:p>
                <a:endParaRPr lang="en-GB" sz="1400" dirty="0">
                  <a:latin typeface="+mn-lt"/>
                </a:endParaRPr>
              </a:p>
            </p:txBody>
          </p:sp>
          <p:sp>
            <p:nvSpPr>
              <p:cNvPr id="59" name="Freeform 41"/>
              <p:cNvSpPr>
                <a:spLocks/>
              </p:cNvSpPr>
              <p:nvPr/>
            </p:nvSpPr>
            <p:spPr bwMode="auto">
              <a:xfrm>
                <a:off x="1155359" y="5000682"/>
                <a:ext cx="210523" cy="344409"/>
              </a:xfrm>
              <a:custGeom>
                <a:avLst/>
                <a:gdLst>
                  <a:gd name="T0" fmla="*/ 4 w 163"/>
                  <a:gd name="T1" fmla="*/ 143 h 307"/>
                  <a:gd name="T2" fmla="*/ 16 w 163"/>
                  <a:gd name="T3" fmla="*/ 161 h 307"/>
                  <a:gd name="T4" fmla="*/ 31 w 163"/>
                  <a:gd name="T5" fmla="*/ 145 h 307"/>
                  <a:gd name="T6" fmla="*/ 29 w 163"/>
                  <a:gd name="T7" fmla="*/ 94 h 307"/>
                  <a:gd name="T8" fmla="*/ 38 w 163"/>
                  <a:gd name="T9" fmla="*/ 48 h 307"/>
                  <a:gd name="T10" fmla="*/ 38 w 163"/>
                  <a:gd name="T11" fmla="*/ 48 h 307"/>
                  <a:gd name="T12" fmla="*/ 38 w 163"/>
                  <a:gd name="T13" fmla="*/ 136 h 307"/>
                  <a:gd name="T14" fmla="*/ 39 w 163"/>
                  <a:gd name="T15" fmla="*/ 146 h 307"/>
                  <a:gd name="T16" fmla="*/ 39 w 163"/>
                  <a:gd name="T17" fmla="*/ 288 h 307"/>
                  <a:gd name="T18" fmla="*/ 58 w 163"/>
                  <a:gd name="T19" fmla="*/ 307 h 307"/>
                  <a:gd name="T20" fmla="*/ 58 w 163"/>
                  <a:gd name="T21" fmla="*/ 307 h 307"/>
                  <a:gd name="T22" fmla="*/ 77 w 163"/>
                  <a:gd name="T23" fmla="*/ 288 h 307"/>
                  <a:gd name="T24" fmla="*/ 77 w 163"/>
                  <a:gd name="T25" fmla="*/ 161 h 307"/>
                  <a:gd name="T26" fmla="*/ 86 w 163"/>
                  <a:gd name="T27" fmla="*/ 161 h 307"/>
                  <a:gd name="T28" fmla="*/ 86 w 163"/>
                  <a:gd name="T29" fmla="*/ 288 h 307"/>
                  <a:gd name="T30" fmla="*/ 105 w 163"/>
                  <a:gd name="T31" fmla="*/ 307 h 307"/>
                  <a:gd name="T32" fmla="*/ 105 w 163"/>
                  <a:gd name="T33" fmla="*/ 307 h 307"/>
                  <a:gd name="T34" fmla="*/ 124 w 163"/>
                  <a:gd name="T35" fmla="*/ 288 h 307"/>
                  <a:gd name="T36" fmla="*/ 124 w 163"/>
                  <a:gd name="T37" fmla="*/ 146 h 307"/>
                  <a:gd name="T38" fmla="*/ 125 w 163"/>
                  <a:gd name="T39" fmla="*/ 136 h 307"/>
                  <a:gd name="T40" fmla="*/ 125 w 163"/>
                  <a:gd name="T41" fmla="*/ 48 h 307"/>
                  <a:gd name="T42" fmla="*/ 125 w 163"/>
                  <a:gd name="T43" fmla="*/ 48 h 307"/>
                  <a:gd name="T44" fmla="*/ 134 w 163"/>
                  <a:gd name="T45" fmla="*/ 94 h 307"/>
                  <a:gd name="T46" fmla="*/ 132 w 163"/>
                  <a:gd name="T47" fmla="*/ 145 h 307"/>
                  <a:gd name="T48" fmla="*/ 146 w 163"/>
                  <a:gd name="T49" fmla="*/ 161 h 307"/>
                  <a:gd name="T50" fmla="*/ 159 w 163"/>
                  <a:gd name="T51" fmla="*/ 143 h 307"/>
                  <a:gd name="T52" fmla="*/ 162 w 163"/>
                  <a:gd name="T53" fmla="*/ 92 h 307"/>
                  <a:gd name="T54" fmla="*/ 141 w 163"/>
                  <a:gd name="T55" fmla="*/ 15 h 307"/>
                  <a:gd name="T56" fmla="*/ 112 w 163"/>
                  <a:gd name="T57" fmla="*/ 4 h 307"/>
                  <a:gd name="T58" fmla="*/ 103 w 163"/>
                  <a:gd name="T59" fmla="*/ 0 h 307"/>
                  <a:gd name="T60" fmla="*/ 103 w 163"/>
                  <a:gd name="T61" fmla="*/ 1 h 307"/>
                  <a:gd name="T62" fmla="*/ 103 w 163"/>
                  <a:gd name="T63" fmla="*/ 0 h 307"/>
                  <a:gd name="T64" fmla="*/ 90 w 163"/>
                  <a:gd name="T65" fmla="*/ 46 h 307"/>
                  <a:gd name="T66" fmla="*/ 86 w 163"/>
                  <a:gd name="T67" fmla="*/ 18 h 307"/>
                  <a:gd name="T68" fmla="*/ 90 w 163"/>
                  <a:gd name="T69" fmla="*/ 10 h 307"/>
                  <a:gd name="T70" fmla="*/ 84 w 163"/>
                  <a:gd name="T71" fmla="*/ 4 h 307"/>
                  <a:gd name="T72" fmla="*/ 79 w 163"/>
                  <a:gd name="T73" fmla="*/ 4 h 307"/>
                  <a:gd name="T74" fmla="*/ 73 w 163"/>
                  <a:gd name="T75" fmla="*/ 10 h 307"/>
                  <a:gd name="T76" fmla="*/ 77 w 163"/>
                  <a:gd name="T77" fmla="*/ 18 h 307"/>
                  <a:gd name="T78" fmla="*/ 73 w 163"/>
                  <a:gd name="T79" fmla="*/ 46 h 307"/>
                  <a:gd name="T80" fmla="*/ 59 w 163"/>
                  <a:gd name="T81" fmla="*/ 0 h 307"/>
                  <a:gd name="T82" fmla="*/ 59 w 163"/>
                  <a:gd name="T83" fmla="*/ 1 h 307"/>
                  <a:gd name="T84" fmla="*/ 59 w 163"/>
                  <a:gd name="T85" fmla="*/ 0 h 307"/>
                  <a:gd name="T86" fmla="*/ 51 w 163"/>
                  <a:gd name="T87" fmla="*/ 4 h 307"/>
                  <a:gd name="T88" fmla="*/ 22 w 163"/>
                  <a:gd name="T89" fmla="*/ 15 h 307"/>
                  <a:gd name="T90" fmla="*/ 1 w 163"/>
                  <a:gd name="T91" fmla="*/ 92 h 307"/>
                  <a:gd name="T92" fmla="*/ 4 w 163"/>
                  <a:gd name="T93" fmla="*/ 143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63" h="307">
                    <a:moveTo>
                      <a:pt x="4" y="143"/>
                    </a:moveTo>
                    <a:cubicBezTo>
                      <a:pt x="6" y="153"/>
                      <a:pt x="7" y="160"/>
                      <a:pt x="16" y="161"/>
                    </a:cubicBezTo>
                    <a:cubicBezTo>
                      <a:pt x="27" y="161"/>
                      <a:pt x="31" y="154"/>
                      <a:pt x="31" y="145"/>
                    </a:cubicBezTo>
                    <a:cubicBezTo>
                      <a:pt x="31" y="145"/>
                      <a:pt x="28" y="118"/>
                      <a:pt x="29" y="94"/>
                    </a:cubicBezTo>
                    <a:cubicBezTo>
                      <a:pt x="30" y="75"/>
                      <a:pt x="35" y="49"/>
                      <a:pt x="38" y="48"/>
                    </a:cubicBezTo>
                    <a:cubicBezTo>
                      <a:pt x="38" y="48"/>
                      <a:pt x="38" y="48"/>
                      <a:pt x="38" y="48"/>
                    </a:cubicBezTo>
                    <a:cubicBezTo>
                      <a:pt x="38" y="136"/>
                      <a:pt x="38" y="136"/>
                      <a:pt x="38" y="136"/>
                    </a:cubicBezTo>
                    <a:cubicBezTo>
                      <a:pt x="38" y="140"/>
                      <a:pt x="38" y="143"/>
                      <a:pt x="39" y="146"/>
                    </a:cubicBezTo>
                    <a:cubicBezTo>
                      <a:pt x="39" y="288"/>
                      <a:pt x="39" y="288"/>
                      <a:pt x="39" y="288"/>
                    </a:cubicBezTo>
                    <a:cubicBezTo>
                      <a:pt x="39" y="298"/>
                      <a:pt x="47" y="307"/>
                      <a:pt x="58" y="307"/>
                    </a:cubicBezTo>
                    <a:cubicBezTo>
                      <a:pt x="58" y="307"/>
                      <a:pt x="58" y="307"/>
                      <a:pt x="58" y="307"/>
                    </a:cubicBezTo>
                    <a:cubicBezTo>
                      <a:pt x="68" y="307"/>
                      <a:pt x="77" y="298"/>
                      <a:pt x="77" y="288"/>
                    </a:cubicBezTo>
                    <a:cubicBezTo>
                      <a:pt x="77" y="161"/>
                      <a:pt x="77" y="161"/>
                      <a:pt x="77" y="161"/>
                    </a:cubicBezTo>
                    <a:cubicBezTo>
                      <a:pt x="86" y="161"/>
                      <a:pt x="86" y="161"/>
                      <a:pt x="86" y="161"/>
                    </a:cubicBezTo>
                    <a:cubicBezTo>
                      <a:pt x="86" y="288"/>
                      <a:pt x="86" y="288"/>
                      <a:pt x="86" y="288"/>
                    </a:cubicBezTo>
                    <a:cubicBezTo>
                      <a:pt x="86" y="298"/>
                      <a:pt x="95" y="307"/>
                      <a:pt x="105" y="307"/>
                    </a:cubicBezTo>
                    <a:cubicBezTo>
                      <a:pt x="105" y="307"/>
                      <a:pt x="105" y="307"/>
                      <a:pt x="105" y="307"/>
                    </a:cubicBezTo>
                    <a:cubicBezTo>
                      <a:pt x="116" y="307"/>
                      <a:pt x="124" y="298"/>
                      <a:pt x="124" y="288"/>
                    </a:cubicBezTo>
                    <a:cubicBezTo>
                      <a:pt x="124" y="146"/>
                      <a:pt x="124" y="146"/>
                      <a:pt x="124" y="146"/>
                    </a:cubicBezTo>
                    <a:cubicBezTo>
                      <a:pt x="125" y="143"/>
                      <a:pt x="125" y="140"/>
                      <a:pt x="125" y="136"/>
                    </a:cubicBezTo>
                    <a:cubicBezTo>
                      <a:pt x="125" y="48"/>
                      <a:pt x="125" y="48"/>
                      <a:pt x="125" y="48"/>
                    </a:cubicBezTo>
                    <a:cubicBezTo>
                      <a:pt x="125" y="48"/>
                      <a:pt x="125" y="48"/>
                      <a:pt x="125" y="48"/>
                    </a:cubicBezTo>
                    <a:cubicBezTo>
                      <a:pt x="128" y="49"/>
                      <a:pt x="133" y="75"/>
                      <a:pt x="134" y="94"/>
                    </a:cubicBezTo>
                    <a:cubicBezTo>
                      <a:pt x="135" y="118"/>
                      <a:pt x="132" y="145"/>
                      <a:pt x="132" y="145"/>
                    </a:cubicBezTo>
                    <a:cubicBezTo>
                      <a:pt x="132" y="154"/>
                      <a:pt x="136" y="161"/>
                      <a:pt x="146" y="161"/>
                    </a:cubicBezTo>
                    <a:cubicBezTo>
                      <a:pt x="156" y="160"/>
                      <a:pt x="157" y="153"/>
                      <a:pt x="159" y="143"/>
                    </a:cubicBezTo>
                    <a:cubicBezTo>
                      <a:pt x="159" y="143"/>
                      <a:pt x="163" y="110"/>
                      <a:pt x="162" y="92"/>
                    </a:cubicBezTo>
                    <a:cubicBezTo>
                      <a:pt x="157" y="36"/>
                      <a:pt x="144" y="19"/>
                      <a:pt x="141" y="15"/>
                    </a:cubicBezTo>
                    <a:cubicBezTo>
                      <a:pt x="134" y="11"/>
                      <a:pt x="121" y="6"/>
                      <a:pt x="112" y="4"/>
                    </a:cubicBezTo>
                    <a:cubicBezTo>
                      <a:pt x="109" y="2"/>
                      <a:pt x="106" y="1"/>
                      <a:pt x="103" y="0"/>
                    </a:cubicBezTo>
                    <a:cubicBezTo>
                      <a:pt x="103" y="1"/>
                      <a:pt x="103" y="1"/>
                      <a:pt x="103" y="1"/>
                    </a:cubicBezTo>
                    <a:cubicBezTo>
                      <a:pt x="103" y="0"/>
                      <a:pt x="103" y="0"/>
                      <a:pt x="103" y="0"/>
                    </a:cubicBezTo>
                    <a:cubicBezTo>
                      <a:pt x="103" y="8"/>
                      <a:pt x="100" y="25"/>
                      <a:pt x="90" y="46"/>
                    </a:cubicBezTo>
                    <a:cubicBezTo>
                      <a:pt x="89" y="32"/>
                      <a:pt x="86" y="20"/>
                      <a:pt x="86" y="18"/>
                    </a:cubicBezTo>
                    <a:cubicBezTo>
                      <a:pt x="90" y="10"/>
                      <a:pt x="90" y="10"/>
                      <a:pt x="90" y="10"/>
                    </a:cubicBezTo>
                    <a:cubicBezTo>
                      <a:pt x="84" y="4"/>
                      <a:pt x="84" y="4"/>
                      <a:pt x="84" y="4"/>
                    </a:cubicBezTo>
                    <a:cubicBezTo>
                      <a:pt x="79" y="4"/>
                      <a:pt x="79" y="4"/>
                      <a:pt x="79" y="4"/>
                    </a:cubicBezTo>
                    <a:cubicBezTo>
                      <a:pt x="73" y="10"/>
                      <a:pt x="73" y="10"/>
                      <a:pt x="73" y="10"/>
                    </a:cubicBezTo>
                    <a:cubicBezTo>
                      <a:pt x="77" y="18"/>
                      <a:pt x="77" y="18"/>
                      <a:pt x="77" y="18"/>
                    </a:cubicBezTo>
                    <a:cubicBezTo>
                      <a:pt x="77" y="20"/>
                      <a:pt x="74" y="32"/>
                      <a:pt x="73" y="46"/>
                    </a:cubicBezTo>
                    <a:cubicBezTo>
                      <a:pt x="63" y="25"/>
                      <a:pt x="60" y="8"/>
                      <a:pt x="59" y="0"/>
                    </a:cubicBezTo>
                    <a:cubicBezTo>
                      <a:pt x="59" y="1"/>
                      <a:pt x="59" y="1"/>
                      <a:pt x="59" y="1"/>
                    </a:cubicBezTo>
                    <a:cubicBezTo>
                      <a:pt x="59" y="0"/>
                      <a:pt x="59" y="0"/>
                      <a:pt x="59" y="0"/>
                    </a:cubicBezTo>
                    <a:cubicBezTo>
                      <a:pt x="56" y="1"/>
                      <a:pt x="53" y="2"/>
                      <a:pt x="51" y="4"/>
                    </a:cubicBezTo>
                    <a:cubicBezTo>
                      <a:pt x="42" y="6"/>
                      <a:pt x="29" y="11"/>
                      <a:pt x="22" y="15"/>
                    </a:cubicBezTo>
                    <a:cubicBezTo>
                      <a:pt x="18" y="19"/>
                      <a:pt x="6" y="36"/>
                      <a:pt x="1" y="92"/>
                    </a:cubicBezTo>
                    <a:cubicBezTo>
                      <a:pt x="0" y="110"/>
                      <a:pt x="4" y="143"/>
                      <a:pt x="4" y="143"/>
                    </a:cubicBezTo>
                  </a:path>
                </a:pathLst>
              </a:custGeom>
              <a:solidFill>
                <a:schemeClr val="bg1"/>
              </a:solidFill>
              <a:ln>
                <a:noFill/>
              </a:ln>
            </p:spPr>
            <p:txBody>
              <a:bodyPr vert="horz" wrap="square" lIns="91440" tIns="45720" rIns="91440" bIns="45720" numCol="1" anchor="t" anchorCtr="0" compatLnSpc="1">
                <a:prstTxWarp prst="textNoShape">
                  <a:avLst/>
                </a:prstTxWarp>
                <a:noAutofit/>
              </a:bodyPr>
              <a:lstStyle/>
              <a:p>
                <a:endParaRPr lang="en-GB" sz="1400" dirty="0">
                  <a:latin typeface="+mn-lt"/>
                </a:endParaRPr>
              </a:p>
            </p:txBody>
          </p:sp>
          <p:sp>
            <p:nvSpPr>
              <p:cNvPr id="60" name="Freeform 42"/>
              <p:cNvSpPr>
                <a:spLocks/>
              </p:cNvSpPr>
              <p:nvPr/>
            </p:nvSpPr>
            <p:spPr bwMode="auto">
              <a:xfrm>
                <a:off x="1209339" y="4899246"/>
                <a:ext cx="102562" cy="96718"/>
              </a:xfrm>
              <a:custGeom>
                <a:avLst/>
                <a:gdLst>
                  <a:gd name="T0" fmla="*/ 9 w 79"/>
                  <a:gd name="T1" fmla="*/ 56 h 86"/>
                  <a:gd name="T2" fmla="*/ 40 w 79"/>
                  <a:gd name="T3" fmla="*/ 86 h 86"/>
                  <a:gd name="T4" fmla="*/ 71 w 79"/>
                  <a:gd name="T5" fmla="*/ 55 h 86"/>
                  <a:gd name="T6" fmla="*/ 78 w 79"/>
                  <a:gd name="T7" fmla="*/ 41 h 86"/>
                  <a:gd name="T8" fmla="*/ 73 w 79"/>
                  <a:gd name="T9" fmla="*/ 35 h 86"/>
                  <a:gd name="T10" fmla="*/ 40 w 79"/>
                  <a:gd name="T11" fmla="*/ 0 h 86"/>
                  <a:gd name="T12" fmla="*/ 6 w 79"/>
                  <a:gd name="T13" fmla="*/ 35 h 86"/>
                  <a:gd name="T14" fmla="*/ 1 w 79"/>
                  <a:gd name="T15" fmla="*/ 41 h 86"/>
                  <a:gd name="T16" fmla="*/ 9 w 79"/>
                  <a:gd name="T17" fmla="*/ 56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9" h="86">
                    <a:moveTo>
                      <a:pt x="9" y="56"/>
                    </a:moveTo>
                    <a:cubicBezTo>
                      <a:pt x="13" y="71"/>
                      <a:pt x="23" y="86"/>
                      <a:pt x="40" y="86"/>
                    </a:cubicBezTo>
                    <a:cubicBezTo>
                      <a:pt x="57" y="86"/>
                      <a:pt x="67" y="71"/>
                      <a:pt x="71" y="55"/>
                    </a:cubicBezTo>
                    <a:cubicBezTo>
                      <a:pt x="76" y="53"/>
                      <a:pt x="79" y="46"/>
                      <a:pt x="78" y="41"/>
                    </a:cubicBezTo>
                    <a:cubicBezTo>
                      <a:pt x="78" y="38"/>
                      <a:pt x="76" y="36"/>
                      <a:pt x="73" y="35"/>
                    </a:cubicBezTo>
                    <a:cubicBezTo>
                      <a:pt x="72" y="16"/>
                      <a:pt x="59" y="0"/>
                      <a:pt x="40" y="0"/>
                    </a:cubicBezTo>
                    <a:cubicBezTo>
                      <a:pt x="21" y="0"/>
                      <a:pt x="8" y="16"/>
                      <a:pt x="6" y="35"/>
                    </a:cubicBezTo>
                    <a:cubicBezTo>
                      <a:pt x="3" y="36"/>
                      <a:pt x="1" y="38"/>
                      <a:pt x="1" y="41"/>
                    </a:cubicBezTo>
                    <a:cubicBezTo>
                      <a:pt x="0" y="47"/>
                      <a:pt x="3" y="54"/>
                      <a:pt x="9" y="56"/>
                    </a:cubicBezTo>
                  </a:path>
                </a:pathLst>
              </a:custGeom>
              <a:solidFill>
                <a:schemeClr val="bg1"/>
              </a:solidFill>
              <a:ln>
                <a:noFill/>
              </a:ln>
            </p:spPr>
            <p:txBody>
              <a:bodyPr vert="horz" wrap="square" lIns="91440" tIns="45720" rIns="91440" bIns="45720" numCol="1" anchor="t" anchorCtr="0" compatLnSpc="1">
                <a:prstTxWarp prst="textNoShape">
                  <a:avLst/>
                </a:prstTxWarp>
                <a:noAutofit/>
              </a:bodyPr>
              <a:lstStyle/>
              <a:p>
                <a:endParaRPr lang="en-GB" sz="1400" dirty="0">
                  <a:latin typeface="+mn-lt"/>
                </a:endParaRPr>
              </a:p>
            </p:txBody>
          </p:sp>
          <p:sp>
            <p:nvSpPr>
              <p:cNvPr id="61" name="Freeform 43"/>
              <p:cNvSpPr>
                <a:spLocks/>
              </p:cNvSpPr>
              <p:nvPr/>
            </p:nvSpPr>
            <p:spPr bwMode="auto">
              <a:xfrm>
                <a:off x="1324047" y="5209450"/>
                <a:ext cx="60728" cy="24770"/>
              </a:xfrm>
              <a:custGeom>
                <a:avLst/>
                <a:gdLst>
                  <a:gd name="T0" fmla="*/ 47 w 47"/>
                  <a:gd name="T1" fmla="*/ 13 h 22"/>
                  <a:gd name="T2" fmla="*/ 27 w 47"/>
                  <a:gd name="T3" fmla="*/ 0 h 22"/>
                  <a:gd name="T4" fmla="*/ 25 w 47"/>
                  <a:gd name="T5" fmla="*/ 4 h 22"/>
                  <a:gd name="T6" fmla="*/ 0 w 47"/>
                  <a:gd name="T7" fmla="*/ 1 h 22"/>
                  <a:gd name="T8" fmla="*/ 0 w 47"/>
                  <a:gd name="T9" fmla="*/ 13 h 22"/>
                  <a:gd name="T10" fmla="*/ 20 w 47"/>
                  <a:gd name="T11" fmla="*/ 16 h 22"/>
                  <a:gd name="T12" fmla="*/ 17 w 47"/>
                  <a:gd name="T13" fmla="*/ 22 h 22"/>
                </a:gdLst>
                <a:ahLst/>
                <a:cxnLst>
                  <a:cxn ang="0">
                    <a:pos x="T0" y="T1"/>
                  </a:cxn>
                  <a:cxn ang="0">
                    <a:pos x="T2" y="T3"/>
                  </a:cxn>
                  <a:cxn ang="0">
                    <a:pos x="T4" y="T5"/>
                  </a:cxn>
                  <a:cxn ang="0">
                    <a:pos x="T6" y="T7"/>
                  </a:cxn>
                  <a:cxn ang="0">
                    <a:pos x="T8" y="T9"/>
                  </a:cxn>
                  <a:cxn ang="0">
                    <a:pos x="T10" y="T11"/>
                  </a:cxn>
                  <a:cxn ang="0">
                    <a:pos x="T12" y="T13"/>
                  </a:cxn>
                </a:cxnLst>
                <a:rect l="0" t="0" r="r" b="b"/>
                <a:pathLst>
                  <a:path w="47" h="22">
                    <a:moveTo>
                      <a:pt x="47" y="13"/>
                    </a:moveTo>
                    <a:cubicBezTo>
                      <a:pt x="27" y="0"/>
                      <a:pt x="27" y="0"/>
                      <a:pt x="27" y="0"/>
                    </a:cubicBezTo>
                    <a:cubicBezTo>
                      <a:pt x="25" y="4"/>
                      <a:pt x="25" y="4"/>
                      <a:pt x="25" y="4"/>
                    </a:cubicBezTo>
                    <a:cubicBezTo>
                      <a:pt x="18" y="3"/>
                      <a:pt x="9" y="2"/>
                      <a:pt x="0" y="1"/>
                    </a:cubicBezTo>
                    <a:cubicBezTo>
                      <a:pt x="0" y="13"/>
                      <a:pt x="0" y="13"/>
                      <a:pt x="0" y="13"/>
                    </a:cubicBezTo>
                    <a:cubicBezTo>
                      <a:pt x="7" y="14"/>
                      <a:pt x="14" y="15"/>
                      <a:pt x="20" y="16"/>
                    </a:cubicBezTo>
                    <a:cubicBezTo>
                      <a:pt x="17" y="22"/>
                      <a:pt x="17" y="22"/>
                      <a:pt x="17" y="22"/>
                    </a:cubicBezTo>
                  </a:path>
                </a:pathLst>
              </a:custGeom>
              <a:solidFill>
                <a:schemeClr val="bg1"/>
              </a:solidFill>
              <a:ln>
                <a:noFill/>
              </a:ln>
            </p:spPr>
            <p:txBody>
              <a:bodyPr vert="horz" wrap="square" lIns="91440" tIns="45720" rIns="91440" bIns="45720" numCol="1" anchor="t" anchorCtr="0" compatLnSpc="1">
                <a:prstTxWarp prst="textNoShape">
                  <a:avLst/>
                </a:prstTxWarp>
                <a:noAutofit/>
              </a:bodyPr>
              <a:lstStyle/>
              <a:p>
                <a:endParaRPr lang="en-GB" sz="1400" dirty="0">
                  <a:latin typeface="+mn-lt"/>
                </a:endParaRPr>
              </a:p>
            </p:txBody>
          </p:sp>
          <p:sp>
            <p:nvSpPr>
              <p:cNvPr id="62" name="Freeform 44"/>
              <p:cNvSpPr>
                <a:spLocks/>
              </p:cNvSpPr>
              <p:nvPr/>
            </p:nvSpPr>
            <p:spPr bwMode="auto">
              <a:xfrm>
                <a:off x="1075739" y="5339193"/>
                <a:ext cx="313085" cy="55436"/>
              </a:xfrm>
              <a:custGeom>
                <a:avLst/>
                <a:gdLst>
                  <a:gd name="T0" fmla="*/ 223 w 243"/>
                  <a:gd name="T1" fmla="*/ 13 h 50"/>
                  <a:gd name="T2" fmla="*/ 143 w 243"/>
                  <a:gd name="T3" fmla="*/ 21 h 50"/>
                  <a:gd name="T4" fmla="*/ 71 w 243"/>
                  <a:gd name="T5" fmla="*/ 14 h 50"/>
                  <a:gd name="T6" fmla="*/ 62 w 243"/>
                  <a:gd name="T7" fmla="*/ 12 h 50"/>
                  <a:gd name="T8" fmla="*/ 74 w 243"/>
                  <a:gd name="T9" fmla="*/ 0 h 50"/>
                  <a:gd name="T10" fmla="*/ 0 w 243"/>
                  <a:gd name="T11" fmla="*/ 7 h 50"/>
                  <a:gd name="T12" fmla="*/ 26 w 243"/>
                  <a:gd name="T13" fmla="*/ 50 h 50"/>
                  <a:gd name="T14" fmla="*/ 37 w 243"/>
                  <a:gd name="T15" fmla="*/ 38 h 50"/>
                  <a:gd name="T16" fmla="*/ 56 w 243"/>
                  <a:gd name="T17" fmla="*/ 42 h 50"/>
                  <a:gd name="T18" fmla="*/ 143 w 243"/>
                  <a:gd name="T19" fmla="*/ 49 h 50"/>
                  <a:gd name="T20" fmla="*/ 220 w 243"/>
                  <a:gd name="T21" fmla="*/ 44 h 50"/>
                  <a:gd name="T22" fmla="*/ 243 w 243"/>
                  <a:gd name="T23" fmla="*/ 40 h 50"/>
                  <a:gd name="T24" fmla="*/ 217 w 243"/>
                  <a:gd name="T25" fmla="*/ 34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43" h="50">
                    <a:moveTo>
                      <a:pt x="223" y="13"/>
                    </a:moveTo>
                    <a:cubicBezTo>
                      <a:pt x="199" y="18"/>
                      <a:pt x="172" y="21"/>
                      <a:pt x="143" y="21"/>
                    </a:cubicBezTo>
                    <a:cubicBezTo>
                      <a:pt x="118" y="21"/>
                      <a:pt x="93" y="18"/>
                      <a:pt x="71" y="14"/>
                    </a:cubicBezTo>
                    <a:cubicBezTo>
                      <a:pt x="68" y="14"/>
                      <a:pt x="65" y="13"/>
                      <a:pt x="62" y="12"/>
                    </a:cubicBezTo>
                    <a:cubicBezTo>
                      <a:pt x="74" y="0"/>
                      <a:pt x="74" y="0"/>
                      <a:pt x="74" y="0"/>
                    </a:cubicBezTo>
                    <a:cubicBezTo>
                      <a:pt x="0" y="7"/>
                      <a:pt x="0" y="7"/>
                      <a:pt x="0" y="7"/>
                    </a:cubicBezTo>
                    <a:cubicBezTo>
                      <a:pt x="26" y="50"/>
                      <a:pt x="26" y="50"/>
                      <a:pt x="26" y="50"/>
                    </a:cubicBezTo>
                    <a:cubicBezTo>
                      <a:pt x="37" y="38"/>
                      <a:pt x="37" y="38"/>
                      <a:pt x="37" y="38"/>
                    </a:cubicBezTo>
                    <a:cubicBezTo>
                      <a:pt x="43" y="40"/>
                      <a:pt x="50" y="41"/>
                      <a:pt x="56" y="42"/>
                    </a:cubicBezTo>
                    <a:cubicBezTo>
                      <a:pt x="83" y="47"/>
                      <a:pt x="112" y="49"/>
                      <a:pt x="143" y="49"/>
                    </a:cubicBezTo>
                    <a:cubicBezTo>
                      <a:pt x="170" y="49"/>
                      <a:pt x="196" y="47"/>
                      <a:pt x="220" y="44"/>
                    </a:cubicBezTo>
                    <a:cubicBezTo>
                      <a:pt x="228" y="43"/>
                      <a:pt x="235" y="41"/>
                      <a:pt x="243" y="40"/>
                    </a:cubicBezTo>
                    <a:cubicBezTo>
                      <a:pt x="217" y="34"/>
                      <a:pt x="217" y="34"/>
                      <a:pt x="217" y="34"/>
                    </a:cubicBezTo>
                  </a:path>
                </a:pathLst>
              </a:custGeom>
              <a:solidFill>
                <a:schemeClr val="bg1"/>
              </a:solidFill>
              <a:ln>
                <a:noFill/>
              </a:ln>
            </p:spPr>
            <p:txBody>
              <a:bodyPr vert="horz" wrap="square" lIns="91440" tIns="45720" rIns="91440" bIns="45720" numCol="1" anchor="t" anchorCtr="0" compatLnSpc="1">
                <a:prstTxWarp prst="textNoShape">
                  <a:avLst/>
                </a:prstTxWarp>
                <a:noAutofit/>
              </a:bodyPr>
              <a:lstStyle/>
              <a:p>
                <a:endParaRPr lang="en-GB" sz="1400" dirty="0">
                  <a:latin typeface="+mn-lt"/>
                </a:endParaRPr>
              </a:p>
            </p:txBody>
          </p:sp>
          <p:sp>
            <p:nvSpPr>
              <p:cNvPr id="63" name="Freeform 45"/>
              <p:cNvSpPr>
                <a:spLocks/>
              </p:cNvSpPr>
              <p:nvPr/>
            </p:nvSpPr>
            <p:spPr bwMode="auto">
              <a:xfrm>
                <a:off x="992070" y="5246014"/>
                <a:ext cx="93117" cy="119128"/>
              </a:xfrm>
              <a:custGeom>
                <a:avLst/>
                <a:gdLst>
                  <a:gd name="T0" fmla="*/ 72 w 72"/>
                  <a:gd name="T1" fmla="*/ 76 h 106"/>
                  <a:gd name="T2" fmla="*/ 46 w 72"/>
                  <a:gd name="T3" fmla="*/ 60 h 106"/>
                  <a:gd name="T4" fmla="*/ 36 w 72"/>
                  <a:gd name="T5" fmla="*/ 48 h 106"/>
                  <a:gd name="T6" fmla="*/ 34 w 72"/>
                  <a:gd name="T7" fmla="*/ 40 h 106"/>
                  <a:gd name="T8" fmla="*/ 36 w 72"/>
                  <a:gd name="T9" fmla="*/ 32 h 106"/>
                  <a:gd name="T10" fmla="*/ 42 w 72"/>
                  <a:gd name="T11" fmla="*/ 24 h 106"/>
                  <a:gd name="T12" fmla="*/ 46 w 72"/>
                  <a:gd name="T13" fmla="*/ 20 h 106"/>
                  <a:gd name="T14" fmla="*/ 38 w 72"/>
                  <a:gd name="T15" fmla="*/ 4 h 106"/>
                  <a:gd name="T16" fmla="*/ 38 w 72"/>
                  <a:gd name="T17" fmla="*/ 0 h 106"/>
                  <a:gd name="T18" fmla="*/ 26 w 72"/>
                  <a:gd name="T19" fmla="*/ 7 h 106"/>
                  <a:gd name="T20" fmla="*/ 8 w 72"/>
                  <a:gd name="T21" fmla="*/ 26 h 106"/>
                  <a:gd name="T22" fmla="*/ 0 w 72"/>
                  <a:gd name="T23" fmla="*/ 49 h 106"/>
                  <a:gd name="T24" fmla="*/ 6 w 72"/>
                  <a:gd name="T25" fmla="*/ 69 h 106"/>
                  <a:gd name="T26" fmla="*/ 19 w 72"/>
                  <a:gd name="T27" fmla="*/ 84 h 106"/>
                  <a:gd name="T28" fmla="*/ 52 w 72"/>
                  <a:gd name="T29" fmla="*/ 105 h 106"/>
                  <a:gd name="T30" fmla="*/ 56 w 72"/>
                  <a:gd name="T31" fmla="*/ 106 h 106"/>
                  <a:gd name="T32" fmla="*/ 47 w 72"/>
                  <a:gd name="T33" fmla="*/ 8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06">
                    <a:moveTo>
                      <a:pt x="72" y="76"/>
                    </a:moveTo>
                    <a:cubicBezTo>
                      <a:pt x="61" y="71"/>
                      <a:pt x="52" y="65"/>
                      <a:pt x="46" y="60"/>
                    </a:cubicBezTo>
                    <a:cubicBezTo>
                      <a:pt x="41" y="56"/>
                      <a:pt x="38" y="52"/>
                      <a:pt x="36" y="48"/>
                    </a:cubicBezTo>
                    <a:cubicBezTo>
                      <a:pt x="34" y="45"/>
                      <a:pt x="34" y="42"/>
                      <a:pt x="34" y="40"/>
                    </a:cubicBezTo>
                    <a:cubicBezTo>
                      <a:pt x="34" y="37"/>
                      <a:pt x="34" y="35"/>
                      <a:pt x="36" y="32"/>
                    </a:cubicBezTo>
                    <a:cubicBezTo>
                      <a:pt x="37" y="30"/>
                      <a:pt x="39" y="27"/>
                      <a:pt x="42" y="24"/>
                    </a:cubicBezTo>
                    <a:cubicBezTo>
                      <a:pt x="43" y="22"/>
                      <a:pt x="44" y="21"/>
                      <a:pt x="46" y="20"/>
                    </a:cubicBezTo>
                    <a:cubicBezTo>
                      <a:pt x="41" y="16"/>
                      <a:pt x="38" y="10"/>
                      <a:pt x="38" y="4"/>
                    </a:cubicBezTo>
                    <a:cubicBezTo>
                      <a:pt x="38" y="0"/>
                      <a:pt x="38" y="0"/>
                      <a:pt x="38" y="0"/>
                    </a:cubicBezTo>
                    <a:cubicBezTo>
                      <a:pt x="34" y="2"/>
                      <a:pt x="29" y="5"/>
                      <a:pt x="26" y="7"/>
                    </a:cubicBezTo>
                    <a:cubicBezTo>
                      <a:pt x="19" y="13"/>
                      <a:pt x="12" y="19"/>
                      <a:pt x="8" y="26"/>
                    </a:cubicBezTo>
                    <a:cubicBezTo>
                      <a:pt x="3" y="33"/>
                      <a:pt x="0" y="41"/>
                      <a:pt x="0" y="49"/>
                    </a:cubicBezTo>
                    <a:cubicBezTo>
                      <a:pt x="0" y="56"/>
                      <a:pt x="2" y="63"/>
                      <a:pt x="6" y="69"/>
                    </a:cubicBezTo>
                    <a:cubicBezTo>
                      <a:pt x="9" y="75"/>
                      <a:pt x="14" y="80"/>
                      <a:pt x="19" y="84"/>
                    </a:cubicBezTo>
                    <a:cubicBezTo>
                      <a:pt x="28" y="92"/>
                      <a:pt x="39" y="99"/>
                      <a:pt x="52" y="105"/>
                    </a:cubicBezTo>
                    <a:cubicBezTo>
                      <a:pt x="53" y="105"/>
                      <a:pt x="55" y="106"/>
                      <a:pt x="56" y="106"/>
                    </a:cubicBezTo>
                    <a:cubicBezTo>
                      <a:pt x="47" y="80"/>
                      <a:pt x="47" y="80"/>
                      <a:pt x="47" y="80"/>
                    </a:cubicBezTo>
                  </a:path>
                </a:pathLst>
              </a:custGeom>
              <a:solidFill>
                <a:schemeClr val="bg1"/>
              </a:solidFill>
              <a:ln>
                <a:noFill/>
              </a:ln>
            </p:spPr>
            <p:txBody>
              <a:bodyPr vert="horz" wrap="square" lIns="91440" tIns="45720" rIns="91440" bIns="45720" numCol="1" anchor="t" anchorCtr="0" compatLnSpc="1">
                <a:prstTxWarp prst="textNoShape">
                  <a:avLst/>
                </a:prstTxWarp>
                <a:noAutofit/>
              </a:bodyPr>
              <a:lstStyle/>
              <a:p>
                <a:endParaRPr lang="en-GB" sz="1400" dirty="0">
                  <a:latin typeface="+mn-lt"/>
                </a:endParaRPr>
              </a:p>
            </p:txBody>
          </p:sp>
          <p:sp>
            <p:nvSpPr>
              <p:cNvPr id="64" name="Freeform 46"/>
              <p:cNvSpPr>
                <a:spLocks/>
              </p:cNvSpPr>
              <p:nvPr/>
            </p:nvSpPr>
            <p:spPr bwMode="auto">
              <a:xfrm>
                <a:off x="1380727" y="5246014"/>
                <a:ext cx="148445" cy="128564"/>
              </a:xfrm>
              <a:custGeom>
                <a:avLst/>
                <a:gdLst>
                  <a:gd name="T0" fmla="*/ 109 w 115"/>
                  <a:gd name="T1" fmla="*/ 28 h 114"/>
                  <a:gd name="T2" fmla="*/ 96 w 115"/>
                  <a:gd name="T3" fmla="*/ 13 h 114"/>
                  <a:gd name="T4" fmla="*/ 77 w 115"/>
                  <a:gd name="T5" fmla="*/ 0 h 114"/>
                  <a:gd name="T6" fmla="*/ 77 w 115"/>
                  <a:gd name="T7" fmla="*/ 4 h 114"/>
                  <a:gd name="T8" fmla="*/ 69 w 115"/>
                  <a:gd name="T9" fmla="*/ 20 h 114"/>
                  <a:gd name="T10" fmla="*/ 78 w 115"/>
                  <a:gd name="T11" fmla="*/ 31 h 114"/>
                  <a:gd name="T12" fmla="*/ 81 w 115"/>
                  <a:gd name="T13" fmla="*/ 40 h 114"/>
                  <a:gd name="T14" fmla="*/ 79 w 115"/>
                  <a:gd name="T15" fmla="*/ 47 h 114"/>
                  <a:gd name="T16" fmla="*/ 73 w 115"/>
                  <a:gd name="T17" fmla="*/ 56 h 114"/>
                  <a:gd name="T18" fmla="*/ 50 w 115"/>
                  <a:gd name="T19" fmla="*/ 73 h 114"/>
                  <a:gd name="T20" fmla="*/ 32 w 115"/>
                  <a:gd name="T21" fmla="*/ 81 h 114"/>
                  <a:gd name="T22" fmla="*/ 12 w 115"/>
                  <a:gd name="T23" fmla="*/ 70 h 114"/>
                  <a:gd name="T24" fmla="*/ 0 w 115"/>
                  <a:gd name="T25" fmla="*/ 107 h 114"/>
                  <a:gd name="T26" fmla="*/ 88 w 115"/>
                  <a:gd name="T27" fmla="*/ 114 h 114"/>
                  <a:gd name="T28" fmla="*/ 68 w 115"/>
                  <a:gd name="T29" fmla="*/ 102 h 114"/>
                  <a:gd name="T30" fmla="*/ 89 w 115"/>
                  <a:gd name="T31" fmla="*/ 90 h 114"/>
                  <a:gd name="T32" fmla="*/ 107 w 115"/>
                  <a:gd name="T33" fmla="*/ 71 h 114"/>
                  <a:gd name="T34" fmla="*/ 115 w 115"/>
                  <a:gd name="T35" fmla="*/ 49 h 114"/>
                  <a:gd name="T36" fmla="*/ 109 w 115"/>
                  <a:gd name="T37" fmla="*/ 28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15" h="114">
                    <a:moveTo>
                      <a:pt x="109" y="28"/>
                    </a:moveTo>
                    <a:cubicBezTo>
                      <a:pt x="105" y="22"/>
                      <a:pt x="101" y="17"/>
                      <a:pt x="96" y="13"/>
                    </a:cubicBezTo>
                    <a:cubicBezTo>
                      <a:pt x="90" y="8"/>
                      <a:pt x="84" y="4"/>
                      <a:pt x="77" y="0"/>
                    </a:cubicBezTo>
                    <a:cubicBezTo>
                      <a:pt x="77" y="4"/>
                      <a:pt x="77" y="4"/>
                      <a:pt x="77" y="4"/>
                    </a:cubicBezTo>
                    <a:cubicBezTo>
                      <a:pt x="77" y="10"/>
                      <a:pt x="74" y="16"/>
                      <a:pt x="69" y="20"/>
                    </a:cubicBezTo>
                    <a:cubicBezTo>
                      <a:pt x="74" y="24"/>
                      <a:pt x="77" y="28"/>
                      <a:pt x="78" y="31"/>
                    </a:cubicBezTo>
                    <a:cubicBezTo>
                      <a:pt x="80" y="35"/>
                      <a:pt x="81" y="37"/>
                      <a:pt x="81" y="40"/>
                    </a:cubicBezTo>
                    <a:cubicBezTo>
                      <a:pt x="81" y="42"/>
                      <a:pt x="80" y="44"/>
                      <a:pt x="79" y="47"/>
                    </a:cubicBezTo>
                    <a:cubicBezTo>
                      <a:pt x="78" y="50"/>
                      <a:pt x="76" y="53"/>
                      <a:pt x="73" y="56"/>
                    </a:cubicBezTo>
                    <a:cubicBezTo>
                      <a:pt x="68" y="61"/>
                      <a:pt x="60" y="67"/>
                      <a:pt x="50" y="73"/>
                    </a:cubicBezTo>
                    <a:cubicBezTo>
                      <a:pt x="45" y="76"/>
                      <a:pt x="38" y="79"/>
                      <a:pt x="32" y="81"/>
                    </a:cubicBezTo>
                    <a:cubicBezTo>
                      <a:pt x="12" y="70"/>
                      <a:pt x="12" y="70"/>
                      <a:pt x="12" y="70"/>
                    </a:cubicBezTo>
                    <a:cubicBezTo>
                      <a:pt x="0" y="107"/>
                      <a:pt x="0" y="107"/>
                      <a:pt x="0" y="107"/>
                    </a:cubicBezTo>
                    <a:cubicBezTo>
                      <a:pt x="88" y="114"/>
                      <a:pt x="88" y="114"/>
                      <a:pt x="88" y="114"/>
                    </a:cubicBezTo>
                    <a:cubicBezTo>
                      <a:pt x="68" y="102"/>
                      <a:pt x="68" y="102"/>
                      <a:pt x="68" y="102"/>
                    </a:cubicBezTo>
                    <a:cubicBezTo>
                      <a:pt x="75" y="99"/>
                      <a:pt x="83" y="94"/>
                      <a:pt x="89" y="90"/>
                    </a:cubicBezTo>
                    <a:cubicBezTo>
                      <a:pt x="96" y="85"/>
                      <a:pt x="102" y="79"/>
                      <a:pt x="107" y="71"/>
                    </a:cubicBezTo>
                    <a:cubicBezTo>
                      <a:pt x="112" y="65"/>
                      <a:pt x="115" y="57"/>
                      <a:pt x="115" y="49"/>
                    </a:cubicBezTo>
                    <a:cubicBezTo>
                      <a:pt x="115" y="42"/>
                      <a:pt x="112" y="34"/>
                      <a:pt x="109" y="28"/>
                    </a:cubicBezTo>
                  </a:path>
                </a:pathLst>
              </a:custGeom>
              <a:solidFill>
                <a:schemeClr val="bg1"/>
              </a:solidFill>
              <a:ln>
                <a:noFill/>
              </a:ln>
            </p:spPr>
            <p:txBody>
              <a:bodyPr vert="horz" wrap="square" lIns="91440" tIns="45720" rIns="91440" bIns="45720" numCol="1" anchor="t" anchorCtr="0" compatLnSpc="1">
                <a:prstTxWarp prst="textNoShape">
                  <a:avLst/>
                </a:prstTxWarp>
                <a:noAutofit/>
              </a:bodyPr>
              <a:lstStyle/>
              <a:p>
                <a:endParaRPr lang="en-GB" sz="1400" dirty="0">
                  <a:latin typeface="+mn-lt"/>
                </a:endParaRPr>
              </a:p>
            </p:txBody>
          </p:sp>
          <p:sp>
            <p:nvSpPr>
              <p:cNvPr id="65" name="Freeform 47"/>
              <p:cNvSpPr>
                <a:spLocks/>
              </p:cNvSpPr>
              <p:nvPr/>
            </p:nvSpPr>
            <p:spPr bwMode="auto">
              <a:xfrm>
                <a:off x="1136466" y="5207091"/>
                <a:ext cx="63427" cy="30667"/>
              </a:xfrm>
              <a:custGeom>
                <a:avLst/>
                <a:gdLst>
                  <a:gd name="T0" fmla="*/ 0 w 49"/>
                  <a:gd name="T1" fmla="*/ 23 h 27"/>
                  <a:gd name="T2" fmla="*/ 14 w 49"/>
                  <a:gd name="T3" fmla="*/ 20 h 27"/>
                  <a:gd name="T4" fmla="*/ 22 w 49"/>
                  <a:gd name="T5" fmla="*/ 19 h 27"/>
                  <a:gd name="T6" fmla="*/ 29 w 49"/>
                  <a:gd name="T7" fmla="*/ 27 h 27"/>
                  <a:gd name="T8" fmla="*/ 49 w 49"/>
                  <a:gd name="T9" fmla="*/ 8 h 27"/>
                  <a:gd name="T10" fmla="*/ 6 w 49"/>
                  <a:gd name="T11" fmla="*/ 0 h 27"/>
                  <a:gd name="T12" fmla="*/ 12 w 49"/>
                  <a:gd name="T13" fmla="*/ 7 h 27"/>
                  <a:gd name="T14" fmla="*/ 0 w 49"/>
                  <a:gd name="T15" fmla="*/ 10 h 2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9" h="27">
                    <a:moveTo>
                      <a:pt x="0" y="23"/>
                    </a:moveTo>
                    <a:cubicBezTo>
                      <a:pt x="5" y="22"/>
                      <a:pt x="9" y="21"/>
                      <a:pt x="14" y="20"/>
                    </a:cubicBezTo>
                    <a:cubicBezTo>
                      <a:pt x="17" y="20"/>
                      <a:pt x="19" y="19"/>
                      <a:pt x="22" y="19"/>
                    </a:cubicBezTo>
                    <a:cubicBezTo>
                      <a:pt x="29" y="27"/>
                      <a:pt x="29" y="27"/>
                      <a:pt x="29" y="27"/>
                    </a:cubicBezTo>
                    <a:cubicBezTo>
                      <a:pt x="49" y="8"/>
                      <a:pt x="49" y="8"/>
                      <a:pt x="49" y="8"/>
                    </a:cubicBezTo>
                    <a:cubicBezTo>
                      <a:pt x="6" y="0"/>
                      <a:pt x="6" y="0"/>
                      <a:pt x="6" y="0"/>
                    </a:cubicBezTo>
                    <a:cubicBezTo>
                      <a:pt x="12" y="7"/>
                      <a:pt x="12" y="7"/>
                      <a:pt x="12" y="7"/>
                    </a:cubicBezTo>
                    <a:cubicBezTo>
                      <a:pt x="8" y="8"/>
                      <a:pt x="4" y="9"/>
                      <a:pt x="0" y="10"/>
                    </a:cubicBezTo>
                  </a:path>
                </a:pathLst>
              </a:custGeom>
              <a:solidFill>
                <a:schemeClr val="bg1"/>
              </a:solidFill>
              <a:ln>
                <a:noFill/>
              </a:ln>
            </p:spPr>
            <p:txBody>
              <a:bodyPr vert="horz" wrap="square" lIns="91440" tIns="45720" rIns="91440" bIns="45720" numCol="1" anchor="t" anchorCtr="0" compatLnSpc="1">
                <a:prstTxWarp prst="textNoShape">
                  <a:avLst/>
                </a:prstTxWarp>
                <a:noAutofit/>
              </a:bodyPr>
              <a:lstStyle/>
              <a:p>
                <a:endParaRPr lang="en-GB" sz="1400" dirty="0">
                  <a:latin typeface="+mn-lt"/>
                </a:endParaRPr>
              </a:p>
            </p:txBody>
          </p:sp>
        </p:grpSp>
      </p:grpSp>
      <p:sp>
        <p:nvSpPr>
          <p:cNvPr id="16" name="TextBox 15"/>
          <p:cNvSpPr txBox="1">
            <a:spLocks/>
          </p:cNvSpPr>
          <p:nvPr/>
        </p:nvSpPr>
        <p:spPr>
          <a:xfrm>
            <a:off x="3483840" y="5599845"/>
            <a:ext cx="5247920" cy="723275"/>
          </a:xfrm>
          <a:prstGeom prst="rect">
            <a:avLst/>
          </a:prstGeom>
        </p:spPr>
        <p:txBody>
          <a:bodyPr vert="horz" wrap="square" lIns="0" tIns="0" rIns="0" bIns="0" rtlCol="0">
            <a:sp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1">
              <a:spcAft>
                <a:spcPts val="300"/>
              </a:spcAft>
            </a:pPr>
            <a:r>
              <a:rPr lang="en-US" dirty="0"/>
              <a:t>New Business Building</a:t>
            </a:r>
          </a:p>
          <a:p>
            <a:pPr lvl="1">
              <a:spcAft>
                <a:spcPts val="300"/>
              </a:spcAft>
            </a:pPr>
            <a:r>
              <a:rPr lang="en-US" dirty="0"/>
              <a:t>Design and pilot of an out-of-the-box solution</a:t>
            </a:r>
          </a:p>
          <a:p>
            <a:pPr lvl="1">
              <a:spcAft>
                <a:spcPts val="300"/>
              </a:spcAft>
            </a:pPr>
            <a:r>
              <a:rPr lang="en-US" dirty="0"/>
              <a:t>End-to-end M&amp;S transformation</a:t>
            </a:r>
            <a:endParaRPr lang="en-GB" dirty="0"/>
          </a:p>
        </p:txBody>
      </p:sp>
      <p:sp>
        <p:nvSpPr>
          <p:cNvPr id="90" name="Oval 89"/>
          <p:cNvSpPr/>
          <p:nvPr/>
        </p:nvSpPr>
        <p:spPr>
          <a:xfrm>
            <a:off x="2110629" y="5807833"/>
            <a:ext cx="791866" cy="307298"/>
          </a:xfrm>
          <a:prstGeom prst="ellipse">
            <a:avLst/>
          </a:prstGeom>
          <a:solidFill>
            <a:schemeClr val="tx2"/>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bg1"/>
                </a:solidFill>
              </a:rPr>
              <a:t>5</a:t>
            </a:r>
            <a:endParaRPr lang="en-GB" sz="1400" b="1" dirty="0">
              <a:solidFill>
                <a:schemeClr val="bg1"/>
              </a:solidFill>
            </a:endParaRPr>
          </a:p>
        </p:txBody>
      </p:sp>
      <p:grpSp>
        <p:nvGrpSpPr>
          <p:cNvPr id="92" name="Group 91"/>
          <p:cNvGrpSpPr/>
          <p:nvPr/>
        </p:nvGrpSpPr>
        <p:grpSpPr>
          <a:xfrm>
            <a:off x="238866" y="5547482"/>
            <a:ext cx="1290418" cy="828000"/>
            <a:chOff x="276257" y="5489669"/>
            <a:chExt cx="1276870" cy="828000"/>
          </a:xfrm>
        </p:grpSpPr>
        <p:sp>
          <p:nvSpPr>
            <p:cNvPr id="21" name="Rectangle 20"/>
            <p:cNvSpPr>
              <a:spLocks/>
            </p:cNvSpPr>
            <p:nvPr/>
          </p:nvSpPr>
          <p:spPr>
            <a:xfrm>
              <a:off x="276257" y="5489669"/>
              <a:ext cx="1276870" cy="828000"/>
            </a:xfrm>
            <a:prstGeom prst="rect">
              <a:avLst/>
            </a:prstGeom>
            <a:solidFill>
              <a:schemeClr val="accent2"/>
            </a:solid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noAutofit/>
            </a:bodyPr>
            <a:lstStyle/>
            <a:p>
              <a:r>
                <a:rPr lang="en-US" sz="1400" b="1" dirty="0">
                  <a:solidFill>
                    <a:schemeClr val="bg1"/>
                  </a:solidFill>
                </a:rPr>
                <a:t>Marketing &amp;</a:t>
              </a:r>
            </a:p>
            <a:p>
              <a:r>
                <a:rPr lang="en-US" sz="1400" b="1" dirty="0">
                  <a:solidFill>
                    <a:schemeClr val="bg1"/>
                  </a:solidFill>
                </a:rPr>
                <a:t>sales</a:t>
              </a:r>
              <a:endParaRPr lang="en-GB" sz="1400" b="1" dirty="0">
                <a:solidFill>
                  <a:schemeClr val="bg1"/>
                </a:solidFill>
              </a:endParaRPr>
            </a:p>
          </p:txBody>
        </p:sp>
        <p:grpSp>
          <p:nvGrpSpPr>
            <p:cNvPr id="91" name="Group 90"/>
            <p:cNvGrpSpPr/>
            <p:nvPr/>
          </p:nvGrpSpPr>
          <p:grpSpPr>
            <a:xfrm>
              <a:off x="1019797" y="5739846"/>
              <a:ext cx="443377" cy="575493"/>
              <a:chOff x="1019797" y="5739846"/>
              <a:chExt cx="443377" cy="575493"/>
            </a:xfrm>
          </p:grpSpPr>
          <p:sp>
            <p:nvSpPr>
              <p:cNvPr id="25" name="Freeform 8"/>
              <p:cNvSpPr>
                <a:spLocks/>
              </p:cNvSpPr>
              <p:nvPr/>
            </p:nvSpPr>
            <p:spPr bwMode="auto">
              <a:xfrm>
                <a:off x="1019797" y="5739846"/>
                <a:ext cx="229630" cy="456346"/>
              </a:xfrm>
              <a:custGeom>
                <a:avLst/>
                <a:gdLst>
                  <a:gd name="T0" fmla="*/ 2 w 155"/>
                  <a:gd name="T1" fmla="*/ 69 h 353"/>
                  <a:gd name="T2" fmla="*/ 6 w 155"/>
                  <a:gd name="T3" fmla="*/ 55 h 353"/>
                  <a:gd name="T4" fmla="*/ 10 w 155"/>
                  <a:gd name="T5" fmla="*/ 45 h 353"/>
                  <a:gd name="T6" fmla="*/ 16 w 155"/>
                  <a:gd name="T7" fmla="*/ 43 h 353"/>
                  <a:gd name="T8" fmla="*/ 13 w 155"/>
                  <a:gd name="T9" fmla="*/ 35 h 353"/>
                  <a:gd name="T10" fmla="*/ 24 w 155"/>
                  <a:gd name="T11" fmla="*/ 0 h 353"/>
                  <a:gd name="T12" fmla="*/ 48 w 155"/>
                  <a:gd name="T13" fmla="*/ 10 h 353"/>
                  <a:gd name="T14" fmla="*/ 55 w 155"/>
                  <a:gd name="T15" fmla="*/ 27 h 353"/>
                  <a:gd name="T16" fmla="*/ 54 w 155"/>
                  <a:gd name="T17" fmla="*/ 31 h 353"/>
                  <a:gd name="T18" fmla="*/ 54 w 155"/>
                  <a:gd name="T19" fmla="*/ 39 h 353"/>
                  <a:gd name="T20" fmla="*/ 54 w 155"/>
                  <a:gd name="T21" fmla="*/ 44 h 353"/>
                  <a:gd name="T22" fmla="*/ 52 w 155"/>
                  <a:gd name="T23" fmla="*/ 53 h 353"/>
                  <a:gd name="T24" fmla="*/ 52 w 155"/>
                  <a:gd name="T25" fmla="*/ 59 h 353"/>
                  <a:gd name="T26" fmla="*/ 72 w 155"/>
                  <a:gd name="T27" fmla="*/ 91 h 353"/>
                  <a:gd name="T28" fmla="*/ 75 w 155"/>
                  <a:gd name="T29" fmla="*/ 97 h 353"/>
                  <a:gd name="T30" fmla="*/ 81 w 155"/>
                  <a:gd name="T31" fmla="*/ 113 h 353"/>
                  <a:gd name="T32" fmla="*/ 87 w 155"/>
                  <a:gd name="T33" fmla="*/ 124 h 353"/>
                  <a:gd name="T34" fmla="*/ 90 w 155"/>
                  <a:gd name="T35" fmla="*/ 130 h 353"/>
                  <a:gd name="T36" fmla="*/ 118 w 155"/>
                  <a:gd name="T37" fmla="*/ 147 h 353"/>
                  <a:gd name="T38" fmla="*/ 120 w 155"/>
                  <a:gd name="T39" fmla="*/ 148 h 353"/>
                  <a:gd name="T40" fmla="*/ 134 w 155"/>
                  <a:gd name="T41" fmla="*/ 147 h 353"/>
                  <a:gd name="T42" fmla="*/ 142 w 155"/>
                  <a:gd name="T43" fmla="*/ 147 h 353"/>
                  <a:gd name="T44" fmla="*/ 136 w 155"/>
                  <a:gd name="T45" fmla="*/ 152 h 353"/>
                  <a:gd name="T46" fmla="*/ 136 w 155"/>
                  <a:gd name="T47" fmla="*/ 156 h 353"/>
                  <a:gd name="T48" fmla="*/ 144 w 155"/>
                  <a:gd name="T49" fmla="*/ 159 h 353"/>
                  <a:gd name="T50" fmla="*/ 152 w 155"/>
                  <a:gd name="T51" fmla="*/ 165 h 353"/>
                  <a:gd name="T52" fmla="*/ 155 w 155"/>
                  <a:gd name="T53" fmla="*/ 169 h 353"/>
                  <a:gd name="T54" fmla="*/ 152 w 155"/>
                  <a:gd name="T55" fmla="*/ 173 h 353"/>
                  <a:gd name="T56" fmla="*/ 142 w 155"/>
                  <a:gd name="T57" fmla="*/ 174 h 353"/>
                  <a:gd name="T58" fmla="*/ 132 w 155"/>
                  <a:gd name="T59" fmla="*/ 173 h 353"/>
                  <a:gd name="T60" fmla="*/ 126 w 155"/>
                  <a:gd name="T61" fmla="*/ 171 h 353"/>
                  <a:gd name="T62" fmla="*/ 120 w 155"/>
                  <a:gd name="T63" fmla="*/ 170 h 353"/>
                  <a:gd name="T64" fmla="*/ 114 w 155"/>
                  <a:gd name="T65" fmla="*/ 173 h 353"/>
                  <a:gd name="T66" fmla="*/ 101 w 155"/>
                  <a:gd name="T67" fmla="*/ 167 h 353"/>
                  <a:gd name="T68" fmla="*/ 87 w 155"/>
                  <a:gd name="T69" fmla="*/ 163 h 353"/>
                  <a:gd name="T70" fmla="*/ 84 w 155"/>
                  <a:gd name="T71" fmla="*/ 171 h 353"/>
                  <a:gd name="T72" fmla="*/ 83 w 155"/>
                  <a:gd name="T73" fmla="*/ 201 h 353"/>
                  <a:gd name="T74" fmla="*/ 75 w 155"/>
                  <a:gd name="T75" fmla="*/ 239 h 353"/>
                  <a:gd name="T76" fmla="*/ 81 w 155"/>
                  <a:gd name="T77" fmla="*/ 281 h 353"/>
                  <a:gd name="T78" fmla="*/ 106 w 155"/>
                  <a:gd name="T79" fmla="*/ 305 h 353"/>
                  <a:gd name="T80" fmla="*/ 69 w 155"/>
                  <a:gd name="T81" fmla="*/ 303 h 353"/>
                  <a:gd name="T82" fmla="*/ 52 w 155"/>
                  <a:gd name="T83" fmla="*/ 284 h 353"/>
                  <a:gd name="T84" fmla="*/ 49 w 155"/>
                  <a:gd name="T85" fmla="*/ 265 h 353"/>
                  <a:gd name="T86" fmla="*/ 44 w 155"/>
                  <a:gd name="T87" fmla="*/ 248 h 353"/>
                  <a:gd name="T88" fmla="*/ 38 w 155"/>
                  <a:gd name="T89" fmla="*/ 258 h 353"/>
                  <a:gd name="T90" fmla="*/ 37 w 155"/>
                  <a:gd name="T91" fmla="*/ 259 h 353"/>
                  <a:gd name="T92" fmla="*/ 34 w 155"/>
                  <a:gd name="T93" fmla="*/ 267 h 353"/>
                  <a:gd name="T94" fmla="*/ 30 w 155"/>
                  <a:gd name="T95" fmla="*/ 290 h 353"/>
                  <a:gd name="T96" fmla="*/ 25 w 155"/>
                  <a:gd name="T97" fmla="*/ 317 h 353"/>
                  <a:gd name="T98" fmla="*/ 13 w 155"/>
                  <a:gd name="T99" fmla="*/ 344 h 353"/>
                  <a:gd name="T100" fmla="*/ 4 w 155"/>
                  <a:gd name="T101" fmla="*/ 318 h 353"/>
                  <a:gd name="T102" fmla="*/ 5 w 155"/>
                  <a:gd name="T103" fmla="*/ 265 h 353"/>
                  <a:gd name="T104" fmla="*/ 17 w 155"/>
                  <a:gd name="T105" fmla="*/ 215 h 353"/>
                  <a:gd name="T106" fmla="*/ 16 w 155"/>
                  <a:gd name="T107" fmla="*/ 201 h 353"/>
                  <a:gd name="T108" fmla="*/ 11 w 155"/>
                  <a:gd name="T109" fmla="*/ 193 h 353"/>
                  <a:gd name="T110" fmla="*/ 10 w 155"/>
                  <a:gd name="T111" fmla="*/ 173 h 353"/>
                  <a:gd name="T112" fmla="*/ 11 w 155"/>
                  <a:gd name="T113" fmla="*/ 165 h 353"/>
                  <a:gd name="T114" fmla="*/ 9 w 155"/>
                  <a:gd name="T115" fmla="*/ 125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55" h="353">
                    <a:moveTo>
                      <a:pt x="0" y="94"/>
                    </a:moveTo>
                    <a:cubicBezTo>
                      <a:pt x="0" y="92"/>
                      <a:pt x="0" y="89"/>
                      <a:pt x="0" y="86"/>
                    </a:cubicBezTo>
                    <a:cubicBezTo>
                      <a:pt x="0" y="84"/>
                      <a:pt x="0" y="82"/>
                      <a:pt x="0" y="80"/>
                    </a:cubicBezTo>
                    <a:cubicBezTo>
                      <a:pt x="1" y="78"/>
                      <a:pt x="1" y="71"/>
                      <a:pt x="2" y="69"/>
                    </a:cubicBezTo>
                    <a:cubicBezTo>
                      <a:pt x="2" y="68"/>
                      <a:pt x="2" y="66"/>
                      <a:pt x="2" y="65"/>
                    </a:cubicBezTo>
                    <a:cubicBezTo>
                      <a:pt x="3" y="63"/>
                      <a:pt x="3" y="62"/>
                      <a:pt x="4" y="61"/>
                    </a:cubicBezTo>
                    <a:cubicBezTo>
                      <a:pt x="4" y="59"/>
                      <a:pt x="5" y="58"/>
                      <a:pt x="6" y="57"/>
                    </a:cubicBezTo>
                    <a:cubicBezTo>
                      <a:pt x="6" y="56"/>
                      <a:pt x="6" y="56"/>
                      <a:pt x="6" y="55"/>
                    </a:cubicBezTo>
                    <a:cubicBezTo>
                      <a:pt x="6" y="55"/>
                      <a:pt x="6" y="53"/>
                      <a:pt x="6" y="53"/>
                    </a:cubicBezTo>
                    <a:cubicBezTo>
                      <a:pt x="6" y="52"/>
                      <a:pt x="6" y="51"/>
                      <a:pt x="6" y="51"/>
                    </a:cubicBezTo>
                    <a:cubicBezTo>
                      <a:pt x="7" y="49"/>
                      <a:pt x="10" y="45"/>
                      <a:pt x="10" y="45"/>
                    </a:cubicBezTo>
                    <a:cubicBezTo>
                      <a:pt x="10" y="45"/>
                      <a:pt x="10" y="45"/>
                      <a:pt x="10" y="45"/>
                    </a:cubicBezTo>
                    <a:cubicBezTo>
                      <a:pt x="11" y="45"/>
                      <a:pt x="13" y="44"/>
                      <a:pt x="14" y="44"/>
                    </a:cubicBezTo>
                    <a:cubicBezTo>
                      <a:pt x="14" y="44"/>
                      <a:pt x="14" y="44"/>
                      <a:pt x="14" y="44"/>
                    </a:cubicBezTo>
                    <a:cubicBezTo>
                      <a:pt x="14" y="44"/>
                      <a:pt x="15" y="43"/>
                      <a:pt x="16" y="43"/>
                    </a:cubicBezTo>
                    <a:cubicBezTo>
                      <a:pt x="16" y="43"/>
                      <a:pt x="16" y="43"/>
                      <a:pt x="16" y="43"/>
                    </a:cubicBezTo>
                    <a:cubicBezTo>
                      <a:pt x="16" y="42"/>
                      <a:pt x="16" y="41"/>
                      <a:pt x="16" y="40"/>
                    </a:cubicBezTo>
                    <a:cubicBezTo>
                      <a:pt x="14" y="40"/>
                      <a:pt x="14" y="40"/>
                      <a:pt x="14" y="40"/>
                    </a:cubicBezTo>
                    <a:cubicBezTo>
                      <a:pt x="13" y="38"/>
                      <a:pt x="12" y="37"/>
                      <a:pt x="12" y="37"/>
                    </a:cubicBezTo>
                    <a:cubicBezTo>
                      <a:pt x="12" y="36"/>
                      <a:pt x="13" y="35"/>
                      <a:pt x="13" y="35"/>
                    </a:cubicBezTo>
                    <a:cubicBezTo>
                      <a:pt x="13" y="35"/>
                      <a:pt x="9" y="28"/>
                      <a:pt x="8" y="25"/>
                    </a:cubicBezTo>
                    <a:cubicBezTo>
                      <a:pt x="7" y="21"/>
                      <a:pt x="8" y="16"/>
                      <a:pt x="9" y="13"/>
                    </a:cubicBezTo>
                    <a:cubicBezTo>
                      <a:pt x="10" y="10"/>
                      <a:pt x="12" y="7"/>
                      <a:pt x="15" y="5"/>
                    </a:cubicBezTo>
                    <a:cubicBezTo>
                      <a:pt x="17" y="3"/>
                      <a:pt x="21" y="1"/>
                      <a:pt x="24" y="0"/>
                    </a:cubicBezTo>
                    <a:cubicBezTo>
                      <a:pt x="28" y="0"/>
                      <a:pt x="31" y="0"/>
                      <a:pt x="34" y="1"/>
                    </a:cubicBezTo>
                    <a:cubicBezTo>
                      <a:pt x="34" y="1"/>
                      <a:pt x="35" y="1"/>
                      <a:pt x="36" y="2"/>
                    </a:cubicBezTo>
                    <a:cubicBezTo>
                      <a:pt x="40" y="3"/>
                      <a:pt x="42" y="5"/>
                      <a:pt x="45" y="6"/>
                    </a:cubicBezTo>
                    <a:cubicBezTo>
                      <a:pt x="46" y="7"/>
                      <a:pt x="47" y="9"/>
                      <a:pt x="48" y="10"/>
                    </a:cubicBezTo>
                    <a:cubicBezTo>
                      <a:pt x="51" y="12"/>
                      <a:pt x="53" y="16"/>
                      <a:pt x="54" y="20"/>
                    </a:cubicBezTo>
                    <a:cubicBezTo>
                      <a:pt x="54" y="21"/>
                      <a:pt x="54" y="22"/>
                      <a:pt x="54" y="23"/>
                    </a:cubicBezTo>
                    <a:cubicBezTo>
                      <a:pt x="55" y="24"/>
                      <a:pt x="55" y="25"/>
                      <a:pt x="55" y="27"/>
                    </a:cubicBezTo>
                    <a:cubicBezTo>
                      <a:pt x="55" y="27"/>
                      <a:pt x="55" y="27"/>
                      <a:pt x="55" y="27"/>
                    </a:cubicBezTo>
                    <a:cubicBezTo>
                      <a:pt x="55" y="28"/>
                      <a:pt x="54" y="28"/>
                      <a:pt x="54" y="29"/>
                    </a:cubicBezTo>
                    <a:cubicBezTo>
                      <a:pt x="54" y="29"/>
                      <a:pt x="54" y="29"/>
                      <a:pt x="54" y="29"/>
                    </a:cubicBezTo>
                    <a:cubicBezTo>
                      <a:pt x="54" y="29"/>
                      <a:pt x="53" y="30"/>
                      <a:pt x="54" y="30"/>
                    </a:cubicBezTo>
                    <a:cubicBezTo>
                      <a:pt x="54" y="31"/>
                      <a:pt x="54" y="31"/>
                      <a:pt x="54" y="31"/>
                    </a:cubicBezTo>
                    <a:cubicBezTo>
                      <a:pt x="54" y="31"/>
                      <a:pt x="54" y="31"/>
                      <a:pt x="54" y="31"/>
                    </a:cubicBezTo>
                    <a:cubicBezTo>
                      <a:pt x="54" y="31"/>
                      <a:pt x="54" y="31"/>
                      <a:pt x="54" y="31"/>
                    </a:cubicBezTo>
                    <a:cubicBezTo>
                      <a:pt x="54" y="33"/>
                      <a:pt x="54" y="35"/>
                      <a:pt x="54" y="38"/>
                    </a:cubicBezTo>
                    <a:cubicBezTo>
                      <a:pt x="54" y="39"/>
                      <a:pt x="54" y="39"/>
                      <a:pt x="54" y="39"/>
                    </a:cubicBezTo>
                    <a:cubicBezTo>
                      <a:pt x="54" y="40"/>
                      <a:pt x="54" y="40"/>
                      <a:pt x="54" y="40"/>
                    </a:cubicBezTo>
                    <a:cubicBezTo>
                      <a:pt x="55" y="40"/>
                      <a:pt x="55" y="40"/>
                      <a:pt x="55" y="40"/>
                    </a:cubicBezTo>
                    <a:cubicBezTo>
                      <a:pt x="55" y="41"/>
                      <a:pt x="56" y="41"/>
                      <a:pt x="56" y="42"/>
                    </a:cubicBezTo>
                    <a:cubicBezTo>
                      <a:pt x="56" y="43"/>
                      <a:pt x="54" y="44"/>
                      <a:pt x="54" y="44"/>
                    </a:cubicBezTo>
                    <a:cubicBezTo>
                      <a:pt x="54" y="46"/>
                      <a:pt x="53" y="47"/>
                      <a:pt x="53" y="47"/>
                    </a:cubicBezTo>
                    <a:cubicBezTo>
                      <a:pt x="53" y="48"/>
                      <a:pt x="53" y="48"/>
                      <a:pt x="53" y="49"/>
                    </a:cubicBezTo>
                    <a:cubicBezTo>
                      <a:pt x="53" y="49"/>
                      <a:pt x="52" y="50"/>
                      <a:pt x="52" y="50"/>
                    </a:cubicBezTo>
                    <a:cubicBezTo>
                      <a:pt x="52" y="51"/>
                      <a:pt x="53" y="52"/>
                      <a:pt x="52" y="53"/>
                    </a:cubicBezTo>
                    <a:cubicBezTo>
                      <a:pt x="52" y="54"/>
                      <a:pt x="51" y="55"/>
                      <a:pt x="50" y="56"/>
                    </a:cubicBezTo>
                    <a:cubicBezTo>
                      <a:pt x="51" y="57"/>
                      <a:pt x="51" y="57"/>
                      <a:pt x="51" y="58"/>
                    </a:cubicBezTo>
                    <a:cubicBezTo>
                      <a:pt x="51" y="58"/>
                      <a:pt x="51" y="58"/>
                      <a:pt x="51" y="58"/>
                    </a:cubicBezTo>
                    <a:cubicBezTo>
                      <a:pt x="52" y="59"/>
                      <a:pt x="52" y="59"/>
                      <a:pt x="52" y="59"/>
                    </a:cubicBezTo>
                    <a:cubicBezTo>
                      <a:pt x="58" y="64"/>
                      <a:pt x="65" y="71"/>
                      <a:pt x="68" y="79"/>
                    </a:cubicBezTo>
                    <a:cubicBezTo>
                      <a:pt x="70" y="82"/>
                      <a:pt x="70" y="86"/>
                      <a:pt x="72" y="90"/>
                    </a:cubicBezTo>
                    <a:cubicBezTo>
                      <a:pt x="72" y="90"/>
                      <a:pt x="72" y="90"/>
                      <a:pt x="72" y="90"/>
                    </a:cubicBezTo>
                    <a:cubicBezTo>
                      <a:pt x="72" y="91"/>
                      <a:pt x="72" y="91"/>
                      <a:pt x="72" y="91"/>
                    </a:cubicBezTo>
                    <a:cubicBezTo>
                      <a:pt x="73" y="91"/>
                      <a:pt x="73" y="91"/>
                      <a:pt x="73" y="91"/>
                    </a:cubicBezTo>
                    <a:cubicBezTo>
                      <a:pt x="73" y="92"/>
                      <a:pt x="73" y="92"/>
                      <a:pt x="73" y="92"/>
                    </a:cubicBezTo>
                    <a:cubicBezTo>
                      <a:pt x="73" y="93"/>
                      <a:pt x="73" y="93"/>
                      <a:pt x="73" y="93"/>
                    </a:cubicBezTo>
                    <a:cubicBezTo>
                      <a:pt x="74" y="94"/>
                      <a:pt x="75" y="95"/>
                      <a:pt x="75" y="97"/>
                    </a:cubicBezTo>
                    <a:cubicBezTo>
                      <a:pt x="76" y="99"/>
                      <a:pt x="77" y="101"/>
                      <a:pt x="79" y="103"/>
                    </a:cubicBezTo>
                    <a:cubicBezTo>
                      <a:pt x="79" y="104"/>
                      <a:pt x="80" y="106"/>
                      <a:pt x="80" y="107"/>
                    </a:cubicBezTo>
                    <a:cubicBezTo>
                      <a:pt x="80" y="108"/>
                      <a:pt x="81" y="108"/>
                      <a:pt x="81" y="109"/>
                    </a:cubicBezTo>
                    <a:cubicBezTo>
                      <a:pt x="81" y="111"/>
                      <a:pt x="81" y="112"/>
                      <a:pt x="81" y="113"/>
                    </a:cubicBezTo>
                    <a:cubicBezTo>
                      <a:pt x="82" y="114"/>
                      <a:pt x="83" y="116"/>
                      <a:pt x="83" y="118"/>
                    </a:cubicBezTo>
                    <a:cubicBezTo>
                      <a:pt x="83" y="119"/>
                      <a:pt x="83" y="119"/>
                      <a:pt x="83" y="120"/>
                    </a:cubicBezTo>
                    <a:cubicBezTo>
                      <a:pt x="83" y="121"/>
                      <a:pt x="84" y="121"/>
                      <a:pt x="84" y="122"/>
                    </a:cubicBezTo>
                    <a:cubicBezTo>
                      <a:pt x="85" y="123"/>
                      <a:pt x="86" y="123"/>
                      <a:pt x="87" y="124"/>
                    </a:cubicBezTo>
                    <a:cubicBezTo>
                      <a:pt x="88" y="125"/>
                      <a:pt x="88" y="125"/>
                      <a:pt x="88" y="125"/>
                    </a:cubicBezTo>
                    <a:cubicBezTo>
                      <a:pt x="88" y="126"/>
                      <a:pt x="88" y="128"/>
                      <a:pt x="87" y="129"/>
                    </a:cubicBezTo>
                    <a:cubicBezTo>
                      <a:pt x="88" y="129"/>
                      <a:pt x="89" y="130"/>
                      <a:pt x="90" y="130"/>
                    </a:cubicBezTo>
                    <a:cubicBezTo>
                      <a:pt x="90" y="130"/>
                      <a:pt x="90" y="130"/>
                      <a:pt x="90" y="130"/>
                    </a:cubicBezTo>
                    <a:cubicBezTo>
                      <a:pt x="91" y="131"/>
                      <a:pt x="92" y="132"/>
                      <a:pt x="92" y="133"/>
                    </a:cubicBezTo>
                    <a:cubicBezTo>
                      <a:pt x="95" y="134"/>
                      <a:pt x="97" y="137"/>
                      <a:pt x="100" y="138"/>
                    </a:cubicBezTo>
                    <a:cubicBezTo>
                      <a:pt x="104" y="140"/>
                      <a:pt x="107" y="142"/>
                      <a:pt x="111" y="144"/>
                    </a:cubicBezTo>
                    <a:cubicBezTo>
                      <a:pt x="113" y="145"/>
                      <a:pt x="116" y="145"/>
                      <a:pt x="118" y="147"/>
                    </a:cubicBezTo>
                    <a:cubicBezTo>
                      <a:pt x="118" y="147"/>
                      <a:pt x="118" y="147"/>
                      <a:pt x="118" y="147"/>
                    </a:cubicBezTo>
                    <a:cubicBezTo>
                      <a:pt x="118" y="147"/>
                      <a:pt x="118" y="147"/>
                      <a:pt x="118" y="147"/>
                    </a:cubicBezTo>
                    <a:cubicBezTo>
                      <a:pt x="118" y="147"/>
                      <a:pt x="119" y="148"/>
                      <a:pt x="119" y="148"/>
                    </a:cubicBezTo>
                    <a:cubicBezTo>
                      <a:pt x="120" y="148"/>
                      <a:pt x="120" y="148"/>
                      <a:pt x="120" y="148"/>
                    </a:cubicBezTo>
                    <a:cubicBezTo>
                      <a:pt x="121" y="149"/>
                      <a:pt x="121" y="149"/>
                      <a:pt x="121" y="149"/>
                    </a:cubicBezTo>
                    <a:cubicBezTo>
                      <a:pt x="122" y="148"/>
                      <a:pt x="123" y="148"/>
                      <a:pt x="125" y="148"/>
                    </a:cubicBezTo>
                    <a:cubicBezTo>
                      <a:pt x="126" y="147"/>
                      <a:pt x="127" y="147"/>
                      <a:pt x="128" y="147"/>
                    </a:cubicBezTo>
                    <a:cubicBezTo>
                      <a:pt x="130" y="146"/>
                      <a:pt x="132" y="147"/>
                      <a:pt x="134" y="147"/>
                    </a:cubicBezTo>
                    <a:cubicBezTo>
                      <a:pt x="134" y="147"/>
                      <a:pt x="135" y="146"/>
                      <a:pt x="135" y="146"/>
                    </a:cubicBezTo>
                    <a:cubicBezTo>
                      <a:pt x="136" y="146"/>
                      <a:pt x="137" y="146"/>
                      <a:pt x="138" y="146"/>
                    </a:cubicBezTo>
                    <a:cubicBezTo>
                      <a:pt x="139" y="147"/>
                      <a:pt x="140" y="147"/>
                      <a:pt x="141" y="147"/>
                    </a:cubicBezTo>
                    <a:cubicBezTo>
                      <a:pt x="142" y="147"/>
                      <a:pt x="142" y="147"/>
                      <a:pt x="142" y="147"/>
                    </a:cubicBezTo>
                    <a:cubicBezTo>
                      <a:pt x="143" y="147"/>
                      <a:pt x="144" y="147"/>
                      <a:pt x="144" y="148"/>
                    </a:cubicBezTo>
                    <a:cubicBezTo>
                      <a:pt x="144" y="150"/>
                      <a:pt x="143" y="151"/>
                      <a:pt x="142" y="152"/>
                    </a:cubicBezTo>
                    <a:cubicBezTo>
                      <a:pt x="141" y="152"/>
                      <a:pt x="140" y="152"/>
                      <a:pt x="138" y="152"/>
                    </a:cubicBezTo>
                    <a:cubicBezTo>
                      <a:pt x="137" y="152"/>
                      <a:pt x="137" y="152"/>
                      <a:pt x="136" y="152"/>
                    </a:cubicBezTo>
                    <a:cubicBezTo>
                      <a:pt x="135" y="152"/>
                      <a:pt x="134" y="152"/>
                      <a:pt x="133" y="152"/>
                    </a:cubicBezTo>
                    <a:cubicBezTo>
                      <a:pt x="132" y="152"/>
                      <a:pt x="132" y="152"/>
                      <a:pt x="131" y="153"/>
                    </a:cubicBezTo>
                    <a:cubicBezTo>
                      <a:pt x="132" y="153"/>
                      <a:pt x="133" y="154"/>
                      <a:pt x="134" y="154"/>
                    </a:cubicBezTo>
                    <a:cubicBezTo>
                      <a:pt x="135" y="155"/>
                      <a:pt x="135" y="155"/>
                      <a:pt x="136" y="156"/>
                    </a:cubicBezTo>
                    <a:cubicBezTo>
                      <a:pt x="137" y="156"/>
                      <a:pt x="137" y="156"/>
                      <a:pt x="137" y="156"/>
                    </a:cubicBezTo>
                    <a:cubicBezTo>
                      <a:pt x="138" y="156"/>
                      <a:pt x="138" y="156"/>
                      <a:pt x="138" y="156"/>
                    </a:cubicBezTo>
                    <a:cubicBezTo>
                      <a:pt x="138" y="157"/>
                      <a:pt x="138" y="157"/>
                      <a:pt x="138" y="157"/>
                    </a:cubicBezTo>
                    <a:cubicBezTo>
                      <a:pt x="140" y="157"/>
                      <a:pt x="142" y="158"/>
                      <a:pt x="144" y="159"/>
                    </a:cubicBezTo>
                    <a:cubicBezTo>
                      <a:pt x="145" y="159"/>
                      <a:pt x="146" y="159"/>
                      <a:pt x="147" y="160"/>
                    </a:cubicBezTo>
                    <a:cubicBezTo>
                      <a:pt x="149" y="160"/>
                      <a:pt x="151" y="161"/>
                      <a:pt x="152" y="163"/>
                    </a:cubicBezTo>
                    <a:cubicBezTo>
                      <a:pt x="152" y="164"/>
                      <a:pt x="151" y="165"/>
                      <a:pt x="150" y="165"/>
                    </a:cubicBezTo>
                    <a:cubicBezTo>
                      <a:pt x="151" y="165"/>
                      <a:pt x="151" y="165"/>
                      <a:pt x="152" y="165"/>
                    </a:cubicBezTo>
                    <a:cubicBezTo>
                      <a:pt x="152" y="166"/>
                      <a:pt x="152" y="166"/>
                      <a:pt x="152" y="166"/>
                    </a:cubicBezTo>
                    <a:cubicBezTo>
                      <a:pt x="152" y="166"/>
                      <a:pt x="152" y="166"/>
                      <a:pt x="152" y="166"/>
                    </a:cubicBezTo>
                    <a:cubicBezTo>
                      <a:pt x="153" y="166"/>
                      <a:pt x="153" y="166"/>
                      <a:pt x="154" y="166"/>
                    </a:cubicBezTo>
                    <a:cubicBezTo>
                      <a:pt x="154" y="167"/>
                      <a:pt x="155" y="168"/>
                      <a:pt x="155" y="169"/>
                    </a:cubicBezTo>
                    <a:cubicBezTo>
                      <a:pt x="155" y="169"/>
                      <a:pt x="155" y="170"/>
                      <a:pt x="155" y="170"/>
                    </a:cubicBezTo>
                    <a:cubicBezTo>
                      <a:pt x="154" y="171"/>
                      <a:pt x="152" y="170"/>
                      <a:pt x="151" y="170"/>
                    </a:cubicBezTo>
                    <a:cubicBezTo>
                      <a:pt x="152" y="171"/>
                      <a:pt x="152" y="171"/>
                      <a:pt x="152" y="171"/>
                    </a:cubicBezTo>
                    <a:cubicBezTo>
                      <a:pt x="152" y="171"/>
                      <a:pt x="152" y="172"/>
                      <a:pt x="152" y="173"/>
                    </a:cubicBezTo>
                    <a:cubicBezTo>
                      <a:pt x="151" y="174"/>
                      <a:pt x="149" y="173"/>
                      <a:pt x="148" y="173"/>
                    </a:cubicBezTo>
                    <a:cubicBezTo>
                      <a:pt x="147" y="173"/>
                      <a:pt x="147" y="173"/>
                      <a:pt x="146" y="173"/>
                    </a:cubicBezTo>
                    <a:cubicBezTo>
                      <a:pt x="146" y="172"/>
                      <a:pt x="146" y="172"/>
                      <a:pt x="146" y="172"/>
                    </a:cubicBezTo>
                    <a:cubicBezTo>
                      <a:pt x="145" y="174"/>
                      <a:pt x="142" y="174"/>
                      <a:pt x="142" y="174"/>
                    </a:cubicBezTo>
                    <a:cubicBezTo>
                      <a:pt x="141" y="174"/>
                      <a:pt x="141" y="174"/>
                      <a:pt x="140" y="174"/>
                    </a:cubicBezTo>
                    <a:cubicBezTo>
                      <a:pt x="139" y="174"/>
                      <a:pt x="139" y="174"/>
                      <a:pt x="138" y="174"/>
                    </a:cubicBezTo>
                    <a:cubicBezTo>
                      <a:pt x="137" y="174"/>
                      <a:pt x="135" y="174"/>
                      <a:pt x="134" y="173"/>
                    </a:cubicBezTo>
                    <a:cubicBezTo>
                      <a:pt x="133" y="173"/>
                      <a:pt x="133" y="173"/>
                      <a:pt x="132" y="173"/>
                    </a:cubicBezTo>
                    <a:cubicBezTo>
                      <a:pt x="131" y="173"/>
                      <a:pt x="131" y="173"/>
                      <a:pt x="130" y="173"/>
                    </a:cubicBezTo>
                    <a:cubicBezTo>
                      <a:pt x="130" y="172"/>
                      <a:pt x="130" y="172"/>
                      <a:pt x="130" y="172"/>
                    </a:cubicBezTo>
                    <a:cubicBezTo>
                      <a:pt x="129" y="172"/>
                      <a:pt x="127" y="171"/>
                      <a:pt x="126" y="171"/>
                    </a:cubicBezTo>
                    <a:cubicBezTo>
                      <a:pt x="126" y="171"/>
                      <a:pt x="126" y="171"/>
                      <a:pt x="126" y="171"/>
                    </a:cubicBezTo>
                    <a:cubicBezTo>
                      <a:pt x="126" y="171"/>
                      <a:pt x="126" y="171"/>
                      <a:pt x="126" y="171"/>
                    </a:cubicBezTo>
                    <a:cubicBezTo>
                      <a:pt x="124" y="170"/>
                      <a:pt x="123" y="169"/>
                      <a:pt x="121" y="168"/>
                    </a:cubicBezTo>
                    <a:cubicBezTo>
                      <a:pt x="121" y="169"/>
                      <a:pt x="120" y="169"/>
                      <a:pt x="120" y="169"/>
                    </a:cubicBezTo>
                    <a:cubicBezTo>
                      <a:pt x="120" y="170"/>
                      <a:pt x="120" y="170"/>
                      <a:pt x="120" y="170"/>
                    </a:cubicBezTo>
                    <a:cubicBezTo>
                      <a:pt x="120" y="170"/>
                      <a:pt x="119" y="170"/>
                      <a:pt x="118" y="171"/>
                    </a:cubicBezTo>
                    <a:cubicBezTo>
                      <a:pt x="118" y="171"/>
                      <a:pt x="117" y="172"/>
                      <a:pt x="117" y="172"/>
                    </a:cubicBezTo>
                    <a:cubicBezTo>
                      <a:pt x="116" y="173"/>
                      <a:pt x="116" y="173"/>
                      <a:pt x="115" y="174"/>
                    </a:cubicBezTo>
                    <a:cubicBezTo>
                      <a:pt x="115" y="174"/>
                      <a:pt x="114" y="173"/>
                      <a:pt x="114" y="173"/>
                    </a:cubicBezTo>
                    <a:cubicBezTo>
                      <a:pt x="113" y="173"/>
                      <a:pt x="110" y="171"/>
                      <a:pt x="109" y="171"/>
                    </a:cubicBezTo>
                    <a:cubicBezTo>
                      <a:pt x="108" y="171"/>
                      <a:pt x="107" y="170"/>
                      <a:pt x="107" y="170"/>
                    </a:cubicBezTo>
                    <a:cubicBezTo>
                      <a:pt x="105" y="169"/>
                      <a:pt x="104" y="168"/>
                      <a:pt x="102" y="168"/>
                    </a:cubicBezTo>
                    <a:cubicBezTo>
                      <a:pt x="102" y="167"/>
                      <a:pt x="101" y="167"/>
                      <a:pt x="101" y="167"/>
                    </a:cubicBezTo>
                    <a:cubicBezTo>
                      <a:pt x="100" y="167"/>
                      <a:pt x="99" y="166"/>
                      <a:pt x="98" y="166"/>
                    </a:cubicBezTo>
                    <a:cubicBezTo>
                      <a:pt x="96" y="165"/>
                      <a:pt x="88" y="163"/>
                      <a:pt x="88" y="163"/>
                    </a:cubicBezTo>
                    <a:cubicBezTo>
                      <a:pt x="88" y="163"/>
                      <a:pt x="88" y="163"/>
                      <a:pt x="88" y="163"/>
                    </a:cubicBezTo>
                    <a:cubicBezTo>
                      <a:pt x="87" y="163"/>
                      <a:pt x="87" y="163"/>
                      <a:pt x="87" y="163"/>
                    </a:cubicBezTo>
                    <a:cubicBezTo>
                      <a:pt x="86" y="162"/>
                      <a:pt x="84" y="162"/>
                      <a:pt x="83" y="161"/>
                    </a:cubicBezTo>
                    <a:cubicBezTo>
                      <a:pt x="83" y="162"/>
                      <a:pt x="83" y="162"/>
                      <a:pt x="83" y="162"/>
                    </a:cubicBezTo>
                    <a:cubicBezTo>
                      <a:pt x="83" y="163"/>
                      <a:pt x="83" y="163"/>
                      <a:pt x="83" y="163"/>
                    </a:cubicBezTo>
                    <a:cubicBezTo>
                      <a:pt x="84" y="166"/>
                      <a:pt x="84" y="168"/>
                      <a:pt x="84" y="171"/>
                    </a:cubicBezTo>
                    <a:cubicBezTo>
                      <a:pt x="84" y="174"/>
                      <a:pt x="84" y="178"/>
                      <a:pt x="84" y="181"/>
                    </a:cubicBezTo>
                    <a:cubicBezTo>
                      <a:pt x="84" y="184"/>
                      <a:pt x="84" y="188"/>
                      <a:pt x="84" y="191"/>
                    </a:cubicBezTo>
                    <a:cubicBezTo>
                      <a:pt x="84" y="193"/>
                      <a:pt x="83" y="194"/>
                      <a:pt x="83" y="196"/>
                    </a:cubicBezTo>
                    <a:cubicBezTo>
                      <a:pt x="83" y="198"/>
                      <a:pt x="83" y="199"/>
                      <a:pt x="83" y="201"/>
                    </a:cubicBezTo>
                    <a:cubicBezTo>
                      <a:pt x="83" y="204"/>
                      <a:pt x="82" y="208"/>
                      <a:pt x="82" y="211"/>
                    </a:cubicBezTo>
                    <a:cubicBezTo>
                      <a:pt x="81" y="214"/>
                      <a:pt x="80" y="218"/>
                      <a:pt x="79" y="221"/>
                    </a:cubicBezTo>
                    <a:cubicBezTo>
                      <a:pt x="79" y="222"/>
                      <a:pt x="78" y="224"/>
                      <a:pt x="78" y="225"/>
                    </a:cubicBezTo>
                    <a:cubicBezTo>
                      <a:pt x="76" y="230"/>
                      <a:pt x="75" y="234"/>
                      <a:pt x="75" y="239"/>
                    </a:cubicBezTo>
                    <a:cubicBezTo>
                      <a:pt x="75" y="244"/>
                      <a:pt x="75" y="249"/>
                      <a:pt x="75" y="254"/>
                    </a:cubicBezTo>
                    <a:cubicBezTo>
                      <a:pt x="76" y="259"/>
                      <a:pt x="77" y="264"/>
                      <a:pt x="77" y="269"/>
                    </a:cubicBezTo>
                    <a:cubicBezTo>
                      <a:pt x="77" y="273"/>
                      <a:pt x="80" y="275"/>
                      <a:pt x="81" y="279"/>
                    </a:cubicBezTo>
                    <a:cubicBezTo>
                      <a:pt x="81" y="280"/>
                      <a:pt x="81" y="280"/>
                      <a:pt x="81" y="281"/>
                    </a:cubicBezTo>
                    <a:cubicBezTo>
                      <a:pt x="81" y="282"/>
                      <a:pt x="81" y="282"/>
                      <a:pt x="81" y="283"/>
                    </a:cubicBezTo>
                    <a:cubicBezTo>
                      <a:pt x="81" y="284"/>
                      <a:pt x="81" y="285"/>
                      <a:pt x="81" y="285"/>
                    </a:cubicBezTo>
                    <a:cubicBezTo>
                      <a:pt x="87" y="287"/>
                      <a:pt x="95" y="290"/>
                      <a:pt x="99" y="294"/>
                    </a:cubicBezTo>
                    <a:cubicBezTo>
                      <a:pt x="101" y="297"/>
                      <a:pt x="107" y="302"/>
                      <a:pt x="106" y="305"/>
                    </a:cubicBezTo>
                    <a:cubicBezTo>
                      <a:pt x="105" y="311"/>
                      <a:pt x="99" y="311"/>
                      <a:pt x="95" y="310"/>
                    </a:cubicBezTo>
                    <a:cubicBezTo>
                      <a:pt x="90" y="310"/>
                      <a:pt x="86" y="309"/>
                      <a:pt x="81" y="307"/>
                    </a:cubicBezTo>
                    <a:cubicBezTo>
                      <a:pt x="78" y="305"/>
                      <a:pt x="75" y="302"/>
                      <a:pt x="71" y="302"/>
                    </a:cubicBezTo>
                    <a:cubicBezTo>
                      <a:pt x="71" y="302"/>
                      <a:pt x="69" y="302"/>
                      <a:pt x="69" y="303"/>
                    </a:cubicBezTo>
                    <a:cubicBezTo>
                      <a:pt x="67" y="302"/>
                      <a:pt x="64" y="301"/>
                      <a:pt x="62" y="300"/>
                    </a:cubicBezTo>
                    <a:cubicBezTo>
                      <a:pt x="59" y="298"/>
                      <a:pt x="54" y="293"/>
                      <a:pt x="53" y="290"/>
                    </a:cubicBezTo>
                    <a:cubicBezTo>
                      <a:pt x="52" y="289"/>
                      <a:pt x="52" y="288"/>
                      <a:pt x="52" y="287"/>
                    </a:cubicBezTo>
                    <a:cubicBezTo>
                      <a:pt x="52" y="286"/>
                      <a:pt x="52" y="285"/>
                      <a:pt x="52" y="284"/>
                    </a:cubicBezTo>
                    <a:cubicBezTo>
                      <a:pt x="52" y="284"/>
                      <a:pt x="52" y="283"/>
                      <a:pt x="51" y="283"/>
                    </a:cubicBezTo>
                    <a:cubicBezTo>
                      <a:pt x="51" y="280"/>
                      <a:pt x="50" y="278"/>
                      <a:pt x="50" y="275"/>
                    </a:cubicBezTo>
                    <a:cubicBezTo>
                      <a:pt x="50" y="273"/>
                      <a:pt x="49" y="271"/>
                      <a:pt x="49" y="270"/>
                    </a:cubicBezTo>
                    <a:cubicBezTo>
                      <a:pt x="49" y="268"/>
                      <a:pt x="49" y="267"/>
                      <a:pt x="49" y="265"/>
                    </a:cubicBezTo>
                    <a:cubicBezTo>
                      <a:pt x="48" y="258"/>
                      <a:pt x="46" y="252"/>
                      <a:pt x="45" y="245"/>
                    </a:cubicBezTo>
                    <a:cubicBezTo>
                      <a:pt x="45" y="246"/>
                      <a:pt x="45" y="246"/>
                      <a:pt x="45" y="246"/>
                    </a:cubicBezTo>
                    <a:cubicBezTo>
                      <a:pt x="44" y="247"/>
                      <a:pt x="44" y="247"/>
                      <a:pt x="44" y="247"/>
                    </a:cubicBezTo>
                    <a:cubicBezTo>
                      <a:pt x="44" y="247"/>
                      <a:pt x="44" y="248"/>
                      <a:pt x="44" y="248"/>
                    </a:cubicBezTo>
                    <a:cubicBezTo>
                      <a:pt x="43" y="250"/>
                      <a:pt x="42" y="251"/>
                      <a:pt x="41" y="252"/>
                    </a:cubicBezTo>
                    <a:cubicBezTo>
                      <a:pt x="41" y="254"/>
                      <a:pt x="40" y="256"/>
                      <a:pt x="38" y="257"/>
                    </a:cubicBezTo>
                    <a:cubicBezTo>
                      <a:pt x="38" y="258"/>
                      <a:pt x="38" y="258"/>
                      <a:pt x="38" y="258"/>
                    </a:cubicBezTo>
                    <a:cubicBezTo>
                      <a:pt x="38" y="258"/>
                      <a:pt x="38" y="258"/>
                      <a:pt x="38" y="258"/>
                    </a:cubicBezTo>
                    <a:cubicBezTo>
                      <a:pt x="38" y="258"/>
                      <a:pt x="38" y="258"/>
                      <a:pt x="38" y="258"/>
                    </a:cubicBezTo>
                    <a:cubicBezTo>
                      <a:pt x="38" y="259"/>
                      <a:pt x="38" y="259"/>
                      <a:pt x="38" y="259"/>
                    </a:cubicBezTo>
                    <a:cubicBezTo>
                      <a:pt x="38" y="259"/>
                      <a:pt x="38" y="259"/>
                      <a:pt x="38" y="259"/>
                    </a:cubicBezTo>
                    <a:cubicBezTo>
                      <a:pt x="37" y="259"/>
                      <a:pt x="37" y="259"/>
                      <a:pt x="37" y="259"/>
                    </a:cubicBezTo>
                    <a:cubicBezTo>
                      <a:pt x="37" y="260"/>
                      <a:pt x="37" y="260"/>
                      <a:pt x="37" y="260"/>
                    </a:cubicBezTo>
                    <a:cubicBezTo>
                      <a:pt x="37" y="261"/>
                      <a:pt x="36" y="262"/>
                      <a:pt x="36" y="263"/>
                    </a:cubicBezTo>
                    <a:cubicBezTo>
                      <a:pt x="36" y="263"/>
                      <a:pt x="36" y="263"/>
                      <a:pt x="36" y="263"/>
                    </a:cubicBezTo>
                    <a:cubicBezTo>
                      <a:pt x="35" y="264"/>
                      <a:pt x="35" y="266"/>
                      <a:pt x="34" y="267"/>
                    </a:cubicBezTo>
                    <a:cubicBezTo>
                      <a:pt x="34" y="268"/>
                      <a:pt x="34" y="269"/>
                      <a:pt x="33" y="270"/>
                    </a:cubicBezTo>
                    <a:cubicBezTo>
                      <a:pt x="33" y="271"/>
                      <a:pt x="33" y="271"/>
                      <a:pt x="33" y="271"/>
                    </a:cubicBezTo>
                    <a:cubicBezTo>
                      <a:pt x="32" y="273"/>
                      <a:pt x="32" y="275"/>
                      <a:pt x="31" y="278"/>
                    </a:cubicBezTo>
                    <a:cubicBezTo>
                      <a:pt x="30" y="282"/>
                      <a:pt x="30" y="286"/>
                      <a:pt x="30" y="290"/>
                    </a:cubicBezTo>
                    <a:cubicBezTo>
                      <a:pt x="30" y="292"/>
                      <a:pt x="29" y="294"/>
                      <a:pt x="29" y="295"/>
                    </a:cubicBezTo>
                    <a:cubicBezTo>
                      <a:pt x="29" y="298"/>
                      <a:pt x="28" y="301"/>
                      <a:pt x="27" y="304"/>
                    </a:cubicBezTo>
                    <a:cubicBezTo>
                      <a:pt x="27" y="306"/>
                      <a:pt x="26" y="309"/>
                      <a:pt x="25" y="311"/>
                    </a:cubicBezTo>
                    <a:cubicBezTo>
                      <a:pt x="24" y="314"/>
                      <a:pt x="24" y="314"/>
                      <a:pt x="25" y="317"/>
                    </a:cubicBezTo>
                    <a:cubicBezTo>
                      <a:pt x="26" y="321"/>
                      <a:pt x="28" y="325"/>
                      <a:pt x="29" y="330"/>
                    </a:cubicBezTo>
                    <a:cubicBezTo>
                      <a:pt x="29" y="333"/>
                      <a:pt x="29" y="336"/>
                      <a:pt x="29" y="339"/>
                    </a:cubicBezTo>
                    <a:cubicBezTo>
                      <a:pt x="29" y="342"/>
                      <a:pt x="29" y="345"/>
                      <a:pt x="28" y="347"/>
                    </a:cubicBezTo>
                    <a:cubicBezTo>
                      <a:pt x="23" y="353"/>
                      <a:pt x="16" y="348"/>
                      <a:pt x="13" y="344"/>
                    </a:cubicBezTo>
                    <a:cubicBezTo>
                      <a:pt x="8" y="340"/>
                      <a:pt x="5" y="337"/>
                      <a:pt x="5" y="331"/>
                    </a:cubicBezTo>
                    <a:cubicBezTo>
                      <a:pt x="5" y="328"/>
                      <a:pt x="5" y="325"/>
                      <a:pt x="5" y="323"/>
                    </a:cubicBezTo>
                    <a:cubicBezTo>
                      <a:pt x="4" y="321"/>
                      <a:pt x="5" y="321"/>
                      <a:pt x="5" y="319"/>
                    </a:cubicBezTo>
                    <a:cubicBezTo>
                      <a:pt x="5" y="318"/>
                      <a:pt x="4" y="318"/>
                      <a:pt x="4" y="318"/>
                    </a:cubicBezTo>
                    <a:cubicBezTo>
                      <a:pt x="3" y="316"/>
                      <a:pt x="3" y="313"/>
                      <a:pt x="2" y="311"/>
                    </a:cubicBezTo>
                    <a:cubicBezTo>
                      <a:pt x="0" y="309"/>
                      <a:pt x="1" y="304"/>
                      <a:pt x="1" y="302"/>
                    </a:cubicBezTo>
                    <a:cubicBezTo>
                      <a:pt x="2" y="295"/>
                      <a:pt x="3" y="288"/>
                      <a:pt x="3" y="280"/>
                    </a:cubicBezTo>
                    <a:cubicBezTo>
                      <a:pt x="4" y="275"/>
                      <a:pt x="4" y="270"/>
                      <a:pt x="5" y="265"/>
                    </a:cubicBezTo>
                    <a:cubicBezTo>
                      <a:pt x="6" y="260"/>
                      <a:pt x="8" y="256"/>
                      <a:pt x="9" y="251"/>
                    </a:cubicBezTo>
                    <a:cubicBezTo>
                      <a:pt x="11" y="245"/>
                      <a:pt x="14" y="240"/>
                      <a:pt x="15" y="233"/>
                    </a:cubicBezTo>
                    <a:cubicBezTo>
                      <a:pt x="15" y="230"/>
                      <a:pt x="16" y="227"/>
                      <a:pt x="17" y="224"/>
                    </a:cubicBezTo>
                    <a:cubicBezTo>
                      <a:pt x="17" y="221"/>
                      <a:pt x="17" y="218"/>
                      <a:pt x="17" y="215"/>
                    </a:cubicBezTo>
                    <a:cubicBezTo>
                      <a:pt x="17" y="212"/>
                      <a:pt x="17" y="210"/>
                      <a:pt x="17" y="207"/>
                    </a:cubicBezTo>
                    <a:cubicBezTo>
                      <a:pt x="16" y="205"/>
                      <a:pt x="16" y="204"/>
                      <a:pt x="16" y="203"/>
                    </a:cubicBezTo>
                    <a:cubicBezTo>
                      <a:pt x="16" y="202"/>
                      <a:pt x="16" y="201"/>
                      <a:pt x="16" y="201"/>
                    </a:cubicBezTo>
                    <a:cubicBezTo>
                      <a:pt x="16" y="201"/>
                      <a:pt x="16" y="201"/>
                      <a:pt x="16" y="201"/>
                    </a:cubicBezTo>
                    <a:cubicBezTo>
                      <a:pt x="15" y="200"/>
                      <a:pt x="15" y="200"/>
                      <a:pt x="15" y="200"/>
                    </a:cubicBezTo>
                    <a:cubicBezTo>
                      <a:pt x="15" y="200"/>
                      <a:pt x="14" y="199"/>
                      <a:pt x="14" y="199"/>
                    </a:cubicBezTo>
                    <a:cubicBezTo>
                      <a:pt x="14" y="199"/>
                      <a:pt x="14" y="199"/>
                      <a:pt x="14" y="199"/>
                    </a:cubicBezTo>
                    <a:cubicBezTo>
                      <a:pt x="12" y="198"/>
                      <a:pt x="12" y="195"/>
                      <a:pt x="11" y="193"/>
                    </a:cubicBezTo>
                    <a:cubicBezTo>
                      <a:pt x="11" y="193"/>
                      <a:pt x="11" y="193"/>
                      <a:pt x="11" y="193"/>
                    </a:cubicBezTo>
                    <a:cubicBezTo>
                      <a:pt x="10" y="191"/>
                      <a:pt x="10" y="190"/>
                      <a:pt x="10" y="189"/>
                    </a:cubicBezTo>
                    <a:cubicBezTo>
                      <a:pt x="9" y="187"/>
                      <a:pt x="9" y="184"/>
                      <a:pt x="9" y="182"/>
                    </a:cubicBezTo>
                    <a:cubicBezTo>
                      <a:pt x="9" y="179"/>
                      <a:pt x="10" y="176"/>
                      <a:pt x="10" y="173"/>
                    </a:cubicBezTo>
                    <a:cubicBezTo>
                      <a:pt x="11" y="173"/>
                      <a:pt x="11" y="172"/>
                      <a:pt x="11" y="171"/>
                    </a:cubicBezTo>
                    <a:cubicBezTo>
                      <a:pt x="11" y="170"/>
                      <a:pt x="11" y="170"/>
                      <a:pt x="11" y="169"/>
                    </a:cubicBezTo>
                    <a:cubicBezTo>
                      <a:pt x="11" y="168"/>
                      <a:pt x="11" y="167"/>
                      <a:pt x="11" y="167"/>
                    </a:cubicBezTo>
                    <a:cubicBezTo>
                      <a:pt x="11" y="166"/>
                      <a:pt x="11" y="165"/>
                      <a:pt x="11" y="165"/>
                    </a:cubicBezTo>
                    <a:cubicBezTo>
                      <a:pt x="11" y="164"/>
                      <a:pt x="11" y="162"/>
                      <a:pt x="11" y="161"/>
                    </a:cubicBezTo>
                    <a:cubicBezTo>
                      <a:pt x="11" y="154"/>
                      <a:pt x="12" y="148"/>
                      <a:pt x="12" y="141"/>
                    </a:cubicBezTo>
                    <a:cubicBezTo>
                      <a:pt x="12" y="138"/>
                      <a:pt x="11" y="137"/>
                      <a:pt x="10" y="134"/>
                    </a:cubicBezTo>
                    <a:cubicBezTo>
                      <a:pt x="9" y="131"/>
                      <a:pt x="8" y="128"/>
                      <a:pt x="9" y="125"/>
                    </a:cubicBezTo>
                    <a:cubicBezTo>
                      <a:pt x="9" y="120"/>
                      <a:pt x="6" y="115"/>
                      <a:pt x="5" y="111"/>
                    </a:cubicBezTo>
                    <a:cubicBezTo>
                      <a:pt x="3" y="105"/>
                      <a:pt x="1" y="100"/>
                      <a:pt x="0" y="94"/>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sz="1400" dirty="0">
                  <a:latin typeface="+mn-lt"/>
                </a:endParaRPr>
              </a:p>
            </p:txBody>
          </p:sp>
          <p:sp>
            <p:nvSpPr>
              <p:cNvPr id="26" name="Freeform 9"/>
              <p:cNvSpPr>
                <a:spLocks/>
              </p:cNvSpPr>
              <p:nvPr/>
            </p:nvSpPr>
            <p:spPr bwMode="auto">
              <a:xfrm>
                <a:off x="1037664" y="5796528"/>
                <a:ext cx="81396" cy="55525"/>
              </a:xfrm>
              <a:custGeom>
                <a:avLst/>
                <a:gdLst>
                  <a:gd name="T0" fmla="*/ 54 w 55"/>
                  <a:gd name="T1" fmla="*/ 39 h 43"/>
                  <a:gd name="T2" fmla="*/ 47 w 55"/>
                  <a:gd name="T3" fmla="*/ 29 h 43"/>
                  <a:gd name="T4" fmla="*/ 36 w 55"/>
                  <a:gd name="T5" fmla="*/ 14 h 43"/>
                  <a:gd name="T6" fmla="*/ 34 w 55"/>
                  <a:gd name="T7" fmla="*/ 14 h 43"/>
                  <a:gd name="T8" fmla="*/ 29 w 55"/>
                  <a:gd name="T9" fmla="*/ 14 h 43"/>
                  <a:gd name="T10" fmla="*/ 29 w 55"/>
                  <a:gd name="T11" fmla="*/ 17 h 43"/>
                  <a:gd name="T12" fmla="*/ 29 w 55"/>
                  <a:gd name="T13" fmla="*/ 17 h 43"/>
                  <a:gd name="T14" fmla="*/ 8 w 55"/>
                  <a:gd name="T15" fmla="*/ 8 h 43"/>
                  <a:gd name="T16" fmla="*/ 4 w 55"/>
                  <a:gd name="T17" fmla="*/ 4 h 43"/>
                  <a:gd name="T18" fmla="*/ 6 w 55"/>
                  <a:gd name="T19" fmla="*/ 2 h 43"/>
                  <a:gd name="T20" fmla="*/ 4 w 55"/>
                  <a:gd name="T21" fmla="*/ 0 h 43"/>
                  <a:gd name="T22" fmla="*/ 2 w 55"/>
                  <a:gd name="T23" fmla="*/ 0 h 43"/>
                  <a:gd name="T24" fmla="*/ 0 w 55"/>
                  <a:gd name="T25" fmla="*/ 5 h 43"/>
                  <a:gd name="T26" fmla="*/ 6 w 55"/>
                  <a:gd name="T27" fmla="*/ 10 h 43"/>
                  <a:gd name="T28" fmla="*/ 20 w 55"/>
                  <a:gd name="T29" fmla="*/ 21 h 43"/>
                  <a:gd name="T30" fmla="*/ 44 w 55"/>
                  <a:gd name="T31" fmla="*/ 32 h 43"/>
                  <a:gd name="T32" fmla="*/ 51 w 55"/>
                  <a:gd name="T33" fmla="*/ 38 h 43"/>
                  <a:gd name="T34" fmla="*/ 55 w 55"/>
                  <a:gd name="T35" fmla="*/ 4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5" h="43">
                    <a:moveTo>
                      <a:pt x="54" y="39"/>
                    </a:moveTo>
                    <a:cubicBezTo>
                      <a:pt x="54" y="39"/>
                      <a:pt x="51" y="33"/>
                      <a:pt x="47" y="29"/>
                    </a:cubicBezTo>
                    <a:cubicBezTo>
                      <a:pt x="43" y="23"/>
                      <a:pt x="43" y="23"/>
                      <a:pt x="36" y="14"/>
                    </a:cubicBezTo>
                    <a:cubicBezTo>
                      <a:pt x="34" y="14"/>
                      <a:pt x="34" y="14"/>
                      <a:pt x="34" y="14"/>
                    </a:cubicBezTo>
                    <a:cubicBezTo>
                      <a:pt x="29" y="14"/>
                      <a:pt x="29" y="14"/>
                      <a:pt x="29" y="14"/>
                    </a:cubicBezTo>
                    <a:cubicBezTo>
                      <a:pt x="29" y="17"/>
                      <a:pt x="29" y="17"/>
                      <a:pt x="29" y="17"/>
                    </a:cubicBezTo>
                    <a:cubicBezTo>
                      <a:pt x="29" y="17"/>
                      <a:pt x="29" y="17"/>
                      <a:pt x="29" y="17"/>
                    </a:cubicBezTo>
                    <a:cubicBezTo>
                      <a:pt x="8" y="8"/>
                      <a:pt x="8" y="8"/>
                      <a:pt x="8" y="8"/>
                    </a:cubicBezTo>
                    <a:cubicBezTo>
                      <a:pt x="8" y="8"/>
                      <a:pt x="4" y="5"/>
                      <a:pt x="4" y="4"/>
                    </a:cubicBezTo>
                    <a:cubicBezTo>
                      <a:pt x="4" y="3"/>
                      <a:pt x="6" y="2"/>
                      <a:pt x="6" y="2"/>
                    </a:cubicBezTo>
                    <a:cubicBezTo>
                      <a:pt x="4" y="0"/>
                      <a:pt x="4" y="0"/>
                      <a:pt x="4" y="0"/>
                    </a:cubicBezTo>
                    <a:cubicBezTo>
                      <a:pt x="2" y="0"/>
                      <a:pt x="2" y="0"/>
                      <a:pt x="2" y="0"/>
                    </a:cubicBezTo>
                    <a:cubicBezTo>
                      <a:pt x="2" y="0"/>
                      <a:pt x="0" y="3"/>
                      <a:pt x="0" y="5"/>
                    </a:cubicBezTo>
                    <a:cubicBezTo>
                      <a:pt x="0" y="6"/>
                      <a:pt x="4" y="7"/>
                      <a:pt x="6" y="10"/>
                    </a:cubicBezTo>
                    <a:cubicBezTo>
                      <a:pt x="9" y="13"/>
                      <a:pt x="13" y="18"/>
                      <a:pt x="20" y="21"/>
                    </a:cubicBezTo>
                    <a:cubicBezTo>
                      <a:pt x="27" y="25"/>
                      <a:pt x="44" y="32"/>
                      <a:pt x="44" y="32"/>
                    </a:cubicBezTo>
                    <a:cubicBezTo>
                      <a:pt x="44" y="32"/>
                      <a:pt x="50" y="37"/>
                      <a:pt x="51" y="38"/>
                    </a:cubicBezTo>
                    <a:cubicBezTo>
                      <a:pt x="55" y="43"/>
                      <a:pt x="55" y="43"/>
                      <a:pt x="55" y="43"/>
                    </a:cubicBezTo>
                  </a:path>
                </a:pathLst>
              </a:custGeom>
              <a:solidFill>
                <a:schemeClr val="accent5">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GB" sz="1400" dirty="0">
                  <a:latin typeface="+mn-lt"/>
                </a:endParaRPr>
              </a:p>
            </p:txBody>
          </p:sp>
          <p:sp>
            <p:nvSpPr>
              <p:cNvPr id="27" name="Freeform 10"/>
              <p:cNvSpPr>
                <a:spLocks/>
              </p:cNvSpPr>
              <p:nvPr/>
            </p:nvSpPr>
            <p:spPr bwMode="auto">
              <a:xfrm>
                <a:off x="1194501" y="5931292"/>
                <a:ext cx="9264" cy="29498"/>
              </a:xfrm>
              <a:custGeom>
                <a:avLst/>
                <a:gdLst>
                  <a:gd name="T0" fmla="*/ 0 w 6"/>
                  <a:gd name="T1" fmla="*/ 23 h 23"/>
                  <a:gd name="T2" fmla="*/ 3 w 6"/>
                  <a:gd name="T3" fmla="*/ 22 h 23"/>
                  <a:gd name="T4" fmla="*/ 5 w 6"/>
                  <a:gd name="T5" fmla="*/ 11 h 23"/>
                  <a:gd name="T6" fmla="*/ 3 w 6"/>
                  <a:gd name="T7" fmla="*/ 1 h 23"/>
                  <a:gd name="T8" fmla="*/ 3 w 6"/>
                  <a:gd name="T9" fmla="*/ 9 h 23"/>
                  <a:gd name="T10" fmla="*/ 0 w 6"/>
                  <a:gd name="T11" fmla="*/ 23 h 23"/>
                </a:gdLst>
                <a:ahLst/>
                <a:cxnLst>
                  <a:cxn ang="0">
                    <a:pos x="T0" y="T1"/>
                  </a:cxn>
                  <a:cxn ang="0">
                    <a:pos x="T2" y="T3"/>
                  </a:cxn>
                  <a:cxn ang="0">
                    <a:pos x="T4" y="T5"/>
                  </a:cxn>
                  <a:cxn ang="0">
                    <a:pos x="T6" y="T7"/>
                  </a:cxn>
                  <a:cxn ang="0">
                    <a:pos x="T8" y="T9"/>
                  </a:cxn>
                  <a:cxn ang="0">
                    <a:pos x="T10" y="T11"/>
                  </a:cxn>
                </a:cxnLst>
                <a:rect l="0" t="0" r="r" b="b"/>
                <a:pathLst>
                  <a:path w="6" h="23">
                    <a:moveTo>
                      <a:pt x="0" y="23"/>
                    </a:moveTo>
                    <a:cubicBezTo>
                      <a:pt x="3" y="22"/>
                      <a:pt x="3" y="22"/>
                      <a:pt x="3" y="22"/>
                    </a:cubicBezTo>
                    <a:cubicBezTo>
                      <a:pt x="3" y="22"/>
                      <a:pt x="3" y="16"/>
                      <a:pt x="5" y="11"/>
                    </a:cubicBezTo>
                    <a:cubicBezTo>
                      <a:pt x="6" y="7"/>
                      <a:pt x="3" y="0"/>
                      <a:pt x="3" y="1"/>
                    </a:cubicBezTo>
                    <a:cubicBezTo>
                      <a:pt x="3" y="2"/>
                      <a:pt x="3" y="5"/>
                      <a:pt x="3" y="9"/>
                    </a:cubicBezTo>
                    <a:cubicBezTo>
                      <a:pt x="3" y="13"/>
                      <a:pt x="0" y="23"/>
                      <a:pt x="0" y="23"/>
                    </a:cubicBezTo>
                  </a:path>
                </a:pathLst>
              </a:custGeom>
              <a:solidFill>
                <a:schemeClr val="accent5">
                  <a:lumMod val="20000"/>
                  <a:lumOff val="80000"/>
                </a:schemeClr>
              </a:solidFill>
              <a:ln w="9525">
                <a:solidFill>
                  <a:schemeClr val="accent5">
                    <a:lumMod val="20000"/>
                    <a:lumOff val="80000"/>
                  </a:schemeClr>
                </a:solidFill>
                <a:round/>
                <a:headEnd/>
                <a:tailEnd/>
              </a:ln>
            </p:spPr>
            <p:txBody>
              <a:bodyPr vert="horz" wrap="square" lIns="91440" tIns="45720" rIns="91440" bIns="45720" numCol="1" anchor="t" anchorCtr="0" compatLnSpc="1">
                <a:prstTxWarp prst="textNoShape">
                  <a:avLst/>
                </a:prstTxWarp>
              </a:bodyPr>
              <a:lstStyle/>
              <a:p>
                <a:endParaRPr lang="en-GB" sz="1400" dirty="0">
                  <a:latin typeface="+mn-lt"/>
                </a:endParaRPr>
              </a:p>
            </p:txBody>
          </p:sp>
          <p:sp>
            <p:nvSpPr>
              <p:cNvPr id="28" name="Freeform 11"/>
              <p:cNvSpPr>
                <a:spLocks/>
              </p:cNvSpPr>
              <p:nvPr/>
            </p:nvSpPr>
            <p:spPr bwMode="auto">
              <a:xfrm>
                <a:off x="1195824" y="5931292"/>
                <a:ext cx="9264" cy="29498"/>
              </a:xfrm>
              <a:custGeom>
                <a:avLst/>
                <a:gdLst>
                  <a:gd name="T0" fmla="*/ 0 w 6"/>
                  <a:gd name="T1" fmla="*/ 23 h 23"/>
                  <a:gd name="T2" fmla="*/ 3 w 6"/>
                  <a:gd name="T3" fmla="*/ 22 h 23"/>
                  <a:gd name="T4" fmla="*/ 5 w 6"/>
                  <a:gd name="T5" fmla="*/ 11 h 23"/>
                  <a:gd name="T6" fmla="*/ 3 w 6"/>
                  <a:gd name="T7" fmla="*/ 1 h 23"/>
                  <a:gd name="T8" fmla="*/ 3 w 6"/>
                  <a:gd name="T9" fmla="*/ 9 h 23"/>
                  <a:gd name="T10" fmla="*/ 0 w 6"/>
                  <a:gd name="T11" fmla="*/ 23 h 23"/>
                </a:gdLst>
                <a:ahLst/>
                <a:cxnLst>
                  <a:cxn ang="0">
                    <a:pos x="T0" y="T1"/>
                  </a:cxn>
                  <a:cxn ang="0">
                    <a:pos x="T2" y="T3"/>
                  </a:cxn>
                  <a:cxn ang="0">
                    <a:pos x="T4" y="T5"/>
                  </a:cxn>
                  <a:cxn ang="0">
                    <a:pos x="T6" y="T7"/>
                  </a:cxn>
                  <a:cxn ang="0">
                    <a:pos x="T8" y="T9"/>
                  </a:cxn>
                  <a:cxn ang="0">
                    <a:pos x="T10" y="T11"/>
                  </a:cxn>
                </a:cxnLst>
                <a:rect l="0" t="0" r="r" b="b"/>
                <a:pathLst>
                  <a:path w="6" h="23">
                    <a:moveTo>
                      <a:pt x="0" y="23"/>
                    </a:moveTo>
                    <a:cubicBezTo>
                      <a:pt x="3" y="22"/>
                      <a:pt x="3" y="22"/>
                      <a:pt x="3" y="22"/>
                    </a:cubicBezTo>
                    <a:cubicBezTo>
                      <a:pt x="3" y="22"/>
                      <a:pt x="3" y="16"/>
                      <a:pt x="5" y="11"/>
                    </a:cubicBezTo>
                    <a:cubicBezTo>
                      <a:pt x="6" y="7"/>
                      <a:pt x="3" y="0"/>
                      <a:pt x="3" y="1"/>
                    </a:cubicBezTo>
                    <a:cubicBezTo>
                      <a:pt x="3" y="2"/>
                      <a:pt x="3" y="5"/>
                      <a:pt x="3" y="9"/>
                    </a:cubicBezTo>
                    <a:cubicBezTo>
                      <a:pt x="3" y="13"/>
                      <a:pt x="0" y="23"/>
                      <a:pt x="0" y="23"/>
                    </a:cubicBezTo>
                    <a:close/>
                  </a:path>
                </a:pathLst>
              </a:custGeom>
              <a:solidFill>
                <a:schemeClr val="accent5">
                  <a:lumMod val="20000"/>
                  <a:lumOff val="80000"/>
                </a:schemeClr>
              </a:solidFill>
              <a:ln w="0" cap="flat">
                <a:solidFill>
                  <a:schemeClr val="accent5">
                    <a:lumMod val="20000"/>
                    <a:lumOff val="80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sz="1400" dirty="0">
                  <a:latin typeface="+mn-lt"/>
                </a:endParaRPr>
              </a:p>
            </p:txBody>
          </p:sp>
          <p:sp>
            <p:nvSpPr>
              <p:cNvPr id="29" name="Freeform 12"/>
              <p:cNvSpPr>
                <a:spLocks/>
              </p:cNvSpPr>
              <p:nvPr/>
            </p:nvSpPr>
            <p:spPr bwMode="auto">
              <a:xfrm>
                <a:off x="1083326" y="5814458"/>
                <a:ext cx="38382" cy="45693"/>
              </a:xfrm>
              <a:custGeom>
                <a:avLst/>
                <a:gdLst>
                  <a:gd name="T0" fmla="*/ 25 w 26"/>
                  <a:gd name="T1" fmla="*/ 35 h 35"/>
                  <a:gd name="T2" fmla="*/ 23 w 26"/>
                  <a:gd name="T3" fmla="*/ 27 h 35"/>
                  <a:gd name="T4" fmla="*/ 11 w 26"/>
                  <a:gd name="T5" fmla="*/ 12 h 35"/>
                  <a:gd name="T6" fmla="*/ 8 w 26"/>
                  <a:gd name="T7" fmla="*/ 8 h 35"/>
                  <a:gd name="T8" fmla="*/ 7 w 26"/>
                  <a:gd name="T9" fmla="*/ 7 h 35"/>
                  <a:gd name="T10" fmla="*/ 7 w 26"/>
                  <a:gd name="T11" fmla="*/ 5 h 35"/>
                  <a:gd name="T12" fmla="*/ 2 w 26"/>
                  <a:gd name="T13" fmla="*/ 0 h 35"/>
                  <a:gd name="T14" fmla="*/ 1 w 26"/>
                  <a:gd name="T15" fmla="*/ 0 h 35"/>
                  <a:gd name="T16" fmla="*/ 0 w 26"/>
                  <a:gd name="T17" fmla="*/ 1 h 35"/>
                  <a:gd name="T18" fmla="*/ 1 w 26"/>
                  <a:gd name="T19" fmla="*/ 2 h 35"/>
                  <a:gd name="T20" fmla="*/ 3 w 26"/>
                  <a:gd name="T21" fmla="*/ 7 h 35"/>
                  <a:gd name="T22" fmla="*/ 5 w 26"/>
                  <a:gd name="T23" fmla="*/ 7 h 35"/>
                  <a:gd name="T24" fmla="*/ 9 w 26"/>
                  <a:gd name="T25" fmla="*/ 14 h 35"/>
                  <a:gd name="T26" fmla="*/ 13 w 26"/>
                  <a:gd name="T27" fmla="*/ 20 h 35"/>
                  <a:gd name="T28" fmla="*/ 20 w 26"/>
                  <a:gd name="T29" fmla="*/ 26 h 35"/>
                  <a:gd name="T30" fmla="*/ 25 w 26"/>
                  <a:gd name="T31" fmla="*/ 3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6" h="35">
                    <a:moveTo>
                      <a:pt x="25" y="35"/>
                    </a:moveTo>
                    <a:cubicBezTo>
                      <a:pt x="25" y="35"/>
                      <a:pt x="26" y="35"/>
                      <a:pt x="23" y="27"/>
                    </a:cubicBezTo>
                    <a:cubicBezTo>
                      <a:pt x="19" y="19"/>
                      <a:pt x="11" y="12"/>
                      <a:pt x="11" y="12"/>
                    </a:cubicBezTo>
                    <a:cubicBezTo>
                      <a:pt x="11" y="12"/>
                      <a:pt x="9" y="9"/>
                      <a:pt x="8" y="8"/>
                    </a:cubicBezTo>
                    <a:cubicBezTo>
                      <a:pt x="7" y="7"/>
                      <a:pt x="7" y="7"/>
                      <a:pt x="7" y="7"/>
                    </a:cubicBezTo>
                    <a:cubicBezTo>
                      <a:pt x="7" y="7"/>
                      <a:pt x="7" y="7"/>
                      <a:pt x="7" y="5"/>
                    </a:cubicBezTo>
                    <a:cubicBezTo>
                      <a:pt x="7" y="4"/>
                      <a:pt x="2" y="0"/>
                      <a:pt x="2" y="0"/>
                    </a:cubicBezTo>
                    <a:cubicBezTo>
                      <a:pt x="1" y="0"/>
                      <a:pt x="1" y="0"/>
                      <a:pt x="1" y="0"/>
                    </a:cubicBezTo>
                    <a:cubicBezTo>
                      <a:pt x="0" y="1"/>
                      <a:pt x="0" y="1"/>
                      <a:pt x="0" y="1"/>
                    </a:cubicBezTo>
                    <a:cubicBezTo>
                      <a:pt x="1" y="2"/>
                      <a:pt x="1" y="2"/>
                      <a:pt x="1" y="2"/>
                    </a:cubicBezTo>
                    <a:cubicBezTo>
                      <a:pt x="1" y="2"/>
                      <a:pt x="2" y="7"/>
                      <a:pt x="3" y="7"/>
                    </a:cubicBezTo>
                    <a:cubicBezTo>
                      <a:pt x="3" y="7"/>
                      <a:pt x="5" y="7"/>
                      <a:pt x="5" y="7"/>
                    </a:cubicBezTo>
                    <a:cubicBezTo>
                      <a:pt x="5" y="7"/>
                      <a:pt x="6" y="10"/>
                      <a:pt x="9" y="14"/>
                    </a:cubicBezTo>
                    <a:cubicBezTo>
                      <a:pt x="9" y="16"/>
                      <a:pt x="13" y="20"/>
                      <a:pt x="13" y="20"/>
                    </a:cubicBezTo>
                    <a:cubicBezTo>
                      <a:pt x="13" y="20"/>
                      <a:pt x="18" y="23"/>
                      <a:pt x="20" y="26"/>
                    </a:cubicBezTo>
                    <a:cubicBezTo>
                      <a:pt x="22" y="29"/>
                      <a:pt x="25" y="35"/>
                      <a:pt x="25" y="35"/>
                    </a:cubicBezTo>
                  </a:path>
                </a:pathLst>
              </a:custGeom>
              <a:solidFill>
                <a:schemeClr val="accent5">
                  <a:lumMod val="75000"/>
                </a:schemeClr>
              </a:solidFill>
              <a:ln>
                <a:noFill/>
              </a:ln>
            </p:spPr>
            <p:txBody>
              <a:bodyPr vert="horz" wrap="square" lIns="91440" tIns="45720" rIns="91440" bIns="45720" numCol="1" anchor="t" anchorCtr="0" compatLnSpc="1">
                <a:prstTxWarp prst="textNoShape">
                  <a:avLst/>
                </a:prstTxWarp>
              </a:bodyPr>
              <a:lstStyle/>
              <a:p>
                <a:endParaRPr lang="en-GB" sz="1400" dirty="0">
                  <a:latin typeface="+mn-lt"/>
                </a:endParaRPr>
              </a:p>
            </p:txBody>
          </p:sp>
          <p:sp>
            <p:nvSpPr>
              <p:cNvPr id="30" name="Freeform 29"/>
              <p:cNvSpPr>
                <a:spLocks noEditPoints="1"/>
              </p:cNvSpPr>
              <p:nvPr/>
            </p:nvSpPr>
            <p:spPr bwMode="auto">
              <a:xfrm>
                <a:off x="1205089" y="5850896"/>
                <a:ext cx="258085" cy="464443"/>
              </a:xfrm>
              <a:custGeom>
                <a:avLst/>
                <a:gdLst>
                  <a:gd name="T0" fmla="*/ 168 w 174"/>
                  <a:gd name="T1" fmla="*/ 223 h 359"/>
                  <a:gd name="T2" fmla="*/ 167 w 174"/>
                  <a:gd name="T3" fmla="*/ 215 h 359"/>
                  <a:gd name="T4" fmla="*/ 172 w 174"/>
                  <a:gd name="T5" fmla="*/ 213 h 359"/>
                  <a:gd name="T6" fmla="*/ 170 w 174"/>
                  <a:gd name="T7" fmla="*/ 150 h 359"/>
                  <a:gd name="T8" fmla="*/ 165 w 174"/>
                  <a:gd name="T9" fmla="*/ 101 h 359"/>
                  <a:gd name="T10" fmla="*/ 160 w 174"/>
                  <a:gd name="T11" fmla="*/ 79 h 359"/>
                  <a:gd name="T12" fmla="*/ 153 w 174"/>
                  <a:gd name="T13" fmla="*/ 60 h 359"/>
                  <a:gd name="T14" fmla="*/ 145 w 174"/>
                  <a:gd name="T15" fmla="*/ 46 h 359"/>
                  <a:gd name="T16" fmla="*/ 119 w 174"/>
                  <a:gd name="T17" fmla="*/ 1 h 359"/>
                  <a:gd name="T18" fmla="*/ 100 w 174"/>
                  <a:gd name="T19" fmla="*/ 28 h 359"/>
                  <a:gd name="T20" fmla="*/ 99 w 174"/>
                  <a:gd name="T21" fmla="*/ 36 h 359"/>
                  <a:gd name="T22" fmla="*/ 100 w 174"/>
                  <a:gd name="T23" fmla="*/ 40 h 359"/>
                  <a:gd name="T24" fmla="*/ 101 w 174"/>
                  <a:gd name="T25" fmla="*/ 51 h 359"/>
                  <a:gd name="T26" fmla="*/ 94 w 174"/>
                  <a:gd name="T27" fmla="*/ 60 h 359"/>
                  <a:gd name="T28" fmla="*/ 69 w 174"/>
                  <a:gd name="T29" fmla="*/ 66 h 359"/>
                  <a:gd name="T30" fmla="*/ 31 w 174"/>
                  <a:gd name="T31" fmla="*/ 70 h 359"/>
                  <a:gd name="T32" fmla="*/ 19 w 174"/>
                  <a:gd name="T33" fmla="*/ 62 h 359"/>
                  <a:gd name="T34" fmla="*/ 12 w 174"/>
                  <a:gd name="T35" fmla="*/ 61 h 359"/>
                  <a:gd name="T36" fmla="*/ 6 w 174"/>
                  <a:gd name="T37" fmla="*/ 65 h 359"/>
                  <a:gd name="T38" fmla="*/ 5 w 174"/>
                  <a:gd name="T39" fmla="*/ 70 h 359"/>
                  <a:gd name="T40" fmla="*/ 7 w 174"/>
                  <a:gd name="T41" fmla="*/ 78 h 359"/>
                  <a:gd name="T42" fmla="*/ 9 w 174"/>
                  <a:gd name="T43" fmla="*/ 79 h 359"/>
                  <a:gd name="T44" fmla="*/ 20 w 174"/>
                  <a:gd name="T45" fmla="*/ 85 h 359"/>
                  <a:gd name="T46" fmla="*/ 29 w 174"/>
                  <a:gd name="T47" fmla="*/ 93 h 359"/>
                  <a:gd name="T48" fmla="*/ 63 w 174"/>
                  <a:gd name="T49" fmla="*/ 96 h 359"/>
                  <a:gd name="T50" fmla="*/ 77 w 174"/>
                  <a:gd name="T51" fmla="*/ 135 h 359"/>
                  <a:gd name="T52" fmla="*/ 72 w 174"/>
                  <a:gd name="T53" fmla="*/ 202 h 359"/>
                  <a:gd name="T54" fmla="*/ 85 w 174"/>
                  <a:gd name="T55" fmla="*/ 273 h 359"/>
                  <a:gd name="T56" fmla="*/ 83 w 174"/>
                  <a:gd name="T57" fmla="*/ 323 h 359"/>
                  <a:gd name="T58" fmla="*/ 73 w 174"/>
                  <a:gd name="T59" fmla="*/ 331 h 359"/>
                  <a:gd name="T60" fmla="*/ 53 w 174"/>
                  <a:gd name="T61" fmla="*/ 334 h 359"/>
                  <a:gd name="T62" fmla="*/ 56 w 174"/>
                  <a:gd name="T63" fmla="*/ 343 h 359"/>
                  <a:gd name="T64" fmla="*/ 66 w 174"/>
                  <a:gd name="T65" fmla="*/ 350 h 359"/>
                  <a:gd name="T66" fmla="*/ 85 w 174"/>
                  <a:gd name="T67" fmla="*/ 354 h 359"/>
                  <a:gd name="T68" fmla="*/ 100 w 174"/>
                  <a:gd name="T69" fmla="*/ 359 h 359"/>
                  <a:gd name="T70" fmla="*/ 114 w 174"/>
                  <a:gd name="T71" fmla="*/ 351 h 359"/>
                  <a:gd name="T72" fmla="*/ 119 w 174"/>
                  <a:gd name="T73" fmla="*/ 285 h 359"/>
                  <a:gd name="T74" fmla="*/ 125 w 174"/>
                  <a:gd name="T75" fmla="*/ 276 h 359"/>
                  <a:gd name="T76" fmla="*/ 125 w 174"/>
                  <a:gd name="T77" fmla="*/ 314 h 359"/>
                  <a:gd name="T78" fmla="*/ 137 w 174"/>
                  <a:gd name="T79" fmla="*/ 327 h 359"/>
                  <a:gd name="T80" fmla="*/ 154 w 174"/>
                  <a:gd name="T81" fmla="*/ 330 h 359"/>
                  <a:gd name="T82" fmla="*/ 158 w 174"/>
                  <a:gd name="T83" fmla="*/ 311 h 359"/>
                  <a:gd name="T84" fmla="*/ 149 w 174"/>
                  <a:gd name="T85" fmla="*/ 257 h 359"/>
                  <a:gd name="T86" fmla="*/ 141 w 174"/>
                  <a:gd name="T87" fmla="*/ 191 h 359"/>
                  <a:gd name="T88" fmla="*/ 145 w 174"/>
                  <a:gd name="T89" fmla="*/ 203 h 359"/>
                  <a:gd name="T90" fmla="*/ 146 w 174"/>
                  <a:gd name="T91" fmla="*/ 217 h 359"/>
                  <a:gd name="T92" fmla="*/ 154 w 174"/>
                  <a:gd name="T93" fmla="*/ 237 h 359"/>
                  <a:gd name="T94" fmla="*/ 165 w 174"/>
                  <a:gd name="T95" fmla="*/ 236 h 359"/>
                  <a:gd name="T96" fmla="*/ 171 w 174"/>
                  <a:gd name="T97" fmla="*/ 232 h 359"/>
                  <a:gd name="T98" fmla="*/ 167 w 174"/>
                  <a:gd name="T99" fmla="*/ 230 h 359"/>
                  <a:gd name="T100" fmla="*/ 164 w 174"/>
                  <a:gd name="T101" fmla="*/ 227 h 3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74" h="359">
                    <a:moveTo>
                      <a:pt x="173" y="228"/>
                    </a:moveTo>
                    <a:cubicBezTo>
                      <a:pt x="172" y="228"/>
                      <a:pt x="172" y="228"/>
                      <a:pt x="171" y="228"/>
                    </a:cubicBezTo>
                    <a:cubicBezTo>
                      <a:pt x="170" y="227"/>
                      <a:pt x="170" y="227"/>
                      <a:pt x="170" y="227"/>
                    </a:cubicBezTo>
                    <a:cubicBezTo>
                      <a:pt x="169" y="226"/>
                      <a:pt x="169" y="226"/>
                      <a:pt x="169" y="226"/>
                    </a:cubicBezTo>
                    <a:cubicBezTo>
                      <a:pt x="169" y="225"/>
                      <a:pt x="168" y="224"/>
                      <a:pt x="168" y="223"/>
                    </a:cubicBezTo>
                    <a:cubicBezTo>
                      <a:pt x="168" y="223"/>
                      <a:pt x="168" y="222"/>
                      <a:pt x="168" y="222"/>
                    </a:cubicBezTo>
                    <a:cubicBezTo>
                      <a:pt x="168" y="221"/>
                      <a:pt x="168" y="220"/>
                      <a:pt x="167" y="220"/>
                    </a:cubicBezTo>
                    <a:cubicBezTo>
                      <a:pt x="167" y="219"/>
                      <a:pt x="167" y="219"/>
                      <a:pt x="167" y="218"/>
                    </a:cubicBezTo>
                    <a:cubicBezTo>
                      <a:pt x="167" y="218"/>
                      <a:pt x="167" y="217"/>
                      <a:pt x="167" y="217"/>
                    </a:cubicBezTo>
                    <a:cubicBezTo>
                      <a:pt x="167" y="216"/>
                      <a:pt x="167" y="216"/>
                      <a:pt x="167" y="215"/>
                    </a:cubicBezTo>
                    <a:cubicBezTo>
                      <a:pt x="167" y="215"/>
                      <a:pt x="167" y="214"/>
                      <a:pt x="167" y="214"/>
                    </a:cubicBezTo>
                    <a:cubicBezTo>
                      <a:pt x="168" y="213"/>
                      <a:pt x="168" y="213"/>
                      <a:pt x="168" y="213"/>
                    </a:cubicBezTo>
                    <a:cubicBezTo>
                      <a:pt x="168" y="213"/>
                      <a:pt x="170" y="213"/>
                      <a:pt x="170" y="213"/>
                    </a:cubicBezTo>
                    <a:cubicBezTo>
                      <a:pt x="171" y="213"/>
                      <a:pt x="171" y="213"/>
                      <a:pt x="172" y="213"/>
                    </a:cubicBezTo>
                    <a:cubicBezTo>
                      <a:pt x="172" y="213"/>
                      <a:pt x="172" y="213"/>
                      <a:pt x="172" y="213"/>
                    </a:cubicBezTo>
                    <a:cubicBezTo>
                      <a:pt x="173" y="212"/>
                      <a:pt x="173" y="212"/>
                      <a:pt x="173" y="212"/>
                    </a:cubicBezTo>
                    <a:cubicBezTo>
                      <a:pt x="173" y="211"/>
                      <a:pt x="173" y="210"/>
                      <a:pt x="173" y="208"/>
                    </a:cubicBezTo>
                    <a:cubicBezTo>
                      <a:pt x="173" y="204"/>
                      <a:pt x="172" y="198"/>
                      <a:pt x="173" y="194"/>
                    </a:cubicBezTo>
                    <a:cubicBezTo>
                      <a:pt x="173" y="191"/>
                      <a:pt x="174" y="182"/>
                      <a:pt x="174" y="179"/>
                    </a:cubicBezTo>
                    <a:cubicBezTo>
                      <a:pt x="173" y="177"/>
                      <a:pt x="171" y="152"/>
                      <a:pt x="170" y="150"/>
                    </a:cubicBezTo>
                    <a:cubicBezTo>
                      <a:pt x="170" y="149"/>
                      <a:pt x="169" y="144"/>
                      <a:pt x="169" y="143"/>
                    </a:cubicBezTo>
                    <a:cubicBezTo>
                      <a:pt x="169" y="141"/>
                      <a:pt x="165" y="122"/>
                      <a:pt x="165" y="121"/>
                    </a:cubicBezTo>
                    <a:cubicBezTo>
                      <a:pt x="165" y="120"/>
                      <a:pt x="165" y="112"/>
                      <a:pt x="165" y="111"/>
                    </a:cubicBezTo>
                    <a:cubicBezTo>
                      <a:pt x="165" y="109"/>
                      <a:pt x="165" y="106"/>
                      <a:pt x="165" y="104"/>
                    </a:cubicBezTo>
                    <a:cubicBezTo>
                      <a:pt x="165" y="103"/>
                      <a:pt x="165" y="102"/>
                      <a:pt x="165" y="101"/>
                    </a:cubicBezTo>
                    <a:cubicBezTo>
                      <a:pt x="166" y="99"/>
                      <a:pt x="166" y="98"/>
                      <a:pt x="166" y="97"/>
                    </a:cubicBezTo>
                    <a:cubicBezTo>
                      <a:pt x="166" y="96"/>
                      <a:pt x="165" y="95"/>
                      <a:pt x="165" y="94"/>
                    </a:cubicBezTo>
                    <a:cubicBezTo>
                      <a:pt x="164" y="93"/>
                      <a:pt x="162" y="89"/>
                      <a:pt x="162" y="88"/>
                    </a:cubicBezTo>
                    <a:cubicBezTo>
                      <a:pt x="162" y="87"/>
                      <a:pt x="162" y="86"/>
                      <a:pt x="162" y="85"/>
                    </a:cubicBezTo>
                    <a:cubicBezTo>
                      <a:pt x="161" y="83"/>
                      <a:pt x="160" y="81"/>
                      <a:pt x="160" y="79"/>
                    </a:cubicBezTo>
                    <a:cubicBezTo>
                      <a:pt x="159" y="77"/>
                      <a:pt x="158" y="75"/>
                      <a:pt x="157" y="72"/>
                    </a:cubicBezTo>
                    <a:cubicBezTo>
                      <a:pt x="157" y="71"/>
                      <a:pt x="156" y="70"/>
                      <a:pt x="156" y="69"/>
                    </a:cubicBezTo>
                    <a:cubicBezTo>
                      <a:pt x="156" y="68"/>
                      <a:pt x="155" y="67"/>
                      <a:pt x="155" y="66"/>
                    </a:cubicBezTo>
                    <a:cubicBezTo>
                      <a:pt x="154" y="65"/>
                      <a:pt x="154" y="64"/>
                      <a:pt x="153" y="63"/>
                    </a:cubicBezTo>
                    <a:cubicBezTo>
                      <a:pt x="153" y="62"/>
                      <a:pt x="153" y="61"/>
                      <a:pt x="153" y="60"/>
                    </a:cubicBezTo>
                    <a:cubicBezTo>
                      <a:pt x="153" y="59"/>
                      <a:pt x="152" y="57"/>
                      <a:pt x="152" y="56"/>
                    </a:cubicBezTo>
                    <a:cubicBezTo>
                      <a:pt x="152" y="55"/>
                      <a:pt x="151" y="54"/>
                      <a:pt x="151" y="54"/>
                    </a:cubicBezTo>
                    <a:cubicBezTo>
                      <a:pt x="150" y="52"/>
                      <a:pt x="149" y="50"/>
                      <a:pt x="148" y="49"/>
                    </a:cubicBezTo>
                    <a:cubicBezTo>
                      <a:pt x="147" y="48"/>
                      <a:pt x="146" y="48"/>
                      <a:pt x="146" y="47"/>
                    </a:cubicBezTo>
                    <a:cubicBezTo>
                      <a:pt x="145" y="47"/>
                      <a:pt x="145" y="47"/>
                      <a:pt x="145" y="46"/>
                    </a:cubicBezTo>
                    <a:cubicBezTo>
                      <a:pt x="144" y="46"/>
                      <a:pt x="144" y="46"/>
                      <a:pt x="143" y="46"/>
                    </a:cubicBezTo>
                    <a:cubicBezTo>
                      <a:pt x="145" y="42"/>
                      <a:pt x="148" y="39"/>
                      <a:pt x="150" y="35"/>
                    </a:cubicBezTo>
                    <a:cubicBezTo>
                      <a:pt x="153" y="26"/>
                      <a:pt x="151" y="15"/>
                      <a:pt x="144" y="8"/>
                    </a:cubicBezTo>
                    <a:cubicBezTo>
                      <a:pt x="141" y="5"/>
                      <a:pt x="137" y="3"/>
                      <a:pt x="133" y="2"/>
                    </a:cubicBezTo>
                    <a:cubicBezTo>
                      <a:pt x="128" y="1"/>
                      <a:pt x="123" y="0"/>
                      <a:pt x="119" y="1"/>
                    </a:cubicBezTo>
                    <a:cubicBezTo>
                      <a:pt x="115" y="2"/>
                      <a:pt x="111" y="3"/>
                      <a:pt x="107" y="6"/>
                    </a:cubicBezTo>
                    <a:cubicBezTo>
                      <a:pt x="104" y="9"/>
                      <a:pt x="102" y="13"/>
                      <a:pt x="101" y="17"/>
                    </a:cubicBezTo>
                    <a:cubicBezTo>
                      <a:pt x="101" y="19"/>
                      <a:pt x="99" y="21"/>
                      <a:pt x="100" y="24"/>
                    </a:cubicBezTo>
                    <a:cubicBezTo>
                      <a:pt x="100" y="25"/>
                      <a:pt x="100" y="26"/>
                      <a:pt x="100" y="28"/>
                    </a:cubicBezTo>
                    <a:cubicBezTo>
                      <a:pt x="100" y="28"/>
                      <a:pt x="100" y="28"/>
                      <a:pt x="100" y="28"/>
                    </a:cubicBezTo>
                    <a:cubicBezTo>
                      <a:pt x="100" y="29"/>
                      <a:pt x="100" y="29"/>
                      <a:pt x="100" y="29"/>
                    </a:cubicBezTo>
                    <a:cubicBezTo>
                      <a:pt x="99" y="29"/>
                      <a:pt x="99" y="30"/>
                      <a:pt x="99" y="30"/>
                    </a:cubicBezTo>
                    <a:cubicBezTo>
                      <a:pt x="98" y="31"/>
                      <a:pt x="98" y="32"/>
                      <a:pt x="97" y="33"/>
                    </a:cubicBezTo>
                    <a:cubicBezTo>
                      <a:pt x="97" y="34"/>
                      <a:pt x="97" y="35"/>
                      <a:pt x="98" y="35"/>
                    </a:cubicBezTo>
                    <a:cubicBezTo>
                      <a:pt x="99" y="36"/>
                      <a:pt x="99" y="36"/>
                      <a:pt x="99" y="36"/>
                    </a:cubicBezTo>
                    <a:cubicBezTo>
                      <a:pt x="100" y="37"/>
                      <a:pt x="100" y="37"/>
                      <a:pt x="100" y="37"/>
                    </a:cubicBezTo>
                    <a:cubicBezTo>
                      <a:pt x="101" y="37"/>
                      <a:pt x="101" y="37"/>
                      <a:pt x="101" y="37"/>
                    </a:cubicBezTo>
                    <a:cubicBezTo>
                      <a:pt x="101" y="37"/>
                      <a:pt x="101" y="37"/>
                      <a:pt x="101" y="37"/>
                    </a:cubicBezTo>
                    <a:cubicBezTo>
                      <a:pt x="101" y="38"/>
                      <a:pt x="101" y="38"/>
                      <a:pt x="101" y="38"/>
                    </a:cubicBezTo>
                    <a:cubicBezTo>
                      <a:pt x="101" y="39"/>
                      <a:pt x="100" y="39"/>
                      <a:pt x="100" y="40"/>
                    </a:cubicBezTo>
                    <a:cubicBezTo>
                      <a:pt x="100" y="40"/>
                      <a:pt x="100" y="41"/>
                      <a:pt x="100" y="41"/>
                    </a:cubicBezTo>
                    <a:cubicBezTo>
                      <a:pt x="101" y="42"/>
                      <a:pt x="101" y="42"/>
                      <a:pt x="101" y="43"/>
                    </a:cubicBezTo>
                    <a:cubicBezTo>
                      <a:pt x="101" y="43"/>
                      <a:pt x="101" y="43"/>
                      <a:pt x="101" y="44"/>
                    </a:cubicBezTo>
                    <a:cubicBezTo>
                      <a:pt x="101" y="45"/>
                      <a:pt x="102" y="46"/>
                      <a:pt x="102" y="47"/>
                    </a:cubicBezTo>
                    <a:cubicBezTo>
                      <a:pt x="102" y="48"/>
                      <a:pt x="101" y="49"/>
                      <a:pt x="101" y="51"/>
                    </a:cubicBezTo>
                    <a:cubicBezTo>
                      <a:pt x="101" y="52"/>
                      <a:pt x="105" y="54"/>
                      <a:pt x="105" y="54"/>
                    </a:cubicBezTo>
                    <a:cubicBezTo>
                      <a:pt x="104" y="54"/>
                      <a:pt x="104" y="54"/>
                      <a:pt x="104" y="54"/>
                    </a:cubicBezTo>
                    <a:cubicBezTo>
                      <a:pt x="103" y="54"/>
                      <a:pt x="102" y="55"/>
                      <a:pt x="101" y="55"/>
                    </a:cubicBezTo>
                    <a:cubicBezTo>
                      <a:pt x="99" y="57"/>
                      <a:pt x="99" y="57"/>
                      <a:pt x="99" y="57"/>
                    </a:cubicBezTo>
                    <a:cubicBezTo>
                      <a:pt x="97" y="58"/>
                      <a:pt x="95" y="59"/>
                      <a:pt x="94" y="60"/>
                    </a:cubicBezTo>
                    <a:cubicBezTo>
                      <a:pt x="92" y="61"/>
                      <a:pt x="91" y="63"/>
                      <a:pt x="90" y="64"/>
                    </a:cubicBezTo>
                    <a:cubicBezTo>
                      <a:pt x="89" y="64"/>
                      <a:pt x="87" y="64"/>
                      <a:pt x="86" y="65"/>
                    </a:cubicBezTo>
                    <a:cubicBezTo>
                      <a:pt x="84" y="65"/>
                      <a:pt x="83" y="65"/>
                      <a:pt x="82" y="65"/>
                    </a:cubicBezTo>
                    <a:cubicBezTo>
                      <a:pt x="80" y="65"/>
                      <a:pt x="76" y="66"/>
                      <a:pt x="75" y="67"/>
                    </a:cubicBezTo>
                    <a:cubicBezTo>
                      <a:pt x="73" y="68"/>
                      <a:pt x="70" y="67"/>
                      <a:pt x="69" y="66"/>
                    </a:cubicBezTo>
                    <a:cubicBezTo>
                      <a:pt x="68" y="66"/>
                      <a:pt x="59" y="66"/>
                      <a:pt x="58" y="66"/>
                    </a:cubicBezTo>
                    <a:cubicBezTo>
                      <a:pt x="57" y="67"/>
                      <a:pt x="55" y="67"/>
                      <a:pt x="54" y="67"/>
                    </a:cubicBezTo>
                    <a:cubicBezTo>
                      <a:pt x="50" y="67"/>
                      <a:pt x="47" y="67"/>
                      <a:pt x="44" y="67"/>
                    </a:cubicBezTo>
                    <a:cubicBezTo>
                      <a:pt x="41" y="68"/>
                      <a:pt x="33" y="67"/>
                      <a:pt x="33" y="67"/>
                    </a:cubicBezTo>
                    <a:cubicBezTo>
                      <a:pt x="32" y="68"/>
                      <a:pt x="32" y="69"/>
                      <a:pt x="31" y="70"/>
                    </a:cubicBezTo>
                    <a:cubicBezTo>
                      <a:pt x="31" y="69"/>
                      <a:pt x="28" y="68"/>
                      <a:pt x="28" y="67"/>
                    </a:cubicBezTo>
                    <a:cubicBezTo>
                      <a:pt x="27" y="66"/>
                      <a:pt x="26" y="65"/>
                      <a:pt x="25" y="65"/>
                    </a:cubicBezTo>
                    <a:cubicBezTo>
                      <a:pt x="24" y="64"/>
                      <a:pt x="23" y="64"/>
                      <a:pt x="22" y="64"/>
                    </a:cubicBezTo>
                    <a:cubicBezTo>
                      <a:pt x="21" y="63"/>
                      <a:pt x="21" y="63"/>
                      <a:pt x="20" y="63"/>
                    </a:cubicBezTo>
                    <a:cubicBezTo>
                      <a:pt x="19" y="62"/>
                      <a:pt x="19" y="62"/>
                      <a:pt x="19" y="62"/>
                    </a:cubicBezTo>
                    <a:cubicBezTo>
                      <a:pt x="19" y="62"/>
                      <a:pt x="19" y="62"/>
                      <a:pt x="19" y="62"/>
                    </a:cubicBezTo>
                    <a:cubicBezTo>
                      <a:pt x="18" y="62"/>
                      <a:pt x="17" y="62"/>
                      <a:pt x="17" y="61"/>
                    </a:cubicBezTo>
                    <a:cubicBezTo>
                      <a:pt x="15" y="62"/>
                      <a:pt x="15" y="62"/>
                      <a:pt x="15" y="62"/>
                    </a:cubicBezTo>
                    <a:cubicBezTo>
                      <a:pt x="15" y="61"/>
                      <a:pt x="15" y="61"/>
                      <a:pt x="15" y="61"/>
                    </a:cubicBezTo>
                    <a:cubicBezTo>
                      <a:pt x="14" y="61"/>
                      <a:pt x="12" y="60"/>
                      <a:pt x="12" y="61"/>
                    </a:cubicBezTo>
                    <a:cubicBezTo>
                      <a:pt x="11" y="62"/>
                      <a:pt x="12" y="63"/>
                      <a:pt x="12" y="64"/>
                    </a:cubicBezTo>
                    <a:cubicBezTo>
                      <a:pt x="14" y="66"/>
                      <a:pt x="14" y="66"/>
                      <a:pt x="14" y="66"/>
                    </a:cubicBezTo>
                    <a:cubicBezTo>
                      <a:pt x="13" y="66"/>
                      <a:pt x="12" y="65"/>
                      <a:pt x="11" y="65"/>
                    </a:cubicBezTo>
                    <a:cubicBezTo>
                      <a:pt x="9" y="65"/>
                      <a:pt x="11" y="65"/>
                      <a:pt x="9" y="65"/>
                    </a:cubicBezTo>
                    <a:cubicBezTo>
                      <a:pt x="8" y="65"/>
                      <a:pt x="7" y="65"/>
                      <a:pt x="6" y="65"/>
                    </a:cubicBezTo>
                    <a:cubicBezTo>
                      <a:pt x="5" y="65"/>
                      <a:pt x="4" y="65"/>
                      <a:pt x="4" y="66"/>
                    </a:cubicBezTo>
                    <a:cubicBezTo>
                      <a:pt x="4" y="69"/>
                      <a:pt x="6" y="69"/>
                      <a:pt x="8" y="69"/>
                    </a:cubicBezTo>
                    <a:cubicBezTo>
                      <a:pt x="9" y="69"/>
                      <a:pt x="8" y="69"/>
                      <a:pt x="9" y="69"/>
                    </a:cubicBezTo>
                    <a:cubicBezTo>
                      <a:pt x="10" y="70"/>
                      <a:pt x="11" y="69"/>
                      <a:pt x="12" y="69"/>
                    </a:cubicBezTo>
                    <a:cubicBezTo>
                      <a:pt x="7" y="69"/>
                      <a:pt x="7" y="70"/>
                      <a:pt x="5" y="70"/>
                    </a:cubicBezTo>
                    <a:cubicBezTo>
                      <a:pt x="4" y="70"/>
                      <a:pt x="1" y="70"/>
                      <a:pt x="1" y="72"/>
                    </a:cubicBezTo>
                    <a:cubicBezTo>
                      <a:pt x="0" y="73"/>
                      <a:pt x="2" y="74"/>
                      <a:pt x="4" y="74"/>
                    </a:cubicBezTo>
                    <a:cubicBezTo>
                      <a:pt x="3" y="75"/>
                      <a:pt x="3" y="76"/>
                      <a:pt x="4" y="76"/>
                    </a:cubicBezTo>
                    <a:cubicBezTo>
                      <a:pt x="4" y="77"/>
                      <a:pt x="5" y="77"/>
                      <a:pt x="5" y="77"/>
                    </a:cubicBezTo>
                    <a:cubicBezTo>
                      <a:pt x="7" y="78"/>
                      <a:pt x="6" y="78"/>
                      <a:pt x="7" y="78"/>
                    </a:cubicBezTo>
                    <a:cubicBezTo>
                      <a:pt x="9" y="78"/>
                      <a:pt x="11" y="78"/>
                      <a:pt x="12" y="78"/>
                    </a:cubicBezTo>
                    <a:cubicBezTo>
                      <a:pt x="13" y="79"/>
                      <a:pt x="14" y="79"/>
                      <a:pt x="15" y="79"/>
                    </a:cubicBezTo>
                    <a:cubicBezTo>
                      <a:pt x="15" y="79"/>
                      <a:pt x="15" y="79"/>
                      <a:pt x="15" y="79"/>
                    </a:cubicBezTo>
                    <a:cubicBezTo>
                      <a:pt x="15" y="80"/>
                      <a:pt x="15" y="80"/>
                      <a:pt x="15" y="80"/>
                    </a:cubicBezTo>
                    <a:cubicBezTo>
                      <a:pt x="13" y="79"/>
                      <a:pt x="11" y="80"/>
                      <a:pt x="9" y="79"/>
                    </a:cubicBezTo>
                    <a:cubicBezTo>
                      <a:pt x="8" y="79"/>
                      <a:pt x="6" y="79"/>
                      <a:pt x="5" y="80"/>
                    </a:cubicBezTo>
                    <a:cubicBezTo>
                      <a:pt x="5" y="82"/>
                      <a:pt x="6" y="82"/>
                      <a:pt x="8" y="83"/>
                    </a:cubicBezTo>
                    <a:cubicBezTo>
                      <a:pt x="10" y="83"/>
                      <a:pt x="12" y="83"/>
                      <a:pt x="14" y="83"/>
                    </a:cubicBezTo>
                    <a:cubicBezTo>
                      <a:pt x="15" y="84"/>
                      <a:pt x="16" y="84"/>
                      <a:pt x="17" y="84"/>
                    </a:cubicBezTo>
                    <a:cubicBezTo>
                      <a:pt x="18" y="85"/>
                      <a:pt x="19" y="85"/>
                      <a:pt x="20" y="85"/>
                    </a:cubicBezTo>
                    <a:cubicBezTo>
                      <a:pt x="21" y="85"/>
                      <a:pt x="21" y="85"/>
                      <a:pt x="22" y="85"/>
                    </a:cubicBezTo>
                    <a:cubicBezTo>
                      <a:pt x="23" y="85"/>
                      <a:pt x="23" y="86"/>
                      <a:pt x="24" y="86"/>
                    </a:cubicBezTo>
                    <a:cubicBezTo>
                      <a:pt x="24" y="86"/>
                      <a:pt x="26" y="86"/>
                      <a:pt x="27" y="86"/>
                    </a:cubicBezTo>
                    <a:cubicBezTo>
                      <a:pt x="27" y="86"/>
                      <a:pt x="27" y="86"/>
                      <a:pt x="27" y="86"/>
                    </a:cubicBezTo>
                    <a:cubicBezTo>
                      <a:pt x="27" y="87"/>
                      <a:pt x="28" y="92"/>
                      <a:pt x="29" y="93"/>
                    </a:cubicBezTo>
                    <a:cubicBezTo>
                      <a:pt x="31" y="93"/>
                      <a:pt x="38" y="93"/>
                      <a:pt x="40" y="93"/>
                    </a:cubicBezTo>
                    <a:cubicBezTo>
                      <a:pt x="41" y="93"/>
                      <a:pt x="45" y="94"/>
                      <a:pt x="46" y="94"/>
                    </a:cubicBezTo>
                    <a:cubicBezTo>
                      <a:pt x="48" y="94"/>
                      <a:pt x="50" y="94"/>
                      <a:pt x="52" y="94"/>
                    </a:cubicBezTo>
                    <a:cubicBezTo>
                      <a:pt x="54" y="94"/>
                      <a:pt x="56" y="94"/>
                      <a:pt x="58" y="94"/>
                    </a:cubicBezTo>
                    <a:cubicBezTo>
                      <a:pt x="59" y="94"/>
                      <a:pt x="62" y="96"/>
                      <a:pt x="63" y="96"/>
                    </a:cubicBezTo>
                    <a:cubicBezTo>
                      <a:pt x="64" y="96"/>
                      <a:pt x="78" y="95"/>
                      <a:pt x="79" y="95"/>
                    </a:cubicBezTo>
                    <a:cubicBezTo>
                      <a:pt x="80" y="95"/>
                      <a:pt x="81" y="94"/>
                      <a:pt x="82" y="94"/>
                    </a:cubicBezTo>
                    <a:cubicBezTo>
                      <a:pt x="82" y="95"/>
                      <a:pt x="80" y="99"/>
                      <a:pt x="80" y="100"/>
                    </a:cubicBezTo>
                    <a:cubicBezTo>
                      <a:pt x="80" y="107"/>
                      <a:pt x="82" y="115"/>
                      <a:pt x="80" y="121"/>
                    </a:cubicBezTo>
                    <a:cubicBezTo>
                      <a:pt x="80" y="121"/>
                      <a:pt x="78" y="134"/>
                      <a:pt x="77" y="135"/>
                    </a:cubicBezTo>
                    <a:cubicBezTo>
                      <a:pt x="77" y="136"/>
                      <a:pt x="76" y="143"/>
                      <a:pt x="75" y="144"/>
                    </a:cubicBezTo>
                    <a:cubicBezTo>
                      <a:pt x="75" y="145"/>
                      <a:pt x="70" y="190"/>
                      <a:pt x="71" y="191"/>
                    </a:cubicBezTo>
                    <a:cubicBezTo>
                      <a:pt x="71" y="192"/>
                      <a:pt x="70" y="196"/>
                      <a:pt x="70" y="197"/>
                    </a:cubicBezTo>
                    <a:cubicBezTo>
                      <a:pt x="70" y="198"/>
                      <a:pt x="70" y="199"/>
                      <a:pt x="70" y="200"/>
                    </a:cubicBezTo>
                    <a:cubicBezTo>
                      <a:pt x="71" y="201"/>
                      <a:pt x="71" y="202"/>
                      <a:pt x="72" y="202"/>
                    </a:cubicBezTo>
                    <a:cubicBezTo>
                      <a:pt x="72" y="202"/>
                      <a:pt x="77" y="206"/>
                      <a:pt x="78" y="207"/>
                    </a:cubicBezTo>
                    <a:cubicBezTo>
                      <a:pt x="78" y="208"/>
                      <a:pt x="79" y="209"/>
                      <a:pt x="79" y="210"/>
                    </a:cubicBezTo>
                    <a:cubicBezTo>
                      <a:pt x="79" y="215"/>
                      <a:pt x="77" y="220"/>
                      <a:pt x="77" y="225"/>
                    </a:cubicBezTo>
                    <a:cubicBezTo>
                      <a:pt x="78" y="230"/>
                      <a:pt x="81" y="250"/>
                      <a:pt x="81" y="252"/>
                    </a:cubicBezTo>
                    <a:cubicBezTo>
                      <a:pt x="83" y="257"/>
                      <a:pt x="84" y="270"/>
                      <a:pt x="85" y="273"/>
                    </a:cubicBezTo>
                    <a:cubicBezTo>
                      <a:pt x="85" y="275"/>
                      <a:pt x="85" y="278"/>
                      <a:pt x="85" y="280"/>
                    </a:cubicBezTo>
                    <a:cubicBezTo>
                      <a:pt x="85" y="282"/>
                      <a:pt x="85" y="285"/>
                      <a:pt x="85" y="287"/>
                    </a:cubicBezTo>
                    <a:cubicBezTo>
                      <a:pt x="85" y="290"/>
                      <a:pt x="85" y="292"/>
                      <a:pt x="85" y="295"/>
                    </a:cubicBezTo>
                    <a:cubicBezTo>
                      <a:pt x="85" y="297"/>
                      <a:pt x="84" y="307"/>
                      <a:pt x="84" y="309"/>
                    </a:cubicBezTo>
                    <a:cubicBezTo>
                      <a:pt x="83" y="311"/>
                      <a:pt x="84" y="321"/>
                      <a:pt x="83" y="323"/>
                    </a:cubicBezTo>
                    <a:cubicBezTo>
                      <a:pt x="82" y="325"/>
                      <a:pt x="82" y="328"/>
                      <a:pt x="82" y="330"/>
                    </a:cubicBezTo>
                    <a:cubicBezTo>
                      <a:pt x="82" y="330"/>
                      <a:pt x="81" y="331"/>
                      <a:pt x="81" y="331"/>
                    </a:cubicBezTo>
                    <a:cubicBezTo>
                      <a:pt x="81" y="332"/>
                      <a:pt x="80" y="332"/>
                      <a:pt x="80" y="332"/>
                    </a:cubicBezTo>
                    <a:cubicBezTo>
                      <a:pt x="79" y="331"/>
                      <a:pt x="78" y="331"/>
                      <a:pt x="76" y="331"/>
                    </a:cubicBezTo>
                    <a:cubicBezTo>
                      <a:pt x="75" y="331"/>
                      <a:pt x="74" y="331"/>
                      <a:pt x="73" y="331"/>
                    </a:cubicBezTo>
                    <a:cubicBezTo>
                      <a:pt x="72" y="331"/>
                      <a:pt x="70" y="331"/>
                      <a:pt x="70" y="331"/>
                    </a:cubicBezTo>
                    <a:cubicBezTo>
                      <a:pt x="67" y="330"/>
                      <a:pt x="65" y="330"/>
                      <a:pt x="63" y="330"/>
                    </a:cubicBezTo>
                    <a:cubicBezTo>
                      <a:pt x="60" y="330"/>
                      <a:pt x="58" y="330"/>
                      <a:pt x="56" y="331"/>
                    </a:cubicBezTo>
                    <a:cubicBezTo>
                      <a:pt x="56" y="331"/>
                      <a:pt x="55" y="332"/>
                      <a:pt x="54" y="333"/>
                    </a:cubicBezTo>
                    <a:cubicBezTo>
                      <a:pt x="53" y="334"/>
                      <a:pt x="53" y="334"/>
                      <a:pt x="53" y="334"/>
                    </a:cubicBezTo>
                    <a:cubicBezTo>
                      <a:pt x="53" y="334"/>
                      <a:pt x="53" y="334"/>
                      <a:pt x="53" y="334"/>
                    </a:cubicBezTo>
                    <a:cubicBezTo>
                      <a:pt x="53" y="334"/>
                      <a:pt x="53" y="334"/>
                      <a:pt x="53" y="334"/>
                    </a:cubicBezTo>
                    <a:cubicBezTo>
                      <a:pt x="53" y="334"/>
                      <a:pt x="51" y="337"/>
                      <a:pt x="51" y="338"/>
                    </a:cubicBezTo>
                    <a:cubicBezTo>
                      <a:pt x="52" y="340"/>
                      <a:pt x="53" y="341"/>
                      <a:pt x="55" y="342"/>
                    </a:cubicBezTo>
                    <a:cubicBezTo>
                      <a:pt x="55" y="343"/>
                      <a:pt x="56" y="343"/>
                      <a:pt x="56" y="343"/>
                    </a:cubicBezTo>
                    <a:cubicBezTo>
                      <a:pt x="59" y="345"/>
                      <a:pt x="59" y="345"/>
                      <a:pt x="59" y="345"/>
                    </a:cubicBezTo>
                    <a:cubicBezTo>
                      <a:pt x="59" y="346"/>
                      <a:pt x="60" y="347"/>
                      <a:pt x="61" y="348"/>
                    </a:cubicBezTo>
                    <a:cubicBezTo>
                      <a:pt x="62" y="348"/>
                      <a:pt x="62" y="348"/>
                      <a:pt x="62" y="348"/>
                    </a:cubicBezTo>
                    <a:cubicBezTo>
                      <a:pt x="63" y="349"/>
                      <a:pt x="63" y="349"/>
                      <a:pt x="63" y="349"/>
                    </a:cubicBezTo>
                    <a:cubicBezTo>
                      <a:pt x="64" y="350"/>
                      <a:pt x="65" y="350"/>
                      <a:pt x="66" y="350"/>
                    </a:cubicBezTo>
                    <a:cubicBezTo>
                      <a:pt x="67" y="351"/>
                      <a:pt x="68" y="351"/>
                      <a:pt x="69" y="351"/>
                    </a:cubicBezTo>
                    <a:cubicBezTo>
                      <a:pt x="71" y="352"/>
                      <a:pt x="73" y="352"/>
                      <a:pt x="76" y="353"/>
                    </a:cubicBezTo>
                    <a:cubicBezTo>
                      <a:pt x="77" y="353"/>
                      <a:pt x="78" y="353"/>
                      <a:pt x="80" y="353"/>
                    </a:cubicBezTo>
                    <a:cubicBezTo>
                      <a:pt x="81" y="353"/>
                      <a:pt x="82" y="354"/>
                      <a:pt x="83" y="354"/>
                    </a:cubicBezTo>
                    <a:cubicBezTo>
                      <a:pt x="83" y="354"/>
                      <a:pt x="84" y="354"/>
                      <a:pt x="85" y="354"/>
                    </a:cubicBezTo>
                    <a:cubicBezTo>
                      <a:pt x="86" y="354"/>
                      <a:pt x="86" y="354"/>
                      <a:pt x="86" y="354"/>
                    </a:cubicBezTo>
                    <a:cubicBezTo>
                      <a:pt x="85" y="355"/>
                      <a:pt x="85" y="355"/>
                      <a:pt x="85" y="355"/>
                    </a:cubicBezTo>
                    <a:cubicBezTo>
                      <a:pt x="85" y="356"/>
                      <a:pt x="85" y="356"/>
                      <a:pt x="85" y="356"/>
                    </a:cubicBezTo>
                    <a:cubicBezTo>
                      <a:pt x="85" y="357"/>
                      <a:pt x="86" y="357"/>
                      <a:pt x="86" y="357"/>
                    </a:cubicBezTo>
                    <a:cubicBezTo>
                      <a:pt x="91" y="358"/>
                      <a:pt x="95" y="359"/>
                      <a:pt x="100" y="359"/>
                    </a:cubicBezTo>
                    <a:cubicBezTo>
                      <a:pt x="102" y="359"/>
                      <a:pt x="104" y="358"/>
                      <a:pt x="105" y="357"/>
                    </a:cubicBezTo>
                    <a:cubicBezTo>
                      <a:pt x="106" y="356"/>
                      <a:pt x="106" y="355"/>
                      <a:pt x="107" y="355"/>
                    </a:cubicBezTo>
                    <a:cubicBezTo>
                      <a:pt x="107" y="354"/>
                      <a:pt x="111" y="354"/>
                      <a:pt x="112" y="354"/>
                    </a:cubicBezTo>
                    <a:cubicBezTo>
                      <a:pt x="112" y="354"/>
                      <a:pt x="113" y="354"/>
                      <a:pt x="113" y="353"/>
                    </a:cubicBezTo>
                    <a:cubicBezTo>
                      <a:pt x="113" y="353"/>
                      <a:pt x="114" y="351"/>
                      <a:pt x="114" y="351"/>
                    </a:cubicBezTo>
                    <a:cubicBezTo>
                      <a:pt x="114" y="350"/>
                      <a:pt x="114" y="349"/>
                      <a:pt x="114" y="347"/>
                    </a:cubicBezTo>
                    <a:cubicBezTo>
                      <a:pt x="114" y="346"/>
                      <a:pt x="115" y="334"/>
                      <a:pt x="116" y="329"/>
                    </a:cubicBezTo>
                    <a:cubicBezTo>
                      <a:pt x="116" y="324"/>
                      <a:pt x="116" y="320"/>
                      <a:pt x="117" y="314"/>
                    </a:cubicBezTo>
                    <a:cubicBezTo>
                      <a:pt x="117" y="309"/>
                      <a:pt x="118" y="305"/>
                      <a:pt x="118" y="300"/>
                    </a:cubicBezTo>
                    <a:cubicBezTo>
                      <a:pt x="119" y="295"/>
                      <a:pt x="119" y="290"/>
                      <a:pt x="119" y="285"/>
                    </a:cubicBezTo>
                    <a:cubicBezTo>
                      <a:pt x="118" y="280"/>
                      <a:pt x="118" y="275"/>
                      <a:pt x="118" y="270"/>
                    </a:cubicBezTo>
                    <a:cubicBezTo>
                      <a:pt x="118" y="268"/>
                      <a:pt x="117" y="265"/>
                      <a:pt x="117" y="263"/>
                    </a:cubicBezTo>
                    <a:cubicBezTo>
                      <a:pt x="117" y="262"/>
                      <a:pt x="117" y="261"/>
                      <a:pt x="117" y="260"/>
                    </a:cubicBezTo>
                    <a:cubicBezTo>
                      <a:pt x="117" y="258"/>
                      <a:pt x="117" y="257"/>
                      <a:pt x="117" y="257"/>
                    </a:cubicBezTo>
                    <a:cubicBezTo>
                      <a:pt x="118" y="258"/>
                      <a:pt x="124" y="274"/>
                      <a:pt x="125" y="276"/>
                    </a:cubicBezTo>
                    <a:cubicBezTo>
                      <a:pt x="126" y="280"/>
                      <a:pt x="126" y="283"/>
                      <a:pt x="127" y="287"/>
                    </a:cubicBezTo>
                    <a:cubicBezTo>
                      <a:pt x="127" y="292"/>
                      <a:pt x="127" y="296"/>
                      <a:pt x="128" y="299"/>
                    </a:cubicBezTo>
                    <a:cubicBezTo>
                      <a:pt x="126" y="300"/>
                      <a:pt x="124" y="300"/>
                      <a:pt x="123" y="302"/>
                    </a:cubicBezTo>
                    <a:cubicBezTo>
                      <a:pt x="122" y="303"/>
                      <a:pt x="122" y="304"/>
                      <a:pt x="122" y="305"/>
                    </a:cubicBezTo>
                    <a:cubicBezTo>
                      <a:pt x="122" y="306"/>
                      <a:pt x="124" y="313"/>
                      <a:pt x="125" y="314"/>
                    </a:cubicBezTo>
                    <a:cubicBezTo>
                      <a:pt x="126" y="316"/>
                      <a:pt x="127" y="317"/>
                      <a:pt x="129" y="319"/>
                    </a:cubicBezTo>
                    <a:cubicBezTo>
                      <a:pt x="130" y="319"/>
                      <a:pt x="133" y="321"/>
                      <a:pt x="134" y="322"/>
                    </a:cubicBezTo>
                    <a:cubicBezTo>
                      <a:pt x="135" y="322"/>
                      <a:pt x="135" y="322"/>
                      <a:pt x="135" y="322"/>
                    </a:cubicBezTo>
                    <a:cubicBezTo>
                      <a:pt x="135" y="323"/>
                      <a:pt x="135" y="323"/>
                      <a:pt x="135" y="323"/>
                    </a:cubicBezTo>
                    <a:cubicBezTo>
                      <a:pt x="135" y="323"/>
                      <a:pt x="136" y="326"/>
                      <a:pt x="137" y="327"/>
                    </a:cubicBezTo>
                    <a:cubicBezTo>
                      <a:pt x="137" y="328"/>
                      <a:pt x="139" y="330"/>
                      <a:pt x="139" y="330"/>
                    </a:cubicBezTo>
                    <a:cubicBezTo>
                      <a:pt x="140" y="331"/>
                      <a:pt x="140" y="331"/>
                      <a:pt x="140" y="331"/>
                    </a:cubicBezTo>
                    <a:cubicBezTo>
                      <a:pt x="142" y="332"/>
                      <a:pt x="143" y="334"/>
                      <a:pt x="145" y="334"/>
                    </a:cubicBezTo>
                    <a:cubicBezTo>
                      <a:pt x="147" y="334"/>
                      <a:pt x="149" y="333"/>
                      <a:pt x="151" y="332"/>
                    </a:cubicBezTo>
                    <a:cubicBezTo>
                      <a:pt x="152" y="332"/>
                      <a:pt x="153" y="331"/>
                      <a:pt x="154" y="330"/>
                    </a:cubicBezTo>
                    <a:cubicBezTo>
                      <a:pt x="155" y="330"/>
                      <a:pt x="155" y="329"/>
                      <a:pt x="156" y="329"/>
                    </a:cubicBezTo>
                    <a:cubicBezTo>
                      <a:pt x="156" y="329"/>
                      <a:pt x="156" y="328"/>
                      <a:pt x="156" y="327"/>
                    </a:cubicBezTo>
                    <a:cubicBezTo>
                      <a:pt x="157" y="327"/>
                      <a:pt x="157" y="326"/>
                      <a:pt x="157" y="325"/>
                    </a:cubicBezTo>
                    <a:cubicBezTo>
                      <a:pt x="158" y="324"/>
                      <a:pt x="159" y="323"/>
                      <a:pt x="159" y="321"/>
                    </a:cubicBezTo>
                    <a:cubicBezTo>
                      <a:pt x="159" y="318"/>
                      <a:pt x="159" y="314"/>
                      <a:pt x="158" y="311"/>
                    </a:cubicBezTo>
                    <a:cubicBezTo>
                      <a:pt x="158" y="308"/>
                      <a:pt x="157" y="304"/>
                      <a:pt x="157" y="301"/>
                    </a:cubicBezTo>
                    <a:cubicBezTo>
                      <a:pt x="157" y="297"/>
                      <a:pt x="156" y="294"/>
                      <a:pt x="156" y="290"/>
                    </a:cubicBezTo>
                    <a:cubicBezTo>
                      <a:pt x="155" y="285"/>
                      <a:pt x="155" y="280"/>
                      <a:pt x="154" y="276"/>
                    </a:cubicBezTo>
                    <a:cubicBezTo>
                      <a:pt x="153" y="271"/>
                      <a:pt x="152" y="267"/>
                      <a:pt x="151" y="262"/>
                    </a:cubicBezTo>
                    <a:cubicBezTo>
                      <a:pt x="150" y="260"/>
                      <a:pt x="150" y="258"/>
                      <a:pt x="149" y="257"/>
                    </a:cubicBezTo>
                    <a:cubicBezTo>
                      <a:pt x="148" y="255"/>
                      <a:pt x="146" y="248"/>
                      <a:pt x="145" y="247"/>
                    </a:cubicBezTo>
                    <a:cubicBezTo>
                      <a:pt x="145" y="247"/>
                      <a:pt x="144" y="244"/>
                      <a:pt x="144" y="243"/>
                    </a:cubicBezTo>
                    <a:cubicBezTo>
                      <a:pt x="144" y="243"/>
                      <a:pt x="143" y="226"/>
                      <a:pt x="143" y="225"/>
                    </a:cubicBezTo>
                    <a:cubicBezTo>
                      <a:pt x="142" y="223"/>
                      <a:pt x="142" y="214"/>
                      <a:pt x="142" y="212"/>
                    </a:cubicBezTo>
                    <a:cubicBezTo>
                      <a:pt x="141" y="207"/>
                      <a:pt x="141" y="196"/>
                      <a:pt x="141" y="191"/>
                    </a:cubicBezTo>
                    <a:cubicBezTo>
                      <a:pt x="141" y="190"/>
                      <a:pt x="141" y="184"/>
                      <a:pt x="142" y="184"/>
                    </a:cubicBezTo>
                    <a:cubicBezTo>
                      <a:pt x="142" y="182"/>
                      <a:pt x="142" y="180"/>
                      <a:pt x="142" y="179"/>
                    </a:cubicBezTo>
                    <a:cubicBezTo>
                      <a:pt x="142" y="183"/>
                      <a:pt x="144" y="191"/>
                      <a:pt x="144" y="191"/>
                    </a:cubicBezTo>
                    <a:cubicBezTo>
                      <a:pt x="144" y="191"/>
                      <a:pt x="144" y="196"/>
                      <a:pt x="145" y="197"/>
                    </a:cubicBezTo>
                    <a:cubicBezTo>
                      <a:pt x="145" y="199"/>
                      <a:pt x="145" y="201"/>
                      <a:pt x="145" y="203"/>
                    </a:cubicBezTo>
                    <a:cubicBezTo>
                      <a:pt x="145" y="206"/>
                      <a:pt x="145" y="210"/>
                      <a:pt x="144" y="213"/>
                    </a:cubicBezTo>
                    <a:cubicBezTo>
                      <a:pt x="145" y="213"/>
                      <a:pt x="146" y="214"/>
                      <a:pt x="147" y="214"/>
                    </a:cubicBezTo>
                    <a:cubicBezTo>
                      <a:pt x="147" y="214"/>
                      <a:pt x="147" y="214"/>
                      <a:pt x="147" y="214"/>
                    </a:cubicBezTo>
                    <a:cubicBezTo>
                      <a:pt x="147" y="214"/>
                      <a:pt x="147" y="214"/>
                      <a:pt x="147" y="214"/>
                    </a:cubicBezTo>
                    <a:cubicBezTo>
                      <a:pt x="147" y="215"/>
                      <a:pt x="146" y="216"/>
                      <a:pt x="146" y="217"/>
                    </a:cubicBezTo>
                    <a:cubicBezTo>
                      <a:pt x="146" y="220"/>
                      <a:pt x="146" y="222"/>
                      <a:pt x="146" y="224"/>
                    </a:cubicBezTo>
                    <a:cubicBezTo>
                      <a:pt x="146" y="225"/>
                      <a:pt x="146" y="227"/>
                      <a:pt x="146" y="228"/>
                    </a:cubicBezTo>
                    <a:cubicBezTo>
                      <a:pt x="147" y="229"/>
                      <a:pt x="147" y="229"/>
                      <a:pt x="148" y="230"/>
                    </a:cubicBezTo>
                    <a:cubicBezTo>
                      <a:pt x="149" y="231"/>
                      <a:pt x="151" y="235"/>
                      <a:pt x="152" y="236"/>
                    </a:cubicBezTo>
                    <a:cubicBezTo>
                      <a:pt x="152" y="237"/>
                      <a:pt x="153" y="237"/>
                      <a:pt x="154" y="237"/>
                    </a:cubicBezTo>
                    <a:cubicBezTo>
                      <a:pt x="154" y="237"/>
                      <a:pt x="156" y="238"/>
                      <a:pt x="157" y="238"/>
                    </a:cubicBezTo>
                    <a:cubicBezTo>
                      <a:pt x="158" y="238"/>
                      <a:pt x="158" y="238"/>
                      <a:pt x="159" y="237"/>
                    </a:cubicBezTo>
                    <a:cubicBezTo>
                      <a:pt x="160" y="237"/>
                      <a:pt x="160" y="237"/>
                      <a:pt x="160" y="237"/>
                    </a:cubicBezTo>
                    <a:cubicBezTo>
                      <a:pt x="160" y="236"/>
                      <a:pt x="163" y="237"/>
                      <a:pt x="163" y="237"/>
                    </a:cubicBezTo>
                    <a:cubicBezTo>
                      <a:pt x="164" y="237"/>
                      <a:pt x="164" y="236"/>
                      <a:pt x="165" y="236"/>
                    </a:cubicBezTo>
                    <a:cubicBezTo>
                      <a:pt x="165" y="235"/>
                      <a:pt x="165" y="235"/>
                      <a:pt x="165" y="235"/>
                    </a:cubicBezTo>
                    <a:cubicBezTo>
                      <a:pt x="167" y="235"/>
                      <a:pt x="167" y="235"/>
                      <a:pt x="167" y="235"/>
                    </a:cubicBezTo>
                    <a:cubicBezTo>
                      <a:pt x="167" y="235"/>
                      <a:pt x="168" y="235"/>
                      <a:pt x="169" y="234"/>
                    </a:cubicBezTo>
                    <a:cubicBezTo>
                      <a:pt x="170" y="234"/>
                      <a:pt x="170" y="233"/>
                      <a:pt x="170" y="232"/>
                    </a:cubicBezTo>
                    <a:cubicBezTo>
                      <a:pt x="171" y="232"/>
                      <a:pt x="171" y="232"/>
                      <a:pt x="171" y="232"/>
                    </a:cubicBezTo>
                    <a:cubicBezTo>
                      <a:pt x="171" y="232"/>
                      <a:pt x="171" y="232"/>
                      <a:pt x="171" y="232"/>
                    </a:cubicBezTo>
                    <a:cubicBezTo>
                      <a:pt x="173" y="231"/>
                      <a:pt x="173" y="231"/>
                      <a:pt x="173" y="231"/>
                    </a:cubicBezTo>
                    <a:cubicBezTo>
                      <a:pt x="173" y="230"/>
                      <a:pt x="174" y="231"/>
                      <a:pt x="174" y="230"/>
                    </a:cubicBezTo>
                    <a:cubicBezTo>
                      <a:pt x="174" y="229"/>
                      <a:pt x="173" y="228"/>
                      <a:pt x="173" y="228"/>
                    </a:cubicBezTo>
                    <a:moveTo>
                      <a:pt x="167" y="230"/>
                    </a:moveTo>
                    <a:cubicBezTo>
                      <a:pt x="166" y="231"/>
                      <a:pt x="166" y="230"/>
                      <a:pt x="166" y="230"/>
                    </a:cubicBezTo>
                    <a:cubicBezTo>
                      <a:pt x="166" y="230"/>
                      <a:pt x="165" y="229"/>
                      <a:pt x="164" y="229"/>
                    </a:cubicBezTo>
                    <a:cubicBezTo>
                      <a:pt x="164" y="228"/>
                      <a:pt x="164" y="228"/>
                      <a:pt x="164" y="228"/>
                    </a:cubicBezTo>
                    <a:cubicBezTo>
                      <a:pt x="164" y="228"/>
                      <a:pt x="163" y="227"/>
                      <a:pt x="163" y="227"/>
                    </a:cubicBezTo>
                    <a:cubicBezTo>
                      <a:pt x="164" y="226"/>
                      <a:pt x="164" y="227"/>
                      <a:pt x="164" y="227"/>
                    </a:cubicBezTo>
                    <a:cubicBezTo>
                      <a:pt x="165" y="228"/>
                      <a:pt x="167" y="230"/>
                      <a:pt x="167" y="230"/>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sz="1400" dirty="0">
                  <a:latin typeface="+mn-lt"/>
                </a:endParaRPr>
              </a:p>
            </p:txBody>
          </p:sp>
          <p:sp>
            <p:nvSpPr>
              <p:cNvPr id="31" name="Freeform 14"/>
              <p:cNvSpPr>
                <a:spLocks/>
              </p:cNvSpPr>
              <p:nvPr/>
            </p:nvSpPr>
            <p:spPr bwMode="auto">
              <a:xfrm>
                <a:off x="1332808" y="5911535"/>
                <a:ext cx="93308" cy="84444"/>
              </a:xfrm>
              <a:custGeom>
                <a:avLst/>
                <a:gdLst>
                  <a:gd name="T0" fmla="*/ 57 w 63"/>
                  <a:gd name="T1" fmla="*/ 0 h 65"/>
                  <a:gd name="T2" fmla="*/ 60 w 63"/>
                  <a:gd name="T3" fmla="*/ 6 h 65"/>
                  <a:gd name="T4" fmla="*/ 62 w 63"/>
                  <a:gd name="T5" fmla="*/ 11 h 65"/>
                  <a:gd name="T6" fmla="*/ 39 w 63"/>
                  <a:gd name="T7" fmla="*/ 25 h 65"/>
                  <a:gd name="T8" fmla="*/ 31 w 63"/>
                  <a:gd name="T9" fmla="*/ 27 h 65"/>
                  <a:gd name="T10" fmla="*/ 7 w 63"/>
                  <a:gd name="T11" fmla="*/ 50 h 65"/>
                  <a:gd name="T12" fmla="*/ 0 w 63"/>
                  <a:gd name="T13" fmla="*/ 65 h 65"/>
                  <a:gd name="T14" fmla="*/ 2 w 63"/>
                  <a:gd name="T15" fmla="*/ 40 h 65"/>
                  <a:gd name="T16" fmla="*/ 12 w 63"/>
                  <a:gd name="T17" fmla="*/ 26 h 65"/>
                  <a:gd name="T18" fmla="*/ 21 w 63"/>
                  <a:gd name="T19" fmla="*/ 20 h 65"/>
                  <a:gd name="T20" fmla="*/ 23 w 63"/>
                  <a:gd name="T21" fmla="*/ 14 h 65"/>
                  <a:gd name="T22" fmla="*/ 29 w 63"/>
                  <a:gd name="T23" fmla="*/ 9 h 65"/>
                  <a:gd name="T24" fmla="*/ 30 w 63"/>
                  <a:gd name="T25" fmla="*/ 17 h 65"/>
                  <a:gd name="T26" fmla="*/ 47 w 63"/>
                  <a:gd name="T27" fmla="*/ 15 h 65"/>
                  <a:gd name="T28" fmla="*/ 55 w 63"/>
                  <a:gd name="T29" fmla="*/ 13 h 65"/>
                  <a:gd name="T30" fmla="*/ 55 w 63"/>
                  <a:gd name="T31"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3" h="65">
                    <a:moveTo>
                      <a:pt x="57" y="0"/>
                    </a:moveTo>
                    <a:cubicBezTo>
                      <a:pt x="58" y="1"/>
                      <a:pt x="60" y="3"/>
                      <a:pt x="60" y="6"/>
                    </a:cubicBezTo>
                    <a:cubicBezTo>
                      <a:pt x="61" y="8"/>
                      <a:pt x="63" y="8"/>
                      <a:pt x="62" y="11"/>
                    </a:cubicBezTo>
                    <a:cubicBezTo>
                      <a:pt x="60" y="14"/>
                      <a:pt x="41" y="25"/>
                      <a:pt x="39" y="25"/>
                    </a:cubicBezTo>
                    <a:cubicBezTo>
                      <a:pt x="37" y="25"/>
                      <a:pt x="37" y="23"/>
                      <a:pt x="31" y="27"/>
                    </a:cubicBezTo>
                    <a:cubicBezTo>
                      <a:pt x="25" y="31"/>
                      <a:pt x="10" y="44"/>
                      <a:pt x="7" y="50"/>
                    </a:cubicBezTo>
                    <a:cubicBezTo>
                      <a:pt x="3" y="57"/>
                      <a:pt x="0" y="65"/>
                      <a:pt x="0" y="65"/>
                    </a:cubicBezTo>
                    <a:cubicBezTo>
                      <a:pt x="0" y="65"/>
                      <a:pt x="0" y="47"/>
                      <a:pt x="2" y="40"/>
                    </a:cubicBezTo>
                    <a:cubicBezTo>
                      <a:pt x="5" y="33"/>
                      <a:pt x="12" y="26"/>
                      <a:pt x="12" y="26"/>
                    </a:cubicBezTo>
                    <a:cubicBezTo>
                      <a:pt x="21" y="20"/>
                      <a:pt x="21" y="20"/>
                      <a:pt x="21" y="20"/>
                    </a:cubicBezTo>
                    <a:cubicBezTo>
                      <a:pt x="23" y="14"/>
                      <a:pt x="23" y="14"/>
                      <a:pt x="23" y="14"/>
                    </a:cubicBezTo>
                    <a:cubicBezTo>
                      <a:pt x="29" y="9"/>
                      <a:pt x="29" y="9"/>
                      <a:pt x="29" y="9"/>
                    </a:cubicBezTo>
                    <a:cubicBezTo>
                      <a:pt x="30" y="17"/>
                      <a:pt x="30" y="17"/>
                      <a:pt x="30" y="17"/>
                    </a:cubicBezTo>
                    <a:cubicBezTo>
                      <a:pt x="30" y="17"/>
                      <a:pt x="37" y="19"/>
                      <a:pt x="47" y="15"/>
                    </a:cubicBezTo>
                    <a:cubicBezTo>
                      <a:pt x="53" y="13"/>
                      <a:pt x="55" y="13"/>
                      <a:pt x="55" y="13"/>
                    </a:cubicBezTo>
                    <a:cubicBezTo>
                      <a:pt x="55" y="4"/>
                      <a:pt x="55" y="4"/>
                      <a:pt x="55" y="4"/>
                    </a:cubicBezTo>
                  </a:path>
                </a:pathLst>
              </a:custGeom>
              <a:solidFill>
                <a:schemeClr val="accent5">
                  <a:lumMod val="20000"/>
                  <a:lumOff val="80000"/>
                </a:schemeClr>
              </a:solidFill>
              <a:ln>
                <a:solidFill>
                  <a:schemeClr val="accent5">
                    <a:lumMod val="20000"/>
                    <a:lumOff val="80000"/>
                  </a:schemeClr>
                </a:solidFill>
              </a:ln>
            </p:spPr>
            <p:txBody>
              <a:bodyPr vert="horz" wrap="square" lIns="91440" tIns="45720" rIns="91440" bIns="45720" numCol="1" anchor="t" anchorCtr="0" compatLnSpc="1">
                <a:prstTxWarp prst="textNoShape">
                  <a:avLst/>
                </a:prstTxWarp>
              </a:bodyPr>
              <a:lstStyle/>
              <a:p>
                <a:endParaRPr lang="en-GB" sz="1400" dirty="0">
                  <a:latin typeface="+mn-lt"/>
                </a:endParaRPr>
              </a:p>
            </p:txBody>
          </p:sp>
          <p:sp>
            <p:nvSpPr>
              <p:cNvPr id="32" name="Freeform 15"/>
              <p:cNvSpPr>
                <a:spLocks/>
              </p:cNvSpPr>
              <p:nvPr/>
            </p:nvSpPr>
            <p:spPr bwMode="auto">
              <a:xfrm>
                <a:off x="1332808" y="5911626"/>
                <a:ext cx="93308" cy="84444"/>
              </a:xfrm>
              <a:custGeom>
                <a:avLst/>
                <a:gdLst>
                  <a:gd name="T0" fmla="*/ 57 w 63"/>
                  <a:gd name="T1" fmla="*/ 0 h 65"/>
                  <a:gd name="T2" fmla="*/ 60 w 63"/>
                  <a:gd name="T3" fmla="*/ 6 h 65"/>
                  <a:gd name="T4" fmla="*/ 62 w 63"/>
                  <a:gd name="T5" fmla="*/ 11 h 65"/>
                  <a:gd name="T6" fmla="*/ 39 w 63"/>
                  <a:gd name="T7" fmla="*/ 25 h 65"/>
                  <a:gd name="T8" fmla="*/ 31 w 63"/>
                  <a:gd name="T9" fmla="*/ 27 h 65"/>
                  <a:gd name="T10" fmla="*/ 7 w 63"/>
                  <a:gd name="T11" fmla="*/ 50 h 65"/>
                  <a:gd name="T12" fmla="*/ 0 w 63"/>
                  <a:gd name="T13" fmla="*/ 65 h 65"/>
                  <a:gd name="T14" fmla="*/ 2 w 63"/>
                  <a:gd name="T15" fmla="*/ 40 h 65"/>
                  <a:gd name="T16" fmla="*/ 12 w 63"/>
                  <a:gd name="T17" fmla="*/ 26 h 65"/>
                  <a:gd name="T18" fmla="*/ 21 w 63"/>
                  <a:gd name="T19" fmla="*/ 20 h 65"/>
                  <a:gd name="T20" fmla="*/ 23 w 63"/>
                  <a:gd name="T21" fmla="*/ 14 h 65"/>
                  <a:gd name="T22" fmla="*/ 29 w 63"/>
                  <a:gd name="T23" fmla="*/ 9 h 65"/>
                  <a:gd name="T24" fmla="*/ 30 w 63"/>
                  <a:gd name="T25" fmla="*/ 17 h 65"/>
                  <a:gd name="T26" fmla="*/ 47 w 63"/>
                  <a:gd name="T27" fmla="*/ 15 h 65"/>
                  <a:gd name="T28" fmla="*/ 55 w 63"/>
                  <a:gd name="T29" fmla="*/ 13 h 65"/>
                  <a:gd name="T30" fmla="*/ 55 w 63"/>
                  <a:gd name="T31" fmla="*/ 4 h 65"/>
                  <a:gd name="T32" fmla="*/ 57 w 63"/>
                  <a:gd name="T33" fmla="*/ 0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3" h="65">
                    <a:moveTo>
                      <a:pt x="57" y="0"/>
                    </a:moveTo>
                    <a:cubicBezTo>
                      <a:pt x="58" y="1"/>
                      <a:pt x="60" y="3"/>
                      <a:pt x="60" y="6"/>
                    </a:cubicBezTo>
                    <a:cubicBezTo>
                      <a:pt x="61" y="8"/>
                      <a:pt x="63" y="8"/>
                      <a:pt x="62" y="11"/>
                    </a:cubicBezTo>
                    <a:cubicBezTo>
                      <a:pt x="60" y="14"/>
                      <a:pt x="41" y="25"/>
                      <a:pt x="39" y="25"/>
                    </a:cubicBezTo>
                    <a:cubicBezTo>
                      <a:pt x="37" y="25"/>
                      <a:pt x="37" y="23"/>
                      <a:pt x="31" y="27"/>
                    </a:cubicBezTo>
                    <a:cubicBezTo>
                      <a:pt x="25" y="31"/>
                      <a:pt x="10" y="44"/>
                      <a:pt x="7" y="50"/>
                    </a:cubicBezTo>
                    <a:cubicBezTo>
                      <a:pt x="3" y="57"/>
                      <a:pt x="0" y="65"/>
                      <a:pt x="0" y="65"/>
                    </a:cubicBezTo>
                    <a:cubicBezTo>
                      <a:pt x="0" y="65"/>
                      <a:pt x="0" y="47"/>
                      <a:pt x="2" y="40"/>
                    </a:cubicBezTo>
                    <a:cubicBezTo>
                      <a:pt x="5" y="33"/>
                      <a:pt x="12" y="26"/>
                      <a:pt x="12" y="26"/>
                    </a:cubicBezTo>
                    <a:cubicBezTo>
                      <a:pt x="21" y="20"/>
                      <a:pt x="21" y="20"/>
                      <a:pt x="21" y="20"/>
                    </a:cubicBezTo>
                    <a:cubicBezTo>
                      <a:pt x="23" y="14"/>
                      <a:pt x="23" y="14"/>
                      <a:pt x="23" y="14"/>
                    </a:cubicBezTo>
                    <a:cubicBezTo>
                      <a:pt x="29" y="9"/>
                      <a:pt x="29" y="9"/>
                      <a:pt x="29" y="9"/>
                    </a:cubicBezTo>
                    <a:cubicBezTo>
                      <a:pt x="30" y="17"/>
                      <a:pt x="30" y="17"/>
                      <a:pt x="30" y="17"/>
                    </a:cubicBezTo>
                    <a:cubicBezTo>
                      <a:pt x="30" y="17"/>
                      <a:pt x="37" y="19"/>
                      <a:pt x="47" y="15"/>
                    </a:cubicBezTo>
                    <a:cubicBezTo>
                      <a:pt x="53" y="13"/>
                      <a:pt x="55" y="13"/>
                      <a:pt x="55" y="13"/>
                    </a:cubicBezTo>
                    <a:cubicBezTo>
                      <a:pt x="55" y="4"/>
                      <a:pt x="55" y="4"/>
                      <a:pt x="55" y="4"/>
                    </a:cubicBezTo>
                    <a:lnTo>
                      <a:pt x="57" y="0"/>
                    </a:lnTo>
                    <a:close/>
                  </a:path>
                </a:pathLst>
              </a:custGeom>
              <a:noFill/>
              <a:ln w="0" cap="flat">
                <a:solidFill>
                  <a:schemeClr val="accent5">
                    <a:lumMod val="20000"/>
                    <a:lumOff val="8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sz="1400" dirty="0">
                  <a:latin typeface="+mn-lt"/>
                </a:endParaRPr>
              </a:p>
            </p:txBody>
          </p:sp>
          <p:sp>
            <p:nvSpPr>
              <p:cNvPr id="33" name="Freeform 16"/>
              <p:cNvSpPr>
                <a:spLocks/>
              </p:cNvSpPr>
              <p:nvPr/>
            </p:nvSpPr>
            <p:spPr bwMode="auto">
              <a:xfrm>
                <a:off x="1243470" y="5939967"/>
                <a:ext cx="9264" cy="26027"/>
              </a:xfrm>
              <a:custGeom>
                <a:avLst/>
                <a:gdLst>
                  <a:gd name="T0" fmla="*/ 6 w 6"/>
                  <a:gd name="T1" fmla="*/ 0 h 20"/>
                  <a:gd name="T2" fmla="*/ 5 w 6"/>
                  <a:gd name="T3" fmla="*/ 0 h 20"/>
                  <a:gd name="T4" fmla="*/ 0 w 6"/>
                  <a:gd name="T5" fmla="*/ 11 h 20"/>
                  <a:gd name="T6" fmla="*/ 1 w 6"/>
                  <a:gd name="T7" fmla="*/ 20 h 20"/>
                  <a:gd name="T8" fmla="*/ 2 w 6"/>
                  <a:gd name="T9" fmla="*/ 20 h 20"/>
                  <a:gd name="T10" fmla="*/ 2 w 6"/>
                  <a:gd name="T11" fmla="*/ 11 h 20"/>
                  <a:gd name="T12" fmla="*/ 6 w 6"/>
                  <a:gd name="T13" fmla="*/ 0 h 20"/>
                </a:gdLst>
                <a:ahLst/>
                <a:cxnLst>
                  <a:cxn ang="0">
                    <a:pos x="T0" y="T1"/>
                  </a:cxn>
                  <a:cxn ang="0">
                    <a:pos x="T2" y="T3"/>
                  </a:cxn>
                  <a:cxn ang="0">
                    <a:pos x="T4" y="T5"/>
                  </a:cxn>
                  <a:cxn ang="0">
                    <a:pos x="T6" y="T7"/>
                  </a:cxn>
                  <a:cxn ang="0">
                    <a:pos x="T8" y="T9"/>
                  </a:cxn>
                  <a:cxn ang="0">
                    <a:pos x="T10" y="T11"/>
                  </a:cxn>
                  <a:cxn ang="0">
                    <a:pos x="T12" y="T13"/>
                  </a:cxn>
                </a:cxnLst>
                <a:rect l="0" t="0" r="r" b="b"/>
                <a:pathLst>
                  <a:path w="6" h="20">
                    <a:moveTo>
                      <a:pt x="6" y="0"/>
                    </a:moveTo>
                    <a:cubicBezTo>
                      <a:pt x="5" y="0"/>
                      <a:pt x="5" y="0"/>
                      <a:pt x="5" y="0"/>
                    </a:cubicBezTo>
                    <a:cubicBezTo>
                      <a:pt x="4" y="0"/>
                      <a:pt x="1" y="7"/>
                      <a:pt x="0" y="11"/>
                    </a:cubicBezTo>
                    <a:cubicBezTo>
                      <a:pt x="0" y="15"/>
                      <a:pt x="1" y="20"/>
                      <a:pt x="1" y="20"/>
                    </a:cubicBezTo>
                    <a:cubicBezTo>
                      <a:pt x="2" y="20"/>
                      <a:pt x="2" y="20"/>
                      <a:pt x="2" y="20"/>
                    </a:cubicBezTo>
                    <a:cubicBezTo>
                      <a:pt x="2" y="20"/>
                      <a:pt x="1" y="15"/>
                      <a:pt x="2" y="11"/>
                    </a:cubicBezTo>
                    <a:cubicBezTo>
                      <a:pt x="3" y="7"/>
                      <a:pt x="6" y="0"/>
                      <a:pt x="6" y="0"/>
                    </a:cubicBezTo>
                  </a:path>
                </a:pathLst>
              </a:custGeom>
              <a:solidFill>
                <a:schemeClr val="accent5">
                  <a:lumMod val="20000"/>
                  <a:lumOff val="80000"/>
                </a:schemeClr>
              </a:solidFill>
              <a:ln w="9525">
                <a:solidFill>
                  <a:schemeClr val="accent5">
                    <a:lumMod val="20000"/>
                    <a:lumOff val="80000"/>
                  </a:schemeClr>
                </a:solidFill>
                <a:round/>
                <a:headEnd/>
                <a:tailEnd/>
              </a:ln>
            </p:spPr>
            <p:txBody>
              <a:bodyPr vert="horz" wrap="square" lIns="91440" tIns="45720" rIns="91440" bIns="45720" numCol="1" anchor="t" anchorCtr="0" compatLnSpc="1">
                <a:prstTxWarp prst="textNoShape">
                  <a:avLst/>
                </a:prstTxWarp>
              </a:bodyPr>
              <a:lstStyle/>
              <a:p>
                <a:endParaRPr lang="en-GB" sz="1400" dirty="0">
                  <a:latin typeface="+mn-lt"/>
                </a:endParaRPr>
              </a:p>
            </p:txBody>
          </p:sp>
          <p:sp>
            <p:nvSpPr>
              <p:cNvPr id="34" name="Freeform 17"/>
              <p:cNvSpPr>
                <a:spLocks/>
              </p:cNvSpPr>
              <p:nvPr/>
            </p:nvSpPr>
            <p:spPr bwMode="auto">
              <a:xfrm>
                <a:off x="1244794" y="5939967"/>
                <a:ext cx="9264" cy="26027"/>
              </a:xfrm>
              <a:custGeom>
                <a:avLst/>
                <a:gdLst>
                  <a:gd name="T0" fmla="*/ 6 w 6"/>
                  <a:gd name="T1" fmla="*/ 0 h 20"/>
                  <a:gd name="T2" fmla="*/ 5 w 6"/>
                  <a:gd name="T3" fmla="*/ 0 h 20"/>
                  <a:gd name="T4" fmla="*/ 0 w 6"/>
                  <a:gd name="T5" fmla="*/ 11 h 20"/>
                  <a:gd name="T6" fmla="*/ 1 w 6"/>
                  <a:gd name="T7" fmla="*/ 20 h 20"/>
                  <a:gd name="T8" fmla="*/ 2 w 6"/>
                  <a:gd name="T9" fmla="*/ 20 h 20"/>
                  <a:gd name="T10" fmla="*/ 2 w 6"/>
                  <a:gd name="T11" fmla="*/ 11 h 20"/>
                  <a:gd name="T12" fmla="*/ 6 w 6"/>
                  <a:gd name="T13" fmla="*/ 0 h 20"/>
                </a:gdLst>
                <a:ahLst/>
                <a:cxnLst>
                  <a:cxn ang="0">
                    <a:pos x="T0" y="T1"/>
                  </a:cxn>
                  <a:cxn ang="0">
                    <a:pos x="T2" y="T3"/>
                  </a:cxn>
                  <a:cxn ang="0">
                    <a:pos x="T4" y="T5"/>
                  </a:cxn>
                  <a:cxn ang="0">
                    <a:pos x="T6" y="T7"/>
                  </a:cxn>
                  <a:cxn ang="0">
                    <a:pos x="T8" y="T9"/>
                  </a:cxn>
                  <a:cxn ang="0">
                    <a:pos x="T10" y="T11"/>
                  </a:cxn>
                  <a:cxn ang="0">
                    <a:pos x="T12" y="T13"/>
                  </a:cxn>
                </a:cxnLst>
                <a:rect l="0" t="0" r="r" b="b"/>
                <a:pathLst>
                  <a:path w="6" h="20">
                    <a:moveTo>
                      <a:pt x="6" y="0"/>
                    </a:moveTo>
                    <a:cubicBezTo>
                      <a:pt x="5" y="0"/>
                      <a:pt x="5" y="0"/>
                      <a:pt x="5" y="0"/>
                    </a:cubicBezTo>
                    <a:cubicBezTo>
                      <a:pt x="4" y="0"/>
                      <a:pt x="1" y="7"/>
                      <a:pt x="0" y="11"/>
                    </a:cubicBezTo>
                    <a:cubicBezTo>
                      <a:pt x="0" y="15"/>
                      <a:pt x="1" y="20"/>
                      <a:pt x="1" y="20"/>
                    </a:cubicBezTo>
                    <a:cubicBezTo>
                      <a:pt x="2" y="20"/>
                      <a:pt x="2" y="20"/>
                      <a:pt x="2" y="20"/>
                    </a:cubicBezTo>
                    <a:cubicBezTo>
                      <a:pt x="2" y="20"/>
                      <a:pt x="1" y="15"/>
                      <a:pt x="2" y="11"/>
                    </a:cubicBezTo>
                    <a:cubicBezTo>
                      <a:pt x="3" y="7"/>
                      <a:pt x="6" y="0"/>
                      <a:pt x="6" y="0"/>
                    </a:cubicBezTo>
                    <a:close/>
                  </a:path>
                </a:pathLst>
              </a:custGeom>
              <a:solidFill>
                <a:schemeClr val="accent5">
                  <a:lumMod val="20000"/>
                  <a:lumOff val="80000"/>
                </a:schemeClr>
              </a:solidFill>
              <a:ln w="0" cap="flat">
                <a:solidFill>
                  <a:schemeClr val="accent5">
                    <a:lumMod val="20000"/>
                    <a:lumOff val="80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sz="1400" dirty="0">
                  <a:latin typeface="+mn-lt"/>
                </a:endParaRPr>
              </a:p>
            </p:txBody>
          </p:sp>
          <p:sp>
            <p:nvSpPr>
              <p:cNvPr id="35" name="Freeform 18"/>
              <p:cNvSpPr>
                <a:spLocks/>
              </p:cNvSpPr>
              <p:nvPr/>
            </p:nvSpPr>
            <p:spPr bwMode="auto">
              <a:xfrm>
                <a:off x="1421484" y="6126207"/>
                <a:ext cx="33088" cy="4049"/>
              </a:xfrm>
              <a:custGeom>
                <a:avLst/>
                <a:gdLst>
                  <a:gd name="T0" fmla="*/ 22 w 22"/>
                  <a:gd name="T1" fmla="*/ 0 h 3"/>
                  <a:gd name="T2" fmla="*/ 22 w 22"/>
                  <a:gd name="T3" fmla="*/ 3 h 3"/>
                  <a:gd name="T4" fmla="*/ 9 w 22"/>
                  <a:gd name="T5" fmla="*/ 3 h 3"/>
                  <a:gd name="T6" fmla="*/ 0 w 22"/>
                  <a:gd name="T7" fmla="*/ 3 h 3"/>
                  <a:gd name="T8" fmla="*/ 0 w 22"/>
                  <a:gd name="T9" fmla="*/ 0 h 3"/>
                  <a:gd name="T10" fmla="*/ 10 w 22"/>
                  <a:gd name="T11" fmla="*/ 1 h 3"/>
                </a:gdLst>
                <a:ahLst/>
                <a:cxnLst>
                  <a:cxn ang="0">
                    <a:pos x="T0" y="T1"/>
                  </a:cxn>
                  <a:cxn ang="0">
                    <a:pos x="T2" y="T3"/>
                  </a:cxn>
                  <a:cxn ang="0">
                    <a:pos x="T4" y="T5"/>
                  </a:cxn>
                  <a:cxn ang="0">
                    <a:pos x="T6" y="T7"/>
                  </a:cxn>
                  <a:cxn ang="0">
                    <a:pos x="T8" y="T9"/>
                  </a:cxn>
                  <a:cxn ang="0">
                    <a:pos x="T10" y="T11"/>
                  </a:cxn>
                </a:cxnLst>
                <a:rect l="0" t="0" r="r" b="b"/>
                <a:pathLst>
                  <a:path w="22" h="3">
                    <a:moveTo>
                      <a:pt x="22" y="0"/>
                    </a:moveTo>
                    <a:cubicBezTo>
                      <a:pt x="22" y="3"/>
                      <a:pt x="22" y="3"/>
                      <a:pt x="22" y="3"/>
                    </a:cubicBezTo>
                    <a:cubicBezTo>
                      <a:pt x="22" y="3"/>
                      <a:pt x="9" y="3"/>
                      <a:pt x="9" y="3"/>
                    </a:cubicBezTo>
                    <a:cubicBezTo>
                      <a:pt x="8" y="3"/>
                      <a:pt x="0" y="3"/>
                      <a:pt x="0" y="3"/>
                    </a:cubicBezTo>
                    <a:cubicBezTo>
                      <a:pt x="0" y="0"/>
                      <a:pt x="0" y="0"/>
                      <a:pt x="0" y="0"/>
                    </a:cubicBezTo>
                    <a:cubicBezTo>
                      <a:pt x="10" y="1"/>
                      <a:pt x="10" y="1"/>
                      <a:pt x="10" y="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400" dirty="0">
                  <a:latin typeface="+mn-lt"/>
                </a:endParaRPr>
              </a:p>
            </p:txBody>
          </p:sp>
          <p:sp>
            <p:nvSpPr>
              <p:cNvPr id="36" name="Freeform 19"/>
              <p:cNvSpPr>
                <a:spLocks/>
              </p:cNvSpPr>
              <p:nvPr/>
            </p:nvSpPr>
            <p:spPr bwMode="auto">
              <a:xfrm>
                <a:off x="1421484" y="6126207"/>
                <a:ext cx="33088" cy="4049"/>
              </a:xfrm>
              <a:custGeom>
                <a:avLst/>
                <a:gdLst>
                  <a:gd name="T0" fmla="*/ 22 w 22"/>
                  <a:gd name="T1" fmla="*/ 0 h 3"/>
                  <a:gd name="T2" fmla="*/ 22 w 22"/>
                  <a:gd name="T3" fmla="*/ 3 h 3"/>
                  <a:gd name="T4" fmla="*/ 9 w 22"/>
                  <a:gd name="T5" fmla="*/ 3 h 3"/>
                  <a:gd name="T6" fmla="*/ 0 w 22"/>
                  <a:gd name="T7" fmla="*/ 3 h 3"/>
                  <a:gd name="T8" fmla="*/ 0 w 22"/>
                  <a:gd name="T9" fmla="*/ 0 h 3"/>
                  <a:gd name="T10" fmla="*/ 10 w 22"/>
                  <a:gd name="T11" fmla="*/ 1 h 3"/>
                  <a:gd name="T12" fmla="*/ 22 w 22"/>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22" h="3">
                    <a:moveTo>
                      <a:pt x="22" y="0"/>
                    </a:moveTo>
                    <a:cubicBezTo>
                      <a:pt x="22" y="3"/>
                      <a:pt x="22" y="3"/>
                      <a:pt x="22" y="3"/>
                    </a:cubicBezTo>
                    <a:cubicBezTo>
                      <a:pt x="22" y="3"/>
                      <a:pt x="9" y="3"/>
                      <a:pt x="9" y="3"/>
                    </a:cubicBezTo>
                    <a:cubicBezTo>
                      <a:pt x="8" y="3"/>
                      <a:pt x="0" y="3"/>
                      <a:pt x="0" y="3"/>
                    </a:cubicBezTo>
                    <a:cubicBezTo>
                      <a:pt x="0" y="0"/>
                      <a:pt x="0" y="0"/>
                      <a:pt x="0" y="0"/>
                    </a:cubicBezTo>
                    <a:cubicBezTo>
                      <a:pt x="10" y="1"/>
                      <a:pt x="10" y="1"/>
                      <a:pt x="10" y="1"/>
                    </a:cubicBezTo>
                    <a:lnTo>
                      <a:pt x="22" y="0"/>
                    </a:lnTo>
                    <a:close/>
                  </a:path>
                </a:pathLst>
              </a:custGeom>
              <a:noFill/>
              <a:ln w="0" cap="flat">
                <a:solidFill>
                  <a:schemeClr val="accent5">
                    <a:lumMod val="20000"/>
                    <a:lumOff val="8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sz="1400" dirty="0">
                  <a:latin typeface="+mn-lt"/>
                </a:endParaRPr>
              </a:p>
            </p:txBody>
          </p:sp>
          <p:sp>
            <p:nvSpPr>
              <p:cNvPr id="37" name="Freeform 20"/>
              <p:cNvSpPr>
                <a:spLocks/>
              </p:cNvSpPr>
              <p:nvPr/>
            </p:nvSpPr>
            <p:spPr bwMode="auto">
              <a:xfrm>
                <a:off x="1334132" y="5924929"/>
                <a:ext cx="40367" cy="69406"/>
              </a:xfrm>
              <a:custGeom>
                <a:avLst/>
                <a:gdLst>
                  <a:gd name="T0" fmla="*/ 27 w 27"/>
                  <a:gd name="T1" fmla="*/ 9 h 54"/>
                  <a:gd name="T2" fmla="*/ 27 w 27"/>
                  <a:gd name="T3" fmla="*/ 0 h 54"/>
                  <a:gd name="T4" fmla="*/ 23 w 27"/>
                  <a:gd name="T5" fmla="*/ 7 h 54"/>
                  <a:gd name="T6" fmla="*/ 23 w 27"/>
                  <a:gd name="T7" fmla="*/ 9 h 54"/>
                  <a:gd name="T8" fmla="*/ 18 w 27"/>
                  <a:gd name="T9" fmla="*/ 14 h 54"/>
                  <a:gd name="T10" fmla="*/ 11 w 27"/>
                  <a:gd name="T11" fmla="*/ 22 h 54"/>
                  <a:gd name="T12" fmla="*/ 4 w 27"/>
                  <a:gd name="T13" fmla="*/ 31 h 54"/>
                  <a:gd name="T14" fmla="*/ 0 w 27"/>
                  <a:gd name="T15" fmla="*/ 44 h 54"/>
                  <a:gd name="T16" fmla="*/ 0 w 27"/>
                  <a:gd name="T17" fmla="*/ 54 h 54"/>
                  <a:gd name="T18" fmla="*/ 3 w 27"/>
                  <a:gd name="T19" fmla="*/ 49 h 54"/>
                  <a:gd name="T20" fmla="*/ 7 w 27"/>
                  <a:gd name="T21" fmla="*/ 36 h 54"/>
                  <a:gd name="T22" fmla="*/ 18 w 27"/>
                  <a:gd name="T23" fmla="*/ 21 h 54"/>
                  <a:gd name="T24" fmla="*/ 24 w 27"/>
                  <a:gd name="T25" fmla="*/ 12 h 54"/>
                  <a:gd name="T26" fmla="*/ 24 w 27"/>
                  <a:gd name="T27" fmla="*/ 1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7" h="54">
                    <a:moveTo>
                      <a:pt x="27" y="9"/>
                    </a:moveTo>
                    <a:cubicBezTo>
                      <a:pt x="27" y="0"/>
                      <a:pt x="27" y="0"/>
                      <a:pt x="27" y="0"/>
                    </a:cubicBezTo>
                    <a:cubicBezTo>
                      <a:pt x="27" y="0"/>
                      <a:pt x="23" y="6"/>
                      <a:pt x="23" y="7"/>
                    </a:cubicBezTo>
                    <a:cubicBezTo>
                      <a:pt x="23" y="7"/>
                      <a:pt x="23" y="9"/>
                      <a:pt x="23" y="9"/>
                    </a:cubicBezTo>
                    <a:cubicBezTo>
                      <a:pt x="18" y="14"/>
                      <a:pt x="18" y="14"/>
                      <a:pt x="18" y="14"/>
                    </a:cubicBezTo>
                    <a:cubicBezTo>
                      <a:pt x="11" y="22"/>
                      <a:pt x="11" y="22"/>
                      <a:pt x="11" y="22"/>
                    </a:cubicBezTo>
                    <a:cubicBezTo>
                      <a:pt x="6" y="29"/>
                      <a:pt x="6" y="29"/>
                      <a:pt x="4" y="31"/>
                    </a:cubicBezTo>
                    <a:cubicBezTo>
                      <a:pt x="1" y="35"/>
                      <a:pt x="0" y="44"/>
                      <a:pt x="0" y="44"/>
                    </a:cubicBezTo>
                    <a:cubicBezTo>
                      <a:pt x="0" y="54"/>
                      <a:pt x="0" y="54"/>
                      <a:pt x="0" y="54"/>
                    </a:cubicBezTo>
                    <a:cubicBezTo>
                      <a:pt x="3" y="49"/>
                      <a:pt x="3" y="49"/>
                      <a:pt x="3" y="49"/>
                    </a:cubicBezTo>
                    <a:cubicBezTo>
                      <a:pt x="3" y="49"/>
                      <a:pt x="3" y="41"/>
                      <a:pt x="7" y="36"/>
                    </a:cubicBezTo>
                    <a:cubicBezTo>
                      <a:pt x="10" y="32"/>
                      <a:pt x="15" y="24"/>
                      <a:pt x="18" y="21"/>
                    </a:cubicBezTo>
                    <a:cubicBezTo>
                      <a:pt x="20" y="19"/>
                      <a:pt x="24" y="12"/>
                      <a:pt x="24" y="12"/>
                    </a:cubicBezTo>
                    <a:cubicBezTo>
                      <a:pt x="24" y="10"/>
                      <a:pt x="24" y="10"/>
                      <a:pt x="24" y="10"/>
                    </a:cubicBezTo>
                  </a:path>
                </a:pathLst>
              </a:custGeom>
              <a:solidFill>
                <a:schemeClr val="accent5">
                  <a:lumMod val="75000"/>
                </a:schemeClr>
              </a:solidFill>
              <a:ln>
                <a:noFill/>
              </a:ln>
            </p:spPr>
            <p:txBody>
              <a:bodyPr vert="horz" wrap="square" lIns="91440" tIns="45720" rIns="91440" bIns="45720" numCol="1" anchor="t" anchorCtr="0" compatLnSpc="1">
                <a:prstTxWarp prst="textNoShape">
                  <a:avLst/>
                </a:prstTxWarp>
              </a:bodyPr>
              <a:lstStyle/>
              <a:p>
                <a:endParaRPr lang="en-GB" sz="1400" dirty="0">
                  <a:latin typeface="+mn-lt"/>
                </a:endParaRPr>
              </a:p>
            </p:txBody>
          </p:sp>
        </p:grpSp>
      </p:grpSp>
      <p:sp>
        <p:nvSpPr>
          <p:cNvPr id="79" name="TextBox 78"/>
          <p:cNvSpPr txBox="1">
            <a:spLocks/>
          </p:cNvSpPr>
          <p:nvPr/>
        </p:nvSpPr>
        <p:spPr>
          <a:xfrm>
            <a:off x="3483840" y="2484061"/>
            <a:ext cx="5247920" cy="938719"/>
          </a:xfrm>
          <a:prstGeom prst="rect">
            <a:avLst/>
          </a:prstGeom>
        </p:spPr>
        <p:txBody>
          <a:bodyPr vert="horz" wrap="square" lIns="0" tIns="0" rIns="0" bIns="0" rtlCol="0">
            <a:sp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1">
              <a:spcAft>
                <a:spcPts val="300"/>
              </a:spcAft>
            </a:pPr>
            <a:r>
              <a:rPr lang="en-US" dirty="0"/>
              <a:t>End-to-end operations excellence</a:t>
            </a:r>
          </a:p>
          <a:p>
            <a:pPr lvl="1">
              <a:spcAft>
                <a:spcPts val="300"/>
              </a:spcAft>
            </a:pPr>
            <a:r>
              <a:rPr lang="en-US" dirty="0"/>
              <a:t>Cross-functional optimization covering marketing and sales, logistics, procurement</a:t>
            </a:r>
          </a:p>
          <a:p>
            <a:pPr lvl="1">
              <a:spcAft>
                <a:spcPts val="300"/>
              </a:spcAft>
            </a:pPr>
            <a:r>
              <a:rPr lang="en-US" dirty="0"/>
              <a:t>Org transformation</a:t>
            </a:r>
            <a:endParaRPr lang="en-GB" dirty="0"/>
          </a:p>
        </p:txBody>
      </p:sp>
      <p:sp>
        <p:nvSpPr>
          <p:cNvPr id="80" name="Rectangle 79"/>
          <p:cNvSpPr>
            <a:spLocks/>
          </p:cNvSpPr>
          <p:nvPr/>
        </p:nvSpPr>
        <p:spPr>
          <a:xfrm>
            <a:off x="238866" y="2484061"/>
            <a:ext cx="1290418" cy="938719"/>
          </a:xfrm>
          <a:prstGeom prst="rect">
            <a:avLst/>
          </a:prstGeom>
          <a:solidFill>
            <a:schemeClr val="accent2"/>
          </a:solid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noAutofit/>
          </a:bodyPr>
          <a:lstStyle/>
          <a:p>
            <a:r>
              <a:rPr lang="en-GB" sz="1400" b="1" dirty="0">
                <a:solidFill>
                  <a:schemeClr val="bg1"/>
                </a:solidFill>
              </a:rPr>
              <a:t>Stressed assets</a:t>
            </a:r>
          </a:p>
        </p:txBody>
      </p:sp>
      <p:sp>
        <p:nvSpPr>
          <p:cNvPr id="78" name="Oval 77"/>
          <p:cNvSpPr/>
          <p:nvPr/>
        </p:nvSpPr>
        <p:spPr>
          <a:xfrm>
            <a:off x="2110629" y="2799771"/>
            <a:ext cx="791866" cy="307298"/>
          </a:xfrm>
          <a:prstGeom prst="ellipse">
            <a:avLst/>
          </a:prstGeom>
          <a:solidFill>
            <a:schemeClr val="tx2"/>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bg1"/>
                </a:solidFill>
              </a:rPr>
              <a:t>6</a:t>
            </a:r>
            <a:endParaRPr lang="en-GB" sz="1400" b="1" dirty="0">
              <a:solidFill>
                <a:schemeClr val="bg1"/>
              </a:solidFill>
            </a:endParaRPr>
          </a:p>
        </p:txBody>
      </p:sp>
      <p:sp>
        <p:nvSpPr>
          <p:cNvPr id="74" name="5. Source">
            <a:extLst>
              <a:ext uri="{FF2B5EF4-FFF2-40B4-BE49-F238E27FC236}">
                <a16:creationId xmlns:a16="http://schemas.microsoft.com/office/drawing/2014/main" id="{AF46A362-5EF4-4F0F-AD8B-D3F8EEBE110E}"/>
              </a:ext>
            </a:extLst>
          </p:cNvPr>
          <p:cNvSpPr>
            <a:spLocks noChangeArrowheads="1"/>
          </p:cNvSpPr>
          <p:nvPr/>
        </p:nvSpPr>
        <p:spPr bwMode="gray">
          <a:xfrm>
            <a:off x="119063" y="6507558"/>
            <a:ext cx="7200000" cy="123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marL="609600" indent="-609600" defTabSz="895350">
              <a:tabLst>
                <a:tab pos="612775" algn="l"/>
              </a:tabLst>
            </a:pPr>
            <a:r>
              <a:rPr lang="en-US" sz="800" dirty="0">
                <a:solidFill>
                  <a:srgbClr val="808080"/>
                </a:solidFill>
                <a:latin typeface="Arial"/>
              </a:rPr>
              <a:t>SOURCE: McKinsey Global Basic Materials Practice</a:t>
            </a:r>
          </a:p>
        </p:txBody>
      </p:sp>
    </p:spTree>
    <p:extLst>
      <p:ext uri="{BB962C8B-B14F-4D97-AF65-F5344CB8AC3E}">
        <p14:creationId xmlns:p14="http://schemas.microsoft.com/office/powerpoint/2010/main" val="4165966452"/>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7460" name="think-cell Slide" r:id="rId6" imgW="338" imgH="338" progId="TCLayout.ActiveDocument.1">
                  <p:embed/>
                </p:oleObj>
              </mc:Choice>
              <mc:Fallback>
                <p:oleObj name="think-cell Slide" r:id="rId6" imgW="338" imgH="338" progId="TCLayout.ActiveDocument.1">
                  <p:embed/>
                  <p:pic>
                    <p:nvPicPr>
                      <p:cNvPr id="11" name="Object 10"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4" name="Title 3"/>
          <p:cNvSpPr>
            <a:spLocks noGrp="1"/>
          </p:cNvSpPr>
          <p:nvPr>
            <p:ph type="title"/>
          </p:nvPr>
        </p:nvSpPr>
        <p:spPr>
          <a:xfrm>
            <a:off x="119063" y="230188"/>
            <a:ext cx="8618537" cy="615553"/>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r>
              <a:rPr lang="en-US" dirty="0"/>
              <a:t>McKinsey has worked on 10 engagements in the Indian steel sector in the last 6 months, of which 6 are for stressed companies</a:t>
            </a:r>
            <a:endParaRPr lang="en-GB" dirty="0"/>
          </a:p>
        </p:txBody>
      </p:sp>
      <p:grpSp>
        <p:nvGrpSpPr>
          <p:cNvPr id="6" name="Group 5">
            <a:extLst>
              <a:ext uri="{FF2B5EF4-FFF2-40B4-BE49-F238E27FC236}">
                <a16:creationId xmlns:a16="http://schemas.microsoft.com/office/drawing/2014/main" id="{DABE8508-F1B0-4678-B49E-1637FCF19348}"/>
              </a:ext>
            </a:extLst>
          </p:cNvPr>
          <p:cNvGrpSpPr/>
          <p:nvPr/>
        </p:nvGrpSpPr>
        <p:grpSpPr>
          <a:xfrm>
            <a:off x="7351903" y="665741"/>
            <a:ext cx="1385697" cy="180000"/>
            <a:chOff x="7034663" y="546243"/>
            <a:chExt cx="1385697" cy="180000"/>
          </a:xfrm>
        </p:grpSpPr>
        <p:sp>
          <p:nvSpPr>
            <p:cNvPr id="8" name="Rectangle 7">
              <a:extLst>
                <a:ext uri="{FF2B5EF4-FFF2-40B4-BE49-F238E27FC236}">
                  <a16:creationId xmlns:a16="http://schemas.microsoft.com/office/drawing/2014/main" id="{307A9DEC-4874-4531-BFA8-5AF338BE0E2D}"/>
                </a:ext>
              </a:extLst>
            </p:cNvPr>
            <p:cNvSpPr txBox="1"/>
            <p:nvPr>
              <p:custDataLst>
                <p:tags r:id="rId4"/>
              </p:custDataLst>
            </p:nvPr>
          </p:nvSpPr>
          <p:spPr>
            <a:xfrm>
              <a:off x="7034663" y="546243"/>
              <a:ext cx="180000" cy="180000"/>
            </a:xfrm>
            <a:prstGeom prst="rect">
              <a:avLst/>
            </a:prstGeom>
            <a:solidFill>
              <a:schemeClr val="accent5"/>
            </a:solidFill>
            <a:ln>
              <a:noFill/>
            </a:ln>
          </p:spPr>
          <p:txBody>
            <a:bodyPr vert="horz" lIns="76200" tIns="76200" rIns="76200" bIns="76200" rtlCol="0" anchor="t" anchorCtr="0">
              <a:no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endParaRPr lang="en-GB" sz="1600" dirty="0"/>
            </a:p>
          </p:txBody>
        </p:sp>
        <p:sp>
          <p:nvSpPr>
            <p:cNvPr id="9" name="TextBox 8">
              <a:extLst>
                <a:ext uri="{FF2B5EF4-FFF2-40B4-BE49-F238E27FC236}">
                  <a16:creationId xmlns:a16="http://schemas.microsoft.com/office/drawing/2014/main" id="{FA09A36C-3B22-4D5F-B37D-6781FF339D2A}"/>
                </a:ext>
              </a:extLst>
            </p:cNvPr>
            <p:cNvSpPr txBox="1"/>
            <p:nvPr/>
          </p:nvSpPr>
          <p:spPr>
            <a:xfrm>
              <a:off x="7264594" y="546243"/>
              <a:ext cx="1155766" cy="153888"/>
            </a:xfrm>
            <a:prstGeom prst="rect">
              <a:avLst/>
            </a:prstGeom>
          </p:spPr>
          <p:txBody>
            <a:bodyPr vert="horz" wrap="none" lIns="0" tIns="0" rIns="0" bIns="0" rtlCol="0">
              <a:sp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GB" sz="1000" dirty="0"/>
                <a:t>Stressed companies</a:t>
              </a:r>
            </a:p>
          </p:txBody>
        </p:sp>
      </p:grpSp>
      <p:sp>
        <p:nvSpPr>
          <p:cNvPr id="3" name="Rectangle 2"/>
          <p:cNvSpPr/>
          <p:nvPr/>
        </p:nvSpPr>
        <p:spPr>
          <a:xfrm>
            <a:off x="171451" y="1013482"/>
            <a:ext cx="8618537" cy="5049837"/>
          </a:xfrm>
          <a:prstGeom prst="rect">
            <a:avLst/>
          </a:prstGeom>
          <a:solidFill>
            <a:schemeClr val="bg1"/>
          </a:solidFill>
          <a:ln w="19050" cmpd="sng">
            <a:solidFill>
              <a:schemeClr val="accent1"/>
            </a:solid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err="1">
              <a:solidFill>
                <a:schemeClr val="tx1"/>
              </a:solidFill>
              <a:latin typeface="+mj-lt"/>
            </a:endParaRPr>
          </a:p>
        </p:txBody>
      </p:sp>
      <p:grpSp>
        <p:nvGrpSpPr>
          <p:cNvPr id="52" name="Group 51">
            <a:extLst>
              <a:ext uri="{FF2B5EF4-FFF2-40B4-BE49-F238E27FC236}">
                <a16:creationId xmlns:a16="http://schemas.microsoft.com/office/drawing/2014/main" id="{0768A566-9F61-43E3-AD3A-DDB5644E848F}"/>
              </a:ext>
            </a:extLst>
          </p:cNvPr>
          <p:cNvGrpSpPr/>
          <p:nvPr/>
        </p:nvGrpSpPr>
        <p:grpSpPr>
          <a:xfrm>
            <a:off x="255012" y="3146597"/>
            <a:ext cx="8446228" cy="0"/>
            <a:chOff x="202624" y="3658211"/>
            <a:chExt cx="8446228" cy="0"/>
          </a:xfrm>
        </p:grpSpPr>
        <p:cxnSp>
          <p:nvCxnSpPr>
            <p:cNvPr id="23" name="Straight Connector 22"/>
            <p:cNvCxnSpPr/>
            <p:nvPr/>
          </p:nvCxnSpPr>
          <p:spPr>
            <a:xfrm>
              <a:off x="202624" y="3658211"/>
              <a:ext cx="4176000" cy="0"/>
            </a:xfrm>
            <a:prstGeom prst="line">
              <a:avLst/>
            </a:prstGeom>
            <a:ln w="19050">
              <a:solidFill>
                <a:schemeClr val="bg1">
                  <a:lumMod val="5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45" name="Straight Connector 44"/>
            <p:cNvCxnSpPr/>
            <p:nvPr/>
          </p:nvCxnSpPr>
          <p:spPr>
            <a:xfrm>
              <a:off x="4472852" y="3658211"/>
              <a:ext cx="4176000" cy="0"/>
            </a:xfrm>
            <a:prstGeom prst="line">
              <a:avLst/>
            </a:prstGeom>
            <a:ln w="19050">
              <a:solidFill>
                <a:schemeClr val="bg1">
                  <a:lumMod val="50000"/>
                </a:schemeClr>
              </a:solidFill>
              <a:prstDash val="sysDot"/>
            </a:ln>
          </p:spPr>
          <p:style>
            <a:lnRef idx="1">
              <a:schemeClr val="accent1"/>
            </a:lnRef>
            <a:fillRef idx="0">
              <a:schemeClr val="accent1"/>
            </a:fillRef>
            <a:effectRef idx="0">
              <a:schemeClr val="accent1"/>
            </a:effectRef>
            <a:fontRef idx="minor">
              <a:schemeClr val="tx1"/>
            </a:fontRef>
          </p:style>
        </p:cxnSp>
      </p:grpSp>
      <p:grpSp>
        <p:nvGrpSpPr>
          <p:cNvPr id="51" name="Group 50">
            <a:extLst>
              <a:ext uri="{FF2B5EF4-FFF2-40B4-BE49-F238E27FC236}">
                <a16:creationId xmlns:a16="http://schemas.microsoft.com/office/drawing/2014/main" id="{97F3916B-0B4B-4817-A33E-42C67A914B08}"/>
              </a:ext>
            </a:extLst>
          </p:cNvPr>
          <p:cNvGrpSpPr/>
          <p:nvPr/>
        </p:nvGrpSpPr>
        <p:grpSpPr>
          <a:xfrm>
            <a:off x="255012" y="3983755"/>
            <a:ext cx="8446228" cy="0"/>
            <a:chOff x="202624" y="5052601"/>
            <a:chExt cx="8446228" cy="0"/>
          </a:xfrm>
        </p:grpSpPr>
        <p:cxnSp>
          <p:nvCxnSpPr>
            <p:cNvPr id="24" name="Straight Connector 23"/>
            <p:cNvCxnSpPr/>
            <p:nvPr/>
          </p:nvCxnSpPr>
          <p:spPr>
            <a:xfrm>
              <a:off x="202624" y="5052601"/>
              <a:ext cx="4176000" cy="0"/>
            </a:xfrm>
            <a:prstGeom prst="line">
              <a:avLst/>
            </a:prstGeom>
            <a:ln w="19050">
              <a:solidFill>
                <a:schemeClr val="bg1">
                  <a:lumMod val="5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46" name="Straight Connector 45"/>
            <p:cNvCxnSpPr/>
            <p:nvPr/>
          </p:nvCxnSpPr>
          <p:spPr>
            <a:xfrm>
              <a:off x="4472852" y="5052601"/>
              <a:ext cx="4176000" cy="0"/>
            </a:xfrm>
            <a:prstGeom prst="line">
              <a:avLst/>
            </a:prstGeom>
            <a:ln w="19050">
              <a:solidFill>
                <a:schemeClr val="bg1">
                  <a:lumMod val="50000"/>
                </a:schemeClr>
              </a:solidFill>
              <a:prstDash val="sysDot"/>
            </a:ln>
          </p:spPr>
          <p:style>
            <a:lnRef idx="1">
              <a:schemeClr val="accent1"/>
            </a:lnRef>
            <a:fillRef idx="0">
              <a:schemeClr val="accent1"/>
            </a:fillRef>
            <a:effectRef idx="0">
              <a:schemeClr val="accent1"/>
            </a:effectRef>
            <a:fontRef idx="minor">
              <a:schemeClr val="tx1"/>
            </a:fontRef>
          </p:style>
        </p:cxnSp>
      </p:grpSp>
      <p:grpSp>
        <p:nvGrpSpPr>
          <p:cNvPr id="42" name="Group 41">
            <a:extLst>
              <a:ext uri="{FF2B5EF4-FFF2-40B4-BE49-F238E27FC236}">
                <a16:creationId xmlns:a16="http://schemas.microsoft.com/office/drawing/2014/main" id="{C28DC7F9-DB79-43A4-BA24-7559102DADF3}"/>
              </a:ext>
            </a:extLst>
          </p:cNvPr>
          <p:cNvGrpSpPr/>
          <p:nvPr/>
        </p:nvGrpSpPr>
        <p:grpSpPr>
          <a:xfrm>
            <a:off x="255012" y="4075706"/>
            <a:ext cx="8458232" cy="653256"/>
            <a:chOff x="202624" y="5101729"/>
            <a:chExt cx="8458232" cy="653256"/>
          </a:xfrm>
        </p:grpSpPr>
        <p:grpSp>
          <p:nvGrpSpPr>
            <p:cNvPr id="36" name="Group 35">
              <a:extLst>
                <a:ext uri="{FF2B5EF4-FFF2-40B4-BE49-F238E27FC236}">
                  <a16:creationId xmlns:a16="http://schemas.microsoft.com/office/drawing/2014/main" id="{1170A8AF-CFBE-4E84-8671-6B2923AB2A10}"/>
                </a:ext>
              </a:extLst>
            </p:cNvPr>
            <p:cNvGrpSpPr>
              <a:grpSpLocks/>
            </p:cNvGrpSpPr>
            <p:nvPr/>
          </p:nvGrpSpPr>
          <p:grpSpPr>
            <a:xfrm>
              <a:off x="202624" y="5101729"/>
              <a:ext cx="4192274" cy="653256"/>
              <a:chOff x="202624" y="5420328"/>
              <a:chExt cx="4192274" cy="653256"/>
            </a:xfrm>
          </p:grpSpPr>
          <p:grpSp>
            <p:nvGrpSpPr>
              <p:cNvPr id="35" name="Group 34">
                <a:extLst>
                  <a:ext uri="{FF2B5EF4-FFF2-40B4-BE49-F238E27FC236}">
                    <a16:creationId xmlns:a16="http://schemas.microsoft.com/office/drawing/2014/main" id="{DA1D1801-96F3-43AF-9E53-6F941568ED23}"/>
                  </a:ext>
                </a:extLst>
              </p:cNvPr>
              <p:cNvGrpSpPr/>
              <p:nvPr/>
            </p:nvGrpSpPr>
            <p:grpSpPr>
              <a:xfrm>
                <a:off x="202624" y="5420328"/>
                <a:ext cx="1399752" cy="653256"/>
                <a:chOff x="202624" y="5420328"/>
                <a:chExt cx="1399752" cy="653256"/>
              </a:xfrm>
            </p:grpSpPr>
            <p:sp>
              <p:nvSpPr>
                <p:cNvPr id="7" name="Rectangle 6"/>
                <p:cNvSpPr>
                  <a:spLocks/>
                </p:cNvSpPr>
                <p:nvPr/>
              </p:nvSpPr>
              <p:spPr>
                <a:xfrm>
                  <a:off x="202624" y="5420328"/>
                  <a:ext cx="1399752" cy="65325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rtlCol="0" anchor="t">
                  <a:noAutofit/>
                </a:bodyPr>
                <a:lstStyle/>
                <a:p>
                  <a:r>
                    <a:rPr lang="en-US" sz="1100" b="1" dirty="0">
                      <a:solidFill>
                        <a:schemeClr val="bg1"/>
                      </a:solidFill>
                      <a:latin typeface="+mj-lt"/>
                    </a:rPr>
                    <a:t>Sales acceleration for a major steel player</a:t>
                  </a:r>
                  <a:endParaRPr lang="en-GB" sz="1100" b="1" dirty="0">
                    <a:solidFill>
                      <a:schemeClr val="bg1"/>
                    </a:solidFill>
                    <a:latin typeface="+mj-lt"/>
                  </a:endParaRPr>
                </a:p>
              </p:txBody>
            </p:sp>
            <p:pic>
              <p:nvPicPr>
                <p:cNvPr id="123" name="Picture 122"/>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1299204" y="5793702"/>
                  <a:ext cx="208800" cy="207753"/>
                </a:xfrm>
                <a:prstGeom prst="rect">
                  <a:avLst/>
                </a:prstGeom>
              </p:spPr>
            </p:pic>
          </p:grpSp>
          <p:sp>
            <p:nvSpPr>
              <p:cNvPr id="127" name="TextBox 126"/>
              <p:cNvSpPr txBox="1">
                <a:spLocks/>
              </p:cNvSpPr>
              <p:nvPr/>
            </p:nvSpPr>
            <p:spPr>
              <a:xfrm>
                <a:off x="1602375" y="5420328"/>
                <a:ext cx="2792523" cy="653256"/>
              </a:xfrm>
              <a:prstGeom prst="rect">
                <a:avLst/>
              </a:prstGeom>
              <a:solidFill>
                <a:schemeClr val="bg1">
                  <a:lumMod val="85000"/>
                </a:schemeClr>
              </a:solidFill>
              <a:ln>
                <a:noFill/>
              </a:ln>
            </p:spPr>
            <p:txBody>
              <a:bodyPr vert="horz" wrap="square" lIns="72009" tIns="72009" rIns="72009" bIns="72009" rtlCol="0" anchor="ctr" anchorCtr="0">
                <a:no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spcBef>
                    <a:spcPts val="400"/>
                  </a:spcBef>
                  <a:buClr>
                    <a:schemeClr val="tx2"/>
                  </a:buClr>
                  <a:buSzPct val="125000"/>
                  <a:defRPr/>
                </a:pPr>
                <a:r>
                  <a:rPr lang="en-US" sz="1100" dirty="0"/>
                  <a:t>Sales acceleration for a new steel product solutions to increase revenues by 5-6 times over 18 months</a:t>
                </a:r>
              </a:p>
            </p:txBody>
          </p:sp>
        </p:grpSp>
        <p:grpSp>
          <p:nvGrpSpPr>
            <p:cNvPr id="41" name="Group 40">
              <a:extLst>
                <a:ext uri="{FF2B5EF4-FFF2-40B4-BE49-F238E27FC236}">
                  <a16:creationId xmlns:a16="http://schemas.microsoft.com/office/drawing/2014/main" id="{31828ABD-D4C3-4FC3-A2C2-9121740AFADD}"/>
                </a:ext>
              </a:extLst>
            </p:cNvPr>
            <p:cNvGrpSpPr>
              <a:grpSpLocks/>
            </p:cNvGrpSpPr>
            <p:nvPr/>
          </p:nvGrpSpPr>
          <p:grpSpPr>
            <a:xfrm>
              <a:off x="4472851" y="5101729"/>
              <a:ext cx="4188005" cy="653256"/>
              <a:chOff x="4472851" y="5101729"/>
              <a:chExt cx="4188005" cy="653256"/>
            </a:xfrm>
          </p:grpSpPr>
          <p:grpSp>
            <p:nvGrpSpPr>
              <p:cNvPr id="40" name="Group 39">
                <a:extLst>
                  <a:ext uri="{FF2B5EF4-FFF2-40B4-BE49-F238E27FC236}">
                    <a16:creationId xmlns:a16="http://schemas.microsoft.com/office/drawing/2014/main" id="{DE2FE1E0-39F5-41DF-B8C7-2FF7C48EEFB9}"/>
                  </a:ext>
                </a:extLst>
              </p:cNvPr>
              <p:cNvGrpSpPr/>
              <p:nvPr/>
            </p:nvGrpSpPr>
            <p:grpSpPr>
              <a:xfrm>
                <a:off x="4472851" y="5101729"/>
                <a:ext cx="1395483" cy="653256"/>
                <a:chOff x="4472851" y="5101729"/>
                <a:chExt cx="1395483" cy="653256"/>
              </a:xfrm>
            </p:grpSpPr>
            <p:sp>
              <p:nvSpPr>
                <p:cNvPr id="71" name="Rectangle 70"/>
                <p:cNvSpPr>
                  <a:spLocks/>
                </p:cNvSpPr>
                <p:nvPr/>
              </p:nvSpPr>
              <p:spPr>
                <a:xfrm>
                  <a:off x="4472851" y="5101729"/>
                  <a:ext cx="1395483" cy="65325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rtlCol="0" anchor="t">
                  <a:noAutofit/>
                </a:bodyPr>
                <a:lstStyle/>
                <a:p>
                  <a:r>
                    <a:rPr lang="en-US" sz="1100" b="1" dirty="0">
                      <a:solidFill>
                        <a:schemeClr val="bg1"/>
                      </a:solidFill>
                      <a:latin typeface="+mj-lt"/>
                    </a:rPr>
                    <a:t>New business opportunities for a steel player</a:t>
                  </a:r>
                  <a:endParaRPr lang="en-GB" sz="1100" b="1" dirty="0">
                    <a:solidFill>
                      <a:schemeClr val="bg1"/>
                    </a:solidFill>
                    <a:latin typeface="+mj-lt"/>
                  </a:endParaRPr>
                </a:p>
              </p:txBody>
            </p:sp>
            <p:sp>
              <p:nvSpPr>
                <p:cNvPr id="105" name="Freeform 74"/>
                <p:cNvSpPr>
                  <a:spLocks noEditPoints="1"/>
                </p:cNvSpPr>
                <p:nvPr/>
              </p:nvSpPr>
              <p:spPr bwMode="auto">
                <a:xfrm>
                  <a:off x="5547765" y="5479481"/>
                  <a:ext cx="189890" cy="190494"/>
                </a:xfrm>
                <a:custGeom>
                  <a:avLst/>
                  <a:gdLst>
                    <a:gd name="T0" fmla="*/ 312 w 317"/>
                    <a:gd name="T1" fmla="*/ 277 h 320"/>
                    <a:gd name="T2" fmla="*/ 268 w 317"/>
                    <a:gd name="T3" fmla="*/ 233 h 320"/>
                    <a:gd name="T4" fmla="*/ 295 w 317"/>
                    <a:gd name="T5" fmla="*/ 148 h 320"/>
                    <a:gd name="T6" fmla="*/ 148 w 317"/>
                    <a:gd name="T7" fmla="*/ 0 h 320"/>
                    <a:gd name="T8" fmla="*/ 0 w 317"/>
                    <a:gd name="T9" fmla="*/ 148 h 320"/>
                    <a:gd name="T10" fmla="*/ 148 w 317"/>
                    <a:gd name="T11" fmla="*/ 295 h 320"/>
                    <a:gd name="T12" fmla="*/ 229 w 317"/>
                    <a:gd name="T13" fmla="*/ 271 h 320"/>
                    <a:gd name="T14" fmla="*/ 274 w 317"/>
                    <a:gd name="T15" fmla="*/ 315 h 320"/>
                    <a:gd name="T16" fmla="*/ 292 w 317"/>
                    <a:gd name="T17" fmla="*/ 315 h 320"/>
                    <a:gd name="T18" fmla="*/ 312 w 317"/>
                    <a:gd name="T19" fmla="*/ 295 h 320"/>
                    <a:gd name="T20" fmla="*/ 312 w 317"/>
                    <a:gd name="T21" fmla="*/ 277 h 320"/>
                    <a:gd name="T22" fmla="*/ 64 w 317"/>
                    <a:gd name="T23" fmla="*/ 64 h 320"/>
                    <a:gd name="T24" fmla="*/ 148 w 317"/>
                    <a:gd name="T25" fmla="*/ 30 h 320"/>
                    <a:gd name="T26" fmla="*/ 231 w 317"/>
                    <a:gd name="T27" fmla="*/ 64 h 320"/>
                    <a:gd name="T28" fmla="*/ 265 w 317"/>
                    <a:gd name="T29" fmla="*/ 148 h 320"/>
                    <a:gd name="T30" fmla="*/ 251 w 317"/>
                    <a:gd name="T31" fmla="*/ 205 h 320"/>
                    <a:gd name="T32" fmla="*/ 164 w 317"/>
                    <a:gd name="T33" fmla="*/ 186 h 320"/>
                    <a:gd name="T34" fmla="*/ 188 w 317"/>
                    <a:gd name="T35" fmla="*/ 116 h 320"/>
                    <a:gd name="T36" fmla="*/ 148 w 317"/>
                    <a:gd name="T37" fmla="*/ 75 h 320"/>
                    <a:gd name="T38" fmla="*/ 107 w 317"/>
                    <a:gd name="T39" fmla="*/ 116 h 320"/>
                    <a:gd name="T40" fmla="*/ 132 w 317"/>
                    <a:gd name="T41" fmla="*/ 186 h 320"/>
                    <a:gd name="T42" fmla="*/ 44 w 317"/>
                    <a:gd name="T43" fmla="*/ 204 h 320"/>
                    <a:gd name="T44" fmla="*/ 30 w 317"/>
                    <a:gd name="T45" fmla="*/ 148 h 320"/>
                    <a:gd name="T46" fmla="*/ 64 w 317"/>
                    <a:gd name="T47" fmla="*/ 64 h 320"/>
                    <a:gd name="T48" fmla="*/ 126 w 317"/>
                    <a:gd name="T49" fmla="*/ 116 h 320"/>
                    <a:gd name="T50" fmla="*/ 148 w 317"/>
                    <a:gd name="T51" fmla="*/ 95 h 320"/>
                    <a:gd name="T52" fmla="*/ 169 w 317"/>
                    <a:gd name="T53" fmla="*/ 116 h 320"/>
                    <a:gd name="T54" fmla="*/ 148 w 317"/>
                    <a:gd name="T55" fmla="*/ 138 h 320"/>
                    <a:gd name="T56" fmla="*/ 126 w 317"/>
                    <a:gd name="T57" fmla="*/ 116 h 320"/>
                    <a:gd name="T58" fmla="*/ 64 w 317"/>
                    <a:gd name="T59" fmla="*/ 231 h 320"/>
                    <a:gd name="T60" fmla="*/ 45 w 317"/>
                    <a:gd name="T61" fmla="*/ 205 h 320"/>
                    <a:gd name="T62" fmla="*/ 136 w 317"/>
                    <a:gd name="T63" fmla="*/ 195 h 320"/>
                    <a:gd name="T64" fmla="*/ 148 w 317"/>
                    <a:gd name="T65" fmla="*/ 221 h 320"/>
                    <a:gd name="T66" fmla="*/ 160 w 317"/>
                    <a:gd name="T67" fmla="*/ 195 h 320"/>
                    <a:gd name="T68" fmla="*/ 250 w 317"/>
                    <a:gd name="T69" fmla="*/ 206 h 320"/>
                    <a:gd name="T70" fmla="*/ 231 w 317"/>
                    <a:gd name="T71" fmla="*/ 231 h 320"/>
                    <a:gd name="T72" fmla="*/ 148 w 317"/>
                    <a:gd name="T73" fmla="*/ 265 h 320"/>
                    <a:gd name="T74" fmla="*/ 64 w 317"/>
                    <a:gd name="T75" fmla="*/ 231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17" h="320">
                      <a:moveTo>
                        <a:pt x="312" y="277"/>
                      </a:moveTo>
                      <a:cubicBezTo>
                        <a:pt x="268" y="233"/>
                        <a:pt x="268" y="233"/>
                        <a:pt x="268" y="233"/>
                      </a:cubicBezTo>
                      <a:cubicBezTo>
                        <a:pt x="285" y="209"/>
                        <a:pt x="295" y="179"/>
                        <a:pt x="295" y="148"/>
                      </a:cubicBezTo>
                      <a:cubicBezTo>
                        <a:pt x="295" y="66"/>
                        <a:pt x="229" y="0"/>
                        <a:pt x="148" y="0"/>
                      </a:cubicBezTo>
                      <a:cubicBezTo>
                        <a:pt x="66" y="0"/>
                        <a:pt x="0" y="66"/>
                        <a:pt x="0" y="148"/>
                      </a:cubicBezTo>
                      <a:cubicBezTo>
                        <a:pt x="0" y="229"/>
                        <a:pt x="66" y="295"/>
                        <a:pt x="148" y="295"/>
                      </a:cubicBezTo>
                      <a:cubicBezTo>
                        <a:pt x="178" y="295"/>
                        <a:pt x="206" y="286"/>
                        <a:pt x="229" y="271"/>
                      </a:cubicBezTo>
                      <a:cubicBezTo>
                        <a:pt x="274" y="315"/>
                        <a:pt x="274" y="315"/>
                        <a:pt x="274" y="315"/>
                      </a:cubicBezTo>
                      <a:cubicBezTo>
                        <a:pt x="279" y="320"/>
                        <a:pt x="287" y="320"/>
                        <a:pt x="292" y="315"/>
                      </a:cubicBezTo>
                      <a:cubicBezTo>
                        <a:pt x="312" y="295"/>
                        <a:pt x="312" y="295"/>
                        <a:pt x="312" y="295"/>
                      </a:cubicBezTo>
                      <a:cubicBezTo>
                        <a:pt x="317" y="290"/>
                        <a:pt x="317" y="282"/>
                        <a:pt x="312" y="277"/>
                      </a:cubicBezTo>
                      <a:close/>
                      <a:moveTo>
                        <a:pt x="64" y="64"/>
                      </a:moveTo>
                      <a:cubicBezTo>
                        <a:pt x="87" y="42"/>
                        <a:pt x="116" y="30"/>
                        <a:pt x="148" y="30"/>
                      </a:cubicBezTo>
                      <a:cubicBezTo>
                        <a:pt x="179" y="30"/>
                        <a:pt x="209" y="42"/>
                        <a:pt x="231" y="64"/>
                      </a:cubicBezTo>
                      <a:cubicBezTo>
                        <a:pt x="253" y="87"/>
                        <a:pt x="265" y="116"/>
                        <a:pt x="265" y="148"/>
                      </a:cubicBezTo>
                      <a:cubicBezTo>
                        <a:pt x="265" y="168"/>
                        <a:pt x="260" y="187"/>
                        <a:pt x="251" y="205"/>
                      </a:cubicBezTo>
                      <a:cubicBezTo>
                        <a:pt x="227" y="195"/>
                        <a:pt x="197" y="188"/>
                        <a:pt x="164" y="186"/>
                      </a:cubicBezTo>
                      <a:cubicBezTo>
                        <a:pt x="175" y="161"/>
                        <a:pt x="188" y="128"/>
                        <a:pt x="188" y="116"/>
                      </a:cubicBezTo>
                      <a:cubicBezTo>
                        <a:pt x="188" y="93"/>
                        <a:pt x="170" y="75"/>
                        <a:pt x="148" y="75"/>
                      </a:cubicBezTo>
                      <a:cubicBezTo>
                        <a:pt x="125" y="75"/>
                        <a:pt x="107" y="93"/>
                        <a:pt x="107" y="116"/>
                      </a:cubicBezTo>
                      <a:cubicBezTo>
                        <a:pt x="107" y="128"/>
                        <a:pt x="120" y="161"/>
                        <a:pt x="132" y="186"/>
                      </a:cubicBezTo>
                      <a:cubicBezTo>
                        <a:pt x="98" y="188"/>
                        <a:pt x="68" y="194"/>
                        <a:pt x="44" y="204"/>
                      </a:cubicBezTo>
                      <a:cubicBezTo>
                        <a:pt x="35" y="187"/>
                        <a:pt x="30" y="168"/>
                        <a:pt x="30" y="148"/>
                      </a:cubicBezTo>
                      <a:cubicBezTo>
                        <a:pt x="30" y="116"/>
                        <a:pt x="42" y="87"/>
                        <a:pt x="64" y="64"/>
                      </a:cubicBezTo>
                      <a:close/>
                      <a:moveTo>
                        <a:pt x="126" y="116"/>
                      </a:moveTo>
                      <a:cubicBezTo>
                        <a:pt x="126" y="104"/>
                        <a:pt x="136" y="95"/>
                        <a:pt x="148" y="95"/>
                      </a:cubicBezTo>
                      <a:cubicBezTo>
                        <a:pt x="160" y="95"/>
                        <a:pt x="169" y="104"/>
                        <a:pt x="169" y="116"/>
                      </a:cubicBezTo>
                      <a:cubicBezTo>
                        <a:pt x="169" y="128"/>
                        <a:pt x="160" y="138"/>
                        <a:pt x="148" y="138"/>
                      </a:cubicBezTo>
                      <a:cubicBezTo>
                        <a:pt x="136" y="138"/>
                        <a:pt x="126" y="128"/>
                        <a:pt x="126" y="116"/>
                      </a:cubicBezTo>
                      <a:close/>
                      <a:moveTo>
                        <a:pt x="64" y="231"/>
                      </a:moveTo>
                      <a:cubicBezTo>
                        <a:pt x="57" y="223"/>
                        <a:pt x="50" y="214"/>
                        <a:pt x="45" y="205"/>
                      </a:cubicBezTo>
                      <a:cubicBezTo>
                        <a:pt x="72" y="199"/>
                        <a:pt x="103" y="195"/>
                        <a:pt x="136" y="195"/>
                      </a:cubicBezTo>
                      <a:cubicBezTo>
                        <a:pt x="142" y="210"/>
                        <a:pt x="148" y="221"/>
                        <a:pt x="148" y="221"/>
                      </a:cubicBezTo>
                      <a:cubicBezTo>
                        <a:pt x="148" y="221"/>
                        <a:pt x="153" y="210"/>
                        <a:pt x="160" y="195"/>
                      </a:cubicBezTo>
                      <a:cubicBezTo>
                        <a:pt x="193" y="196"/>
                        <a:pt x="224" y="200"/>
                        <a:pt x="250" y="206"/>
                      </a:cubicBezTo>
                      <a:cubicBezTo>
                        <a:pt x="245" y="215"/>
                        <a:pt x="239" y="223"/>
                        <a:pt x="231" y="231"/>
                      </a:cubicBezTo>
                      <a:cubicBezTo>
                        <a:pt x="209" y="253"/>
                        <a:pt x="179" y="265"/>
                        <a:pt x="148" y="265"/>
                      </a:cubicBezTo>
                      <a:cubicBezTo>
                        <a:pt x="116" y="265"/>
                        <a:pt x="87" y="253"/>
                        <a:pt x="64" y="231"/>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sz="1100"/>
                </a:p>
              </p:txBody>
            </p:sp>
          </p:grpSp>
          <p:sp>
            <p:nvSpPr>
              <p:cNvPr id="128" name="TextBox 127"/>
              <p:cNvSpPr txBox="1">
                <a:spLocks/>
              </p:cNvSpPr>
              <p:nvPr/>
            </p:nvSpPr>
            <p:spPr>
              <a:xfrm>
                <a:off x="5868333" y="5101729"/>
                <a:ext cx="2792523" cy="653256"/>
              </a:xfrm>
              <a:prstGeom prst="rect">
                <a:avLst/>
              </a:prstGeom>
              <a:solidFill>
                <a:schemeClr val="bg1">
                  <a:lumMod val="85000"/>
                </a:schemeClr>
              </a:solidFill>
              <a:ln>
                <a:noFill/>
              </a:ln>
            </p:spPr>
            <p:txBody>
              <a:bodyPr vert="horz" wrap="square" lIns="72009" tIns="72009" rIns="72009" bIns="72009" rtlCol="0" anchor="ctr" anchorCtr="0">
                <a:sp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spcBef>
                    <a:spcPts val="400"/>
                  </a:spcBef>
                  <a:buClr>
                    <a:schemeClr val="tx2"/>
                  </a:buClr>
                  <a:buSzPct val="125000"/>
                  <a:defRPr/>
                </a:pPr>
                <a:r>
                  <a:rPr lang="en-US" sz="1100" dirty="0"/>
                  <a:t>Identifying and growing new business opportunities for a major steel player in India</a:t>
                </a:r>
              </a:p>
            </p:txBody>
          </p:sp>
        </p:grpSp>
      </p:grpSp>
      <p:grpSp>
        <p:nvGrpSpPr>
          <p:cNvPr id="50" name="Group 49">
            <a:extLst>
              <a:ext uri="{FF2B5EF4-FFF2-40B4-BE49-F238E27FC236}">
                <a16:creationId xmlns:a16="http://schemas.microsoft.com/office/drawing/2014/main" id="{CDEA085A-69DE-48F6-85C1-37E0D6C96428}"/>
              </a:ext>
            </a:extLst>
          </p:cNvPr>
          <p:cNvGrpSpPr/>
          <p:nvPr/>
        </p:nvGrpSpPr>
        <p:grpSpPr>
          <a:xfrm>
            <a:off x="261905" y="4820913"/>
            <a:ext cx="8446228" cy="0"/>
            <a:chOff x="209517" y="6441311"/>
            <a:chExt cx="8446228" cy="0"/>
          </a:xfrm>
        </p:grpSpPr>
        <p:cxnSp>
          <p:nvCxnSpPr>
            <p:cNvPr id="144" name="Straight Connector 143"/>
            <p:cNvCxnSpPr/>
            <p:nvPr/>
          </p:nvCxnSpPr>
          <p:spPr>
            <a:xfrm>
              <a:off x="209517" y="6441311"/>
              <a:ext cx="4176000" cy="0"/>
            </a:xfrm>
            <a:prstGeom prst="line">
              <a:avLst/>
            </a:prstGeom>
            <a:ln w="19050">
              <a:solidFill>
                <a:schemeClr val="bg1">
                  <a:lumMod val="5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45" name="Straight Connector 144"/>
            <p:cNvCxnSpPr/>
            <p:nvPr/>
          </p:nvCxnSpPr>
          <p:spPr>
            <a:xfrm>
              <a:off x="4479745" y="6441311"/>
              <a:ext cx="4176000" cy="0"/>
            </a:xfrm>
            <a:prstGeom prst="line">
              <a:avLst/>
            </a:prstGeom>
            <a:ln w="19050">
              <a:solidFill>
                <a:schemeClr val="bg1">
                  <a:lumMod val="50000"/>
                </a:schemeClr>
              </a:solidFill>
              <a:prstDash val="sysDot"/>
            </a:ln>
          </p:spPr>
          <p:style>
            <a:lnRef idx="1">
              <a:schemeClr val="accent1"/>
            </a:lnRef>
            <a:fillRef idx="0">
              <a:schemeClr val="accent1"/>
            </a:fillRef>
            <a:effectRef idx="0">
              <a:schemeClr val="accent1"/>
            </a:effectRef>
            <a:fontRef idx="minor">
              <a:schemeClr val="tx1"/>
            </a:fontRef>
          </p:style>
        </p:cxnSp>
      </p:grpSp>
      <p:grpSp>
        <p:nvGrpSpPr>
          <p:cNvPr id="32" name="Group 31">
            <a:extLst>
              <a:ext uri="{FF2B5EF4-FFF2-40B4-BE49-F238E27FC236}">
                <a16:creationId xmlns:a16="http://schemas.microsoft.com/office/drawing/2014/main" id="{15CE2328-8E4C-4E9E-B003-EEFEACD69EFB}"/>
              </a:ext>
            </a:extLst>
          </p:cNvPr>
          <p:cNvGrpSpPr/>
          <p:nvPr/>
        </p:nvGrpSpPr>
        <p:grpSpPr>
          <a:xfrm>
            <a:off x="261905" y="3238548"/>
            <a:ext cx="8458232" cy="653256"/>
            <a:chOff x="209517" y="3707339"/>
            <a:chExt cx="8458232" cy="653256"/>
          </a:xfrm>
        </p:grpSpPr>
        <p:grpSp>
          <p:nvGrpSpPr>
            <p:cNvPr id="27" name="Group 26">
              <a:extLst>
                <a:ext uri="{FF2B5EF4-FFF2-40B4-BE49-F238E27FC236}">
                  <a16:creationId xmlns:a16="http://schemas.microsoft.com/office/drawing/2014/main" id="{3539DB7A-396B-4D44-B886-30DF1108B609}"/>
                </a:ext>
              </a:extLst>
            </p:cNvPr>
            <p:cNvGrpSpPr>
              <a:grpSpLocks/>
            </p:cNvGrpSpPr>
            <p:nvPr/>
          </p:nvGrpSpPr>
          <p:grpSpPr>
            <a:xfrm>
              <a:off x="4479744" y="3707339"/>
              <a:ext cx="4188005" cy="653256"/>
              <a:chOff x="4479744" y="3707339"/>
              <a:chExt cx="4188005" cy="653256"/>
            </a:xfrm>
          </p:grpSpPr>
          <p:sp>
            <p:nvSpPr>
              <p:cNvPr id="151" name="TextBox 150"/>
              <p:cNvSpPr txBox="1">
                <a:spLocks/>
              </p:cNvSpPr>
              <p:nvPr/>
            </p:nvSpPr>
            <p:spPr>
              <a:xfrm>
                <a:off x="5875226" y="3707339"/>
                <a:ext cx="2792523" cy="653256"/>
              </a:xfrm>
              <a:prstGeom prst="rect">
                <a:avLst/>
              </a:prstGeom>
              <a:solidFill>
                <a:schemeClr val="bg1">
                  <a:lumMod val="85000"/>
                </a:schemeClr>
              </a:solidFill>
              <a:ln>
                <a:noFill/>
              </a:ln>
            </p:spPr>
            <p:txBody>
              <a:bodyPr vert="horz" wrap="square" lIns="72009" tIns="72009" rIns="72009" bIns="72009" rtlCol="0" anchor="ctr" anchorCtr="0">
                <a:no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spcBef>
                    <a:spcPts val="400"/>
                  </a:spcBef>
                  <a:buClr>
                    <a:schemeClr val="tx2"/>
                  </a:buClr>
                  <a:buSzPct val="125000"/>
                  <a:defRPr/>
                </a:pPr>
                <a:r>
                  <a:rPr lang="en-US" sz="1100" dirty="0"/>
                  <a:t>Supported </a:t>
                </a:r>
                <a:r>
                  <a:rPr lang="en-US" sz="1100" dirty="0" err="1"/>
                  <a:t>CoC</a:t>
                </a:r>
                <a:r>
                  <a:rPr lang="en-US" sz="1100" dirty="0"/>
                  <a:t> in framing evaluation criteria and analyzing resolution plans for another steel asset under NCLT process</a:t>
                </a:r>
              </a:p>
            </p:txBody>
          </p:sp>
          <p:grpSp>
            <p:nvGrpSpPr>
              <p:cNvPr id="26" name="Group 25">
                <a:extLst>
                  <a:ext uri="{FF2B5EF4-FFF2-40B4-BE49-F238E27FC236}">
                    <a16:creationId xmlns:a16="http://schemas.microsoft.com/office/drawing/2014/main" id="{FD83B273-03C7-4DB6-B58C-C27670957CA1}"/>
                  </a:ext>
                </a:extLst>
              </p:cNvPr>
              <p:cNvGrpSpPr>
                <a:grpSpLocks/>
              </p:cNvGrpSpPr>
              <p:nvPr/>
            </p:nvGrpSpPr>
            <p:grpSpPr>
              <a:xfrm>
                <a:off x="4479744" y="3707339"/>
                <a:ext cx="1395483" cy="653256"/>
                <a:chOff x="4479744" y="3707339"/>
                <a:chExt cx="1395483" cy="653256"/>
              </a:xfrm>
            </p:grpSpPr>
            <p:sp>
              <p:nvSpPr>
                <p:cNvPr id="147" name="Rectangle 146"/>
                <p:cNvSpPr>
                  <a:spLocks/>
                </p:cNvSpPr>
                <p:nvPr/>
              </p:nvSpPr>
              <p:spPr>
                <a:xfrm>
                  <a:off x="4479744" y="3707339"/>
                  <a:ext cx="1395483" cy="653256"/>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rtlCol="0" anchor="t">
                  <a:noAutofit/>
                </a:bodyPr>
                <a:lstStyle/>
                <a:p>
                  <a:r>
                    <a:rPr lang="en-US" sz="1100" b="1" dirty="0">
                      <a:solidFill>
                        <a:schemeClr val="bg1"/>
                      </a:solidFill>
                      <a:latin typeface="+mj-lt"/>
                    </a:rPr>
                    <a:t>Evaluation advisor to </a:t>
                  </a:r>
                  <a:r>
                    <a:rPr lang="en-US" sz="1100" b="1" dirty="0" err="1">
                      <a:solidFill>
                        <a:schemeClr val="bg1"/>
                      </a:solidFill>
                      <a:latin typeface="+mj-lt"/>
                    </a:rPr>
                    <a:t>CoC</a:t>
                  </a:r>
                  <a:r>
                    <a:rPr lang="en-US" sz="1100" b="1" dirty="0">
                      <a:solidFill>
                        <a:schemeClr val="bg1"/>
                      </a:solidFill>
                      <a:latin typeface="+mj-lt"/>
                    </a:rPr>
                    <a:t> for steel asset in NCLT</a:t>
                  </a:r>
                  <a:endParaRPr lang="en-GB" sz="1100" b="1" dirty="0">
                    <a:solidFill>
                      <a:schemeClr val="bg1"/>
                    </a:solidFill>
                    <a:latin typeface="+mj-lt"/>
                  </a:endParaRPr>
                </a:p>
              </p:txBody>
            </p:sp>
            <p:pic>
              <p:nvPicPr>
                <p:cNvPr id="28" name="Picture 27">
                  <a:extLst>
                    <a:ext uri="{FF2B5EF4-FFF2-40B4-BE49-F238E27FC236}">
                      <a16:creationId xmlns:a16="http://schemas.microsoft.com/office/drawing/2014/main" id="{8A6BB06B-DB0E-4B43-9387-7830EFC2CFE4}"/>
                    </a:ext>
                  </a:extLst>
                </p:cNvPr>
                <p:cNvPicPr>
                  <a:picLocks/>
                </p:cNvPicPr>
                <p:nvPr/>
              </p:nvPicPr>
              <p:blipFill>
                <a:blip r:embed="rId9" cstate="email">
                  <a:extLst>
                    <a:ext uri="{28A0092B-C50C-407E-A947-70E740481C1C}">
                      <a14:useLocalDpi xmlns:a14="http://schemas.microsoft.com/office/drawing/2010/main"/>
                    </a:ext>
                  </a:extLst>
                </a:blip>
                <a:stretch>
                  <a:fillRect/>
                </a:stretch>
              </p:blipFill>
              <p:spPr>
                <a:xfrm>
                  <a:off x="5489928" y="4043319"/>
                  <a:ext cx="372441" cy="279480"/>
                </a:xfrm>
                <a:prstGeom prst="rect">
                  <a:avLst/>
                </a:prstGeom>
              </p:spPr>
            </p:pic>
          </p:grpSp>
        </p:grpSp>
        <p:grpSp>
          <p:nvGrpSpPr>
            <p:cNvPr id="31" name="Group 30">
              <a:extLst>
                <a:ext uri="{FF2B5EF4-FFF2-40B4-BE49-F238E27FC236}">
                  <a16:creationId xmlns:a16="http://schemas.microsoft.com/office/drawing/2014/main" id="{C25A8FD7-9CBC-4C9B-8B33-551A56E71172}"/>
                </a:ext>
              </a:extLst>
            </p:cNvPr>
            <p:cNvGrpSpPr>
              <a:grpSpLocks/>
            </p:cNvGrpSpPr>
            <p:nvPr/>
          </p:nvGrpSpPr>
          <p:grpSpPr>
            <a:xfrm>
              <a:off x="209517" y="3707339"/>
              <a:ext cx="4192274" cy="653256"/>
              <a:chOff x="209517" y="3707339"/>
              <a:chExt cx="4192274" cy="653256"/>
            </a:xfrm>
          </p:grpSpPr>
          <p:sp>
            <p:nvSpPr>
              <p:cNvPr id="150" name="TextBox 149"/>
              <p:cNvSpPr txBox="1">
                <a:spLocks/>
              </p:cNvSpPr>
              <p:nvPr/>
            </p:nvSpPr>
            <p:spPr>
              <a:xfrm>
                <a:off x="1609268" y="3707339"/>
                <a:ext cx="2792523" cy="653256"/>
              </a:xfrm>
              <a:prstGeom prst="rect">
                <a:avLst/>
              </a:prstGeom>
              <a:solidFill>
                <a:schemeClr val="bg1">
                  <a:lumMod val="85000"/>
                </a:schemeClr>
              </a:solidFill>
              <a:ln>
                <a:noFill/>
              </a:ln>
            </p:spPr>
            <p:txBody>
              <a:bodyPr vert="horz" wrap="square" lIns="72009" tIns="72009" rIns="72009" bIns="72009" rtlCol="0" anchor="ctr" anchorCtr="0">
                <a:sp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spcBef>
                    <a:spcPts val="400"/>
                  </a:spcBef>
                  <a:buClr>
                    <a:schemeClr val="tx2"/>
                  </a:buClr>
                  <a:buSzPct val="125000"/>
                  <a:defRPr/>
                </a:pPr>
                <a:r>
                  <a:rPr lang="en-US" sz="1100" dirty="0"/>
                  <a:t>Drafted the qualitative portion of the resolution plan for a global player bidding for a steel asset under NCLT process</a:t>
                </a:r>
              </a:p>
            </p:txBody>
          </p:sp>
          <p:grpSp>
            <p:nvGrpSpPr>
              <p:cNvPr id="30" name="Group 29">
                <a:extLst>
                  <a:ext uri="{FF2B5EF4-FFF2-40B4-BE49-F238E27FC236}">
                    <a16:creationId xmlns:a16="http://schemas.microsoft.com/office/drawing/2014/main" id="{69046328-C918-479A-9A47-EE411CDB3D93}"/>
                  </a:ext>
                </a:extLst>
              </p:cNvPr>
              <p:cNvGrpSpPr/>
              <p:nvPr/>
            </p:nvGrpSpPr>
            <p:grpSpPr>
              <a:xfrm>
                <a:off x="209517" y="3707339"/>
                <a:ext cx="1399752" cy="653256"/>
                <a:chOff x="209517" y="3707339"/>
                <a:chExt cx="1399752" cy="653256"/>
              </a:xfrm>
            </p:grpSpPr>
            <p:sp>
              <p:nvSpPr>
                <p:cNvPr id="146" name="Rectangle 145"/>
                <p:cNvSpPr>
                  <a:spLocks/>
                </p:cNvSpPr>
                <p:nvPr/>
              </p:nvSpPr>
              <p:spPr>
                <a:xfrm>
                  <a:off x="209517" y="3707339"/>
                  <a:ext cx="1399752" cy="653256"/>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rIns="0" rtlCol="0" anchor="t">
                  <a:noAutofit/>
                </a:bodyPr>
                <a:lstStyle/>
                <a:p>
                  <a:r>
                    <a:rPr lang="en-US" sz="1100" b="1" dirty="0">
                      <a:solidFill>
                        <a:schemeClr val="bg1"/>
                      </a:solidFill>
                      <a:latin typeface="+mj-lt"/>
                    </a:rPr>
                    <a:t>Resolution plan for a steel asset in NCLT</a:t>
                  </a:r>
                  <a:endParaRPr lang="en-GB" sz="1100" b="1" dirty="0">
                    <a:solidFill>
                      <a:schemeClr val="bg1"/>
                    </a:solidFill>
                    <a:latin typeface="+mj-lt"/>
                  </a:endParaRPr>
                </a:p>
              </p:txBody>
            </p:sp>
            <p:pic>
              <p:nvPicPr>
                <p:cNvPr id="29" name="Picture 28">
                  <a:extLst>
                    <a:ext uri="{FF2B5EF4-FFF2-40B4-BE49-F238E27FC236}">
                      <a16:creationId xmlns:a16="http://schemas.microsoft.com/office/drawing/2014/main" id="{C7D7B976-D1DD-45B6-8014-F342DFB35326}"/>
                    </a:ext>
                  </a:extLst>
                </p:cNvPr>
                <p:cNvPicPr>
                  <a:picLocks/>
                </p:cNvPicPr>
                <p:nvPr/>
              </p:nvPicPr>
              <p:blipFill>
                <a:blip r:embed="rId10" cstate="email">
                  <a:extLst>
                    <a:ext uri="{28A0092B-C50C-407E-A947-70E740481C1C}">
                      <a14:useLocalDpi xmlns:a14="http://schemas.microsoft.com/office/drawing/2010/main"/>
                    </a:ext>
                  </a:extLst>
                </a:blip>
                <a:stretch>
                  <a:fillRect/>
                </a:stretch>
              </p:blipFill>
              <p:spPr>
                <a:xfrm>
                  <a:off x="1261755" y="3993272"/>
                  <a:ext cx="253664" cy="253664"/>
                </a:xfrm>
                <a:prstGeom prst="rect">
                  <a:avLst/>
                </a:prstGeom>
              </p:spPr>
            </p:pic>
          </p:grpSp>
        </p:grpSp>
      </p:grpSp>
      <p:grpSp>
        <p:nvGrpSpPr>
          <p:cNvPr id="17" name="Group 16">
            <a:extLst>
              <a:ext uri="{FF2B5EF4-FFF2-40B4-BE49-F238E27FC236}">
                <a16:creationId xmlns:a16="http://schemas.microsoft.com/office/drawing/2014/main" id="{A8DCFE98-A86B-42A4-920E-AFBD730B4485}"/>
              </a:ext>
            </a:extLst>
          </p:cNvPr>
          <p:cNvGrpSpPr/>
          <p:nvPr/>
        </p:nvGrpSpPr>
        <p:grpSpPr>
          <a:xfrm>
            <a:off x="255012" y="1109492"/>
            <a:ext cx="8471846" cy="938719"/>
            <a:chOff x="202624" y="913024"/>
            <a:chExt cx="8471846" cy="938719"/>
          </a:xfrm>
        </p:grpSpPr>
        <p:grpSp>
          <p:nvGrpSpPr>
            <p:cNvPr id="13" name="Group 12">
              <a:extLst>
                <a:ext uri="{FF2B5EF4-FFF2-40B4-BE49-F238E27FC236}">
                  <a16:creationId xmlns:a16="http://schemas.microsoft.com/office/drawing/2014/main" id="{32A3203F-3854-4163-AE7F-00B5F51D717C}"/>
                </a:ext>
              </a:extLst>
            </p:cNvPr>
            <p:cNvGrpSpPr>
              <a:grpSpLocks/>
            </p:cNvGrpSpPr>
            <p:nvPr/>
          </p:nvGrpSpPr>
          <p:grpSpPr>
            <a:xfrm>
              <a:off x="202624" y="913024"/>
              <a:ext cx="4192274" cy="938719"/>
              <a:chOff x="202624" y="905740"/>
              <a:chExt cx="4192274" cy="938719"/>
            </a:xfrm>
          </p:grpSpPr>
          <p:sp>
            <p:nvSpPr>
              <p:cNvPr id="125" name="TextBox 124"/>
              <p:cNvSpPr txBox="1">
                <a:spLocks/>
              </p:cNvSpPr>
              <p:nvPr/>
            </p:nvSpPr>
            <p:spPr>
              <a:xfrm>
                <a:off x="1602375" y="905740"/>
                <a:ext cx="2792523" cy="938719"/>
              </a:xfrm>
              <a:prstGeom prst="rect">
                <a:avLst/>
              </a:prstGeom>
              <a:solidFill>
                <a:schemeClr val="bg1">
                  <a:lumMod val="85000"/>
                </a:schemeClr>
              </a:solidFill>
              <a:ln>
                <a:noFill/>
              </a:ln>
            </p:spPr>
            <p:txBody>
              <a:bodyPr vert="horz" wrap="square" lIns="72009" tIns="72009" rIns="72009" bIns="72009" rtlCol="0" anchor="ctr" anchorCtr="0">
                <a:no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spcBef>
                    <a:spcPts val="400"/>
                  </a:spcBef>
                  <a:buClr>
                    <a:schemeClr val="tx2"/>
                  </a:buClr>
                  <a:buSzPct val="125000"/>
                  <a:defRPr/>
                </a:pPr>
                <a:r>
                  <a:rPr lang="en-US" sz="1100" dirty="0"/>
                  <a:t>Implementing a 12-15% EBITDA improvement program, across sales and marketing, steel operations, procurement and logistics</a:t>
                </a:r>
              </a:p>
            </p:txBody>
          </p:sp>
          <p:grpSp>
            <p:nvGrpSpPr>
              <p:cNvPr id="2" name="Group 1">
                <a:extLst>
                  <a:ext uri="{FF2B5EF4-FFF2-40B4-BE49-F238E27FC236}">
                    <a16:creationId xmlns:a16="http://schemas.microsoft.com/office/drawing/2014/main" id="{60977756-73A8-4D3A-944C-B876663E2847}"/>
                  </a:ext>
                </a:extLst>
              </p:cNvPr>
              <p:cNvGrpSpPr>
                <a:grpSpLocks/>
              </p:cNvGrpSpPr>
              <p:nvPr/>
            </p:nvGrpSpPr>
            <p:grpSpPr>
              <a:xfrm>
                <a:off x="202624" y="905740"/>
                <a:ext cx="1399752" cy="938719"/>
                <a:chOff x="202624" y="905740"/>
                <a:chExt cx="1399752" cy="938719"/>
              </a:xfrm>
            </p:grpSpPr>
            <p:sp>
              <p:nvSpPr>
                <p:cNvPr id="5" name="Rectangle 4"/>
                <p:cNvSpPr/>
                <p:nvPr/>
              </p:nvSpPr>
              <p:spPr>
                <a:xfrm>
                  <a:off x="202624" y="905740"/>
                  <a:ext cx="1399752" cy="938719"/>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rtlCol="0" anchor="t">
                  <a:noAutofit/>
                </a:bodyPr>
                <a:lstStyle/>
                <a:p>
                  <a:pPr>
                    <a:spcBef>
                      <a:spcPts val="400"/>
                    </a:spcBef>
                  </a:pPr>
                  <a:r>
                    <a:rPr lang="en-US" sz="1100" b="1" dirty="0">
                      <a:solidFill>
                        <a:schemeClr val="bg1"/>
                      </a:solidFill>
                      <a:latin typeface="+mj-lt"/>
                    </a:rPr>
                    <a:t>Operations transformation of a steel manufacturer </a:t>
                  </a:r>
                  <a:br>
                    <a:rPr lang="en-US" sz="1100" b="1" dirty="0">
                      <a:solidFill>
                        <a:schemeClr val="bg1"/>
                      </a:solidFill>
                      <a:latin typeface="+mj-lt"/>
                    </a:rPr>
                  </a:br>
                  <a:r>
                    <a:rPr lang="en-US" sz="1100" b="1" dirty="0">
                      <a:solidFill>
                        <a:schemeClr val="bg1"/>
                      </a:solidFill>
                      <a:latin typeface="+mj-lt"/>
                    </a:rPr>
                    <a:t>in North India</a:t>
                  </a:r>
                  <a:endParaRPr lang="en-GB" sz="1100" b="1" dirty="0">
                    <a:solidFill>
                      <a:schemeClr val="bg1"/>
                    </a:solidFill>
                    <a:latin typeface="+mj-lt"/>
                  </a:endParaRPr>
                </a:p>
              </p:txBody>
            </p:sp>
            <p:grpSp>
              <p:nvGrpSpPr>
                <p:cNvPr id="72" name="Group 42"/>
                <p:cNvGrpSpPr>
                  <a:grpSpLocks noChangeAspect="1"/>
                </p:cNvGrpSpPr>
                <p:nvPr/>
              </p:nvGrpSpPr>
              <p:grpSpPr bwMode="auto">
                <a:xfrm>
                  <a:off x="1221801" y="1376364"/>
                  <a:ext cx="309652" cy="320388"/>
                  <a:chOff x="423" y="2304"/>
                  <a:chExt cx="351" cy="365"/>
                </a:xfrm>
                <a:solidFill>
                  <a:schemeClr val="bg1"/>
                </a:solidFill>
              </p:grpSpPr>
              <p:sp>
                <p:nvSpPr>
                  <p:cNvPr id="73" name="Freeform 43"/>
                  <p:cNvSpPr>
                    <a:spLocks/>
                  </p:cNvSpPr>
                  <p:nvPr/>
                </p:nvSpPr>
                <p:spPr bwMode="auto">
                  <a:xfrm>
                    <a:off x="423" y="2304"/>
                    <a:ext cx="351" cy="292"/>
                  </a:xfrm>
                  <a:custGeom>
                    <a:avLst/>
                    <a:gdLst>
                      <a:gd name="T0" fmla="*/ 370 w 370"/>
                      <a:gd name="T1" fmla="*/ 81 h 308"/>
                      <a:gd name="T2" fmla="*/ 323 w 370"/>
                      <a:gd name="T3" fmla="*/ 41 h 308"/>
                      <a:gd name="T4" fmla="*/ 276 w 370"/>
                      <a:gd name="T5" fmla="*/ 0 h 308"/>
                      <a:gd name="T6" fmla="*/ 229 w 370"/>
                      <a:gd name="T7" fmla="*/ 41 h 308"/>
                      <a:gd name="T8" fmla="*/ 182 w 370"/>
                      <a:gd name="T9" fmla="*/ 81 h 308"/>
                      <a:gd name="T10" fmla="*/ 234 w 370"/>
                      <a:gd name="T11" fmla="*/ 81 h 308"/>
                      <a:gd name="T12" fmla="*/ 7 w 370"/>
                      <a:gd name="T13" fmla="*/ 253 h 308"/>
                      <a:gd name="T14" fmla="*/ 5 w 370"/>
                      <a:gd name="T15" fmla="*/ 260 h 308"/>
                      <a:gd name="T16" fmla="*/ 327 w 370"/>
                      <a:gd name="T17" fmla="*/ 81 h 308"/>
                      <a:gd name="T18" fmla="*/ 370 w 370"/>
                      <a:gd name="T19" fmla="*/ 81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70" h="308">
                        <a:moveTo>
                          <a:pt x="370" y="81"/>
                        </a:moveTo>
                        <a:cubicBezTo>
                          <a:pt x="323" y="41"/>
                          <a:pt x="323" y="41"/>
                          <a:pt x="323" y="41"/>
                        </a:cubicBezTo>
                        <a:cubicBezTo>
                          <a:pt x="276" y="0"/>
                          <a:pt x="276" y="0"/>
                          <a:pt x="276" y="0"/>
                        </a:cubicBezTo>
                        <a:cubicBezTo>
                          <a:pt x="229" y="41"/>
                          <a:pt x="229" y="41"/>
                          <a:pt x="229" y="41"/>
                        </a:cubicBezTo>
                        <a:cubicBezTo>
                          <a:pt x="182" y="81"/>
                          <a:pt x="182" y="81"/>
                          <a:pt x="182" y="81"/>
                        </a:cubicBezTo>
                        <a:cubicBezTo>
                          <a:pt x="234" y="81"/>
                          <a:pt x="234" y="81"/>
                          <a:pt x="234" y="81"/>
                        </a:cubicBezTo>
                        <a:cubicBezTo>
                          <a:pt x="216" y="188"/>
                          <a:pt x="118" y="270"/>
                          <a:pt x="7" y="253"/>
                        </a:cubicBezTo>
                        <a:cubicBezTo>
                          <a:pt x="2" y="252"/>
                          <a:pt x="0" y="258"/>
                          <a:pt x="5" y="260"/>
                        </a:cubicBezTo>
                        <a:cubicBezTo>
                          <a:pt x="144" y="308"/>
                          <a:pt x="304" y="229"/>
                          <a:pt x="327" y="81"/>
                        </a:cubicBezTo>
                        <a:lnTo>
                          <a:pt x="370" y="8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GB" sz="1100"/>
                  </a:p>
                </p:txBody>
              </p:sp>
              <p:sp>
                <p:nvSpPr>
                  <p:cNvPr id="75" name="Freeform 44"/>
                  <p:cNvSpPr>
                    <a:spLocks/>
                  </p:cNvSpPr>
                  <p:nvPr/>
                </p:nvSpPr>
                <p:spPr bwMode="auto">
                  <a:xfrm>
                    <a:off x="630" y="2512"/>
                    <a:ext cx="45" cy="157"/>
                  </a:xfrm>
                  <a:custGeom>
                    <a:avLst/>
                    <a:gdLst>
                      <a:gd name="T0" fmla="*/ 48 w 48"/>
                      <a:gd name="T1" fmla="*/ 0 h 166"/>
                      <a:gd name="T2" fmla="*/ 0 w 48"/>
                      <a:gd name="T3" fmla="*/ 34 h 166"/>
                      <a:gd name="T4" fmla="*/ 0 w 48"/>
                      <a:gd name="T5" fmla="*/ 166 h 166"/>
                      <a:gd name="T6" fmla="*/ 48 w 48"/>
                      <a:gd name="T7" fmla="*/ 166 h 166"/>
                      <a:gd name="T8" fmla="*/ 48 w 48"/>
                      <a:gd name="T9" fmla="*/ 0 h 166"/>
                    </a:gdLst>
                    <a:ahLst/>
                    <a:cxnLst>
                      <a:cxn ang="0">
                        <a:pos x="T0" y="T1"/>
                      </a:cxn>
                      <a:cxn ang="0">
                        <a:pos x="T2" y="T3"/>
                      </a:cxn>
                      <a:cxn ang="0">
                        <a:pos x="T4" y="T5"/>
                      </a:cxn>
                      <a:cxn ang="0">
                        <a:pos x="T6" y="T7"/>
                      </a:cxn>
                      <a:cxn ang="0">
                        <a:pos x="T8" y="T9"/>
                      </a:cxn>
                    </a:cxnLst>
                    <a:rect l="0" t="0" r="r" b="b"/>
                    <a:pathLst>
                      <a:path w="48" h="166">
                        <a:moveTo>
                          <a:pt x="48" y="0"/>
                        </a:moveTo>
                        <a:cubicBezTo>
                          <a:pt x="34" y="13"/>
                          <a:pt x="17" y="24"/>
                          <a:pt x="0" y="34"/>
                        </a:cubicBezTo>
                        <a:cubicBezTo>
                          <a:pt x="0" y="166"/>
                          <a:pt x="0" y="166"/>
                          <a:pt x="0" y="166"/>
                        </a:cubicBezTo>
                        <a:cubicBezTo>
                          <a:pt x="48" y="166"/>
                          <a:pt x="48" y="166"/>
                          <a:pt x="48" y="166"/>
                        </a:cubicBezTo>
                        <a:lnTo>
                          <a:pt x="4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GB" sz="1100"/>
                  </a:p>
                </p:txBody>
              </p:sp>
              <p:sp>
                <p:nvSpPr>
                  <p:cNvPr id="77" name="Freeform 45"/>
                  <p:cNvSpPr>
                    <a:spLocks/>
                  </p:cNvSpPr>
                  <p:nvPr/>
                </p:nvSpPr>
                <p:spPr bwMode="auto">
                  <a:xfrm>
                    <a:off x="561" y="2555"/>
                    <a:ext cx="46" cy="114"/>
                  </a:xfrm>
                  <a:custGeom>
                    <a:avLst/>
                    <a:gdLst>
                      <a:gd name="T0" fmla="*/ 0 w 48"/>
                      <a:gd name="T1" fmla="*/ 120 h 120"/>
                      <a:gd name="T2" fmla="*/ 48 w 48"/>
                      <a:gd name="T3" fmla="*/ 120 h 120"/>
                      <a:gd name="T4" fmla="*/ 48 w 48"/>
                      <a:gd name="T5" fmla="*/ 0 h 120"/>
                      <a:gd name="T6" fmla="*/ 0 w 48"/>
                      <a:gd name="T7" fmla="*/ 15 h 120"/>
                      <a:gd name="T8" fmla="*/ 0 w 48"/>
                      <a:gd name="T9" fmla="*/ 120 h 120"/>
                    </a:gdLst>
                    <a:ahLst/>
                    <a:cxnLst>
                      <a:cxn ang="0">
                        <a:pos x="T0" y="T1"/>
                      </a:cxn>
                      <a:cxn ang="0">
                        <a:pos x="T2" y="T3"/>
                      </a:cxn>
                      <a:cxn ang="0">
                        <a:pos x="T4" y="T5"/>
                      </a:cxn>
                      <a:cxn ang="0">
                        <a:pos x="T6" y="T7"/>
                      </a:cxn>
                      <a:cxn ang="0">
                        <a:pos x="T8" y="T9"/>
                      </a:cxn>
                    </a:cxnLst>
                    <a:rect l="0" t="0" r="r" b="b"/>
                    <a:pathLst>
                      <a:path w="48" h="120">
                        <a:moveTo>
                          <a:pt x="0" y="120"/>
                        </a:moveTo>
                        <a:cubicBezTo>
                          <a:pt x="48" y="120"/>
                          <a:pt x="48" y="120"/>
                          <a:pt x="48" y="120"/>
                        </a:cubicBezTo>
                        <a:cubicBezTo>
                          <a:pt x="48" y="0"/>
                          <a:pt x="48" y="0"/>
                          <a:pt x="48" y="0"/>
                        </a:cubicBezTo>
                        <a:cubicBezTo>
                          <a:pt x="33" y="6"/>
                          <a:pt x="17" y="12"/>
                          <a:pt x="0" y="15"/>
                        </a:cubicBezTo>
                        <a:lnTo>
                          <a:pt x="0" y="1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GB" sz="1100"/>
                  </a:p>
                </p:txBody>
              </p:sp>
              <p:sp>
                <p:nvSpPr>
                  <p:cNvPr id="92" name="Freeform 46"/>
                  <p:cNvSpPr>
                    <a:spLocks/>
                  </p:cNvSpPr>
                  <p:nvPr/>
                </p:nvSpPr>
                <p:spPr bwMode="auto">
                  <a:xfrm>
                    <a:off x="698" y="2392"/>
                    <a:ext cx="46" cy="277"/>
                  </a:xfrm>
                  <a:custGeom>
                    <a:avLst/>
                    <a:gdLst>
                      <a:gd name="T0" fmla="*/ 0 w 48"/>
                      <a:gd name="T1" fmla="*/ 292 h 292"/>
                      <a:gd name="T2" fmla="*/ 48 w 48"/>
                      <a:gd name="T3" fmla="*/ 292 h 292"/>
                      <a:gd name="T4" fmla="*/ 48 w 48"/>
                      <a:gd name="T5" fmla="*/ 0 h 292"/>
                      <a:gd name="T6" fmla="*/ 47 w 48"/>
                      <a:gd name="T7" fmla="*/ 0 h 292"/>
                      <a:gd name="T8" fmla="*/ 0 w 48"/>
                      <a:gd name="T9" fmla="*/ 100 h 292"/>
                      <a:gd name="T10" fmla="*/ 0 w 48"/>
                      <a:gd name="T11" fmla="*/ 292 h 292"/>
                    </a:gdLst>
                    <a:ahLst/>
                    <a:cxnLst>
                      <a:cxn ang="0">
                        <a:pos x="T0" y="T1"/>
                      </a:cxn>
                      <a:cxn ang="0">
                        <a:pos x="T2" y="T3"/>
                      </a:cxn>
                      <a:cxn ang="0">
                        <a:pos x="T4" y="T5"/>
                      </a:cxn>
                      <a:cxn ang="0">
                        <a:pos x="T6" y="T7"/>
                      </a:cxn>
                      <a:cxn ang="0">
                        <a:pos x="T8" y="T9"/>
                      </a:cxn>
                      <a:cxn ang="0">
                        <a:pos x="T10" y="T11"/>
                      </a:cxn>
                    </a:cxnLst>
                    <a:rect l="0" t="0" r="r" b="b"/>
                    <a:pathLst>
                      <a:path w="48" h="292">
                        <a:moveTo>
                          <a:pt x="0" y="292"/>
                        </a:moveTo>
                        <a:cubicBezTo>
                          <a:pt x="48" y="292"/>
                          <a:pt x="48" y="292"/>
                          <a:pt x="48" y="292"/>
                        </a:cubicBezTo>
                        <a:cubicBezTo>
                          <a:pt x="48" y="0"/>
                          <a:pt x="48" y="0"/>
                          <a:pt x="48" y="0"/>
                        </a:cubicBezTo>
                        <a:cubicBezTo>
                          <a:pt x="47" y="0"/>
                          <a:pt x="47" y="0"/>
                          <a:pt x="47" y="0"/>
                        </a:cubicBezTo>
                        <a:cubicBezTo>
                          <a:pt x="39" y="38"/>
                          <a:pt x="23" y="71"/>
                          <a:pt x="0" y="100"/>
                        </a:cubicBezTo>
                        <a:lnTo>
                          <a:pt x="0" y="2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GB" sz="1100"/>
                  </a:p>
                </p:txBody>
              </p:sp>
              <p:sp>
                <p:nvSpPr>
                  <p:cNvPr id="93" name="Freeform 47"/>
                  <p:cNvSpPr>
                    <a:spLocks/>
                  </p:cNvSpPr>
                  <p:nvPr/>
                </p:nvSpPr>
                <p:spPr bwMode="auto">
                  <a:xfrm>
                    <a:off x="425" y="2562"/>
                    <a:ext cx="45" cy="107"/>
                  </a:xfrm>
                  <a:custGeom>
                    <a:avLst/>
                    <a:gdLst>
                      <a:gd name="T0" fmla="*/ 48 w 48"/>
                      <a:gd name="T1" fmla="*/ 11 h 113"/>
                      <a:gd name="T2" fmla="*/ 0 w 48"/>
                      <a:gd name="T3" fmla="*/ 0 h 113"/>
                      <a:gd name="T4" fmla="*/ 0 w 48"/>
                      <a:gd name="T5" fmla="*/ 113 h 113"/>
                      <a:gd name="T6" fmla="*/ 48 w 48"/>
                      <a:gd name="T7" fmla="*/ 113 h 113"/>
                      <a:gd name="T8" fmla="*/ 48 w 48"/>
                      <a:gd name="T9" fmla="*/ 11 h 113"/>
                    </a:gdLst>
                    <a:ahLst/>
                    <a:cxnLst>
                      <a:cxn ang="0">
                        <a:pos x="T0" y="T1"/>
                      </a:cxn>
                      <a:cxn ang="0">
                        <a:pos x="T2" y="T3"/>
                      </a:cxn>
                      <a:cxn ang="0">
                        <a:pos x="T4" y="T5"/>
                      </a:cxn>
                      <a:cxn ang="0">
                        <a:pos x="T6" y="T7"/>
                      </a:cxn>
                      <a:cxn ang="0">
                        <a:pos x="T8" y="T9"/>
                      </a:cxn>
                    </a:cxnLst>
                    <a:rect l="0" t="0" r="r" b="b"/>
                    <a:pathLst>
                      <a:path w="48" h="113">
                        <a:moveTo>
                          <a:pt x="48" y="11"/>
                        </a:moveTo>
                        <a:cubicBezTo>
                          <a:pt x="32" y="9"/>
                          <a:pt x="16" y="5"/>
                          <a:pt x="0" y="0"/>
                        </a:cubicBezTo>
                        <a:cubicBezTo>
                          <a:pt x="0" y="113"/>
                          <a:pt x="0" y="113"/>
                          <a:pt x="0" y="113"/>
                        </a:cubicBezTo>
                        <a:cubicBezTo>
                          <a:pt x="48" y="113"/>
                          <a:pt x="48" y="113"/>
                          <a:pt x="48" y="113"/>
                        </a:cubicBezTo>
                        <a:lnTo>
                          <a:pt x="48" y="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GB" sz="1100"/>
                  </a:p>
                </p:txBody>
              </p:sp>
              <p:sp>
                <p:nvSpPr>
                  <p:cNvPr id="94" name="Freeform 48"/>
                  <p:cNvSpPr>
                    <a:spLocks/>
                  </p:cNvSpPr>
                  <p:nvPr/>
                </p:nvSpPr>
                <p:spPr bwMode="auto">
                  <a:xfrm>
                    <a:off x="493" y="2573"/>
                    <a:ext cx="46" cy="96"/>
                  </a:xfrm>
                  <a:custGeom>
                    <a:avLst/>
                    <a:gdLst>
                      <a:gd name="T0" fmla="*/ 0 w 48"/>
                      <a:gd name="T1" fmla="*/ 101 h 101"/>
                      <a:gd name="T2" fmla="*/ 48 w 48"/>
                      <a:gd name="T3" fmla="*/ 101 h 101"/>
                      <a:gd name="T4" fmla="*/ 48 w 48"/>
                      <a:gd name="T5" fmla="*/ 0 h 101"/>
                      <a:gd name="T6" fmla="*/ 15 w 48"/>
                      <a:gd name="T7" fmla="*/ 2 h 101"/>
                      <a:gd name="T8" fmla="*/ 0 w 48"/>
                      <a:gd name="T9" fmla="*/ 2 h 101"/>
                      <a:gd name="T10" fmla="*/ 0 w 48"/>
                      <a:gd name="T11" fmla="*/ 101 h 101"/>
                    </a:gdLst>
                    <a:ahLst/>
                    <a:cxnLst>
                      <a:cxn ang="0">
                        <a:pos x="T0" y="T1"/>
                      </a:cxn>
                      <a:cxn ang="0">
                        <a:pos x="T2" y="T3"/>
                      </a:cxn>
                      <a:cxn ang="0">
                        <a:pos x="T4" y="T5"/>
                      </a:cxn>
                      <a:cxn ang="0">
                        <a:pos x="T6" y="T7"/>
                      </a:cxn>
                      <a:cxn ang="0">
                        <a:pos x="T8" y="T9"/>
                      </a:cxn>
                      <a:cxn ang="0">
                        <a:pos x="T10" y="T11"/>
                      </a:cxn>
                    </a:cxnLst>
                    <a:rect l="0" t="0" r="r" b="b"/>
                    <a:pathLst>
                      <a:path w="48" h="101">
                        <a:moveTo>
                          <a:pt x="0" y="101"/>
                        </a:moveTo>
                        <a:cubicBezTo>
                          <a:pt x="48" y="101"/>
                          <a:pt x="48" y="101"/>
                          <a:pt x="48" y="101"/>
                        </a:cubicBezTo>
                        <a:cubicBezTo>
                          <a:pt x="48" y="0"/>
                          <a:pt x="48" y="0"/>
                          <a:pt x="48" y="0"/>
                        </a:cubicBezTo>
                        <a:cubicBezTo>
                          <a:pt x="37" y="1"/>
                          <a:pt x="26" y="2"/>
                          <a:pt x="15" y="2"/>
                        </a:cubicBezTo>
                        <a:cubicBezTo>
                          <a:pt x="10" y="2"/>
                          <a:pt x="5" y="2"/>
                          <a:pt x="0" y="2"/>
                        </a:cubicBezTo>
                        <a:lnTo>
                          <a:pt x="0" y="1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GB" sz="1100"/>
                  </a:p>
                </p:txBody>
              </p:sp>
            </p:grpSp>
          </p:grpSp>
        </p:grpSp>
        <p:grpSp>
          <p:nvGrpSpPr>
            <p:cNvPr id="15" name="Group 14">
              <a:extLst>
                <a:ext uri="{FF2B5EF4-FFF2-40B4-BE49-F238E27FC236}">
                  <a16:creationId xmlns:a16="http://schemas.microsoft.com/office/drawing/2014/main" id="{6DA37AC1-9E88-434D-8D5C-83CFB9C6A8BF}"/>
                </a:ext>
              </a:extLst>
            </p:cNvPr>
            <p:cNvGrpSpPr>
              <a:grpSpLocks/>
            </p:cNvGrpSpPr>
            <p:nvPr/>
          </p:nvGrpSpPr>
          <p:grpSpPr>
            <a:xfrm>
              <a:off x="4482196" y="913024"/>
              <a:ext cx="4192274" cy="938719"/>
              <a:chOff x="4482196" y="913024"/>
              <a:chExt cx="4192274" cy="938719"/>
            </a:xfrm>
          </p:grpSpPr>
          <p:grpSp>
            <p:nvGrpSpPr>
              <p:cNvPr id="14" name="Group 13">
                <a:extLst>
                  <a:ext uri="{FF2B5EF4-FFF2-40B4-BE49-F238E27FC236}">
                    <a16:creationId xmlns:a16="http://schemas.microsoft.com/office/drawing/2014/main" id="{3FAA8F1A-A5E7-477C-BC1B-CF1196C55AFA}"/>
                  </a:ext>
                </a:extLst>
              </p:cNvPr>
              <p:cNvGrpSpPr>
                <a:grpSpLocks/>
              </p:cNvGrpSpPr>
              <p:nvPr/>
            </p:nvGrpSpPr>
            <p:grpSpPr>
              <a:xfrm>
                <a:off x="4482196" y="913024"/>
                <a:ext cx="1399752" cy="938719"/>
                <a:chOff x="4482196" y="913024"/>
                <a:chExt cx="1399752" cy="938719"/>
              </a:xfrm>
            </p:grpSpPr>
            <p:sp>
              <p:nvSpPr>
                <p:cNvPr id="68" name="Rectangle 67">
                  <a:extLst>
                    <a:ext uri="{FF2B5EF4-FFF2-40B4-BE49-F238E27FC236}">
                      <a16:creationId xmlns:a16="http://schemas.microsoft.com/office/drawing/2014/main" id="{32AC82DF-E7F2-4701-B7E2-E85032C697B4}"/>
                    </a:ext>
                  </a:extLst>
                </p:cNvPr>
                <p:cNvSpPr/>
                <p:nvPr/>
              </p:nvSpPr>
              <p:spPr>
                <a:xfrm>
                  <a:off x="4482196" y="913024"/>
                  <a:ext cx="1399752" cy="938719"/>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rtlCol="0" anchor="t">
                  <a:noAutofit/>
                </a:bodyPr>
                <a:lstStyle/>
                <a:p>
                  <a:r>
                    <a:rPr lang="en-US" sz="1100" b="1" dirty="0">
                      <a:solidFill>
                        <a:schemeClr val="bg1"/>
                      </a:solidFill>
                      <a:latin typeface="+mj-lt"/>
                    </a:rPr>
                    <a:t>Top-down diagnostic for a long steel manufacturer in East India</a:t>
                  </a:r>
                  <a:endParaRPr lang="en-GB" sz="1100" b="1" dirty="0">
                    <a:solidFill>
                      <a:schemeClr val="bg1"/>
                    </a:solidFill>
                    <a:latin typeface="+mj-lt"/>
                  </a:endParaRPr>
                </a:p>
              </p:txBody>
            </p:sp>
            <p:grpSp>
              <p:nvGrpSpPr>
                <p:cNvPr id="69" name="Group 29">
                  <a:extLst>
                    <a:ext uri="{FF2B5EF4-FFF2-40B4-BE49-F238E27FC236}">
                      <a16:creationId xmlns:a16="http://schemas.microsoft.com/office/drawing/2014/main" id="{DCD5B67E-86DC-4856-9C35-C3AB40CA3324}"/>
                    </a:ext>
                  </a:extLst>
                </p:cNvPr>
                <p:cNvGrpSpPr>
                  <a:grpSpLocks noChangeAspect="1"/>
                </p:cNvGrpSpPr>
                <p:nvPr/>
              </p:nvGrpSpPr>
              <p:grpSpPr bwMode="auto">
                <a:xfrm>
                  <a:off x="5614857" y="1572871"/>
                  <a:ext cx="203960" cy="231254"/>
                  <a:chOff x="415" y="1039"/>
                  <a:chExt cx="387" cy="441"/>
                </a:xfrm>
                <a:solidFill>
                  <a:schemeClr val="bg1"/>
                </a:solidFill>
              </p:grpSpPr>
              <p:sp>
                <p:nvSpPr>
                  <p:cNvPr id="70" name="Freeform 30">
                    <a:extLst>
                      <a:ext uri="{FF2B5EF4-FFF2-40B4-BE49-F238E27FC236}">
                        <a16:creationId xmlns:a16="http://schemas.microsoft.com/office/drawing/2014/main" id="{F8EF56C3-C94D-4177-B938-CDA9CCAF4D2B}"/>
                      </a:ext>
                    </a:extLst>
                  </p:cNvPr>
                  <p:cNvSpPr>
                    <a:spLocks/>
                  </p:cNvSpPr>
                  <p:nvPr/>
                </p:nvSpPr>
                <p:spPr bwMode="auto">
                  <a:xfrm>
                    <a:off x="415" y="1069"/>
                    <a:ext cx="302" cy="186"/>
                  </a:xfrm>
                  <a:custGeom>
                    <a:avLst/>
                    <a:gdLst>
                      <a:gd name="T0" fmla="*/ 0 w 310"/>
                      <a:gd name="T1" fmla="*/ 57 h 191"/>
                      <a:gd name="T2" fmla="*/ 58 w 310"/>
                      <a:gd name="T3" fmla="*/ 55 h 191"/>
                      <a:gd name="T4" fmla="*/ 108 w 310"/>
                      <a:gd name="T5" fmla="*/ 49 h 191"/>
                      <a:gd name="T6" fmla="*/ 131 w 310"/>
                      <a:gd name="T7" fmla="*/ 34 h 191"/>
                      <a:gd name="T8" fmla="*/ 155 w 310"/>
                      <a:gd name="T9" fmla="*/ 19 h 191"/>
                      <a:gd name="T10" fmla="*/ 204 w 310"/>
                      <a:gd name="T11" fmla="*/ 4 h 191"/>
                      <a:gd name="T12" fmla="*/ 242 w 310"/>
                      <a:gd name="T13" fmla="*/ 8 h 191"/>
                      <a:gd name="T14" fmla="*/ 297 w 310"/>
                      <a:gd name="T15" fmla="*/ 24 h 191"/>
                      <a:gd name="T16" fmla="*/ 309 w 310"/>
                      <a:gd name="T17" fmla="*/ 32 h 191"/>
                      <a:gd name="T18" fmla="*/ 298 w 310"/>
                      <a:gd name="T19" fmla="*/ 48 h 191"/>
                      <a:gd name="T20" fmla="*/ 242 w 310"/>
                      <a:gd name="T21" fmla="*/ 50 h 191"/>
                      <a:gd name="T22" fmla="*/ 227 w 310"/>
                      <a:gd name="T23" fmla="*/ 48 h 191"/>
                      <a:gd name="T24" fmla="*/ 235 w 310"/>
                      <a:gd name="T25" fmla="*/ 63 h 191"/>
                      <a:gd name="T26" fmla="*/ 235 w 310"/>
                      <a:gd name="T27" fmla="*/ 70 h 191"/>
                      <a:gd name="T28" fmla="*/ 230 w 310"/>
                      <a:gd name="T29" fmla="*/ 78 h 191"/>
                      <a:gd name="T30" fmla="*/ 233 w 310"/>
                      <a:gd name="T31" fmla="*/ 101 h 191"/>
                      <a:gd name="T32" fmla="*/ 222 w 310"/>
                      <a:gd name="T33" fmla="*/ 117 h 191"/>
                      <a:gd name="T34" fmla="*/ 231 w 310"/>
                      <a:gd name="T35" fmla="*/ 132 h 191"/>
                      <a:gd name="T36" fmla="*/ 223 w 310"/>
                      <a:gd name="T37" fmla="*/ 143 h 191"/>
                      <a:gd name="T38" fmla="*/ 219 w 310"/>
                      <a:gd name="T39" fmla="*/ 151 h 191"/>
                      <a:gd name="T40" fmla="*/ 186 w 310"/>
                      <a:gd name="T41" fmla="*/ 187 h 191"/>
                      <a:gd name="T42" fmla="*/ 176 w 310"/>
                      <a:gd name="T43" fmla="*/ 190 h 191"/>
                      <a:gd name="T44" fmla="*/ 126 w 310"/>
                      <a:gd name="T45" fmla="*/ 181 h 191"/>
                      <a:gd name="T46" fmla="*/ 107 w 310"/>
                      <a:gd name="T47" fmla="*/ 172 h 191"/>
                      <a:gd name="T48" fmla="*/ 90 w 310"/>
                      <a:gd name="T49" fmla="*/ 167 h 191"/>
                      <a:gd name="T50" fmla="*/ 7 w 310"/>
                      <a:gd name="T51" fmla="*/ 169 h 191"/>
                      <a:gd name="T52" fmla="*/ 0 w 310"/>
                      <a:gd name="T53" fmla="*/ 163 h 191"/>
                      <a:gd name="T54" fmla="*/ 0 w 310"/>
                      <a:gd name="T55" fmla="*/ 59 h 191"/>
                      <a:gd name="T56" fmla="*/ 0 w 310"/>
                      <a:gd name="T57" fmla="*/ 57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10" h="191">
                        <a:moveTo>
                          <a:pt x="0" y="57"/>
                        </a:moveTo>
                        <a:cubicBezTo>
                          <a:pt x="20" y="57"/>
                          <a:pt x="39" y="57"/>
                          <a:pt x="58" y="55"/>
                        </a:cubicBezTo>
                        <a:cubicBezTo>
                          <a:pt x="75" y="54"/>
                          <a:pt x="92" y="53"/>
                          <a:pt x="108" y="49"/>
                        </a:cubicBezTo>
                        <a:cubicBezTo>
                          <a:pt x="116" y="46"/>
                          <a:pt x="123" y="39"/>
                          <a:pt x="131" y="34"/>
                        </a:cubicBezTo>
                        <a:cubicBezTo>
                          <a:pt x="139" y="29"/>
                          <a:pt x="146" y="22"/>
                          <a:pt x="155" y="19"/>
                        </a:cubicBezTo>
                        <a:cubicBezTo>
                          <a:pt x="171" y="13"/>
                          <a:pt x="188" y="8"/>
                          <a:pt x="204" y="4"/>
                        </a:cubicBezTo>
                        <a:cubicBezTo>
                          <a:pt x="217" y="0"/>
                          <a:pt x="230" y="2"/>
                          <a:pt x="242" y="8"/>
                        </a:cubicBezTo>
                        <a:cubicBezTo>
                          <a:pt x="259" y="17"/>
                          <a:pt x="278" y="21"/>
                          <a:pt x="297" y="24"/>
                        </a:cubicBezTo>
                        <a:cubicBezTo>
                          <a:pt x="302" y="25"/>
                          <a:pt x="308" y="25"/>
                          <a:pt x="309" y="32"/>
                        </a:cubicBezTo>
                        <a:cubicBezTo>
                          <a:pt x="310" y="36"/>
                          <a:pt x="302" y="46"/>
                          <a:pt x="298" y="48"/>
                        </a:cubicBezTo>
                        <a:cubicBezTo>
                          <a:pt x="279" y="58"/>
                          <a:pt x="260" y="53"/>
                          <a:pt x="242" y="50"/>
                        </a:cubicBezTo>
                        <a:cubicBezTo>
                          <a:pt x="238" y="49"/>
                          <a:pt x="233" y="49"/>
                          <a:pt x="227" y="48"/>
                        </a:cubicBezTo>
                        <a:cubicBezTo>
                          <a:pt x="231" y="54"/>
                          <a:pt x="232" y="58"/>
                          <a:pt x="235" y="63"/>
                        </a:cubicBezTo>
                        <a:cubicBezTo>
                          <a:pt x="237" y="65"/>
                          <a:pt x="237" y="67"/>
                          <a:pt x="235" y="70"/>
                        </a:cubicBezTo>
                        <a:cubicBezTo>
                          <a:pt x="233" y="72"/>
                          <a:pt x="232" y="75"/>
                          <a:pt x="230" y="78"/>
                        </a:cubicBezTo>
                        <a:cubicBezTo>
                          <a:pt x="226" y="86"/>
                          <a:pt x="224" y="94"/>
                          <a:pt x="233" y="101"/>
                        </a:cubicBezTo>
                        <a:cubicBezTo>
                          <a:pt x="224" y="104"/>
                          <a:pt x="220" y="110"/>
                          <a:pt x="222" y="117"/>
                        </a:cubicBezTo>
                        <a:cubicBezTo>
                          <a:pt x="223" y="123"/>
                          <a:pt x="228" y="128"/>
                          <a:pt x="231" y="132"/>
                        </a:cubicBezTo>
                        <a:cubicBezTo>
                          <a:pt x="228" y="136"/>
                          <a:pt x="226" y="140"/>
                          <a:pt x="223" y="143"/>
                        </a:cubicBezTo>
                        <a:cubicBezTo>
                          <a:pt x="222" y="146"/>
                          <a:pt x="221" y="149"/>
                          <a:pt x="219" y="151"/>
                        </a:cubicBezTo>
                        <a:cubicBezTo>
                          <a:pt x="208" y="163"/>
                          <a:pt x="197" y="175"/>
                          <a:pt x="186" y="187"/>
                        </a:cubicBezTo>
                        <a:cubicBezTo>
                          <a:pt x="183" y="190"/>
                          <a:pt x="181" y="191"/>
                          <a:pt x="176" y="190"/>
                        </a:cubicBezTo>
                        <a:cubicBezTo>
                          <a:pt x="160" y="187"/>
                          <a:pt x="143" y="185"/>
                          <a:pt x="126" y="181"/>
                        </a:cubicBezTo>
                        <a:cubicBezTo>
                          <a:pt x="119" y="180"/>
                          <a:pt x="113" y="175"/>
                          <a:pt x="107" y="172"/>
                        </a:cubicBezTo>
                        <a:cubicBezTo>
                          <a:pt x="102" y="168"/>
                          <a:pt x="96" y="167"/>
                          <a:pt x="90" y="167"/>
                        </a:cubicBezTo>
                        <a:cubicBezTo>
                          <a:pt x="62" y="168"/>
                          <a:pt x="35" y="168"/>
                          <a:pt x="7" y="169"/>
                        </a:cubicBezTo>
                        <a:cubicBezTo>
                          <a:pt x="3" y="169"/>
                          <a:pt x="0" y="168"/>
                          <a:pt x="0" y="163"/>
                        </a:cubicBezTo>
                        <a:cubicBezTo>
                          <a:pt x="0" y="128"/>
                          <a:pt x="0" y="94"/>
                          <a:pt x="0" y="59"/>
                        </a:cubicBezTo>
                        <a:cubicBezTo>
                          <a:pt x="0" y="59"/>
                          <a:pt x="0" y="58"/>
                          <a:pt x="0" y="5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GB" sz="1100"/>
                  </a:p>
                </p:txBody>
              </p:sp>
              <p:sp>
                <p:nvSpPr>
                  <p:cNvPr id="74" name="Freeform 31">
                    <a:extLst>
                      <a:ext uri="{FF2B5EF4-FFF2-40B4-BE49-F238E27FC236}">
                        <a16:creationId xmlns:a16="http://schemas.microsoft.com/office/drawing/2014/main" id="{DB504F92-E16D-41EF-8C42-73740C2E2237}"/>
                      </a:ext>
                    </a:extLst>
                  </p:cNvPr>
                  <p:cNvSpPr>
                    <a:spLocks/>
                  </p:cNvSpPr>
                  <p:nvPr/>
                </p:nvSpPr>
                <p:spPr bwMode="auto">
                  <a:xfrm>
                    <a:off x="591" y="1039"/>
                    <a:ext cx="180" cy="96"/>
                  </a:xfrm>
                  <a:custGeom>
                    <a:avLst/>
                    <a:gdLst>
                      <a:gd name="T0" fmla="*/ 53 w 184"/>
                      <a:gd name="T1" fmla="*/ 85 h 98"/>
                      <a:gd name="T2" fmla="*/ 97 w 184"/>
                      <a:gd name="T3" fmla="*/ 88 h 98"/>
                      <a:gd name="T4" fmla="*/ 132 w 184"/>
                      <a:gd name="T5" fmla="*/ 70 h 98"/>
                      <a:gd name="T6" fmla="*/ 125 w 184"/>
                      <a:gd name="T7" fmla="*/ 53 h 98"/>
                      <a:gd name="T8" fmla="*/ 86 w 184"/>
                      <a:gd name="T9" fmla="*/ 43 h 98"/>
                      <a:gd name="T10" fmla="*/ 55 w 184"/>
                      <a:gd name="T11" fmla="*/ 31 h 98"/>
                      <a:gd name="T12" fmla="*/ 26 w 184"/>
                      <a:gd name="T13" fmla="*/ 29 h 98"/>
                      <a:gd name="T14" fmla="*/ 25 w 184"/>
                      <a:gd name="T15" fmla="*/ 30 h 98"/>
                      <a:gd name="T16" fmla="*/ 0 w 184"/>
                      <a:gd name="T17" fmla="*/ 21 h 98"/>
                      <a:gd name="T18" fmla="*/ 34 w 184"/>
                      <a:gd name="T19" fmla="*/ 1 h 98"/>
                      <a:gd name="T20" fmla="*/ 83 w 184"/>
                      <a:gd name="T21" fmla="*/ 10 h 98"/>
                      <a:gd name="T22" fmla="*/ 91 w 184"/>
                      <a:gd name="T23" fmla="*/ 12 h 98"/>
                      <a:gd name="T24" fmla="*/ 122 w 184"/>
                      <a:gd name="T25" fmla="*/ 14 h 98"/>
                      <a:gd name="T26" fmla="*/ 150 w 184"/>
                      <a:gd name="T27" fmla="*/ 20 h 98"/>
                      <a:gd name="T28" fmla="*/ 166 w 184"/>
                      <a:gd name="T29" fmla="*/ 22 h 98"/>
                      <a:gd name="T30" fmla="*/ 175 w 184"/>
                      <a:gd name="T31" fmla="*/ 22 h 98"/>
                      <a:gd name="T32" fmla="*/ 184 w 184"/>
                      <a:gd name="T33" fmla="*/ 41 h 98"/>
                      <a:gd name="T34" fmla="*/ 182 w 184"/>
                      <a:gd name="T35" fmla="*/ 48 h 98"/>
                      <a:gd name="T36" fmla="*/ 148 w 184"/>
                      <a:gd name="T37" fmla="*/ 77 h 98"/>
                      <a:gd name="T38" fmla="*/ 139 w 184"/>
                      <a:gd name="T39" fmla="*/ 83 h 98"/>
                      <a:gd name="T40" fmla="*/ 81 w 184"/>
                      <a:gd name="T41" fmla="*/ 96 h 98"/>
                      <a:gd name="T42" fmla="*/ 68 w 184"/>
                      <a:gd name="T43" fmla="*/ 96 h 98"/>
                      <a:gd name="T44" fmla="*/ 53 w 184"/>
                      <a:gd name="T45" fmla="*/ 85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4" h="98">
                        <a:moveTo>
                          <a:pt x="53" y="85"/>
                        </a:moveTo>
                        <a:cubicBezTo>
                          <a:pt x="68" y="86"/>
                          <a:pt x="83" y="88"/>
                          <a:pt x="97" y="88"/>
                        </a:cubicBezTo>
                        <a:cubicBezTo>
                          <a:pt x="112" y="89"/>
                          <a:pt x="124" y="83"/>
                          <a:pt x="132" y="70"/>
                        </a:cubicBezTo>
                        <a:cubicBezTo>
                          <a:pt x="138" y="62"/>
                          <a:pt x="135" y="55"/>
                          <a:pt x="125" y="53"/>
                        </a:cubicBezTo>
                        <a:cubicBezTo>
                          <a:pt x="112" y="50"/>
                          <a:pt x="99" y="47"/>
                          <a:pt x="86" y="43"/>
                        </a:cubicBezTo>
                        <a:cubicBezTo>
                          <a:pt x="75" y="40"/>
                          <a:pt x="65" y="36"/>
                          <a:pt x="55" y="31"/>
                        </a:cubicBezTo>
                        <a:cubicBezTo>
                          <a:pt x="45" y="27"/>
                          <a:pt x="36" y="27"/>
                          <a:pt x="26" y="29"/>
                        </a:cubicBezTo>
                        <a:cubicBezTo>
                          <a:pt x="26" y="29"/>
                          <a:pt x="25" y="30"/>
                          <a:pt x="25" y="30"/>
                        </a:cubicBezTo>
                        <a:cubicBezTo>
                          <a:pt x="10" y="34"/>
                          <a:pt x="10" y="34"/>
                          <a:pt x="0" y="21"/>
                        </a:cubicBezTo>
                        <a:cubicBezTo>
                          <a:pt x="11" y="12"/>
                          <a:pt x="19" y="1"/>
                          <a:pt x="34" y="1"/>
                        </a:cubicBezTo>
                        <a:cubicBezTo>
                          <a:pt x="51" y="0"/>
                          <a:pt x="68" y="0"/>
                          <a:pt x="83" y="10"/>
                        </a:cubicBezTo>
                        <a:cubicBezTo>
                          <a:pt x="85" y="11"/>
                          <a:pt x="88" y="12"/>
                          <a:pt x="91" y="12"/>
                        </a:cubicBezTo>
                        <a:cubicBezTo>
                          <a:pt x="101" y="13"/>
                          <a:pt x="112" y="14"/>
                          <a:pt x="122" y="14"/>
                        </a:cubicBezTo>
                        <a:cubicBezTo>
                          <a:pt x="132" y="14"/>
                          <a:pt x="141" y="16"/>
                          <a:pt x="150" y="20"/>
                        </a:cubicBezTo>
                        <a:cubicBezTo>
                          <a:pt x="155" y="22"/>
                          <a:pt x="161" y="22"/>
                          <a:pt x="166" y="22"/>
                        </a:cubicBezTo>
                        <a:cubicBezTo>
                          <a:pt x="170" y="23"/>
                          <a:pt x="173" y="22"/>
                          <a:pt x="175" y="22"/>
                        </a:cubicBezTo>
                        <a:cubicBezTo>
                          <a:pt x="178" y="29"/>
                          <a:pt x="181" y="35"/>
                          <a:pt x="184" y="41"/>
                        </a:cubicBezTo>
                        <a:cubicBezTo>
                          <a:pt x="184" y="43"/>
                          <a:pt x="184" y="46"/>
                          <a:pt x="182" y="48"/>
                        </a:cubicBezTo>
                        <a:cubicBezTo>
                          <a:pt x="174" y="61"/>
                          <a:pt x="161" y="69"/>
                          <a:pt x="148" y="77"/>
                        </a:cubicBezTo>
                        <a:cubicBezTo>
                          <a:pt x="145" y="79"/>
                          <a:pt x="142" y="81"/>
                          <a:pt x="139" y="83"/>
                        </a:cubicBezTo>
                        <a:cubicBezTo>
                          <a:pt x="121" y="94"/>
                          <a:pt x="102" y="98"/>
                          <a:pt x="81" y="96"/>
                        </a:cubicBezTo>
                        <a:cubicBezTo>
                          <a:pt x="77" y="96"/>
                          <a:pt x="73" y="96"/>
                          <a:pt x="68" y="96"/>
                        </a:cubicBezTo>
                        <a:cubicBezTo>
                          <a:pt x="58" y="96"/>
                          <a:pt x="57" y="95"/>
                          <a:pt x="53" y="8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GB" sz="1100"/>
                  </a:p>
                </p:txBody>
              </p:sp>
              <p:sp>
                <p:nvSpPr>
                  <p:cNvPr id="76" name="Freeform 32">
                    <a:extLst>
                      <a:ext uri="{FF2B5EF4-FFF2-40B4-BE49-F238E27FC236}">
                        <a16:creationId xmlns:a16="http://schemas.microsoft.com/office/drawing/2014/main" id="{588AC6ED-B910-4010-8F2A-AE69074C457F}"/>
                      </a:ext>
                    </a:extLst>
                  </p:cNvPr>
                  <p:cNvSpPr>
                    <a:spLocks/>
                  </p:cNvSpPr>
                  <p:nvPr/>
                </p:nvSpPr>
                <p:spPr bwMode="auto">
                  <a:xfrm>
                    <a:off x="639" y="1130"/>
                    <a:ext cx="98" cy="39"/>
                  </a:xfrm>
                  <a:custGeom>
                    <a:avLst/>
                    <a:gdLst>
                      <a:gd name="T0" fmla="*/ 4 w 100"/>
                      <a:gd name="T1" fmla="*/ 33 h 40"/>
                      <a:gd name="T2" fmla="*/ 22 w 100"/>
                      <a:gd name="T3" fmla="*/ 8 h 40"/>
                      <a:gd name="T4" fmla="*/ 36 w 100"/>
                      <a:gd name="T5" fmla="*/ 7 h 40"/>
                      <a:gd name="T6" fmla="*/ 75 w 100"/>
                      <a:gd name="T7" fmla="*/ 2 h 40"/>
                      <a:gd name="T8" fmla="*/ 77 w 100"/>
                      <a:gd name="T9" fmla="*/ 2 h 40"/>
                      <a:gd name="T10" fmla="*/ 100 w 100"/>
                      <a:gd name="T11" fmla="*/ 23 h 40"/>
                      <a:gd name="T12" fmla="*/ 83 w 100"/>
                      <a:gd name="T13" fmla="*/ 39 h 40"/>
                      <a:gd name="T14" fmla="*/ 4 w 100"/>
                      <a:gd name="T15" fmla="*/ 33 h 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0" h="40">
                        <a:moveTo>
                          <a:pt x="4" y="33"/>
                        </a:moveTo>
                        <a:cubicBezTo>
                          <a:pt x="0" y="17"/>
                          <a:pt x="6" y="9"/>
                          <a:pt x="22" y="8"/>
                        </a:cubicBezTo>
                        <a:cubicBezTo>
                          <a:pt x="27" y="7"/>
                          <a:pt x="31" y="7"/>
                          <a:pt x="36" y="7"/>
                        </a:cubicBezTo>
                        <a:cubicBezTo>
                          <a:pt x="49" y="7"/>
                          <a:pt x="63" y="7"/>
                          <a:pt x="75" y="2"/>
                        </a:cubicBezTo>
                        <a:cubicBezTo>
                          <a:pt x="76" y="2"/>
                          <a:pt x="76" y="2"/>
                          <a:pt x="77" y="2"/>
                        </a:cubicBezTo>
                        <a:cubicBezTo>
                          <a:pt x="97" y="0"/>
                          <a:pt x="100" y="4"/>
                          <a:pt x="100" y="23"/>
                        </a:cubicBezTo>
                        <a:cubicBezTo>
                          <a:pt x="100" y="40"/>
                          <a:pt x="100" y="40"/>
                          <a:pt x="83" y="39"/>
                        </a:cubicBezTo>
                        <a:cubicBezTo>
                          <a:pt x="56" y="37"/>
                          <a:pt x="30" y="35"/>
                          <a:pt x="4" y="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GB" sz="1100"/>
                  </a:p>
                </p:txBody>
              </p:sp>
              <p:sp>
                <p:nvSpPr>
                  <p:cNvPr id="78" name="Freeform 33">
                    <a:extLst>
                      <a:ext uri="{FF2B5EF4-FFF2-40B4-BE49-F238E27FC236}">
                        <a16:creationId xmlns:a16="http://schemas.microsoft.com/office/drawing/2014/main" id="{7DD3073C-9E13-419D-82BF-11D9F951E141}"/>
                      </a:ext>
                    </a:extLst>
                  </p:cNvPr>
                  <p:cNvSpPr>
                    <a:spLocks/>
                  </p:cNvSpPr>
                  <p:nvPr/>
                </p:nvSpPr>
                <p:spPr bwMode="auto">
                  <a:xfrm>
                    <a:off x="635" y="1168"/>
                    <a:ext cx="105" cy="40"/>
                  </a:xfrm>
                  <a:custGeom>
                    <a:avLst/>
                    <a:gdLst>
                      <a:gd name="T0" fmla="*/ 37 w 107"/>
                      <a:gd name="T1" fmla="*/ 0 h 41"/>
                      <a:gd name="T2" fmla="*/ 94 w 107"/>
                      <a:gd name="T3" fmla="*/ 6 h 41"/>
                      <a:gd name="T4" fmla="*/ 101 w 107"/>
                      <a:gd name="T5" fmla="*/ 27 h 41"/>
                      <a:gd name="T6" fmla="*/ 70 w 107"/>
                      <a:gd name="T7" fmla="*/ 37 h 41"/>
                      <a:gd name="T8" fmla="*/ 25 w 107"/>
                      <a:gd name="T9" fmla="*/ 29 h 41"/>
                      <a:gd name="T10" fmla="*/ 7 w 107"/>
                      <a:gd name="T11" fmla="*/ 24 h 41"/>
                      <a:gd name="T12" fmla="*/ 0 w 107"/>
                      <a:gd name="T13" fmla="*/ 13 h 41"/>
                      <a:gd name="T14" fmla="*/ 7 w 107"/>
                      <a:gd name="T15" fmla="*/ 7 h 41"/>
                      <a:gd name="T16" fmla="*/ 37 w 107"/>
                      <a:gd name="T17" fmla="*/ 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7" h="41">
                        <a:moveTo>
                          <a:pt x="37" y="0"/>
                        </a:moveTo>
                        <a:cubicBezTo>
                          <a:pt x="59" y="2"/>
                          <a:pt x="76" y="4"/>
                          <a:pt x="94" y="6"/>
                        </a:cubicBezTo>
                        <a:cubicBezTo>
                          <a:pt x="102" y="7"/>
                          <a:pt x="107" y="21"/>
                          <a:pt x="101" y="27"/>
                        </a:cubicBezTo>
                        <a:cubicBezTo>
                          <a:pt x="93" y="35"/>
                          <a:pt x="84" y="41"/>
                          <a:pt x="70" y="37"/>
                        </a:cubicBezTo>
                        <a:cubicBezTo>
                          <a:pt x="55" y="33"/>
                          <a:pt x="40" y="31"/>
                          <a:pt x="25" y="29"/>
                        </a:cubicBezTo>
                        <a:cubicBezTo>
                          <a:pt x="18" y="28"/>
                          <a:pt x="12" y="26"/>
                          <a:pt x="7" y="24"/>
                        </a:cubicBezTo>
                        <a:cubicBezTo>
                          <a:pt x="4" y="22"/>
                          <a:pt x="1" y="17"/>
                          <a:pt x="0" y="13"/>
                        </a:cubicBezTo>
                        <a:cubicBezTo>
                          <a:pt x="0" y="12"/>
                          <a:pt x="4" y="7"/>
                          <a:pt x="7" y="7"/>
                        </a:cubicBezTo>
                        <a:cubicBezTo>
                          <a:pt x="18" y="4"/>
                          <a:pt x="30" y="2"/>
                          <a:pt x="3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GB" sz="1100"/>
                  </a:p>
                </p:txBody>
              </p:sp>
              <p:sp>
                <p:nvSpPr>
                  <p:cNvPr id="79" name="Freeform 34">
                    <a:extLst>
                      <a:ext uri="{FF2B5EF4-FFF2-40B4-BE49-F238E27FC236}">
                        <a16:creationId xmlns:a16="http://schemas.microsoft.com/office/drawing/2014/main" id="{11DEC596-9490-47BE-A43F-FDCA75C854C5}"/>
                      </a:ext>
                    </a:extLst>
                  </p:cNvPr>
                  <p:cNvSpPr>
                    <a:spLocks/>
                  </p:cNvSpPr>
                  <p:nvPr/>
                </p:nvSpPr>
                <p:spPr bwMode="auto">
                  <a:xfrm>
                    <a:off x="632" y="1201"/>
                    <a:ext cx="90" cy="37"/>
                  </a:xfrm>
                  <a:custGeom>
                    <a:avLst/>
                    <a:gdLst>
                      <a:gd name="T0" fmla="*/ 31 w 92"/>
                      <a:gd name="T1" fmla="*/ 1 h 38"/>
                      <a:gd name="T2" fmla="*/ 77 w 92"/>
                      <a:gd name="T3" fmla="*/ 9 h 38"/>
                      <a:gd name="T4" fmla="*/ 91 w 92"/>
                      <a:gd name="T5" fmla="*/ 21 h 38"/>
                      <a:gd name="T6" fmla="*/ 91 w 92"/>
                      <a:gd name="T7" fmla="*/ 29 h 38"/>
                      <a:gd name="T8" fmla="*/ 76 w 92"/>
                      <a:gd name="T9" fmla="*/ 37 h 38"/>
                      <a:gd name="T10" fmla="*/ 21 w 92"/>
                      <a:gd name="T11" fmla="*/ 28 h 38"/>
                      <a:gd name="T12" fmla="*/ 7 w 92"/>
                      <a:gd name="T13" fmla="*/ 20 h 38"/>
                      <a:gd name="T14" fmla="*/ 14 w 92"/>
                      <a:gd name="T15" fmla="*/ 1 h 38"/>
                      <a:gd name="T16" fmla="*/ 31 w 92"/>
                      <a:gd name="T17"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2" h="38">
                        <a:moveTo>
                          <a:pt x="31" y="1"/>
                        </a:moveTo>
                        <a:cubicBezTo>
                          <a:pt x="47" y="0"/>
                          <a:pt x="62" y="3"/>
                          <a:pt x="77" y="9"/>
                        </a:cubicBezTo>
                        <a:cubicBezTo>
                          <a:pt x="82" y="12"/>
                          <a:pt x="87" y="16"/>
                          <a:pt x="91" y="21"/>
                        </a:cubicBezTo>
                        <a:cubicBezTo>
                          <a:pt x="92" y="22"/>
                          <a:pt x="92" y="27"/>
                          <a:pt x="91" y="29"/>
                        </a:cubicBezTo>
                        <a:cubicBezTo>
                          <a:pt x="89" y="35"/>
                          <a:pt x="81" y="38"/>
                          <a:pt x="76" y="37"/>
                        </a:cubicBezTo>
                        <a:cubicBezTo>
                          <a:pt x="57" y="34"/>
                          <a:pt x="39" y="32"/>
                          <a:pt x="21" y="28"/>
                        </a:cubicBezTo>
                        <a:cubicBezTo>
                          <a:pt x="15" y="27"/>
                          <a:pt x="10" y="24"/>
                          <a:pt x="7" y="20"/>
                        </a:cubicBezTo>
                        <a:cubicBezTo>
                          <a:pt x="0" y="13"/>
                          <a:pt x="4" y="3"/>
                          <a:pt x="14" y="1"/>
                        </a:cubicBezTo>
                        <a:cubicBezTo>
                          <a:pt x="20" y="1"/>
                          <a:pt x="25" y="1"/>
                          <a:pt x="3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GB" sz="1100"/>
                  </a:p>
                </p:txBody>
              </p:sp>
              <p:sp>
                <p:nvSpPr>
                  <p:cNvPr id="80" name="Freeform 35">
                    <a:extLst>
                      <a:ext uri="{FF2B5EF4-FFF2-40B4-BE49-F238E27FC236}">
                        <a16:creationId xmlns:a16="http://schemas.microsoft.com/office/drawing/2014/main" id="{746DB726-A682-47B0-8A44-008A215075DE}"/>
                      </a:ext>
                    </a:extLst>
                  </p:cNvPr>
                  <p:cNvSpPr>
                    <a:spLocks/>
                  </p:cNvSpPr>
                  <p:nvPr/>
                </p:nvSpPr>
                <p:spPr bwMode="auto">
                  <a:xfrm>
                    <a:off x="648" y="1234"/>
                    <a:ext cx="61" cy="28"/>
                  </a:xfrm>
                  <a:custGeom>
                    <a:avLst/>
                    <a:gdLst>
                      <a:gd name="T0" fmla="*/ 4 w 63"/>
                      <a:gd name="T1" fmla="*/ 0 h 29"/>
                      <a:gd name="T2" fmla="*/ 57 w 63"/>
                      <a:gd name="T3" fmla="*/ 8 h 29"/>
                      <a:gd name="T4" fmla="*/ 62 w 63"/>
                      <a:gd name="T5" fmla="*/ 21 h 29"/>
                      <a:gd name="T6" fmla="*/ 54 w 63"/>
                      <a:gd name="T7" fmla="*/ 29 h 29"/>
                      <a:gd name="T8" fmla="*/ 28 w 63"/>
                      <a:gd name="T9" fmla="*/ 25 h 29"/>
                      <a:gd name="T10" fmla="*/ 12 w 63"/>
                      <a:gd name="T11" fmla="*/ 19 h 29"/>
                      <a:gd name="T12" fmla="*/ 4 w 63"/>
                      <a:gd name="T13" fmla="*/ 0 h 29"/>
                    </a:gdLst>
                    <a:ahLst/>
                    <a:cxnLst>
                      <a:cxn ang="0">
                        <a:pos x="T0" y="T1"/>
                      </a:cxn>
                      <a:cxn ang="0">
                        <a:pos x="T2" y="T3"/>
                      </a:cxn>
                      <a:cxn ang="0">
                        <a:pos x="T4" y="T5"/>
                      </a:cxn>
                      <a:cxn ang="0">
                        <a:pos x="T6" y="T7"/>
                      </a:cxn>
                      <a:cxn ang="0">
                        <a:pos x="T8" y="T9"/>
                      </a:cxn>
                      <a:cxn ang="0">
                        <a:pos x="T10" y="T11"/>
                      </a:cxn>
                      <a:cxn ang="0">
                        <a:pos x="T12" y="T13"/>
                      </a:cxn>
                    </a:cxnLst>
                    <a:rect l="0" t="0" r="r" b="b"/>
                    <a:pathLst>
                      <a:path w="63" h="29">
                        <a:moveTo>
                          <a:pt x="4" y="0"/>
                        </a:moveTo>
                        <a:cubicBezTo>
                          <a:pt x="21" y="3"/>
                          <a:pt x="39" y="5"/>
                          <a:pt x="57" y="8"/>
                        </a:cubicBezTo>
                        <a:cubicBezTo>
                          <a:pt x="63" y="9"/>
                          <a:pt x="62" y="16"/>
                          <a:pt x="62" y="21"/>
                        </a:cubicBezTo>
                        <a:cubicBezTo>
                          <a:pt x="62" y="25"/>
                          <a:pt x="58" y="29"/>
                          <a:pt x="54" y="29"/>
                        </a:cubicBezTo>
                        <a:cubicBezTo>
                          <a:pt x="45" y="28"/>
                          <a:pt x="36" y="27"/>
                          <a:pt x="28" y="25"/>
                        </a:cubicBezTo>
                        <a:cubicBezTo>
                          <a:pt x="22" y="24"/>
                          <a:pt x="17" y="21"/>
                          <a:pt x="12" y="19"/>
                        </a:cubicBezTo>
                        <a:cubicBezTo>
                          <a:pt x="1" y="15"/>
                          <a:pt x="0" y="13"/>
                          <a:pt x="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GB" sz="1100"/>
                  </a:p>
                </p:txBody>
              </p:sp>
              <p:sp>
                <p:nvSpPr>
                  <p:cNvPr id="81" name="Freeform 36">
                    <a:extLst>
                      <a:ext uri="{FF2B5EF4-FFF2-40B4-BE49-F238E27FC236}">
                        <a16:creationId xmlns:a16="http://schemas.microsoft.com/office/drawing/2014/main" id="{43FE259B-8BAE-44DB-94FA-46E23E439232}"/>
                      </a:ext>
                    </a:extLst>
                  </p:cNvPr>
                  <p:cNvSpPr>
                    <a:spLocks noEditPoints="1"/>
                  </p:cNvSpPr>
                  <p:nvPr/>
                </p:nvSpPr>
                <p:spPr bwMode="auto">
                  <a:xfrm>
                    <a:off x="512" y="1221"/>
                    <a:ext cx="290" cy="259"/>
                  </a:xfrm>
                  <a:custGeom>
                    <a:avLst/>
                    <a:gdLst>
                      <a:gd name="T0" fmla="*/ 296 w 297"/>
                      <a:gd name="T1" fmla="*/ 158 h 266"/>
                      <a:gd name="T2" fmla="*/ 276 w 297"/>
                      <a:gd name="T3" fmla="*/ 115 h 266"/>
                      <a:gd name="T4" fmla="*/ 228 w 297"/>
                      <a:gd name="T5" fmla="*/ 53 h 266"/>
                      <a:gd name="T6" fmla="*/ 215 w 297"/>
                      <a:gd name="T7" fmla="*/ 40 h 266"/>
                      <a:gd name="T8" fmla="*/ 208 w 297"/>
                      <a:gd name="T9" fmla="*/ 38 h 266"/>
                      <a:gd name="T10" fmla="*/ 201 w 297"/>
                      <a:gd name="T11" fmla="*/ 50 h 266"/>
                      <a:gd name="T12" fmla="*/ 205 w 297"/>
                      <a:gd name="T13" fmla="*/ 63 h 266"/>
                      <a:gd name="T14" fmla="*/ 201 w 297"/>
                      <a:gd name="T15" fmla="*/ 59 h 266"/>
                      <a:gd name="T16" fmla="*/ 180 w 297"/>
                      <a:gd name="T17" fmla="*/ 46 h 266"/>
                      <a:gd name="T18" fmla="*/ 174 w 297"/>
                      <a:gd name="T19" fmla="*/ 51 h 266"/>
                      <a:gd name="T20" fmla="*/ 172 w 297"/>
                      <a:gd name="T21" fmla="*/ 67 h 266"/>
                      <a:gd name="T22" fmla="*/ 170 w 297"/>
                      <a:gd name="T23" fmla="*/ 64 h 266"/>
                      <a:gd name="T24" fmla="*/ 149 w 297"/>
                      <a:gd name="T25" fmla="*/ 36 h 266"/>
                      <a:gd name="T26" fmla="*/ 140 w 297"/>
                      <a:gd name="T27" fmla="*/ 38 h 266"/>
                      <a:gd name="T28" fmla="*/ 129 w 297"/>
                      <a:gd name="T29" fmla="*/ 50 h 266"/>
                      <a:gd name="T30" fmla="*/ 138 w 297"/>
                      <a:gd name="T31" fmla="*/ 9 h 266"/>
                      <a:gd name="T32" fmla="*/ 110 w 297"/>
                      <a:gd name="T33" fmla="*/ 29 h 266"/>
                      <a:gd name="T34" fmla="*/ 122 w 297"/>
                      <a:gd name="T35" fmla="*/ 12 h 266"/>
                      <a:gd name="T36" fmla="*/ 122 w 297"/>
                      <a:gd name="T37" fmla="*/ 1 h 266"/>
                      <a:gd name="T38" fmla="*/ 114 w 297"/>
                      <a:gd name="T39" fmla="*/ 6 h 266"/>
                      <a:gd name="T40" fmla="*/ 76 w 297"/>
                      <a:gd name="T41" fmla="*/ 46 h 266"/>
                      <a:gd name="T42" fmla="*/ 10 w 297"/>
                      <a:gd name="T43" fmla="*/ 133 h 266"/>
                      <a:gd name="T44" fmla="*/ 10 w 297"/>
                      <a:gd name="T45" fmla="*/ 188 h 266"/>
                      <a:gd name="T46" fmla="*/ 44 w 297"/>
                      <a:gd name="T47" fmla="*/ 226 h 266"/>
                      <a:gd name="T48" fmla="*/ 62 w 297"/>
                      <a:gd name="T49" fmla="*/ 211 h 266"/>
                      <a:gd name="T50" fmla="*/ 64 w 297"/>
                      <a:gd name="T51" fmla="*/ 212 h 266"/>
                      <a:gd name="T52" fmla="*/ 50 w 297"/>
                      <a:gd name="T53" fmla="*/ 233 h 266"/>
                      <a:gd name="T54" fmla="*/ 74 w 297"/>
                      <a:gd name="T55" fmla="*/ 254 h 266"/>
                      <a:gd name="T56" fmla="*/ 125 w 297"/>
                      <a:gd name="T57" fmla="*/ 260 h 266"/>
                      <a:gd name="T58" fmla="*/ 131 w 297"/>
                      <a:gd name="T59" fmla="*/ 253 h 266"/>
                      <a:gd name="T60" fmla="*/ 134 w 297"/>
                      <a:gd name="T61" fmla="*/ 235 h 266"/>
                      <a:gd name="T62" fmla="*/ 137 w 297"/>
                      <a:gd name="T63" fmla="*/ 247 h 266"/>
                      <a:gd name="T64" fmla="*/ 145 w 297"/>
                      <a:gd name="T65" fmla="*/ 256 h 266"/>
                      <a:gd name="T66" fmla="*/ 187 w 297"/>
                      <a:gd name="T67" fmla="*/ 261 h 266"/>
                      <a:gd name="T68" fmla="*/ 209 w 297"/>
                      <a:gd name="T69" fmla="*/ 251 h 266"/>
                      <a:gd name="T70" fmla="*/ 209 w 297"/>
                      <a:gd name="T71" fmla="*/ 239 h 266"/>
                      <a:gd name="T72" fmla="*/ 209 w 297"/>
                      <a:gd name="T73" fmla="*/ 237 h 266"/>
                      <a:gd name="T74" fmla="*/ 213 w 297"/>
                      <a:gd name="T75" fmla="*/ 245 h 266"/>
                      <a:gd name="T76" fmla="*/ 221 w 297"/>
                      <a:gd name="T77" fmla="*/ 250 h 266"/>
                      <a:gd name="T78" fmla="*/ 241 w 297"/>
                      <a:gd name="T79" fmla="*/ 247 h 266"/>
                      <a:gd name="T80" fmla="*/ 269 w 297"/>
                      <a:gd name="T81" fmla="*/ 226 h 266"/>
                      <a:gd name="T82" fmla="*/ 271 w 297"/>
                      <a:gd name="T83" fmla="*/ 220 h 266"/>
                      <a:gd name="T84" fmla="*/ 283 w 297"/>
                      <a:gd name="T85" fmla="*/ 200 h 266"/>
                      <a:gd name="T86" fmla="*/ 296 w 297"/>
                      <a:gd name="T87" fmla="*/ 158 h 266"/>
                      <a:gd name="T88" fmla="*/ 94 w 297"/>
                      <a:gd name="T89" fmla="*/ 100 h 266"/>
                      <a:gd name="T90" fmla="*/ 69 w 297"/>
                      <a:gd name="T91" fmla="*/ 136 h 266"/>
                      <a:gd name="T92" fmla="*/ 66 w 297"/>
                      <a:gd name="T93" fmla="*/ 139 h 266"/>
                      <a:gd name="T94" fmla="*/ 111 w 297"/>
                      <a:gd name="T95" fmla="*/ 71 h 266"/>
                      <a:gd name="T96" fmla="*/ 94 w 297"/>
                      <a:gd name="T97" fmla="*/ 100 h 266"/>
                      <a:gd name="T98" fmla="*/ 133 w 297"/>
                      <a:gd name="T99" fmla="*/ 186 h 266"/>
                      <a:gd name="T100" fmla="*/ 143 w 297"/>
                      <a:gd name="T101" fmla="*/ 146 h 266"/>
                      <a:gd name="T102" fmla="*/ 133 w 297"/>
                      <a:gd name="T103" fmla="*/ 186 h 266"/>
                      <a:gd name="T104" fmla="*/ 219 w 297"/>
                      <a:gd name="T105" fmla="*/ 187 h 266"/>
                      <a:gd name="T106" fmla="*/ 212 w 297"/>
                      <a:gd name="T107" fmla="*/ 119 h 266"/>
                      <a:gd name="T108" fmla="*/ 219 w 297"/>
                      <a:gd name="T109" fmla="*/ 187 h 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97" h="266">
                        <a:moveTo>
                          <a:pt x="296" y="158"/>
                        </a:moveTo>
                        <a:cubicBezTo>
                          <a:pt x="294" y="142"/>
                          <a:pt x="285" y="128"/>
                          <a:pt x="276" y="115"/>
                        </a:cubicBezTo>
                        <a:cubicBezTo>
                          <a:pt x="260" y="94"/>
                          <a:pt x="244" y="74"/>
                          <a:pt x="228" y="53"/>
                        </a:cubicBezTo>
                        <a:cubicBezTo>
                          <a:pt x="224" y="48"/>
                          <a:pt x="220" y="44"/>
                          <a:pt x="215" y="40"/>
                        </a:cubicBezTo>
                        <a:cubicBezTo>
                          <a:pt x="213" y="39"/>
                          <a:pt x="209" y="37"/>
                          <a:pt x="208" y="38"/>
                        </a:cubicBezTo>
                        <a:cubicBezTo>
                          <a:pt x="204" y="41"/>
                          <a:pt x="199" y="43"/>
                          <a:pt x="201" y="50"/>
                        </a:cubicBezTo>
                        <a:cubicBezTo>
                          <a:pt x="203" y="54"/>
                          <a:pt x="204" y="59"/>
                          <a:pt x="205" y="63"/>
                        </a:cubicBezTo>
                        <a:cubicBezTo>
                          <a:pt x="203" y="62"/>
                          <a:pt x="201" y="61"/>
                          <a:pt x="201" y="59"/>
                        </a:cubicBezTo>
                        <a:cubicBezTo>
                          <a:pt x="197" y="48"/>
                          <a:pt x="190" y="45"/>
                          <a:pt x="180" y="46"/>
                        </a:cubicBezTo>
                        <a:cubicBezTo>
                          <a:pt x="176" y="46"/>
                          <a:pt x="174" y="47"/>
                          <a:pt x="174" y="51"/>
                        </a:cubicBezTo>
                        <a:cubicBezTo>
                          <a:pt x="173" y="56"/>
                          <a:pt x="172" y="62"/>
                          <a:pt x="172" y="67"/>
                        </a:cubicBezTo>
                        <a:cubicBezTo>
                          <a:pt x="170" y="66"/>
                          <a:pt x="170" y="65"/>
                          <a:pt x="170" y="64"/>
                        </a:cubicBezTo>
                        <a:cubicBezTo>
                          <a:pt x="173" y="47"/>
                          <a:pt x="163" y="40"/>
                          <a:pt x="149" y="36"/>
                        </a:cubicBezTo>
                        <a:cubicBezTo>
                          <a:pt x="145" y="35"/>
                          <a:pt x="142" y="35"/>
                          <a:pt x="140" y="38"/>
                        </a:cubicBezTo>
                        <a:cubicBezTo>
                          <a:pt x="136" y="42"/>
                          <a:pt x="132" y="46"/>
                          <a:pt x="129" y="50"/>
                        </a:cubicBezTo>
                        <a:cubicBezTo>
                          <a:pt x="132" y="37"/>
                          <a:pt x="135" y="24"/>
                          <a:pt x="138" y="9"/>
                        </a:cubicBezTo>
                        <a:cubicBezTo>
                          <a:pt x="125" y="11"/>
                          <a:pt x="121" y="23"/>
                          <a:pt x="110" y="29"/>
                        </a:cubicBezTo>
                        <a:cubicBezTo>
                          <a:pt x="115" y="22"/>
                          <a:pt x="118" y="17"/>
                          <a:pt x="122" y="12"/>
                        </a:cubicBezTo>
                        <a:cubicBezTo>
                          <a:pt x="125" y="8"/>
                          <a:pt x="127" y="4"/>
                          <a:pt x="122" y="1"/>
                        </a:cubicBezTo>
                        <a:cubicBezTo>
                          <a:pt x="121" y="0"/>
                          <a:pt x="116" y="3"/>
                          <a:pt x="114" y="6"/>
                        </a:cubicBezTo>
                        <a:cubicBezTo>
                          <a:pt x="101" y="19"/>
                          <a:pt x="90" y="33"/>
                          <a:pt x="76" y="46"/>
                        </a:cubicBezTo>
                        <a:cubicBezTo>
                          <a:pt x="49" y="71"/>
                          <a:pt x="28" y="100"/>
                          <a:pt x="10" y="133"/>
                        </a:cubicBezTo>
                        <a:cubicBezTo>
                          <a:pt x="1" y="151"/>
                          <a:pt x="0" y="170"/>
                          <a:pt x="10" y="188"/>
                        </a:cubicBezTo>
                        <a:cubicBezTo>
                          <a:pt x="18" y="204"/>
                          <a:pt x="32" y="213"/>
                          <a:pt x="44" y="226"/>
                        </a:cubicBezTo>
                        <a:cubicBezTo>
                          <a:pt x="50" y="221"/>
                          <a:pt x="56" y="216"/>
                          <a:pt x="62" y="211"/>
                        </a:cubicBezTo>
                        <a:cubicBezTo>
                          <a:pt x="62" y="212"/>
                          <a:pt x="63" y="212"/>
                          <a:pt x="64" y="212"/>
                        </a:cubicBezTo>
                        <a:cubicBezTo>
                          <a:pt x="59" y="219"/>
                          <a:pt x="55" y="225"/>
                          <a:pt x="50" y="233"/>
                        </a:cubicBezTo>
                        <a:cubicBezTo>
                          <a:pt x="58" y="240"/>
                          <a:pt x="66" y="247"/>
                          <a:pt x="74" y="254"/>
                        </a:cubicBezTo>
                        <a:cubicBezTo>
                          <a:pt x="90" y="266"/>
                          <a:pt x="107" y="266"/>
                          <a:pt x="125" y="260"/>
                        </a:cubicBezTo>
                        <a:cubicBezTo>
                          <a:pt x="128" y="259"/>
                          <a:pt x="130" y="256"/>
                          <a:pt x="131" y="253"/>
                        </a:cubicBezTo>
                        <a:cubicBezTo>
                          <a:pt x="132" y="247"/>
                          <a:pt x="133" y="241"/>
                          <a:pt x="134" y="235"/>
                        </a:cubicBezTo>
                        <a:cubicBezTo>
                          <a:pt x="136" y="239"/>
                          <a:pt x="137" y="243"/>
                          <a:pt x="137" y="247"/>
                        </a:cubicBezTo>
                        <a:cubicBezTo>
                          <a:pt x="137" y="253"/>
                          <a:pt x="139" y="256"/>
                          <a:pt x="145" y="256"/>
                        </a:cubicBezTo>
                        <a:cubicBezTo>
                          <a:pt x="159" y="258"/>
                          <a:pt x="173" y="263"/>
                          <a:pt x="187" y="261"/>
                        </a:cubicBezTo>
                        <a:cubicBezTo>
                          <a:pt x="195" y="259"/>
                          <a:pt x="202" y="256"/>
                          <a:pt x="209" y="251"/>
                        </a:cubicBezTo>
                        <a:cubicBezTo>
                          <a:pt x="211" y="250"/>
                          <a:pt x="209" y="243"/>
                          <a:pt x="209" y="239"/>
                        </a:cubicBezTo>
                        <a:cubicBezTo>
                          <a:pt x="209" y="238"/>
                          <a:pt x="209" y="238"/>
                          <a:pt x="209" y="237"/>
                        </a:cubicBezTo>
                        <a:cubicBezTo>
                          <a:pt x="211" y="240"/>
                          <a:pt x="212" y="242"/>
                          <a:pt x="213" y="245"/>
                        </a:cubicBezTo>
                        <a:cubicBezTo>
                          <a:pt x="214" y="250"/>
                          <a:pt x="217" y="251"/>
                          <a:pt x="221" y="250"/>
                        </a:cubicBezTo>
                        <a:cubicBezTo>
                          <a:pt x="228" y="249"/>
                          <a:pt x="234" y="248"/>
                          <a:pt x="241" y="247"/>
                        </a:cubicBezTo>
                        <a:cubicBezTo>
                          <a:pt x="255" y="246"/>
                          <a:pt x="263" y="237"/>
                          <a:pt x="269" y="226"/>
                        </a:cubicBezTo>
                        <a:cubicBezTo>
                          <a:pt x="269" y="224"/>
                          <a:pt x="270" y="222"/>
                          <a:pt x="271" y="220"/>
                        </a:cubicBezTo>
                        <a:cubicBezTo>
                          <a:pt x="275" y="213"/>
                          <a:pt x="278" y="206"/>
                          <a:pt x="283" y="200"/>
                        </a:cubicBezTo>
                        <a:cubicBezTo>
                          <a:pt x="294" y="188"/>
                          <a:pt x="297" y="174"/>
                          <a:pt x="296" y="158"/>
                        </a:cubicBezTo>
                        <a:close/>
                        <a:moveTo>
                          <a:pt x="94" y="100"/>
                        </a:moveTo>
                        <a:cubicBezTo>
                          <a:pt x="86" y="112"/>
                          <a:pt x="78" y="124"/>
                          <a:pt x="69" y="136"/>
                        </a:cubicBezTo>
                        <a:cubicBezTo>
                          <a:pt x="69" y="137"/>
                          <a:pt x="68" y="138"/>
                          <a:pt x="66" y="139"/>
                        </a:cubicBezTo>
                        <a:cubicBezTo>
                          <a:pt x="74" y="112"/>
                          <a:pt x="95" y="94"/>
                          <a:pt x="111" y="71"/>
                        </a:cubicBezTo>
                        <a:cubicBezTo>
                          <a:pt x="109" y="84"/>
                          <a:pt x="101" y="91"/>
                          <a:pt x="94" y="100"/>
                        </a:cubicBezTo>
                        <a:close/>
                        <a:moveTo>
                          <a:pt x="133" y="186"/>
                        </a:moveTo>
                        <a:cubicBezTo>
                          <a:pt x="124" y="170"/>
                          <a:pt x="139" y="159"/>
                          <a:pt x="143" y="146"/>
                        </a:cubicBezTo>
                        <a:cubicBezTo>
                          <a:pt x="140" y="160"/>
                          <a:pt x="136" y="173"/>
                          <a:pt x="133" y="186"/>
                        </a:cubicBezTo>
                        <a:close/>
                        <a:moveTo>
                          <a:pt x="219" y="187"/>
                        </a:moveTo>
                        <a:cubicBezTo>
                          <a:pt x="216" y="165"/>
                          <a:pt x="214" y="142"/>
                          <a:pt x="212" y="119"/>
                        </a:cubicBezTo>
                        <a:cubicBezTo>
                          <a:pt x="222" y="142"/>
                          <a:pt x="231" y="164"/>
                          <a:pt x="219" y="1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GB" sz="1100"/>
                  </a:p>
                </p:txBody>
              </p:sp>
              <p:sp>
                <p:nvSpPr>
                  <p:cNvPr id="82" name="Freeform 37">
                    <a:extLst>
                      <a:ext uri="{FF2B5EF4-FFF2-40B4-BE49-F238E27FC236}">
                        <a16:creationId xmlns:a16="http://schemas.microsoft.com/office/drawing/2014/main" id="{EF72C4F9-ADEA-4AB8-9695-639361FBD9E2}"/>
                      </a:ext>
                    </a:extLst>
                  </p:cNvPr>
                  <p:cNvSpPr>
                    <a:spLocks/>
                  </p:cNvSpPr>
                  <p:nvPr/>
                </p:nvSpPr>
                <p:spPr bwMode="auto">
                  <a:xfrm>
                    <a:off x="577" y="1290"/>
                    <a:ext cx="44" cy="66"/>
                  </a:xfrm>
                  <a:custGeom>
                    <a:avLst/>
                    <a:gdLst>
                      <a:gd name="T0" fmla="*/ 45 w 45"/>
                      <a:gd name="T1" fmla="*/ 0 h 68"/>
                      <a:gd name="T2" fmla="*/ 28 w 45"/>
                      <a:gd name="T3" fmla="*/ 29 h 68"/>
                      <a:gd name="T4" fmla="*/ 3 w 45"/>
                      <a:gd name="T5" fmla="*/ 65 h 68"/>
                      <a:gd name="T6" fmla="*/ 0 w 45"/>
                      <a:gd name="T7" fmla="*/ 68 h 68"/>
                      <a:gd name="T8" fmla="*/ 45 w 45"/>
                      <a:gd name="T9" fmla="*/ 0 h 68"/>
                    </a:gdLst>
                    <a:ahLst/>
                    <a:cxnLst>
                      <a:cxn ang="0">
                        <a:pos x="T0" y="T1"/>
                      </a:cxn>
                      <a:cxn ang="0">
                        <a:pos x="T2" y="T3"/>
                      </a:cxn>
                      <a:cxn ang="0">
                        <a:pos x="T4" y="T5"/>
                      </a:cxn>
                      <a:cxn ang="0">
                        <a:pos x="T6" y="T7"/>
                      </a:cxn>
                      <a:cxn ang="0">
                        <a:pos x="T8" y="T9"/>
                      </a:cxn>
                    </a:cxnLst>
                    <a:rect l="0" t="0" r="r" b="b"/>
                    <a:pathLst>
                      <a:path w="45" h="68">
                        <a:moveTo>
                          <a:pt x="45" y="0"/>
                        </a:moveTo>
                        <a:cubicBezTo>
                          <a:pt x="43" y="13"/>
                          <a:pt x="35" y="20"/>
                          <a:pt x="28" y="29"/>
                        </a:cubicBezTo>
                        <a:cubicBezTo>
                          <a:pt x="20" y="41"/>
                          <a:pt x="12" y="53"/>
                          <a:pt x="3" y="65"/>
                        </a:cubicBezTo>
                        <a:cubicBezTo>
                          <a:pt x="3" y="66"/>
                          <a:pt x="2" y="67"/>
                          <a:pt x="0" y="68"/>
                        </a:cubicBezTo>
                        <a:cubicBezTo>
                          <a:pt x="8" y="41"/>
                          <a:pt x="29" y="23"/>
                          <a:pt x="4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GB" sz="1100"/>
                  </a:p>
                </p:txBody>
              </p:sp>
              <p:sp>
                <p:nvSpPr>
                  <p:cNvPr id="83" name="Freeform 38">
                    <a:extLst>
                      <a:ext uri="{FF2B5EF4-FFF2-40B4-BE49-F238E27FC236}">
                        <a16:creationId xmlns:a16="http://schemas.microsoft.com/office/drawing/2014/main" id="{CA8F3073-416A-4374-949F-85B1D0796666}"/>
                      </a:ext>
                    </a:extLst>
                  </p:cNvPr>
                  <p:cNvSpPr>
                    <a:spLocks/>
                  </p:cNvSpPr>
                  <p:nvPr/>
                </p:nvSpPr>
                <p:spPr bwMode="auto">
                  <a:xfrm>
                    <a:off x="633" y="1363"/>
                    <a:ext cx="19" cy="39"/>
                  </a:xfrm>
                  <a:custGeom>
                    <a:avLst/>
                    <a:gdLst>
                      <a:gd name="T0" fmla="*/ 19 w 19"/>
                      <a:gd name="T1" fmla="*/ 0 h 40"/>
                      <a:gd name="T2" fmla="*/ 9 w 19"/>
                      <a:gd name="T3" fmla="*/ 40 h 40"/>
                      <a:gd name="T4" fmla="*/ 19 w 19"/>
                      <a:gd name="T5" fmla="*/ 0 h 40"/>
                    </a:gdLst>
                    <a:ahLst/>
                    <a:cxnLst>
                      <a:cxn ang="0">
                        <a:pos x="T0" y="T1"/>
                      </a:cxn>
                      <a:cxn ang="0">
                        <a:pos x="T2" y="T3"/>
                      </a:cxn>
                      <a:cxn ang="0">
                        <a:pos x="T4" y="T5"/>
                      </a:cxn>
                    </a:cxnLst>
                    <a:rect l="0" t="0" r="r" b="b"/>
                    <a:pathLst>
                      <a:path w="19" h="40">
                        <a:moveTo>
                          <a:pt x="19" y="0"/>
                        </a:moveTo>
                        <a:cubicBezTo>
                          <a:pt x="16" y="14"/>
                          <a:pt x="12" y="27"/>
                          <a:pt x="9" y="40"/>
                        </a:cubicBezTo>
                        <a:cubicBezTo>
                          <a:pt x="0" y="24"/>
                          <a:pt x="15" y="13"/>
                          <a:pt x="1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GB" sz="1100"/>
                  </a:p>
                </p:txBody>
              </p:sp>
            </p:grpSp>
          </p:grpSp>
          <p:sp>
            <p:nvSpPr>
              <p:cNvPr id="84" name="TextBox 83">
                <a:extLst>
                  <a:ext uri="{FF2B5EF4-FFF2-40B4-BE49-F238E27FC236}">
                    <a16:creationId xmlns:a16="http://schemas.microsoft.com/office/drawing/2014/main" id="{4DC80FC4-0C2C-4A12-81CC-6FF6DCB41648}"/>
                  </a:ext>
                </a:extLst>
              </p:cNvPr>
              <p:cNvSpPr txBox="1">
                <a:spLocks/>
              </p:cNvSpPr>
              <p:nvPr/>
            </p:nvSpPr>
            <p:spPr>
              <a:xfrm>
                <a:off x="5881947" y="913024"/>
                <a:ext cx="2792523" cy="938719"/>
              </a:xfrm>
              <a:prstGeom prst="rect">
                <a:avLst/>
              </a:prstGeom>
              <a:solidFill>
                <a:schemeClr val="bg1">
                  <a:lumMod val="85000"/>
                </a:schemeClr>
              </a:solidFill>
              <a:ln>
                <a:noFill/>
              </a:ln>
            </p:spPr>
            <p:txBody>
              <a:bodyPr vert="horz" wrap="square" lIns="72009" tIns="72009" rIns="72009" bIns="72009" rtlCol="0" anchor="ctr" anchorCtr="0">
                <a:no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spcBef>
                    <a:spcPts val="400"/>
                  </a:spcBef>
                  <a:buClr>
                    <a:schemeClr val="tx2"/>
                  </a:buClr>
                  <a:buSzPct val="125000"/>
                  <a:defRPr/>
                </a:pPr>
                <a:r>
                  <a:rPr lang="en-US" sz="1100" dirty="0"/>
                  <a:t>Conducted a top-down diagnostic, identifying 9-12% EBITDA improvement potential across sales and marketing, steel operation, mining, procurement and logistics</a:t>
                </a:r>
              </a:p>
            </p:txBody>
          </p:sp>
        </p:grpSp>
      </p:grpSp>
      <p:grpSp>
        <p:nvGrpSpPr>
          <p:cNvPr id="49" name="Group 48">
            <a:extLst>
              <a:ext uri="{FF2B5EF4-FFF2-40B4-BE49-F238E27FC236}">
                <a16:creationId xmlns:a16="http://schemas.microsoft.com/office/drawing/2014/main" id="{0CA35C32-8BFD-4274-BEEB-1A1156F1084C}"/>
              </a:ext>
            </a:extLst>
          </p:cNvPr>
          <p:cNvGrpSpPr/>
          <p:nvPr/>
        </p:nvGrpSpPr>
        <p:grpSpPr>
          <a:xfrm>
            <a:off x="268320" y="4912864"/>
            <a:ext cx="8438959" cy="822533"/>
            <a:chOff x="215932" y="6741519"/>
            <a:chExt cx="8438959" cy="822533"/>
          </a:xfrm>
        </p:grpSpPr>
        <p:grpSp>
          <p:nvGrpSpPr>
            <p:cNvPr id="44" name="Group 43">
              <a:extLst>
                <a:ext uri="{FF2B5EF4-FFF2-40B4-BE49-F238E27FC236}">
                  <a16:creationId xmlns:a16="http://schemas.microsoft.com/office/drawing/2014/main" id="{0162BCA5-CFD4-4DDE-B391-982A35283C17}"/>
                </a:ext>
              </a:extLst>
            </p:cNvPr>
            <p:cNvGrpSpPr>
              <a:grpSpLocks/>
            </p:cNvGrpSpPr>
            <p:nvPr/>
          </p:nvGrpSpPr>
          <p:grpSpPr>
            <a:xfrm>
              <a:off x="215932" y="6741519"/>
              <a:ext cx="4188005" cy="822533"/>
              <a:chOff x="215932" y="6741519"/>
              <a:chExt cx="4188005" cy="822533"/>
            </a:xfrm>
          </p:grpSpPr>
          <p:grpSp>
            <p:nvGrpSpPr>
              <p:cNvPr id="43" name="Group 42">
                <a:extLst>
                  <a:ext uri="{FF2B5EF4-FFF2-40B4-BE49-F238E27FC236}">
                    <a16:creationId xmlns:a16="http://schemas.microsoft.com/office/drawing/2014/main" id="{97B8CA16-1205-4E82-A928-D99B2C2C0B31}"/>
                  </a:ext>
                </a:extLst>
              </p:cNvPr>
              <p:cNvGrpSpPr/>
              <p:nvPr/>
            </p:nvGrpSpPr>
            <p:grpSpPr>
              <a:xfrm>
                <a:off x="215932" y="6741519"/>
                <a:ext cx="1395484" cy="822533"/>
                <a:chOff x="215932" y="6741519"/>
                <a:chExt cx="1395484" cy="822533"/>
              </a:xfrm>
            </p:grpSpPr>
            <p:sp>
              <p:nvSpPr>
                <p:cNvPr id="85" name="Rectangle 84">
                  <a:extLst>
                    <a:ext uri="{FF2B5EF4-FFF2-40B4-BE49-F238E27FC236}">
                      <a16:creationId xmlns:a16="http://schemas.microsoft.com/office/drawing/2014/main" id="{260F210A-59BD-4F2F-A7C8-19B1876953B4}"/>
                    </a:ext>
                  </a:extLst>
                </p:cNvPr>
                <p:cNvSpPr>
                  <a:spLocks/>
                </p:cNvSpPr>
                <p:nvPr/>
              </p:nvSpPr>
              <p:spPr>
                <a:xfrm>
                  <a:off x="215932" y="6741519"/>
                  <a:ext cx="1395484" cy="82253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rtlCol="0" anchor="t">
                  <a:noAutofit/>
                </a:bodyPr>
                <a:lstStyle/>
                <a:p>
                  <a:pPr>
                    <a:spcBef>
                      <a:spcPts val="400"/>
                    </a:spcBef>
                  </a:pPr>
                  <a:r>
                    <a:rPr lang="en-US" sz="1100" b="1" dirty="0">
                      <a:solidFill>
                        <a:schemeClr val="bg1"/>
                      </a:solidFill>
                      <a:latin typeface="+mj-lt"/>
                    </a:rPr>
                    <a:t>Advanced analytics for a major </a:t>
                  </a:r>
                  <a:br>
                    <a:rPr lang="en-US" sz="1100" b="1" dirty="0">
                      <a:solidFill>
                        <a:schemeClr val="bg1"/>
                      </a:solidFill>
                      <a:latin typeface="+mj-lt"/>
                    </a:rPr>
                  </a:br>
                  <a:r>
                    <a:rPr lang="en-US" sz="1100" b="1" dirty="0">
                      <a:solidFill>
                        <a:schemeClr val="bg1"/>
                      </a:solidFill>
                      <a:latin typeface="+mj-lt"/>
                    </a:rPr>
                    <a:t>steel player</a:t>
                  </a:r>
                  <a:endParaRPr lang="en-GB" sz="1100" b="1" dirty="0">
                    <a:solidFill>
                      <a:schemeClr val="bg1"/>
                    </a:solidFill>
                    <a:latin typeface="+mj-lt"/>
                  </a:endParaRPr>
                </a:p>
              </p:txBody>
            </p:sp>
            <p:sp>
              <p:nvSpPr>
                <p:cNvPr id="86" name="Freeform 24">
                  <a:extLst>
                    <a:ext uri="{FF2B5EF4-FFF2-40B4-BE49-F238E27FC236}">
                      <a16:creationId xmlns:a16="http://schemas.microsoft.com/office/drawing/2014/main" id="{5EE38464-78B2-492A-8DF7-54D210D35B5A}"/>
                    </a:ext>
                  </a:extLst>
                </p:cNvPr>
                <p:cNvSpPr>
                  <a:spLocks noEditPoints="1"/>
                </p:cNvSpPr>
                <p:nvPr/>
              </p:nvSpPr>
              <p:spPr bwMode="auto">
                <a:xfrm>
                  <a:off x="1297548" y="7229031"/>
                  <a:ext cx="254048" cy="254858"/>
                </a:xfrm>
                <a:custGeom>
                  <a:avLst/>
                  <a:gdLst>
                    <a:gd name="T0" fmla="*/ 230 w 360"/>
                    <a:gd name="T1" fmla="*/ 187 h 360"/>
                    <a:gd name="T2" fmla="*/ 310 w 360"/>
                    <a:gd name="T3" fmla="*/ 203 h 360"/>
                    <a:gd name="T4" fmla="*/ 52 w 360"/>
                    <a:gd name="T5" fmla="*/ 0 h 360"/>
                    <a:gd name="T6" fmla="*/ 308 w 360"/>
                    <a:gd name="T7" fmla="*/ 360 h 360"/>
                    <a:gd name="T8" fmla="*/ 126 w 360"/>
                    <a:gd name="T9" fmla="*/ 324 h 360"/>
                    <a:gd name="T10" fmla="*/ 126 w 360"/>
                    <a:gd name="T11" fmla="*/ 324 h 360"/>
                    <a:gd name="T12" fmla="*/ 126 w 360"/>
                    <a:gd name="T13" fmla="*/ 305 h 360"/>
                    <a:gd name="T14" fmla="*/ 46 w 360"/>
                    <a:gd name="T15" fmla="*/ 293 h 360"/>
                    <a:gd name="T16" fmla="*/ 138 w 360"/>
                    <a:gd name="T17" fmla="*/ 324 h 360"/>
                    <a:gd name="T18" fmla="*/ 218 w 360"/>
                    <a:gd name="T19" fmla="*/ 311 h 360"/>
                    <a:gd name="T20" fmla="*/ 218 w 360"/>
                    <a:gd name="T21" fmla="*/ 311 h 360"/>
                    <a:gd name="T22" fmla="*/ 218 w 360"/>
                    <a:gd name="T23" fmla="*/ 293 h 360"/>
                    <a:gd name="T24" fmla="*/ 230 w 360"/>
                    <a:gd name="T25" fmla="*/ 293 h 360"/>
                    <a:gd name="T26" fmla="*/ 240 w 360"/>
                    <a:gd name="T27" fmla="*/ 268 h 360"/>
                    <a:gd name="T28" fmla="*/ 263 w 360"/>
                    <a:gd name="T29" fmla="*/ 275 h 360"/>
                    <a:gd name="T30" fmla="*/ 263 w 360"/>
                    <a:gd name="T31" fmla="*/ 275 h 360"/>
                    <a:gd name="T32" fmla="*/ 301 w 360"/>
                    <a:gd name="T33" fmla="*/ 283 h 360"/>
                    <a:gd name="T34" fmla="*/ 301 w 360"/>
                    <a:gd name="T35" fmla="*/ 264 h 360"/>
                    <a:gd name="T36" fmla="*/ 260 w 360"/>
                    <a:gd name="T37" fmla="*/ 272 h 360"/>
                    <a:gd name="T38" fmla="*/ 18 w 360"/>
                    <a:gd name="T39" fmla="*/ 272 h 360"/>
                    <a:gd name="T40" fmla="*/ 342 w 360"/>
                    <a:gd name="T41" fmla="*/ 52 h 360"/>
                    <a:gd name="T42" fmla="*/ 310 w 360"/>
                    <a:gd name="T43" fmla="*/ 71 h 360"/>
                    <a:gd name="T44" fmla="*/ 279 w 360"/>
                    <a:gd name="T45" fmla="*/ 107 h 360"/>
                    <a:gd name="T46" fmla="*/ 296 w 360"/>
                    <a:gd name="T47" fmla="*/ 124 h 360"/>
                    <a:gd name="T48" fmla="*/ 279 w 360"/>
                    <a:gd name="T49" fmla="*/ 132 h 360"/>
                    <a:gd name="T50" fmla="*/ 60 w 360"/>
                    <a:gd name="T51" fmla="*/ 119 h 360"/>
                    <a:gd name="T52" fmla="*/ 67 w 360"/>
                    <a:gd name="T53" fmla="*/ 122 h 360"/>
                    <a:gd name="T54" fmla="*/ 73 w 360"/>
                    <a:gd name="T55" fmla="*/ 137 h 360"/>
                    <a:gd name="T56" fmla="*/ 310 w 360"/>
                    <a:gd name="T57" fmla="*/ 229 h 360"/>
                    <a:gd name="T58" fmla="*/ 46 w 360"/>
                    <a:gd name="T59" fmla="*/ 212 h 360"/>
                    <a:gd name="T60" fmla="*/ 46 w 360"/>
                    <a:gd name="T61" fmla="*/ 212 h 360"/>
                    <a:gd name="T62" fmla="*/ 46 w 360"/>
                    <a:gd name="T63" fmla="*/ 220 h 360"/>
                    <a:gd name="T64" fmla="*/ 88 w 360"/>
                    <a:gd name="T65" fmla="*/ 46 h 360"/>
                    <a:gd name="T66" fmla="*/ 79 w 360"/>
                    <a:gd name="T67" fmla="*/ 39 h 360"/>
                    <a:gd name="T68" fmla="*/ 79 w 360"/>
                    <a:gd name="T69" fmla="*/ 39 h 360"/>
                    <a:gd name="T70" fmla="*/ 82 w 360"/>
                    <a:gd name="T71" fmla="*/ 44 h 360"/>
                    <a:gd name="T72" fmla="*/ 46 w 360"/>
                    <a:gd name="T73" fmla="*/ 257 h 360"/>
                    <a:gd name="T74" fmla="*/ 46 w 360"/>
                    <a:gd name="T75" fmla="*/ 257 h 360"/>
                    <a:gd name="T76" fmla="*/ 102 w 360"/>
                    <a:gd name="T77" fmla="*/ 36 h 360"/>
                    <a:gd name="T78" fmla="*/ 108 w 360"/>
                    <a:gd name="T79" fmla="*/ 46 h 360"/>
                    <a:gd name="T80" fmla="*/ 98 w 360"/>
                    <a:gd name="T81" fmla="*/ 48 h 360"/>
                    <a:gd name="T82" fmla="*/ 104 w 360"/>
                    <a:gd name="T83" fmla="*/ 49 h 360"/>
                    <a:gd name="T84" fmla="*/ 105 w 360"/>
                    <a:gd name="T85" fmla="*/ 44 h 360"/>
                    <a:gd name="T86" fmla="*/ 100 w 360"/>
                    <a:gd name="T87" fmla="*/ 42 h 360"/>
                    <a:gd name="T88" fmla="*/ 98 w 360"/>
                    <a:gd name="T89" fmla="*/ 48 h 360"/>
                    <a:gd name="T90" fmla="*/ 46 w 360"/>
                    <a:gd name="T91" fmla="*/ 187 h 360"/>
                    <a:gd name="T92" fmla="*/ 56 w 360"/>
                    <a:gd name="T93" fmla="*/ 36 h 360"/>
                    <a:gd name="T94" fmla="*/ 53 w 360"/>
                    <a:gd name="T95" fmla="*/ 41 h 360"/>
                    <a:gd name="T96" fmla="*/ 60 w 360"/>
                    <a:gd name="T97" fmla="*/ 43 h 360"/>
                    <a:gd name="T98" fmla="*/ 58 w 360"/>
                    <a:gd name="T99" fmla="*/ 51 h 360"/>
                    <a:gd name="T100" fmla="*/ 51 w 360"/>
                    <a:gd name="T101" fmla="*/ 48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60" h="360">
                      <a:moveTo>
                        <a:pt x="230" y="196"/>
                      </a:moveTo>
                      <a:cubicBezTo>
                        <a:pt x="310" y="196"/>
                        <a:pt x="310" y="196"/>
                        <a:pt x="310" y="196"/>
                      </a:cubicBezTo>
                      <a:cubicBezTo>
                        <a:pt x="310" y="187"/>
                        <a:pt x="310" y="187"/>
                        <a:pt x="310" y="187"/>
                      </a:cubicBezTo>
                      <a:cubicBezTo>
                        <a:pt x="230" y="187"/>
                        <a:pt x="230" y="187"/>
                        <a:pt x="230" y="187"/>
                      </a:cubicBezTo>
                      <a:lnTo>
                        <a:pt x="230" y="196"/>
                      </a:lnTo>
                      <a:close/>
                      <a:moveTo>
                        <a:pt x="230" y="212"/>
                      </a:moveTo>
                      <a:cubicBezTo>
                        <a:pt x="310" y="212"/>
                        <a:pt x="310" y="212"/>
                        <a:pt x="310" y="212"/>
                      </a:cubicBezTo>
                      <a:cubicBezTo>
                        <a:pt x="310" y="203"/>
                        <a:pt x="310" y="203"/>
                        <a:pt x="310" y="203"/>
                      </a:cubicBezTo>
                      <a:cubicBezTo>
                        <a:pt x="230" y="203"/>
                        <a:pt x="230" y="203"/>
                        <a:pt x="230" y="203"/>
                      </a:cubicBezTo>
                      <a:lnTo>
                        <a:pt x="230" y="212"/>
                      </a:lnTo>
                      <a:close/>
                      <a:moveTo>
                        <a:pt x="308" y="0"/>
                      </a:moveTo>
                      <a:cubicBezTo>
                        <a:pt x="52" y="0"/>
                        <a:pt x="52" y="0"/>
                        <a:pt x="52" y="0"/>
                      </a:cubicBezTo>
                      <a:cubicBezTo>
                        <a:pt x="23" y="0"/>
                        <a:pt x="0" y="23"/>
                        <a:pt x="0" y="52"/>
                      </a:cubicBezTo>
                      <a:cubicBezTo>
                        <a:pt x="0" y="308"/>
                        <a:pt x="0" y="308"/>
                        <a:pt x="0" y="308"/>
                      </a:cubicBezTo>
                      <a:cubicBezTo>
                        <a:pt x="0" y="337"/>
                        <a:pt x="23" y="360"/>
                        <a:pt x="52" y="360"/>
                      </a:cubicBezTo>
                      <a:cubicBezTo>
                        <a:pt x="308" y="360"/>
                        <a:pt x="308" y="360"/>
                        <a:pt x="308" y="360"/>
                      </a:cubicBezTo>
                      <a:cubicBezTo>
                        <a:pt x="337" y="360"/>
                        <a:pt x="360" y="337"/>
                        <a:pt x="360" y="308"/>
                      </a:cubicBezTo>
                      <a:cubicBezTo>
                        <a:pt x="360" y="52"/>
                        <a:pt x="360" y="52"/>
                        <a:pt x="360" y="52"/>
                      </a:cubicBezTo>
                      <a:cubicBezTo>
                        <a:pt x="360" y="23"/>
                        <a:pt x="337" y="0"/>
                        <a:pt x="308" y="0"/>
                      </a:cubicBezTo>
                      <a:close/>
                      <a:moveTo>
                        <a:pt x="126" y="324"/>
                      </a:moveTo>
                      <a:cubicBezTo>
                        <a:pt x="46" y="324"/>
                        <a:pt x="46" y="324"/>
                        <a:pt x="46" y="324"/>
                      </a:cubicBezTo>
                      <a:cubicBezTo>
                        <a:pt x="46" y="318"/>
                        <a:pt x="46" y="318"/>
                        <a:pt x="46" y="318"/>
                      </a:cubicBezTo>
                      <a:cubicBezTo>
                        <a:pt x="126" y="318"/>
                        <a:pt x="126" y="318"/>
                        <a:pt x="126" y="318"/>
                      </a:cubicBezTo>
                      <a:cubicBezTo>
                        <a:pt x="126" y="324"/>
                        <a:pt x="126" y="324"/>
                        <a:pt x="126" y="324"/>
                      </a:cubicBezTo>
                      <a:close/>
                      <a:moveTo>
                        <a:pt x="126" y="311"/>
                      </a:moveTo>
                      <a:cubicBezTo>
                        <a:pt x="46" y="311"/>
                        <a:pt x="46" y="311"/>
                        <a:pt x="46" y="311"/>
                      </a:cubicBezTo>
                      <a:cubicBezTo>
                        <a:pt x="46" y="305"/>
                        <a:pt x="46" y="305"/>
                        <a:pt x="46" y="305"/>
                      </a:cubicBezTo>
                      <a:cubicBezTo>
                        <a:pt x="126" y="305"/>
                        <a:pt x="126" y="305"/>
                        <a:pt x="126" y="305"/>
                      </a:cubicBezTo>
                      <a:cubicBezTo>
                        <a:pt x="126" y="311"/>
                        <a:pt x="126" y="311"/>
                        <a:pt x="126" y="311"/>
                      </a:cubicBezTo>
                      <a:close/>
                      <a:moveTo>
                        <a:pt x="126" y="299"/>
                      </a:moveTo>
                      <a:cubicBezTo>
                        <a:pt x="46" y="299"/>
                        <a:pt x="46" y="299"/>
                        <a:pt x="46" y="299"/>
                      </a:cubicBezTo>
                      <a:cubicBezTo>
                        <a:pt x="46" y="293"/>
                        <a:pt x="46" y="293"/>
                        <a:pt x="46" y="293"/>
                      </a:cubicBezTo>
                      <a:cubicBezTo>
                        <a:pt x="126" y="293"/>
                        <a:pt x="126" y="293"/>
                        <a:pt x="126" y="293"/>
                      </a:cubicBezTo>
                      <a:cubicBezTo>
                        <a:pt x="126" y="299"/>
                        <a:pt x="126" y="299"/>
                        <a:pt x="126" y="299"/>
                      </a:cubicBezTo>
                      <a:close/>
                      <a:moveTo>
                        <a:pt x="218" y="324"/>
                      </a:moveTo>
                      <a:cubicBezTo>
                        <a:pt x="138" y="324"/>
                        <a:pt x="138" y="324"/>
                        <a:pt x="138" y="324"/>
                      </a:cubicBezTo>
                      <a:cubicBezTo>
                        <a:pt x="138" y="318"/>
                        <a:pt x="138" y="318"/>
                        <a:pt x="138" y="318"/>
                      </a:cubicBezTo>
                      <a:cubicBezTo>
                        <a:pt x="218" y="318"/>
                        <a:pt x="218" y="318"/>
                        <a:pt x="218" y="318"/>
                      </a:cubicBezTo>
                      <a:cubicBezTo>
                        <a:pt x="218" y="324"/>
                        <a:pt x="218" y="324"/>
                        <a:pt x="218" y="324"/>
                      </a:cubicBezTo>
                      <a:close/>
                      <a:moveTo>
                        <a:pt x="218" y="311"/>
                      </a:moveTo>
                      <a:cubicBezTo>
                        <a:pt x="138" y="311"/>
                        <a:pt x="138" y="311"/>
                        <a:pt x="138" y="311"/>
                      </a:cubicBezTo>
                      <a:cubicBezTo>
                        <a:pt x="138" y="305"/>
                        <a:pt x="138" y="305"/>
                        <a:pt x="138" y="305"/>
                      </a:cubicBezTo>
                      <a:cubicBezTo>
                        <a:pt x="218" y="305"/>
                        <a:pt x="218" y="305"/>
                        <a:pt x="218" y="305"/>
                      </a:cubicBezTo>
                      <a:cubicBezTo>
                        <a:pt x="218" y="311"/>
                        <a:pt x="218" y="311"/>
                        <a:pt x="218" y="311"/>
                      </a:cubicBezTo>
                      <a:close/>
                      <a:moveTo>
                        <a:pt x="218" y="299"/>
                      </a:moveTo>
                      <a:cubicBezTo>
                        <a:pt x="138" y="299"/>
                        <a:pt x="138" y="299"/>
                        <a:pt x="138" y="299"/>
                      </a:cubicBezTo>
                      <a:cubicBezTo>
                        <a:pt x="138" y="293"/>
                        <a:pt x="138" y="293"/>
                        <a:pt x="138" y="293"/>
                      </a:cubicBezTo>
                      <a:cubicBezTo>
                        <a:pt x="218" y="293"/>
                        <a:pt x="218" y="293"/>
                        <a:pt x="218" y="293"/>
                      </a:cubicBezTo>
                      <a:cubicBezTo>
                        <a:pt x="218" y="299"/>
                        <a:pt x="218" y="299"/>
                        <a:pt x="218" y="299"/>
                      </a:cubicBezTo>
                      <a:close/>
                      <a:moveTo>
                        <a:pt x="310" y="324"/>
                      </a:moveTo>
                      <a:cubicBezTo>
                        <a:pt x="230" y="324"/>
                        <a:pt x="230" y="324"/>
                        <a:pt x="230" y="324"/>
                      </a:cubicBezTo>
                      <a:cubicBezTo>
                        <a:pt x="230" y="293"/>
                        <a:pt x="230" y="293"/>
                        <a:pt x="230" y="293"/>
                      </a:cubicBezTo>
                      <a:cubicBezTo>
                        <a:pt x="310" y="293"/>
                        <a:pt x="310" y="293"/>
                        <a:pt x="310" y="293"/>
                      </a:cubicBezTo>
                      <a:lnTo>
                        <a:pt x="310" y="324"/>
                      </a:lnTo>
                      <a:close/>
                      <a:moveTo>
                        <a:pt x="232" y="275"/>
                      </a:moveTo>
                      <a:cubicBezTo>
                        <a:pt x="232" y="271"/>
                        <a:pt x="236" y="268"/>
                        <a:pt x="240" y="268"/>
                      </a:cubicBezTo>
                      <a:cubicBezTo>
                        <a:pt x="244" y="268"/>
                        <a:pt x="247" y="271"/>
                        <a:pt x="247" y="275"/>
                      </a:cubicBezTo>
                      <a:cubicBezTo>
                        <a:pt x="247" y="279"/>
                        <a:pt x="244" y="283"/>
                        <a:pt x="240" y="283"/>
                      </a:cubicBezTo>
                      <a:cubicBezTo>
                        <a:pt x="236" y="283"/>
                        <a:pt x="232" y="279"/>
                        <a:pt x="232" y="275"/>
                      </a:cubicBezTo>
                      <a:close/>
                      <a:moveTo>
                        <a:pt x="263" y="275"/>
                      </a:moveTo>
                      <a:cubicBezTo>
                        <a:pt x="263" y="271"/>
                        <a:pt x="266" y="268"/>
                        <a:pt x="270" y="268"/>
                      </a:cubicBezTo>
                      <a:cubicBezTo>
                        <a:pt x="275" y="268"/>
                        <a:pt x="278" y="271"/>
                        <a:pt x="278" y="275"/>
                      </a:cubicBezTo>
                      <a:cubicBezTo>
                        <a:pt x="278" y="279"/>
                        <a:pt x="275" y="283"/>
                        <a:pt x="270" y="283"/>
                      </a:cubicBezTo>
                      <a:cubicBezTo>
                        <a:pt x="266" y="283"/>
                        <a:pt x="263" y="279"/>
                        <a:pt x="263" y="275"/>
                      </a:cubicBezTo>
                      <a:close/>
                      <a:moveTo>
                        <a:pt x="294" y="275"/>
                      </a:moveTo>
                      <a:cubicBezTo>
                        <a:pt x="294" y="271"/>
                        <a:pt x="297" y="268"/>
                        <a:pt x="301" y="268"/>
                      </a:cubicBezTo>
                      <a:cubicBezTo>
                        <a:pt x="305" y="268"/>
                        <a:pt x="309" y="271"/>
                        <a:pt x="309" y="275"/>
                      </a:cubicBezTo>
                      <a:cubicBezTo>
                        <a:pt x="309" y="279"/>
                        <a:pt x="305" y="283"/>
                        <a:pt x="301" y="283"/>
                      </a:cubicBezTo>
                      <a:cubicBezTo>
                        <a:pt x="297" y="283"/>
                        <a:pt x="294" y="279"/>
                        <a:pt x="294" y="275"/>
                      </a:cubicBezTo>
                      <a:close/>
                      <a:moveTo>
                        <a:pt x="342" y="272"/>
                      </a:moveTo>
                      <a:cubicBezTo>
                        <a:pt x="312" y="272"/>
                        <a:pt x="312" y="272"/>
                        <a:pt x="312" y="272"/>
                      </a:cubicBezTo>
                      <a:cubicBezTo>
                        <a:pt x="311" y="267"/>
                        <a:pt x="306" y="264"/>
                        <a:pt x="301" y="264"/>
                      </a:cubicBezTo>
                      <a:cubicBezTo>
                        <a:pt x="296" y="264"/>
                        <a:pt x="292" y="267"/>
                        <a:pt x="290" y="272"/>
                      </a:cubicBezTo>
                      <a:cubicBezTo>
                        <a:pt x="281" y="272"/>
                        <a:pt x="281" y="272"/>
                        <a:pt x="281" y="272"/>
                      </a:cubicBezTo>
                      <a:cubicBezTo>
                        <a:pt x="280" y="267"/>
                        <a:pt x="276" y="264"/>
                        <a:pt x="270" y="264"/>
                      </a:cubicBezTo>
                      <a:cubicBezTo>
                        <a:pt x="265" y="264"/>
                        <a:pt x="261" y="267"/>
                        <a:pt x="260" y="272"/>
                      </a:cubicBezTo>
                      <a:cubicBezTo>
                        <a:pt x="251" y="272"/>
                        <a:pt x="251" y="272"/>
                        <a:pt x="251" y="272"/>
                      </a:cubicBezTo>
                      <a:cubicBezTo>
                        <a:pt x="249" y="267"/>
                        <a:pt x="245" y="264"/>
                        <a:pt x="240" y="264"/>
                      </a:cubicBezTo>
                      <a:cubicBezTo>
                        <a:pt x="235" y="264"/>
                        <a:pt x="230" y="267"/>
                        <a:pt x="229" y="272"/>
                      </a:cubicBezTo>
                      <a:cubicBezTo>
                        <a:pt x="18" y="272"/>
                        <a:pt x="18" y="272"/>
                        <a:pt x="18" y="272"/>
                      </a:cubicBezTo>
                      <a:cubicBezTo>
                        <a:pt x="18" y="52"/>
                        <a:pt x="18" y="52"/>
                        <a:pt x="18" y="52"/>
                      </a:cubicBezTo>
                      <a:cubicBezTo>
                        <a:pt x="18" y="33"/>
                        <a:pt x="33" y="18"/>
                        <a:pt x="52" y="18"/>
                      </a:cubicBezTo>
                      <a:cubicBezTo>
                        <a:pt x="308" y="18"/>
                        <a:pt x="308" y="18"/>
                        <a:pt x="308" y="18"/>
                      </a:cubicBezTo>
                      <a:cubicBezTo>
                        <a:pt x="327" y="18"/>
                        <a:pt x="342" y="33"/>
                        <a:pt x="342" y="52"/>
                      </a:cubicBezTo>
                      <a:cubicBezTo>
                        <a:pt x="342" y="272"/>
                        <a:pt x="342" y="272"/>
                        <a:pt x="342" y="272"/>
                      </a:cubicBezTo>
                      <a:close/>
                      <a:moveTo>
                        <a:pt x="46" y="172"/>
                      </a:moveTo>
                      <a:cubicBezTo>
                        <a:pt x="310" y="172"/>
                        <a:pt x="310" y="172"/>
                        <a:pt x="310" y="172"/>
                      </a:cubicBezTo>
                      <a:cubicBezTo>
                        <a:pt x="310" y="71"/>
                        <a:pt x="310" y="71"/>
                        <a:pt x="310" y="71"/>
                      </a:cubicBezTo>
                      <a:cubicBezTo>
                        <a:pt x="46" y="71"/>
                        <a:pt x="46" y="71"/>
                        <a:pt x="46" y="71"/>
                      </a:cubicBezTo>
                      <a:lnTo>
                        <a:pt x="46" y="172"/>
                      </a:lnTo>
                      <a:close/>
                      <a:moveTo>
                        <a:pt x="279" y="112"/>
                      </a:moveTo>
                      <a:cubicBezTo>
                        <a:pt x="278" y="110"/>
                        <a:pt x="278" y="108"/>
                        <a:pt x="279" y="107"/>
                      </a:cubicBezTo>
                      <a:cubicBezTo>
                        <a:pt x="280" y="106"/>
                        <a:pt x="282" y="106"/>
                        <a:pt x="284" y="107"/>
                      </a:cubicBezTo>
                      <a:cubicBezTo>
                        <a:pt x="296" y="119"/>
                        <a:pt x="296" y="119"/>
                        <a:pt x="296" y="119"/>
                      </a:cubicBezTo>
                      <a:cubicBezTo>
                        <a:pt x="296" y="119"/>
                        <a:pt x="296" y="119"/>
                        <a:pt x="296" y="119"/>
                      </a:cubicBezTo>
                      <a:cubicBezTo>
                        <a:pt x="297" y="121"/>
                        <a:pt x="297" y="123"/>
                        <a:pt x="296" y="124"/>
                      </a:cubicBezTo>
                      <a:cubicBezTo>
                        <a:pt x="284" y="137"/>
                        <a:pt x="284" y="137"/>
                        <a:pt x="284" y="137"/>
                      </a:cubicBezTo>
                      <a:cubicBezTo>
                        <a:pt x="283" y="137"/>
                        <a:pt x="282" y="138"/>
                        <a:pt x="281" y="138"/>
                      </a:cubicBezTo>
                      <a:cubicBezTo>
                        <a:pt x="281" y="138"/>
                        <a:pt x="280" y="137"/>
                        <a:pt x="279" y="137"/>
                      </a:cubicBezTo>
                      <a:cubicBezTo>
                        <a:pt x="278" y="135"/>
                        <a:pt x="278" y="133"/>
                        <a:pt x="279" y="132"/>
                      </a:cubicBezTo>
                      <a:cubicBezTo>
                        <a:pt x="289" y="122"/>
                        <a:pt x="289" y="122"/>
                        <a:pt x="289" y="122"/>
                      </a:cubicBezTo>
                      <a:lnTo>
                        <a:pt x="279" y="112"/>
                      </a:lnTo>
                      <a:close/>
                      <a:moveTo>
                        <a:pt x="60" y="119"/>
                      </a:moveTo>
                      <a:cubicBezTo>
                        <a:pt x="60" y="119"/>
                        <a:pt x="60" y="119"/>
                        <a:pt x="60" y="119"/>
                      </a:cubicBezTo>
                      <a:cubicBezTo>
                        <a:pt x="73" y="107"/>
                        <a:pt x="73" y="107"/>
                        <a:pt x="73" y="107"/>
                      </a:cubicBezTo>
                      <a:cubicBezTo>
                        <a:pt x="74" y="106"/>
                        <a:pt x="76" y="106"/>
                        <a:pt x="77" y="107"/>
                      </a:cubicBezTo>
                      <a:cubicBezTo>
                        <a:pt x="79" y="108"/>
                        <a:pt x="79" y="110"/>
                        <a:pt x="77" y="112"/>
                      </a:cubicBezTo>
                      <a:cubicBezTo>
                        <a:pt x="67" y="122"/>
                        <a:pt x="67" y="122"/>
                        <a:pt x="67" y="122"/>
                      </a:cubicBezTo>
                      <a:cubicBezTo>
                        <a:pt x="77" y="132"/>
                        <a:pt x="77" y="132"/>
                        <a:pt x="77" y="132"/>
                      </a:cubicBezTo>
                      <a:cubicBezTo>
                        <a:pt x="79" y="133"/>
                        <a:pt x="79" y="135"/>
                        <a:pt x="77" y="137"/>
                      </a:cubicBezTo>
                      <a:cubicBezTo>
                        <a:pt x="77" y="137"/>
                        <a:pt x="76" y="138"/>
                        <a:pt x="75" y="138"/>
                      </a:cubicBezTo>
                      <a:cubicBezTo>
                        <a:pt x="74" y="138"/>
                        <a:pt x="73" y="137"/>
                        <a:pt x="73" y="137"/>
                      </a:cubicBezTo>
                      <a:cubicBezTo>
                        <a:pt x="60" y="124"/>
                        <a:pt x="60" y="124"/>
                        <a:pt x="60" y="124"/>
                      </a:cubicBezTo>
                      <a:cubicBezTo>
                        <a:pt x="59" y="123"/>
                        <a:pt x="59" y="121"/>
                        <a:pt x="60" y="119"/>
                      </a:cubicBezTo>
                      <a:close/>
                      <a:moveTo>
                        <a:pt x="230" y="229"/>
                      </a:moveTo>
                      <a:cubicBezTo>
                        <a:pt x="310" y="229"/>
                        <a:pt x="310" y="229"/>
                        <a:pt x="310" y="229"/>
                      </a:cubicBezTo>
                      <a:cubicBezTo>
                        <a:pt x="310" y="220"/>
                        <a:pt x="310" y="220"/>
                        <a:pt x="310" y="220"/>
                      </a:cubicBezTo>
                      <a:cubicBezTo>
                        <a:pt x="230" y="220"/>
                        <a:pt x="230" y="220"/>
                        <a:pt x="230" y="220"/>
                      </a:cubicBezTo>
                      <a:lnTo>
                        <a:pt x="230" y="229"/>
                      </a:lnTo>
                      <a:close/>
                      <a:moveTo>
                        <a:pt x="46" y="212"/>
                      </a:moveTo>
                      <a:cubicBezTo>
                        <a:pt x="218" y="212"/>
                        <a:pt x="218" y="212"/>
                        <a:pt x="218" y="212"/>
                      </a:cubicBezTo>
                      <a:cubicBezTo>
                        <a:pt x="218" y="203"/>
                        <a:pt x="218" y="203"/>
                        <a:pt x="218" y="203"/>
                      </a:cubicBezTo>
                      <a:cubicBezTo>
                        <a:pt x="46" y="203"/>
                        <a:pt x="46" y="203"/>
                        <a:pt x="46" y="203"/>
                      </a:cubicBezTo>
                      <a:lnTo>
                        <a:pt x="46" y="212"/>
                      </a:lnTo>
                      <a:close/>
                      <a:moveTo>
                        <a:pt x="46" y="229"/>
                      </a:moveTo>
                      <a:cubicBezTo>
                        <a:pt x="218" y="229"/>
                        <a:pt x="218" y="229"/>
                        <a:pt x="218" y="229"/>
                      </a:cubicBezTo>
                      <a:cubicBezTo>
                        <a:pt x="218" y="220"/>
                        <a:pt x="218" y="220"/>
                        <a:pt x="218" y="220"/>
                      </a:cubicBezTo>
                      <a:cubicBezTo>
                        <a:pt x="46" y="220"/>
                        <a:pt x="46" y="220"/>
                        <a:pt x="46" y="220"/>
                      </a:cubicBezTo>
                      <a:lnTo>
                        <a:pt x="46" y="229"/>
                      </a:lnTo>
                      <a:close/>
                      <a:moveTo>
                        <a:pt x="79" y="56"/>
                      </a:moveTo>
                      <a:cubicBezTo>
                        <a:pt x="84" y="56"/>
                        <a:pt x="88" y="51"/>
                        <a:pt x="88" y="46"/>
                      </a:cubicBezTo>
                      <a:cubicBezTo>
                        <a:pt x="88" y="46"/>
                        <a:pt x="88" y="46"/>
                        <a:pt x="88" y="46"/>
                      </a:cubicBezTo>
                      <a:cubicBezTo>
                        <a:pt x="88" y="41"/>
                        <a:pt x="84" y="36"/>
                        <a:pt x="79" y="36"/>
                      </a:cubicBezTo>
                      <a:cubicBezTo>
                        <a:pt x="73" y="36"/>
                        <a:pt x="69" y="41"/>
                        <a:pt x="69" y="46"/>
                      </a:cubicBezTo>
                      <a:cubicBezTo>
                        <a:pt x="69" y="51"/>
                        <a:pt x="73" y="56"/>
                        <a:pt x="79" y="56"/>
                      </a:cubicBezTo>
                      <a:close/>
                      <a:moveTo>
                        <a:pt x="79" y="39"/>
                      </a:moveTo>
                      <a:cubicBezTo>
                        <a:pt x="82" y="39"/>
                        <a:pt x="85" y="42"/>
                        <a:pt x="85" y="46"/>
                      </a:cubicBezTo>
                      <a:cubicBezTo>
                        <a:pt x="85" y="50"/>
                        <a:pt x="82" y="52"/>
                        <a:pt x="79" y="52"/>
                      </a:cubicBezTo>
                      <a:cubicBezTo>
                        <a:pt x="75" y="52"/>
                        <a:pt x="72" y="50"/>
                        <a:pt x="72" y="46"/>
                      </a:cubicBezTo>
                      <a:cubicBezTo>
                        <a:pt x="72" y="42"/>
                        <a:pt x="75" y="39"/>
                        <a:pt x="79" y="39"/>
                      </a:cubicBezTo>
                      <a:close/>
                      <a:moveTo>
                        <a:pt x="75" y="48"/>
                      </a:moveTo>
                      <a:cubicBezTo>
                        <a:pt x="82" y="48"/>
                        <a:pt x="82" y="48"/>
                        <a:pt x="82" y="48"/>
                      </a:cubicBezTo>
                      <a:cubicBezTo>
                        <a:pt x="83" y="48"/>
                        <a:pt x="84" y="47"/>
                        <a:pt x="84" y="46"/>
                      </a:cubicBezTo>
                      <a:cubicBezTo>
                        <a:pt x="84" y="45"/>
                        <a:pt x="83" y="44"/>
                        <a:pt x="82" y="44"/>
                      </a:cubicBezTo>
                      <a:cubicBezTo>
                        <a:pt x="75" y="44"/>
                        <a:pt x="75" y="44"/>
                        <a:pt x="75" y="44"/>
                      </a:cubicBezTo>
                      <a:cubicBezTo>
                        <a:pt x="75" y="44"/>
                        <a:pt x="74" y="45"/>
                        <a:pt x="74" y="46"/>
                      </a:cubicBezTo>
                      <a:cubicBezTo>
                        <a:pt x="74" y="47"/>
                        <a:pt x="75" y="48"/>
                        <a:pt x="75" y="48"/>
                      </a:cubicBezTo>
                      <a:close/>
                      <a:moveTo>
                        <a:pt x="46" y="257"/>
                      </a:moveTo>
                      <a:cubicBezTo>
                        <a:pt x="144" y="257"/>
                        <a:pt x="144" y="257"/>
                        <a:pt x="144" y="257"/>
                      </a:cubicBezTo>
                      <a:cubicBezTo>
                        <a:pt x="144" y="238"/>
                        <a:pt x="144" y="238"/>
                        <a:pt x="144" y="238"/>
                      </a:cubicBezTo>
                      <a:cubicBezTo>
                        <a:pt x="46" y="238"/>
                        <a:pt x="46" y="238"/>
                        <a:pt x="46" y="238"/>
                      </a:cubicBezTo>
                      <a:lnTo>
                        <a:pt x="46" y="257"/>
                      </a:lnTo>
                      <a:close/>
                      <a:moveTo>
                        <a:pt x="102" y="56"/>
                      </a:moveTo>
                      <a:cubicBezTo>
                        <a:pt x="107" y="56"/>
                        <a:pt x="112" y="51"/>
                        <a:pt x="112" y="46"/>
                      </a:cubicBezTo>
                      <a:cubicBezTo>
                        <a:pt x="112" y="46"/>
                        <a:pt x="112" y="46"/>
                        <a:pt x="112" y="46"/>
                      </a:cubicBezTo>
                      <a:cubicBezTo>
                        <a:pt x="112" y="41"/>
                        <a:pt x="107" y="36"/>
                        <a:pt x="102" y="36"/>
                      </a:cubicBezTo>
                      <a:cubicBezTo>
                        <a:pt x="97" y="36"/>
                        <a:pt x="92" y="41"/>
                        <a:pt x="92" y="46"/>
                      </a:cubicBezTo>
                      <a:cubicBezTo>
                        <a:pt x="92" y="51"/>
                        <a:pt x="97" y="56"/>
                        <a:pt x="102" y="56"/>
                      </a:cubicBezTo>
                      <a:close/>
                      <a:moveTo>
                        <a:pt x="102" y="39"/>
                      </a:moveTo>
                      <a:cubicBezTo>
                        <a:pt x="106" y="39"/>
                        <a:pt x="108" y="42"/>
                        <a:pt x="108" y="46"/>
                      </a:cubicBezTo>
                      <a:cubicBezTo>
                        <a:pt x="108" y="50"/>
                        <a:pt x="106" y="52"/>
                        <a:pt x="102" y="52"/>
                      </a:cubicBezTo>
                      <a:cubicBezTo>
                        <a:pt x="98" y="52"/>
                        <a:pt x="95" y="50"/>
                        <a:pt x="95" y="46"/>
                      </a:cubicBezTo>
                      <a:cubicBezTo>
                        <a:pt x="95" y="42"/>
                        <a:pt x="98" y="39"/>
                        <a:pt x="102" y="39"/>
                      </a:cubicBezTo>
                      <a:close/>
                      <a:moveTo>
                        <a:pt x="98" y="48"/>
                      </a:moveTo>
                      <a:cubicBezTo>
                        <a:pt x="100" y="48"/>
                        <a:pt x="100" y="48"/>
                        <a:pt x="100" y="48"/>
                      </a:cubicBezTo>
                      <a:cubicBezTo>
                        <a:pt x="100" y="49"/>
                        <a:pt x="100" y="49"/>
                        <a:pt x="100" y="49"/>
                      </a:cubicBezTo>
                      <a:cubicBezTo>
                        <a:pt x="100" y="50"/>
                        <a:pt x="101" y="51"/>
                        <a:pt x="102" y="51"/>
                      </a:cubicBezTo>
                      <a:cubicBezTo>
                        <a:pt x="103" y="51"/>
                        <a:pt x="104" y="50"/>
                        <a:pt x="104" y="49"/>
                      </a:cubicBezTo>
                      <a:cubicBezTo>
                        <a:pt x="104" y="48"/>
                        <a:pt x="104" y="48"/>
                        <a:pt x="104" y="48"/>
                      </a:cubicBezTo>
                      <a:cubicBezTo>
                        <a:pt x="105" y="48"/>
                        <a:pt x="105" y="48"/>
                        <a:pt x="105" y="48"/>
                      </a:cubicBezTo>
                      <a:cubicBezTo>
                        <a:pt x="106" y="48"/>
                        <a:pt x="107" y="47"/>
                        <a:pt x="107" y="46"/>
                      </a:cubicBezTo>
                      <a:cubicBezTo>
                        <a:pt x="107" y="45"/>
                        <a:pt x="106" y="44"/>
                        <a:pt x="105" y="44"/>
                      </a:cubicBezTo>
                      <a:cubicBezTo>
                        <a:pt x="104" y="44"/>
                        <a:pt x="104" y="44"/>
                        <a:pt x="104" y="44"/>
                      </a:cubicBezTo>
                      <a:cubicBezTo>
                        <a:pt x="104" y="42"/>
                        <a:pt x="104" y="42"/>
                        <a:pt x="104" y="42"/>
                      </a:cubicBezTo>
                      <a:cubicBezTo>
                        <a:pt x="104" y="42"/>
                        <a:pt x="103" y="41"/>
                        <a:pt x="102" y="41"/>
                      </a:cubicBezTo>
                      <a:cubicBezTo>
                        <a:pt x="101" y="41"/>
                        <a:pt x="100" y="42"/>
                        <a:pt x="100" y="42"/>
                      </a:cubicBezTo>
                      <a:cubicBezTo>
                        <a:pt x="100" y="44"/>
                        <a:pt x="100" y="44"/>
                        <a:pt x="100" y="44"/>
                      </a:cubicBezTo>
                      <a:cubicBezTo>
                        <a:pt x="98" y="44"/>
                        <a:pt x="98" y="44"/>
                        <a:pt x="98" y="44"/>
                      </a:cubicBezTo>
                      <a:cubicBezTo>
                        <a:pt x="98" y="44"/>
                        <a:pt x="97" y="45"/>
                        <a:pt x="97" y="46"/>
                      </a:cubicBezTo>
                      <a:cubicBezTo>
                        <a:pt x="97" y="47"/>
                        <a:pt x="98" y="48"/>
                        <a:pt x="98" y="48"/>
                      </a:cubicBezTo>
                      <a:close/>
                      <a:moveTo>
                        <a:pt x="46" y="196"/>
                      </a:moveTo>
                      <a:cubicBezTo>
                        <a:pt x="218" y="196"/>
                        <a:pt x="218" y="196"/>
                        <a:pt x="218" y="196"/>
                      </a:cubicBezTo>
                      <a:cubicBezTo>
                        <a:pt x="218" y="187"/>
                        <a:pt x="218" y="187"/>
                        <a:pt x="218" y="187"/>
                      </a:cubicBezTo>
                      <a:cubicBezTo>
                        <a:pt x="46" y="187"/>
                        <a:pt x="46" y="187"/>
                        <a:pt x="46" y="187"/>
                      </a:cubicBezTo>
                      <a:lnTo>
                        <a:pt x="46" y="196"/>
                      </a:lnTo>
                      <a:close/>
                      <a:moveTo>
                        <a:pt x="56" y="56"/>
                      </a:moveTo>
                      <a:cubicBezTo>
                        <a:pt x="61" y="56"/>
                        <a:pt x="65" y="51"/>
                        <a:pt x="65" y="46"/>
                      </a:cubicBezTo>
                      <a:cubicBezTo>
                        <a:pt x="65" y="41"/>
                        <a:pt x="61" y="36"/>
                        <a:pt x="56" y="36"/>
                      </a:cubicBezTo>
                      <a:cubicBezTo>
                        <a:pt x="50" y="36"/>
                        <a:pt x="46" y="41"/>
                        <a:pt x="46" y="46"/>
                      </a:cubicBezTo>
                      <a:cubicBezTo>
                        <a:pt x="46" y="51"/>
                        <a:pt x="50" y="56"/>
                        <a:pt x="56" y="56"/>
                      </a:cubicBezTo>
                      <a:close/>
                      <a:moveTo>
                        <a:pt x="51" y="41"/>
                      </a:moveTo>
                      <a:cubicBezTo>
                        <a:pt x="52" y="41"/>
                        <a:pt x="53" y="41"/>
                        <a:pt x="53" y="41"/>
                      </a:cubicBezTo>
                      <a:cubicBezTo>
                        <a:pt x="56" y="44"/>
                        <a:pt x="56" y="44"/>
                        <a:pt x="56" y="44"/>
                      </a:cubicBezTo>
                      <a:cubicBezTo>
                        <a:pt x="58" y="41"/>
                        <a:pt x="58" y="41"/>
                        <a:pt x="58" y="41"/>
                      </a:cubicBezTo>
                      <a:cubicBezTo>
                        <a:pt x="59" y="41"/>
                        <a:pt x="60" y="41"/>
                        <a:pt x="60" y="41"/>
                      </a:cubicBezTo>
                      <a:cubicBezTo>
                        <a:pt x="61" y="42"/>
                        <a:pt x="61" y="43"/>
                        <a:pt x="60" y="43"/>
                      </a:cubicBezTo>
                      <a:cubicBezTo>
                        <a:pt x="58" y="46"/>
                        <a:pt x="58" y="46"/>
                        <a:pt x="58" y="46"/>
                      </a:cubicBezTo>
                      <a:cubicBezTo>
                        <a:pt x="60" y="48"/>
                        <a:pt x="60" y="48"/>
                        <a:pt x="60" y="48"/>
                      </a:cubicBezTo>
                      <a:cubicBezTo>
                        <a:pt x="61" y="49"/>
                        <a:pt x="61" y="50"/>
                        <a:pt x="60" y="51"/>
                      </a:cubicBezTo>
                      <a:cubicBezTo>
                        <a:pt x="60" y="51"/>
                        <a:pt x="59" y="51"/>
                        <a:pt x="58" y="51"/>
                      </a:cubicBezTo>
                      <a:cubicBezTo>
                        <a:pt x="56" y="48"/>
                        <a:pt x="56" y="48"/>
                        <a:pt x="56" y="48"/>
                      </a:cubicBezTo>
                      <a:cubicBezTo>
                        <a:pt x="53" y="51"/>
                        <a:pt x="53" y="51"/>
                        <a:pt x="53" y="51"/>
                      </a:cubicBezTo>
                      <a:cubicBezTo>
                        <a:pt x="53" y="51"/>
                        <a:pt x="52" y="51"/>
                        <a:pt x="51" y="51"/>
                      </a:cubicBezTo>
                      <a:cubicBezTo>
                        <a:pt x="50" y="50"/>
                        <a:pt x="50" y="49"/>
                        <a:pt x="51" y="48"/>
                      </a:cubicBezTo>
                      <a:cubicBezTo>
                        <a:pt x="54" y="46"/>
                        <a:pt x="54" y="46"/>
                        <a:pt x="54" y="46"/>
                      </a:cubicBezTo>
                      <a:cubicBezTo>
                        <a:pt x="51" y="43"/>
                        <a:pt x="51" y="43"/>
                        <a:pt x="51" y="43"/>
                      </a:cubicBezTo>
                      <a:cubicBezTo>
                        <a:pt x="50" y="43"/>
                        <a:pt x="50" y="42"/>
                        <a:pt x="51" y="41"/>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sz="1100"/>
                </a:p>
              </p:txBody>
            </p:sp>
          </p:grpSp>
          <p:sp>
            <p:nvSpPr>
              <p:cNvPr id="87" name="TextBox 86">
                <a:extLst>
                  <a:ext uri="{FF2B5EF4-FFF2-40B4-BE49-F238E27FC236}">
                    <a16:creationId xmlns:a16="http://schemas.microsoft.com/office/drawing/2014/main" id="{51E2378B-BB06-4FC1-8923-554FCDF19D2B}"/>
                  </a:ext>
                </a:extLst>
              </p:cNvPr>
              <p:cNvSpPr txBox="1">
                <a:spLocks/>
              </p:cNvSpPr>
              <p:nvPr/>
            </p:nvSpPr>
            <p:spPr>
              <a:xfrm>
                <a:off x="1611414" y="6741519"/>
                <a:ext cx="2792523" cy="822533"/>
              </a:xfrm>
              <a:prstGeom prst="rect">
                <a:avLst/>
              </a:prstGeom>
              <a:solidFill>
                <a:schemeClr val="bg1">
                  <a:lumMod val="85000"/>
                </a:schemeClr>
              </a:solidFill>
              <a:ln>
                <a:noFill/>
              </a:ln>
            </p:spPr>
            <p:txBody>
              <a:bodyPr vert="horz" wrap="square" lIns="72009" tIns="72009" rIns="72009" bIns="72009" rtlCol="0" anchor="ctr" anchorCtr="0">
                <a:sp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spcBef>
                    <a:spcPts val="400"/>
                  </a:spcBef>
                  <a:buClr>
                    <a:schemeClr val="tx2"/>
                  </a:buClr>
                  <a:buSzPct val="125000"/>
                  <a:defRPr/>
                </a:pPr>
                <a:r>
                  <a:rPr lang="en-US" sz="1100" dirty="0"/>
                  <a:t>Analytics enablement by focusing on machine learning techniques and building Center of Competency (data scientists, engineers and translators)</a:t>
                </a:r>
              </a:p>
            </p:txBody>
          </p:sp>
        </p:grpSp>
        <p:grpSp>
          <p:nvGrpSpPr>
            <p:cNvPr id="48" name="Group 47">
              <a:extLst>
                <a:ext uri="{FF2B5EF4-FFF2-40B4-BE49-F238E27FC236}">
                  <a16:creationId xmlns:a16="http://schemas.microsoft.com/office/drawing/2014/main" id="{4C221A42-D185-4B6B-9D31-DD8E811BCD79}"/>
                </a:ext>
              </a:extLst>
            </p:cNvPr>
            <p:cNvGrpSpPr/>
            <p:nvPr/>
          </p:nvGrpSpPr>
          <p:grpSpPr>
            <a:xfrm>
              <a:off x="4466887" y="6741519"/>
              <a:ext cx="4188004" cy="822533"/>
              <a:chOff x="4466887" y="6741519"/>
              <a:chExt cx="4188004" cy="822533"/>
            </a:xfrm>
          </p:grpSpPr>
          <p:grpSp>
            <p:nvGrpSpPr>
              <p:cNvPr id="47" name="Group 46">
                <a:extLst>
                  <a:ext uri="{FF2B5EF4-FFF2-40B4-BE49-F238E27FC236}">
                    <a16:creationId xmlns:a16="http://schemas.microsoft.com/office/drawing/2014/main" id="{BC7B6AA4-4016-41DA-B0A0-DE1E6CE37C42}"/>
                  </a:ext>
                </a:extLst>
              </p:cNvPr>
              <p:cNvGrpSpPr>
                <a:grpSpLocks/>
              </p:cNvGrpSpPr>
              <p:nvPr/>
            </p:nvGrpSpPr>
            <p:grpSpPr>
              <a:xfrm>
                <a:off x="4466887" y="6741519"/>
                <a:ext cx="1395483" cy="822533"/>
                <a:chOff x="4466887" y="6741519"/>
                <a:chExt cx="1395483" cy="822533"/>
              </a:xfrm>
            </p:grpSpPr>
            <p:sp>
              <p:nvSpPr>
                <p:cNvPr id="88" name="Rectangle 87">
                  <a:extLst>
                    <a:ext uri="{FF2B5EF4-FFF2-40B4-BE49-F238E27FC236}">
                      <a16:creationId xmlns:a16="http://schemas.microsoft.com/office/drawing/2014/main" id="{3D7F53A4-FFF9-4023-9E3C-E5C981C8BE5F}"/>
                    </a:ext>
                  </a:extLst>
                </p:cNvPr>
                <p:cNvSpPr>
                  <a:spLocks/>
                </p:cNvSpPr>
                <p:nvPr/>
              </p:nvSpPr>
              <p:spPr>
                <a:xfrm>
                  <a:off x="4466887" y="6741519"/>
                  <a:ext cx="1395483" cy="82253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rtlCol="0" anchor="t">
                  <a:noAutofit/>
                </a:bodyPr>
                <a:lstStyle/>
                <a:p>
                  <a:r>
                    <a:rPr lang="en-US" sz="1100" b="1" dirty="0">
                      <a:solidFill>
                        <a:schemeClr val="bg1"/>
                      </a:solidFill>
                      <a:latin typeface="+mj-lt"/>
                    </a:rPr>
                    <a:t>Advanced materials for a major </a:t>
                  </a:r>
                  <a:br>
                    <a:rPr lang="en-US" sz="1100" b="1" dirty="0">
                      <a:solidFill>
                        <a:schemeClr val="bg1"/>
                      </a:solidFill>
                      <a:latin typeface="+mj-lt"/>
                    </a:rPr>
                  </a:br>
                  <a:r>
                    <a:rPr lang="en-US" sz="1100" b="1" dirty="0">
                      <a:solidFill>
                        <a:schemeClr val="bg1"/>
                      </a:solidFill>
                      <a:latin typeface="+mj-lt"/>
                    </a:rPr>
                    <a:t>steel player</a:t>
                  </a:r>
                  <a:endParaRPr lang="en-GB" sz="1100" b="1" dirty="0">
                    <a:solidFill>
                      <a:schemeClr val="bg1"/>
                    </a:solidFill>
                    <a:latin typeface="+mj-lt"/>
                  </a:endParaRPr>
                </a:p>
              </p:txBody>
            </p:sp>
            <p:grpSp>
              <p:nvGrpSpPr>
                <p:cNvPr id="89" name="Group 78">
                  <a:extLst>
                    <a:ext uri="{FF2B5EF4-FFF2-40B4-BE49-F238E27FC236}">
                      <a16:creationId xmlns:a16="http://schemas.microsoft.com/office/drawing/2014/main" id="{646AC801-59C5-4FAB-9927-221AC8A6E149}"/>
                    </a:ext>
                  </a:extLst>
                </p:cNvPr>
                <p:cNvGrpSpPr>
                  <a:grpSpLocks noChangeAspect="1"/>
                </p:cNvGrpSpPr>
                <p:nvPr/>
              </p:nvGrpSpPr>
              <p:grpSpPr bwMode="auto">
                <a:xfrm>
                  <a:off x="5409415" y="7084339"/>
                  <a:ext cx="392803" cy="392350"/>
                  <a:chOff x="420" y="3408"/>
                  <a:chExt cx="376" cy="308"/>
                </a:xfrm>
                <a:solidFill>
                  <a:schemeClr val="bg1"/>
                </a:solidFill>
              </p:grpSpPr>
              <p:sp>
                <p:nvSpPr>
                  <p:cNvPr id="90" name="Oval 79">
                    <a:extLst>
                      <a:ext uri="{FF2B5EF4-FFF2-40B4-BE49-F238E27FC236}">
                        <a16:creationId xmlns:a16="http://schemas.microsoft.com/office/drawing/2014/main" id="{D3EFF779-72BC-4BBB-9BF0-74545B8362CC}"/>
                      </a:ext>
                    </a:extLst>
                  </p:cNvPr>
                  <p:cNvSpPr>
                    <a:spLocks noChangeArrowheads="1"/>
                  </p:cNvSpPr>
                  <p:nvPr/>
                </p:nvSpPr>
                <p:spPr bwMode="auto">
                  <a:xfrm>
                    <a:off x="555" y="3408"/>
                    <a:ext cx="108" cy="5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100"/>
                  </a:p>
                </p:txBody>
              </p:sp>
              <p:sp>
                <p:nvSpPr>
                  <p:cNvPr id="91" name="Freeform 80">
                    <a:extLst>
                      <a:ext uri="{FF2B5EF4-FFF2-40B4-BE49-F238E27FC236}">
                        <a16:creationId xmlns:a16="http://schemas.microsoft.com/office/drawing/2014/main" id="{D8E1A5BA-2186-458C-92B3-772B6ECBBD55}"/>
                      </a:ext>
                    </a:extLst>
                  </p:cNvPr>
                  <p:cNvSpPr>
                    <a:spLocks/>
                  </p:cNvSpPr>
                  <p:nvPr/>
                </p:nvSpPr>
                <p:spPr bwMode="auto">
                  <a:xfrm>
                    <a:off x="550" y="3449"/>
                    <a:ext cx="119" cy="50"/>
                  </a:xfrm>
                  <a:custGeom>
                    <a:avLst/>
                    <a:gdLst>
                      <a:gd name="T0" fmla="*/ 55 w 110"/>
                      <a:gd name="T1" fmla="*/ 24 h 46"/>
                      <a:gd name="T2" fmla="*/ 0 w 110"/>
                      <a:gd name="T3" fmla="*/ 0 h 46"/>
                      <a:gd name="T4" fmla="*/ 0 w 110"/>
                      <a:gd name="T5" fmla="*/ 22 h 46"/>
                      <a:gd name="T6" fmla="*/ 55 w 110"/>
                      <a:gd name="T7" fmla="*/ 46 h 46"/>
                      <a:gd name="T8" fmla="*/ 110 w 110"/>
                      <a:gd name="T9" fmla="*/ 22 h 46"/>
                      <a:gd name="T10" fmla="*/ 110 w 110"/>
                      <a:gd name="T11" fmla="*/ 0 h 46"/>
                      <a:gd name="T12" fmla="*/ 55 w 110"/>
                      <a:gd name="T13" fmla="*/ 24 h 46"/>
                    </a:gdLst>
                    <a:ahLst/>
                    <a:cxnLst>
                      <a:cxn ang="0">
                        <a:pos x="T0" y="T1"/>
                      </a:cxn>
                      <a:cxn ang="0">
                        <a:pos x="T2" y="T3"/>
                      </a:cxn>
                      <a:cxn ang="0">
                        <a:pos x="T4" y="T5"/>
                      </a:cxn>
                      <a:cxn ang="0">
                        <a:pos x="T6" y="T7"/>
                      </a:cxn>
                      <a:cxn ang="0">
                        <a:pos x="T8" y="T9"/>
                      </a:cxn>
                      <a:cxn ang="0">
                        <a:pos x="T10" y="T11"/>
                      </a:cxn>
                      <a:cxn ang="0">
                        <a:pos x="T12" y="T13"/>
                      </a:cxn>
                    </a:cxnLst>
                    <a:rect l="0" t="0" r="r" b="b"/>
                    <a:pathLst>
                      <a:path w="110" h="46">
                        <a:moveTo>
                          <a:pt x="55" y="24"/>
                        </a:moveTo>
                        <a:cubicBezTo>
                          <a:pt x="28" y="24"/>
                          <a:pt x="5" y="14"/>
                          <a:pt x="0" y="0"/>
                        </a:cubicBezTo>
                        <a:cubicBezTo>
                          <a:pt x="0" y="22"/>
                          <a:pt x="0" y="22"/>
                          <a:pt x="0" y="22"/>
                        </a:cubicBezTo>
                        <a:cubicBezTo>
                          <a:pt x="5" y="36"/>
                          <a:pt x="28" y="46"/>
                          <a:pt x="55" y="46"/>
                        </a:cubicBezTo>
                        <a:cubicBezTo>
                          <a:pt x="82" y="46"/>
                          <a:pt x="105" y="36"/>
                          <a:pt x="110" y="22"/>
                        </a:cubicBezTo>
                        <a:cubicBezTo>
                          <a:pt x="110" y="0"/>
                          <a:pt x="110" y="0"/>
                          <a:pt x="110" y="0"/>
                        </a:cubicBezTo>
                        <a:cubicBezTo>
                          <a:pt x="105" y="14"/>
                          <a:pt x="82" y="24"/>
                          <a:pt x="55" y="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100"/>
                  </a:p>
                </p:txBody>
              </p:sp>
              <p:sp>
                <p:nvSpPr>
                  <p:cNvPr id="122" name="Freeform 81">
                    <a:extLst>
                      <a:ext uri="{FF2B5EF4-FFF2-40B4-BE49-F238E27FC236}">
                        <a16:creationId xmlns:a16="http://schemas.microsoft.com/office/drawing/2014/main" id="{EC19A284-68BA-491C-9FE8-BB1F21C29B15}"/>
                      </a:ext>
                    </a:extLst>
                  </p:cNvPr>
                  <p:cNvSpPr>
                    <a:spLocks/>
                  </p:cNvSpPr>
                  <p:nvPr/>
                </p:nvSpPr>
                <p:spPr bwMode="auto">
                  <a:xfrm>
                    <a:off x="550" y="3486"/>
                    <a:ext cx="119" cy="49"/>
                  </a:xfrm>
                  <a:custGeom>
                    <a:avLst/>
                    <a:gdLst>
                      <a:gd name="T0" fmla="*/ 55 w 110"/>
                      <a:gd name="T1" fmla="*/ 24 h 45"/>
                      <a:gd name="T2" fmla="*/ 0 w 110"/>
                      <a:gd name="T3" fmla="*/ 0 h 45"/>
                      <a:gd name="T4" fmla="*/ 0 w 110"/>
                      <a:gd name="T5" fmla="*/ 22 h 45"/>
                      <a:gd name="T6" fmla="*/ 55 w 110"/>
                      <a:gd name="T7" fmla="*/ 45 h 45"/>
                      <a:gd name="T8" fmla="*/ 110 w 110"/>
                      <a:gd name="T9" fmla="*/ 22 h 45"/>
                      <a:gd name="T10" fmla="*/ 110 w 110"/>
                      <a:gd name="T11" fmla="*/ 0 h 45"/>
                      <a:gd name="T12" fmla="*/ 55 w 110"/>
                      <a:gd name="T13" fmla="*/ 24 h 45"/>
                    </a:gdLst>
                    <a:ahLst/>
                    <a:cxnLst>
                      <a:cxn ang="0">
                        <a:pos x="T0" y="T1"/>
                      </a:cxn>
                      <a:cxn ang="0">
                        <a:pos x="T2" y="T3"/>
                      </a:cxn>
                      <a:cxn ang="0">
                        <a:pos x="T4" y="T5"/>
                      </a:cxn>
                      <a:cxn ang="0">
                        <a:pos x="T6" y="T7"/>
                      </a:cxn>
                      <a:cxn ang="0">
                        <a:pos x="T8" y="T9"/>
                      </a:cxn>
                      <a:cxn ang="0">
                        <a:pos x="T10" y="T11"/>
                      </a:cxn>
                      <a:cxn ang="0">
                        <a:pos x="T12" y="T13"/>
                      </a:cxn>
                    </a:cxnLst>
                    <a:rect l="0" t="0" r="r" b="b"/>
                    <a:pathLst>
                      <a:path w="110" h="45">
                        <a:moveTo>
                          <a:pt x="55" y="24"/>
                        </a:moveTo>
                        <a:cubicBezTo>
                          <a:pt x="28" y="24"/>
                          <a:pt x="5" y="14"/>
                          <a:pt x="0" y="0"/>
                        </a:cubicBezTo>
                        <a:cubicBezTo>
                          <a:pt x="0" y="22"/>
                          <a:pt x="0" y="22"/>
                          <a:pt x="0" y="22"/>
                        </a:cubicBezTo>
                        <a:cubicBezTo>
                          <a:pt x="5" y="35"/>
                          <a:pt x="28" y="45"/>
                          <a:pt x="55" y="45"/>
                        </a:cubicBezTo>
                        <a:cubicBezTo>
                          <a:pt x="82" y="45"/>
                          <a:pt x="105" y="35"/>
                          <a:pt x="110" y="22"/>
                        </a:cubicBezTo>
                        <a:cubicBezTo>
                          <a:pt x="110" y="0"/>
                          <a:pt x="110" y="0"/>
                          <a:pt x="110" y="0"/>
                        </a:cubicBezTo>
                        <a:cubicBezTo>
                          <a:pt x="105" y="14"/>
                          <a:pt x="82" y="24"/>
                          <a:pt x="55" y="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100"/>
                  </a:p>
                </p:txBody>
              </p:sp>
              <p:sp>
                <p:nvSpPr>
                  <p:cNvPr id="124" name="Freeform 82">
                    <a:extLst>
                      <a:ext uri="{FF2B5EF4-FFF2-40B4-BE49-F238E27FC236}">
                        <a16:creationId xmlns:a16="http://schemas.microsoft.com/office/drawing/2014/main" id="{418CBA25-BBFC-4B0A-8163-80732FD5157D}"/>
                      </a:ext>
                    </a:extLst>
                  </p:cNvPr>
                  <p:cNvSpPr>
                    <a:spLocks/>
                  </p:cNvSpPr>
                  <p:nvPr/>
                </p:nvSpPr>
                <p:spPr bwMode="auto">
                  <a:xfrm>
                    <a:off x="550" y="3522"/>
                    <a:ext cx="119" cy="49"/>
                  </a:xfrm>
                  <a:custGeom>
                    <a:avLst/>
                    <a:gdLst>
                      <a:gd name="T0" fmla="*/ 55 w 110"/>
                      <a:gd name="T1" fmla="*/ 24 h 46"/>
                      <a:gd name="T2" fmla="*/ 0 w 110"/>
                      <a:gd name="T3" fmla="*/ 0 h 46"/>
                      <a:gd name="T4" fmla="*/ 0 w 110"/>
                      <a:gd name="T5" fmla="*/ 22 h 46"/>
                      <a:gd name="T6" fmla="*/ 55 w 110"/>
                      <a:gd name="T7" fmla="*/ 46 h 46"/>
                      <a:gd name="T8" fmla="*/ 110 w 110"/>
                      <a:gd name="T9" fmla="*/ 22 h 46"/>
                      <a:gd name="T10" fmla="*/ 110 w 110"/>
                      <a:gd name="T11" fmla="*/ 0 h 46"/>
                      <a:gd name="T12" fmla="*/ 55 w 110"/>
                      <a:gd name="T13" fmla="*/ 24 h 46"/>
                    </a:gdLst>
                    <a:ahLst/>
                    <a:cxnLst>
                      <a:cxn ang="0">
                        <a:pos x="T0" y="T1"/>
                      </a:cxn>
                      <a:cxn ang="0">
                        <a:pos x="T2" y="T3"/>
                      </a:cxn>
                      <a:cxn ang="0">
                        <a:pos x="T4" y="T5"/>
                      </a:cxn>
                      <a:cxn ang="0">
                        <a:pos x="T6" y="T7"/>
                      </a:cxn>
                      <a:cxn ang="0">
                        <a:pos x="T8" y="T9"/>
                      </a:cxn>
                      <a:cxn ang="0">
                        <a:pos x="T10" y="T11"/>
                      </a:cxn>
                      <a:cxn ang="0">
                        <a:pos x="T12" y="T13"/>
                      </a:cxn>
                    </a:cxnLst>
                    <a:rect l="0" t="0" r="r" b="b"/>
                    <a:pathLst>
                      <a:path w="110" h="46">
                        <a:moveTo>
                          <a:pt x="55" y="24"/>
                        </a:moveTo>
                        <a:cubicBezTo>
                          <a:pt x="28" y="24"/>
                          <a:pt x="5" y="14"/>
                          <a:pt x="0" y="0"/>
                        </a:cubicBezTo>
                        <a:cubicBezTo>
                          <a:pt x="0" y="22"/>
                          <a:pt x="0" y="22"/>
                          <a:pt x="0" y="22"/>
                        </a:cubicBezTo>
                        <a:cubicBezTo>
                          <a:pt x="5" y="36"/>
                          <a:pt x="28" y="46"/>
                          <a:pt x="55" y="46"/>
                        </a:cubicBezTo>
                        <a:cubicBezTo>
                          <a:pt x="82" y="46"/>
                          <a:pt x="105" y="36"/>
                          <a:pt x="110" y="22"/>
                        </a:cubicBezTo>
                        <a:cubicBezTo>
                          <a:pt x="110" y="0"/>
                          <a:pt x="110" y="0"/>
                          <a:pt x="110" y="0"/>
                        </a:cubicBezTo>
                        <a:cubicBezTo>
                          <a:pt x="105" y="14"/>
                          <a:pt x="82" y="24"/>
                          <a:pt x="55" y="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100"/>
                  </a:p>
                </p:txBody>
              </p:sp>
              <p:sp>
                <p:nvSpPr>
                  <p:cNvPr id="131" name="Freeform 83">
                    <a:extLst>
                      <a:ext uri="{FF2B5EF4-FFF2-40B4-BE49-F238E27FC236}">
                        <a16:creationId xmlns:a16="http://schemas.microsoft.com/office/drawing/2014/main" id="{B5674BF4-A744-4293-8BD6-4AD3283A5B36}"/>
                      </a:ext>
                    </a:extLst>
                  </p:cNvPr>
                  <p:cNvSpPr>
                    <a:spLocks/>
                  </p:cNvSpPr>
                  <p:nvPr/>
                </p:nvSpPr>
                <p:spPr bwMode="auto">
                  <a:xfrm>
                    <a:off x="550" y="3558"/>
                    <a:ext cx="119" cy="49"/>
                  </a:xfrm>
                  <a:custGeom>
                    <a:avLst/>
                    <a:gdLst>
                      <a:gd name="T0" fmla="*/ 55 w 110"/>
                      <a:gd name="T1" fmla="*/ 24 h 45"/>
                      <a:gd name="T2" fmla="*/ 0 w 110"/>
                      <a:gd name="T3" fmla="*/ 0 h 45"/>
                      <a:gd name="T4" fmla="*/ 0 w 110"/>
                      <a:gd name="T5" fmla="*/ 21 h 45"/>
                      <a:gd name="T6" fmla="*/ 55 w 110"/>
                      <a:gd name="T7" fmla="*/ 45 h 45"/>
                      <a:gd name="T8" fmla="*/ 110 w 110"/>
                      <a:gd name="T9" fmla="*/ 21 h 45"/>
                      <a:gd name="T10" fmla="*/ 110 w 110"/>
                      <a:gd name="T11" fmla="*/ 0 h 45"/>
                      <a:gd name="T12" fmla="*/ 55 w 110"/>
                      <a:gd name="T13" fmla="*/ 24 h 45"/>
                    </a:gdLst>
                    <a:ahLst/>
                    <a:cxnLst>
                      <a:cxn ang="0">
                        <a:pos x="T0" y="T1"/>
                      </a:cxn>
                      <a:cxn ang="0">
                        <a:pos x="T2" y="T3"/>
                      </a:cxn>
                      <a:cxn ang="0">
                        <a:pos x="T4" y="T5"/>
                      </a:cxn>
                      <a:cxn ang="0">
                        <a:pos x="T6" y="T7"/>
                      </a:cxn>
                      <a:cxn ang="0">
                        <a:pos x="T8" y="T9"/>
                      </a:cxn>
                      <a:cxn ang="0">
                        <a:pos x="T10" y="T11"/>
                      </a:cxn>
                      <a:cxn ang="0">
                        <a:pos x="T12" y="T13"/>
                      </a:cxn>
                    </a:cxnLst>
                    <a:rect l="0" t="0" r="r" b="b"/>
                    <a:pathLst>
                      <a:path w="110" h="45">
                        <a:moveTo>
                          <a:pt x="55" y="24"/>
                        </a:moveTo>
                        <a:cubicBezTo>
                          <a:pt x="28" y="24"/>
                          <a:pt x="5" y="14"/>
                          <a:pt x="0" y="0"/>
                        </a:cubicBezTo>
                        <a:cubicBezTo>
                          <a:pt x="0" y="21"/>
                          <a:pt x="0" y="21"/>
                          <a:pt x="0" y="21"/>
                        </a:cubicBezTo>
                        <a:cubicBezTo>
                          <a:pt x="5" y="35"/>
                          <a:pt x="28" y="45"/>
                          <a:pt x="55" y="45"/>
                        </a:cubicBezTo>
                        <a:cubicBezTo>
                          <a:pt x="82" y="45"/>
                          <a:pt x="105" y="35"/>
                          <a:pt x="110" y="21"/>
                        </a:cubicBezTo>
                        <a:cubicBezTo>
                          <a:pt x="110" y="0"/>
                          <a:pt x="110" y="0"/>
                          <a:pt x="110" y="0"/>
                        </a:cubicBezTo>
                        <a:cubicBezTo>
                          <a:pt x="105" y="14"/>
                          <a:pt x="82" y="24"/>
                          <a:pt x="55" y="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100"/>
                  </a:p>
                </p:txBody>
              </p:sp>
              <p:sp>
                <p:nvSpPr>
                  <p:cNvPr id="132" name="Freeform 84">
                    <a:extLst>
                      <a:ext uri="{FF2B5EF4-FFF2-40B4-BE49-F238E27FC236}">
                        <a16:creationId xmlns:a16="http://schemas.microsoft.com/office/drawing/2014/main" id="{EF5028B3-487D-4DDD-BD96-BAEDD56A823A}"/>
                      </a:ext>
                    </a:extLst>
                  </p:cNvPr>
                  <p:cNvSpPr>
                    <a:spLocks/>
                  </p:cNvSpPr>
                  <p:nvPr/>
                </p:nvSpPr>
                <p:spPr bwMode="auto">
                  <a:xfrm>
                    <a:off x="549" y="3594"/>
                    <a:ext cx="118" cy="50"/>
                  </a:xfrm>
                  <a:custGeom>
                    <a:avLst/>
                    <a:gdLst>
                      <a:gd name="T0" fmla="*/ 55 w 110"/>
                      <a:gd name="T1" fmla="*/ 24 h 46"/>
                      <a:gd name="T2" fmla="*/ 0 w 110"/>
                      <a:gd name="T3" fmla="*/ 0 h 46"/>
                      <a:gd name="T4" fmla="*/ 0 w 110"/>
                      <a:gd name="T5" fmla="*/ 22 h 46"/>
                      <a:gd name="T6" fmla="*/ 55 w 110"/>
                      <a:gd name="T7" fmla="*/ 46 h 46"/>
                      <a:gd name="T8" fmla="*/ 110 w 110"/>
                      <a:gd name="T9" fmla="*/ 22 h 46"/>
                      <a:gd name="T10" fmla="*/ 110 w 110"/>
                      <a:gd name="T11" fmla="*/ 0 h 46"/>
                      <a:gd name="T12" fmla="*/ 55 w 110"/>
                      <a:gd name="T13" fmla="*/ 24 h 46"/>
                    </a:gdLst>
                    <a:ahLst/>
                    <a:cxnLst>
                      <a:cxn ang="0">
                        <a:pos x="T0" y="T1"/>
                      </a:cxn>
                      <a:cxn ang="0">
                        <a:pos x="T2" y="T3"/>
                      </a:cxn>
                      <a:cxn ang="0">
                        <a:pos x="T4" y="T5"/>
                      </a:cxn>
                      <a:cxn ang="0">
                        <a:pos x="T6" y="T7"/>
                      </a:cxn>
                      <a:cxn ang="0">
                        <a:pos x="T8" y="T9"/>
                      </a:cxn>
                      <a:cxn ang="0">
                        <a:pos x="T10" y="T11"/>
                      </a:cxn>
                      <a:cxn ang="0">
                        <a:pos x="T12" y="T13"/>
                      </a:cxn>
                    </a:cxnLst>
                    <a:rect l="0" t="0" r="r" b="b"/>
                    <a:pathLst>
                      <a:path w="110" h="46">
                        <a:moveTo>
                          <a:pt x="55" y="24"/>
                        </a:moveTo>
                        <a:cubicBezTo>
                          <a:pt x="28" y="24"/>
                          <a:pt x="5" y="14"/>
                          <a:pt x="0" y="0"/>
                        </a:cubicBezTo>
                        <a:cubicBezTo>
                          <a:pt x="0" y="22"/>
                          <a:pt x="0" y="22"/>
                          <a:pt x="0" y="22"/>
                        </a:cubicBezTo>
                        <a:cubicBezTo>
                          <a:pt x="5" y="36"/>
                          <a:pt x="28" y="46"/>
                          <a:pt x="55" y="46"/>
                        </a:cubicBezTo>
                        <a:cubicBezTo>
                          <a:pt x="83" y="46"/>
                          <a:pt x="105" y="36"/>
                          <a:pt x="110" y="22"/>
                        </a:cubicBezTo>
                        <a:cubicBezTo>
                          <a:pt x="110" y="0"/>
                          <a:pt x="110" y="0"/>
                          <a:pt x="110" y="0"/>
                        </a:cubicBezTo>
                        <a:cubicBezTo>
                          <a:pt x="105" y="14"/>
                          <a:pt x="83" y="24"/>
                          <a:pt x="55" y="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100"/>
                  </a:p>
                </p:txBody>
              </p:sp>
              <p:sp>
                <p:nvSpPr>
                  <p:cNvPr id="133" name="Oval 85">
                    <a:extLst>
                      <a:ext uri="{FF2B5EF4-FFF2-40B4-BE49-F238E27FC236}">
                        <a16:creationId xmlns:a16="http://schemas.microsoft.com/office/drawing/2014/main" id="{A16A938F-DA5D-4E60-8FD5-2FEF4487D296}"/>
                      </a:ext>
                    </a:extLst>
                  </p:cNvPr>
                  <p:cNvSpPr>
                    <a:spLocks noChangeArrowheads="1"/>
                  </p:cNvSpPr>
                  <p:nvPr/>
                </p:nvSpPr>
                <p:spPr bwMode="auto">
                  <a:xfrm>
                    <a:off x="683" y="3484"/>
                    <a:ext cx="108" cy="5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100"/>
                  </a:p>
                </p:txBody>
              </p:sp>
              <p:sp>
                <p:nvSpPr>
                  <p:cNvPr id="134" name="Freeform 86">
                    <a:extLst>
                      <a:ext uri="{FF2B5EF4-FFF2-40B4-BE49-F238E27FC236}">
                        <a16:creationId xmlns:a16="http://schemas.microsoft.com/office/drawing/2014/main" id="{E96DF8F8-3710-462F-BD3C-A070B51132DF}"/>
                      </a:ext>
                    </a:extLst>
                  </p:cNvPr>
                  <p:cNvSpPr>
                    <a:spLocks/>
                  </p:cNvSpPr>
                  <p:nvPr/>
                </p:nvSpPr>
                <p:spPr bwMode="auto">
                  <a:xfrm>
                    <a:off x="677" y="3526"/>
                    <a:ext cx="119" cy="49"/>
                  </a:xfrm>
                  <a:custGeom>
                    <a:avLst/>
                    <a:gdLst>
                      <a:gd name="T0" fmla="*/ 55 w 110"/>
                      <a:gd name="T1" fmla="*/ 24 h 45"/>
                      <a:gd name="T2" fmla="*/ 0 w 110"/>
                      <a:gd name="T3" fmla="*/ 0 h 45"/>
                      <a:gd name="T4" fmla="*/ 0 w 110"/>
                      <a:gd name="T5" fmla="*/ 21 h 45"/>
                      <a:gd name="T6" fmla="*/ 55 w 110"/>
                      <a:gd name="T7" fmla="*/ 45 h 45"/>
                      <a:gd name="T8" fmla="*/ 110 w 110"/>
                      <a:gd name="T9" fmla="*/ 21 h 45"/>
                      <a:gd name="T10" fmla="*/ 110 w 110"/>
                      <a:gd name="T11" fmla="*/ 0 h 45"/>
                      <a:gd name="T12" fmla="*/ 55 w 110"/>
                      <a:gd name="T13" fmla="*/ 24 h 45"/>
                    </a:gdLst>
                    <a:ahLst/>
                    <a:cxnLst>
                      <a:cxn ang="0">
                        <a:pos x="T0" y="T1"/>
                      </a:cxn>
                      <a:cxn ang="0">
                        <a:pos x="T2" y="T3"/>
                      </a:cxn>
                      <a:cxn ang="0">
                        <a:pos x="T4" y="T5"/>
                      </a:cxn>
                      <a:cxn ang="0">
                        <a:pos x="T6" y="T7"/>
                      </a:cxn>
                      <a:cxn ang="0">
                        <a:pos x="T8" y="T9"/>
                      </a:cxn>
                      <a:cxn ang="0">
                        <a:pos x="T10" y="T11"/>
                      </a:cxn>
                      <a:cxn ang="0">
                        <a:pos x="T12" y="T13"/>
                      </a:cxn>
                    </a:cxnLst>
                    <a:rect l="0" t="0" r="r" b="b"/>
                    <a:pathLst>
                      <a:path w="110" h="45">
                        <a:moveTo>
                          <a:pt x="55" y="24"/>
                        </a:moveTo>
                        <a:cubicBezTo>
                          <a:pt x="28" y="24"/>
                          <a:pt x="5" y="13"/>
                          <a:pt x="0" y="0"/>
                        </a:cubicBezTo>
                        <a:cubicBezTo>
                          <a:pt x="0" y="21"/>
                          <a:pt x="0" y="21"/>
                          <a:pt x="0" y="21"/>
                        </a:cubicBezTo>
                        <a:cubicBezTo>
                          <a:pt x="5" y="35"/>
                          <a:pt x="28" y="45"/>
                          <a:pt x="55" y="45"/>
                        </a:cubicBezTo>
                        <a:cubicBezTo>
                          <a:pt x="82" y="45"/>
                          <a:pt x="105" y="35"/>
                          <a:pt x="110" y="21"/>
                        </a:cubicBezTo>
                        <a:cubicBezTo>
                          <a:pt x="110" y="0"/>
                          <a:pt x="110" y="0"/>
                          <a:pt x="110" y="0"/>
                        </a:cubicBezTo>
                        <a:cubicBezTo>
                          <a:pt x="105" y="13"/>
                          <a:pt x="82" y="24"/>
                          <a:pt x="55" y="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100"/>
                  </a:p>
                </p:txBody>
              </p:sp>
              <p:sp>
                <p:nvSpPr>
                  <p:cNvPr id="135" name="Freeform 87">
                    <a:extLst>
                      <a:ext uri="{FF2B5EF4-FFF2-40B4-BE49-F238E27FC236}">
                        <a16:creationId xmlns:a16="http://schemas.microsoft.com/office/drawing/2014/main" id="{8B323368-4BEF-452D-BCFB-7F76790DD9F0}"/>
                      </a:ext>
                    </a:extLst>
                  </p:cNvPr>
                  <p:cNvSpPr>
                    <a:spLocks/>
                  </p:cNvSpPr>
                  <p:nvPr/>
                </p:nvSpPr>
                <p:spPr bwMode="auto">
                  <a:xfrm>
                    <a:off x="677" y="3562"/>
                    <a:ext cx="119" cy="49"/>
                  </a:xfrm>
                  <a:custGeom>
                    <a:avLst/>
                    <a:gdLst>
                      <a:gd name="T0" fmla="*/ 55 w 110"/>
                      <a:gd name="T1" fmla="*/ 24 h 46"/>
                      <a:gd name="T2" fmla="*/ 0 w 110"/>
                      <a:gd name="T3" fmla="*/ 0 h 46"/>
                      <a:gd name="T4" fmla="*/ 0 w 110"/>
                      <a:gd name="T5" fmla="*/ 22 h 46"/>
                      <a:gd name="T6" fmla="*/ 55 w 110"/>
                      <a:gd name="T7" fmla="*/ 46 h 46"/>
                      <a:gd name="T8" fmla="*/ 110 w 110"/>
                      <a:gd name="T9" fmla="*/ 22 h 46"/>
                      <a:gd name="T10" fmla="*/ 110 w 110"/>
                      <a:gd name="T11" fmla="*/ 0 h 46"/>
                      <a:gd name="T12" fmla="*/ 55 w 110"/>
                      <a:gd name="T13" fmla="*/ 24 h 46"/>
                    </a:gdLst>
                    <a:ahLst/>
                    <a:cxnLst>
                      <a:cxn ang="0">
                        <a:pos x="T0" y="T1"/>
                      </a:cxn>
                      <a:cxn ang="0">
                        <a:pos x="T2" y="T3"/>
                      </a:cxn>
                      <a:cxn ang="0">
                        <a:pos x="T4" y="T5"/>
                      </a:cxn>
                      <a:cxn ang="0">
                        <a:pos x="T6" y="T7"/>
                      </a:cxn>
                      <a:cxn ang="0">
                        <a:pos x="T8" y="T9"/>
                      </a:cxn>
                      <a:cxn ang="0">
                        <a:pos x="T10" y="T11"/>
                      </a:cxn>
                      <a:cxn ang="0">
                        <a:pos x="T12" y="T13"/>
                      </a:cxn>
                    </a:cxnLst>
                    <a:rect l="0" t="0" r="r" b="b"/>
                    <a:pathLst>
                      <a:path w="110" h="46">
                        <a:moveTo>
                          <a:pt x="55" y="24"/>
                        </a:moveTo>
                        <a:cubicBezTo>
                          <a:pt x="28" y="24"/>
                          <a:pt x="5" y="14"/>
                          <a:pt x="0" y="0"/>
                        </a:cubicBezTo>
                        <a:cubicBezTo>
                          <a:pt x="0" y="22"/>
                          <a:pt x="0" y="22"/>
                          <a:pt x="0" y="22"/>
                        </a:cubicBezTo>
                        <a:cubicBezTo>
                          <a:pt x="5" y="35"/>
                          <a:pt x="28" y="46"/>
                          <a:pt x="55" y="46"/>
                        </a:cubicBezTo>
                        <a:cubicBezTo>
                          <a:pt x="82" y="46"/>
                          <a:pt x="105" y="35"/>
                          <a:pt x="110" y="22"/>
                        </a:cubicBezTo>
                        <a:cubicBezTo>
                          <a:pt x="110" y="0"/>
                          <a:pt x="110" y="0"/>
                          <a:pt x="110" y="0"/>
                        </a:cubicBezTo>
                        <a:cubicBezTo>
                          <a:pt x="105" y="14"/>
                          <a:pt x="82" y="24"/>
                          <a:pt x="55" y="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100"/>
                  </a:p>
                </p:txBody>
              </p:sp>
              <p:sp>
                <p:nvSpPr>
                  <p:cNvPr id="136" name="Freeform 88">
                    <a:extLst>
                      <a:ext uri="{FF2B5EF4-FFF2-40B4-BE49-F238E27FC236}">
                        <a16:creationId xmlns:a16="http://schemas.microsoft.com/office/drawing/2014/main" id="{238C351E-2D2E-4954-B145-CDD8D9A28BF5}"/>
                      </a:ext>
                    </a:extLst>
                  </p:cNvPr>
                  <p:cNvSpPr>
                    <a:spLocks/>
                  </p:cNvSpPr>
                  <p:nvPr/>
                </p:nvSpPr>
                <p:spPr bwMode="auto">
                  <a:xfrm>
                    <a:off x="677" y="3598"/>
                    <a:ext cx="119" cy="49"/>
                  </a:xfrm>
                  <a:custGeom>
                    <a:avLst/>
                    <a:gdLst>
                      <a:gd name="T0" fmla="*/ 55 w 110"/>
                      <a:gd name="T1" fmla="*/ 24 h 45"/>
                      <a:gd name="T2" fmla="*/ 0 w 110"/>
                      <a:gd name="T3" fmla="*/ 0 h 45"/>
                      <a:gd name="T4" fmla="*/ 0 w 110"/>
                      <a:gd name="T5" fmla="*/ 21 h 45"/>
                      <a:gd name="T6" fmla="*/ 55 w 110"/>
                      <a:gd name="T7" fmla="*/ 45 h 45"/>
                      <a:gd name="T8" fmla="*/ 110 w 110"/>
                      <a:gd name="T9" fmla="*/ 21 h 45"/>
                      <a:gd name="T10" fmla="*/ 110 w 110"/>
                      <a:gd name="T11" fmla="*/ 0 h 45"/>
                      <a:gd name="T12" fmla="*/ 55 w 110"/>
                      <a:gd name="T13" fmla="*/ 24 h 45"/>
                    </a:gdLst>
                    <a:ahLst/>
                    <a:cxnLst>
                      <a:cxn ang="0">
                        <a:pos x="T0" y="T1"/>
                      </a:cxn>
                      <a:cxn ang="0">
                        <a:pos x="T2" y="T3"/>
                      </a:cxn>
                      <a:cxn ang="0">
                        <a:pos x="T4" y="T5"/>
                      </a:cxn>
                      <a:cxn ang="0">
                        <a:pos x="T6" y="T7"/>
                      </a:cxn>
                      <a:cxn ang="0">
                        <a:pos x="T8" y="T9"/>
                      </a:cxn>
                      <a:cxn ang="0">
                        <a:pos x="T10" y="T11"/>
                      </a:cxn>
                      <a:cxn ang="0">
                        <a:pos x="T12" y="T13"/>
                      </a:cxn>
                    </a:cxnLst>
                    <a:rect l="0" t="0" r="r" b="b"/>
                    <a:pathLst>
                      <a:path w="110" h="45">
                        <a:moveTo>
                          <a:pt x="55" y="24"/>
                        </a:moveTo>
                        <a:cubicBezTo>
                          <a:pt x="28" y="24"/>
                          <a:pt x="5" y="13"/>
                          <a:pt x="0" y="0"/>
                        </a:cubicBezTo>
                        <a:cubicBezTo>
                          <a:pt x="0" y="21"/>
                          <a:pt x="0" y="21"/>
                          <a:pt x="0" y="21"/>
                        </a:cubicBezTo>
                        <a:cubicBezTo>
                          <a:pt x="5" y="35"/>
                          <a:pt x="28" y="45"/>
                          <a:pt x="55" y="45"/>
                        </a:cubicBezTo>
                        <a:cubicBezTo>
                          <a:pt x="82" y="45"/>
                          <a:pt x="105" y="35"/>
                          <a:pt x="110" y="21"/>
                        </a:cubicBezTo>
                        <a:cubicBezTo>
                          <a:pt x="110" y="0"/>
                          <a:pt x="110" y="0"/>
                          <a:pt x="110" y="0"/>
                        </a:cubicBezTo>
                        <a:cubicBezTo>
                          <a:pt x="105" y="13"/>
                          <a:pt x="82" y="24"/>
                          <a:pt x="55" y="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100"/>
                  </a:p>
                </p:txBody>
              </p:sp>
              <p:sp>
                <p:nvSpPr>
                  <p:cNvPr id="137" name="Oval 89">
                    <a:extLst>
                      <a:ext uri="{FF2B5EF4-FFF2-40B4-BE49-F238E27FC236}">
                        <a16:creationId xmlns:a16="http://schemas.microsoft.com/office/drawing/2014/main" id="{7D2869FF-5065-457F-8E30-6D574DB408CC}"/>
                      </a:ext>
                    </a:extLst>
                  </p:cNvPr>
                  <p:cNvSpPr>
                    <a:spLocks noChangeArrowheads="1"/>
                  </p:cNvSpPr>
                  <p:nvPr/>
                </p:nvSpPr>
                <p:spPr bwMode="auto">
                  <a:xfrm>
                    <a:off x="425" y="3553"/>
                    <a:ext cx="108" cy="5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100"/>
                  </a:p>
                </p:txBody>
              </p:sp>
              <p:sp>
                <p:nvSpPr>
                  <p:cNvPr id="138" name="Freeform 90">
                    <a:extLst>
                      <a:ext uri="{FF2B5EF4-FFF2-40B4-BE49-F238E27FC236}">
                        <a16:creationId xmlns:a16="http://schemas.microsoft.com/office/drawing/2014/main" id="{1DC8C94C-81CE-4E6B-8EE4-348BB3E79A83}"/>
                      </a:ext>
                    </a:extLst>
                  </p:cNvPr>
                  <p:cNvSpPr>
                    <a:spLocks/>
                  </p:cNvSpPr>
                  <p:nvPr/>
                </p:nvSpPr>
                <p:spPr bwMode="auto">
                  <a:xfrm>
                    <a:off x="420" y="3594"/>
                    <a:ext cx="119" cy="50"/>
                  </a:xfrm>
                  <a:custGeom>
                    <a:avLst/>
                    <a:gdLst>
                      <a:gd name="T0" fmla="*/ 55 w 110"/>
                      <a:gd name="T1" fmla="*/ 24 h 46"/>
                      <a:gd name="T2" fmla="*/ 0 w 110"/>
                      <a:gd name="T3" fmla="*/ 0 h 46"/>
                      <a:gd name="T4" fmla="*/ 0 w 110"/>
                      <a:gd name="T5" fmla="*/ 22 h 46"/>
                      <a:gd name="T6" fmla="*/ 55 w 110"/>
                      <a:gd name="T7" fmla="*/ 46 h 46"/>
                      <a:gd name="T8" fmla="*/ 110 w 110"/>
                      <a:gd name="T9" fmla="*/ 22 h 46"/>
                      <a:gd name="T10" fmla="*/ 110 w 110"/>
                      <a:gd name="T11" fmla="*/ 0 h 46"/>
                      <a:gd name="T12" fmla="*/ 55 w 110"/>
                      <a:gd name="T13" fmla="*/ 24 h 46"/>
                    </a:gdLst>
                    <a:ahLst/>
                    <a:cxnLst>
                      <a:cxn ang="0">
                        <a:pos x="T0" y="T1"/>
                      </a:cxn>
                      <a:cxn ang="0">
                        <a:pos x="T2" y="T3"/>
                      </a:cxn>
                      <a:cxn ang="0">
                        <a:pos x="T4" y="T5"/>
                      </a:cxn>
                      <a:cxn ang="0">
                        <a:pos x="T6" y="T7"/>
                      </a:cxn>
                      <a:cxn ang="0">
                        <a:pos x="T8" y="T9"/>
                      </a:cxn>
                      <a:cxn ang="0">
                        <a:pos x="T10" y="T11"/>
                      </a:cxn>
                      <a:cxn ang="0">
                        <a:pos x="T12" y="T13"/>
                      </a:cxn>
                    </a:cxnLst>
                    <a:rect l="0" t="0" r="r" b="b"/>
                    <a:pathLst>
                      <a:path w="110" h="46">
                        <a:moveTo>
                          <a:pt x="55" y="24"/>
                        </a:moveTo>
                        <a:cubicBezTo>
                          <a:pt x="28" y="24"/>
                          <a:pt x="5" y="14"/>
                          <a:pt x="0" y="0"/>
                        </a:cubicBezTo>
                        <a:cubicBezTo>
                          <a:pt x="0" y="22"/>
                          <a:pt x="0" y="22"/>
                          <a:pt x="0" y="22"/>
                        </a:cubicBezTo>
                        <a:cubicBezTo>
                          <a:pt x="5" y="36"/>
                          <a:pt x="28" y="46"/>
                          <a:pt x="55" y="46"/>
                        </a:cubicBezTo>
                        <a:cubicBezTo>
                          <a:pt x="82" y="46"/>
                          <a:pt x="105" y="36"/>
                          <a:pt x="110" y="22"/>
                        </a:cubicBezTo>
                        <a:cubicBezTo>
                          <a:pt x="110" y="0"/>
                          <a:pt x="110" y="0"/>
                          <a:pt x="110" y="0"/>
                        </a:cubicBezTo>
                        <a:cubicBezTo>
                          <a:pt x="105" y="14"/>
                          <a:pt x="82" y="24"/>
                          <a:pt x="55" y="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100"/>
                  </a:p>
                </p:txBody>
              </p:sp>
              <p:sp>
                <p:nvSpPr>
                  <p:cNvPr id="139" name="Freeform 91">
                    <a:extLst>
                      <a:ext uri="{FF2B5EF4-FFF2-40B4-BE49-F238E27FC236}">
                        <a16:creationId xmlns:a16="http://schemas.microsoft.com/office/drawing/2014/main" id="{46EE0C25-B9B1-4566-A4B6-C04347C4CB77}"/>
                      </a:ext>
                    </a:extLst>
                  </p:cNvPr>
                  <p:cNvSpPr>
                    <a:spLocks/>
                  </p:cNvSpPr>
                  <p:nvPr/>
                </p:nvSpPr>
                <p:spPr bwMode="auto">
                  <a:xfrm>
                    <a:off x="420" y="3631"/>
                    <a:ext cx="119" cy="48"/>
                  </a:xfrm>
                  <a:custGeom>
                    <a:avLst/>
                    <a:gdLst>
                      <a:gd name="T0" fmla="*/ 55 w 110"/>
                      <a:gd name="T1" fmla="*/ 24 h 45"/>
                      <a:gd name="T2" fmla="*/ 0 w 110"/>
                      <a:gd name="T3" fmla="*/ 0 h 45"/>
                      <a:gd name="T4" fmla="*/ 0 w 110"/>
                      <a:gd name="T5" fmla="*/ 21 h 45"/>
                      <a:gd name="T6" fmla="*/ 55 w 110"/>
                      <a:gd name="T7" fmla="*/ 45 h 45"/>
                      <a:gd name="T8" fmla="*/ 110 w 110"/>
                      <a:gd name="T9" fmla="*/ 21 h 45"/>
                      <a:gd name="T10" fmla="*/ 110 w 110"/>
                      <a:gd name="T11" fmla="*/ 0 h 45"/>
                      <a:gd name="T12" fmla="*/ 55 w 110"/>
                      <a:gd name="T13" fmla="*/ 24 h 45"/>
                    </a:gdLst>
                    <a:ahLst/>
                    <a:cxnLst>
                      <a:cxn ang="0">
                        <a:pos x="T0" y="T1"/>
                      </a:cxn>
                      <a:cxn ang="0">
                        <a:pos x="T2" y="T3"/>
                      </a:cxn>
                      <a:cxn ang="0">
                        <a:pos x="T4" y="T5"/>
                      </a:cxn>
                      <a:cxn ang="0">
                        <a:pos x="T6" y="T7"/>
                      </a:cxn>
                      <a:cxn ang="0">
                        <a:pos x="T8" y="T9"/>
                      </a:cxn>
                      <a:cxn ang="0">
                        <a:pos x="T10" y="T11"/>
                      </a:cxn>
                      <a:cxn ang="0">
                        <a:pos x="T12" y="T13"/>
                      </a:cxn>
                    </a:cxnLst>
                    <a:rect l="0" t="0" r="r" b="b"/>
                    <a:pathLst>
                      <a:path w="110" h="45">
                        <a:moveTo>
                          <a:pt x="55" y="24"/>
                        </a:moveTo>
                        <a:cubicBezTo>
                          <a:pt x="28" y="24"/>
                          <a:pt x="5" y="14"/>
                          <a:pt x="0" y="0"/>
                        </a:cubicBezTo>
                        <a:cubicBezTo>
                          <a:pt x="0" y="21"/>
                          <a:pt x="0" y="21"/>
                          <a:pt x="0" y="21"/>
                        </a:cubicBezTo>
                        <a:cubicBezTo>
                          <a:pt x="5" y="35"/>
                          <a:pt x="28" y="45"/>
                          <a:pt x="55" y="45"/>
                        </a:cubicBezTo>
                        <a:cubicBezTo>
                          <a:pt x="82" y="45"/>
                          <a:pt x="105" y="35"/>
                          <a:pt x="110" y="21"/>
                        </a:cubicBezTo>
                        <a:cubicBezTo>
                          <a:pt x="110" y="0"/>
                          <a:pt x="110" y="0"/>
                          <a:pt x="110" y="0"/>
                        </a:cubicBezTo>
                        <a:cubicBezTo>
                          <a:pt x="105" y="14"/>
                          <a:pt x="82" y="24"/>
                          <a:pt x="55" y="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100"/>
                  </a:p>
                </p:txBody>
              </p:sp>
              <p:sp>
                <p:nvSpPr>
                  <p:cNvPr id="140" name="Freeform 92">
                    <a:extLst>
                      <a:ext uri="{FF2B5EF4-FFF2-40B4-BE49-F238E27FC236}">
                        <a16:creationId xmlns:a16="http://schemas.microsoft.com/office/drawing/2014/main" id="{9DB4AB74-2613-42CB-87D3-FE6091E23D5A}"/>
                      </a:ext>
                    </a:extLst>
                  </p:cNvPr>
                  <p:cNvSpPr>
                    <a:spLocks/>
                  </p:cNvSpPr>
                  <p:nvPr/>
                </p:nvSpPr>
                <p:spPr bwMode="auto">
                  <a:xfrm>
                    <a:off x="420" y="3666"/>
                    <a:ext cx="119" cy="50"/>
                  </a:xfrm>
                  <a:custGeom>
                    <a:avLst/>
                    <a:gdLst>
                      <a:gd name="T0" fmla="*/ 55 w 110"/>
                      <a:gd name="T1" fmla="*/ 24 h 46"/>
                      <a:gd name="T2" fmla="*/ 0 w 110"/>
                      <a:gd name="T3" fmla="*/ 0 h 46"/>
                      <a:gd name="T4" fmla="*/ 0 w 110"/>
                      <a:gd name="T5" fmla="*/ 22 h 46"/>
                      <a:gd name="T6" fmla="*/ 55 w 110"/>
                      <a:gd name="T7" fmla="*/ 46 h 46"/>
                      <a:gd name="T8" fmla="*/ 110 w 110"/>
                      <a:gd name="T9" fmla="*/ 22 h 46"/>
                      <a:gd name="T10" fmla="*/ 110 w 110"/>
                      <a:gd name="T11" fmla="*/ 0 h 46"/>
                      <a:gd name="T12" fmla="*/ 55 w 110"/>
                      <a:gd name="T13" fmla="*/ 24 h 46"/>
                    </a:gdLst>
                    <a:ahLst/>
                    <a:cxnLst>
                      <a:cxn ang="0">
                        <a:pos x="T0" y="T1"/>
                      </a:cxn>
                      <a:cxn ang="0">
                        <a:pos x="T2" y="T3"/>
                      </a:cxn>
                      <a:cxn ang="0">
                        <a:pos x="T4" y="T5"/>
                      </a:cxn>
                      <a:cxn ang="0">
                        <a:pos x="T6" y="T7"/>
                      </a:cxn>
                      <a:cxn ang="0">
                        <a:pos x="T8" y="T9"/>
                      </a:cxn>
                      <a:cxn ang="0">
                        <a:pos x="T10" y="T11"/>
                      </a:cxn>
                      <a:cxn ang="0">
                        <a:pos x="T12" y="T13"/>
                      </a:cxn>
                    </a:cxnLst>
                    <a:rect l="0" t="0" r="r" b="b"/>
                    <a:pathLst>
                      <a:path w="110" h="46">
                        <a:moveTo>
                          <a:pt x="55" y="24"/>
                        </a:moveTo>
                        <a:cubicBezTo>
                          <a:pt x="28" y="24"/>
                          <a:pt x="5" y="14"/>
                          <a:pt x="0" y="0"/>
                        </a:cubicBezTo>
                        <a:cubicBezTo>
                          <a:pt x="0" y="22"/>
                          <a:pt x="0" y="22"/>
                          <a:pt x="0" y="22"/>
                        </a:cubicBezTo>
                        <a:cubicBezTo>
                          <a:pt x="5" y="36"/>
                          <a:pt x="28" y="46"/>
                          <a:pt x="55" y="46"/>
                        </a:cubicBezTo>
                        <a:cubicBezTo>
                          <a:pt x="82" y="46"/>
                          <a:pt x="105" y="36"/>
                          <a:pt x="110" y="22"/>
                        </a:cubicBezTo>
                        <a:cubicBezTo>
                          <a:pt x="110" y="0"/>
                          <a:pt x="110" y="0"/>
                          <a:pt x="110" y="0"/>
                        </a:cubicBezTo>
                        <a:cubicBezTo>
                          <a:pt x="105" y="14"/>
                          <a:pt x="82" y="24"/>
                          <a:pt x="55" y="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100"/>
                  </a:p>
                </p:txBody>
              </p:sp>
            </p:grpSp>
          </p:grpSp>
          <p:sp>
            <p:nvSpPr>
              <p:cNvPr id="141" name="TextBox 140">
                <a:extLst>
                  <a:ext uri="{FF2B5EF4-FFF2-40B4-BE49-F238E27FC236}">
                    <a16:creationId xmlns:a16="http://schemas.microsoft.com/office/drawing/2014/main" id="{5AD665F0-C2EB-456E-B4E1-A2D5B15599DE}"/>
                  </a:ext>
                </a:extLst>
              </p:cNvPr>
              <p:cNvSpPr txBox="1">
                <a:spLocks/>
              </p:cNvSpPr>
              <p:nvPr/>
            </p:nvSpPr>
            <p:spPr>
              <a:xfrm>
                <a:off x="5862368" y="6741519"/>
                <a:ext cx="2792523" cy="822533"/>
              </a:xfrm>
              <a:prstGeom prst="rect">
                <a:avLst/>
              </a:prstGeom>
              <a:solidFill>
                <a:schemeClr val="bg1">
                  <a:lumMod val="85000"/>
                </a:schemeClr>
              </a:solidFill>
              <a:ln>
                <a:noFill/>
              </a:ln>
            </p:spPr>
            <p:txBody>
              <a:bodyPr vert="horz" wrap="square" lIns="72009" tIns="72009" rIns="72009" bIns="72009" rtlCol="0" anchor="ctr" anchorCtr="0">
                <a:no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spcBef>
                    <a:spcPts val="400"/>
                  </a:spcBef>
                  <a:buClr>
                    <a:schemeClr val="tx2"/>
                  </a:buClr>
                  <a:buSzPct val="125000"/>
                  <a:defRPr/>
                </a:pPr>
                <a:r>
                  <a:rPr lang="en-US" sz="1100" dirty="0"/>
                  <a:t>Building advanced materials portfolio for a steel major to diversify and insulate the player from steel pricing cycles</a:t>
                </a:r>
              </a:p>
            </p:txBody>
          </p:sp>
        </p:grpSp>
      </p:grpSp>
      <p:grpSp>
        <p:nvGrpSpPr>
          <p:cNvPr id="53" name="Group 52">
            <a:extLst>
              <a:ext uri="{FF2B5EF4-FFF2-40B4-BE49-F238E27FC236}">
                <a16:creationId xmlns:a16="http://schemas.microsoft.com/office/drawing/2014/main" id="{0A184128-31FB-442D-BC8E-FF863A437435}"/>
              </a:ext>
            </a:extLst>
          </p:cNvPr>
          <p:cNvGrpSpPr/>
          <p:nvPr/>
        </p:nvGrpSpPr>
        <p:grpSpPr>
          <a:xfrm>
            <a:off x="255012" y="2140162"/>
            <a:ext cx="8446228" cy="0"/>
            <a:chOff x="202624" y="2264249"/>
            <a:chExt cx="8446228" cy="0"/>
          </a:xfrm>
        </p:grpSpPr>
        <p:cxnSp>
          <p:nvCxnSpPr>
            <p:cNvPr id="95" name="Straight Connector 94">
              <a:extLst>
                <a:ext uri="{FF2B5EF4-FFF2-40B4-BE49-F238E27FC236}">
                  <a16:creationId xmlns:a16="http://schemas.microsoft.com/office/drawing/2014/main" id="{51AACB96-05AE-40D1-8310-5D3F34FA6129}"/>
                </a:ext>
              </a:extLst>
            </p:cNvPr>
            <p:cNvCxnSpPr/>
            <p:nvPr/>
          </p:nvCxnSpPr>
          <p:spPr>
            <a:xfrm>
              <a:off x="202624" y="2264249"/>
              <a:ext cx="4176000" cy="0"/>
            </a:xfrm>
            <a:prstGeom prst="line">
              <a:avLst/>
            </a:prstGeom>
            <a:ln w="19050">
              <a:solidFill>
                <a:schemeClr val="bg1">
                  <a:lumMod val="5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DD21A15B-50EC-4C6A-8A62-7FCB265B7666}"/>
                </a:ext>
              </a:extLst>
            </p:cNvPr>
            <p:cNvCxnSpPr/>
            <p:nvPr/>
          </p:nvCxnSpPr>
          <p:spPr>
            <a:xfrm>
              <a:off x="4472852" y="2264249"/>
              <a:ext cx="4176000" cy="0"/>
            </a:xfrm>
            <a:prstGeom prst="line">
              <a:avLst/>
            </a:prstGeom>
            <a:ln w="19050">
              <a:solidFill>
                <a:schemeClr val="bg1">
                  <a:lumMod val="50000"/>
                </a:schemeClr>
              </a:solidFill>
              <a:prstDash val="sysDot"/>
            </a:ln>
          </p:spPr>
          <p:style>
            <a:lnRef idx="1">
              <a:schemeClr val="accent1"/>
            </a:lnRef>
            <a:fillRef idx="0">
              <a:schemeClr val="accent1"/>
            </a:fillRef>
            <a:effectRef idx="0">
              <a:schemeClr val="accent1"/>
            </a:effectRef>
            <a:fontRef idx="minor">
              <a:schemeClr val="tx1"/>
            </a:fontRef>
          </p:style>
        </p:cxnSp>
      </p:grpSp>
      <p:grpSp>
        <p:nvGrpSpPr>
          <p:cNvPr id="56" name="Group 55">
            <a:extLst>
              <a:ext uri="{FF2B5EF4-FFF2-40B4-BE49-F238E27FC236}">
                <a16:creationId xmlns:a16="http://schemas.microsoft.com/office/drawing/2014/main" id="{976C9626-54E1-4242-8FFF-25383C540F0E}"/>
              </a:ext>
            </a:extLst>
          </p:cNvPr>
          <p:cNvGrpSpPr/>
          <p:nvPr/>
        </p:nvGrpSpPr>
        <p:grpSpPr>
          <a:xfrm>
            <a:off x="261905" y="2232113"/>
            <a:ext cx="8458232" cy="822533"/>
            <a:chOff x="209517" y="2313377"/>
            <a:chExt cx="8458232" cy="822533"/>
          </a:xfrm>
        </p:grpSpPr>
        <p:grpSp>
          <p:nvGrpSpPr>
            <p:cNvPr id="54" name="Group 53">
              <a:extLst>
                <a:ext uri="{FF2B5EF4-FFF2-40B4-BE49-F238E27FC236}">
                  <a16:creationId xmlns:a16="http://schemas.microsoft.com/office/drawing/2014/main" id="{E1D9379B-1EC2-4B6A-9BE0-E9B4714517CB}"/>
                </a:ext>
              </a:extLst>
            </p:cNvPr>
            <p:cNvGrpSpPr/>
            <p:nvPr/>
          </p:nvGrpSpPr>
          <p:grpSpPr>
            <a:xfrm>
              <a:off x="4479744" y="2313377"/>
              <a:ext cx="4188005" cy="822533"/>
              <a:chOff x="4479744" y="2313377"/>
              <a:chExt cx="4188005" cy="822533"/>
            </a:xfrm>
          </p:grpSpPr>
          <p:sp>
            <p:nvSpPr>
              <p:cNvPr id="100" name="TextBox 99">
                <a:extLst>
                  <a:ext uri="{FF2B5EF4-FFF2-40B4-BE49-F238E27FC236}">
                    <a16:creationId xmlns:a16="http://schemas.microsoft.com/office/drawing/2014/main" id="{8DF2F32E-A739-4D0D-8A28-35D1FE9050D2}"/>
                  </a:ext>
                </a:extLst>
              </p:cNvPr>
              <p:cNvSpPr txBox="1">
                <a:spLocks/>
              </p:cNvSpPr>
              <p:nvPr/>
            </p:nvSpPr>
            <p:spPr>
              <a:xfrm>
                <a:off x="5875226" y="2313377"/>
                <a:ext cx="2792523" cy="822533"/>
              </a:xfrm>
              <a:prstGeom prst="rect">
                <a:avLst/>
              </a:prstGeom>
              <a:solidFill>
                <a:schemeClr val="bg1">
                  <a:lumMod val="85000"/>
                </a:schemeClr>
              </a:solidFill>
              <a:ln>
                <a:noFill/>
              </a:ln>
            </p:spPr>
            <p:txBody>
              <a:bodyPr vert="horz" wrap="square" lIns="72009" tIns="72009" rIns="72009" bIns="72009" rtlCol="0" anchor="ctr" anchorCtr="0">
                <a:no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spcBef>
                    <a:spcPts val="400"/>
                  </a:spcBef>
                  <a:buClr>
                    <a:schemeClr val="tx2"/>
                  </a:buClr>
                  <a:buSzPct val="125000"/>
                  <a:defRPr/>
                </a:pPr>
                <a:r>
                  <a:rPr lang="en-US" sz="1100" dirty="0"/>
                  <a:t>Conducted technical and commercial due diligence for 3 of India’s largest steel assets under NCLT process in current cycle</a:t>
                </a:r>
              </a:p>
            </p:txBody>
          </p:sp>
          <p:sp>
            <p:nvSpPr>
              <p:cNvPr id="99" name="Rectangle 98">
                <a:extLst>
                  <a:ext uri="{FF2B5EF4-FFF2-40B4-BE49-F238E27FC236}">
                    <a16:creationId xmlns:a16="http://schemas.microsoft.com/office/drawing/2014/main" id="{33DD9BE4-068E-45A2-9391-8063B21D263F}"/>
                  </a:ext>
                </a:extLst>
              </p:cNvPr>
              <p:cNvSpPr>
                <a:spLocks/>
              </p:cNvSpPr>
              <p:nvPr/>
            </p:nvSpPr>
            <p:spPr>
              <a:xfrm>
                <a:off x="4479744" y="2313377"/>
                <a:ext cx="1395483" cy="82253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rtlCol="0" anchor="t">
                <a:noAutofit/>
              </a:bodyPr>
              <a:lstStyle/>
              <a:p>
                <a:r>
                  <a:rPr lang="en-US" sz="1100" b="1" dirty="0">
                    <a:solidFill>
                      <a:schemeClr val="bg1"/>
                    </a:solidFill>
                  </a:rPr>
                  <a:t>Due diligence of 3 steel assets in NCLT in </a:t>
                </a:r>
                <a:br>
                  <a:rPr lang="en-US" sz="1100" b="1" dirty="0">
                    <a:solidFill>
                      <a:schemeClr val="bg1"/>
                    </a:solidFill>
                  </a:rPr>
                </a:br>
                <a:r>
                  <a:rPr lang="en-US" sz="1100" b="1" dirty="0">
                    <a:solidFill>
                      <a:schemeClr val="bg1"/>
                    </a:solidFill>
                  </a:rPr>
                  <a:t>first cycle</a:t>
                </a:r>
                <a:endParaRPr lang="en-GB" sz="1100" b="1" dirty="0">
                  <a:solidFill>
                    <a:schemeClr val="bg1"/>
                  </a:solidFill>
                </a:endParaRPr>
              </a:p>
            </p:txBody>
          </p:sp>
          <p:pic>
            <p:nvPicPr>
              <p:cNvPr id="101" name="Picture 100">
                <a:extLst>
                  <a:ext uri="{FF2B5EF4-FFF2-40B4-BE49-F238E27FC236}">
                    <a16:creationId xmlns:a16="http://schemas.microsoft.com/office/drawing/2014/main" id="{454303D3-A660-4648-A3CC-9C4BD1F61355}"/>
                  </a:ext>
                </a:extLst>
              </p:cNvPr>
              <p:cNvPicPr>
                <a:picLocks/>
              </p:cNvPicPr>
              <p:nvPr/>
            </p:nvPicPr>
            <p:blipFill>
              <a:blip r:embed="rId9" cstate="email">
                <a:extLst>
                  <a:ext uri="{28A0092B-C50C-407E-A947-70E740481C1C}">
                    <a14:useLocalDpi xmlns:a14="http://schemas.microsoft.com/office/drawing/2010/main"/>
                  </a:ext>
                </a:extLst>
              </a:blip>
              <a:stretch>
                <a:fillRect/>
              </a:stretch>
            </p:blipFill>
            <p:spPr>
              <a:xfrm>
                <a:off x="5410482" y="2783212"/>
                <a:ext cx="451888" cy="339097"/>
              </a:xfrm>
              <a:prstGeom prst="rect">
                <a:avLst/>
              </a:prstGeom>
            </p:spPr>
          </p:pic>
        </p:grpSp>
        <p:grpSp>
          <p:nvGrpSpPr>
            <p:cNvPr id="55" name="Group 54">
              <a:extLst>
                <a:ext uri="{FF2B5EF4-FFF2-40B4-BE49-F238E27FC236}">
                  <a16:creationId xmlns:a16="http://schemas.microsoft.com/office/drawing/2014/main" id="{732ADF0E-F323-495C-9CA6-8ED51DE24C64}"/>
                </a:ext>
              </a:extLst>
            </p:cNvPr>
            <p:cNvGrpSpPr/>
            <p:nvPr/>
          </p:nvGrpSpPr>
          <p:grpSpPr>
            <a:xfrm>
              <a:off x="209517" y="2313377"/>
              <a:ext cx="4192274" cy="822533"/>
              <a:chOff x="209517" y="2313377"/>
              <a:chExt cx="4192274" cy="822533"/>
            </a:xfrm>
          </p:grpSpPr>
          <p:sp>
            <p:nvSpPr>
              <p:cNvPr id="98" name="TextBox 97">
                <a:extLst>
                  <a:ext uri="{FF2B5EF4-FFF2-40B4-BE49-F238E27FC236}">
                    <a16:creationId xmlns:a16="http://schemas.microsoft.com/office/drawing/2014/main" id="{491A3AE9-AF9B-43DD-A8DF-72EC666CE20C}"/>
                  </a:ext>
                </a:extLst>
              </p:cNvPr>
              <p:cNvSpPr txBox="1">
                <a:spLocks/>
              </p:cNvSpPr>
              <p:nvPr/>
            </p:nvSpPr>
            <p:spPr>
              <a:xfrm>
                <a:off x="1609268" y="2313377"/>
                <a:ext cx="2792523" cy="822533"/>
              </a:xfrm>
              <a:prstGeom prst="rect">
                <a:avLst/>
              </a:prstGeom>
              <a:solidFill>
                <a:schemeClr val="bg1">
                  <a:lumMod val="85000"/>
                </a:schemeClr>
              </a:solidFill>
              <a:ln>
                <a:noFill/>
              </a:ln>
            </p:spPr>
            <p:txBody>
              <a:bodyPr vert="horz" wrap="square" lIns="72009" tIns="72009" rIns="72009" bIns="72009" rtlCol="0" anchor="ctr" anchorCtr="0">
                <a:no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spcBef>
                    <a:spcPts val="400"/>
                  </a:spcBef>
                  <a:buClr>
                    <a:schemeClr val="tx2"/>
                  </a:buClr>
                  <a:buSzPct val="125000"/>
                  <a:defRPr/>
                </a:pPr>
                <a:r>
                  <a:rPr lang="en-US" sz="1100" dirty="0"/>
                  <a:t>Drafted the techno-economic viability report for a business unit of a long steel manufacturer</a:t>
                </a:r>
              </a:p>
            </p:txBody>
          </p:sp>
          <p:sp>
            <p:nvSpPr>
              <p:cNvPr id="97" name="Rectangle 96">
                <a:extLst>
                  <a:ext uri="{FF2B5EF4-FFF2-40B4-BE49-F238E27FC236}">
                    <a16:creationId xmlns:a16="http://schemas.microsoft.com/office/drawing/2014/main" id="{92CE7266-ED6D-4F7B-BAB2-397112F49C54}"/>
                  </a:ext>
                </a:extLst>
              </p:cNvPr>
              <p:cNvSpPr>
                <a:spLocks/>
              </p:cNvSpPr>
              <p:nvPr/>
            </p:nvSpPr>
            <p:spPr>
              <a:xfrm>
                <a:off x="209517" y="2313377"/>
                <a:ext cx="1399752" cy="82253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rIns="0" rtlCol="0" anchor="t">
                <a:noAutofit/>
              </a:bodyPr>
              <a:lstStyle/>
              <a:p>
                <a:r>
                  <a:rPr lang="en-US" sz="1100" b="1" dirty="0">
                    <a:solidFill>
                      <a:schemeClr val="bg1"/>
                    </a:solidFill>
                    <a:latin typeface="+mj-lt"/>
                  </a:rPr>
                  <a:t>TEV report for a long steel manufacturer </a:t>
                </a:r>
                <a:br>
                  <a:rPr lang="en-US" sz="1100" b="1" dirty="0">
                    <a:solidFill>
                      <a:schemeClr val="bg1"/>
                    </a:solidFill>
                    <a:latin typeface="+mj-lt"/>
                  </a:rPr>
                </a:br>
                <a:r>
                  <a:rPr lang="en-US" sz="1100" b="1" dirty="0">
                    <a:solidFill>
                      <a:schemeClr val="bg1"/>
                    </a:solidFill>
                    <a:latin typeface="+mj-lt"/>
                  </a:rPr>
                  <a:t>in East India</a:t>
                </a:r>
                <a:endParaRPr lang="en-GB" sz="1100" b="1" dirty="0">
                  <a:solidFill>
                    <a:schemeClr val="bg1"/>
                  </a:solidFill>
                  <a:latin typeface="+mj-lt"/>
                </a:endParaRPr>
              </a:p>
            </p:txBody>
          </p:sp>
          <p:pic>
            <p:nvPicPr>
              <p:cNvPr id="102" name="Picture 101">
                <a:extLst>
                  <a:ext uri="{FF2B5EF4-FFF2-40B4-BE49-F238E27FC236}">
                    <a16:creationId xmlns:a16="http://schemas.microsoft.com/office/drawing/2014/main" id="{EC7B9CD7-A7E0-48BA-88A8-F80C8C64E29D}"/>
                  </a:ext>
                </a:extLst>
              </p:cNvPr>
              <p:cNvPicPr>
                <a:picLocks/>
              </p:cNvPicPr>
              <p:nvPr/>
            </p:nvPicPr>
            <p:blipFill>
              <a:blip r:embed="rId10" cstate="email">
                <a:extLst>
                  <a:ext uri="{28A0092B-C50C-407E-A947-70E740481C1C}">
                    <a14:useLocalDpi xmlns:a14="http://schemas.microsoft.com/office/drawing/2010/main"/>
                  </a:ext>
                </a:extLst>
              </a:blip>
              <a:stretch>
                <a:fillRect/>
              </a:stretch>
            </p:blipFill>
            <p:spPr>
              <a:xfrm>
                <a:off x="1310377" y="2732059"/>
                <a:ext cx="253664" cy="253664"/>
              </a:xfrm>
              <a:prstGeom prst="rect">
                <a:avLst/>
              </a:prstGeom>
            </p:spPr>
          </p:pic>
        </p:grpSp>
      </p:grpSp>
      <p:sp>
        <p:nvSpPr>
          <p:cNvPr id="10" name="RoundedRectangle 9">
            <a:extLst>
              <a:ext uri="{FF2B5EF4-FFF2-40B4-BE49-F238E27FC236}">
                <a16:creationId xmlns:a16="http://schemas.microsoft.com/office/drawing/2014/main" id="{92CB00F2-07A3-4928-AFBE-0C177DDE6484}"/>
              </a:ext>
            </a:extLst>
          </p:cNvPr>
          <p:cNvSpPr txBox="1"/>
          <p:nvPr>
            <p:custDataLst>
              <p:tags r:id="rId3"/>
            </p:custDataLst>
          </p:nvPr>
        </p:nvSpPr>
        <p:spPr>
          <a:xfrm>
            <a:off x="1120769" y="5847375"/>
            <a:ext cx="6951936" cy="492443"/>
          </a:xfrm>
          <a:prstGeom prst="rect">
            <a:avLst/>
          </a:prstGeom>
          <a:solidFill>
            <a:schemeClr val="accent4"/>
          </a:solidFill>
          <a:ln>
            <a:noFill/>
          </a:ln>
        </p:spPr>
        <p:txBody>
          <a:bodyPr vert="horz" lIns="76200" tIns="76200" rIns="76200" bIns="76200" rtlCol="0" anchor="t" anchorCtr="0">
            <a:sp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1587" lvl="1" indent="0" algn="ctr">
              <a:buNone/>
            </a:pPr>
            <a:r>
              <a:rPr lang="en-US" sz="1100" b="1" dirty="0">
                <a:solidFill>
                  <a:schemeClr val="bg1"/>
                </a:solidFill>
              </a:rPr>
              <a:t>McKinsey has experience in stressed Indian steel companies and understands the assets which Tata Steel may acquire through the NCLT process (Bhushan Steel, Bhushan Power &amp; Steel)</a:t>
            </a:r>
          </a:p>
        </p:txBody>
      </p:sp>
      <p:sp>
        <p:nvSpPr>
          <p:cNvPr id="104" name="5. Source">
            <a:extLst>
              <a:ext uri="{FF2B5EF4-FFF2-40B4-BE49-F238E27FC236}">
                <a16:creationId xmlns:a16="http://schemas.microsoft.com/office/drawing/2014/main" id="{6969B503-7EA3-43F5-A1F1-960D55D897E4}"/>
              </a:ext>
            </a:extLst>
          </p:cNvPr>
          <p:cNvSpPr>
            <a:spLocks noChangeArrowheads="1"/>
          </p:cNvSpPr>
          <p:nvPr/>
        </p:nvSpPr>
        <p:spPr bwMode="gray">
          <a:xfrm>
            <a:off x="119063" y="6507558"/>
            <a:ext cx="7200000" cy="123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marL="609600" indent="-609600" defTabSz="895350">
              <a:tabLst>
                <a:tab pos="612775" algn="l"/>
              </a:tabLst>
            </a:pPr>
            <a:r>
              <a:rPr lang="en-US" sz="800" dirty="0">
                <a:solidFill>
                  <a:srgbClr val="808080"/>
                </a:solidFill>
                <a:latin typeface="Arial"/>
              </a:rPr>
              <a:t>SOURCE: McKinsey Global Basic Materials Practice</a:t>
            </a:r>
          </a:p>
        </p:txBody>
      </p:sp>
    </p:spTree>
    <p:extLst>
      <p:ext uri="{BB962C8B-B14F-4D97-AF65-F5344CB8AC3E}">
        <p14:creationId xmlns:p14="http://schemas.microsoft.com/office/powerpoint/2010/main" val="3706286803"/>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33330" name="Rectangle 82" hidden="1"/>
          <p:cNvGraphicFramePr>
            <a:graphicFrameLocks/>
          </p:cNvGraphicFramePr>
          <p:nvPr>
            <p:custDataLst>
              <p:tags r:id="rId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18484" name="think-cell Slide" r:id="rId6" imgW="0" imgH="0" progId="TCLayout.ActiveDocument.1">
                  <p:embed/>
                </p:oleObj>
              </mc:Choice>
              <mc:Fallback>
                <p:oleObj name="think-cell Slide" r:id="rId6" imgW="0" imgH="0" progId="TCLayout.ActiveDocument.1">
                  <p:embed/>
                  <p:pic>
                    <p:nvPicPr>
                      <p:cNvPr id="1333330" name="Rectangle 8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gray">
                      <a:xfrm>
                        <a:off x="0" y="0"/>
                        <a:ext cx="158750" cy="15875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1333250" name="Rectangle 2"/>
          <p:cNvSpPr>
            <a:spLocks noGrp="1" noChangeArrowheads="1"/>
          </p:cNvSpPr>
          <p:nvPr>
            <p:ph type="title"/>
            <p:custDataLst>
              <p:tags r:id="rId3"/>
            </p:custDataLst>
          </p:nvPr>
        </p:nvSpPr>
        <p:spPr bwMode="gray">
          <a:xfrm>
            <a:off x="119063" y="230188"/>
            <a:ext cx="8618537" cy="615553"/>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r>
              <a:rPr lang="en-GB" dirty="0"/>
              <a:t>Basic Materials Institute (BMI) is the Practice's "think tank" providing deep industry knowledge and insights</a:t>
            </a:r>
          </a:p>
        </p:txBody>
      </p:sp>
      <p:pic>
        <p:nvPicPr>
          <p:cNvPr id="3" name="Picture 2"/>
          <p:cNvPicPr>
            <a:picLocks noChangeAspect="1"/>
          </p:cNvPicPr>
          <p:nvPr/>
        </p:nvPicPr>
        <p:blipFill rotWithShape="1">
          <a:blip r:embed="rId7" cstate="print">
            <a:extLst>
              <a:ext uri="{28A0092B-C50C-407E-A947-70E740481C1C}">
                <a14:useLocalDpi xmlns:a14="http://schemas.microsoft.com/office/drawing/2010/main" val="0"/>
              </a:ext>
            </a:extLst>
          </a:blip>
          <a:srcRect l="7248" r="31259"/>
          <a:stretch/>
        </p:blipFill>
        <p:spPr>
          <a:xfrm>
            <a:off x="4497313" y="1078620"/>
            <a:ext cx="2231137" cy="2414586"/>
          </a:xfrm>
          <a:prstGeom prst="rect">
            <a:avLst/>
          </a:prstGeom>
        </p:spPr>
      </p:pic>
      <p:pic>
        <p:nvPicPr>
          <p:cNvPr id="4" name="Picture 3"/>
          <p:cNvPicPr>
            <a:picLocks noChangeAspect="1"/>
          </p:cNvPicPr>
          <p:nvPr/>
        </p:nvPicPr>
        <p:blipFill rotWithShape="1">
          <a:blip r:embed="rId8" cstate="print">
            <a:extLst>
              <a:ext uri="{28A0092B-C50C-407E-A947-70E740481C1C}">
                <a14:useLocalDpi xmlns:a14="http://schemas.microsoft.com/office/drawing/2010/main" val="0"/>
              </a:ext>
            </a:extLst>
          </a:blip>
          <a:srcRect l="31311" r="7102"/>
          <a:stretch/>
        </p:blipFill>
        <p:spPr>
          <a:xfrm flipH="1">
            <a:off x="6730299" y="1085145"/>
            <a:ext cx="2231139" cy="2408062"/>
          </a:xfrm>
          <a:prstGeom prst="rect">
            <a:avLst/>
          </a:prstGeom>
        </p:spPr>
      </p:pic>
      <p:pic>
        <p:nvPicPr>
          <p:cNvPr id="2" name="Picture 1"/>
          <p:cNvPicPr>
            <a:picLocks noChangeAspect="1"/>
          </p:cNvPicPr>
          <p:nvPr/>
        </p:nvPicPr>
        <p:blipFill rotWithShape="1">
          <a:blip r:embed="rId9" cstate="print">
            <a:extLst>
              <a:ext uri="{28A0092B-C50C-407E-A947-70E740481C1C}">
                <a14:useLocalDpi xmlns:a14="http://schemas.microsoft.com/office/drawing/2010/main" val="0"/>
              </a:ext>
            </a:extLst>
          </a:blip>
          <a:srcRect l="21966" t="11115" r="25224" b="3440"/>
          <a:stretch/>
        </p:blipFill>
        <p:spPr>
          <a:xfrm>
            <a:off x="1" y="1085145"/>
            <a:ext cx="2239070" cy="2408061"/>
          </a:xfrm>
          <a:prstGeom prst="rect">
            <a:avLst/>
          </a:prstGeom>
        </p:spPr>
      </p:pic>
      <p:pic>
        <p:nvPicPr>
          <p:cNvPr id="113" name="Picture 5" descr="C:\Users\Elena Yaropolova\VME\ZZG506 Metals Qualifications (Shvartsman)\Fotolia_62361287_V [Converted]-03.jpg"/>
          <p:cNvPicPr>
            <a:picLocks noChangeArrowheads="1"/>
          </p:cNvPicPr>
          <p:nvPr/>
        </p:nvPicPr>
        <p:blipFill rotWithShape="1">
          <a:blip r:embed="rId10" cstate="print">
            <a:extLst>
              <a:ext uri="{BEBA8EAE-BF5A-486C-A8C5-ECC9F3942E4B}">
                <a14:imgProps xmlns:a14="http://schemas.microsoft.com/office/drawing/2010/main">
                  <a14:imgLayer r:embed="rId11">
                    <a14:imgEffect>
                      <a14:brightnessContrast contrast="-20000"/>
                    </a14:imgEffect>
                  </a14:imgLayer>
                </a14:imgProps>
              </a:ext>
              <a:ext uri="{28A0092B-C50C-407E-A947-70E740481C1C}">
                <a14:useLocalDpi xmlns:a14="http://schemas.microsoft.com/office/drawing/2010/main" val="0"/>
              </a:ext>
            </a:extLst>
          </a:blip>
          <a:srcRect l="18508" r="15612" b="3550"/>
          <a:stretch/>
        </p:blipFill>
        <p:spPr bwMode="auto">
          <a:xfrm>
            <a:off x="2240921" y="1085145"/>
            <a:ext cx="2254542" cy="2414587"/>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86" name="Rectangle 66"/>
          <p:cNvSpPr>
            <a:spLocks noChangeArrowheads="1"/>
          </p:cNvSpPr>
          <p:nvPr/>
        </p:nvSpPr>
        <p:spPr bwMode="auto">
          <a:xfrm>
            <a:off x="1" y="2740731"/>
            <a:ext cx="2244227" cy="752475"/>
          </a:xfrm>
          <a:prstGeom prst="rect">
            <a:avLst/>
          </a:prstGeom>
          <a:solidFill>
            <a:schemeClr val="hlink">
              <a:alpha val="79999"/>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noAutofit/>
          </a:bodyPr>
          <a:lstStyle/>
          <a:p>
            <a:endParaRPr lang="en-GB" dirty="0"/>
          </a:p>
        </p:txBody>
      </p:sp>
      <p:sp>
        <p:nvSpPr>
          <p:cNvPr id="88" name="Rectangle 69"/>
          <p:cNvSpPr>
            <a:spLocks noChangeArrowheads="1"/>
          </p:cNvSpPr>
          <p:nvPr/>
        </p:nvSpPr>
        <p:spPr bwMode="auto">
          <a:xfrm>
            <a:off x="2244228" y="2740731"/>
            <a:ext cx="2244227" cy="752475"/>
          </a:xfrm>
          <a:prstGeom prst="rect">
            <a:avLst/>
          </a:prstGeom>
          <a:solidFill>
            <a:schemeClr val="hlink">
              <a:alpha val="79999"/>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noAutofit/>
          </a:bodyPr>
          <a:lstStyle/>
          <a:p>
            <a:endParaRPr lang="en-GB" dirty="0"/>
          </a:p>
        </p:txBody>
      </p:sp>
      <p:sp>
        <p:nvSpPr>
          <p:cNvPr id="90" name="Rectangle 72"/>
          <p:cNvSpPr>
            <a:spLocks noChangeArrowheads="1"/>
          </p:cNvSpPr>
          <p:nvPr/>
        </p:nvSpPr>
        <p:spPr bwMode="auto">
          <a:xfrm>
            <a:off x="4472986" y="2740731"/>
            <a:ext cx="2244227" cy="752475"/>
          </a:xfrm>
          <a:prstGeom prst="rect">
            <a:avLst/>
          </a:prstGeom>
          <a:solidFill>
            <a:schemeClr val="hlink">
              <a:alpha val="79999"/>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noAutofit/>
          </a:bodyPr>
          <a:lstStyle/>
          <a:p>
            <a:endParaRPr lang="en-GB" dirty="0"/>
          </a:p>
        </p:txBody>
      </p:sp>
      <p:sp>
        <p:nvSpPr>
          <p:cNvPr id="91" name="Content Placeholder 6"/>
          <p:cNvSpPr>
            <a:spLocks/>
          </p:cNvSpPr>
          <p:nvPr/>
        </p:nvSpPr>
        <p:spPr bwMode="auto">
          <a:xfrm>
            <a:off x="2568046" y="2993858"/>
            <a:ext cx="1596591"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p>
            <a:pPr defTabSz="895350">
              <a:buClr>
                <a:schemeClr val="tx2"/>
              </a:buClr>
            </a:pPr>
            <a:r>
              <a:rPr lang="en-GB" dirty="0">
                <a:solidFill>
                  <a:srgbClr val="FFFFFF"/>
                </a:solidFill>
                <a:latin typeface="Georgia" pitchFamily="18" charset="0"/>
              </a:rPr>
              <a:t>Global presence</a:t>
            </a:r>
          </a:p>
        </p:txBody>
      </p:sp>
      <p:sp>
        <p:nvSpPr>
          <p:cNvPr id="92" name="Content Placeholder 6"/>
          <p:cNvSpPr>
            <a:spLocks/>
          </p:cNvSpPr>
          <p:nvPr/>
        </p:nvSpPr>
        <p:spPr bwMode="auto">
          <a:xfrm>
            <a:off x="4767950" y="2993858"/>
            <a:ext cx="1654299"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oAutofit/>
          </a:bodyPr>
          <a:lstStyle/>
          <a:p>
            <a:pPr defTabSz="895350">
              <a:buClr>
                <a:schemeClr val="tx2"/>
              </a:buClr>
            </a:pPr>
            <a:r>
              <a:rPr lang="en-GB" dirty="0">
                <a:solidFill>
                  <a:srgbClr val="FFFFFF"/>
                </a:solidFill>
                <a:latin typeface="Georgia" pitchFamily="18" charset="0"/>
              </a:rPr>
              <a:t>Industry insights</a:t>
            </a:r>
          </a:p>
        </p:txBody>
      </p:sp>
      <p:sp>
        <p:nvSpPr>
          <p:cNvPr id="93" name="Content Placeholder 6"/>
          <p:cNvSpPr>
            <a:spLocks/>
          </p:cNvSpPr>
          <p:nvPr/>
        </p:nvSpPr>
        <p:spPr bwMode="auto">
          <a:xfrm>
            <a:off x="536406" y="2870747"/>
            <a:ext cx="1171416" cy="4924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p>
            <a:pPr defTabSz="895350">
              <a:buClr>
                <a:schemeClr val="tx2"/>
              </a:buClr>
            </a:pPr>
            <a:r>
              <a:rPr lang="en-GB" dirty="0">
                <a:solidFill>
                  <a:srgbClr val="FFFFFF"/>
                </a:solidFill>
                <a:latin typeface="Georgia" pitchFamily="18" charset="0"/>
              </a:rPr>
              <a:t>Institutional capabilities</a:t>
            </a:r>
          </a:p>
        </p:txBody>
      </p:sp>
      <p:sp>
        <p:nvSpPr>
          <p:cNvPr id="98" name="Rectangle 72"/>
          <p:cNvSpPr>
            <a:spLocks noChangeArrowheads="1"/>
          </p:cNvSpPr>
          <p:nvPr/>
        </p:nvSpPr>
        <p:spPr bwMode="auto">
          <a:xfrm>
            <a:off x="6717212" y="2730571"/>
            <a:ext cx="2244227" cy="752475"/>
          </a:xfrm>
          <a:prstGeom prst="rect">
            <a:avLst/>
          </a:prstGeom>
          <a:solidFill>
            <a:schemeClr val="hlink">
              <a:alpha val="79999"/>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noAutofit/>
          </a:bodyPr>
          <a:lstStyle/>
          <a:p>
            <a:endParaRPr lang="en-GB" dirty="0"/>
          </a:p>
        </p:txBody>
      </p:sp>
      <p:sp>
        <p:nvSpPr>
          <p:cNvPr id="99" name="Content Placeholder 6"/>
          <p:cNvSpPr>
            <a:spLocks/>
          </p:cNvSpPr>
          <p:nvPr/>
        </p:nvSpPr>
        <p:spPr bwMode="auto">
          <a:xfrm>
            <a:off x="6960078" y="2993858"/>
            <a:ext cx="1758495"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oAutofit/>
          </a:bodyPr>
          <a:lstStyle/>
          <a:p>
            <a:pPr defTabSz="895350">
              <a:buClr>
                <a:schemeClr val="tx2"/>
              </a:buClr>
            </a:pPr>
            <a:r>
              <a:rPr lang="en-GB" dirty="0">
                <a:solidFill>
                  <a:srgbClr val="FFFFFF"/>
                </a:solidFill>
                <a:latin typeface="Georgia" pitchFamily="18" charset="0"/>
              </a:rPr>
              <a:t>Distinctive talents</a:t>
            </a:r>
          </a:p>
        </p:txBody>
      </p:sp>
      <p:sp>
        <p:nvSpPr>
          <p:cNvPr id="94" name="Line 76"/>
          <p:cNvSpPr>
            <a:spLocks noChangeShapeType="1"/>
          </p:cNvSpPr>
          <p:nvPr/>
        </p:nvSpPr>
        <p:spPr bwMode="auto">
          <a:xfrm>
            <a:off x="2239996" y="2730571"/>
            <a:ext cx="0" cy="752475"/>
          </a:xfrm>
          <a:prstGeom prst="line">
            <a:avLst/>
          </a:prstGeom>
          <a:noFill/>
          <a:ln w="12700">
            <a:solidFill>
              <a:schemeClr val="bg2"/>
            </a:solidFill>
            <a:prstDash val="sysDot"/>
            <a:round/>
            <a:headEnd/>
            <a:tailEnd/>
          </a:ln>
          <a:extLst>
            <a:ext uri="{909E8E84-426E-40DD-AFC4-6F175D3DCCD1}">
              <a14:hiddenFill xmlns:a14="http://schemas.microsoft.com/office/drawing/2010/main">
                <a:noFill/>
              </a14:hiddenFill>
            </a:ext>
          </a:extLst>
        </p:spPr>
        <p:txBody>
          <a:bodyPr/>
          <a:lstStyle/>
          <a:p>
            <a:endParaRPr lang="en-GB" dirty="0"/>
          </a:p>
        </p:txBody>
      </p:sp>
      <p:sp>
        <p:nvSpPr>
          <p:cNvPr id="95" name="Line 77"/>
          <p:cNvSpPr>
            <a:spLocks noChangeShapeType="1"/>
          </p:cNvSpPr>
          <p:nvPr/>
        </p:nvSpPr>
        <p:spPr bwMode="auto">
          <a:xfrm>
            <a:off x="4496388" y="2730571"/>
            <a:ext cx="0" cy="752475"/>
          </a:xfrm>
          <a:prstGeom prst="line">
            <a:avLst/>
          </a:prstGeom>
          <a:noFill/>
          <a:ln w="12700">
            <a:solidFill>
              <a:schemeClr val="bg2"/>
            </a:solidFill>
            <a:prstDash val="sysDot"/>
            <a:round/>
            <a:headEnd/>
            <a:tailEnd/>
          </a:ln>
          <a:extLst>
            <a:ext uri="{909E8E84-426E-40DD-AFC4-6F175D3DCCD1}">
              <a14:hiddenFill xmlns:a14="http://schemas.microsoft.com/office/drawing/2010/main">
                <a:noFill/>
              </a14:hiddenFill>
            </a:ext>
          </a:extLst>
        </p:spPr>
        <p:txBody>
          <a:bodyPr/>
          <a:lstStyle/>
          <a:p>
            <a:endParaRPr lang="en-GB" dirty="0"/>
          </a:p>
        </p:txBody>
      </p:sp>
      <p:sp>
        <p:nvSpPr>
          <p:cNvPr id="100" name="Line 77"/>
          <p:cNvSpPr>
            <a:spLocks noChangeShapeType="1"/>
          </p:cNvSpPr>
          <p:nvPr/>
        </p:nvSpPr>
        <p:spPr bwMode="auto">
          <a:xfrm>
            <a:off x="6729374" y="2730571"/>
            <a:ext cx="0" cy="752475"/>
          </a:xfrm>
          <a:prstGeom prst="line">
            <a:avLst/>
          </a:prstGeom>
          <a:noFill/>
          <a:ln w="12700">
            <a:solidFill>
              <a:schemeClr val="bg2"/>
            </a:solidFill>
            <a:prstDash val="sysDot"/>
            <a:round/>
            <a:headEnd/>
            <a:tailEnd/>
          </a:ln>
          <a:extLst>
            <a:ext uri="{909E8E84-426E-40DD-AFC4-6F175D3DCCD1}">
              <a14:hiddenFill xmlns:a14="http://schemas.microsoft.com/office/drawing/2010/main">
                <a:noFill/>
              </a14:hiddenFill>
            </a:ext>
          </a:extLst>
        </p:spPr>
        <p:txBody>
          <a:bodyPr/>
          <a:lstStyle/>
          <a:p>
            <a:endParaRPr lang="en-GB" dirty="0"/>
          </a:p>
        </p:txBody>
      </p:sp>
      <p:sp>
        <p:nvSpPr>
          <p:cNvPr id="25" name="Rectangle 66"/>
          <p:cNvSpPr>
            <a:spLocks noChangeArrowheads="1"/>
          </p:cNvSpPr>
          <p:nvPr/>
        </p:nvSpPr>
        <p:spPr bwMode="auto">
          <a:xfrm>
            <a:off x="0" y="1078620"/>
            <a:ext cx="8961438" cy="376237"/>
          </a:xfrm>
          <a:prstGeom prst="rect">
            <a:avLst/>
          </a:prstGeom>
          <a:solidFill>
            <a:schemeClr val="hlink">
              <a:alpha val="79999"/>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n-GB" dirty="0"/>
          </a:p>
        </p:txBody>
      </p:sp>
      <p:sp>
        <p:nvSpPr>
          <p:cNvPr id="26" name="Line 76"/>
          <p:cNvSpPr>
            <a:spLocks noChangeShapeType="1"/>
          </p:cNvSpPr>
          <p:nvPr/>
        </p:nvSpPr>
        <p:spPr bwMode="auto">
          <a:xfrm>
            <a:off x="2239996" y="1078620"/>
            <a:ext cx="0" cy="376237"/>
          </a:xfrm>
          <a:prstGeom prst="line">
            <a:avLst/>
          </a:prstGeom>
          <a:noFill/>
          <a:ln w="12700">
            <a:solidFill>
              <a:schemeClr val="bg2"/>
            </a:solidFill>
            <a:prstDash val="sysDot"/>
            <a:round/>
            <a:headEnd/>
            <a:tailEnd/>
          </a:ln>
          <a:extLst>
            <a:ext uri="{909E8E84-426E-40DD-AFC4-6F175D3DCCD1}">
              <a14:hiddenFill xmlns:a14="http://schemas.microsoft.com/office/drawing/2010/main">
                <a:noFill/>
              </a14:hiddenFill>
            </a:ext>
          </a:extLst>
        </p:spPr>
        <p:txBody>
          <a:bodyPr/>
          <a:lstStyle/>
          <a:p>
            <a:endParaRPr lang="en-GB" dirty="0"/>
          </a:p>
        </p:txBody>
      </p:sp>
      <p:sp>
        <p:nvSpPr>
          <p:cNvPr id="27" name="Line 77"/>
          <p:cNvSpPr>
            <a:spLocks noChangeShapeType="1"/>
          </p:cNvSpPr>
          <p:nvPr/>
        </p:nvSpPr>
        <p:spPr bwMode="auto">
          <a:xfrm>
            <a:off x="4496388" y="1078620"/>
            <a:ext cx="0" cy="376237"/>
          </a:xfrm>
          <a:prstGeom prst="line">
            <a:avLst/>
          </a:prstGeom>
          <a:noFill/>
          <a:ln w="12700">
            <a:solidFill>
              <a:schemeClr val="bg2"/>
            </a:solidFill>
            <a:prstDash val="sysDot"/>
            <a:round/>
            <a:headEnd/>
            <a:tailEnd/>
          </a:ln>
          <a:extLst>
            <a:ext uri="{909E8E84-426E-40DD-AFC4-6F175D3DCCD1}">
              <a14:hiddenFill xmlns:a14="http://schemas.microsoft.com/office/drawing/2010/main">
                <a:noFill/>
              </a14:hiddenFill>
            </a:ext>
          </a:extLst>
        </p:spPr>
        <p:txBody>
          <a:bodyPr/>
          <a:lstStyle/>
          <a:p>
            <a:endParaRPr lang="en-GB" dirty="0"/>
          </a:p>
        </p:txBody>
      </p:sp>
      <p:sp>
        <p:nvSpPr>
          <p:cNvPr id="28" name="Line 77"/>
          <p:cNvSpPr>
            <a:spLocks noChangeShapeType="1"/>
          </p:cNvSpPr>
          <p:nvPr/>
        </p:nvSpPr>
        <p:spPr bwMode="auto">
          <a:xfrm>
            <a:off x="6729374" y="1078620"/>
            <a:ext cx="0" cy="376237"/>
          </a:xfrm>
          <a:prstGeom prst="line">
            <a:avLst/>
          </a:prstGeom>
          <a:noFill/>
          <a:ln w="12700">
            <a:solidFill>
              <a:schemeClr val="bg2"/>
            </a:solidFill>
            <a:prstDash val="sysDot"/>
            <a:round/>
            <a:headEnd/>
            <a:tailEnd/>
          </a:ln>
          <a:extLst>
            <a:ext uri="{909E8E84-426E-40DD-AFC4-6F175D3DCCD1}">
              <a14:hiddenFill xmlns:a14="http://schemas.microsoft.com/office/drawing/2010/main">
                <a:noFill/>
              </a14:hiddenFill>
            </a:ext>
          </a:extLst>
        </p:spPr>
        <p:txBody>
          <a:bodyPr/>
          <a:lstStyle/>
          <a:p>
            <a:endParaRPr lang="en-GB" dirty="0"/>
          </a:p>
        </p:txBody>
      </p:sp>
      <p:sp>
        <p:nvSpPr>
          <p:cNvPr id="9" name="Rectangle 9"/>
          <p:cNvSpPr txBox="1"/>
          <p:nvPr/>
        </p:nvSpPr>
        <p:spPr>
          <a:xfrm>
            <a:off x="60523" y="3531017"/>
            <a:ext cx="2123183" cy="183127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1">
              <a:spcBef>
                <a:spcPct val="50000"/>
              </a:spcBef>
            </a:pPr>
            <a:r>
              <a:rPr lang="en-GB" sz="1400" dirty="0"/>
              <a:t>Basic Materials Institute (BMI) is our </a:t>
            </a:r>
            <a:r>
              <a:rPr lang="en-GB" sz="1400" dirty="0" err="1"/>
              <a:t>compe-tence</a:t>
            </a:r>
            <a:r>
              <a:rPr lang="en-GB" sz="1400" dirty="0"/>
              <a:t> </a:t>
            </a:r>
            <a:r>
              <a:rPr lang="en-GB" sz="1400" dirty="0" err="1"/>
              <a:t>center</a:t>
            </a:r>
            <a:r>
              <a:rPr lang="en-GB" sz="1400" dirty="0"/>
              <a:t> in the basic materials industries</a:t>
            </a:r>
          </a:p>
          <a:p>
            <a:pPr lvl="1">
              <a:spcBef>
                <a:spcPct val="50000"/>
              </a:spcBef>
            </a:pPr>
            <a:r>
              <a:rPr lang="en-GB" sz="1400" dirty="0"/>
              <a:t>Organized along the 3 service lines – Metals, Mining, and Paper &amp; Forest Products</a:t>
            </a:r>
          </a:p>
        </p:txBody>
      </p:sp>
      <p:sp>
        <p:nvSpPr>
          <p:cNvPr id="13" name="Rectangle 13"/>
          <p:cNvSpPr txBox="1"/>
          <p:nvPr/>
        </p:nvSpPr>
        <p:spPr>
          <a:xfrm>
            <a:off x="2315019" y="3531017"/>
            <a:ext cx="2102644" cy="269304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1">
              <a:spcBef>
                <a:spcPct val="50000"/>
              </a:spcBef>
            </a:pPr>
            <a:r>
              <a:rPr lang="en-GB" sz="1400" dirty="0"/>
              <a:t>More than 110 partners, 16 industry consultants, and 40 Knowledge Pro-</a:t>
            </a:r>
            <a:r>
              <a:rPr lang="en-GB" sz="1400" dirty="0" err="1"/>
              <a:t>fessionals</a:t>
            </a:r>
            <a:r>
              <a:rPr lang="en-GB" sz="1400" dirty="0"/>
              <a:t>, supporting a group of  600-700 con-</a:t>
            </a:r>
            <a:r>
              <a:rPr lang="en-GB" sz="1400" dirty="0" err="1"/>
              <a:t>sultants</a:t>
            </a:r>
            <a:r>
              <a:rPr lang="en-GB" sz="1400" dirty="0"/>
              <a:t> continuously serving our clients</a:t>
            </a:r>
          </a:p>
          <a:p>
            <a:pPr lvl="1">
              <a:spcBef>
                <a:spcPct val="50000"/>
              </a:spcBef>
            </a:pPr>
            <a:r>
              <a:rPr lang="en-GB" sz="1400" dirty="0">
                <a:solidFill>
                  <a:srgbClr val="000000"/>
                </a:solidFill>
              </a:rPr>
              <a:t>8 main hubs across the globe in Brazil, Belgium, China, Germany, India, Russia, South Africa, and Sweden</a:t>
            </a:r>
          </a:p>
        </p:txBody>
      </p:sp>
      <p:sp>
        <p:nvSpPr>
          <p:cNvPr id="17" name="Rectangle 17"/>
          <p:cNvSpPr txBox="1"/>
          <p:nvPr/>
        </p:nvSpPr>
        <p:spPr>
          <a:xfrm>
            <a:off x="4558461" y="3531017"/>
            <a:ext cx="2073276" cy="247760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1">
              <a:spcBef>
                <a:spcPct val="50000"/>
              </a:spcBef>
            </a:pPr>
            <a:r>
              <a:rPr lang="en-GB" sz="1400" dirty="0"/>
              <a:t>Unique industry insight through our knowledge and client work in all regions and functions, along the entire value chain</a:t>
            </a:r>
          </a:p>
          <a:p>
            <a:pPr lvl="1">
              <a:spcBef>
                <a:spcPct val="50000"/>
              </a:spcBef>
            </a:pPr>
            <a:r>
              <a:rPr lang="en-GB" sz="1400" dirty="0"/>
              <a:t>We have developed and are maintaining a large number of pro-</a:t>
            </a:r>
            <a:r>
              <a:rPr lang="en-GB" sz="1400" dirty="0" err="1"/>
              <a:t>prietary</a:t>
            </a:r>
            <a:r>
              <a:rPr lang="en-GB" sz="1400" dirty="0"/>
              <a:t> models with high analytical rigor</a:t>
            </a:r>
          </a:p>
        </p:txBody>
      </p:sp>
      <p:sp>
        <p:nvSpPr>
          <p:cNvPr id="21" name="Rectangle 21"/>
          <p:cNvSpPr txBox="1"/>
          <p:nvPr/>
        </p:nvSpPr>
        <p:spPr>
          <a:xfrm>
            <a:off x="6802687" y="3531017"/>
            <a:ext cx="2073276" cy="226215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1">
              <a:spcBef>
                <a:spcPct val="50000"/>
              </a:spcBef>
            </a:pPr>
            <a:r>
              <a:rPr lang="en-GB" sz="1400" dirty="0"/>
              <a:t>Industry experts having specialized in one or several Basic Materials industries over many years</a:t>
            </a:r>
          </a:p>
          <a:p>
            <a:pPr lvl="1">
              <a:spcBef>
                <a:spcPct val="50000"/>
              </a:spcBef>
            </a:pPr>
            <a:r>
              <a:rPr lang="en-GB" sz="1400" dirty="0"/>
              <a:t>Backgrounds include metallurgists, mining engineers, geo-</a:t>
            </a:r>
            <a:r>
              <a:rPr lang="en-GB" sz="1400" dirty="0" err="1"/>
              <a:t>engi</a:t>
            </a:r>
            <a:r>
              <a:rPr lang="en-GB" sz="1400" dirty="0"/>
              <a:t>-</a:t>
            </a:r>
            <a:r>
              <a:rPr lang="en-GB" sz="1400" dirty="0" err="1"/>
              <a:t>neers</a:t>
            </a:r>
            <a:r>
              <a:rPr lang="en-GB" sz="1400" dirty="0"/>
              <a:t>, economists, geologists</a:t>
            </a:r>
          </a:p>
        </p:txBody>
      </p:sp>
      <p:sp>
        <p:nvSpPr>
          <p:cNvPr id="29" name="5. Source">
            <a:extLst>
              <a:ext uri="{FF2B5EF4-FFF2-40B4-BE49-F238E27FC236}">
                <a16:creationId xmlns:a16="http://schemas.microsoft.com/office/drawing/2014/main" id="{C0CD2905-7430-47C4-B11E-2D317AD5F74A}"/>
              </a:ext>
            </a:extLst>
          </p:cNvPr>
          <p:cNvSpPr>
            <a:spLocks noChangeArrowheads="1"/>
          </p:cNvSpPr>
          <p:nvPr/>
        </p:nvSpPr>
        <p:spPr bwMode="gray">
          <a:xfrm>
            <a:off x="119063" y="6507558"/>
            <a:ext cx="7200000" cy="123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marL="609600" indent="-609600" defTabSz="895350">
              <a:tabLst>
                <a:tab pos="612775" algn="l"/>
              </a:tabLst>
            </a:pPr>
            <a:r>
              <a:rPr lang="en-US" sz="800" dirty="0">
                <a:solidFill>
                  <a:srgbClr val="808080"/>
                </a:solidFill>
                <a:latin typeface="Arial"/>
              </a:rPr>
              <a:t>SOURCE: McKinsey Global Basic Materials Practice</a:t>
            </a:r>
          </a:p>
        </p:txBody>
      </p:sp>
    </p:spTree>
    <p:extLst>
      <p:ext uri="{BB962C8B-B14F-4D97-AF65-F5344CB8AC3E}">
        <p14:creationId xmlns:p14="http://schemas.microsoft.com/office/powerpoint/2010/main" val="974829527"/>
      </p:ext>
    </p:extLst>
  </p:cSld>
  <p:clrMapOvr>
    <a:masterClrMapping/>
  </p:clrMapOvr>
  <p:transition/>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Rectangle 3"/>
          <p:cNvSpPr>
            <a:spLocks noGrp="1" noChangeArrowheads="1"/>
          </p:cNvSpPr>
          <p:nvPr>
            <p:ph type="title"/>
            <p:custDataLst>
              <p:tags r:id="rId2"/>
            </p:custDataLst>
          </p:nvPr>
        </p:nvSpPr>
        <p:spPr bwMode="gray">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r>
              <a:rPr lang="en-GB" altLang="ja-JP" dirty="0"/>
              <a:t>Our strategic and investment-oriented capabilities in steel through BMI</a:t>
            </a:r>
          </a:p>
        </p:txBody>
      </p:sp>
      <p:grpSp>
        <p:nvGrpSpPr>
          <p:cNvPr id="4" name="Group 3"/>
          <p:cNvGrpSpPr/>
          <p:nvPr/>
        </p:nvGrpSpPr>
        <p:grpSpPr bwMode="gray">
          <a:xfrm>
            <a:off x="8124807" y="285751"/>
            <a:ext cx="612796" cy="150811"/>
            <a:chOff x="7572775" y="285750"/>
            <a:chExt cx="1164825" cy="212366"/>
          </a:xfrm>
        </p:grpSpPr>
        <p:sp>
          <p:nvSpPr>
            <p:cNvPr id="44" name="StickerRectangle"/>
            <p:cNvSpPr>
              <a:spLocks noChangeArrowheads="1"/>
            </p:cNvSpPr>
            <p:nvPr/>
          </p:nvSpPr>
          <p:spPr bwMode="gray">
            <a:xfrm>
              <a:off x="7837867" y="285750"/>
              <a:ext cx="899733" cy="212366"/>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a:buClr>
                  <a:srgbClr val="002960"/>
                </a:buClr>
              </a:pPr>
              <a:r>
                <a:rPr lang="en-GB" sz="800" dirty="0">
                  <a:solidFill>
                    <a:schemeClr val="accent6"/>
                  </a:solidFill>
                  <a:latin typeface="+mn-lt"/>
                </a:rPr>
                <a:t> EXAMPLES</a:t>
              </a:r>
            </a:p>
          </p:txBody>
        </p:sp>
        <p:cxnSp>
          <p:nvCxnSpPr>
            <p:cNvPr id="45" name="AutoShape 31"/>
            <p:cNvCxnSpPr>
              <a:cxnSpLocks noChangeShapeType="1"/>
              <a:stCxn id="44" idx="2"/>
              <a:endCxn id="44" idx="4"/>
            </p:cNvCxnSpPr>
            <p:nvPr/>
          </p:nvCxnSpPr>
          <p:spPr bwMode="gray">
            <a:xfrm>
              <a:off x="7572775" y="285750"/>
              <a:ext cx="0" cy="212366"/>
            </a:xfrm>
            <a:prstGeom prst="straightConnector1">
              <a:avLst/>
            </a:prstGeom>
            <a:noFill/>
            <a:ln w="9525">
              <a:solidFill>
                <a:schemeClr val="accent6"/>
              </a:solidFill>
              <a:round/>
              <a:headEnd/>
              <a:tailEnd/>
            </a:ln>
            <a:extLst>
              <a:ext uri="{909E8E84-426E-40DD-AFC4-6F175D3DCCD1}">
                <a14:hiddenFill xmlns:a14="http://schemas.microsoft.com/office/drawing/2010/main">
                  <a:noFill/>
                </a14:hiddenFill>
              </a:ext>
            </a:extLst>
          </p:spPr>
        </p:cxnSp>
        <p:cxnSp>
          <p:nvCxnSpPr>
            <p:cNvPr id="46" name="AutoShape 32"/>
            <p:cNvCxnSpPr>
              <a:cxnSpLocks noChangeShapeType="1"/>
              <a:stCxn id="44" idx="4"/>
              <a:endCxn id="44" idx="6"/>
            </p:cNvCxnSpPr>
            <p:nvPr/>
          </p:nvCxnSpPr>
          <p:spPr bwMode="gray">
            <a:xfrm>
              <a:off x="7572775" y="498116"/>
              <a:ext cx="1164825" cy="0"/>
            </a:xfrm>
            <a:prstGeom prst="straightConnector1">
              <a:avLst/>
            </a:prstGeom>
            <a:noFill/>
            <a:ln w="25400">
              <a:solidFill>
                <a:schemeClr val="accent6"/>
              </a:solidFill>
              <a:round/>
              <a:headEnd/>
              <a:tailEnd/>
            </a:ln>
            <a:extLst>
              <a:ext uri="{909E8E84-426E-40DD-AFC4-6F175D3DCCD1}">
                <a14:hiddenFill xmlns:a14="http://schemas.microsoft.com/office/drawing/2010/main">
                  <a:noFill/>
                </a14:hiddenFill>
              </a:ext>
            </a:extLst>
          </p:spPr>
        </p:cxnSp>
      </p:grpSp>
      <p:sp>
        <p:nvSpPr>
          <p:cNvPr id="2" name="Rectangle 1"/>
          <p:cNvSpPr>
            <a:spLocks/>
          </p:cNvSpPr>
          <p:nvPr/>
        </p:nvSpPr>
        <p:spPr bwMode="gray">
          <a:xfrm>
            <a:off x="171451" y="685110"/>
            <a:ext cx="8618537" cy="5675305"/>
          </a:xfrm>
          <a:prstGeom prst="rect">
            <a:avLst/>
          </a:prstGeom>
          <a:solidFill>
            <a:schemeClr val="bg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100" dirty="0">
              <a:solidFill>
                <a:schemeClr val="tx1"/>
              </a:solidFill>
            </a:endParaRPr>
          </a:p>
        </p:txBody>
      </p:sp>
      <p:sp>
        <p:nvSpPr>
          <p:cNvPr id="29703" name="Rectangle 6"/>
          <p:cNvSpPr>
            <a:spLocks noChangeArrowheads="1"/>
          </p:cNvSpPr>
          <p:nvPr/>
        </p:nvSpPr>
        <p:spPr bwMode="gray">
          <a:xfrm>
            <a:off x="251595" y="780454"/>
            <a:ext cx="1226692"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b">
            <a:spAutoFit/>
          </a:bodyPr>
          <a:lstStyle/>
          <a:p>
            <a:pPr defTabSz="895350">
              <a:buClr>
                <a:schemeClr val="tx2"/>
              </a:buClr>
            </a:pPr>
            <a:r>
              <a:rPr lang="en-GB" sz="1100" b="1" dirty="0">
                <a:solidFill>
                  <a:schemeClr val="accent3"/>
                </a:solidFill>
              </a:rPr>
              <a:t>Area of insight</a:t>
            </a:r>
          </a:p>
        </p:txBody>
      </p:sp>
      <p:sp>
        <p:nvSpPr>
          <p:cNvPr id="29717" name="Line 20"/>
          <p:cNvSpPr>
            <a:spLocks noChangeShapeType="1"/>
          </p:cNvSpPr>
          <p:nvPr/>
        </p:nvSpPr>
        <p:spPr bwMode="gray">
          <a:xfrm>
            <a:off x="251595" y="970734"/>
            <a:ext cx="1226692" cy="0"/>
          </a:xfrm>
          <a:prstGeom prst="line">
            <a:avLst/>
          </a:prstGeom>
          <a:solidFill>
            <a:schemeClr val="bg1"/>
          </a:solidFill>
          <a:ln w="9525">
            <a:solidFill>
              <a:schemeClr val="accent3"/>
            </a:solidFill>
          </a:ln>
          <a:extLst/>
        </p:spPr>
        <p:txBody>
          <a:bodyPr wrap="square">
            <a:spAutoFit/>
          </a:bodyPr>
          <a:lstStyle/>
          <a:p>
            <a:endParaRPr lang="en-GB" sz="1100" b="1" dirty="0">
              <a:solidFill>
                <a:schemeClr val="accent4"/>
              </a:solidFill>
              <a:latin typeface="+mn-lt"/>
            </a:endParaRPr>
          </a:p>
        </p:txBody>
      </p:sp>
      <p:sp>
        <p:nvSpPr>
          <p:cNvPr id="29709" name="Oval 12"/>
          <p:cNvSpPr>
            <a:spLocks noChangeArrowheads="1"/>
          </p:cNvSpPr>
          <p:nvPr/>
        </p:nvSpPr>
        <p:spPr bwMode="gray">
          <a:xfrm>
            <a:off x="251596" y="2375511"/>
            <a:ext cx="144462" cy="144460"/>
          </a:xfrm>
          <a:prstGeom prst="ellipse">
            <a:avLst/>
          </a:prstGeom>
          <a:solidFill>
            <a:schemeClr val="hlink"/>
          </a:solidFill>
          <a:ln w="9525">
            <a:solidFill>
              <a:schemeClr val="accent3"/>
            </a:solidFill>
            <a:round/>
            <a:headEnd/>
            <a:tailEnd/>
          </a:ln>
          <a:extLst/>
        </p:spPr>
        <p:txBody>
          <a:bodyPr lIns="0" tIns="0" rIns="0" bIns="0" anchor="ctr" anchorCtr="1">
            <a:noAutofit/>
          </a:bodyPr>
          <a:lstStyle/>
          <a:p>
            <a:pPr algn="ctr" defTabSz="895350">
              <a:spcBef>
                <a:spcPct val="20000"/>
              </a:spcBef>
              <a:buClr>
                <a:schemeClr val="tx2"/>
              </a:buClr>
            </a:pPr>
            <a:r>
              <a:rPr lang="en-GB" sz="1100" b="0" dirty="0">
                <a:solidFill>
                  <a:schemeClr val="bg1"/>
                </a:solidFill>
                <a:latin typeface="+mn-lt"/>
              </a:rPr>
              <a:t>B</a:t>
            </a:r>
          </a:p>
        </p:txBody>
      </p:sp>
      <p:sp>
        <p:nvSpPr>
          <p:cNvPr id="29714" name="Oval 17"/>
          <p:cNvSpPr>
            <a:spLocks noChangeArrowheads="1"/>
          </p:cNvSpPr>
          <p:nvPr/>
        </p:nvSpPr>
        <p:spPr bwMode="gray">
          <a:xfrm>
            <a:off x="251596" y="3716135"/>
            <a:ext cx="144462" cy="144460"/>
          </a:xfrm>
          <a:prstGeom prst="ellipse">
            <a:avLst/>
          </a:prstGeom>
          <a:solidFill>
            <a:schemeClr val="hlink"/>
          </a:solidFill>
          <a:ln w="9525">
            <a:solidFill>
              <a:schemeClr val="accent3"/>
            </a:solidFill>
            <a:round/>
            <a:headEnd/>
            <a:tailEnd/>
          </a:ln>
          <a:extLst/>
        </p:spPr>
        <p:txBody>
          <a:bodyPr lIns="0" tIns="0" rIns="0" bIns="0" anchor="ctr" anchorCtr="1">
            <a:noAutofit/>
          </a:bodyPr>
          <a:lstStyle/>
          <a:p>
            <a:pPr algn="ctr" defTabSz="895350">
              <a:spcBef>
                <a:spcPct val="20000"/>
              </a:spcBef>
              <a:buClr>
                <a:schemeClr val="tx2"/>
              </a:buClr>
            </a:pPr>
            <a:r>
              <a:rPr lang="en-GB" sz="1100" b="0" dirty="0">
                <a:solidFill>
                  <a:schemeClr val="bg1"/>
                </a:solidFill>
                <a:latin typeface="+mn-lt"/>
              </a:rPr>
              <a:t>C</a:t>
            </a:r>
          </a:p>
        </p:txBody>
      </p:sp>
      <p:sp>
        <p:nvSpPr>
          <p:cNvPr id="29706" name="Oval 9"/>
          <p:cNvSpPr>
            <a:spLocks noChangeArrowheads="1"/>
          </p:cNvSpPr>
          <p:nvPr/>
        </p:nvSpPr>
        <p:spPr bwMode="gray">
          <a:xfrm>
            <a:off x="251596" y="1034887"/>
            <a:ext cx="144462" cy="144460"/>
          </a:xfrm>
          <a:prstGeom prst="ellipse">
            <a:avLst/>
          </a:prstGeom>
          <a:solidFill>
            <a:schemeClr val="hlink"/>
          </a:solidFill>
          <a:ln w="9525">
            <a:solidFill>
              <a:schemeClr val="accent3"/>
            </a:solidFill>
            <a:round/>
            <a:headEnd/>
            <a:tailEnd/>
          </a:ln>
          <a:extLst/>
        </p:spPr>
        <p:txBody>
          <a:bodyPr lIns="0" tIns="0" rIns="0" bIns="0" anchor="ctr" anchorCtr="1">
            <a:noAutofit/>
          </a:bodyPr>
          <a:lstStyle/>
          <a:p>
            <a:pPr algn="ctr" defTabSz="895350">
              <a:spcBef>
                <a:spcPct val="20000"/>
              </a:spcBef>
              <a:buClr>
                <a:schemeClr val="tx2"/>
              </a:buClr>
            </a:pPr>
            <a:r>
              <a:rPr lang="en-GB" sz="1100" b="0" dirty="0">
                <a:solidFill>
                  <a:schemeClr val="bg1"/>
                </a:solidFill>
                <a:latin typeface="+mn-lt"/>
              </a:rPr>
              <a:t>A</a:t>
            </a:r>
          </a:p>
        </p:txBody>
      </p:sp>
      <p:sp>
        <p:nvSpPr>
          <p:cNvPr id="29705" name="Rectangle 8"/>
          <p:cNvSpPr>
            <a:spLocks noChangeArrowheads="1"/>
          </p:cNvSpPr>
          <p:nvPr/>
        </p:nvSpPr>
        <p:spPr bwMode="gray">
          <a:xfrm>
            <a:off x="451745" y="1034887"/>
            <a:ext cx="1026543" cy="8463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p>
            <a:pPr defTabSz="895350">
              <a:spcBef>
                <a:spcPct val="20000"/>
              </a:spcBef>
              <a:buClr>
                <a:schemeClr val="tx2"/>
              </a:buClr>
            </a:pPr>
            <a:r>
              <a:rPr lang="en-GB" sz="1100" b="0" dirty="0">
                <a:latin typeface="+mn-lt"/>
              </a:rPr>
              <a:t>Steel demand, capacities, and production – which markets are attractive?</a:t>
            </a:r>
          </a:p>
        </p:txBody>
      </p:sp>
      <p:sp>
        <p:nvSpPr>
          <p:cNvPr id="29710" name="Rectangle 13"/>
          <p:cNvSpPr>
            <a:spLocks noChangeArrowheads="1"/>
          </p:cNvSpPr>
          <p:nvPr/>
        </p:nvSpPr>
        <p:spPr bwMode="gray">
          <a:xfrm>
            <a:off x="451745" y="2375511"/>
            <a:ext cx="1026543" cy="6771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p>
            <a:pPr defTabSz="895350">
              <a:spcBef>
                <a:spcPct val="20000"/>
              </a:spcBef>
              <a:buClr>
                <a:schemeClr val="tx2"/>
              </a:buClr>
            </a:pPr>
            <a:r>
              <a:rPr lang="en-GB" sz="1100" b="0" dirty="0">
                <a:latin typeface="+mn-lt"/>
              </a:rPr>
              <a:t>Steel assets, plant by plant – which plants are positioned best?</a:t>
            </a:r>
          </a:p>
        </p:txBody>
      </p:sp>
      <p:sp>
        <p:nvSpPr>
          <p:cNvPr id="29712" name="Rectangle 15"/>
          <p:cNvSpPr>
            <a:spLocks noChangeArrowheads="1"/>
          </p:cNvSpPr>
          <p:nvPr/>
        </p:nvSpPr>
        <p:spPr bwMode="gray">
          <a:xfrm>
            <a:off x="451745" y="3716135"/>
            <a:ext cx="1026543" cy="8463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p>
            <a:pPr defTabSz="895350">
              <a:spcBef>
                <a:spcPct val="20000"/>
              </a:spcBef>
              <a:buClr>
                <a:schemeClr val="tx2"/>
              </a:buClr>
            </a:pPr>
            <a:r>
              <a:rPr lang="en-GB" sz="1100" b="0" dirty="0">
                <a:latin typeface="+mn-lt"/>
              </a:rPr>
              <a:t>Raw materials – </a:t>
            </a:r>
            <a:br>
              <a:rPr lang="en-GB" sz="1100" b="0" dirty="0">
                <a:latin typeface="+mn-lt"/>
              </a:rPr>
            </a:br>
            <a:r>
              <a:rPr lang="en-GB" sz="1100" b="0" dirty="0">
                <a:latin typeface="+mn-lt"/>
              </a:rPr>
              <a:t>future iron ore, coal, scrap quality, and flows</a:t>
            </a:r>
          </a:p>
        </p:txBody>
      </p:sp>
      <p:sp>
        <p:nvSpPr>
          <p:cNvPr id="29718" name="Rectangle 21"/>
          <p:cNvSpPr>
            <a:spLocks noChangeArrowheads="1"/>
          </p:cNvSpPr>
          <p:nvPr/>
        </p:nvSpPr>
        <p:spPr bwMode="gray">
          <a:xfrm>
            <a:off x="451745" y="5056759"/>
            <a:ext cx="1026543" cy="6771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p>
            <a:pPr defTabSz="895350">
              <a:spcBef>
                <a:spcPct val="20000"/>
              </a:spcBef>
              <a:buClr>
                <a:schemeClr val="tx2"/>
              </a:buClr>
            </a:pPr>
            <a:r>
              <a:rPr lang="en-GB" sz="1100" b="0" dirty="0">
                <a:latin typeface="+mn-lt"/>
              </a:rPr>
              <a:t>Strategic dynamics along the steel value chain</a:t>
            </a:r>
          </a:p>
        </p:txBody>
      </p:sp>
      <p:sp>
        <p:nvSpPr>
          <p:cNvPr id="29720" name="Oval 23"/>
          <p:cNvSpPr>
            <a:spLocks noChangeArrowheads="1"/>
          </p:cNvSpPr>
          <p:nvPr/>
        </p:nvSpPr>
        <p:spPr bwMode="gray">
          <a:xfrm>
            <a:off x="251596" y="5056759"/>
            <a:ext cx="144462" cy="144460"/>
          </a:xfrm>
          <a:prstGeom prst="ellipse">
            <a:avLst/>
          </a:prstGeom>
          <a:solidFill>
            <a:schemeClr val="hlink"/>
          </a:solidFill>
          <a:ln w="9525">
            <a:solidFill>
              <a:schemeClr val="accent3"/>
            </a:solidFill>
            <a:round/>
            <a:headEnd/>
            <a:tailEnd/>
          </a:ln>
          <a:extLst/>
        </p:spPr>
        <p:txBody>
          <a:bodyPr lIns="0" tIns="0" rIns="0" bIns="0" anchor="ctr" anchorCtr="1">
            <a:noAutofit/>
          </a:bodyPr>
          <a:lstStyle/>
          <a:p>
            <a:pPr algn="ctr" defTabSz="895350">
              <a:spcBef>
                <a:spcPct val="20000"/>
              </a:spcBef>
              <a:buClr>
                <a:schemeClr val="tx2"/>
              </a:buClr>
            </a:pPr>
            <a:r>
              <a:rPr lang="en-GB" sz="1100" b="0" dirty="0">
                <a:solidFill>
                  <a:schemeClr val="bg1"/>
                </a:solidFill>
                <a:latin typeface="+mn-lt"/>
              </a:rPr>
              <a:t>D</a:t>
            </a:r>
          </a:p>
        </p:txBody>
      </p:sp>
      <p:sp>
        <p:nvSpPr>
          <p:cNvPr id="29715" name="Line 18"/>
          <p:cNvSpPr>
            <a:spLocks noChangeShapeType="1"/>
          </p:cNvSpPr>
          <p:nvPr/>
        </p:nvSpPr>
        <p:spPr bwMode="gray">
          <a:xfrm>
            <a:off x="251596" y="2313331"/>
            <a:ext cx="8458248" cy="0"/>
          </a:xfrm>
          <a:prstGeom prst="line">
            <a:avLst/>
          </a:prstGeom>
          <a:noFill/>
          <a:ln w="12700">
            <a:solidFill>
              <a:srgbClr val="808080"/>
            </a:solidFill>
            <a:prstDash val="sysDot"/>
            <a:round/>
            <a:headEnd/>
            <a:tailEnd/>
          </a:ln>
          <a:extLst>
            <a:ext uri="{909E8E84-426E-40DD-AFC4-6F175D3DCCD1}">
              <a14:hiddenFill xmlns:a14="http://schemas.microsoft.com/office/drawing/2010/main">
                <a:noFill/>
              </a14:hiddenFill>
            </a:ext>
          </a:extLst>
        </p:spPr>
        <p:txBody>
          <a:bodyPr/>
          <a:lstStyle/>
          <a:p>
            <a:endParaRPr lang="en-GB" sz="1000" dirty="0">
              <a:latin typeface="+mn-lt"/>
            </a:endParaRPr>
          </a:p>
        </p:txBody>
      </p:sp>
      <p:sp>
        <p:nvSpPr>
          <p:cNvPr id="29716" name="Line 19"/>
          <p:cNvSpPr>
            <a:spLocks noChangeShapeType="1"/>
          </p:cNvSpPr>
          <p:nvPr/>
        </p:nvSpPr>
        <p:spPr bwMode="gray">
          <a:xfrm>
            <a:off x="251596" y="3653955"/>
            <a:ext cx="8458248" cy="0"/>
          </a:xfrm>
          <a:prstGeom prst="line">
            <a:avLst/>
          </a:prstGeom>
          <a:noFill/>
          <a:ln w="12700">
            <a:solidFill>
              <a:srgbClr val="808080"/>
            </a:solidFill>
            <a:prstDash val="sysDot"/>
            <a:round/>
            <a:headEnd/>
            <a:tailEnd/>
          </a:ln>
          <a:extLst>
            <a:ext uri="{909E8E84-426E-40DD-AFC4-6F175D3DCCD1}">
              <a14:hiddenFill xmlns:a14="http://schemas.microsoft.com/office/drawing/2010/main">
                <a:noFill/>
              </a14:hiddenFill>
            </a:ext>
          </a:extLst>
        </p:spPr>
        <p:txBody>
          <a:bodyPr/>
          <a:lstStyle/>
          <a:p>
            <a:endParaRPr lang="en-GB" sz="1000" dirty="0">
              <a:latin typeface="+mn-lt"/>
            </a:endParaRPr>
          </a:p>
        </p:txBody>
      </p:sp>
      <p:sp>
        <p:nvSpPr>
          <p:cNvPr id="29721" name="Line 24"/>
          <p:cNvSpPr>
            <a:spLocks noChangeShapeType="1"/>
          </p:cNvSpPr>
          <p:nvPr/>
        </p:nvSpPr>
        <p:spPr bwMode="gray">
          <a:xfrm>
            <a:off x="251596" y="4994579"/>
            <a:ext cx="8458248" cy="0"/>
          </a:xfrm>
          <a:prstGeom prst="line">
            <a:avLst/>
          </a:prstGeom>
          <a:noFill/>
          <a:ln w="12700">
            <a:solidFill>
              <a:srgbClr val="808080"/>
            </a:solidFill>
            <a:prstDash val="sysDot"/>
            <a:round/>
            <a:headEnd/>
            <a:tailEnd/>
          </a:ln>
          <a:extLst>
            <a:ext uri="{909E8E84-426E-40DD-AFC4-6F175D3DCCD1}">
              <a14:hiddenFill xmlns:a14="http://schemas.microsoft.com/office/drawing/2010/main">
                <a:noFill/>
              </a14:hiddenFill>
            </a:ext>
          </a:extLst>
        </p:spPr>
        <p:txBody>
          <a:bodyPr/>
          <a:lstStyle/>
          <a:p>
            <a:endParaRPr lang="en-GB" sz="1000" dirty="0">
              <a:latin typeface="+mn-lt"/>
            </a:endParaRPr>
          </a:p>
        </p:txBody>
      </p:sp>
      <p:pic>
        <p:nvPicPr>
          <p:cNvPr id="33" name="Picture 5"/>
          <p:cNvPicPr>
            <a:picLocks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gray">
          <a:xfrm>
            <a:off x="7002806" y="1034887"/>
            <a:ext cx="1707038" cy="1216264"/>
          </a:xfrm>
          <a:prstGeom prst="rect">
            <a:avLst/>
          </a:prstGeom>
          <a:noFill/>
          <a:ln w="9525">
            <a:solidFill>
              <a:schemeClr val="accent6"/>
            </a:solidFill>
            <a:miter lim="800000"/>
            <a:headEnd/>
            <a:tailEnd/>
          </a:ln>
          <a:extLst>
            <a:ext uri="{909E8E84-426E-40DD-AFC4-6F175D3DCCD1}">
              <a14:hiddenFill xmlns:a14="http://schemas.microsoft.com/office/drawing/2010/main">
                <a:solidFill>
                  <a:srgbClr val="FFFFFF"/>
                </a:solidFill>
              </a14:hiddenFill>
            </a:ext>
          </a:extLst>
        </p:spPr>
      </p:pic>
      <p:pic>
        <p:nvPicPr>
          <p:cNvPr id="35" name="Picture 18"/>
          <p:cNvPicPr>
            <a:picLocks noChangeArrowheads="1"/>
          </p:cNvPicPr>
          <p:nvPr/>
        </p:nvPicPr>
        <p:blipFill>
          <a:blip r:embed="rId6" cstate="print">
            <a:extLst>
              <a:ext uri="{28A0092B-C50C-407E-A947-70E740481C1C}">
                <a14:useLocalDpi xmlns:a14="http://schemas.microsoft.com/office/drawing/2010/main" val="0"/>
              </a:ext>
            </a:extLst>
          </a:blip>
          <a:srcRect l="84" t="3188" r="44464" b="3094"/>
          <a:stretch>
            <a:fillRect/>
          </a:stretch>
        </p:blipFill>
        <p:spPr bwMode="gray">
          <a:xfrm>
            <a:off x="7002806" y="2375511"/>
            <a:ext cx="1707038" cy="1216264"/>
          </a:xfrm>
          <a:prstGeom prst="rect">
            <a:avLst/>
          </a:prstGeom>
          <a:noFill/>
          <a:ln w="9525">
            <a:solidFill>
              <a:schemeClr val="accent6"/>
            </a:solidFill>
            <a:miter lim="800000"/>
            <a:headEnd/>
            <a:tailEnd/>
          </a:ln>
          <a:extLst>
            <a:ext uri="{909E8E84-426E-40DD-AFC4-6F175D3DCCD1}">
              <a14:hiddenFill xmlns:a14="http://schemas.microsoft.com/office/drawing/2010/main">
                <a:solidFill>
                  <a:srgbClr val="FFFFFF"/>
                </a:solidFill>
              </a14:hiddenFill>
            </a:ext>
          </a:extLst>
        </p:spPr>
      </p:pic>
      <p:pic>
        <p:nvPicPr>
          <p:cNvPr id="37" name="Picture 21"/>
          <p:cNvPicPr>
            <a:picLocks noChangeArrowheads="1"/>
          </p:cNvPicPr>
          <p:nvPr/>
        </p:nvPicPr>
        <p:blipFill>
          <a:blip r:embed="rId7" cstate="print">
            <a:extLst>
              <a:ext uri="{28A0092B-C50C-407E-A947-70E740481C1C}">
                <a14:useLocalDpi xmlns:a14="http://schemas.microsoft.com/office/drawing/2010/main" val="0"/>
              </a:ext>
            </a:extLst>
          </a:blip>
          <a:srcRect l="22592" t="25348" r="14212" b="11172"/>
          <a:stretch>
            <a:fillRect/>
          </a:stretch>
        </p:blipFill>
        <p:spPr bwMode="gray">
          <a:xfrm>
            <a:off x="7002806" y="3716135"/>
            <a:ext cx="1707038" cy="1216264"/>
          </a:xfrm>
          <a:prstGeom prst="rect">
            <a:avLst/>
          </a:prstGeom>
          <a:noFill/>
          <a:ln w="9525">
            <a:solidFill>
              <a:schemeClr val="accent6"/>
            </a:solidFill>
            <a:miter lim="800000"/>
            <a:headEnd/>
            <a:tailEnd/>
          </a:ln>
          <a:extLst>
            <a:ext uri="{909E8E84-426E-40DD-AFC4-6F175D3DCCD1}">
              <a14:hiddenFill xmlns:a14="http://schemas.microsoft.com/office/drawing/2010/main">
                <a:solidFill>
                  <a:srgbClr val="FFFFFF"/>
                </a:solidFill>
              </a14:hiddenFill>
            </a:ext>
          </a:extLst>
        </p:spPr>
      </p:pic>
      <p:pic>
        <p:nvPicPr>
          <p:cNvPr id="32" name="Picture 5"/>
          <p:cNvPicPr>
            <a:picLocks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gray">
          <a:xfrm>
            <a:off x="5212986" y="1034887"/>
            <a:ext cx="1707038" cy="1216264"/>
          </a:xfrm>
          <a:prstGeom prst="rect">
            <a:avLst/>
          </a:prstGeom>
          <a:noFill/>
          <a:ln w="9525">
            <a:solidFill>
              <a:schemeClr val="accent6"/>
            </a:solidFill>
            <a:miter lim="800000"/>
            <a:headEnd/>
            <a:tailEnd/>
          </a:ln>
          <a:extLst>
            <a:ext uri="{909E8E84-426E-40DD-AFC4-6F175D3DCCD1}">
              <a14:hiddenFill xmlns:a14="http://schemas.microsoft.com/office/drawing/2010/main">
                <a:solidFill>
                  <a:srgbClr val="FFFFFF"/>
                </a:solidFill>
              </a14:hiddenFill>
            </a:ext>
          </a:extLst>
        </p:spPr>
      </p:pic>
      <p:pic>
        <p:nvPicPr>
          <p:cNvPr id="34" name="Picture 15"/>
          <p:cNvPicPr>
            <a:picLocks noChangeArrowheads="1"/>
          </p:cNvPicPr>
          <p:nvPr/>
        </p:nvPicPr>
        <p:blipFill>
          <a:blip r:embed="rId9" cstate="print">
            <a:extLst>
              <a:ext uri="{28A0092B-C50C-407E-A947-70E740481C1C}">
                <a14:useLocalDpi xmlns:a14="http://schemas.microsoft.com/office/drawing/2010/main" val="0"/>
              </a:ext>
            </a:extLst>
          </a:blip>
          <a:srcRect t="4031" r="44423" b="3094"/>
          <a:stretch>
            <a:fillRect/>
          </a:stretch>
        </p:blipFill>
        <p:spPr bwMode="gray">
          <a:xfrm>
            <a:off x="5212986" y="2375511"/>
            <a:ext cx="1707038" cy="1216264"/>
          </a:xfrm>
          <a:prstGeom prst="rect">
            <a:avLst/>
          </a:prstGeom>
          <a:noFill/>
          <a:ln w="9525">
            <a:solidFill>
              <a:schemeClr val="accent6"/>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36" name="Object 8"/>
          <p:cNvGraphicFramePr>
            <a:graphicFrameLocks/>
          </p:cNvGraphicFramePr>
          <p:nvPr>
            <p:extLst/>
          </p:nvPr>
        </p:nvGraphicFramePr>
        <p:xfrm>
          <a:off x="5212986" y="3716135"/>
          <a:ext cx="1707038" cy="1216264"/>
        </p:xfrm>
        <a:graphic>
          <a:graphicData uri="http://schemas.openxmlformats.org/presentationml/2006/ole">
            <mc:AlternateContent xmlns:mc="http://schemas.openxmlformats.org/markup-compatibility/2006">
              <mc:Choice xmlns:v="urn:schemas-microsoft-com:vml" Requires="v">
                <p:oleObj spid="_x0000_s319508" name="Slide" r:id="rId10" imgW="4162192" imgH="3120988" progId="PowerPoint.Slide.8">
                  <p:embed/>
                </p:oleObj>
              </mc:Choice>
              <mc:Fallback>
                <p:oleObj name="Slide" r:id="rId10" imgW="4162192" imgH="3120988" progId="PowerPoint.Slide.8">
                  <p:embed/>
                  <p:pic>
                    <p:nvPicPr>
                      <p:cNvPr id="36" name="Object 8"/>
                      <p:cNvPicPr>
                        <a:picLocks noChangeArrowheads="1"/>
                      </p:cNvPicPr>
                      <p:nvPr/>
                    </p:nvPicPr>
                    <p:blipFill>
                      <a:blip r:embed="rId11"/>
                      <a:srcRect/>
                      <a:stretch>
                        <a:fillRect/>
                      </a:stretch>
                    </p:blipFill>
                    <p:spPr bwMode="gray">
                      <a:xfrm>
                        <a:off x="5212986" y="3716135"/>
                        <a:ext cx="1707038" cy="1216264"/>
                      </a:xfrm>
                      <a:prstGeom prst="rect">
                        <a:avLst/>
                      </a:prstGeom>
                      <a:noFill/>
                      <a:ln w="9525">
                        <a:solidFill>
                          <a:schemeClr val="accent6"/>
                        </a:solidFill>
                        <a:miter lim="800000"/>
                        <a:headEnd/>
                        <a:tailEnd/>
                      </a:ln>
                      <a:effectLst/>
                      <a:extLst/>
                    </p:spPr>
                  </p:pic>
                </p:oleObj>
              </mc:Fallback>
            </mc:AlternateContent>
          </a:graphicData>
        </a:graphic>
      </p:graphicFrame>
      <p:pic>
        <p:nvPicPr>
          <p:cNvPr id="38" name="Picture 7"/>
          <p:cNvPicPr>
            <a:picLocks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gray">
          <a:xfrm>
            <a:off x="5212986" y="5056759"/>
            <a:ext cx="1707038" cy="1216264"/>
          </a:xfrm>
          <a:prstGeom prst="rect">
            <a:avLst/>
          </a:prstGeom>
          <a:noFill/>
          <a:ln w="9525">
            <a:solidFill>
              <a:schemeClr val="accent6"/>
            </a:solidFill>
            <a:miter lim="800000"/>
            <a:headEnd/>
            <a:tailEnd/>
          </a:ln>
          <a:extLst>
            <a:ext uri="{909E8E84-426E-40DD-AFC4-6F175D3DCCD1}">
              <a14:hiddenFill xmlns:a14="http://schemas.microsoft.com/office/drawing/2010/main">
                <a:solidFill>
                  <a:srgbClr val="FFFFFF"/>
                </a:solidFill>
              </a14:hiddenFill>
            </a:ext>
          </a:extLst>
        </p:spPr>
      </p:pic>
      <p:pic>
        <p:nvPicPr>
          <p:cNvPr id="3" name="Picture 2"/>
          <p:cNvPicPr>
            <a:picLocks/>
          </p:cNvPicPr>
          <p:nvPr/>
        </p:nvPicPr>
        <p:blipFill>
          <a:blip r:embed="rId13" cstate="print">
            <a:extLst>
              <a:ext uri="{28A0092B-C50C-407E-A947-70E740481C1C}">
                <a14:useLocalDpi xmlns:a14="http://schemas.microsoft.com/office/drawing/2010/main" val="0"/>
              </a:ext>
            </a:extLst>
          </a:blip>
          <a:stretch>
            <a:fillRect/>
          </a:stretch>
        </p:blipFill>
        <p:spPr bwMode="gray">
          <a:xfrm>
            <a:off x="7002806" y="5055295"/>
            <a:ext cx="1707038" cy="1216264"/>
          </a:xfrm>
          <a:prstGeom prst="rect">
            <a:avLst/>
          </a:prstGeom>
          <a:ln>
            <a:solidFill>
              <a:schemeClr val="accent6"/>
            </a:solidFill>
          </a:ln>
        </p:spPr>
      </p:pic>
      <p:sp>
        <p:nvSpPr>
          <p:cNvPr id="29704" name="Rectangle 7"/>
          <p:cNvSpPr>
            <a:spLocks noChangeArrowheads="1"/>
          </p:cNvSpPr>
          <p:nvPr/>
        </p:nvSpPr>
        <p:spPr bwMode="gray">
          <a:xfrm>
            <a:off x="1567366" y="772501"/>
            <a:ext cx="3562837"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b">
            <a:spAutoFit/>
          </a:bodyPr>
          <a:lstStyle/>
          <a:p>
            <a:pPr defTabSz="895350">
              <a:buClr>
                <a:schemeClr val="tx2"/>
              </a:buClr>
            </a:pPr>
            <a:r>
              <a:rPr lang="en-GB" sz="1100" b="1" dirty="0">
                <a:solidFill>
                  <a:schemeClr val="accent3"/>
                </a:solidFill>
                <a:latin typeface="+mn-lt"/>
              </a:rPr>
              <a:t>Example capabilities</a:t>
            </a:r>
          </a:p>
        </p:txBody>
      </p:sp>
      <p:sp>
        <p:nvSpPr>
          <p:cNvPr id="29708" name="Line 11"/>
          <p:cNvSpPr>
            <a:spLocks noChangeShapeType="1"/>
          </p:cNvSpPr>
          <p:nvPr/>
        </p:nvSpPr>
        <p:spPr bwMode="gray">
          <a:xfrm>
            <a:off x="1567366" y="970734"/>
            <a:ext cx="3562837" cy="0"/>
          </a:xfrm>
          <a:prstGeom prst="line">
            <a:avLst/>
          </a:prstGeom>
          <a:solidFill>
            <a:schemeClr val="bg1"/>
          </a:solidFill>
          <a:ln w="9525">
            <a:solidFill>
              <a:schemeClr val="accent3"/>
            </a:solidFill>
          </a:ln>
          <a:extLst/>
        </p:spPr>
        <p:txBody>
          <a:bodyPr wrap="square" anchor="ctr">
            <a:spAutoFit/>
          </a:bodyPr>
          <a:lstStyle/>
          <a:p>
            <a:endParaRPr lang="en-GB" sz="1100" b="1" dirty="0">
              <a:solidFill>
                <a:schemeClr val="accent4"/>
              </a:solidFill>
              <a:latin typeface="+mn-lt"/>
            </a:endParaRPr>
          </a:p>
        </p:txBody>
      </p:sp>
      <p:sp>
        <p:nvSpPr>
          <p:cNvPr id="17" name="Rectangle 17"/>
          <p:cNvSpPr txBox="1"/>
          <p:nvPr/>
        </p:nvSpPr>
        <p:spPr bwMode="gray">
          <a:xfrm>
            <a:off x="1567366" y="1034887"/>
            <a:ext cx="3562837" cy="118186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114300" lvl="1" indent="-114300">
              <a:lnSpc>
                <a:spcPct val="90000"/>
              </a:lnSpc>
              <a:spcBef>
                <a:spcPts val="0"/>
              </a:spcBef>
              <a:spcAft>
                <a:spcPts val="300"/>
              </a:spcAft>
            </a:pPr>
            <a:r>
              <a:rPr lang="en-GB" sz="1100" dirty="0"/>
              <a:t>Projections from global steel demand model, by region and end-use sector, all with consistent approach</a:t>
            </a:r>
          </a:p>
          <a:p>
            <a:pPr marL="114300" lvl="1" indent="-114300">
              <a:lnSpc>
                <a:spcPct val="90000"/>
              </a:lnSpc>
              <a:spcBef>
                <a:spcPts val="0"/>
              </a:spcBef>
              <a:spcAft>
                <a:spcPts val="300"/>
              </a:spcAft>
            </a:pPr>
            <a:r>
              <a:rPr lang="en-GB" sz="1100" dirty="0"/>
              <a:t>Capacity evolution (plant by plant), production by region</a:t>
            </a:r>
          </a:p>
          <a:p>
            <a:pPr marL="114300" lvl="1" indent="-114300">
              <a:lnSpc>
                <a:spcPct val="90000"/>
              </a:lnSpc>
              <a:spcBef>
                <a:spcPts val="0"/>
              </a:spcBef>
              <a:spcAft>
                <a:spcPts val="300"/>
              </a:spcAft>
            </a:pPr>
            <a:r>
              <a:rPr lang="en-GB" sz="1100" dirty="0"/>
              <a:t>Trade flows in regions based on cost differences and trade regulations</a:t>
            </a:r>
          </a:p>
          <a:p>
            <a:pPr marL="114300" lvl="1" indent="-114300">
              <a:lnSpc>
                <a:spcPct val="90000"/>
              </a:lnSpc>
              <a:spcBef>
                <a:spcPts val="0"/>
              </a:spcBef>
              <a:spcAft>
                <a:spcPts val="300"/>
              </a:spcAft>
            </a:pPr>
            <a:r>
              <a:rPr lang="en-GB" sz="1100" dirty="0"/>
              <a:t>Market landscaping on regional competitive situation and customer </a:t>
            </a:r>
            <a:r>
              <a:rPr lang="en-GB" sz="1100" dirty="0" err="1"/>
              <a:t>behavior</a:t>
            </a:r>
            <a:endParaRPr lang="en-GB" sz="1100" dirty="0"/>
          </a:p>
        </p:txBody>
      </p:sp>
      <p:sp>
        <p:nvSpPr>
          <p:cNvPr id="21" name="Rectangle 21"/>
          <p:cNvSpPr txBox="1"/>
          <p:nvPr/>
        </p:nvSpPr>
        <p:spPr bwMode="gray">
          <a:xfrm>
            <a:off x="1567366" y="2375511"/>
            <a:ext cx="3562837" cy="95256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defPPr>
              <a:defRPr lang="en-US"/>
            </a:defPPr>
            <a:lvl1pPr marL="0" lvl="0" indent="0" defTabSz="895350" eaLnBrk="1" hangingPunct="1">
              <a:buClr>
                <a:schemeClr val="tx2"/>
              </a:buClr>
              <a:defRPr baseline="0">
                <a:latin typeface="+mn-lt"/>
              </a:defRPr>
            </a:lvl1pPr>
            <a:lvl2pPr marL="114300" lvl="1" indent="-114300" defTabSz="895350" eaLnBrk="1" hangingPunct="1">
              <a:lnSpc>
                <a:spcPct val="90000"/>
              </a:lnSpc>
              <a:spcBef>
                <a:spcPts val="0"/>
              </a:spcBef>
              <a:spcAft>
                <a:spcPts val="300"/>
              </a:spcAft>
              <a:buClr>
                <a:schemeClr val="tx2"/>
              </a:buClr>
              <a:buSzPct val="125000"/>
              <a:buFont typeface="Arial" charset="0"/>
              <a:buChar char="▪"/>
              <a:defRPr sz="1100"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1"/>
            <a:r>
              <a:rPr lang="en-GB" dirty="0"/>
              <a:t>Assessment of competitive position of individual steel players, plant by plant, based on current and estimated future cost curves for each region globally</a:t>
            </a:r>
          </a:p>
          <a:p>
            <a:pPr lvl="1"/>
            <a:r>
              <a:rPr lang="en-GB" dirty="0"/>
              <a:t>Identification of steel players and plants that will push future developments (e.g., technological evolutions), with requirement for investments</a:t>
            </a:r>
          </a:p>
        </p:txBody>
      </p:sp>
      <p:sp>
        <p:nvSpPr>
          <p:cNvPr id="25" name="Rectangle 25"/>
          <p:cNvSpPr txBox="1"/>
          <p:nvPr/>
        </p:nvSpPr>
        <p:spPr bwMode="gray">
          <a:xfrm>
            <a:off x="1567366" y="3716135"/>
            <a:ext cx="3562837" cy="1295739"/>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defPPr>
              <a:defRPr lang="en-US"/>
            </a:defPPr>
            <a:lvl1pPr marL="0" lvl="0" indent="0" defTabSz="895350" eaLnBrk="1" hangingPunct="1">
              <a:buClr>
                <a:schemeClr val="tx2"/>
              </a:buClr>
              <a:defRPr baseline="0">
                <a:latin typeface="+mn-lt"/>
              </a:defRPr>
            </a:lvl1pPr>
            <a:lvl2pPr marL="114300" lvl="1" indent="-114300" defTabSz="895350" eaLnBrk="1" hangingPunct="1">
              <a:lnSpc>
                <a:spcPct val="90000"/>
              </a:lnSpc>
              <a:spcBef>
                <a:spcPts val="0"/>
              </a:spcBef>
              <a:spcAft>
                <a:spcPts val="300"/>
              </a:spcAft>
              <a:buClr>
                <a:schemeClr val="tx2"/>
              </a:buClr>
              <a:buSzPct val="125000"/>
              <a:buFont typeface="Arial" charset="0"/>
              <a:buChar char="▪"/>
              <a:defRPr sz="1100"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1"/>
            <a:r>
              <a:rPr lang="en-GB" dirty="0"/>
              <a:t>Forecast of iron ore supply by region and of flows to individual regions or players; assessment of current and future iron ore quality (grades) used by region and impact on blast furnace working points (value-in-use)</a:t>
            </a:r>
          </a:p>
          <a:p>
            <a:pPr lvl="1"/>
            <a:r>
              <a:rPr lang="en-GB" dirty="0"/>
              <a:t>Forecast of coal supply and flows by region; quality evolutions</a:t>
            </a:r>
          </a:p>
          <a:p>
            <a:pPr lvl="1"/>
            <a:r>
              <a:rPr lang="en-GB" dirty="0"/>
              <a:t>Forecast of scrap supply and flows by region; quality evolutions</a:t>
            </a:r>
          </a:p>
        </p:txBody>
      </p:sp>
      <p:sp>
        <p:nvSpPr>
          <p:cNvPr id="30" name="Rectangle 30"/>
          <p:cNvSpPr txBox="1"/>
          <p:nvPr/>
        </p:nvSpPr>
        <p:spPr bwMode="gray">
          <a:xfrm>
            <a:off x="1567366" y="5055295"/>
            <a:ext cx="3562837" cy="118186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defPPr>
              <a:defRPr lang="en-US"/>
            </a:defPPr>
            <a:lvl1pPr marL="0" lvl="0" indent="0" defTabSz="895350" eaLnBrk="1" hangingPunct="1">
              <a:buClr>
                <a:schemeClr val="tx2"/>
              </a:buClr>
              <a:defRPr baseline="0">
                <a:latin typeface="+mn-lt"/>
              </a:defRPr>
            </a:lvl1pPr>
            <a:lvl2pPr marL="114300" lvl="1" indent="-114300" defTabSz="895350" eaLnBrk="1" hangingPunct="1">
              <a:lnSpc>
                <a:spcPct val="90000"/>
              </a:lnSpc>
              <a:spcBef>
                <a:spcPts val="0"/>
              </a:spcBef>
              <a:spcAft>
                <a:spcPts val="300"/>
              </a:spcAft>
              <a:buClr>
                <a:schemeClr val="tx2"/>
              </a:buClr>
              <a:buSzPct val="125000"/>
              <a:buFont typeface="Arial" charset="0"/>
              <a:buChar char="▪"/>
              <a:defRPr sz="1100"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1"/>
            <a:r>
              <a:rPr lang="en-GB" dirty="0"/>
              <a:t>Pricing and margin trends along the steel value chain</a:t>
            </a:r>
          </a:p>
          <a:p>
            <a:pPr lvl="1"/>
            <a:r>
              <a:rPr lang="en-GB" dirty="0"/>
              <a:t>Evolution of total profit pool, and split between raw materials, steel, and distribution</a:t>
            </a:r>
          </a:p>
          <a:p>
            <a:pPr lvl="1"/>
            <a:r>
              <a:rPr lang="en-GB" dirty="0"/>
              <a:t>Financial performance/position of different players and its impact on their strategic choices</a:t>
            </a:r>
          </a:p>
          <a:p>
            <a:pPr lvl="1"/>
            <a:r>
              <a:rPr lang="en-GB" dirty="0"/>
              <a:t>Technology evolution and its implications for different players at each stage of the value chain</a:t>
            </a:r>
          </a:p>
        </p:txBody>
      </p:sp>
      <p:sp>
        <p:nvSpPr>
          <p:cNvPr id="39" name="5. Source">
            <a:extLst>
              <a:ext uri="{FF2B5EF4-FFF2-40B4-BE49-F238E27FC236}">
                <a16:creationId xmlns:a16="http://schemas.microsoft.com/office/drawing/2014/main" id="{F88AC039-EF63-4FD5-8FF8-9D5ACD29F23F}"/>
              </a:ext>
            </a:extLst>
          </p:cNvPr>
          <p:cNvSpPr>
            <a:spLocks noChangeArrowheads="1"/>
          </p:cNvSpPr>
          <p:nvPr/>
        </p:nvSpPr>
        <p:spPr bwMode="gray">
          <a:xfrm>
            <a:off x="119063" y="6507558"/>
            <a:ext cx="7200000" cy="123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marL="609600" indent="-609600" defTabSz="895350">
              <a:tabLst>
                <a:tab pos="612775" algn="l"/>
              </a:tabLst>
            </a:pPr>
            <a:r>
              <a:rPr lang="en-US" sz="800" dirty="0">
                <a:solidFill>
                  <a:srgbClr val="808080"/>
                </a:solidFill>
                <a:latin typeface="Arial"/>
              </a:rPr>
              <a:t>SOURCE: McKinsey Global Basic Materials Practice</a:t>
            </a:r>
          </a:p>
        </p:txBody>
      </p:sp>
    </p:spTree>
    <p:extLst>
      <p:ext uri="{BB962C8B-B14F-4D97-AF65-F5344CB8AC3E}">
        <p14:creationId xmlns:p14="http://schemas.microsoft.com/office/powerpoint/2010/main" val="8500427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9" name="Object 58"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20516" name="think-cell Slide" r:id="rId15" imgW="338" imgH="338" progId="TCLayout.ActiveDocument.1">
                  <p:embed/>
                </p:oleObj>
              </mc:Choice>
              <mc:Fallback>
                <p:oleObj name="think-cell Slide" r:id="rId15" imgW="338" imgH="338" progId="TCLayout.ActiveDocument.1">
                  <p:embed/>
                  <p:pic>
                    <p:nvPicPr>
                      <p:cNvPr id="59" name="Object 58" hidden="1"/>
                      <p:cNvPicPr/>
                      <p:nvPr/>
                    </p:nvPicPr>
                    <p:blipFill>
                      <a:blip r:embed="rId16"/>
                      <a:stretch>
                        <a:fillRect/>
                      </a:stretch>
                    </p:blipFill>
                    <p:spPr>
                      <a:xfrm>
                        <a:off x="1588" y="1588"/>
                        <a:ext cx="1587" cy="1587"/>
                      </a:xfrm>
                      <a:prstGeom prst="rect">
                        <a:avLst/>
                      </a:prstGeom>
                    </p:spPr>
                  </p:pic>
                </p:oleObj>
              </mc:Fallback>
            </mc:AlternateContent>
          </a:graphicData>
        </a:graphic>
      </p:graphicFrame>
      <p:sp>
        <p:nvSpPr>
          <p:cNvPr id="60" name="Rectangle 6"/>
          <p:cNvSpPr txBox="1">
            <a:spLocks/>
          </p:cNvSpPr>
          <p:nvPr>
            <p:custDataLst>
              <p:tags r:id="rId3"/>
            </p:custDataLst>
          </p:nvPr>
        </p:nvSpPr>
        <p:spPr>
          <a:xfrm>
            <a:off x="119063" y="1082663"/>
            <a:ext cx="8618537" cy="4941707"/>
          </a:xfrm>
          <a:prstGeom prst="rect">
            <a:avLst/>
          </a:prstGeom>
          <a:solidFill>
            <a:schemeClr val="bg1"/>
          </a:solidFill>
          <a:ln w="19050">
            <a:solidFill>
              <a:schemeClr val="accent1"/>
            </a:solidFill>
            <a:miter lim="800000"/>
            <a:headEnd/>
            <a:tailEnd/>
          </a:ln>
          <a:effectLst>
            <a:outerShdw blurRad="50800" dist="38100" dir="2700000" algn="tl" rotWithShape="0">
              <a:prstClr val="black">
                <a:alpha val="40000"/>
              </a:prstClr>
            </a:outerShdw>
          </a:effectLst>
          <a:extLst/>
        </p:spPr>
        <p:txBody>
          <a:bodyPr vert="horz" wrap="none" lIns="91440" tIns="45720" rIns="91440" bIns="45720" numCol="1" anchor="ctr" anchorCtr="0" compatLnSpc="1">
            <a:prstTxWarp prst="textNoShape">
              <a:avLst/>
            </a:prstTxWarp>
            <a:noAutofit/>
          </a:bodyPr>
          <a:lstStyle>
            <a:defPPr>
              <a:defRPr lang="en-US"/>
            </a:defPPr>
            <a:lvl1pPr>
              <a:defRPr sz="1500" b="1">
                <a:solidFill>
                  <a:srgbClr val="000000"/>
                </a:solidFill>
                <a:latin typeface="Arial" panose="020B0604020202020204" pitchFamily="34" charset="0"/>
                <a:cs typeface="Arial" panose="020B0604020202020204" pitchFamily="34" charset="0"/>
              </a:defRPr>
            </a:lvl1pPr>
          </a:lstStyle>
          <a:p>
            <a:endParaRPr lang="en-US" sz="1200" dirty="0">
              <a:latin typeface="+mn-lt"/>
              <a:sym typeface="Arial" panose="020B0604020202020204" pitchFamily="34" charset="0"/>
            </a:endParaRPr>
          </a:p>
        </p:txBody>
      </p:sp>
      <p:sp>
        <p:nvSpPr>
          <p:cNvPr id="2" name="Title 1"/>
          <p:cNvSpPr>
            <a:spLocks noGrp="1"/>
          </p:cNvSpPr>
          <p:nvPr>
            <p:ph type="title"/>
          </p:nvPr>
        </p:nvSpPr>
        <p:spPr>
          <a:xfrm>
            <a:off x="119063" y="230188"/>
            <a:ext cx="8618537" cy="307777"/>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marL="465138"/>
            <a:r>
              <a:rPr lang="en-US" dirty="0"/>
              <a:t>Tata Steel UK:</a:t>
            </a:r>
            <a:r>
              <a:rPr lang="en-IN" dirty="0"/>
              <a:t> recovery and transformation services (RTS) impact</a:t>
            </a:r>
            <a:endParaRPr lang="en-GB" dirty="0"/>
          </a:p>
        </p:txBody>
      </p:sp>
      <p:sp>
        <p:nvSpPr>
          <p:cNvPr id="3" name="3. Unit of measure"/>
          <p:cNvSpPr txBox="1">
            <a:spLocks noChangeArrowheads="1"/>
          </p:cNvSpPr>
          <p:nvPr/>
        </p:nvSpPr>
        <p:spPr bwMode="auto">
          <a:xfrm>
            <a:off x="119063" y="554865"/>
            <a:ext cx="8618537"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defPPr>
              <a:defRPr lang="en-US"/>
            </a:defPPr>
            <a:lvl1pPr defTabSz="895350">
              <a:defRPr baseline="0">
                <a:solidFill>
                  <a:schemeClr val="accent6"/>
                </a:solidFill>
                <a:latin typeface="+mn-lt"/>
              </a:defRPr>
            </a:lvl1pPr>
            <a:lvl2pPr marL="447675" defTabSz="895350">
              <a:defRPr sz="2400"/>
            </a:lvl2pPr>
            <a:lvl3pPr marL="895350" defTabSz="895350">
              <a:defRPr sz="2400"/>
            </a:lvl3pPr>
            <a:lvl4pPr marL="1344613" defTabSz="895350">
              <a:defRPr sz="2400"/>
            </a:lvl4pPr>
            <a:lvl5pPr marL="1792288" defTabSz="895350">
              <a:defRPr sz="2400"/>
            </a:lvl5pPr>
            <a:lvl6pPr marL="2249488" defTabSz="895350" fontAlgn="base">
              <a:spcBef>
                <a:spcPct val="0"/>
              </a:spcBef>
              <a:spcAft>
                <a:spcPct val="0"/>
              </a:spcAft>
              <a:defRPr sz="2400"/>
            </a:lvl6pPr>
            <a:lvl7pPr marL="2706688" defTabSz="895350" fontAlgn="base">
              <a:spcBef>
                <a:spcPct val="0"/>
              </a:spcBef>
              <a:spcAft>
                <a:spcPct val="0"/>
              </a:spcAft>
              <a:defRPr sz="2400"/>
            </a:lvl7pPr>
            <a:lvl8pPr marL="3163888" defTabSz="895350" fontAlgn="base">
              <a:spcBef>
                <a:spcPct val="0"/>
              </a:spcBef>
              <a:spcAft>
                <a:spcPct val="0"/>
              </a:spcAft>
              <a:defRPr sz="2400"/>
            </a:lvl8pPr>
            <a:lvl9pPr marL="3621088" defTabSz="895350" fontAlgn="base">
              <a:spcBef>
                <a:spcPct val="0"/>
              </a:spcBef>
              <a:spcAft>
                <a:spcPct val="0"/>
              </a:spcAft>
              <a:defRPr sz="2400"/>
            </a:lvl9pPr>
          </a:lstStyle>
          <a:p>
            <a:pPr marL="457200"/>
            <a:r>
              <a:rPr lang="en-US" dirty="0">
                <a:sym typeface="Arial"/>
              </a:rPr>
              <a:t>£m</a:t>
            </a:r>
          </a:p>
        </p:txBody>
      </p:sp>
      <p:sp>
        <p:nvSpPr>
          <p:cNvPr id="67" name="4. Footnote"/>
          <p:cNvSpPr txBox="1">
            <a:spLocks noChangeArrowheads="1"/>
          </p:cNvSpPr>
          <p:nvPr/>
        </p:nvSpPr>
        <p:spPr bwMode="auto">
          <a:xfrm>
            <a:off x="119063" y="6305945"/>
            <a:ext cx="8548687"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defPPr>
              <a:defRPr lang="en-US"/>
            </a:defPPr>
            <a:lvl1pPr marL="104775" indent="-104775" defTabSz="895350">
              <a:defRPr sz="900" baseline="0">
                <a:latin typeface="Arial"/>
              </a:defRPr>
            </a:lvl1pPr>
            <a:lvl2pPr marL="1031875" defTabSz="895350">
              <a:defRPr sz="2400"/>
            </a:lvl2pPr>
            <a:lvl3pPr marL="1217613" defTabSz="895350">
              <a:defRPr sz="2400"/>
            </a:lvl3pPr>
            <a:lvl4pPr marL="1404938" defTabSz="895350">
              <a:defRPr sz="2400"/>
            </a:lvl4pPr>
            <a:lvl5pPr marL="1792288" defTabSz="895350">
              <a:defRPr sz="2400"/>
            </a:lvl5pPr>
            <a:lvl6pPr marL="2249488" defTabSz="895350" fontAlgn="base">
              <a:spcBef>
                <a:spcPct val="0"/>
              </a:spcBef>
              <a:spcAft>
                <a:spcPct val="0"/>
              </a:spcAft>
              <a:defRPr sz="2400"/>
            </a:lvl6pPr>
            <a:lvl7pPr marL="2706688" defTabSz="895350" fontAlgn="base">
              <a:spcBef>
                <a:spcPct val="0"/>
              </a:spcBef>
              <a:spcAft>
                <a:spcPct val="0"/>
              </a:spcAft>
              <a:defRPr sz="2400"/>
            </a:lvl7pPr>
            <a:lvl8pPr marL="3163888" defTabSz="895350" fontAlgn="base">
              <a:spcBef>
                <a:spcPct val="0"/>
              </a:spcBef>
              <a:spcAft>
                <a:spcPct val="0"/>
              </a:spcAft>
              <a:defRPr sz="2400"/>
            </a:lvl8pPr>
            <a:lvl9pPr marL="3621088" defTabSz="895350" fontAlgn="base">
              <a:spcBef>
                <a:spcPct val="0"/>
              </a:spcBef>
              <a:spcAft>
                <a:spcPct val="0"/>
              </a:spcAft>
              <a:defRPr sz="2400"/>
            </a:lvl9pPr>
          </a:lstStyle>
          <a:p>
            <a:r>
              <a:rPr lang="en-US" sz="800" dirty="0">
                <a:solidFill>
                  <a:schemeClr val="accent6"/>
                </a:solidFill>
                <a:latin typeface="Arial" panose="020B0604020202020204" pitchFamily="34" charset="0"/>
                <a:sym typeface="Arial"/>
              </a:rPr>
              <a:t>1 £300 M turnaround; 40% market tail winds</a:t>
            </a:r>
          </a:p>
        </p:txBody>
      </p:sp>
      <p:sp>
        <p:nvSpPr>
          <p:cNvPr id="4" name="Right Arrow 3"/>
          <p:cNvSpPr/>
          <p:nvPr/>
        </p:nvSpPr>
        <p:spPr>
          <a:xfrm>
            <a:off x="270522" y="1334270"/>
            <a:ext cx="8376783" cy="320377"/>
          </a:xfrm>
          <a:prstGeom prst="rightArrow">
            <a:avLst>
              <a:gd name="adj1" fmla="val 50000"/>
              <a:gd name="adj2" fmla="val 37678"/>
            </a:avLst>
          </a:prstGeom>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solidFill>
                <a:schemeClr val="tx1"/>
              </a:solidFill>
            </a:endParaRPr>
          </a:p>
        </p:txBody>
      </p:sp>
      <p:sp>
        <p:nvSpPr>
          <p:cNvPr id="5" name="TextBox 4"/>
          <p:cNvSpPr txBox="1"/>
          <p:nvPr>
            <p:custDataLst>
              <p:tags r:id="rId4"/>
            </p:custDataLst>
          </p:nvPr>
        </p:nvSpPr>
        <p:spPr>
          <a:xfrm>
            <a:off x="3507289" y="1424094"/>
            <a:ext cx="135802" cy="140729"/>
          </a:xfrm>
          <a:prstGeom prst="ellipse">
            <a:avLst/>
          </a:prstGeom>
          <a:gradFill flip="none" rotWithShape="1">
            <a:gsLst>
              <a:gs pos="0">
                <a:schemeClr val="tx2">
                  <a:shade val="30000"/>
                  <a:satMod val="115000"/>
                </a:schemeClr>
              </a:gs>
              <a:gs pos="50000">
                <a:schemeClr val="tx2">
                  <a:shade val="67500"/>
                  <a:satMod val="115000"/>
                </a:schemeClr>
              </a:gs>
              <a:gs pos="100000">
                <a:schemeClr val="tx2">
                  <a:shade val="100000"/>
                  <a:satMod val="115000"/>
                </a:schemeClr>
              </a:gs>
            </a:gsLst>
            <a:lin ang="2700000" scaled="1"/>
            <a:tileRect/>
          </a:gradFill>
          <a:ln w="9525">
            <a:solidFill>
              <a:schemeClr val="bg1"/>
            </a:solidFill>
            <a:miter lim="800000"/>
            <a:headEnd/>
            <a:tailEnd/>
          </a:ln>
          <a:effectLst/>
          <a:extLst/>
        </p:spPr>
        <p:txBody>
          <a:bodyPr vert="horz" wrap="none" lIns="3734" tIns="0" rIns="3734" bIns="0" numCol="1" anchor="ctr" anchorCtr="1" compatLnSpc="1">
            <a:prstTxWarp prst="textNoShape">
              <a:avLst/>
            </a:prstTxWarp>
            <a:noAutofit/>
          </a:bodyPr>
          <a:lstStyle>
            <a:lvl1pPr marL="0" lvl="0" indent="0" defTabSz="913429" eaLnBrk="1" hangingPunct="1">
              <a:buClr>
                <a:schemeClr val="tx2"/>
              </a:buClr>
              <a:defRPr baseline="0">
                <a:latin typeface="+mn-lt"/>
              </a:defRPr>
            </a:lvl1pPr>
            <a:lvl2pPr marL="197586" lvl="1" indent="-195966" defTabSz="913429" eaLnBrk="1" hangingPunct="1">
              <a:buClr>
                <a:schemeClr val="tx2"/>
              </a:buClr>
              <a:buSzPct val="125000"/>
              <a:buFont typeface="Arial"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20000"/>
              <a:buFont typeface="Arial"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pPr algn="ctr"/>
            <a:endParaRPr lang="en-US" sz="1200" b="1" dirty="0">
              <a:solidFill>
                <a:schemeClr val="tx2"/>
              </a:solidFill>
            </a:endParaRPr>
          </a:p>
        </p:txBody>
      </p:sp>
      <p:sp>
        <p:nvSpPr>
          <p:cNvPr id="6" name="TextBox 5"/>
          <p:cNvSpPr txBox="1"/>
          <p:nvPr>
            <p:custDataLst>
              <p:tags r:id="rId5"/>
            </p:custDataLst>
          </p:nvPr>
        </p:nvSpPr>
        <p:spPr>
          <a:xfrm>
            <a:off x="4572341" y="1424094"/>
            <a:ext cx="135802" cy="140729"/>
          </a:xfrm>
          <a:prstGeom prst="ellipse">
            <a:avLst/>
          </a:prstGeom>
          <a:gradFill flip="none" rotWithShape="1">
            <a:gsLst>
              <a:gs pos="0">
                <a:schemeClr val="tx2">
                  <a:shade val="30000"/>
                  <a:satMod val="115000"/>
                </a:schemeClr>
              </a:gs>
              <a:gs pos="50000">
                <a:schemeClr val="tx2">
                  <a:shade val="67500"/>
                  <a:satMod val="115000"/>
                </a:schemeClr>
              </a:gs>
              <a:gs pos="100000">
                <a:schemeClr val="tx2">
                  <a:shade val="100000"/>
                  <a:satMod val="115000"/>
                </a:schemeClr>
              </a:gs>
            </a:gsLst>
            <a:lin ang="2700000" scaled="1"/>
            <a:tileRect/>
          </a:gradFill>
          <a:ln w="9525">
            <a:solidFill>
              <a:schemeClr val="bg1"/>
            </a:solidFill>
            <a:miter lim="800000"/>
            <a:headEnd/>
            <a:tailEnd/>
          </a:ln>
          <a:effectLst/>
          <a:extLst/>
        </p:spPr>
        <p:txBody>
          <a:bodyPr vert="horz" wrap="none" lIns="3734" tIns="0" rIns="3734" bIns="0" numCol="1" anchor="ctr" anchorCtr="1" compatLnSpc="1">
            <a:prstTxWarp prst="textNoShape">
              <a:avLst/>
            </a:prstTxWarp>
            <a:noAutofit/>
          </a:bodyPr>
          <a:lstStyle>
            <a:lvl1pPr marL="0" lvl="0" indent="0" defTabSz="913429" eaLnBrk="1" hangingPunct="1">
              <a:buClr>
                <a:schemeClr val="tx2"/>
              </a:buClr>
              <a:defRPr baseline="0">
                <a:latin typeface="+mn-lt"/>
              </a:defRPr>
            </a:lvl1pPr>
            <a:lvl2pPr marL="197586" lvl="1" indent="-195966" defTabSz="913429" eaLnBrk="1" hangingPunct="1">
              <a:buClr>
                <a:schemeClr val="tx2"/>
              </a:buClr>
              <a:buSzPct val="125000"/>
              <a:buFont typeface="Arial"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20000"/>
              <a:buFont typeface="Arial"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pPr algn="ctr"/>
            <a:endParaRPr lang="en-US" sz="1200" b="1" dirty="0">
              <a:solidFill>
                <a:schemeClr val="tx2"/>
              </a:solidFill>
            </a:endParaRPr>
          </a:p>
        </p:txBody>
      </p:sp>
      <p:sp>
        <p:nvSpPr>
          <p:cNvPr id="7" name="TextBox 6"/>
          <p:cNvSpPr txBox="1"/>
          <p:nvPr>
            <p:custDataLst>
              <p:tags r:id="rId6"/>
            </p:custDataLst>
          </p:nvPr>
        </p:nvSpPr>
        <p:spPr>
          <a:xfrm>
            <a:off x="5618042" y="1424094"/>
            <a:ext cx="135802" cy="140729"/>
          </a:xfrm>
          <a:prstGeom prst="ellipse">
            <a:avLst/>
          </a:prstGeom>
          <a:gradFill flip="none" rotWithShape="1">
            <a:gsLst>
              <a:gs pos="0">
                <a:schemeClr val="tx2">
                  <a:shade val="30000"/>
                  <a:satMod val="115000"/>
                </a:schemeClr>
              </a:gs>
              <a:gs pos="50000">
                <a:schemeClr val="tx2">
                  <a:shade val="67500"/>
                  <a:satMod val="115000"/>
                </a:schemeClr>
              </a:gs>
              <a:gs pos="100000">
                <a:schemeClr val="tx2">
                  <a:shade val="100000"/>
                  <a:satMod val="115000"/>
                </a:schemeClr>
              </a:gs>
            </a:gsLst>
            <a:lin ang="2700000" scaled="1"/>
            <a:tileRect/>
          </a:gradFill>
          <a:ln w="9525">
            <a:solidFill>
              <a:schemeClr val="bg1"/>
            </a:solidFill>
            <a:miter lim="800000"/>
            <a:headEnd/>
            <a:tailEnd/>
          </a:ln>
          <a:effectLst/>
          <a:extLst/>
        </p:spPr>
        <p:txBody>
          <a:bodyPr vert="horz" wrap="none" lIns="3734" tIns="0" rIns="3734" bIns="0" numCol="1" anchor="ctr" anchorCtr="1" compatLnSpc="1">
            <a:prstTxWarp prst="textNoShape">
              <a:avLst/>
            </a:prstTxWarp>
            <a:noAutofit/>
          </a:bodyPr>
          <a:lstStyle>
            <a:lvl1pPr marL="0" lvl="0" indent="0" defTabSz="913429" eaLnBrk="1" hangingPunct="1">
              <a:buClr>
                <a:schemeClr val="tx2"/>
              </a:buClr>
              <a:defRPr baseline="0">
                <a:latin typeface="+mn-lt"/>
              </a:defRPr>
            </a:lvl1pPr>
            <a:lvl2pPr marL="197586" lvl="1" indent="-195966" defTabSz="913429" eaLnBrk="1" hangingPunct="1">
              <a:buClr>
                <a:schemeClr val="tx2"/>
              </a:buClr>
              <a:buSzPct val="125000"/>
              <a:buFont typeface="Arial"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20000"/>
              <a:buFont typeface="Arial"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pPr algn="ctr"/>
            <a:endParaRPr lang="en-US" sz="1200" b="1" dirty="0">
              <a:solidFill>
                <a:schemeClr val="tx2"/>
              </a:solidFill>
            </a:endParaRPr>
          </a:p>
        </p:txBody>
      </p:sp>
      <p:sp>
        <p:nvSpPr>
          <p:cNvPr id="8" name="Rectangle 15"/>
          <p:cNvSpPr txBox="1"/>
          <p:nvPr/>
        </p:nvSpPr>
        <p:spPr>
          <a:xfrm>
            <a:off x="3779880" y="1197228"/>
            <a:ext cx="519373" cy="18466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b" anchorCtr="0" compatLnSpc="1">
            <a:prstTxWarp prst="textNoShape">
              <a:avLst/>
            </a:prstTxWarp>
            <a:spAutoFit/>
          </a:bodyPr>
          <a:lstStyle>
            <a:lvl1pPr marL="0" lvl="0" indent="0" defTabSz="913429" eaLnBrk="1" hangingPunct="1">
              <a:buClr>
                <a:schemeClr val="tx2"/>
              </a:buClr>
              <a:defRPr baseline="0">
                <a:latin typeface="+mn-lt"/>
              </a:defRPr>
            </a:lvl1pPr>
            <a:lvl2pPr marL="197586" lvl="1" indent="-195966" defTabSz="913429" eaLnBrk="1" hangingPunct="1">
              <a:buClr>
                <a:schemeClr val="tx2"/>
              </a:buClr>
              <a:buSzPct val="125000"/>
              <a:buFont typeface="Arial"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20000"/>
              <a:buFont typeface="Arial"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pPr algn="ctr"/>
            <a:r>
              <a:rPr lang="en-US" sz="1200" dirty="0"/>
              <a:t>Dec ‘15</a:t>
            </a:r>
          </a:p>
        </p:txBody>
      </p:sp>
      <p:sp>
        <p:nvSpPr>
          <p:cNvPr id="9" name="Rectangle 15"/>
          <p:cNvSpPr txBox="1"/>
          <p:nvPr/>
        </p:nvSpPr>
        <p:spPr>
          <a:xfrm>
            <a:off x="4848080" y="1197228"/>
            <a:ext cx="493725" cy="18466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b" anchorCtr="0" compatLnSpc="1">
            <a:prstTxWarp prst="textNoShape">
              <a:avLst/>
            </a:prstTxWarp>
            <a:spAutoFit/>
          </a:bodyPr>
          <a:lstStyle>
            <a:lvl1pPr marL="0" lvl="0" indent="0" defTabSz="913429" eaLnBrk="1" hangingPunct="1">
              <a:buClr>
                <a:schemeClr val="tx2"/>
              </a:buClr>
              <a:defRPr baseline="0">
                <a:latin typeface="+mn-lt"/>
              </a:defRPr>
            </a:lvl1pPr>
            <a:lvl2pPr marL="197586" lvl="1" indent="-195966" defTabSz="913429" eaLnBrk="1" hangingPunct="1">
              <a:buClr>
                <a:schemeClr val="tx2"/>
              </a:buClr>
              <a:buSzPct val="125000"/>
              <a:buFont typeface="Arial"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20000"/>
              <a:buFont typeface="Arial"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pPr algn="ctr"/>
            <a:r>
              <a:rPr lang="en-US" sz="1200" dirty="0"/>
              <a:t>Jan ‘16</a:t>
            </a:r>
          </a:p>
        </p:txBody>
      </p:sp>
      <p:sp>
        <p:nvSpPr>
          <p:cNvPr id="10" name="Rectangle 15"/>
          <p:cNvSpPr txBox="1"/>
          <p:nvPr/>
        </p:nvSpPr>
        <p:spPr>
          <a:xfrm>
            <a:off x="6950619" y="1197228"/>
            <a:ext cx="511358" cy="18466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b" anchorCtr="0" compatLnSpc="1">
            <a:prstTxWarp prst="textNoShape">
              <a:avLst/>
            </a:prstTxWarp>
            <a:spAutoFit/>
          </a:bodyPr>
          <a:lstStyle>
            <a:lvl1pPr marL="0" lvl="0" indent="0" defTabSz="913429" eaLnBrk="1" hangingPunct="1">
              <a:buClr>
                <a:schemeClr val="tx2"/>
              </a:buClr>
              <a:defRPr baseline="0">
                <a:latin typeface="+mn-lt"/>
              </a:defRPr>
            </a:lvl1pPr>
            <a:lvl2pPr marL="197586" lvl="1" indent="-195966" defTabSz="913429" eaLnBrk="1" hangingPunct="1">
              <a:buClr>
                <a:schemeClr val="tx2"/>
              </a:buClr>
              <a:buSzPct val="125000"/>
              <a:buFont typeface="Arial"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20000"/>
              <a:buFont typeface="Arial"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pPr algn="ctr"/>
            <a:r>
              <a:rPr lang="en-US" sz="1200" dirty="0"/>
              <a:t>Mar ‘16</a:t>
            </a:r>
          </a:p>
        </p:txBody>
      </p:sp>
      <p:sp>
        <p:nvSpPr>
          <p:cNvPr id="11" name="Rectangle 15"/>
          <p:cNvSpPr txBox="1"/>
          <p:nvPr/>
        </p:nvSpPr>
        <p:spPr>
          <a:xfrm>
            <a:off x="5891615" y="1197228"/>
            <a:ext cx="511358" cy="18466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b" anchorCtr="0" compatLnSpc="1">
            <a:prstTxWarp prst="textNoShape">
              <a:avLst/>
            </a:prstTxWarp>
            <a:spAutoFit/>
          </a:bodyPr>
          <a:lstStyle>
            <a:lvl1pPr marL="0" lvl="0" indent="0" defTabSz="913429" eaLnBrk="1" hangingPunct="1">
              <a:buClr>
                <a:schemeClr val="tx2"/>
              </a:buClr>
              <a:defRPr baseline="0">
                <a:latin typeface="+mn-lt"/>
              </a:defRPr>
            </a:lvl1pPr>
            <a:lvl2pPr marL="197586" lvl="1" indent="-195966" defTabSz="913429" eaLnBrk="1" hangingPunct="1">
              <a:buClr>
                <a:schemeClr val="tx2"/>
              </a:buClr>
              <a:buSzPct val="125000"/>
              <a:buFont typeface="Arial"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20000"/>
              <a:buFont typeface="Arial"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pPr algn="ctr"/>
            <a:r>
              <a:rPr lang="en-US" sz="1200"/>
              <a:t>Feb ‘16</a:t>
            </a:r>
          </a:p>
        </p:txBody>
      </p:sp>
      <p:sp>
        <p:nvSpPr>
          <p:cNvPr id="12" name="Rectangle 15"/>
          <p:cNvSpPr txBox="1"/>
          <p:nvPr/>
        </p:nvSpPr>
        <p:spPr>
          <a:xfrm>
            <a:off x="8012775" y="1197228"/>
            <a:ext cx="485710" cy="18466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b" anchorCtr="0" compatLnSpc="1">
            <a:prstTxWarp prst="textNoShape">
              <a:avLst/>
            </a:prstTxWarp>
            <a:spAutoFit/>
          </a:bodyPr>
          <a:lstStyle>
            <a:lvl1pPr marL="0" lvl="0" indent="0" defTabSz="913429" eaLnBrk="1" hangingPunct="1">
              <a:buClr>
                <a:schemeClr val="tx2"/>
              </a:buClr>
              <a:defRPr baseline="0">
                <a:latin typeface="+mn-lt"/>
              </a:defRPr>
            </a:lvl1pPr>
            <a:lvl2pPr marL="197586" lvl="1" indent="-195966" defTabSz="913429" eaLnBrk="1" hangingPunct="1">
              <a:buClr>
                <a:schemeClr val="tx2"/>
              </a:buClr>
              <a:buSzPct val="125000"/>
              <a:buFont typeface="Arial"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20000"/>
              <a:buFont typeface="Arial"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pPr algn="ctr"/>
            <a:r>
              <a:rPr lang="en-US" sz="1200" dirty="0"/>
              <a:t>Apr ‘16</a:t>
            </a:r>
          </a:p>
        </p:txBody>
      </p:sp>
      <p:sp>
        <p:nvSpPr>
          <p:cNvPr id="13" name="TextBox 12"/>
          <p:cNvSpPr txBox="1"/>
          <p:nvPr>
            <p:custDataLst>
              <p:tags r:id="rId7"/>
            </p:custDataLst>
          </p:nvPr>
        </p:nvSpPr>
        <p:spPr>
          <a:xfrm>
            <a:off x="7736050" y="1424094"/>
            <a:ext cx="135802" cy="140729"/>
          </a:xfrm>
          <a:prstGeom prst="ellipse">
            <a:avLst/>
          </a:prstGeom>
          <a:gradFill flip="none" rotWithShape="1">
            <a:gsLst>
              <a:gs pos="0">
                <a:schemeClr val="tx2">
                  <a:shade val="30000"/>
                  <a:satMod val="115000"/>
                </a:schemeClr>
              </a:gs>
              <a:gs pos="50000">
                <a:schemeClr val="tx2">
                  <a:shade val="67500"/>
                  <a:satMod val="115000"/>
                </a:schemeClr>
              </a:gs>
              <a:gs pos="100000">
                <a:schemeClr val="tx2">
                  <a:shade val="100000"/>
                  <a:satMod val="115000"/>
                </a:schemeClr>
              </a:gs>
            </a:gsLst>
            <a:lin ang="2700000" scaled="1"/>
            <a:tileRect/>
          </a:gradFill>
          <a:ln w="9525">
            <a:solidFill>
              <a:schemeClr val="bg1"/>
            </a:solidFill>
            <a:miter lim="800000"/>
            <a:headEnd/>
            <a:tailEnd/>
          </a:ln>
          <a:effectLst/>
          <a:extLst/>
        </p:spPr>
        <p:txBody>
          <a:bodyPr vert="horz" wrap="none" lIns="3734" tIns="0" rIns="3734" bIns="0" numCol="1" anchor="ctr" anchorCtr="1" compatLnSpc="1">
            <a:prstTxWarp prst="textNoShape">
              <a:avLst/>
            </a:prstTxWarp>
            <a:noAutofit/>
          </a:bodyPr>
          <a:lstStyle>
            <a:lvl1pPr marL="0" lvl="0" indent="0" defTabSz="913429" eaLnBrk="1" hangingPunct="1">
              <a:buClr>
                <a:schemeClr val="tx2"/>
              </a:buClr>
              <a:defRPr baseline="0">
                <a:latin typeface="+mn-lt"/>
              </a:defRPr>
            </a:lvl1pPr>
            <a:lvl2pPr marL="197586" lvl="1" indent="-195966" defTabSz="913429" eaLnBrk="1" hangingPunct="1">
              <a:buClr>
                <a:schemeClr val="tx2"/>
              </a:buClr>
              <a:buSzPct val="125000"/>
              <a:buFont typeface="Arial"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20000"/>
              <a:buFont typeface="Arial"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pPr algn="ctr"/>
            <a:endParaRPr lang="en-US" sz="1200" b="1" dirty="0">
              <a:solidFill>
                <a:schemeClr val="tx2"/>
              </a:solidFill>
            </a:endParaRPr>
          </a:p>
        </p:txBody>
      </p:sp>
      <p:sp>
        <p:nvSpPr>
          <p:cNvPr id="14" name="TextBox 13"/>
          <p:cNvSpPr txBox="1"/>
          <p:nvPr>
            <p:custDataLst>
              <p:tags r:id="rId8"/>
            </p:custDataLst>
          </p:nvPr>
        </p:nvSpPr>
        <p:spPr>
          <a:xfrm>
            <a:off x="6677045" y="1424094"/>
            <a:ext cx="135802" cy="140729"/>
          </a:xfrm>
          <a:prstGeom prst="ellipse">
            <a:avLst/>
          </a:prstGeom>
          <a:gradFill flip="none" rotWithShape="1">
            <a:gsLst>
              <a:gs pos="0">
                <a:schemeClr val="tx2">
                  <a:shade val="30000"/>
                  <a:satMod val="115000"/>
                </a:schemeClr>
              </a:gs>
              <a:gs pos="50000">
                <a:schemeClr val="tx2">
                  <a:shade val="67500"/>
                  <a:satMod val="115000"/>
                </a:schemeClr>
              </a:gs>
              <a:gs pos="100000">
                <a:schemeClr val="tx2">
                  <a:shade val="100000"/>
                  <a:satMod val="115000"/>
                </a:schemeClr>
              </a:gs>
            </a:gsLst>
            <a:lin ang="2700000" scaled="1"/>
            <a:tileRect/>
          </a:gradFill>
          <a:ln w="9525">
            <a:solidFill>
              <a:schemeClr val="bg1"/>
            </a:solidFill>
            <a:miter lim="800000"/>
            <a:headEnd/>
            <a:tailEnd/>
          </a:ln>
          <a:effectLst/>
          <a:extLst/>
        </p:spPr>
        <p:txBody>
          <a:bodyPr vert="horz" wrap="none" lIns="3734" tIns="0" rIns="3734" bIns="0" numCol="1" anchor="ctr" anchorCtr="1" compatLnSpc="1">
            <a:prstTxWarp prst="textNoShape">
              <a:avLst/>
            </a:prstTxWarp>
            <a:noAutofit/>
          </a:bodyPr>
          <a:lstStyle>
            <a:lvl1pPr marL="0" lvl="0" indent="0" defTabSz="913429" eaLnBrk="1" hangingPunct="1">
              <a:buClr>
                <a:schemeClr val="tx2"/>
              </a:buClr>
              <a:defRPr baseline="0">
                <a:latin typeface="+mn-lt"/>
              </a:defRPr>
            </a:lvl1pPr>
            <a:lvl2pPr marL="197586" lvl="1" indent="-195966" defTabSz="913429" eaLnBrk="1" hangingPunct="1">
              <a:buClr>
                <a:schemeClr val="tx2"/>
              </a:buClr>
              <a:buSzPct val="125000"/>
              <a:buFont typeface="Arial"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20000"/>
              <a:buFont typeface="Arial"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pPr algn="ctr"/>
            <a:endParaRPr lang="en-US" sz="1200" b="1" dirty="0">
              <a:solidFill>
                <a:schemeClr val="tx2"/>
              </a:solidFill>
            </a:endParaRPr>
          </a:p>
        </p:txBody>
      </p:sp>
      <p:sp>
        <p:nvSpPr>
          <p:cNvPr id="32" name="TextBox 31"/>
          <p:cNvSpPr txBox="1"/>
          <p:nvPr>
            <p:custDataLst>
              <p:tags r:id="rId9"/>
            </p:custDataLst>
          </p:nvPr>
        </p:nvSpPr>
        <p:spPr>
          <a:xfrm>
            <a:off x="1403026" y="1424094"/>
            <a:ext cx="135802" cy="140729"/>
          </a:xfrm>
          <a:prstGeom prst="ellipse">
            <a:avLst/>
          </a:prstGeom>
          <a:gradFill flip="none" rotWithShape="1">
            <a:gsLst>
              <a:gs pos="0">
                <a:schemeClr val="tx2">
                  <a:shade val="30000"/>
                  <a:satMod val="115000"/>
                </a:schemeClr>
              </a:gs>
              <a:gs pos="50000">
                <a:schemeClr val="tx2">
                  <a:shade val="67500"/>
                  <a:satMod val="115000"/>
                </a:schemeClr>
              </a:gs>
              <a:gs pos="100000">
                <a:schemeClr val="tx2">
                  <a:shade val="100000"/>
                  <a:satMod val="115000"/>
                </a:schemeClr>
              </a:gs>
            </a:gsLst>
            <a:lin ang="2700000" scaled="1"/>
            <a:tileRect/>
          </a:gradFill>
          <a:ln w="9525">
            <a:solidFill>
              <a:schemeClr val="bg1"/>
            </a:solidFill>
            <a:miter lim="800000"/>
            <a:headEnd/>
            <a:tailEnd/>
          </a:ln>
          <a:effectLst/>
          <a:extLst/>
        </p:spPr>
        <p:txBody>
          <a:bodyPr vert="horz" wrap="none" lIns="3734" tIns="0" rIns="3734" bIns="0" numCol="1" anchor="ctr" anchorCtr="1" compatLnSpc="1">
            <a:prstTxWarp prst="textNoShape">
              <a:avLst/>
            </a:prstTxWarp>
            <a:noAutofit/>
          </a:bodyPr>
          <a:lstStyle>
            <a:lvl1pPr marL="0" lvl="0" indent="0" defTabSz="913429" eaLnBrk="1" hangingPunct="1">
              <a:buClr>
                <a:schemeClr val="tx2"/>
              </a:buClr>
              <a:defRPr baseline="0">
                <a:latin typeface="+mn-lt"/>
              </a:defRPr>
            </a:lvl1pPr>
            <a:lvl2pPr marL="197586" lvl="1" indent="-195966" defTabSz="913429" eaLnBrk="1" hangingPunct="1">
              <a:buClr>
                <a:schemeClr val="tx2"/>
              </a:buClr>
              <a:buSzPct val="125000"/>
              <a:buFont typeface="Arial"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20000"/>
              <a:buFont typeface="Arial"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pPr algn="ctr"/>
            <a:endParaRPr lang="en-US" sz="1200" b="1" dirty="0">
              <a:solidFill>
                <a:schemeClr val="tx2"/>
              </a:solidFill>
            </a:endParaRPr>
          </a:p>
        </p:txBody>
      </p:sp>
      <p:sp>
        <p:nvSpPr>
          <p:cNvPr id="33" name="TextBox 32"/>
          <p:cNvSpPr txBox="1"/>
          <p:nvPr>
            <p:custDataLst>
              <p:tags r:id="rId10"/>
            </p:custDataLst>
          </p:nvPr>
        </p:nvSpPr>
        <p:spPr>
          <a:xfrm>
            <a:off x="2468078" y="1424094"/>
            <a:ext cx="135802" cy="140729"/>
          </a:xfrm>
          <a:prstGeom prst="ellipse">
            <a:avLst/>
          </a:prstGeom>
          <a:gradFill flip="none" rotWithShape="1">
            <a:gsLst>
              <a:gs pos="0">
                <a:schemeClr val="tx2">
                  <a:shade val="30000"/>
                  <a:satMod val="115000"/>
                </a:schemeClr>
              </a:gs>
              <a:gs pos="50000">
                <a:schemeClr val="tx2">
                  <a:shade val="67500"/>
                  <a:satMod val="115000"/>
                </a:schemeClr>
              </a:gs>
              <a:gs pos="100000">
                <a:schemeClr val="tx2">
                  <a:shade val="100000"/>
                  <a:satMod val="115000"/>
                </a:schemeClr>
              </a:gs>
            </a:gsLst>
            <a:lin ang="2700000" scaled="1"/>
            <a:tileRect/>
          </a:gradFill>
          <a:ln w="9525">
            <a:solidFill>
              <a:schemeClr val="bg1"/>
            </a:solidFill>
            <a:miter lim="800000"/>
            <a:headEnd/>
            <a:tailEnd/>
          </a:ln>
          <a:effectLst/>
          <a:extLst/>
        </p:spPr>
        <p:txBody>
          <a:bodyPr vert="horz" wrap="none" lIns="3734" tIns="0" rIns="3734" bIns="0" numCol="1" anchor="ctr" anchorCtr="1" compatLnSpc="1">
            <a:prstTxWarp prst="textNoShape">
              <a:avLst/>
            </a:prstTxWarp>
            <a:noAutofit/>
          </a:bodyPr>
          <a:lstStyle>
            <a:lvl1pPr marL="0" lvl="0" indent="0" defTabSz="913429" eaLnBrk="1" hangingPunct="1">
              <a:buClr>
                <a:schemeClr val="tx2"/>
              </a:buClr>
              <a:defRPr baseline="0">
                <a:latin typeface="+mn-lt"/>
              </a:defRPr>
            </a:lvl1pPr>
            <a:lvl2pPr marL="197586" lvl="1" indent="-195966" defTabSz="913429" eaLnBrk="1" hangingPunct="1">
              <a:buClr>
                <a:schemeClr val="tx2"/>
              </a:buClr>
              <a:buSzPct val="125000"/>
              <a:buFont typeface="Arial"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20000"/>
              <a:buFont typeface="Arial"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pPr algn="ctr"/>
            <a:endParaRPr lang="en-US" sz="1200" b="1" dirty="0">
              <a:solidFill>
                <a:schemeClr val="tx2"/>
              </a:solidFill>
            </a:endParaRPr>
          </a:p>
        </p:txBody>
      </p:sp>
      <p:sp>
        <p:nvSpPr>
          <p:cNvPr id="34" name="Rectangle 15"/>
          <p:cNvSpPr txBox="1"/>
          <p:nvPr/>
        </p:nvSpPr>
        <p:spPr>
          <a:xfrm>
            <a:off x="1691647" y="1197228"/>
            <a:ext cx="487313" cy="18466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b" anchorCtr="0" compatLnSpc="1">
            <a:prstTxWarp prst="textNoShape">
              <a:avLst/>
            </a:prstTxWarp>
            <a:spAutoFit/>
          </a:bodyPr>
          <a:lstStyle>
            <a:lvl1pPr marL="0" lvl="0" indent="0" defTabSz="913429" eaLnBrk="1" hangingPunct="1">
              <a:buClr>
                <a:schemeClr val="tx2"/>
              </a:buClr>
              <a:defRPr baseline="0">
                <a:latin typeface="+mn-lt"/>
              </a:defRPr>
            </a:lvl1pPr>
            <a:lvl2pPr marL="197586" lvl="1" indent="-195966" defTabSz="913429" eaLnBrk="1" hangingPunct="1">
              <a:buClr>
                <a:schemeClr val="tx2"/>
              </a:buClr>
              <a:buSzPct val="125000"/>
              <a:buFont typeface="Arial"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20000"/>
              <a:buFont typeface="Arial"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pPr algn="ctr"/>
            <a:r>
              <a:rPr lang="en-US" sz="1200" dirty="0"/>
              <a:t>Oct ‘15</a:t>
            </a:r>
          </a:p>
        </p:txBody>
      </p:sp>
      <p:sp>
        <p:nvSpPr>
          <p:cNvPr id="35" name="Rectangle 15"/>
          <p:cNvSpPr txBox="1"/>
          <p:nvPr/>
        </p:nvSpPr>
        <p:spPr>
          <a:xfrm>
            <a:off x="2730994" y="1197228"/>
            <a:ext cx="519373" cy="18466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b" anchorCtr="0" compatLnSpc="1">
            <a:prstTxWarp prst="textNoShape">
              <a:avLst/>
            </a:prstTxWarp>
            <a:spAutoFit/>
          </a:bodyPr>
          <a:lstStyle>
            <a:lvl1pPr marL="0" lvl="0" indent="0" defTabSz="913429" eaLnBrk="1" hangingPunct="1">
              <a:buClr>
                <a:schemeClr val="tx2"/>
              </a:buClr>
              <a:defRPr baseline="0">
                <a:latin typeface="+mn-lt"/>
              </a:defRPr>
            </a:lvl1pPr>
            <a:lvl2pPr marL="197586" lvl="1" indent="-195966" defTabSz="913429" eaLnBrk="1" hangingPunct="1">
              <a:buClr>
                <a:schemeClr val="tx2"/>
              </a:buClr>
              <a:buSzPct val="125000"/>
              <a:buFont typeface="Arial"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20000"/>
              <a:buFont typeface="Arial"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pPr algn="ctr"/>
            <a:r>
              <a:rPr lang="en-US" sz="1200" dirty="0"/>
              <a:t>Nov ‘15</a:t>
            </a:r>
          </a:p>
        </p:txBody>
      </p:sp>
      <p:sp>
        <p:nvSpPr>
          <p:cNvPr id="36" name="TextBox 35"/>
          <p:cNvSpPr txBox="1"/>
          <p:nvPr>
            <p:custDataLst>
              <p:tags r:id="rId11"/>
            </p:custDataLst>
          </p:nvPr>
        </p:nvSpPr>
        <p:spPr>
          <a:xfrm>
            <a:off x="336351" y="1424094"/>
            <a:ext cx="135802" cy="140729"/>
          </a:xfrm>
          <a:prstGeom prst="ellipse">
            <a:avLst/>
          </a:prstGeom>
          <a:gradFill flip="none" rotWithShape="1">
            <a:gsLst>
              <a:gs pos="0">
                <a:schemeClr val="tx2">
                  <a:shade val="30000"/>
                  <a:satMod val="115000"/>
                </a:schemeClr>
              </a:gs>
              <a:gs pos="50000">
                <a:schemeClr val="tx2">
                  <a:shade val="67500"/>
                  <a:satMod val="115000"/>
                </a:schemeClr>
              </a:gs>
              <a:gs pos="100000">
                <a:schemeClr val="tx2">
                  <a:shade val="100000"/>
                  <a:satMod val="115000"/>
                </a:schemeClr>
              </a:gs>
            </a:gsLst>
            <a:lin ang="2700000" scaled="1"/>
            <a:tileRect/>
          </a:gradFill>
          <a:ln w="9525">
            <a:solidFill>
              <a:schemeClr val="bg1"/>
            </a:solidFill>
            <a:miter lim="800000"/>
            <a:headEnd/>
            <a:tailEnd/>
          </a:ln>
          <a:effectLst/>
          <a:extLst/>
        </p:spPr>
        <p:txBody>
          <a:bodyPr vert="horz" wrap="none" lIns="3734" tIns="0" rIns="3734" bIns="0" numCol="1" anchor="ctr" anchorCtr="1" compatLnSpc="1">
            <a:prstTxWarp prst="textNoShape">
              <a:avLst/>
            </a:prstTxWarp>
            <a:noAutofit/>
          </a:bodyPr>
          <a:lstStyle>
            <a:lvl1pPr marL="0" lvl="0" indent="0" defTabSz="913429" eaLnBrk="1" hangingPunct="1">
              <a:buClr>
                <a:schemeClr val="tx2"/>
              </a:buClr>
              <a:defRPr baseline="0">
                <a:latin typeface="+mn-lt"/>
              </a:defRPr>
            </a:lvl1pPr>
            <a:lvl2pPr marL="197586" lvl="1" indent="-195966" defTabSz="913429" eaLnBrk="1" hangingPunct="1">
              <a:buClr>
                <a:schemeClr val="tx2"/>
              </a:buClr>
              <a:buSzPct val="125000"/>
              <a:buFont typeface="Arial"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20000"/>
              <a:buFont typeface="Arial"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pPr algn="ctr"/>
            <a:endParaRPr lang="en-US" sz="1200" b="1" dirty="0">
              <a:solidFill>
                <a:schemeClr val="tx2"/>
              </a:solidFill>
            </a:endParaRPr>
          </a:p>
        </p:txBody>
      </p:sp>
      <p:sp>
        <p:nvSpPr>
          <p:cNvPr id="37" name="Rectangle 15"/>
          <p:cNvSpPr txBox="1"/>
          <p:nvPr/>
        </p:nvSpPr>
        <p:spPr>
          <a:xfrm>
            <a:off x="608942" y="1197228"/>
            <a:ext cx="519373" cy="18466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b" anchorCtr="0" compatLnSpc="1">
            <a:prstTxWarp prst="textNoShape">
              <a:avLst/>
            </a:prstTxWarp>
            <a:spAutoFit/>
          </a:bodyPr>
          <a:lstStyle>
            <a:lvl1pPr marL="0" lvl="0" indent="0" defTabSz="913429" eaLnBrk="1" hangingPunct="1">
              <a:buClr>
                <a:schemeClr val="tx2"/>
              </a:buClr>
              <a:defRPr baseline="0">
                <a:latin typeface="+mn-lt"/>
              </a:defRPr>
            </a:lvl1pPr>
            <a:lvl2pPr marL="197586" lvl="1" indent="-195966" defTabSz="913429" eaLnBrk="1" hangingPunct="1">
              <a:buClr>
                <a:schemeClr val="tx2"/>
              </a:buClr>
              <a:buSzPct val="125000"/>
              <a:buFont typeface="Arial"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20000"/>
              <a:buFont typeface="Arial"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pPr algn="ctr"/>
            <a:r>
              <a:rPr lang="en-US" sz="1200" dirty="0"/>
              <a:t>Sep ‘15</a:t>
            </a:r>
          </a:p>
        </p:txBody>
      </p:sp>
      <p:sp>
        <p:nvSpPr>
          <p:cNvPr id="15" name="Pentagon 14"/>
          <p:cNvSpPr/>
          <p:nvPr/>
        </p:nvSpPr>
        <p:spPr>
          <a:xfrm>
            <a:off x="3499744" y="3974890"/>
            <a:ext cx="4880317" cy="1327414"/>
          </a:xfrm>
          <a:prstGeom prst="homePlate">
            <a:avLst>
              <a:gd name="adj" fmla="val 18199"/>
            </a:avLst>
          </a:prstGeom>
          <a:solidFill>
            <a:schemeClr val="bg1">
              <a:lumMod val="85000"/>
            </a:schemeClr>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200" dirty="0" err="1">
              <a:solidFill>
                <a:schemeClr val="tx1"/>
              </a:solidFill>
            </a:endParaRPr>
          </a:p>
        </p:txBody>
      </p:sp>
      <p:sp>
        <p:nvSpPr>
          <p:cNvPr id="16" name="Pentagon 15"/>
          <p:cNvSpPr/>
          <p:nvPr/>
        </p:nvSpPr>
        <p:spPr>
          <a:xfrm>
            <a:off x="7968596" y="3974890"/>
            <a:ext cx="632003" cy="1327414"/>
          </a:xfrm>
          <a:prstGeom prst="homePlate">
            <a:avLst>
              <a:gd name="adj" fmla="val 42668"/>
            </a:avLst>
          </a:prstGeom>
          <a:solidFill>
            <a:schemeClr val="bg1">
              <a:lumMod val="85000"/>
            </a:schemeClr>
          </a:solidFill>
          <a:ln w="9525">
            <a:solidFill>
              <a:schemeClr val="accent6"/>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solidFill>
                <a:schemeClr val="tx1"/>
              </a:solidFill>
            </a:endParaRPr>
          </a:p>
        </p:txBody>
      </p:sp>
      <p:sp>
        <p:nvSpPr>
          <p:cNvPr id="17" name="Rectangle 16"/>
          <p:cNvSpPr/>
          <p:nvPr/>
        </p:nvSpPr>
        <p:spPr>
          <a:xfrm>
            <a:off x="7956802" y="3977580"/>
            <a:ext cx="63891" cy="1321438"/>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solidFill>
                <a:schemeClr val="tx1"/>
              </a:solidFill>
            </a:endParaRPr>
          </a:p>
        </p:txBody>
      </p:sp>
      <p:sp>
        <p:nvSpPr>
          <p:cNvPr id="18" name="Pentagon 17"/>
          <p:cNvSpPr>
            <a:spLocks/>
          </p:cNvSpPr>
          <p:nvPr/>
        </p:nvSpPr>
        <p:spPr>
          <a:xfrm>
            <a:off x="3547115" y="4018559"/>
            <a:ext cx="1041236" cy="587692"/>
          </a:xfrm>
          <a:prstGeom prst="homePlate">
            <a:avLst>
              <a:gd name="adj" fmla="val 16146"/>
            </a:avLst>
          </a:prstGeom>
          <a:solidFill>
            <a:schemeClr val="accent2"/>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solidFill>
                <a:schemeClr val="bg1"/>
              </a:solidFill>
            </a:endParaRPr>
          </a:p>
        </p:txBody>
      </p:sp>
      <p:sp>
        <p:nvSpPr>
          <p:cNvPr id="19" name="Chevron 18"/>
          <p:cNvSpPr>
            <a:spLocks/>
          </p:cNvSpPr>
          <p:nvPr/>
        </p:nvSpPr>
        <p:spPr>
          <a:xfrm>
            <a:off x="4476272" y="4018559"/>
            <a:ext cx="2799076" cy="587692"/>
          </a:xfrm>
          <a:prstGeom prst="chevron">
            <a:avLst>
              <a:gd name="adj" fmla="val 16473"/>
            </a:avLst>
          </a:prstGeom>
          <a:solidFill>
            <a:schemeClr val="accent2"/>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solidFill>
                <a:srgbClr val="FFFFFF"/>
              </a:solidFill>
            </a:endParaRPr>
          </a:p>
        </p:txBody>
      </p:sp>
      <p:sp>
        <p:nvSpPr>
          <p:cNvPr id="20" name="Rectangle 15"/>
          <p:cNvSpPr txBox="1"/>
          <p:nvPr/>
        </p:nvSpPr>
        <p:spPr>
          <a:xfrm>
            <a:off x="3598471" y="4136557"/>
            <a:ext cx="989118" cy="36933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lvl1pPr marL="0" lvl="0" indent="0" defTabSz="913429" eaLnBrk="1" hangingPunct="1">
              <a:buClr>
                <a:schemeClr val="tx2"/>
              </a:buClr>
              <a:defRPr baseline="0">
                <a:latin typeface="+mn-lt"/>
              </a:defRPr>
            </a:lvl1pPr>
            <a:lvl2pPr marL="197586" lvl="1" indent="-195966" defTabSz="913429" eaLnBrk="1" hangingPunct="1">
              <a:buClr>
                <a:schemeClr val="tx2"/>
              </a:buClr>
              <a:buSzPct val="125000"/>
              <a:buFont typeface="Arial"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20000"/>
              <a:buFont typeface="Arial"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r>
              <a:rPr lang="en-US" sz="1200" b="1" dirty="0">
                <a:solidFill>
                  <a:schemeClr val="bg1"/>
                </a:solidFill>
              </a:rPr>
              <a:t>Independent diligence</a:t>
            </a:r>
          </a:p>
        </p:txBody>
      </p:sp>
      <p:sp>
        <p:nvSpPr>
          <p:cNvPr id="21" name="Rectangle 15"/>
          <p:cNvSpPr txBox="1"/>
          <p:nvPr/>
        </p:nvSpPr>
        <p:spPr>
          <a:xfrm>
            <a:off x="5165088" y="4136573"/>
            <a:ext cx="940221" cy="36933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lvl1pPr marL="0" lvl="0" indent="0" defTabSz="913429" eaLnBrk="1" hangingPunct="1">
              <a:buClr>
                <a:schemeClr val="tx2"/>
              </a:buClr>
              <a:defRPr baseline="0">
                <a:latin typeface="+mn-lt"/>
              </a:defRPr>
            </a:lvl1pPr>
            <a:lvl2pPr marL="197586" lvl="1" indent="-195966" defTabSz="913429" eaLnBrk="1" hangingPunct="1">
              <a:buClr>
                <a:schemeClr val="tx2"/>
              </a:buClr>
              <a:buSzPct val="125000"/>
              <a:buFont typeface="Arial"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20000"/>
              <a:buFont typeface="Arial"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r>
              <a:rPr lang="en-US" sz="1200" b="1" dirty="0">
                <a:solidFill>
                  <a:schemeClr val="bg1"/>
                </a:solidFill>
              </a:rPr>
              <a:t>Bottom-up Planning</a:t>
            </a:r>
          </a:p>
        </p:txBody>
      </p:sp>
      <p:sp>
        <p:nvSpPr>
          <p:cNvPr id="22" name="Chevron 21"/>
          <p:cNvSpPr/>
          <p:nvPr/>
        </p:nvSpPr>
        <p:spPr>
          <a:xfrm>
            <a:off x="3890763" y="4657802"/>
            <a:ext cx="3063346" cy="587692"/>
          </a:xfrm>
          <a:prstGeom prst="chevron">
            <a:avLst>
              <a:gd name="adj" fmla="val 18199"/>
            </a:avLst>
          </a:prstGeom>
          <a:solidFill>
            <a:schemeClr val="accent2"/>
          </a:solidFill>
          <a:ln w="9525">
            <a:solidFill>
              <a:schemeClr val="bg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solidFill>
                <a:schemeClr val="bg1"/>
              </a:solidFill>
            </a:endParaRPr>
          </a:p>
        </p:txBody>
      </p:sp>
      <p:sp>
        <p:nvSpPr>
          <p:cNvPr id="23" name="Rectangle 15"/>
          <p:cNvSpPr txBox="1"/>
          <p:nvPr/>
        </p:nvSpPr>
        <p:spPr>
          <a:xfrm>
            <a:off x="4138012" y="4766982"/>
            <a:ext cx="2661373" cy="369332"/>
          </a:xfrm>
          <a:prstGeom prst="rect">
            <a:avLst/>
          </a:prstGeom>
          <a:solidFill>
            <a:schemeClr val="accent2"/>
          </a:solidFill>
          <a:ln w="9525">
            <a:noFill/>
            <a:miter lim="800000"/>
            <a:headEnd/>
            <a:tailEnd/>
          </a:ln>
          <a:effectLst/>
          <a:extLst/>
        </p:spPr>
        <p:txBody>
          <a:bodyPr vert="horz" wrap="square" lIns="0" tIns="0" rIns="0" bIns="0" numCol="1" anchor="ctr" anchorCtr="0" compatLnSpc="1">
            <a:prstTxWarp prst="textNoShape">
              <a:avLst/>
            </a:prstTxWarp>
            <a:spAutoFit/>
          </a:bodyPr>
          <a:lstStyle>
            <a:lvl1pPr marL="0" lvl="0" indent="0" defTabSz="913429" eaLnBrk="1" hangingPunct="1">
              <a:buClr>
                <a:schemeClr val="tx2"/>
              </a:buClr>
              <a:defRPr baseline="0">
                <a:latin typeface="+mn-lt"/>
              </a:defRPr>
            </a:lvl1pPr>
            <a:lvl2pPr marL="197586" lvl="1" indent="-195966" defTabSz="913429" eaLnBrk="1" hangingPunct="1">
              <a:buClr>
                <a:schemeClr val="tx2"/>
              </a:buClr>
              <a:buSzPct val="125000"/>
              <a:buFont typeface="Arial"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20000"/>
              <a:buFont typeface="Arial"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r>
              <a:rPr lang="en-US" sz="1200" b="1" dirty="0">
                <a:solidFill>
                  <a:schemeClr val="bg1"/>
                </a:solidFill>
              </a:rPr>
              <a:t>Acceleration of initiatives in execution and capture of quick wins</a:t>
            </a:r>
          </a:p>
        </p:txBody>
      </p:sp>
      <p:sp>
        <p:nvSpPr>
          <p:cNvPr id="25" name="Chevron 24"/>
          <p:cNvSpPr/>
          <p:nvPr/>
        </p:nvSpPr>
        <p:spPr>
          <a:xfrm>
            <a:off x="6837073" y="4657802"/>
            <a:ext cx="1455823" cy="587692"/>
          </a:xfrm>
          <a:prstGeom prst="chevron">
            <a:avLst>
              <a:gd name="adj" fmla="val 18199"/>
            </a:avLst>
          </a:prstGeom>
          <a:solidFill>
            <a:schemeClr val="accent2"/>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solidFill>
                <a:schemeClr val="bg1"/>
              </a:solidFill>
            </a:endParaRPr>
          </a:p>
        </p:txBody>
      </p:sp>
      <p:sp>
        <p:nvSpPr>
          <p:cNvPr id="26" name="Pentagon 25"/>
          <p:cNvSpPr/>
          <p:nvPr/>
        </p:nvSpPr>
        <p:spPr>
          <a:xfrm>
            <a:off x="8194466" y="4657802"/>
            <a:ext cx="432844" cy="587692"/>
          </a:xfrm>
          <a:prstGeom prst="homePlate">
            <a:avLst>
              <a:gd name="adj" fmla="val 60000"/>
            </a:avLst>
          </a:prstGeom>
          <a:solidFill>
            <a:schemeClr val="accent2"/>
          </a:solidFill>
          <a:ln w="9525">
            <a:solidFill>
              <a:schemeClr val="bg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solidFill>
                <a:schemeClr val="tx1"/>
              </a:solidFill>
            </a:endParaRPr>
          </a:p>
        </p:txBody>
      </p:sp>
      <p:sp>
        <p:nvSpPr>
          <p:cNvPr id="27" name="Rectangle 26"/>
          <p:cNvSpPr/>
          <p:nvPr/>
        </p:nvSpPr>
        <p:spPr>
          <a:xfrm>
            <a:off x="8165704" y="4662254"/>
            <a:ext cx="43325" cy="578789"/>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solidFill>
                <a:schemeClr val="tx1"/>
              </a:solidFill>
            </a:endParaRPr>
          </a:p>
        </p:txBody>
      </p:sp>
      <p:sp>
        <p:nvSpPr>
          <p:cNvPr id="28" name="Rectangle 15"/>
          <p:cNvSpPr txBox="1"/>
          <p:nvPr/>
        </p:nvSpPr>
        <p:spPr>
          <a:xfrm>
            <a:off x="7042757" y="4766982"/>
            <a:ext cx="1374992" cy="369332"/>
          </a:xfrm>
          <a:prstGeom prst="rect">
            <a:avLst/>
          </a:prstGeom>
          <a:noFill/>
          <a:ln w="9525">
            <a:noFill/>
            <a:miter lim="800000"/>
            <a:headEnd/>
            <a:tailEnd/>
          </a:ln>
          <a:effectLst/>
          <a:extLst/>
        </p:spPr>
        <p:txBody>
          <a:bodyPr vert="horz" wrap="square" lIns="0" tIns="0" rIns="0" bIns="0" numCol="1" anchor="ctr" anchorCtr="0" compatLnSpc="1">
            <a:prstTxWarp prst="textNoShape">
              <a:avLst/>
            </a:prstTxWarp>
            <a:spAutoFit/>
          </a:bodyPr>
          <a:lstStyle>
            <a:lvl1pPr marL="0" lvl="0" indent="0" defTabSz="913429" eaLnBrk="1" hangingPunct="1">
              <a:buClr>
                <a:schemeClr val="tx2"/>
              </a:buClr>
              <a:defRPr baseline="0">
                <a:latin typeface="+mn-lt"/>
              </a:defRPr>
            </a:lvl1pPr>
            <a:lvl2pPr marL="197586" lvl="1" indent="-195966" defTabSz="913429" eaLnBrk="1" hangingPunct="1">
              <a:buClr>
                <a:schemeClr val="tx2"/>
              </a:buClr>
              <a:buSzPct val="125000"/>
              <a:buFont typeface="Arial"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20000"/>
              <a:buFont typeface="Arial"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r>
              <a:rPr lang="en-US" sz="1200" b="1" dirty="0">
                <a:solidFill>
                  <a:schemeClr val="bg1"/>
                </a:solidFill>
              </a:rPr>
              <a:t>Full </a:t>
            </a:r>
            <a:r>
              <a:rPr lang="en-US" sz="1200" b="1" dirty="0" err="1">
                <a:solidFill>
                  <a:schemeClr val="bg1"/>
                </a:solidFill>
              </a:rPr>
              <a:t>implemen-tation</a:t>
            </a:r>
            <a:r>
              <a:rPr lang="en-US" sz="1200" b="1" dirty="0">
                <a:solidFill>
                  <a:schemeClr val="bg1"/>
                </a:solidFill>
              </a:rPr>
              <a:t> deployment </a:t>
            </a:r>
          </a:p>
        </p:txBody>
      </p:sp>
      <p:sp>
        <p:nvSpPr>
          <p:cNvPr id="29" name="Pentagon 28"/>
          <p:cNvSpPr>
            <a:spLocks/>
          </p:cNvSpPr>
          <p:nvPr/>
        </p:nvSpPr>
        <p:spPr>
          <a:xfrm>
            <a:off x="7110093" y="4018559"/>
            <a:ext cx="345688" cy="587692"/>
          </a:xfrm>
          <a:prstGeom prst="homePlate">
            <a:avLst>
              <a:gd name="adj" fmla="val 32685"/>
            </a:avLst>
          </a:prstGeom>
          <a:solidFill>
            <a:schemeClr val="accent2"/>
          </a:solidFill>
          <a:ln w="9525">
            <a:solidFill>
              <a:schemeClr val="bg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200" dirty="0" err="1">
              <a:solidFill>
                <a:schemeClr val="tx1"/>
              </a:solidFill>
            </a:endParaRPr>
          </a:p>
        </p:txBody>
      </p:sp>
      <p:sp>
        <p:nvSpPr>
          <p:cNvPr id="30" name="Rectangle 29"/>
          <p:cNvSpPr/>
          <p:nvPr/>
        </p:nvSpPr>
        <p:spPr>
          <a:xfrm>
            <a:off x="7084289" y="4026625"/>
            <a:ext cx="43325" cy="578789"/>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solidFill>
                <a:schemeClr val="tx1"/>
              </a:solidFill>
            </a:endParaRPr>
          </a:p>
        </p:txBody>
      </p:sp>
      <p:sp>
        <p:nvSpPr>
          <p:cNvPr id="31" name="Rectangle 15"/>
          <p:cNvSpPr txBox="1"/>
          <p:nvPr/>
        </p:nvSpPr>
        <p:spPr>
          <a:xfrm>
            <a:off x="3499744" y="3742041"/>
            <a:ext cx="1936746" cy="18466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lvl1pPr marL="0" lvl="0" indent="0" defTabSz="913429" eaLnBrk="1" hangingPunct="1">
              <a:buClr>
                <a:schemeClr val="tx2"/>
              </a:buClr>
              <a:defRPr baseline="0">
                <a:latin typeface="+mn-lt"/>
              </a:defRPr>
            </a:lvl1pPr>
            <a:lvl2pPr marL="197586" lvl="1" indent="-195966" defTabSz="913429" eaLnBrk="1" hangingPunct="1">
              <a:buClr>
                <a:schemeClr val="tx2"/>
              </a:buClr>
              <a:buSzPct val="125000"/>
              <a:buFont typeface="Arial"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20000"/>
              <a:buFont typeface="Arial"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r>
              <a:rPr lang="en-US" sz="1200" b="1" dirty="0">
                <a:solidFill>
                  <a:schemeClr val="accent3"/>
                </a:solidFill>
              </a:rPr>
              <a:t>Episode 2 – Strip</a:t>
            </a:r>
          </a:p>
        </p:txBody>
      </p:sp>
      <p:sp>
        <p:nvSpPr>
          <p:cNvPr id="38" name="Pentagon 37"/>
          <p:cNvSpPr/>
          <p:nvPr/>
        </p:nvSpPr>
        <p:spPr>
          <a:xfrm>
            <a:off x="209357" y="1843262"/>
            <a:ext cx="3815052" cy="1436004"/>
          </a:xfrm>
          <a:prstGeom prst="homePlate">
            <a:avLst>
              <a:gd name="adj" fmla="val 18199"/>
            </a:avLst>
          </a:prstGeom>
          <a:solidFill>
            <a:schemeClr val="bg1">
              <a:lumMod val="85000"/>
            </a:schemeClr>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200" dirty="0" err="1">
              <a:solidFill>
                <a:schemeClr val="tx1"/>
              </a:solidFill>
            </a:endParaRPr>
          </a:p>
        </p:txBody>
      </p:sp>
      <p:sp>
        <p:nvSpPr>
          <p:cNvPr id="39" name="Pentagon 38"/>
          <p:cNvSpPr/>
          <p:nvPr/>
        </p:nvSpPr>
        <p:spPr>
          <a:xfrm>
            <a:off x="3746091" y="1843262"/>
            <a:ext cx="485725" cy="1436004"/>
          </a:xfrm>
          <a:prstGeom prst="homePlate">
            <a:avLst>
              <a:gd name="adj" fmla="val 35286"/>
            </a:avLst>
          </a:prstGeom>
          <a:solidFill>
            <a:schemeClr val="bg1">
              <a:lumMod val="85000"/>
            </a:schemeClr>
          </a:solidFill>
          <a:ln w="9525">
            <a:solidFill>
              <a:schemeClr val="accent6"/>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solidFill>
                <a:schemeClr val="tx1"/>
              </a:solidFill>
            </a:endParaRPr>
          </a:p>
        </p:txBody>
      </p:sp>
      <p:sp>
        <p:nvSpPr>
          <p:cNvPr id="41" name="Pentagon 40"/>
          <p:cNvSpPr/>
          <p:nvPr/>
        </p:nvSpPr>
        <p:spPr>
          <a:xfrm>
            <a:off x="273538" y="1899115"/>
            <a:ext cx="945388" cy="627963"/>
          </a:xfrm>
          <a:prstGeom prst="homePlate">
            <a:avLst>
              <a:gd name="adj" fmla="val 16146"/>
            </a:avLst>
          </a:prstGeom>
          <a:solidFill>
            <a:schemeClr val="accent2"/>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solidFill>
                <a:srgbClr val="FFFFFF"/>
              </a:solidFill>
            </a:endParaRPr>
          </a:p>
        </p:txBody>
      </p:sp>
      <p:sp>
        <p:nvSpPr>
          <p:cNvPr id="42" name="Chevron 41"/>
          <p:cNvSpPr>
            <a:spLocks/>
          </p:cNvSpPr>
          <p:nvPr/>
        </p:nvSpPr>
        <p:spPr>
          <a:xfrm>
            <a:off x="1065182" y="1899115"/>
            <a:ext cx="1982818" cy="627963"/>
          </a:xfrm>
          <a:prstGeom prst="chevron">
            <a:avLst>
              <a:gd name="adj" fmla="val 16473"/>
            </a:avLst>
          </a:prstGeom>
          <a:solidFill>
            <a:schemeClr val="accent2"/>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solidFill>
                <a:srgbClr val="FFFFFF"/>
              </a:solidFill>
            </a:endParaRPr>
          </a:p>
        </p:txBody>
      </p:sp>
      <p:sp>
        <p:nvSpPr>
          <p:cNvPr id="45" name="Pentagon 44"/>
          <p:cNvSpPr/>
          <p:nvPr/>
        </p:nvSpPr>
        <p:spPr>
          <a:xfrm>
            <a:off x="209357" y="3345881"/>
            <a:ext cx="3920837" cy="300641"/>
          </a:xfrm>
          <a:prstGeom prst="homePlate">
            <a:avLst>
              <a:gd name="adj" fmla="val 18199"/>
            </a:avLst>
          </a:prstGeom>
          <a:solidFill>
            <a:schemeClr val="bg1">
              <a:lumMod val="85000"/>
            </a:schemeClr>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200" dirty="0" err="1">
              <a:solidFill>
                <a:schemeClr val="tx1"/>
              </a:solidFill>
            </a:endParaRPr>
          </a:p>
        </p:txBody>
      </p:sp>
      <p:sp>
        <p:nvSpPr>
          <p:cNvPr id="46" name="Rectangle 15"/>
          <p:cNvSpPr txBox="1"/>
          <p:nvPr/>
        </p:nvSpPr>
        <p:spPr>
          <a:xfrm>
            <a:off x="861810" y="3406140"/>
            <a:ext cx="2624642" cy="18466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defPPr>
              <a:defRPr lang="en-US"/>
            </a:defPPr>
            <a:lvl1pPr marL="0" lvl="0" indent="0" defTabSz="913429" eaLnBrk="1" hangingPunct="1">
              <a:buClr>
                <a:schemeClr val="tx2"/>
              </a:buClr>
              <a:defRPr sz="1200" b="1" baseline="0">
                <a:solidFill>
                  <a:schemeClr val="tx2"/>
                </a:solidFill>
                <a:latin typeface="+mn-lt"/>
              </a:defRPr>
            </a:lvl1pPr>
            <a:lvl2pPr marL="197586" lvl="1" indent="-195966" defTabSz="913429" eaLnBrk="1" hangingPunct="1">
              <a:buClr>
                <a:schemeClr val="tx2"/>
              </a:buClr>
              <a:buSzPct val="125000"/>
              <a:buFont typeface="Arial"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20000"/>
              <a:buFont typeface="Arial"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pPr>
              <a:buClr>
                <a:srgbClr val="3D7EDC"/>
              </a:buClr>
            </a:pPr>
            <a:r>
              <a:rPr lang="en-US" dirty="0">
                <a:solidFill>
                  <a:schemeClr val="accent3"/>
                </a:solidFill>
              </a:rPr>
              <a:t>Longs - Asset sale opportunity scan</a:t>
            </a:r>
          </a:p>
        </p:txBody>
      </p:sp>
      <p:sp>
        <p:nvSpPr>
          <p:cNvPr id="53" name="Pentagon 52"/>
          <p:cNvSpPr>
            <a:spLocks/>
          </p:cNvSpPr>
          <p:nvPr/>
        </p:nvSpPr>
        <p:spPr>
          <a:xfrm>
            <a:off x="2945903" y="1899115"/>
            <a:ext cx="191745" cy="627963"/>
          </a:xfrm>
          <a:prstGeom prst="homePlate">
            <a:avLst>
              <a:gd name="adj" fmla="val 60000"/>
            </a:avLst>
          </a:prstGeom>
          <a:solidFill>
            <a:schemeClr val="accent2"/>
          </a:solidFill>
          <a:ln w="9525">
            <a:solidFill>
              <a:schemeClr val="bg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solidFill>
                <a:srgbClr val="000000"/>
              </a:solidFill>
            </a:endParaRPr>
          </a:p>
        </p:txBody>
      </p:sp>
      <p:sp>
        <p:nvSpPr>
          <p:cNvPr id="54" name="Rectangle 53"/>
          <p:cNvSpPr/>
          <p:nvPr/>
        </p:nvSpPr>
        <p:spPr>
          <a:xfrm>
            <a:off x="2921361" y="1904105"/>
            <a:ext cx="45266" cy="618450"/>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solidFill>
                <a:srgbClr val="000000"/>
              </a:solidFill>
            </a:endParaRPr>
          </a:p>
        </p:txBody>
      </p:sp>
      <p:sp>
        <p:nvSpPr>
          <p:cNvPr id="55" name="Rectangle 15"/>
          <p:cNvSpPr txBox="1"/>
          <p:nvPr/>
        </p:nvSpPr>
        <p:spPr>
          <a:xfrm>
            <a:off x="215917" y="1637551"/>
            <a:ext cx="1936746" cy="18466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lvl1pPr marL="0" lvl="0" indent="0" defTabSz="913429" eaLnBrk="1" hangingPunct="1">
              <a:buClr>
                <a:schemeClr val="tx2"/>
              </a:buClr>
              <a:defRPr baseline="0">
                <a:latin typeface="+mn-lt"/>
              </a:defRPr>
            </a:lvl1pPr>
            <a:lvl2pPr marL="197586" lvl="1" indent="-195966" defTabSz="913429" eaLnBrk="1" hangingPunct="1">
              <a:buClr>
                <a:schemeClr val="tx2"/>
              </a:buClr>
              <a:buSzPct val="125000"/>
              <a:buFont typeface="Arial"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20000"/>
              <a:buFont typeface="Arial"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r>
              <a:rPr lang="en-US" sz="1200" b="1" dirty="0">
                <a:solidFill>
                  <a:schemeClr val="accent3"/>
                </a:solidFill>
              </a:rPr>
              <a:t>Episode 1 – Longs</a:t>
            </a:r>
          </a:p>
        </p:txBody>
      </p:sp>
      <p:sp>
        <p:nvSpPr>
          <p:cNvPr id="56" name="Rectangle 15"/>
          <p:cNvSpPr txBox="1"/>
          <p:nvPr/>
        </p:nvSpPr>
        <p:spPr>
          <a:xfrm>
            <a:off x="371419" y="1936098"/>
            <a:ext cx="847507" cy="55399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lvl1pPr marL="0" lvl="0" indent="0" defTabSz="913429" eaLnBrk="1" hangingPunct="1">
              <a:buClr>
                <a:schemeClr val="tx2"/>
              </a:buClr>
              <a:defRPr baseline="0">
                <a:latin typeface="+mn-lt"/>
              </a:defRPr>
            </a:lvl1pPr>
            <a:lvl2pPr marL="197586" lvl="1" indent="-195966" defTabSz="913429" eaLnBrk="1" hangingPunct="1">
              <a:buClr>
                <a:schemeClr val="tx2"/>
              </a:buClr>
              <a:buSzPct val="125000"/>
              <a:buFont typeface="Arial"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20000"/>
              <a:buFont typeface="Arial"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pPr>
              <a:buClr>
                <a:srgbClr val="3D7EDC"/>
              </a:buClr>
            </a:pPr>
            <a:r>
              <a:rPr lang="en-US" sz="1200" b="1" dirty="0" err="1">
                <a:solidFill>
                  <a:schemeClr val="bg1"/>
                </a:solidFill>
              </a:rPr>
              <a:t>Indepen</a:t>
            </a:r>
            <a:r>
              <a:rPr lang="en-US" sz="1200" b="1" dirty="0">
                <a:solidFill>
                  <a:schemeClr val="bg1"/>
                </a:solidFill>
              </a:rPr>
              <a:t>-dent diligence</a:t>
            </a:r>
          </a:p>
        </p:txBody>
      </p:sp>
      <p:sp>
        <p:nvSpPr>
          <p:cNvPr id="57" name="Rectangle 15"/>
          <p:cNvSpPr txBox="1"/>
          <p:nvPr/>
        </p:nvSpPr>
        <p:spPr>
          <a:xfrm>
            <a:off x="1305922" y="2028431"/>
            <a:ext cx="1201873" cy="36933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lvl1pPr marL="0" lvl="0" indent="0" defTabSz="913429" eaLnBrk="1" hangingPunct="1">
              <a:buClr>
                <a:schemeClr val="tx2"/>
              </a:buClr>
              <a:defRPr baseline="0">
                <a:latin typeface="+mn-lt"/>
              </a:defRPr>
            </a:lvl1pPr>
            <a:lvl2pPr marL="197586" lvl="1" indent="-195966" defTabSz="913429" eaLnBrk="1" hangingPunct="1">
              <a:buClr>
                <a:schemeClr val="tx2"/>
              </a:buClr>
              <a:buSzPct val="125000"/>
              <a:buFont typeface="Arial"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20000"/>
              <a:buFont typeface="Arial"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pPr>
              <a:buClr>
                <a:srgbClr val="3D7EDC"/>
              </a:buClr>
            </a:pPr>
            <a:r>
              <a:rPr lang="en-US" sz="1200" b="1" dirty="0">
                <a:solidFill>
                  <a:schemeClr val="bg1"/>
                </a:solidFill>
              </a:rPr>
              <a:t>Bottom-up planning </a:t>
            </a:r>
          </a:p>
        </p:txBody>
      </p:sp>
      <p:sp>
        <p:nvSpPr>
          <p:cNvPr id="40" name="Rectangle 39"/>
          <p:cNvSpPr/>
          <p:nvPr/>
        </p:nvSpPr>
        <p:spPr>
          <a:xfrm>
            <a:off x="3735544" y="1846042"/>
            <a:ext cx="56901" cy="1429539"/>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200" dirty="0" err="1">
              <a:solidFill>
                <a:schemeClr val="tx1"/>
              </a:solidFill>
            </a:endParaRPr>
          </a:p>
        </p:txBody>
      </p:sp>
      <p:sp>
        <p:nvSpPr>
          <p:cNvPr id="47" name="Chevron 46"/>
          <p:cNvSpPr/>
          <p:nvPr/>
        </p:nvSpPr>
        <p:spPr>
          <a:xfrm>
            <a:off x="1372940" y="2602820"/>
            <a:ext cx="1596407" cy="627963"/>
          </a:xfrm>
          <a:prstGeom prst="chevron">
            <a:avLst>
              <a:gd name="adj" fmla="val 18199"/>
            </a:avLst>
          </a:prstGeom>
          <a:solidFill>
            <a:schemeClr val="accent2"/>
          </a:solidFill>
          <a:ln w="9525">
            <a:solidFill>
              <a:schemeClr val="bg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solidFill>
                <a:srgbClr val="FFFFFF"/>
              </a:solidFill>
            </a:endParaRPr>
          </a:p>
        </p:txBody>
      </p:sp>
      <p:sp>
        <p:nvSpPr>
          <p:cNvPr id="48" name="Rectangle 15"/>
          <p:cNvSpPr txBox="1"/>
          <p:nvPr/>
        </p:nvSpPr>
        <p:spPr>
          <a:xfrm>
            <a:off x="1635488" y="2732136"/>
            <a:ext cx="1135868" cy="36933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lvl1pPr marL="0" lvl="0" indent="0" defTabSz="913429" eaLnBrk="1" hangingPunct="1">
              <a:buClr>
                <a:schemeClr val="tx2"/>
              </a:buClr>
              <a:defRPr baseline="0">
                <a:latin typeface="+mn-lt"/>
              </a:defRPr>
            </a:lvl1pPr>
            <a:lvl2pPr marL="197586" lvl="1" indent="-195966" defTabSz="913429" eaLnBrk="1" hangingPunct="1">
              <a:buClr>
                <a:schemeClr val="tx2"/>
              </a:buClr>
              <a:buSzPct val="125000"/>
              <a:buFont typeface="Arial"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20000"/>
              <a:buFont typeface="Arial"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pPr>
              <a:buClr>
                <a:srgbClr val="3D7EDC"/>
              </a:buClr>
            </a:pPr>
            <a:r>
              <a:rPr lang="en-US" sz="1200" b="1" dirty="0">
                <a:solidFill>
                  <a:schemeClr val="bg1"/>
                </a:solidFill>
              </a:rPr>
              <a:t>Capture of</a:t>
            </a:r>
          </a:p>
          <a:p>
            <a:pPr>
              <a:buClr>
                <a:srgbClr val="3D7EDC"/>
              </a:buClr>
            </a:pPr>
            <a:r>
              <a:rPr lang="en-US" sz="1200" b="1" dirty="0">
                <a:solidFill>
                  <a:schemeClr val="bg1"/>
                </a:solidFill>
              </a:rPr>
              <a:t>quick wins</a:t>
            </a:r>
          </a:p>
        </p:txBody>
      </p:sp>
      <p:sp>
        <p:nvSpPr>
          <p:cNvPr id="49" name="Chevron 48"/>
          <p:cNvSpPr/>
          <p:nvPr/>
        </p:nvSpPr>
        <p:spPr>
          <a:xfrm>
            <a:off x="2811676" y="2602820"/>
            <a:ext cx="1581649" cy="627963"/>
          </a:xfrm>
          <a:prstGeom prst="chevron">
            <a:avLst>
              <a:gd name="adj" fmla="val 18199"/>
            </a:avLst>
          </a:prstGeom>
          <a:solidFill>
            <a:schemeClr val="accent2"/>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solidFill>
                <a:srgbClr val="FFFFFF"/>
              </a:solidFill>
            </a:endParaRPr>
          </a:p>
        </p:txBody>
      </p:sp>
      <p:sp>
        <p:nvSpPr>
          <p:cNvPr id="51" name="Rectangle 50"/>
          <p:cNvSpPr/>
          <p:nvPr/>
        </p:nvSpPr>
        <p:spPr>
          <a:xfrm>
            <a:off x="3738264" y="2606710"/>
            <a:ext cx="58091" cy="618450"/>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solidFill>
                <a:srgbClr val="000000"/>
              </a:solidFill>
            </a:endParaRPr>
          </a:p>
        </p:txBody>
      </p:sp>
      <p:sp>
        <p:nvSpPr>
          <p:cNvPr id="52" name="Rectangle 15"/>
          <p:cNvSpPr txBox="1"/>
          <p:nvPr/>
        </p:nvSpPr>
        <p:spPr>
          <a:xfrm>
            <a:off x="3022951" y="2732136"/>
            <a:ext cx="1208864" cy="369332"/>
          </a:xfrm>
          <a:prstGeom prst="rect">
            <a:avLst/>
          </a:prstGeom>
          <a:solidFill>
            <a:schemeClr val="accent2"/>
          </a:solidFill>
          <a:ln w="9525">
            <a:noFill/>
            <a:miter lim="800000"/>
            <a:headEnd/>
            <a:tailEnd/>
          </a:ln>
          <a:effectLst/>
          <a:extLst/>
        </p:spPr>
        <p:txBody>
          <a:bodyPr vert="horz" wrap="square" lIns="0" tIns="0" rIns="0" bIns="0" numCol="1" anchor="ctr" anchorCtr="0" compatLnSpc="1">
            <a:prstTxWarp prst="textNoShape">
              <a:avLst/>
            </a:prstTxWarp>
            <a:spAutoFit/>
          </a:bodyPr>
          <a:lstStyle>
            <a:lvl1pPr marL="0" lvl="0" indent="0" defTabSz="913429" eaLnBrk="1" hangingPunct="1">
              <a:buClr>
                <a:schemeClr val="tx2"/>
              </a:buClr>
              <a:defRPr baseline="0">
                <a:latin typeface="+mn-lt"/>
              </a:defRPr>
            </a:lvl1pPr>
            <a:lvl2pPr marL="197586" lvl="1" indent="-195966" defTabSz="913429" eaLnBrk="1" hangingPunct="1">
              <a:buClr>
                <a:schemeClr val="tx2"/>
              </a:buClr>
              <a:buSzPct val="125000"/>
              <a:buFont typeface="Arial"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20000"/>
              <a:buFont typeface="Arial"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pPr>
              <a:buClr>
                <a:srgbClr val="3D7EDC"/>
              </a:buClr>
            </a:pPr>
            <a:r>
              <a:rPr lang="en-US" sz="1200" b="1" dirty="0">
                <a:solidFill>
                  <a:schemeClr val="bg1"/>
                </a:solidFill>
              </a:rPr>
              <a:t>Turnaround</a:t>
            </a:r>
          </a:p>
          <a:p>
            <a:pPr>
              <a:buClr>
                <a:srgbClr val="3D7EDC"/>
              </a:buClr>
            </a:pPr>
            <a:r>
              <a:rPr lang="en-US" sz="1200" b="1" dirty="0">
                <a:solidFill>
                  <a:schemeClr val="bg1"/>
                </a:solidFill>
              </a:rPr>
              <a:t>Implementation</a:t>
            </a:r>
          </a:p>
        </p:txBody>
      </p:sp>
      <p:grpSp>
        <p:nvGrpSpPr>
          <p:cNvPr id="66" name="Group 65"/>
          <p:cNvGrpSpPr/>
          <p:nvPr/>
        </p:nvGrpSpPr>
        <p:grpSpPr>
          <a:xfrm>
            <a:off x="6438063" y="1848432"/>
            <a:ext cx="2094367" cy="1128489"/>
            <a:chOff x="6628279" y="1830198"/>
            <a:chExt cx="1504314" cy="1246377"/>
          </a:xfrm>
        </p:grpSpPr>
        <p:sp>
          <p:nvSpPr>
            <p:cNvPr id="61" name="Rectangle 60"/>
            <p:cNvSpPr/>
            <p:nvPr/>
          </p:nvSpPr>
          <p:spPr bwMode="auto">
            <a:xfrm>
              <a:off x="6628279" y="1830198"/>
              <a:ext cx="1504314" cy="1246377"/>
            </a:xfrm>
            <a:prstGeom prst="rect">
              <a:avLst/>
            </a:prstGeom>
            <a:solidFill>
              <a:schemeClr val="accent1">
                <a:lumMod val="20000"/>
                <a:lumOff val="80000"/>
              </a:schemeClr>
            </a:solidFill>
            <a:ln>
              <a:noFill/>
            </a:ln>
            <a:effectLst/>
            <a:extLst/>
          </p:spPr>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algn="ctr"/>
              <a:r>
                <a:rPr lang="en-US" sz="1200" b="1" noProof="0" dirty="0">
                  <a:solidFill>
                    <a:schemeClr val="accent3"/>
                  </a:solidFill>
                  <a:latin typeface="+mn-lt"/>
                  <a:cs typeface="Arial" pitchFamily="34" charset="0"/>
                </a:rPr>
                <a:t>FY-17: approx. actuals</a:t>
              </a:r>
              <a:endParaRPr lang="en-GB" sz="1200" b="1" noProof="0" dirty="0">
                <a:solidFill>
                  <a:schemeClr val="accent3"/>
                </a:solidFill>
                <a:latin typeface="+mn-lt"/>
                <a:cs typeface="Arial" pitchFamily="34" charset="0"/>
              </a:endParaRPr>
            </a:p>
          </p:txBody>
        </p:sp>
        <p:sp>
          <p:nvSpPr>
            <p:cNvPr id="62" name="Rectangle 15"/>
            <p:cNvSpPr txBox="1"/>
            <p:nvPr/>
          </p:nvSpPr>
          <p:spPr>
            <a:xfrm>
              <a:off x="6700241" y="2390360"/>
              <a:ext cx="1003693" cy="203957"/>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lvl1pPr marL="0" lvl="0" indent="0" defTabSz="913429" eaLnBrk="1" hangingPunct="1">
                <a:buClr>
                  <a:schemeClr val="tx2"/>
                </a:buClr>
                <a:defRPr baseline="0">
                  <a:latin typeface="+mn-lt"/>
                </a:defRPr>
              </a:lvl1pPr>
              <a:lvl2pPr marL="197586" lvl="1" indent="-195966" defTabSz="913429" eaLnBrk="1" hangingPunct="1">
                <a:buClr>
                  <a:schemeClr val="tx2"/>
                </a:buClr>
                <a:buSzPct val="125000"/>
                <a:buFont typeface="Arial"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20000"/>
                <a:buFont typeface="Arial"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r>
                <a:rPr lang="en-US" sz="1200" b="1" dirty="0">
                  <a:solidFill>
                    <a:schemeClr val="accent3"/>
                  </a:solidFill>
                </a:rPr>
                <a:t>Longs</a:t>
              </a:r>
            </a:p>
          </p:txBody>
        </p:sp>
        <p:sp>
          <p:nvSpPr>
            <p:cNvPr id="63" name="Rectangle 15"/>
            <p:cNvSpPr txBox="1"/>
            <p:nvPr/>
          </p:nvSpPr>
          <p:spPr>
            <a:xfrm>
              <a:off x="7005368" y="2390360"/>
              <a:ext cx="1003693" cy="203957"/>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lvl1pPr marL="0" lvl="0" indent="0" defTabSz="913429" eaLnBrk="1" hangingPunct="1">
                <a:buClr>
                  <a:schemeClr val="tx2"/>
                </a:buClr>
                <a:defRPr baseline="0">
                  <a:latin typeface="+mn-lt"/>
                </a:defRPr>
              </a:lvl1pPr>
              <a:lvl2pPr marL="197586" lvl="1" indent="-195966" defTabSz="913429" eaLnBrk="1" hangingPunct="1">
                <a:buClr>
                  <a:schemeClr val="tx2"/>
                </a:buClr>
                <a:buSzPct val="125000"/>
                <a:buFont typeface="Arial"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20000"/>
                <a:buFont typeface="Arial"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pPr algn="r"/>
              <a:r>
                <a:rPr lang="en-US" sz="1200" b="1" dirty="0">
                  <a:solidFill>
                    <a:schemeClr val="accent3"/>
                  </a:solidFill>
                </a:rPr>
                <a:t>£100 M</a:t>
              </a:r>
            </a:p>
          </p:txBody>
        </p:sp>
        <p:sp>
          <p:nvSpPr>
            <p:cNvPr id="64" name="Rectangle 15"/>
            <p:cNvSpPr txBox="1"/>
            <p:nvPr/>
          </p:nvSpPr>
          <p:spPr>
            <a:xfrm>
              <a:off x="6700241" y="2692918"/>
              <a:ext cx="1003693" cy="203957"/>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lvl1pPr marL="0" lvl="0" indent="0" defTabSz="913429" eaLnBrk="1" hangingPunct="1">
                <a:buClr>
                  <a:schemeClr val="tx2"/>
                </a:buClr>
                <a:defRPr baseline="0">
                  <a:latin typeface="+mn-lt"/>
                </a:defRPr>
              </a:lvl1pPr>
              <a:lvl2pPr marL="197586" lvl="1" indent="-195966" defTabSz="913429" eaLnBrk="1" hangingPunct="1">
                <a:buClr>
                  <a:schemeClr val="tx2"/>
                </a:buClr>
                <a:buSzPct val="125000"/>
                <a:buFont typeface="Arial"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20000"/>
                <a:buFont typeface="Arial"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r>
                <a:rPr lang="en-US" sz="1200" b="1" dirty="0">
                  <a:solidFill>
                    <a:schemeClr val="accent3"/>
                  </a:solidFill>
                </a:rPr>
                <a:t>Strip</a:t>
              </a:r>
            </a:p>
          </p:txBody>
        </p:sp>
        <p:sp>
          <p:nvSpPr>
            <p:cNvPr id="65" name="Rectangle 15"/>
            <p:cNvSpPr txBox="1"/>
            <p:nvPr/>
          </p:nvSpPr>
          <p:spPr>
            <a:xfrm>
              <a:off x="7072043" y="2692918"/>
              <a:ext cx="1003693" cy="203957"/>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lvl1pPr marL="0" lvl="0" indent="0" defTabSz="913429" eaLnBrk="1" hangingPunct="1">
                <a:buClr>
                  <a:schemeClr val="tx2"/>
                </a:buClr>
                <a:defRPr baseline="0">
                  <a:latin typeface="+mn-lt"/>
                </a:defRPr>
              </a:lvl1pPr>
              <a:lvl2pPr marL="197586" lvl="1" indent="-195966" defTabSz="913429" eaLnBrk="1" hangingPunct="1">
                <a:buClr>
                  <a:schemeClr val="tx2"/>
                </a:buClr>
                <a:buSzPct val="125000"/>
                <a:buFont typeface="Arial"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20000"/>
                <a:buFont typeface="Arial"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pPr algn="r"/>
              <a:r>
                <a:rPr lang="en-US" sz="1200" b="1" dirty="0">
                  <a:solidFill>
                    <a:schemeClr val="accent3"/>
                  </a:solidFill>
                </a:rPr>
                <a:t>£100 M</a:t>
              </a:r>
              <a:r>
                <a:rPr lang="en-US" sz="1200" b="1" baseline="30000" dirty="0">
                  <a:solidFill>
                    <a:schemeClr val="accent3"/>
                  </a:solidFill>
                </a:rPr>
                <a:t>1</a:t>
              </a:r>
            </a:p>
          </p:txBody>
        </p:sp>
      </p:grpSp>
      <p:sp>
        <p:nvSpPr>
          <p:cNvPr id="69" name="Oval 68"/>
          <p:cNvSpPr/>
          <p:nvPr/>
        </p:nvSpPr>
        <p:spPr bwMode="auto">
          <a:xfrm>
            <a:off x="592223" y="3797130"/>
            <a:ext cx="925395" cy="418580"/>
          </a:xfrm>
          <a:prstGeom prst="ellipse">
            <a:avLst/>
          </a:prstGeom>
          <a:solidFill>
            <a:schemeClr val="accent3"/>
          </a:solidFill>
          <a:ln>
            <a:noFill/>
          </a:ln>
          <a:effectLst/>
          <a:ex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1200" b="1" noProof="0" dirty="0">
                <a:solidFill>
                  <a:schemeClr val="bg1"/>
                </a:solidFill>
                <a:latin typeface="+mn-lt"/>
                <a:cs typeface="Arial" pitchFamily="34" charset="0"/>
              </a:rPr>
              <a:t>-100</a:t>
            </a:r>
            <a:endParaRPr lang="en-GB" sz="1200" b="1" noProof="0" dirty="0">
              <a:solidFill>
                <a:schemeClr val="bg1"/>
              </a:solidFill>
              <a:latin typeface="+mn-lt"/>
              <a:cs typeface="Arial" pitchFamily="34" charset="0"/>
            </a:endParaRPr>
          </a:p>
        </p:txBody>
      </p:sp>
      <p:sp>
        <p:nvSpPr>
          <p:cNvPr id="70" name="Oval 69"/>
          <p:cNvSpPr/>
          <p:nvPr/>
        </p:nvSpPr>
        <p:spPr bwMode="auto">
          <a:xfrm>
            <a:off x="1752084" y="3797130"/>
            <a:ext cx="925395" cy="418580"/>
          </a:xfrm>
          <a:prstGeom prst="ellipse">
            <a:avLst/>
          </a:prstGeom>
          <a:solidFill>
            <a:schemeClr val="accent4"/>
          </a:solidFill>
          <a:ln>
            <a:solidFill>
              <a:schemeClr val="bg1"/>
            </a:solidFill>
          </a:ln>
          <a:effectLst/>
          <a:ex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1200" b="1" dirty="0">
                <a:solidFill>
                  <a:schemeClr val="bg1"/>
                </a:solidFill>
                <a:latin typeface="+mn-lt"/>
                <a:cs typeface="Arial" pitchFamily="34" charset="0"/>
              </a:rPr>
              <a:t>+170-200</a:t>
            </a:r>
            <a:endParaRPr lang="en-GB" sz="1200" b="1" dirty="0">
              <a:solidFill>
                <a:schemeClr val="bg1"/>
              </a:solidFill>
              <a:latin typeface="+mn-lt"/>
              <a:cs typeface="Arial" pitchFamily="34" charset="0"/>
            </a:endParaRPr>
          </a:p>
        </p:txBody>
      </p:sp>
      <p:sp>
        <p:nvSpPr>
          <p:cNvPr id="71" name="Oval 70"/>
          <p:cNvSpPr/>
          <p:nvPr/>
        </p:nvSpPr>
        <p:spPr bwMode="auto">
          <a:xfrm>
            <a:off x="3667497" y="5491225"/>
            <a:ext cx="925395" cy="418580"/>
          </a:xfrm>
          <a:prstGeom prst="ellipse">
            <a:avLst/>
          </a:prstGeom>
          <a:solidFill>
            <a:schemeClr val="accent3"/>
          </a:solidFill>
          <a:ln>
            <a:noFill/>
          </a:ln>
          <a:effectLst/>
          <a:ex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1200" b="1" noProof="0" dirty="0">
                <a:solidFill>
                  <a:schemeClr val="bg1"/>
                </a:solidFill>
                <a:latin typeface="+mn-lt"/>
                <a:cs typeface="Arial" pitchFamily="34" charset="0"/>
              </a:rPr>
              <a:t>-210</a:t>
            </a:r>
            <a:endParaRPr lang="en-GB" sz="1200" b="1" noProof="0" dirty="0">
              <a:solidFill>
                <a:schemeClr val="bg1"/>
              </a:solidFill>
              <a:latin typeface="+mn-lt"/>
              <a:cs typeface="Arial" pitchFamily="34" charset="0"/>
            </a:endParaRPr>
          </a:p>
        </p:txBody>
      </p:sp>
      <p:sp>
        <p:nvSpPr>
          <p:cNvPr id="72" name="Oval 71"/>
          <p:cNvSpPr/>
          <p:nvPr/>
        </p:nvSpPr>
        <p:spPr bwMode="auto">
          <a:xfrm>
            <a:off x="4868548" y="5491225"/>
            <a:ext cx="925395" cy="418580"/>
          </a:xfrm>
          <a:prstGeom prst="ellipse">
            <a:avLst/>
          </a:prstGeom>
          <a:solidFill>
            <a:schemeClr val="accent4"/>
          </a:solidFill>
          <a:ln>
            <a:solidFill>
              <a:schemeClr val="bg1"/>
            </a:solidFill>
          </a:ln>
          <a:effectLst/>
          <a:ex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1200" b="1" dirty="0">
                <a:solidFill>
                  <a:schemeClr val="bg1"/>
                </a:solidFill>
                <a:latin typeface="+mn-lt"/>
                <a:cs typeface="Arial" pitchFamily="34" charset="0"/>
              </a:rPr>
              <a:t>+360</a:t>
            </a:r>
            <a:endParaRPr lang="en-GB" sz="1200" b="1" dirty="0">
              <a:solidFill>
                <a:schemeClr val="bg1"/>
              </a:solidFill>
              <a:latin typeface="+mn-lt"/>
              <a:cs typeface="Arial" pitchFamily="34" charset="0"/>
            </a:endParaRPr>
          </a:p>
        </p:txBody>
      </p:sp>
      <p:sp>
        <p:nvSpPr>
          <p:cNvPr id="73" name="Rectangle 15"/>
          <p:cNvSpPr txBox="1"/>
          <p:nvPr/>
        </p:nvSpPr>
        <p:spPr>
          <a:xfrm>
            <a:off x="7240655" y="5654384"/>
            <a:ext cx="1059445" cy="18466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lvl1pPr marL="0" lvl="0" indent="0" defTabSz="913429" eaLnBrk="1" hangingPunct="1">
              <a:buClr>
                <a:schemeClr val="tx2"/>
              </a:buClr>
              <a:defRPr baseline="0">
                <a:latin typeface="+mn-lt"/>
              </a:defRPr>
            </a:lvl1pPr>
            <a:lvl2pPr marL="197586" lvl="1" indent="-195966" defTabSz="913429" eaLnBrk="1" hangingPunct="1">
              <a:buClr>
                <a:schemeClr val="tx2"/>
              </a:buClr>
              <a:buSzPct val="125000"/>
              <a:buFont typeface="Arial"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20000"/>
              <a:buFont typeface="Arial"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r>
              <a:rPr lang="en-US" sz="1200" b="1" dirty="0">
                <a:solidFill>
                  <a:schemeClr val="accent3"/>
                </a:solidFill>
              </a:rPr>
              <a:t>Episode 3 – </a:t>
            </a:r>
            <a:r>
              <a:rPr lang="en-US" sz="1200" b="1" dirty="0" err="1">
                <a:solidFill>
                  <a:schemeClr val="accent3"/>
                </a:solidFill>
              </a:rPr>
              <a:t>IJ</a:t>
            </a:r>
            <a:endParaRPr lang="en-US" sz="1200" b="1" dirty="0">
              <a:solidFill>
                <a:schemeClr val="accent3"/>
              </a:solidFill>
            </a:endParaRPr>
          </a:p>
        </p:txBody>
      </p:sp>
      <p:grpSp>
        <p:nvGrpSpPr>
          <p:cNvPr id="50" name="Group 49">
            <a:extLst>
              <a:ext uri="{FF2B5EF4-FFF2-40B4-BE49-F238E27FC236}">
                <a16:creationId xmlns:a16="http://schemas.microsoft.com/office/drawing/2014/main" id="{C0FF73FE-0F88-4A95-AF2E-3C2F642B0996}"/>
              </a:ext>
            </a:extLst>
          </p:cNvPr>
          <p:cNvGrpSpPr/>
          <p:nvPr/>
        </p:nvGrpSpPr>
        <p:grpSpPr>
          <a:xfrm>
            <a:off x="5996237" y="711764"/>
            <a:ext cx="2741363" cy="197598"/>
            <a:chOff x="7182474" y="-1152355"/>
            <a:chExt cx="2741363" cy="197598"/>
          </a:xfrm>
        </p:grpSpPr>
        <p:sp>
          <p:nvSpPr>
            <p:cNvPr id="76" name="RectangleLegend1"/>
            <p:cNvSpPr>
              <a:spLocks noChangeArrowheads="1"/>
            </p:cNvSpPr>
            <p:nvPr/>
          </p:nvSpPr>
          <p:spPr bwMode="auto">
            <a:xfrm>
              <a:off x="7182474" y="-1152355"/>
              <a:ext cx="318065" cy="197598"/>
            </a:xfrm>
            <a:prstGeom prst="ellipse">
              <a:avLst/>
            </a:prstGeom>
            <a:solidFill>
              <a:schemeClr val="accent3"/>
            </a:solidFill>
            <a:ln>
              <a:noFill/>
            </a:ln>
            <a:effectLst/>
            <a:ex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1000" b="1" dirty="0">
                  <a:solidFill>
                    <a:schemeClr val="bg1"/>
                  </a:solidFill>
                  <a:latin typeface="+mn-lt"/>
                  <a:cs typeface="Arial" pitchFamily="34" charset="0"/>
                </a:rPr>
                <a:t>xx</a:t>
              </a:r>
            </a:p>
          </p:txBody>
        </p:sp>
        <p:sp>
          <p:nvSpPr>
            <p:cNvPr id="80" name="Legend1"/>
            <p:cNvSpPr>
              <a:spLocks noChangeArrowheads="1"/>
            </p:cNvSpPr>
            <p:nvPr>
              <p:custDataLst>
                <p:tags r:id="rId12"/>
              </p:custDataLst>
            </p:nvPr>
          </p:nvSpPr>
          <p:spPr bwMode="auto">
            <a:xfrm>
              <a:off x="7589439" y="-1130500"/>
              <a:ext cx="730969"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000" dirty="0">
                  <a:latin typeface="+mn-lt"/>
                </a:rPr>
                <a:t>Performance</a:t>
              </a:r>
            </a:p>
          </p:txBody>
        </p:sp>
        <p:grpSp>
          <p:nvGrpSpPr>
            <p:cNvPr id="44" name="Group 43">
              <a:extLst>
                <a:ext uri="{FF2B5EF4-FFF2-40B4-BE49-F238E27FC236}">
                  <a16:creationId xmlns:a16="http://schemas.microsoft.com/office/drawing/2014/main" id="{86309305-159E-4DCD-9E50-CBC37E8B2A50}"/>
                </a:ext>
              </a:extLst>
            </p:cNvPr>
            <p:cNvGrpSpPr/>
            <p:nvPr/>
          </p:nvGrpSpPr>
          <p:grpSpPr>
            <a:xfrm>
              <a:off x="8582321" y="-1152355"/>
              <a:ext cx="1341516" cy="197598"/>
              <a:chOff x="7182474" y="-890732"/>
              <a:chExt cx="1341516" cy="197598"/>
            </a:xfrm>
          </p:grpSpPr>
          <p:sp>
            <p:nvSpPr>
              <p:cNvPr id="77" name="RectangleLegend2"/>
              <p:cNvSpPr>
                <a:spLocks noChangeArrowheads="1"/>
              </p:cNvSpPr>
              <p:nvPr/>
            </p:nvSpPr>
            <p:spPr bwMode="auto">
              <a:xfrm>
                <a:off x="7182474" y="-890732"/>
                <a:ext cx="318065" cy="197598"/>
              </a:xfrm>
              <a:prstGeom prst="ellipse">
                <a:avLst/>
              </a:prstGeom>
              <a:solidFill>
                <a:schemeClr val="accent4"/>
              </a:solidFill>
              <a:ln>
                <a:solidFill>
                  <a:schemeClr val="bg1"/>
                </a:solidFill>
              </a:ln>
              <a:effectLst/>
              <a:ex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1000" b="1" dirty="0">
                    <a:solidFill>
                      <a:schemeClr val="bg1"/>
                    </a:solidFill>
                    <a:latin typeface="+mn-lt"/>
                    <a:cs typeface="Arial" pitchFamily="34" charset="0"/>
                  </a:rPr>
                  <a:t>xx</a:t>
                </a:r>
              </a:p>
            </p:txBody>
          </p:sp>
          <p:sp>
            <p:nvSpPr>
              <p:cNvPr id="81" name="Legend2"/>
              <p:cNvSpPr>
                <a:spLocks noChangeArrowheads="1"/>
              </p:cNvSpPr>
              <p:nvPr>
                <p:custDataLst>
                  <p:tags r:id="rId13"/>
                </p:custDataLst>
              </p:nvPr>
            </p:nvSpPr>
            <p:spPr bwMode="auto">
              <a:xfrm>
                <a:off x="7589439" y="-868877"/>
                <a:ext cx="934551"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000" dirty="0">
                    <a:latin typeface="+mn-lt"/>
                  </a:rPr>
                  <a:t>Turnaround plan</a:t>
                </a:r>
              </a:p>
            </p:txBody>
          </p:sp>
        </p:grpSp>
      </p:grpSp>
      <p:sp>
        <p:nvSpPr>
          <p:cNvPr id="78" name="Title Tracker Circle">
            <a:extLst>
              <a:ext uri="{FF2B5EF4-FFF2-40B4-BE49-F238E27FC236}">
                <a16:creationId xmlns:a16="http://schemas.microsoft.com/office/drawing/2014/main" id="{9A36CFAB-BAF6-453E-BEF0-BC6EB3B26799}"/>
              </a:ext>
            </a:extLst>
          </p:cNvPr>
          <p:cNvSpPr/>
          <p:nvPr/>
        </p:nvSpPr>
        <p:spPr>
          <a:xfrm>
            <a:off x="119063" y="166736"/>
            <a:ext cx="418798" cy="418798"/>
          </a:xfrm>
          <a:prstGeom prst="ellipse">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p>
            <a:pPr algn="ctr"/>
            <a:r>
              <a:rPr lang="en-US" sz="2000" dirty="0">
                <a:solidFill>
                  <a:schemeClr val="tx2"/>
                </a:solidFill>
                <a:latin typeface="+mj-lt"/>
              </a:rPr>
              <a:t>4</a:t>
            </a:r>
          </a:p>
        </p:txBody>
      </p:sp>
    </p:spTree>
    <p:extLst>
      <p:ext uri="{BB962C8B-B14F-4D97-AF65-F5344CB8AC3E}">
        <p14:creationId xmlns:p14="http://schemas.microsoft.com/office/powerpoint/2010/main" val="2657751486"/>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5" name="Object 34" hidden="1"/>
          <p:cNvGraphicFramePr>
            <a:graphicFrameLocks noChangeAspect="1"/>
          </p:cNvGraphicFramePr>
          <p:nvPr>
            <p:custDataLst>
              <p:tags r:id="rId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71380" name="think-cell Slide" r:id="rId10" imgW="270" imgH="270" progId="TCLayout.ActiveDocument.1">
                  <p:embed/>
                </p:oleObj>
              </mc:Choice>
              <mc:Fallback>
                <p:oleObj name="think-cell Slide" r:id="rId10" imgW="270" imgH="270" progId="TCLayout.ActiveDocument.1">
                  <p:embed/>
                  <p:pic>
                    <p:nvPicPr>
                      <p:cNvPr id="35" name="Object 34" hidden="1"/>
                      <p:cNvPicPr/>
                      <p:nvPr/>
                    </p:nvPicPr>
                    <p:blipFill>
                      <a:blip r:embed="rId11"/>
                      <a:stretch>
                        <a:fillRect/>
                      </a:stretch>
                    </p:blipFill>
                    <p:spPr>
                      <a:xfrm>
                        <a:off x="0" y="0"/>
                        <a:ext cx="158750" cy="158750"/>
                      </a:xfrm>
                      <a:prstGeom prst="rect">
                        <a:avLst/>
                      </a:prstGeom>
                    </p:spPr>
                  </p:pic>
                </p:oleObj>
              </mc:Fallback>
            </mc:AlternateContent>
          </a:graphicData>
        </a:graphic>
      </p:graphicFrame>
      <p:sp>
        <p:nvSpPr>
          <p:cNvPr id="34" name="Rectangle 33" hidden="1"/>
          <p:cNvSpPr/>
          <p:nvPr>
            <p:custDataLst>
              <p:tags r:id="rId3"/>
            </p:custDataLst>
          </p:nvPr>
        </p:nvSpPr>
        <p:spPr bwMode="gray">
          <a:xfrm>
            <a:off x="0" y="0"/>
            <a:ext cx="158750" cy="158750"/>
          </a:xfrm>
          <a:prstGeom prst="rect">
            <a:avLst/>
          </a:prstGeom>
          <a:solidFill>
            <a:schemeClr val="accent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nchorCtr="0">
            <a:noAutofit/>
          </a:bodyPr>
          <a:lstStyle/>
          <a:p>
            <a:pPr algn="ctr"/>
            <a:endParaRPr lang="en-US" sz="1300" dirty="0" err="1">
              <a:solidFill>
                <a:schemeClr val="tx1"/>
              </a:solidFill>
              <a:latin typeface="Arial"/>
              <a:cs typeface="Arial"/>
              <a:sym typeface="Arial"/>
            </a:endParaRPr>
          </a:p>
        </p:txBody>
      </p:sp>
      <p:sp>
        <p:nvSpPr>
          <p:cNvPr id="2" name="Title 1"/>
          <p:cNvSpPr>
            <a:spLocks noGrp="1"/>
          </p:cNvSpPr>
          <p:nvPr>
            <p:ph type="title"/>
          </p:nvPr>
        </p:nvSpPr>
        <p:spPr bwMode="gray">
          <a:xfrm>
            <a:off x="119063" y="230188"/>
            <a:ext cx="8618537" cy="615553"/>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marL="465138"/>
            <a:r>
              <a:rPr lang="en-US" dirty="0"/>
              <a:t>We have deep experience in transforming functions, including proprietary functional expertise and a deep focus on capability building</a:t>
            </a:r>
          </a:p>
        </p:txBody>
      </p:sp>
      <p:sp>
        <p:nvSpPr>
          <p:cNvPr id="48" name="3. Unit of measure"/>
          <p:cNvSpPr txBox="1">
            <a:spLocks noChangeArrowheads="1"/>
          </p:cNvSpPr>
          <p:nvPr/>
        </p:nvSpPr>
        <p:spPr bwMode="gray">
          <a:xfrm>
            <a:off x="119063" y="866917"/>
            <a:ext cx="8618537"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defPPr>
              <a:defRPr lang="en-US"/>
            </a:defPPr>
            <a:lvl1pPr defTabSz="895350">
              <a:defRPr baseline="0">
                <a:solidFill>
                  <a:schemeClr val="accent6"/>
                </a:solidFill>
                <a:latin typeface="+mn-lt"/>
              </a:defRPr>
            </a:lvl1pPr>
            <a:lvl2pPr marL="447675" defTabSz="895350">
              <a:defRPr sz="2400"/>
            </a:lvl2pPr>
            <a:lvl3pPr marL="895350" defTabSz="895350">
              <a:defRPr sz="2400"/>
            </a:lvl3pPr>
            <a:lvl4pPr marL="1344613" defTabSz="895350">
              <a:defRPr sz="2400"/>
            </a:lvl4pPr>
            <a:lvl5pPr marL="1792288" defTabSz="895350">
              <a:defRPr sz="2400"/>
            </a:lvl5pPr>
            <a:lvl6pPr marL="2249488" defTabSz="895350" fontAlgn="base">
              <a:spcBef>
                <a:spcPct val="0"/>
              </a:spcBef>
              <a:spcAft>
                <a:spcPct val="0"/>
              </a:spcAft>
              <a:defRPr sz="2400"/>
            </a:lvl6pPr>
            <a:lvl7pPr marL="2706688" defTabSz="895350" fontAlgn="base">
              <a:spcBef>
                <a:spcPct val="0"/>
              </a:spcBef>
              <a:spcAft>
                <a:spcPct val="0"/>
              </a:spcAft>
              <a:defRPr sz="2400"/>
            </a:lvl7pPr>
            <a:lvl8pPr marL="3163888" defTabSz="895350" fontAlgn="base">
              <a:spcBef>
                <a:spcPct val="0"/>
              </a:spcBef>
              <a:spcAft>
                <a:spcPct val="0"/>
              </a:spcAft>
              <a:defRPr sz="2400"/>
            </a:lvl8pPr>
            <a:lvl9pPr marL="3621088" defTabSz="895350" fontAlgn="base">
              <a:spcBef>
                <a:spcPct val="0"/>
              </a:spcBef>
              <a:spcAft>
                <a:spcPct val="0"/>
              </a:spcAft>
              <a:defRPr sz="2400"/>
            </a:lvl9pPr>
          </a:lstStyle>
          <a:p>
            <a:pPr marL="465138"/>
            <a:r>
              <a:rPr lang="en-US" dirty="0"/>
              <a:t>Selected examples of client support</a:t>
            </a:r>
          </a:p>
        </p:txBody>
      </p:sp>
      <p:sp>
        <p:nvSpPr>
          <p:cNvPr id="51" name="Rectangle 13"/>
          <p:cNvSpPr txBox="1">
            <a:spLocks/>
          </p:cNvSpPr>
          <p:nvPr>
            <p:custDataLst>
              <p:tags r:id="rId4"/>
            </p:custDataLst>
          </p:nvPr>
        </p:nvSpPr>
        <p:spPr>
          <a:xfrm>
            <a:off x="171451" y="1302670"/>
            <a:ext cx="8618537" cy="5015356"/>
          </a:xfrm>
          <a:prstGeom prst="rect">
            <a:avLst/>
          </a:prstGeom>
          <a:solidFill>
            <a:schemeClr val="bg1"/>
          </a:solidFill>
          <a:ln w="19050">
            <a:solidFill>
              <a:schemeClr val="accent1"/>
            </a:solidFill>
            <a:miter lim="800000"/>
            <a:headEnd/>
            <a:tailEnd/>
          </a:ln>
          <a:effectLst>
            <a:outerShdw blurRad="50800" dist="38100" dir="2700000" algn="tl" rotWithShape="0">
              <a:prstClr val="black">
                <a:alpha val="40000"/>
              </a:prstClr>
            </a:outerShdw>
          </a:effectLst>
          <a:extLst/>
        </p:spPr>
        <p:txBody>
          <a:bodyPr wrap="square" lIns="73152" tIns="73152" rIns="73152" bIns="73152" anchor="ctr" anchorCtr="0">
            <a:noAutofit/>
          </a:bodyPr>
          <a:lstStyle>
            <a:defPPr>
              <a:defRPr lang="en-US"/>
            </a:defPPr>
            <a:lvl1pPr>
              <a:buClr>
                <a:schemeClr val="tx2"/>
              </a:buClr>
              <a:defRPr sz="1400" b="0">
                <a:solidFill>
                  <a:schemeClr val="bg1"/>
                </a:solidFill>
              </a:defRPr>
            </a:lvl1pPr>
          </a:lstStyle>
          <a:p>
            <a:endParaRPr lang="en-US" altLang="ko-KR" dirty="0"/>
          </a:p>
        </p:txBody>
      </p:sp>
      <p:sp>
        <p:nvSpPr>
          <p:cNvPr id="55" name="Rectangle 13"/>
          <p:cNvSpPr txBox="1">
            <a:spLocks/>
          </p:cNvSpPr>
          <p:nvPr>
            <p:custDataLst>
              <p:tags r:id="rId5"/>
            </p:custDataLst>
          </p:nvPr>
        </p:nvSpPr>
        <p:spPr>
          <a:xfrm>
            <a:off x="266300" y="1377210"/>
            <a:ext cx="813509" cy="2877037"/>
          </a:xfrm>
          <a:prstGeom prst="rect">
            <a:avLst/>
          </a:prstGeom>
          <a:solidFill>
            <a:schemeClr val="accent1"/>
          </a:solidFill>
          <a:ln w="9525">
            <a:noFill/>
            <a:miter lim="800000"/>
            <a:headEnd/>
            <a:tailEnd/>
          </a:ln>
          <a:effectLst/>
          <a:extLst/>
        </p:spPr>
        <p:txBody>
          <a:bodyPr wrap="square" lIns="73152" tIns="73152" rIns="73152" bIns="73152" anchor="ctr" anchorCtr="0">
            <a:noAutofit/>
          </a:bodyPr>
          <a:lstStyle>
            <a:defPPr>
              <a:defRPr lang="en-US"/>
            </a:defPPr>
            <a:lvl1pPr>
              <a:buClr>
                <a:schemeClr val="tx2"/>
              </a:buClr>
              <a:defRPr sz="1500" b="1">
                <a:solidFill>
                  <a:schemeClr val="bg1"/>
                </a:solidFill>
              </a:defRPr>
            </a:lvl1pPr>
          </a:lstStyle>
          <a:p>
            <a:pPr marL="209550"/>
            <a:r>
              <a:rPr lang="en-US" altLang="ko-KR" sz="1200" dirty="0" err="1">
                <a:solidFill>
                  <a:schemeClr val="accent3"/>
                </a:solidFill>
              </a:rPr>
              <a:t>Oper-ations</a:t>
            </a:r>
            <a:endParaRPr lang="en-US" altLang="ko-KR" sz="1200" dirty="0">
              <a:solidFill>
                <a:schemeClr val="accent3"/>
              </a:solidFill>
            </a:endParaRPr>
          </a:p>
        </p:txBody>
      </p:sp>
      <p:sp>
        <p:nvSpPr>
          <p:cNvPr id="53" name="Rectangle 13"/>
          <p:cNvSpPr txBox="1">
            <a:spLocks/>
          </p:cNvSpPr>
          <p:nvPr>
            <p:custDataLst>
              <p:tags r:id="rId6"/>
            </p:custDataLst>
          </p:nvPr>
        </p:nvSpPr>
        <p:spPr>
          <a:xfrm>
            <a:off x="266300" y="5355692"/>
            <a:ext cx="1666949" cy="887795"/>
          </a:xfrm>
          <a:prstGeom prst="rect">
            <a:avLst/>
          </a:prstGeom>
          <a:solidFill>
            <a:schemeClr val="accent1"/>
          </a:solidFill>
          <a:ln w="9525">
            <a:noFill/>
            <a:miter lim="800000"/>
            <a:headEnd/>
            <a:tailEnd/>
          </a:ln>
          <a:effectLst/>
          <a:extLst/>
        </p:spPr>
        <p:txBody>
          <a:bodyPr wrap="square" lIns="73152" tIns="73152" rIns="73152" bIns="73152" anchor="ctr" anchorCtr="0">
            <a:noAutofit/>
          </a:bodyPr>
          <a:lstStyle>
            <a:defPPr>
              <a:defRPr lang="en-US"/>
            </a:defPPr>
            <a:lvl1pPr>
              <a:buClr>
                <a:schemeClr val="tx2"/>
              </a:buClr>
              <a:defRPr sz="1500" b="1">
                <a:solidFill>
                  <a:schemeClr val="bg1"/>
                </a:solidFill>
              </a:defRPr>
            </a:lvl1pPr>
          </a:lstStyle>
          <a:p>
            <a:pPr marL="209550"/>
            <a:r>
              <a:rPr lang="en-US" altLang="ko-KR" sz="1200" dirty="0">
                <a:solidFill>
                  <a:schemeClr val="accent3"/>
                </a:solidFill>
              </a:rPr>
              <a:t>Business / function / shared services design</a:t>
            </a:r>
          </a:p>
        </p:txBody>
      </p:sp>
      <p:sp>
        <p:nvSpPr>
          <p:cNvPr id="38" name="Rectangle 13"/>
          <p:cNvSpPr txBox="1">
            <a:spLocks/>
          </p:cNvSpPr>
          <p:nvPr>
            <p:custDataLst>
              <p:tags r:id="rId7"/>
            </p:custDataLst>
          </p:nvPr>
        </p:nvSpPr>
        <p:spPr>
          <a:xfrm>
            <a:off x="266300" y="4361073"/>
            <a:ext cx="1666949" cy="887795"/>
          </a:xfrm>
          <a:prstGeom prst="rect">
            <a:avLst/>
          </a:prstGeom>
          <a:solidFill>
            <a:schemeClr val="accent1"/>
          </a:solidFill>
          <a:ln w="9525">
            <a:noFill/>
            <a:miter lim="800000"/>
            <a:headEnd/>
            <a:tailEnd/>
          </a:ln>
          <a:effectLst/>
          <a:extLst/>
        </p:spPr>
        <p:txBody>
          <a:bodyPr wrap="square" lIns="73152" tIns="73152" rIns="73152" bIns="73152" anchor="ctr" anchorCtr="0">
            <a:noAutofit/>
          </a:bodyPr>
          <a:lstStyle>
            <a:defPPr>
              <a:defRPr lang="en-US"/>
            </a:defPPr>
            <a:lvl1pPr>
              <a:buClr>
                <a:schemeClr val="tx2"/>
              </a:buClr>
              <a:defRPr sz="1500" b="1">
                <a:solidFill>
                  <a:schemeClr val="bg1"/>
                </a:solidFill>
              </a:defRPr>
            </a:lvl1pPr>
          </a:lstStyle>
          <a:p>
            <a:pPr marL="209550"/>
            <a:r>
              <a:rPr lang="en-US" altLang="ko-KR" sz="1200" dirty="0">
                <a:solidFill>
                  <a:schemeClr val="accent3"/>
                </a:solidFill>
              </a:rPr>
              <a:t>Sales &amp; marketing</a:t>
            </a:r>
          </a:p>
        </p:txBody>
      </p:sp>
      <p:sp>
        <p:nvSpPr>
          <p:cNvPr id="73" name="Rectangle 3"/>
          <p:cNvSpPr txBox="1">
            <a:spLocks/>
          </p:cNvSpPr>
          <p:nvPr/>
        </p:nvSpPr>
        <p:spPr bwMode="gray">
          <a:xfrm>
            <a:off x="1125530" y="2371831"/>
            <a:ext cx="806682" cy="887795"/>
          </a:xfrm>
          <a:prstGeom prst="rect">
            <a:avLst/>
          </a:prstGeom>
          <a:solidFill>
            <a:schemeClr val="accent2"/>
          </a:solidFill>
          <a:ln w="19050">
            <a:noFill/>
            <a:miter lim="800000"/>
            <a:headEnd/>
            <a:tailEnd/>
          </a:ln>
          <a:effectLst/>
          <a:extLst/>
        </p:spPr>
        <p:txBody>
          <a:bodyPr wrap="square" lIns="73152" tIns="73152" rIns="73152" bIns="73152" anchor="ctr" anchorCtr="0">
            <a:noAutofit/>
          </a:bodyPr>
          <a:lstStyle>
            <a:defPPr>
              <a:defRPr lang="en-US"/>
            </a:defPPr>
            <a:lvl1pPr>
              <a:buClr>
                <a:schemeClr val="lt1"/>
              </a:buClr>
              <a:defRPr sz="900" b="1">
                <a:solidFill>
                  <a:schemeClr val="bg1"/>
                </a:solidFill>
                <a:latin typeface="+mn-lt"/>
              </a:defRPr>
            </a:lvl1pPr>
          </a:lstStyle>
          <a:p>
            <a:r>
              <a:rPr lang="en-US" sz="1200" dirty="0"/>
              <a:t>Supply chain</a:t>
            </a:r>
          </a:p>
        </p:txBody>
      </p:sp>
      <p:sp>
        <p:nvSpPr>
          <p:cNvPr id="57" name="Rectangle 3"/>
          <p:cNvSpPr txBox="1">
            <a:spLocks/>
          </p:cNvSpPr>
          <p:nvPr/>
        </p:nvSpPr>
        <p:spPr bwMode="gray">
          <a:xfrm>
            <a:off x="1125530" y="1377210"/>
            <a:ext cx="806682" cy="887795"/>
          </a:xfrm>
          <a:prstGeom prst="rect">
            <a:avLst/>
          </a:prstGeom>
          <a:solidFill>
            <a:schemeClr val="accent2"/>
          </a:solidFill>
          <a:ln w="19050">
            <a:noFill/>
            <a:miter lim="800000"/>
            <a:headEnd/>
            <a:tailEnd/>
          </a:ln>
          <a:effectLst/>
          <a:extLst/>
        </p:spPr>
        <p:txBody>
          <a:bodyPr wrap="square" lIns="73152" tIns="73152" rIns="73152" bIns="73152" anchor="ctr" anchorCtr="0">
            <a:noAutofit/>
          </a:bodyPr>
          <a:lstStyle>
            <a:defPPr>
              <a:defRPr lang="en-US"/>
            </a:defPPr>
            <a:lvl1pPr>
              <a:buClr>
                <a:schemeClr val="lt1"/>
              </a:buClr>
              <a:defRPr sz="900" b="1">
                <a:solidFill>
                  <a:schemeClr val="bg1"/>
                </a:solidFill>
                <a:latin typeface="+mn-lt"/>
              </a:defRPr>
            </a:lvl1pPr>
          </a:lstStyle>
          <a:p>
            <a:r>
              <a:rPr lang="en-US" sz="1200" dirty="0"/>
              <a:t>Manu-</a:t>
            </a:r>
            <a:r>
              <a:rPr lang="en-US" sz="1200" dirty="0" err="1"/>
              <a:t>facturing</a:t>
            </a:r>
            <a:endParaRPr lang="en-US" sz="1200" dirty="0"/>
          </a:p>
        </p:txBody>
      </p:sp>
      <p:sp>
        <p:nvSpPr>
          <p:cNvPr id="54" name="Rectangle 3"/>
          <p:cNvSpPr txBox="1">
            <a:spLocks/>
          </p:cNvSpPr>
          <p:nvPr/>
        </p:nvSpPr>
        <p:spPr bwMode="gray">
          <a:xfrm>
            <a:off x="1125530" y="3366452"/>
            <a:ext cx="806682" cy="887795"/>
          </a:xfrm>
          <a:prstGeom prst="rect">
            <a:avLst/>
          </a:prstGeom>
          <a:solidFill>
            <a:schemeClr val="accent2"/>
          </a:solidFill>
          <a:ln w="19050">
            <a:noFill/>
            <a:miter lim="800000"/>
            <a:headEnd/>
            <a:tailEnd/>
          </a:ln>
          <a:effectLst/>
          <a:extLst/>
        </p:spPr>
        <p:txBody>
          <a:bodyPr wrap="square" lIns="73152" tIns="73152" rIns="73152" bIns="73152" anchor="ctr" anchorCtr="0">
            <a:noAutofit/>
          </a:bodyPr>
          <a:lstStyle>
            <a:defPPr>
              <a:defRPr lang="en-US"/>
            </a:defPPr>
            <a:lvl1pPr>
              <a:buClr>
                <a:schemeClr val="lt1"/>
              </a:buClr>
              <a:defRPr sz="900" b="1">
                <a:solidFill>
                  <a:schemeClr val="bg1"/>
                </a:solidFill>
                <a:latin typeface="+mn-lt"/>
              </a:defRPr>
            </a:lvl1pPr>
          </a:lstStyle>
          <a:p>
            <a:r>
              <a:rPr lang="en-US" sz="1200" dirty="0"/>
              <a:t>Procure-</a:t>
            </a:r>
            <a:r>
              <a:rPr lang="en-US" sz="1200" dirty="0" err="1"/>
              <a:t>ment</a:t>
            </a:r>
            <a:endParaRPr lang="en-US" sz="1200" dirty="0"/>
          </a:p>
        </p:txBody>
      </p:sp>
      <p:sp>
        <p:nvSpPr>
          <p:cNvPr id="40" name="Marvin tracker circle"/>
          <p:cNvSpPr/>
          <p:nvPr/>
        </p:nvSpPr>
        <p:spPr>
          <a:xfrm>
            <a:off x="321785" y="5661090"/>
            <a:ext cx="166712" cy="276999"/>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spAutoFit/>
          </a:bodyPr>
          <a:lstStyle/>
          <a:p>
            <a:pPr algn="ctr"/>
            <a:r>
              <a:rPr lang="en-US" altLang="ko-KR" sz="1800" b="1" dirty="0">
                <a:solidFill>
                  <a:schemeClr val="accent3"/>
                </a:solidFill>
              </a:rPr>
              <a:t>C</a:t>
            </a:r>
          </a:p>
        </p:txBody>
      </p:sp>
      <p:sp>
        <p:nvSpPr>
          <p:cNvPr id="41" name="Marvin tracker circle"/>
          <p:cNvSpPr/>
          <p:nvPr/>
        </p:nvSpPr>
        <p:spPr>
          <a:xfrm>
            <a:off x="321785" y="2677229"/>
            <a:ext cx="166712" cy="276999"/>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spAutoFit/>
          </a:bodyPr>
          <a:lstStyle/>
          <a:p>
            <a:pPr algn="ctr"/>
            <a:r>
              <a:rPr lang="en-US" altLang="ko-KR" sz="1800" b="1" dirty="0">
                <a:solidFill>
                  <a:schemeClr val="accent3"/>
                </a:solidFill>
              </a:rPr>
              <a:t>A</a:t>
            </a:r>
          </a:p>
        </p:txBody>
      </p:sp>
      <p:sp>
        <p:nvSpPr>
          <p:cNvPr id="39" name="Marvin tracker circle"/>
          <p:cNvSpPr/>
          <p:nvPr/>
        </p:nvSpPr>
        <p:spPr>
          <a:xfrm>
            <a:off x="321785" y="4666471"/>
            <a:ext cx="166712" cy="276999"/>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spAutoFit/>
          </a:bodyPr>
          <a:lstStyle/>
          <a:p>
            <a:pPr algn="ctr"/>
            <a:r>
              <a:rPr lang="en-US" altLang="ko-KR" sz="1800" b="1" dirty="0">
                <a:solidFill>
                  <a:schemeClr val="accent3"/>
                </a:solidFill>
              </a:rPr>
              <a:t>B</a:t>
            </a:r>
          </a:p>
        </p:txBody>
      </p:sp>
      <p:cxnSp>
        <p:nvCxnSpPr>
          <p:cNvPr id="84" name="Straight Connector 83"/>
          <p:cNvCxnSpPr>
            <a:cxnSpLocks/>
          </p:cNvCxnSpPr>
          <p:nvPr/>
        </p:nvCxnSpPr>
        <p:spPr bwMode="gray">
          <a:xfrm flipV="1">
            <a:off x="1125530" y="2318418"/>
            <a:ext cx="7569608" cy="0"/>
          </a:xfrm>
          <a:prstGeom prst="line">
            <a:avLst/>
          </a:prstGeom>
          <a:ln w="9525">
            <a:solidFill>
              <a:schemeClr val="accent6"/>
            </a:solidFill>
            <a:prstDash val="sysDot"/>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a:cxnSpLocks/>
          </p:cNvCxnSpPr>
          <p:nvPr/>
        </p:nvCxnSpPr>
        <p:spPr bwMode="gray">
          <a:xfrm>
            <a:off x="1125530" y="3313039"/>
            <a:ext cx="7569608" cy="0"/>
          </a:xfrm>
          <a:prstGeom prst="line">
            <a:avLst/>
          </a:prstGeom>
          <a:ln w="9525">
            <a:solidFill>
              <a:schemeClr val="accent6"/>
            </a:solidFill>
            <a:prstDash val="sysDot"/>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a:cxnSpLocks/>
          </p:cNvCxnSpPr>
          <p:nvPr/>
        </p:nvCxnSpPr>
        <p:spPr bwMode="gray">
          <a:xfrm>
            <a:off x="266300" y="5302281"/>
            <a:ext cx="8428838" cy="0"/>
          </a:xfrm>
          <a:prstGeom prst="line">
            <a:avLst/>
          </a:prstGeom>
          <a:ln w="6350">
            <a:solidFill>
              <a:schemeClr val="accent6"/>
            </a:solidFill>
            <a:prstDash val="solid"/>
          </a:ln>
        </p:spPr>
        <p:style>
          <a:lnRef idx="1">
            <a:schemeClr val="accent1"/>
          </a:lnRef>
          <a:fillRef idx="0">
            <a:schemeClr val="accent1"/>
          </a:fillRef>
          <a:effectRef idx="0">
            <a:schemeClr val="accent1"/>
          </a:effectRef>
          <a:fontRef idx="minor">
            <a:schemeClr val="tx1"/>
          </a:fontRef>
        </p:style>
      </p:cxnSp>
      <p:cxnSp>
        <p:nvCxnSpPr>
          <p:cNvPr id="62" name="Straight Connector 61"/>
          <p:cNvCxnSpPr>
            <a:cxnSpLocks/>
          </p:cNvCxnSpPr>
          <p:nvPr/>
        </p:nvCxnSpPr>
        <p:spPr bwMode="gray">
          <a:xfrm>
            <a:off x="266300" y="4307660"/>
            <a:ext cx="8428838" cy="0"/>
          </a:xfrm>
          <a:prstGeom prst="line">
            <a:avLst/>
          </a:prstGeom>
          <a:ln w="6350">
            <a:solidFill>
              <a:schemeClr val="accent6"/>
            </a:solidFill>
            <a:prstDash val="solid"/>
          </a:ln>
        </p:spPr>
        <p:style>
          <a:lnRef idx="1">
            <a:schemeClr val="accent1"/>
          </a:lnRef>
          <a:fillRef idx="0">
            <a:schemeClr val="accent1"/>
          </a:fillRef>
          <a:effectRef idx="0">
            <a:schemeClr val="accent1"/>
          </a:effectRef>
          <a:fontRef idx="minor">
            <a:schemeClr val="tx1"/>
          </a:fontRef>
        </p:style>
      </p:cxnSp>
      <p:sp>
        <p:nvSpPr>
          <p:cNvPr id="52" name="Rectangle 3"/>
          <p:cNvSpPr txBox="1">
            <a:spLocks/>
          </p:cNvSpPr>
          <p:nvPr/>
        </p:nvSpPr>
        <p:spPr bwMode="gray">
          <a:xfrm>
            <a:off x="2017721" y="5355692"/>
            <a:ext cx="1018737" cy="887795"/>
          </a:xfrm>
          <a:prstGeom prst="rect">
            <a:avLst/>
          </a:prstGeom>
          <a:blipFill dpi="0" rotWithShape="1">
            <a:blip r:embed="rId12">
              <a:extLst>
                <a:ext uri="{28A0092B-C50C-407E-A947-70E740481C1C}">
                  <a14:useLocalDpi xmlns:a14="http://schemas.microsoft.com/office/drawing/2010/main"/>
                </a:ext>
              </a:extLst>
            </a:blip>
            <a:srcRect/>
            <a:stretch>
              <a:fillRect/>
            </a:stretch>
          </a:blipFill>
          <a:ln w="19050">
            <a:solidFill>
              <a:schemeClr val="accent1"/>
            </a:solidFill>
            <a:miter lim="800000"/>
            <a:headEnd/>
            <a:tailEnd/>
          </a:ln>
          <a:effectLst/>
        </p:spPr>
        <p:txBody>
          <a:bodyPr vert="horz" wrap="square" lIns="72009" tIns="72009" rIns="72009" bIns="72009" numCol="1" anchor="ctr" anchorCtr="0" compatLnSpc="1">
            <a:prstTxWarp prst="textNoShape">
              <a:avLst/>
            </a:prstTxWarp>
            <a:noAutofit/>
          </a:bodyPr>
          <a:lstStyle>
            <a:lvl1pPr lvl="0" defTabSz="895350">
              <a:buClr>
                <a:schemeClr val="tx2"/>
              </a:buClr>
              <a:defRPr sz="1600">
                <a:latin typeface="+mn-lt"/>
              </a:defRPr>
            </a:lvl1pPr>
            <a:lvl2pPr marL="193675" lvl="1" indent="-192088" defTabSz="895350">
              <a:buClr>
                <a:schemeClr val="tx2"/>
              </a:buClr>
              <a:buSzPct val="125000"/>
              <a:buFont typeface="Arial" charset="0"/>
              <a:buChar char="▪"/>
              <a:defRPr sz="1600">
                <a:latin typeface="+mn-lt"/>
              </a:defRPr>
            </a:lvl2pPr>
            <a:lvl3pPr marL="457200" lvl="2" indent="-261938" defTabSz="895350">
              <a:buClr>
                <a:schemeClr val="tx2"/>
              </a:buClr>
              <a:buSzPct val="120000"/>
              <a:buFont typeface="Arial" charset="0"/>
              <a:buChar char="–"/>
              <a:defRPr sz="1600">
                <a:latin typeface="+mn-lt"/>
              </a:defRPr>
            </a:lvl3pPr>
            <a:lvl4pPr marL="614363" lvl="3" indent="-155575" defTabSz="895350">
              <a:buClr>
                <a:schemeClr val="tx2"/>
              </a:buClr>
              <a:buSzPct val="120000"/>
              <a:buFont typeface="Arial" charset="0"/>
              <a:buChar char="▫"/>
              <a:defRPr sz="1600">
                <a:latin typeface="+mn-lt"/>
              </a:defRPr>
            </a:lvl4pPr>
            <a:lvl5pPr marL="746125" lvl="4" indent="-130175" defTabSz="895350">
              <a:buClr>
                <a:schemeClr val="tx2"/>
              </a:buClr>
              <a:buSzPct val="89000"/>
              <a:buFont typeface="Arial" charset="0"/>
              <a:buChar char="-"/>
              <a:defRPr sz="1600">
                <a:latin typeface="+mn-lt"/>
              </a:defRPr>
            </a:lvl5pPr>
            <a:lvl6pPr marL="1203325" indent="-130175" defTabSz="895350" fontAlgn="base">
              <a:spcBef>
                <a:spcPct val="0"/>
              </a:spcBef>
              <a:spcAft>
                <a:spcPct val="0"/>
              </a:spcAft>
              <a:buClr>
                <a:schemeClr val="tx2"/>
              </a:buClr>
              <a:buSzPct val="89000"/>
              <a:buFont typeface="Arial" charset="0"/>
              <a:buChar char="-"/>
              <a:defRPr sz="1600">
                <a:latin typeface="+mn-lt"/>
              </a:defRPr>
            </a:lvl6pPr>
            <a:lvl7pPr marL="1660525" indent="-130175" defTabSz="895350" fontAlgn="base">
              <a:spcBef>
                <a:spcPct val="0"/>
              </a:spcBef>
              <a:spcAft>
                <a:spcPct val="0"/>
              </a:spcAft>
              <a:buClr>
                <a:schemeClr val="tx2"/>
              </a:buClr>
              <a:buSzPct val="89000"/>
              <a:buFont typeface="Arial" charset="0"/>
              <a:buChar char="-"/>
              <a:defRPr sz="1600">
                <a:latin typeface="+mn-lt"/>
              </a:defRPr>
            </a:lvl7pPr>
            <a:lvl8pPr marL="2117725" indent="-130175" defTabSz="895350" fontAlgn="base">
              <a:spcBef>
                <a:spcPct val="0"/>
              </a:spcBef>
              <a:spcAft>
                <a:spcPct val="0"/>
              </a:spcAft>
              <a:buClr>
                <a:schemeClr val="tx2"/>
              </a:buClr>
              <a:buSzPct val="89000"/>
              <a:buFont typeface="Arial" charset="0"/>
              <a:buChar char="-"/>
              <a:defRPr sz="1600">
                <a:latin typeface="+mn-lt"/>
              </a:defRPr>
            </a:lvl8pPr>
            <a:lvl9pPr marL="2574925" indent="-130175" defTabSz="895350" fontAlgn="base">
              <a:spcBef>
                <a:spcPct val="0"/>
              </a:spcBef>
              <a:spcAft>
                <a:spcPct val="0"/>
              </a:spcAft>
              <a:buClr>
                <a:schemeClr val="tx2"/>
              </a:buClr>
              <a:buSzPct val="89000"/>
              <a:buFont typeface="Arial" charset="0"/>
              <a:buChar char="-"/>
              <a:defRPr sz="1600">
                <a:latin typeface="+mn-lt"/>
              </a:defRPr>
            </a:lvl9pPr>
          </a:lstStyle>
          <a:p>
            <a:endParaRPr lang="en-US" sz="1200" b="1" dirty="0">
              <a:solidFill>
                <a:schemeClr val="tx2"/>
              </a:solidFill>
            </a:endParaRPr>
          </a:p>
        </p:txBody>
      </p:sp>
      <p:sp>
        <p:nvSpPr>
          <p:cNvPr id="6" name="TextBox 5"/>
          <p:cNvSpPr txBox="1">
            <a:spLocks/>
          </p:cNvSpPr>
          <p:nvPr/>
        </p:nvSpPr>
        <p:spPr>
          <a:xfrm>
            <a:off x="3121968" y="5355692"/>
            <a:ext cx="5573169" cy="830997"/>
          </a:xfrm>
          <a:prstGeom prst="rect">
            <a:avLst/>
          </a:prstGeom>
        </p:spPr>
        <p:txBody>
          <a:bodyPr vert="horz" wrap="square" lIns="0" tIns="0" rIns="0" bIns="0" rtlCol="0" anchor="t" anchorCtr="0">
            <a:spAutoFit/>
          </a:bodyPr>
          <a:lstStyle>
            <a:lvl1pPr marL="0" lvl="0" indent="0" defTabSz="895350" eaLnBrk="1" latinLnBrk="0" hangingPunct="1">
              <a:buClr>
                <a:schemeClr val="tx2"/>
              </a:buClr>
              <a:buSzPct val="100000"/>
              <a:defRPr lang="x-none" sz="1400" baseline="0">
                <a:latin typeface="+mn-lt"/>
              </a:defRPr>
            </a:lvl1pPr>
            <a:lvl2pPr marL="193675" lvl="1" indent="-192088" defTabSz="895350" eaLnBrk="1" latinLnBrk="0" hangingPunct="1">
              <a:buClr>
                <a:schemeClr val="tx2"/>
              </a:buClr>
              <a:buSzPct val="125000"/>
              <a:buFont typeface="Arial" charset="0"/>
              <a:buChar char="▪"/>
              <a:defRPr lang="x-none" sz="1400" baseline="0">
                <a:latin typeface="+mn-lt"/>
              </a:defRPr>
            </a:lvl2pPr>
            <a:lvl3pPr marL="457200" lvl="2" indent="-261938" defTabSz="895350" eaLnBrk="1" latinLnBrk="0" hangingPunct="1">
              <a:buClr>
                <a:schemeClr val="tx2"/>
              </a:buClr>
              <a:buSzPct val="120000"/>
              <a:buFont typeface="Arial" charset="0"/>
              <a:buChar char="–"/>
              <a:defRPr lang="x-none" sz="1400" baseline="0">
                <a:latin typeface="+mn-lt"/>
              </a:defRPr>
            </a:lvl3pPr>
            <a:lvl4pPr marL="614363" lvl="3" indent="-155575" defTabSz="895350" eaLnBrk="1" latinLnBrk="0" hangingPunct="1">
              <a:buClr>
                <a:schemeClr val="tx2"/>
              </a:buClr>
              <a:buSzPct val="120000"/>
              <a:buFont typeface="Arial" charset="0"/>
              <a:buChar char="▫"/>
              <a:defRPr lang="x-none" sz="1400" baseline="0">
                <a:latin typeface="+mn-lt"/>
              </a:defRPr>
            </a:lvl4pPr>
            <a:lvl5pPr marL="749808" lvl="4" indent="-130175" defTabSz="895350" eaLnBrk="1" latinLnBrk="0" hangingPunct="1">
              <a:buClr>
                <a:schemeClr val="tx2"/>
              </a:buClr>
              <a:buSzPct val="89000"/>
              <a:buFont typeface="Arial" charset="0"/>
              <a:buChar char="-"/>
              <a:defRPr lang="x-none" sz="1400" baseline="0">
                <a:latin typeface="+mn-lt"/>
              </a:defRPr>
            </a:lvl5pPr>
            <a:lvl6pPr marL="749808" indent="-130175" defTabSz="895350" fontAlgn="base">
              <a:spcBef>
                <a:spcPct val="0"/>
              </a:spcBef>
              <a:spcAft>
                <a:spcPct val="0"/>
              </a:spcAft>
              <a:buClr>
                <a:schemeClr val="tx2"/>
              </a:buClr>
              <a:buSzPct val="89000"/>
              <a:buFont typeface="Arial" charset="0"/>
              <a:buChar char="-"/>
              <a:defRPr lang="x-none" baseline="0">
                <a:latin typeface="+mn-lt"/>
              </a:defRPr>
            </a:lvl6pPr>
            <a:lvl7pPr marL="749808" indent="-130175" defTabSz="895350" fontAlgn="base">
              <a:spcBef>
                <a:spcPct val="0"/>
              </a:spcBef>
              <a:spcAft>
                <a:spcPct val="0"/>
              </a:spcAft>
              <a:buClr>
                <a:schemeClr val="tx2"/>
              </a:buClr>
              <a:buSzPct val="89000"/>
              <a:buFont typeface="Arial" charset="0"/>
              <a:buChar char="-"/>
              <a:defRPr lang="x-none" baseline="0">
                <a:latin typeface="+mn-lt"/>
              </a:defRPr>
            </a:lvl7pPr>
            <a:lvl8pPr marL="749808" indent="-130175" defTabSz="895350" fontAlgn="base">
              <a:spcBef>
                <a:spcPct val="0"/>
              </a:spcBef>
              <a:spcAft>
                <a:spcPct val="0"/>
              </a:spcAft>
              <a:buClr>
                <a:schemeClr val="tx2"/>
              </a:buClr>
              <a:buSzPct val="89000"/>
              <a:buFont typeface="Arial" charset="0"/>
              <a:buChar char="-"/>
              <a:defRPr lang="x-none" baseline="0">
                <a:latin typeface="+mn-lt"/>
              </a:defRPr>
            </a:lvl8pPr>
            <a:lvl9pPr marL="749808" indent="-130175" defTabSz="895350" fontAlgn="base">
              <a:spcBef>
                <a:spcPct val="0"/>
              </a:spcBef>
              <a:spcAft>
                <a:spcPct val="0"/>
              </a:spcAft>
              <a:buClr>
                <a:schemeClr val="tx2"/>
              </a:buClr>
              <a:buSzPct val="89000"/>
              <a:buFont typeface="Arial" charset="0"/>
              <a:buChar char="-"/>
              <a:defRPr lang="x-none" baseline="0">
                <a:latin typeface="+mn-lt"/>
              </a:defRPr>
            </a:lvl9pPr>
          </a:lstStyle>
          <a:p>
            <a:pPr lvl="1">
              <a:spcBef>
                <a:spcPct val="50000"/>
              </a:spcBef>
            </a:pPr>
            <a:r>
              <a:rPr lang="en-US" sz="1200" dirty="0"/>
              <a:t>2,000+ studies over past 7 years</a:t>
            </a:r>
          </a:p>
          <a:p>
            <a:pPr lvl="1">
              <a:spcBef>
                <a:spcPct val="50000"/>
              </a:spcBef>
            </a:pPr>
            <a:r>
              <a:rPr lang="en-US" sz="1200" dirty="0"/>
              <a:t>Proprietary tools, including Business Support Function (e.g., HR, Finance) benchmarks, functional best practices, </a:t>
            </a:r>
            <a:r>
              <a:rPr lang="en-US" sz="1200" dirty="0" err="1"/>
              <a:t>OHI</a:t>
            </a:r>
            <a:r>
              <a:rPr lang="en-US" sz="1200" dirty="0"/>
              <a:t> with a million+ respondents, Org Lab (spans and layers)</a:t>
            </a:r>
          </a:p>
        </p:txBody>
      </p:sp>
      <p:sp>
        <p:nvSpPr>
          <p:cNvPr id="63" name="Rectangle 3"/>
          <p:cNvSpPr txBox="1">
            <a:spLocks/>
          </p:cNvSpPr>
          <p:nvPr/>
        </p:nvSpPr>
        <p:spPr bwMode="gray">
          <a:xfrm>
            <a:off x="2017721" y="1377210"/>
            <a:ext cx="1018737" cy="887795"/>
          </a:xfrm>
          <a:prstGeom prst="rect">
            <a:avLst/>
          </a:prstGeom>
          <a:blipFill dpi="0" rotWithShape="1">
            <a:blip r:embed="rId13">
              <a:extLst>
                <a:ext uri="{28A0092B-C50C-407E-A947-70E740481C1C}">
                  <a14:useLocalDpi xmlns:a14="http://schemas.microsoft.com/office/drawing/2010/main"/>
                </a:ext>
              </a:extLst>
            </a:blip>
            <a:srcRect/>
            <a:stretch>
              <a:fillRect/>
            </a:stretch>
          </a:blipFill>
          <a:ln w="19050">
            <a:solidFill>
              <a:schemeClr val="accent1"/>
            </a:solidFill>
            <a:miter lim="800000"/>
            <a:headEnd/>
            <a:tailEnd/>
          </a:ln>
          <a:effectLst/>
        </p:spPr>
        <p:txBody>
          <a:bodyPr vert="horz" wrap="square" lIns="72009" tIns="72009" rIns="72009" bIns="72009" numCol="1" anchor="ctr" anchorCtr="0" compatLnSpc="1">
            <a:prstTxWarp prst="textNoShape">
              <a:avLst/>
            </a:prstTxWarp>
            <a:noAutofit/>
          </a:bodyPr>
          <a:lstStyle>
            <a:lvl1pPr lvl="0" defTabSz="895350">
              <a:buClr>
                <a:schemeClr val="tx2"/>
              </a:buClr>
              <a:defRPr sz="1600">
                <a:latin typeface="+mn-lt"/>
              </a:defRPr>
            </a:lvl1pPr>
            <a:lvl2pPr marL="193675" lvl="1" indent="-192088" defTabSz="895350">
              <a:buClr>
                <a:schemeClr val="tx2"/>
              </a:buClr>
              <a:buSzPct val="125000"/>
              <a:buFont typeface="Arial" charset="0"/>
              <a:buChar char="▪"/>
              <a:defRPr sz="1600">
                <a:latin typeface="+mn-lt"/>
              </a:defRPr>
            </a:lvl2pPr>
            <a:lvl3pPr marL="457200" lvl="2" indent="-261938" defTabSz="895350">
              <a:buClr>
                <a:schemeClr val="tx2"/>
              </a:buClr>
              <a:buSzPct val="120000"/>
              <a:buFont typeface="Arial" charset="0"/>
              <a:buChar char="–"/>
              <a:defRPr sz="1600">
                <a:latin typeface="+mn-lt"/>
              </a:defRPr>
            </a:lvl3pPr>
            <a:lvl4pPr marL="614363" lvl="3" indent="-155575" defTabSz="895350">
              <a:buClr>
                <a:schemeClr val="tx2"/>
              </a:buClr>
              <a:buSzPct val="120000"/>
              <a:buFont typeface="Arial" charset="0"/>
              <a:buChar char="▫"/>
              <a:defRPr sz="1600">
                <a:latin typeface="+mn-lt"/>
              </a:defRPr>
            </a:lvl4pPr>
            <a:lvl5pPr marL="746125" lvl="4" indent="-130175" defTabSz="895350">
              <a:buClr>
                <a:schemeClr val="tx2"/>
              </a:buClr>
              <a:buSzPct val="89000"/>
              <a:buFont typeface="Arial" charset="0"/>
              <a:buChar char="-"/>
              <a:defRPr sz="1600">
                <a:latin typeface="+mn-lt"/>
              </a:defRPr>
            </a:lvl5pPr>
            <a:lvl6pPr marL="1203325" indent="-130175" defTabSz="895350" fontAlgn="base">
              <a:spcBef>
                <a:spcPct val="0"/>
              </a:spcBef>
              <a:spcAft>
                <a:spcPct val="0"/>
              </a:spcAft>
              <a:buClr>
                <a:schemeClr val="tx2"/>
              </a:buClr>
              <a:buSzPct val="89000"/>
              <a:buFont typeface="Arial" charset="0"/>
              <a:buChar char="-"/>
              <a:defRPr sz="1600">
                <a:latin typeface="+mn-lt"/>
              </a:defRPr>
            </a:lvl6pPr>
            <a:lvl7pPr marL="1660525" indent="-130175" defTabSz="895350" fontAlgn="base">
              <a:spcBef>
                <a:spcPct val="0"/>
              </a:spcBef>
              <a:spcAft>
                <a:spcPct val="0"/>
              </a:spcAft>
              <a:buClr>
                <a:schemeClr val="tx2"/>
              </a:buClr>
              <a:buSzPct val="89000"/>
              <a:buFont typeface="Arial" charset="0"/>
              <a:buChar char="-"/>
              <a:defRPr sz="1600">
                <a:latin typeface="+mn-lt"/>
              </a:defRPr>
            </a:lvl7pPr>
            <a:lvl8pPr marL="2117725" indent="-130175" defTabSz="895350" fontAlgn="base">
              <a:spcBef>
                <a:spcPct val="0"/>
              </a:spcBef>
              <a:spcAft>
                <a:spcPct val="0"/>
              </a:spcAft>
              <a:buClr>
                <a:schemeClr val="tx2"/>
              </a:buClr>
              <a:buSzPct val="89000"/>
              <a:buFont typeface="Arial" charset="0"/>
              <a:buChar char="-"/>
              <a:defRPr sz="1600">
                <a:latin typeface="+mn-lt"/>
              </a:defRPr>
            </a:lvl8pPr>
            <a:lvl9pPr marL="2574925" indent="-130175" defTabSz="895350" fontAlgn="base">
              <a:spcBef>
                <a:spcPct val="0"/>
              </a:spcBef>
              <a:spcAft>
                <a:spcPct val="0"/>
              </a:spcAft>
              <a:buClr>
                <a:schemeClr val="tx2"/>
              </a:buClr>
              <a:buSzPct val="89000"/>
              <a:buFont typeface="Arial" charset="0"/>
              <a:buChar char="-"/>
              <a:defRPr sz="1600">
                <a:latin typeface="+mn-lt"/>
              </a:defRPr>
            </a:lvl9pPr>
          </a:lstStyle>
          <a:p>
            <a:endParaRPr lang="en-US" sz="1200" b="1" dirty="0">
              <a:solidFill>
                <a:schemeClr val="tx2"/>
              </a:solidFill>
            </a:endParaRPr>
          </a:p>
        </p:txBody>
      </p:sp>
      <p:sp>
        <p:nvSpPr>
          <p:cNvPr id="9" name="TextBox 8"/>
          <p:cNvSpPr txBox="1">
            <a:spLocks/>
          </p:cNvSpPr>
          <p:nvPr/>
        </p:nvSpPr>
        <p:spPr>
          <a:xfrm>
            <a:off x="3121968" y="1377210"/>
            <a:ext cx="5573169" cy="830997"/>
          </a:xfrm>
          <a:prstGeom prst="rect">
            <a:avLst/>
          </a:prstGeom>
        </p:spPr>
        <p:txBody>
          <a:bodyPr vert="horz" wrap="square" lIns="0" tIns="0" rIns="0" bIns="0" rtlCol="0" anchor="t" anchorCtr="0">
            <a:spAutoFit/>
          </a:bodyPr>
          <a:lstStyle>
            <a:lvl1pPr marL="0" lvl="0" indent="0" defTabSz="895350" eaLnBrk="1" latinLnBrk="0" hangingPunct="1">
              <a:buClr>
                <a:schemeClr val="tx2"/>
              </a:buClr>
              <a:buSzPct val="100000"/>
              <a:defRPr lang="x-none" sz="1400" baseline="0">
                <a:latin typeface="+mn-lt"/>
              </a:defRPr>
            </a:lvl1pPr>
            <a:lvl2pPr marL="193675" lvl="1" indent="-192088" defTabSz="895350" eaLnBrk="1" latinLnBrk="0" hangingPunct="1">
              <a:buClr>
                <a:schemeClr val="tx2"/>
              </a:buClr>
              <a:buSzPct val="125000"/>
              <a:buFont typeface="Arial" charset="0"/>
              <a:buChar char="▪"/>
              <a:defRPr lang="x-none" sz="1400" baseline="0">
                <a:latin typeface="+mn-lt"/>
              </a:defRPr>
            </a:lvl2pPr>
            <a:lvl3pPr marL="457200" lvl="2" indent="-261938" defTabSz="895350" eaLnBrk="1" latinLnBrk="0" hangingPunct="1">
              <a:buClr>
                <a:schemeClr val="tx2"/>
              </a:buClr>
              <a:buSzPct val="120000"/>
              <a:buFont typeface="Arial" charset="0"/>
              <a:buChar char="–"/>
              <a:defRPr lang="x-none" sz="1400" baseline="0">
                <a:latin typeface="+mn-lt"/>
              </a:defRPr>
            </a:lvl3pPr>
            <a:lvl4pPr marL="614363" lvl="3" indent="-155575" defTabSz="895350" eaLnBrk="1" latinLnBrk="0" hangingPunct="1">
              <a:buClr>
                <a:schemeClr val="tx2"/>
              </a:buClr>
              <a:buSzPct val="120000"/>
              <a:buFont typeface="Arial" charset="0"/>
              <a:buChar char="▫"/>
              <a:defRPr lang="x-none" sz="1400" baseline="0">
                <a:latin typeface="+mn-lt"/>
              </a:defRPr>
            </a:lvl4pPr>
            <a:lvl5pPr marL="749808" lvl="4" indent="-130175" defTabSz="895350" eaLnBrk="1" latinLnBrk="0" hangingPunct="1">
              <a:buClr>
                <a:schemeClr val="tx2"/>
              </a:buClr>
              <a:buSzPct val="89000"/>
              <a:buFont typeface="Arial" charset="0"/>
              <a:buChar char="-"/>
              <a:defRPr lang="x-none" sz="1400" baseline="0">
                <a:latin typeface="+mn-lt"/>
              </a:defRPr>
            </a:lvl5pPr>
            <a:lvl6pPr marL="749808" indent="-130175" defTabSz="895350" fontAlgn="base">
              <a:spcBef>
                <a:spcPct val="0"/>
              </a:spcBef>
              <a:spcAft>
                <a:spcPct val="0"/>
              </a:spcAft>
              <a:buClr>
                <a:schemeClr val="tx2"/>
              </a:buClr>
              <a:buSzPct val="89000"/>
              <a:buFont typeface="Arial" charset="0"/>
              <a:buChar char="-"/>
              <a:defRPr lang="x-none" baseline="0">
                <a:latin typeface="+mn-lt"/>
              </a:defRPr>
            </a:lvl6pPr>
            <a:lvl7pPr marL="749808" indent="-130175" defTabSz="895350" fontAlgn="base">
              <a:spcBef>
                <a:spcPct val="0"/>
              </a:spcBef>
              <a:spcAft>
                <a:spcPct val="0"/>
              </a:spcAft>
              <a:buClr>
                <a:schemeClr val="tx2"/>
              </a:buClr>
              <a:buSzPct val="89000"/>
              <a:buFont typeface="Arial" charset="0"/>
              <a:buChar char="-"/>
              <a:defRPr lang="x-none" baseline="0">
                <a:latin typeface="+mn-lt"/>
              </a:defRPr>
            </a:lvl7pPr>
            <a:lvl8pPr marL="749808" indent="-130175" defTabSz="895350" fontAlgn="base">
              <a:spcBef>
                <a:spcPct val="0"/>
              </a:spcBef>
              <a:spcAft>
                <a:spcPct val="0"/>
              </a:spcAft>
              <a:buClr>
                <a:schemeClr val="tx2"/>
              </a:buClr>
              <a:buSzPct val="89000"/>
              <a:buFont typeface="Arial" charset="0"/>
              <a:buChar char="-"/>
              <a:defRPr lang="x-none" baseline="0">
                <a:latin typeface="+mn-lt"/>
              </a:defRPr>
            </a:lvl8pPr>
            <a:lvl9pPr marL="749808" indent="-130175" defTabSz="895350" fontAlgn="base">
              <a:spcBef>
                <a:spcPct val="0"/>
              </a:spcBef>
              <a:spcAft>
                <a:spcPct val="0"/>
              </a:spcAft>
              <a:buClr>
                <a:schemeClr val="tx2"/>
              </a:buClr>
              <a:buSzPct val="89000"/>
              <a:buFont typeface="Arial" charset="0"/>
              <a:buChar char="-"/>
              <a:defRPr lang="x-none" baseline="0">
                <a:latin typeface="+mn-lt"/>
              </a:defRPr>
            </a:lvl9pPr>
          </a:lstStyle>
          <a:p>
            <a:pPr lvl="1">
              <a:spcBef>
                <a:spcPct val="50000"/>
              </a:spcBef>
            </a:pPr>
            <a:r>
              <a:rPr lang="en-US" sz="1200" dirty="0"/>
              <a:t>3,000+ projects over last 5 years, in every sector around the world </a:t>
            </a:r>
          </a:p>
          <a:p>
            <a:pPr lvl="1">
              <a:spcBef>
                <a:spcPct val="50000"/>
              </a:spcBef>
            </a:pPr>
            <a:r>
              <a:rPr lang="en-US" sz="1200" dirty="0"/>
              <a:t>Proprietary Operating model, deep lean expertise and tools, deep maintenance and asset reliability expertise, extensive understanding of capital projects, </a:t>
            </a:r>
            <a:br>
              <a:rPr lang="en-US" sz="1200" dirty="0"/>
            </a:br>
            <a:r>
              <a:rPr lang="en-US" sz="1200" dirty="0"/>
              <a:t>3 “model” factories for training</a:t>
            </a:r>
          </a:p>
        </p:txBody>
      </p:sp>
      <p:sp>
        <p:nvSpPr>
          <p:cNvPr id="77" name="Rectangle 3"/>
          <p:cNvSpPr txBox="1">
            <a:spLocks/>
          </p:cNvSpPr>
          <p:nvPr/>
        </p:nvSpPr>
        <p:spPr bwMode="gray">
          <a:xfrm>
            <a:off x="2017721" y="2371831"/>
            <a:ext cx="1018737" cy="887795"/>
          </a:xfrm>
          <a:prstGeom prst="rect">
            <a:avLst/>
          </a:prstGeom>
          <a:blipFill dpi="0" rotWithShape="1">
            <a:blip r:embed="rId14">
              <a:extLst>
                <a:ext uri="{28A0092B-C50C-407E-A947-70E740481C1C}">
                  <a14:useLocalDpi xmlns:a14="http://schemas.microsoft.com/office/drawing/2010/main"/>
                </a:ext>
              </a:extLst>
            </a:blip>
            <a:srcRect/>
            <a:stretch>
              <a:fillRect/>
            </a:stretch>
          </a:blipFill>
          <a:ln w="19050">
            <a:solidFill>
              <a:schemeClr val="accent1"/>
            </a:solidFill>
            <a:miter lim="800000"/>
            <a:headEnd/>
            <a:tailEnd/>
          </a:ln>
          <a:effectLst/>
        </p:spPr>
        <p:txBody>
          <a:bodyPr vert="horz" wrap="square" lIns="72009" tIns="72009" rIns="72009" bIns="72009" numCol="1" anchor="ctr" anchorCtr="0" compatLnSpc="1">
            <a:prstTxWarp prst="textNoShape">
              <a:avLst/>
            </a:prstTxWarp>
            <a:noAutofit/>
          </a:bodyPr>
          <a:lstStyle>
            <a:lvl1pPr lvl="0" defTabSz="895350">
              <a:buClr>
                <a:schemeClr val="tx2"/>
              </a:buClr>
              <a:defRPr sz="1600">
                <a:latin typeface="+mn-lt"/>
              </a:defRPr>
            </a:lvl1pPr>
            <a:lvl2pPr marL="193675" lvl="1" indent="-192088" defTabSz="895350">
              <a:buClr>
                <a:schemeClr val="tx2"/>
              </a:buClr>
              <a:buSzPct val="125000"/>
              <a:buFont typeface="Arial" charset="0"/>
              <a:buChar char="▪"/>
              <a:defRPr sz="1600">
                <a:latin typeface="+mn-lt"/>
              </a:defRPr>
            </a:lvl2pPr>
            <a:lvl3pPr marL="457200" lvl="2" indent="-261938" defTabSz="895350">
              <a:buClr>
                <a:schemeClr val="tx2"/>
              </a:buClr>
              <a:buSzPct val="120000"/>
              <a:buFont typeface="Arial" charset="0"/>
              <a:buChar char="–"/>
              <a:defRPr sz="1600">
                <a:latin typeface="+mn-lt"/>
              </a:defRPr>
            </a:lvl3pPr>
            <a:lvl4pPr marL="614363" lvl="3" indent="-155575" defTabSz="895350">
              <a:buClr>
                <a:schemeClr val="tx2"/>
              </a:buClr>
              <a:buSzPct val="120000"/>
              <a:buFont typeface="Arial" charset="0"/>
              <a:buChar char="▫"/>
              <a:defRPr sz="1600">
                <a:latin typeface="+mn-lt"/>
              </a:defRPr>
            </a:lvl4pPr>
            <a:lvl5pPr marL="746125" lvl="4" indent="-130175" defTabSz="895350">
              <a:buClr>
                <a:schemeClr val="tx2"/>
              </a:buClr>
              <a:buSzPct val="89000"/>
              <a:buFont typeface="Arial" charset="0"/>
              <a:buChar char="-"/>
              <a:defRPr sz="1600">
                <a:latin typeface="+mn-lt"/>
              </a:defRPr>
            </a:lvl5pPr>
            <a:lvl6pPr marL="1203325" indent="-130175" defTabSz="895350" fontAlgn="base">
              <a:spcBef>
                <a:spcPct val="0"/>
              </a:spcBef>
              <a:spcAft>
                <a:spcPct val="0"/>
              </a:spcAft>
              <a:buClr>
                <a:schemeClr val="tx2"/>
              </a:buClr>
              <a:buSzPct val="89000"/>
              <a:buFont typeface="Arial" charset="0"/>
              <a:buChar char="-"/>
              <a:defRPr sz="1600">
                <a:latin typeface="+mn-lt"/>
              </a:defRPr>
            </a:lvl6pPr>
            <a:lvl7pPr marL="1660525" indent="-130175" defTabSz="895350" fontAlgn="base">
              <a:spcBef>
                <a:spcPct val="0"/>
              </a:spcBef>
              <a:spcAft>
                <a:spcPct val="0"/>
              </a:spcAft>
              <a:buClr>
                <a:schemeClr val="tx2"/>
              </a:buClr>
              <a:buSzPct val="89000"/>
              <a:buFont typeface="Arial" charset="0"/>
              <a:buChar char="-"/>
              <a:defRPr sz="1600">
                <a:latin typeface="+mn-lt"/>
              </a:defRPr>
            </a:lvl7pPr>
            <a:lvl8pPr marL="2117725" indent="-130175" defTabSz="895350" fontAlgn="base">
              <a:spcBef>
                <a:spcPct val="0"/>
              </a:spcBef>
              <a:spcAft>
                <a:spcPct val="0"/>
              </a:spcAft>
              <a:buClr>
                <a:schemeClr val="tx2"/>
              </a:buClr>
              <a:buSzPct val="89000"/>
              <a:buFont typeface="Arial" charset="0"/>
              <a:buChar char="-"/>
              <a:defRPr sz="1600">
                <a:latin typeface="+mn-lt"/>
              </a:defRPr>
            </a:lvl8pPr>
            <a:lvl9pPr marL="2574925" indent="-130175" defTabSz="895350" fontAlgn="base">
              <a:spcBef>
                <a:spcPct val="0"/>
              </a:spcBef>
              <a:spcAft>
                <a:spcPct val="0"/>
              </a:spcAft>
              <a:buClr>
                <a:schemeClr val="tx2"/>
              </a:buClr>
              <a:buSzPct val="89000"/>
              <a:buFont typeface="Arial" charset="0"/>
              <a:buChar char="-"/>
              <a:defRPr sz="1600">
                <a:latin typeface="+mn-lt"/>
              </a:defRPr>
            </a:lvl9pPr>
          </a:lstStyle>
          <a:p>
            <a:endParaRPr lang="en-US" sz="1200" b="1" dirty="0">
              <a:solidFill>
                <a:schemeClr val="tx2"/>
              </a:solidFill>
            </a:endParaRPr>
          </a:p>
        </p:txBody>
      </p:sp>
      <p:sp>
        <p:nvSpPr>
          <p:cNvPr id="11" name="TextBox 10"/>
          <p:cNvSpPr txBox="1">
            <a:spLocks/>
          </p:cNvSpPr>
          <p:nvPr/>
        </p:nvSpPr>
        <p:spPr>
          <a:xfrm>
            <a:off x="3121968" y="2371831"/>
            <a:ext cx="5573169" cy="830997"/>
          </a:xfrm>
          <a:prstGeom prst="rect">
            <a:avLst/>
          </a:prstGeom>
        </p:spPr>
        <p:txBody>
          <a:bodyPr vert="horz" wrap="square" lIns="0" tIns="0" rIns="0" bIns="0" rtlCol="0" anchor="t" anchorCtr="0">
            <a:spAutoFit/>
          </a:bodyPr>
          <a:lstStyle>
            <a:lvl1pPr marL="0" lvl="0" indent="0" defTabSz="895350" eaLnBrk="1" latinLnBrk="0" hangingPunct="1">
              <a:buClr>
                <a:schemeClr val="tx2"/>
              </a:buClr>
              <a:buSzPct val="100000"/>
              <a:defRPr lang="x-none" sz="1400" baseline="0">
                <a:latin typeface="+mn-lt"/>
              </a:defRPr>
            </a:lvl1pPr>
            <a:lvl2pPr marL="193675" lvl="1" indent="-192088" defTabSz="895350" eaLnBrk="1" latinLnBrk="0" hangingPunct="1">
              <a:buClr>
                <a:schemeClr val="tx2"/>
              </a:buClr>
              <a:buSzPct val="125000"/>
              <a:buFont typeface="Arial" charset="0"/>
              <a:buChar char="▪"/>
              <a:defRPr lang="x-none" sz="1400" baseline="0">
                <a:latin typeface="+mn-lt"/>
              </a:defRPr>
            </a:lvl2pPr>
            <a:lvl3pPr marL="457200" lvl="2" indent="-261938" defTabSz="895350" eaLnBrk="1" latinLnBrk="0" hangingPunct="1">
              <a:buClr>
                <a:schemeClr val="tx2"/>
              </a:buClr>
              <a:buSzPct val="120000"/>
              <a:buFont typeface="Arial" charset="0"/>
              <a:buChar char="–"/>
              <a:defRPr lang="x-none" sz="1400" baseline="0">
                <a:latin typeface="+mn-lt"/>
              </a:defRPr>
            </a:lvl3pPr>
            <a:lvl4pPr marL="614363" lvl="3" indent="-155575" defTabSz="895350" eaLnBrk="1" latinLnBrk="0" hangingPunct="1">
              <a:buClr>
                <a:schemeClr val="tx2"/>
              </a:buClr>
              <a:buSzPct val="120000"/>
              <a:buFont typeface="Arial" charset="0"/>
              <a:buChar char="▫"/>
              <a:defRPr lang="x-none" sz="1400" baseline="0">
                <a:latin typeface="+mn-lt"/>
              </a:defRPr>
            </a:lvl4pPr>
            <a:lvl5pPr marL="749808" lvl="4" indent="-130175" defTabSz="895350" eaLnBrk="1" latinLnBrk="0" hangingPunct="1">
              <a:buClr>
                <a:schemeClr val="tx2"/>
              </a:buClr>
              <a:buSzPct val="89000"/>
              <a:buFont typeface="Arial" charset="0"/>
              <a:buChar char="-"/>
              <a:defRPr lang="x-none" sz="1400" baseline="0">
                <a:latin typeface="+mn-lt"/>
              </a:defRPr>
            </a:lvl5pPr>
            <a:lvl6pPr marL="749808" indent="-130175" defTabSz="895350" fontAlgn="base">
              <a:spcBef>
                <a:spcPct val="0"/>
              </a:spcBef>
              <a:spcAft>
                <a:spcPct val="0"/>
              </a:spcAft>
              <a:buClr>
                <a:schemeClr val="tx2"/>
              </a:buClr>
              <a:buSzPct val="89000"/>
              <a:buFont typeface="Arial" charset="0"/>
              <a:buChar char="-"/>
              <a:defRPr lang="x-none" baseline="0">
                <a:latin typeface="+mn-lt"/>
              </a:defRPr>
            </a:lvl6pPr>
            <a:lvl7pPr marL="749808" indent="-130175" defTabSz="895350" fontAlgn="base">
              <a:spcBef>
                <a:spcPct val="0"/>
              </a:spcBef>
              <a:spcAft>
                <a:spcPct val="0"/>
              </a:spcAft>
              <a:buClr>
                <a:schemeClr val="tx2"/>
              </a:buClr>
              <a:buSzPct val="89000"/>
              <a:buFont typeface="Arial" charset="0"/>
              <a:buChar char="-"/>
              <a:defRPr lang="x-none" baseline="0">
                <a:latin typeface="+mn-lt"/>
              </a:defRPr>
            </a:lvl7pPr>
            <a:lvl8pPr marL="749808" indent="-130175" defTabSz="895350" fontAlgn="base">
              <a:spcBef>
                <a:spcPct val="0"/>
              </a:spcBef>
              <a:spcAft>
                <a:spcPct val="0"/>
              </a:spcAft>
              <a:buClr>
                <a:schemeClr val="tx2"/>
              </a:buClr>
              <a:buSzPct val="89000"/>
              <a:buFont typeface="Arial" charset="0"/>
              <a:buChar char="-"/>
              <a:defRPr lang="x-none" baseline="0">
                <a:latin typeface="+mn-lt"/>
              </a:defRPr>
            </a:lvl8pPr>
            <a:lvl9pPr marL="749808" indent="-130175" defTabSz="895350" fontAlgn="base">
              <a:spcBef>
                <a:spcPct val="0"/>
              </a:spcBef>
              <a:spcAft>
                <a:spcPct val="0"/>
              </a:spcAft>
              <a:buClr>
                <a:schemeClr val="tx2"/>
              </a:buClr>
              <a:buSzPct val="89000"/>
              <a:buFont typeface="Arial" charset="0"/>
              <a:buChar char="-"/>
              <a:defRPr lang="x-none" baseline="0">
                <a:latin typeface="+mn-lt"/>
              </a:defRPr>
            </a:lvl9pPr>
          </a:lstStyle>
          <a:p>
            <a:pPr lvl="1">
              <a:spcBef>
                <a:spcPct val="50000"/>
              </a:spcBef>
            </a:pPr>
            <a:r>
              <a:rPr lang="en-US" sz="1200" dirty="0"/>
              <a:t>1,300+ B2B and B2C </a:t>
            </a:r>
            <a:r>
              <a:rPr lang="en-US" sz="1200" dirty="0" err="1"/>
              <a:t>SCM</a:t>
            </a:r>
            <a:r>
              <a:rPr lang="en-US" sz="1200" dirty="0"/>
              <a:t> engagements in the last 5 years </a:t>
            </a:r>
          </a:p>
          <a:p>
            <a:pPr lvl="1">
              <a:spcBef>
                <a:spcPct val="50000"/>
              </a:spcBef>
            </a:pPr>
            <a:r>
              <a:rPr lang="en-US" sz="1200" dirty="0"/>
              <a:t>Ready-to-use and proven tools to solve key supply chain challenges (e.g., forecasting and scheduling, inventory management, SKU optimization, network design, diagnostic)</a:t>
            </a:r>
          </a:p>
        </p:txBody>
      </p:sp>
      <p:sp>
        <p:nvSpPr>
          <p:cNvPr id="56" name="Rectangle 3"/>
          <p:cNvSpPr txBox="1">
            <a:spLocks/>
          </p:cNvSpPr>
          <p:nvPr/>
        </p:nvSpPr>
        <p:spPr bwMode="gray">
          <a:xfrm>
            <a:off x="2017721" y="3366452"/>
            <a:ext cx="1018737" cy="887795"/>
          </a:xfrm>
          <a:prstGeom prst="rect">
            <a:avLst/>
          </a:prstGeom>
          <a:blipFill dpi="0" rotWithShape="1">
            <a:blip r:embed="rId15">
              <a:extLst>
                <a:ext uri="{28A0092B-C50C-407E-A947-70E740481C1C}">
                  <a14:useLocalDpi xmlns:a14="http://schemas.microsoft.com/office/drawing/2010/main"/>
                </a:ext>
              </a:extLst>
            </a:blip>
            <a:srcRect/>
            <a:stretch>
              <a:fillRect/>
            </a:stretch>
          </a:blipFill>
          <a:ln w="19050">
            <a:solidFill>
              <a:schemeClr val="accent1"/>
            </a:solidFill>
            <a:miter lim="800000"/>
            <a:headEnd/>
            <a:tailEnd/>
          </a:ln>
          <a:effectLst/>
        </p:spPr>
        <p:txBody>
          <a:bodyPr vert="horz" wrap="square" lIns="72009" tIns="72009" rIns="72009" bIns="72009" numCol="1" anchor="ctr" anchorCtr="0" compatLnSpc="1">
            <a:prstTxWarp prst="textNoShape">
              <a:avLst/>
            </a:prstTxWarp>
            <a:noAutofit/>
          </a:bodyPr>
          <a:lstStyle>
            <a:lvl1pPr lvl="0" defTabSz="895350">
              <a:buClr>
                <a:schemeClr val="tx2"/>
              </a:buClr>
              <a:defRPr sz="1600">
                <a:latin typeface="+mn-lt"/>
              </a:defRPr>
            </a:lvl1pPr>
            <a:lvl2pPr marL="193675" lvl="1" indent="-192088" defTabSz="895350">
              <a:buClr>
                <a:schemeClr val="tx2"/>
              </a:buClr>
              <a:buSzPct val="125000"/>
              <a:buFont typeface="Arial" charset="0"/>
              <a:buChar char="▪"/>
              <a:defRPr sz="1600">
                <a:latin typeface="+mn-lt"/>
              </a:defRPr>
            </a:lvl2pPr>
            <a:lvl3pPr marL="457200" lvl="2" indent="-261938" defTabSz="895350">
              <a:buClr>
                <a:schemeClr val="tx2"/>
              </a:buClr>
              <a:buSzPct val="120000"/>
              <a:buFont typeface="Arial" charset="0"/>
              <a:buChar char="–"/>
              <a:defRPr sz="1600">
                <a:latin typeface="+mn-lt"/>
              </a:defRPr>
            </a:lvl3pPr>
            <a:lvl4pPr marL="614363" lvl="3" indent="-155575" defTabSz="895350">
              <a:buClr>
                <a:schemeClr val="tx2"/>
              </a:buClr>
              <a:buSzPct val="120000"/>
              <a:buFont typeface="Arial" charset="0"/>
              <a:buChar char="▫"/>
              <a:defRPr sz="1600">
                <a:latin typeface="+mn-lt"/>
              </a:defRPr>
            </a:lvl4pPr>
            <a:lvl5pPr marL="746125" lvl="4" indent="-130175" defTabSz="895350">
              <a:buClr>
                <a:schemeClr val="tx2"/>
              </a:buClr>
              <a:buSzPct val="89000"/>
              <a:buFont typeface="Arial" charset="0"/>
              <a:buChar char="-"/>
              <a:defRPr sz="1600">
                <a:latin typeface="+mn-lt"/>
              </a:defRPr>
            </a:lvl5pPr>
            <a:lvl6pPr marL="1203325" indent="-130175" defTabSz="895350" fontAlgn="base">
              <a:spcBef>
                <a:spcPct val="0"/>
              </a:spcBef>
              <a:spcAft>
                <a:spcPct val="0"/>
              </a:spcAft>
              <a:buClr>
                <a:schemeClr val="tx2"/>
              </a:buClr>
              <a:buSzPct val="89000"/>
              <a:buFont typeface="Arial" charset="0"/>
              <a:buChar char="-"/>
              <a:defRPr sz="1600">
                <a:latin typeface="+mn-lt"/>
              </a:defRPr>
            </a:lvl6pPr>
            <a:lvl7pPr marL="1660525" indent="-130175" defTabSz="895350" fontAlgn="base">
              <a:spcBef>
                <a:spcPct val="0"/>
              </a:spcBef>
              <a:spcAft>
                <a:spcPct val="0"/>
              </a:spcAft>
              <a:buClr>
                <a:schemeClr val="tx2"/>
              </a:buClr>
              <a:buSzPct val="89000"/>
              <a:buFont typeface="Arial" charset="0"/>
              <a:buChar char="-"/>
              <a:defRPr sz="1600">
                <a:latin typeface="+mn-lt"/>
              </a:defRPr>
            </a:lvl7pPr>
            <a:lvl8pPr marL="2117725" indent="-130175" defTabSz="895350" fontAlgn="base">
              <a:spcBef>
                <a:spcPct val="0"/>
              </a:spcBef>
              <a:spcAft>
                <a:spcPct val="0"/>
              </a:spcAft>
              <a:buClr>
                <a:schemeClr val="tx2"/>
              </a:buClr>
              <a:buSzPct val="89000"/>
              <a:buFont typeface="Arial" charset="0"/>
              <a:buChar char="-"/>
              <a:defRPr sz="1600">
                <a:latin typeface="+mn-lt"/>
              </a:defRPr>
            </a:lvl8pPr>
            <a:lvl9pPr marL="2574925" indent="-130175" defTabSz="895350" fontAlgn="base">
              <a:spcBef>
                <a:spcPct val="0"/>
              </a:spcBef>
              <a:spcAft>
                <a:spcPct val="0"/>
              </a:spcAft>
              <a:buClr>
                <a:schemeClr val="tx2"/>
              </a:buClr>
              <a:buSzPct val="89000"/>
              <a:buFont typeface="Arial" charset="0"/>
              <a:buChar char="-"/>
              <a:defRPr sz="1600">
                <a:latin typeface="+mn-lt"/>
              </a:defRPr>
            </a:lvl9pPr>
          </a:lstStyle>
          <a:p>
            <a:endParaRPr lang="en-US" sz="1200" b="1" dirty="0">
              <a:solidFill>
                <a:schemeClr val="tx2"/>
              </a:solidFill>
            </a:endParaRPr>
          </a:p>
        </p:txBody>
      </p:sp>
      <p:sp>
        <p:nvSpPr>
          <p:cNvPr id="13" name="TextBox 12"/>
          <p:cNvSpPr txBox="1">
            <a:spLocks/>
          </p:cNvSpPr>
          <p:nvPr/>
        </p:nvSpPr>
        <p:spPr>
          <a:xfrm>
            <a:off x="3121968" y="3366452"/>
            <a:ext cx="5573169" cy="830997"/>
          </a:xfrm>
          <a:prstGeom prst="rect">
            <a:avLst/>
          </a:prstGeom>
        </p:spPr>
        <p:txBody>
          <a:bodyPr vert="horz" wrap="square" lIns="0" tIns="0" rIns="0" bIns="0" rtlCol="0" anchor="t" anchorCtr="0">
            <a:spAutoFit/>
          </a:bodyPr>
          <a:lstStyle>
            <a:lvl1pPr marL="0" lvl="0" indent="0" defTabSz="895350" eaLnBrk="1" latinLnBrk="0" hangingPunct="1">
              <a:buClr>
                <a:schemeClr val="tx2"/>
              </a:buClr>
              <a:buSzPct val="100000"/>
              <a:defRPr lang="x-none" sz="1400" baseline="0">
                <a:latin typeface="+mn-lt"/>
              </a:defRPr>
            </a:lvl1pPr>
            <a:lvl2pPr marL="193675" lvl="1" indent="-192088" defTabSz="895350" eaLnBrk="1" latinLnBrk="0" hangingPunct="1">
              <a:buClr>
                <a:schemeClr val="tx2"/>
              </a:buClr>
              <a:buSzPct val="125000"/>
              <a:buFont typeface="Arial" charset="0"/>
              <a:buChar char="▪"/>
              <a:defRPr lang="x-none" sz="1400" baseline="0">
                <a:latin typeface="+mn-lt"/>
              </a:defRPr>
            </a:lvl2pPr>
            <a:lvl3pPr marL="457200" lvl="2" indent="-261938" defTabSz="895350" eaLnBrk="1" latinLnBrk="0" hangingPunct="1">
              <a:buClr>
                <a:schemeClr val="tx2"/>
              </a:buClr>
              <a:buSzPct val="120000"/>
              <a:buFont typeface="Arial" charset="0"/>
              <a:buChar char="–"/>
              <a:defRPr lang="x-none" sz="1400" baseline="0">
                <a:latin typeface="+mn-lt"/>
              </a:defRPr>
            </a:lvl3pPr>
            <a:lvl4pPr marL="614363" lvl="3" indent="-155575" defTabSz="895350" eaLnBrk="1" latinLnBrk="0" hangingPunct="1">
              <a:buClr>
                <a:schemeClr val="tx2"/>
              </a:buClr>
              <a:buSzPct val="120000"/>
              <a:buFont typeface="Arial" charset="0"/>
              <a:buChar char="▫"/>
              <a:defRPr lang="x-none" sz="1400" baseline="0">
                <a:latin typeface="+mn-lt"/>
              </a:defRPr>
            </a:lvl4pPr>
            <a:lvl5pPr marL="749808" lvl="4" indent="-130175" defTabSz="895350" eaLnBrk="1" latinLnBrk="0" hangingPunct="1">
              <a:buClr>
                <a:schemeClr val="tx2"/>
              </a:buClr>
              <a:buSzPct val="89000"/>
              <a:buFont typeface="Arial" charset="0"/>
              <a:buChar char="-"/>
              <a:defRPr lang="x-none" sz="1400" baseline="0">
                <a:latin typeface="+mn-lt"/>
              </a:defRPr>
            </a:lvl5pPr>
            <a:lvl6pPr marL="749808" indent="-130175" defTabSz="895350" fontAlgn="base">
              <a:spcBef>
                <a:spcPct val="0"/>
              </a:spcBef>
              <a:spcAft>
                <a:spcPct val="0"/>
              </a:spcAft>
              <a:buClr>
                <a:schemeClr val="tx2"/>
              </a:buClr>
              <a:buSzPct val="89000"/>
              <a:buFont typeface="Arial" charset="0"/>
              <a:buChar char="-"/>
              <a:defRPr lang="x-none" baseline="0">
                <a:latin typeface="+mn-lt"/>
              </a:defRPr>
            </a:lvl6pPr>
            <a:lvl7pPr marL="749808" indent="-130175" defTabSz="895350" fontAlgn="base">
              <a:spcBef>
                <a:spcPct val="0"/>
              </a:spcBef>
              <a:spcAft>
                <a:spcPct val="0"/>
              </a:spcAft>
              <a:buClr>
                <a:schemeClr val="tx2"/>
              </a:buClr>
              <a:buSzPct val="89000"/>
              <a:buFont typeface="Arial" charset="0"/>
              <a:buChar char="-"/>
              <a:defRPr lang="x-none" baseline="0">
                <a:latin typeface="+mn-lt"/>
              </a:defRPr>
            </a:lvl7pPr>
            <a:lvl8pPr marL="749808" indent="-130175" defTabSz="895350" fontAlgn="base">
              <a:spcBef>
                <a:spcPct val="0"/>
              </a:spcBef>
              <a:spcAft>
                <a:spcPct val="0"/>
              </a:spcAft>
              <a:buClr>
                <a:schemeClr val="tx2"/>
              </a:buClr>
              <a:buSzPct val="89000"/>
              <a:buFont typeface="Arial" charset="0"/>
              <a:buChar char="-"/>
              <a:defRPr lang="x-none" baseline="0">
                <a:latin typeface="+mn-lt"/>
              </a:defRPr>
            </a:lvl8pPr>
            <a:lvl9pPr marL="749808" indent="-130175" defTabSz="895350" fontAlgn="base">
              <a:spcBef>
                <a:spcPct val="0"/>
              </a:spcBef>
              <a:spcAft>
                <a:spcPct val="0"/>
              </a:spcAft>
              <a:buClr>
                <a:schemeClr val="tx2"/>
              </a:buClr>
              <a:buSzPct val="89000"/>
              <a:buFont typeface="Arial" charset="0"/>
              <a:buChar char="-"/>
              <a:defRPr lang="x-none" baseline="0">
                <a:latin typeface="+mn-lt"/>
              </a:defRPr>
            </a:lvl9pPr>
          </a:lstStyle>
          <a:p>
            <a:pPr lvl="1">
              <a:spcBef>
                <a:spcPct val="50000"/>
              </a:spcBef>
            </a:pPr>
            <a:r>
              <a:rPr lang="en-US" sz="1200" dirty="0"/>
              <a:t>2,000+ engagements over past 5 years</a:t>
            </a:r>
          </a:p>
          <a:p>
            <a:pPr lvl="1">
              <a:spcBef>
                <a:spcPct val="50000"/>
              </a:spcBef>
            </a:pPr>
            <a:r>
              <a:rPr lang="en-US" sz="1200" dirty="0"/>
              <a:t>Global Purchasing Excellence &amp; Commodity Databases with 1,000+ commodities, Design to value (including 3 tear down labs, e-procurement and supplier management tools (</a:t>
            </a:r>
            <a:r>
              <a:rPr lang="en-US" sz="1200" dirty="0" err="1"/>
              <a:t>eRFX</a:t>
            </a:r>
            <a:r>
              <a:rPr lang="en-US" sz="1200" dirty="0"/>
              <a:t>)</a:t>
            </a:r>
          </a:p>
        </p:txBody>
      </p:sp>
      <p:pic>
        <p:nvPicPr>
          <p:cNvPr id="65" name="Picture 64"/>
          <p:cNvPicPr>
            <a:picLocks/>
          </p:cNvPicPr>
          <p:nvPr/>
        </p:nvPicPr>
        <p:blipFill rotWithShape="1">
          <a:blip r:embed="rId16" cstate="screen">
            <a:extLst>
              <a:ext uri="{28A0092B-C50C-407E-A947-70E740481C1C}">
                <a14:useLocalDpi xmlns:a14="http://schemas.microsoft.com/office/drawing/2010/main"/>
              </a:ext>
            </a:extLst>
          </a:blip>
          <a:srcRect/>
          <a:stretch/>
        </p:blipFill>
        <p:spPr>
          <a:xfrm>
            <a:off x="2017721" y="4361073"/>
            <a:ext cx="1018737" cy="887795"/>
          </a:xfrm>
          <a:prstGeom prst="rect">
            <a:avLst/>
          </a:prstGeom>
          <a:blipFill dpi="0" rotWithShape="1">
            <a:blip r:embed="rId15">
              <a:extLst>
                <a:ext uri="{28A0092B-C50C-407E-A947-70E740481C1C}">
                  <a14:useLocalDpi xmlns:a14="http://schemas.microsoft.com/office/drawing/2010/main"/>
                </a:ext>
              </a:extLst>
            </a:blip>
            <a:srcRect/>
            <a:stretch>
              <a:fillRect/>
            </a:stretch>
          </a:blipFill>
          <a:ln w="19050">
            <a:solidFill>
              <a:schemeClr val="accent1"/>
            </a:solidFill>
            <a:miter lim="800000"/>
            <a:headEnd/>
            <a:tailEnd/>
          </a:ln>
          <a:effectLst/>
        </p:spPr>
      </p:pic>
      <p:sp>
        <p:nvSpPr>
          <p:cNvPr id="16" name="TextBox 15"/>
          <p:cNvSpPr txBox="1">
            <a:spLocks/>
          </p:cNvSpPr>
          <p:nvPr/>
        </p:nvSpPr>
        <p:spPr>
          <a:xfrm>
            <a:off x="3121968" y="4361073"/>
            <a:ext cx="5573169" cy="646331"/>
          </a:xfrm>
          <a:prstGeom prst="rect">
            <a:avLst/>
          </a:prstGeom>
        </p:spPr>
        <p:txBody>
          <a:bodyPr vert="horz" wrap="square" lIns="0" tIns="0" rIns="0" bIns="0" rtlCol="0" anchor="t" anchorCtr="0">
            <a:spAutoFit/>
          </a:bodyPr>
          <a:lstStyle>
            <a:lvl1pPr marL="0" lvl="0" indent="0" defTabSz="895350" eaLnBrk="1" latinLnBrk="0" hangingPunct="1">
              <a:buClr>
                <a:schemeClr val="tx2"/>
              </a:buClr>
              <a:buSzPct val="100000"/>
              <a:defRPr lang="x-none" sz="1400" baseline="0">
                <a:latin typeface="+mn-lt"/>
              </a:defRPr>
            </a:lvl1pPr>
            <a:lvl2pPr marL="193675" lvl="1" indent="-192088" defTabSz="895350" eaLnBrk="1" latinLnBrk="0" hangingPunct="1">
              <a:buClr>
                <a:schemeClr val="tx2"/>
              </a:buClr>
              <a:buSzPct val="125000"/>
              <a:buFont typeface="Arial" charset="0"/>
              <a:buChar char="▪"/>
              <a:defRPr lang="x-none" sz="1400" baseline="0">
                <a:latin typeface="+mn-lt"/>
              </a:defRPr>
            </a:lvl2pPr>
            <a:lvl3pPr marL="457200" lvl="2" indent="-261938" defTabSz="895350" eaLnBrk="1" latinLnBrk="0" hangingPunct="1">
              <a:buClr>
                <a:schemeClr val="tx2"/>
              </a:buClr>
              <a:buSzPct val="120000"/>
              <a:buFont typeface="Arial" charset="0"/>
              <a:buChar char="–"/>
              <a:defRPr lang="x-none" sz="1400" baseline="0">
                <a:latin typeface="+mn-lt"/>
              </a:defRPr>
            </a:lvl3pPr>
            <a:lvl4pPr marL="614363" lvl="3" indent="-155575" defTabSz="895350" eaLnBrk="1" latinLnBrk="0" hangingPunct="1">
              <a:buClr>
                <a:schemeClr val="tx2"/>
              </a:buClr>
              <a:buSzPct val="120000"/>
              <a:buFont typeface="Arial" charset="0"/>
              <a:buChar char="▫"/>
              <a:defRPr lang="x-none" sz="1400" baseline="0">
                <a:latin typeface="+mn-lt"/>
              </a:defRPr>
            </a:lvl4pPr>
            <a:lvl5pPr marL="749808" lvl="4" indent="-130175" defTabSz="895350" eaLnBrk="1" latinLnBrk="0" hangingPunct="1">
              <a:buClr>
                <a:schemeClr val="tx2"/>
              </a:buClr>
              <a:buSzPct val="89000"/>
              <a:buFont typeface="Arial" charset="0"/>
              <a:buChar char="-"/>
              <a:defRPr lang="x-none" sz="1400" baseline="0">
                <a:latin typeface="+mn-lt"/>
              </a:defRPr>
            </a:lvl5pPr>
            <a:lvl6pPr marL="749808" indent="-130175" defTabSz="895350" fontAlgn="base">
              <a:spcBef>
                <a:spcPct val="0"/>
              </a:spcBef>
              <a:spcAft>
                <a:spcPct val="0"/>
              </a:spcAft>
              <a:buClr>
                <a:schemeClr val="tx2"/>
              </a:buClr>
              <a:buSzPct val="89000"/>
              <a:buFont typeface="Arial" charset="0"/>
              <a:buChar char="-"/>
              <a:defRPr lang="x-none" baseline="0">
                <a:latin typeface="+mn-lt"/>
              </a:defRPr>
            </a:lvl6pPr>
            <a:lvl7pPr marL="749808" indent="-130175" defTabSz="895350" fontAlgn="base">
              <a:spcBef>
                <a:spcPct val="0"/>
              </a:spcBef>
              <a:spcAft>
                <a:spcPct val="0"/>
              </a:spcAft>
              <a:buClr>
                <a:schemeClr val="tx2"/>
              </a:buClr>
              <a:buSzPct val="89000"/>
              <a:buFont typeface="Arial" charset="0"/>
              <a:buChar char="-"/>
              <a:defRPr lang="x-none" baseline="0">
                <a:latin typeface="+mn-lt"/>
              </a:defRPr>
            </a:lvl7pPr>
            <a:lvl8pPr marL="749808" indent="-130175" defTabSz="895350" fontAlgn="base">
              <a:spcBef>
                <a:spcPct val="0"/>
              </a:spcBef>
              <a:spcAft>
                <a:spcPct val="0"/>
              </a:spcAft>
              <a:buClr>
                <a:schemeClr val="tx2"/>
              </a:buClr>
              <a:buSzPct val="89000"/>
              <a:buFont typeface="Arial" charset="0"/>
              <a:buChar char="-"/>
              <a:defRPr lang="x-none" baseline="0">
                <a:latin typeface="+mn-lt"/>
              </a:defRPr>
            </a:lvl8pPr>
            <a:lvl9pPr marL="749808" indent="-130175" defTabSz="895350" fontAlgn="base">
              <a:spcBef>
                <a:spcPct val="0"/>
              </a:spcBef>
              <a:spcAft>
                <a:spcPct val="0"/>
              </a:spcAft>
              <a:buClr>
                <a:schemeClr val="tx2"/>
              </a:buClr>
              <a:buSzPct val="89000"/>
              <a:buFont typeface="Arial" charset="0"/>
              <a:buChar char="-"/>
              <a:defRPr lang="x-none" baseline="0">
                <a:latin typeface="+mn-lt"/>
              </a:defRPr>
            </a:lvl9pPr>
          </a:lstStyle>
          <a:p>
            <a:pPr lvl="1">
              <a:spcBef>
                <a:spcPct val="50000"/>
              </a:spcBef>
            </a:pPr>
            <a:r>
              <a:rPr lang="en-US" sz="1200" dirty="0"/>
              <a:t>World’s largest </a:t>
            </a:r>
            <a:r>
              <a:rPr lang="en-US" sz="1200" dirty="0" err="1"/>
              <a:t>M&amp;S</a:t>
            </a:r>
            <a:r>
              <a:rPr lang="en-US" sz="1200" dirty="0"/>
              <a:t> consultancy, ~8000 engagements since 2,000 with 100+ partners &amp; experts</a:t>
            </a:r>
          </a:p>
          <a:p>
            <a:pPr lvl="1">
              <a:spcBef>
                <a:spcPct val="50000"/>
              </a:spcBef>
            </a:pPr>
            <a:r>
              <a:rPr lang="en-US" sz="1200" dirty="0"/>
              <a:t>Unmatched, proprietary data, tools, and approaches specific to </a:t>
            </a:r>
            <a:r>
              <a:rPr lang="en-US" sz="1200" dirty="0" err="1"/>
              <a:t>GTM</a:t>
            </a:r>
            <a:r>
              <a:rPr lang="en-US" sz="1200" dirty="0"/>
              <a:t> challenges</a:t>
            </a:r>
          </a:p>
        </p:txBody>
      </p:sp>
      <p:sp>
        <p:nvSpPr>
          <p:cNvPr id="42" name="Title Tracker Circle">
            <a:extLst>
              <a:ext uri="{FF2B5EF4-FFF2-40B4-BE49-F238E27FC236}">
                <a16:creationId xmlns:a16="http://schemas.microsoft.com/office/drawing/2014/main" id="{543B997C-88A6-4D83-AD66-83457EE3BE89}"/>
              </a:ext>
            </a:extLst>
          </p:cNvPr>
          <p:cNvSpPr/>
          <p:nvPr/>
        </p:nvSpPr>
        <p:spPr>
          <a:xfrm>
            <a:off x="119063" y="166736"/>
            <a:ext cx="418798" cy="418798"/>
          </a:xfrm>
          <a:prstGeom prst="ellipse">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p>
            <a:pPr algn="ctr"/>
            <a:r>
              <a:rPr lang="en-US" sz="2000" dirty="0">
                <a:solidFill>
                  <a:schemeClr val="tx2"/>
                </a:solidFill>
                <a:latin typeface="+mj-lt"/>
              </a:rPr>
              <a:t>5</a:t>
            </a:r>
          </a:p>
        </p:txBody>
      </p:sp>
      <p:sp>
        <p:nvSpPr>
          <p:cNvPr id="33" name="5. Source">
            <a:extLst>
              <a:ext uri="{FF2B5EF4-FFF2-40B4-BE49-F238E27FC236}">
                <a16:creationId xmlns:a16="http://schemas.microsoft.com/office/drawing/2014/main" id="{91B25558-6EDF-40F3-BCA2-028A54C97F15}"/>
              </a:ext>
            </a:extLst>
          </p:cNvPr>
          <p:cNvSpPr>
            <a:spLocks noChangeArrowheads="1"/>
          </p:cNvSpPr>
          <p:nvPr/>
        </p:nvSpPr>
        <p:spPr bwMode="auto">
          <a:xfrm>
            <a:off x="119063" y="6507558"/>
            <a:ext cx="7200000" cy="123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marL="609600" indent="-609600" defTabSz="895350">
              <a:tabLst>
                <a:tab pos="612775" algn="l"/>
              </a:tabLst>
            </a:pPr>
            <a:r>
              <a:rPr lang="en-US" sz="800" dirty="0">
                <a:solidFill>
                  <a:schemeClr val="accent6"/>
                </a:solidFill>
                <a:latin typeface="Arial" panose="020B0604020202020204" pitchFamily="34" charset="0"/>
              </a:rPr>
              <a:t>SOURCE: McKinsey</a:t>
            </a:r>
          </a:p>
        </p:txBody>
      </p:sp>
    </p:spTree>
    <p:extLst>
      <p:ext uri="{BB962C8B-B14F-4D97-AF65-F5344CB8AC3E}">
        <p14:creationId xmlns:p14="http://schemas.microsoft.com/office/powerpoint/2010/main" val="323186335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68297" name="Object 9" hidden="1"/>
          <p:cNvGraphicFramePr>
            <a:graphicFrameLocks noChangeAspect="1"/>
          </p:cNvGraphicFramePr>
          <p:nvPr>
            <p:custDataLst>
              <p:tags r:id="rId2"/>
            </p:custDataLst>
            <p:extLst>
              <p:ext uri="{D42A27DB-BD31-4B8C-83A1-F6EECF244321}">
                <p14:modId xmlns:p14="http://schemas.microsoft.com/office/powerpoint/2010/main" val="359882211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72404" name="think-cell Slide" r:id="rId14" imgW="270" imgH="270" progId="TCLayout.ActiveDocument.1">
                  <p:embed/>
                </p:oleObj>
              </mc:Choice>
              <mc:Fallback>
                <p:oleObj name="think-cell Slide" r:id="rId14" imgW="270" imgH="270" progId="TCLayout.ActiveDocument.1">
                  <p:embed/>
                  <p:pic>
                    <p:nvPicPr>
                      <p:cNvPr id="268297" name="Object 9" hidden="1"/>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4" name="Rectangle 3" hidden="1"/>
          <p:cNvSpPr/>
          <p:nvPr>
            <p:custDataLst>
              <p:tags r:id="rId3"/>
            </p:custDataLst>
          </p:nvPr>
        </p:nvSpPr>
        <p:spPr bwMode="auto">
          <a:xfrm>
            <a:off x="0" y="0"/>
            <a:ext cx="158750" cy="158750"/>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sz="1000" dirty="0" err="1">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86" name="Rectangle 8">
            <a:extLst>
              <a:ext uri="{FF2B5EF4-FFF2-40B4-BE49-F238E27FC236}">
                <a16:creationId xmlns:a16="http://schemas.microsoft.com/office/drawing/2014/main" id="{2D653DF6-517A-426B-A68C-78E6E266930A}"/>
              </a:ext>
            </a:extLst>
          </p:cNvPr>
          <p:cNvSpPr>
            <a:spLocks noChangeArrowheads="1"/>
          </p:cNvSpPr>
          <p:nvPr/>
        </p:nvSpPr>
        <p:spPr bwMode="gray">
          <a:xfrm>
            <a:off x="6489700" y="2099420"/>
            <a:ext cx="2257332" cy="1390399"/>
          </a:xfrm>
          <a:prstGeom prst="rect">
            <a:avLst/>
          </a:prstGeom>
          <a:solidFill>
            <a:schemeClr val="bg1"/>
          </a:solidFill>
          <a:ln w="19050" algn="ctr">
            <a:solidFill>
              <a:schemeClr val="accent3"/>
            </a:solidFill>
            <a:miter lim="800000"/>
            <a:headEnd/>
            <a:tailEnd/>
          </a:ln>
          <a:effectLst>
            <a:outerShdw blurRad="50800" dist="38100" dir="2700000" algn="tl" rotWithShape="0">
              <a:prstClr val="black">
                <a:alpha val="40000"/>
              </a:prstClr>
            </a:outerShdw>
          </a:effectLst>
        </p:spPr>
        <p:txBody>
          <a:bodyPr wrap="none" anchor="ctr"/>
          <a:lstStyle/>
          <a:p>
            <a:endParaRPr lang="en-US" sz="1000" dirty="0"/>
          </a:p>
        </p:txBody>
      </p:sp>
      <p:sp>
        <p:nvSpPr>
          <p:cNvPr id="268304" name="Rectangle 16"/>
          <p:cNvSpPr>
            <a:spLocks noGrp="1" noChangeArrowheads="1"/>
          </p:cNvSpPr>
          <p:nvPr>
            <p:ph type="title"/>
            <p:custDataLst>
              <p:tags r:id="rId4"/>
            </p:custDataLst>
          </p:nvPr>
        </p:nvSpPr>
        <p:spPr>
          <a:xfrm>
            <a:off x="119063" y="230188"/>
            <a:ext cx="8618537" cy="307777"/>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marL="466344"/>
            <a:r>
              <a:rPr lang="en-US" dirty="0"/>
              <a:t>The Steel Practice at a glance</a:t>
            </a:r>
          </a:p>
        </p:txBody>
      </p:sp>
      <p:sp>
        <p:nvSpPr>
          <p:cNvPr id="99" name="Title Tracker Circle">
            <a:extLst>
              <a:ext uri="{FF2B5EF4-FFF2-40B4-BE49-F238E27FC236}">
                <a16:creationId xmlns:a16="http://schemas.microsoft.com/office/drawing/2014/main" id="{AFD77468-8AAF-4C87-9889-5BE37B69765B}"/>
              </a:ext>
            </a:extLst>
          </p:cNvPr>
          <p:cNvSpPr/>
          <p:nvPr/>
        </p:nvSpPr>
        <p:spPr>
          <a:xfrm>
            <a:off x="119063" y="166736"/>
            <a:ext cx="418798" cy="418798"/>
          </a:xfrm>
          <a:prstGeom prst="ellipse">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p>
            <a:pPr algn="ctr"/>
            <a:r>
              <a:rPr lang="en-US" sz="2000" dirty="0">
                <a:solidFill>
                  <a:schemeClr val="tx2"/>
                </a:solidFill>
                <a:latin typeface="+mj-lt"/>
              </a:rPr>
              <a:t>6</a:t>
            </a:r>
          </a:p>
        </p:txBody>
      </p:sp>
      <p:sp>
        <p:nvSpPr>
          <p:cNvPr id="88" name="Rectangle 8">
            <a:extLst>
              <a:ext uri="{FF2B5EF4-FFF2-40B4-BE49-F238E27FC236}">
                <a16:creationId xmlns:a16="http://schemas.microsoft.com/office/drawing/2014/main" id="{20207827-52D9-409C-8753-720DA50C7243}"/>
              </a:ext>
            </a:extLst>
          </p:cNvPr>
          <p:cNvSpPr>
            <a:spLocks noChangeArrowheads="1"/>
          </p:cNvSpPr>
          <p:nvPr/>
        </p:nvSpPr>
        <p:spPr bwMode="gray">
          <a:xfrm>
            <a:off x="6489700" y="652825"/>
            <a:ext cx="2257332" cy="1390399"/>
          </a:xfrm>
          <a:prstGeom prst="rect">
            <a:avLst/>
          </a:prstGeom>
          <a:solidFill>
            <a:schemeClr val="bg1"/>
          </a:solidFill>
          <a:ln w="19050" algn="ctr">
            <a:solidFill>
              <a:schemeClr val="accent3"/>
            </a:solidFill>
            <a:miter lim="800000"/>
            <a:headEnd/>
            <a:tailEnd/>
          </a:ln>
          <a:effectLst>
            <a:outerShdw blurRad="50800" dist="38100" dir="2700000" algn="tl" rotWithShape="0">
              <a:prstClr val="black">
                <a:alpha val="40000"/>
              </a:prstClr>
            </a:outerShdw>
          </a:effectLst>
        </p:spPr>
        <p:txBody>
          <a:bodyPr wrap="none" anchor="ctr"/>
          <a:lstStyle/>
          <a:p>
            <a:endParaRPr lang="en-US" sz="1000" dirty="0"/>
          </a:p>
        </p:txBody>
      </p:sp>
      <p:sp>
        <p:nvSpPr>
          <p:cNvPr id="89" name="Rectangle 8">
            <a:extLst>
              <a:ext uri="{FF2B5EF4-FFF2-40B4-BE49-F238E27FC236}">
                <a16:creationId xmlns:a16="http://schemas.microsoft.com/office/drawing/2014/main" id="{CF0BE328-BB94-4758-8B20-7BCFB3FFB333}"/>
              </a:ext>
            </a:extLst>
          </p:cNvPr>
          <p:cNvSpPr>
            <a:spLocks noChangeArrowheads="1"/>
          </p:cNvSpPr>
          <p:nvPr/>
        </p:nvSpPr>
        <p:spPr bwMode="gray">
          <a:xfrm>
            <a:off x="6489700" y="3556124"/>
            <a:ext cx="2257332" cy="1390399"/>
          </a:xfrm>
          <a:prstGeom prst="rect">
            <a:avLst/>
          </a:prstGeom>
          <a:solidFill>
            <a:schemeClr val="bg1"/>
          </a:solidFill>
          <a:ln w="19050" algn="ctr">
            <a:solidFill>
              <a:schemeClr val="accent3"/>
            </a:solidFill>
            <a:miter lim="800000"/>
            <a:headEnd/>
            <a:tailEnd/>
          </a:ln>
          <a:effectLst>
            <a:outerShdw blurRad="50800" dist="38100" dir="2700000" algn="tl" rotWithShape="0">
              <a:prstClr val="black">
                <a:alpha val="40000"/>
              </a:prstClr>
            </a:outerShdw>
          </a:effectLst>
        </p:spPr>
        <p:txBody>
          <a:bodyPr wrap="none" anchor="ctr"/>
          <a:lstStyle/>
          <a:p>
            <a:endParaRPr lang="en-US" sz="1000" dirty="0"/>
          </a:p>
        </p:txBody>
      </p:sp>
      <p:sp>
        <p:nvSpPr>
          <p:cNvPr id="92" name="Rectangle 8">
            <a:extLst>
              <a:ext uri="{FF2B5EF4-FFF2-40B4-BE49-F238E27FC236}">
                <a16:creationId xmlns:a16="http://schemas.microsoft.com/office/drawing/2014/main" id="{8DAA238F-373A-40CC-B04B-6261F93F15AB}"/>
              </a:ext>
            </a:extLst>
          </p:cNvPr>
          <p:cNvSpPr>
            <a:spLocks noChangeArrowheads="1"/>
          </p:cNvSpPr>
          <p:nvPr/>
        </p:nvSpPr>
        <p:spPr bwMode="gray">
          <a:xfrm>
            <a:off x="6489700" y="5013251"/>
            <a:ext cx="2257332" cy="1390399"/>
          </a:xfrm>
          <a:prstGeom prst="rect">
            <a:avLst/>
          </a:prstGeom>
          <a:solidFill>
            <a:schemeClr val="bg1"/>
          </a:solidFill>
          <a:ln w="19050" algn="ctr">
            <a:solidFill>
              <a:schemeClr val="accent3"/>
            </a:solidFill>
            <a:miter lim="800000"/>
            <a:headEnd/>
            <a:tailEnd/>
          </a:ln>
          <a:effectLst>
            <a:outerShdw blurRad="50800" dist="38100" dir="2700000" algn="tl" rotWithShape="0">
              <a:prstClr val="black">
                <a:alpha val="40000"/>
              </a:prstClr>
            </a:outerShdw>
          </a:effectLst>
        </p:spPr>
        <p:txBody>
          <a:bodyPr wrap="none" anchor="ctr"/>
          <a:lstStyle/>
          <a:p>
            <a:endParaRPr lang="en-US" sz="1000" dirty="0"/>
          </a:p>
        </p:txBody>
      </p:sp>
      <p:sp>
        <p:nvSpPr>
          <p:cNvPr id="93" name="5. Source">
            <a:extLst>
              <a:ext uri="{FF2B5EF4-FFF2-40B4-BE49-F238E27FC236}">
                <a16:creationId xmlns:a16="http://schemas.microsoft.com/office/drawing/2014/main" id="{5D17F010-424F-4A0D-81ED-811DEFAC2F95}"/>
              </a:ext>
            </a:extLst>
          </p:cNvPr>
          <p:cNvSpPr>
            <a:spLocks noChangeArrowheads="1"/>
          </p:cNvSpPr>
          <p:nvPr/>
        </p:nvSpPr>
        <p:spPr bwMode="gray">
          <a:xfrm>
            <a:off x="119063" y="6507558"/>
            <a:ext cx="7200000" cy="123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marL="609600" indent="-609600" defTabSz="895350">
              <a:tabLst>
                <a:tab pos="612775" algn="l"/>
              </a:tabLst>
            </a:pPr>
            <a:r>
              <a:rPr lang="en-US" sz="800" dirty="0">
                <a:solidFill>
                  <a:srgbClr val="808080"/>
                </a:solidFill>
                <a:latin typeface="Arial"/>
              </a:rPr>
              <a:t>SOURCE: McKinsey Global Basic Materials Practice</a:t>
            </a:r>
          </a:p>
        </p:txBody>
      </p:sp>
      <p:grpSp>
        <p:nvGrpSpPr>
          <p:cNvPr id="98" name="Group 97">
            <a:extLst>
              <a:ext uri="{FF2B5EF4-FFF2-40B4-BE49-F238E27FC236}">
                <a16:creationId xmlns:a16="http://schemas.microsoft.com/office/drawing/2014/main" id="{3403B138-113D-4739-B787-6D0EB3414775}"/>
              </a:ext>
            </a:extLst>
          </p:cNvPr>
          <p:cNvGrpSpPr/>
          <p:nvPr/>
        </p:nvGrpSpPr>
        <p:grpSpPr>
          <a:xfrm>
            <a:off x="6985000" y="3627328"/>
            <a:ext cx="1266732" cy="1247992"/>
            <a:chOff x="14094450" y="3899767"/>
            <a:chExt cx="1512762" cy="1490382"/>
          </a:xfrm>
        </p:grpSpPr>
        <p:pic>
          <p:nvPicPr>
            <p:cNvPr id="100" name="Picture 99">
              <a:extLst>
                <a:ext uri="{FF2B5EF4-FFF2-40B4-BE49-F238E27FC236}">
                  <a16:creationId xmlns:a16="http://schemas.microsoft.com/office/drawing/2014/main" id="{E23A16E7-9E01-404C-9B5C-9DF46AFBBC96}"/>
                </a:ext>
              </a:extLst>
            </p:cNvPr>
            <p:cNvPicPr>
              <a:picLocks/>
            </p:cNvPicPr>
            <p:nvPr/>
          </p:nvPicPr>
          <p:blipFill>
            <a:blip r:embed="rId16" cstate="screen">
              <a:extLst>
                <a:ext uri="{28A0092B-C50C-407E-A947-70E740481C1C}">
                  <a14:useLocalDpi xmlns:a14="http://schemas.microsoft.com/office/drawing/2010/main"/>
                </a:ext>
              </a:extLst>
            </a:blip>
            <a:stretch>
              <a:fillRect/>
            </a:stretch>
          </p:blipFill>
          <p:spPr>
            <a:xfrm>
              <a:off x="14511861" y="4567415"/>
              <a:ext cx="464207" cy="698090"/>
            </a:xfrm>
            <a:prstGeom prst="rect">
              <a:avLst/>
            </a:prstGeom>
            <a:ln>
              <a:solidFill>
                <a:schemeClr val="accent6">
                  <a:lumMod val="75000"/>
                </a:schemeClr>
              </a:solidFill>
            </a:ln>
          </p:spPr>
        </p:pic>
        <p:pic>
          <p:nvPicPr>
            <p:cNvPr id="101" name="Picture 100">
              <a:extLst>
                <a:ext uri="{FF2B5EF4-FFF2-40B4-BE49-F238E27FC236}">
                  <a16:creationId xmlns:a16="http://schemas.microsoft.com/office/drawing/2014/main" id="{BEDEB2EC-5129-4E6A-A27C-B7010E33EC84}"/>
                </a:ext>
              </a:extLst>
            </p:cNvPr>
            <p:cNvPicPr>
              <a:picLocks/>
            </p:cNvPicPr>
            <p:nvPr/>
          </p:nvPicPr>
          <p:blipFill>
            <a:blip r:embed="rId17" cstate="screen">
              <a:extLst>
                <a:ext uri="{28A0092B-C50C-407E-A947-70E740481C1C}">
                  <a14:useLocalDpi xmlns:a14="http://schemas.microsoft.com/office/drawing/2010/main"/>
                </a:ext>
              </a:extLst>
            </a:blip>
            <a:stretch>
              <a:fillRect/>
            </a:stretch>
          </p:blipFill>
          <p:spPr>
            <a:xfrm>
              <a:off x="14379212" y="4085911"/>
              <a:ext cx="464207" cy="698090"/>
            </a:xfrm>
            <a:prstGeom prst="rect">
              <a:avLst/>
            </a:prstGeom>
            <a:ln>
              <a:solidFill>
                <a:srgbClr val="808080"/>
              </a:solidFill>
            </a:ln>
          </p:spPr>
        </p:pic>
        <p:pic>
          <p:nvPicPr>
            <p:cNvPr id="102" name="Picture 101">
              <a:extLst>
                <a:ext uri="{FF2B5EF4-FFF2-40B4-BE49-F238E27FC236}">
                  <a16:creationId xmlns:a16="http://schemas.microsoft.com/office/drawing/2014/main" id="{D77B9D2B-E28A-4CBD-A59F-CB00C0D0841F}"/>
                </a:ext>
              </a:extLst>
            </p:cNvPr>
            <p:cNvPicPr>
              <a:picLocks/>
            </p:cNvPicPr>
            <p:nvPr/>
          </p:nvPicPr>
          <p:blipFill>
            <a:blip r:embed="rId18" cstate="screen">
              <a:extLst>
                <a:ext uri="{28A0092B-C50C-407E-A947-70E740481C1C}">
                  <a14:useLocalDpi xmlns:a14="http://schemas.microsoft.com/office/drawing/2010/main"/>
                </a:ext>
              </a:extLst>
            </a:blip>
            <a:stretch>
              <a:fillRect/>
            </a:stretch>
          </p:blipFill>
          <p:spPr>
            <a:xfrm>
              <a:off x="15115042" y="4612506"/>
              <a:ext cx="464207" cy="698090"/>
            </a:xfrm>
            <a:prstGeom prst="rect">
              <a:avLst/>
            </a:prstGeom>
            <a:ln>
              <a:solidFill>
                <a:srgbClr val="808080"/>
              </a:solidFill>
            </a:ln>
          </p:spPr>
        </p:pic>
        <p:pic>
          <p:nvPicPr>
            <p:cNvPr id="110" name="Picture 109">
              <a:extLst>
                <a:ext uri="{FF2B5EF4-FFF2-40B4-BE49-F238E27FC236}">
                  <a16:creationId xmlns:a16="http://schemas.microsoft.com/office/drawing/2014/main" id="{CBEB7424-6C2A-4001-84B7-6ED8DD3623F6}"/>
                </a:ext>
              </a:extLst>
            </p:cNvPr>
            <p:cNvPicPr>
              <a:picLocks/>
            </p:cNvPicPr>
            <p:nvPr/>
          </p:nvPicPr>
          <p:blipFill>
            <a:blip r:embed="rId19" cstate="screen">
              <a:extLst>
                <a:ext uri="{28A0092B-C50C-407E-A947-70E740481C1C}">
                  <a14:useLocalDpi xmlns:a14="http://schemas.microsoft.com/office/drawing/2010/main"/>
                </a:ext>
              </a:extLst>
            </a:blip>
            <a:stretch>
              <a:fillRect/>
            </a:stretch>
          </p:blipFill>
          <p:spPr>
            <a:xfrm>
              <a:off x="14914290" y="4028084"/>
              <a:ext cx="464207" cy="698090"/>
            </a:xfrm>
            <a:prstGeom prst="rect">
              <a:avLst/>
            </a:prstGeom>
            <a:ln>
              <a:solidFill>
                <a:schemeClr val="accent6">
                  <a:lumMod val="50000"/>
                </a:schemeClr>
              </a:solidFill>
            </a:ln>
          </p:spPr>
        </p:pic>
        <p:pic>
          <p:nvPicPr>
            <p:cNvPr id="111" name="Picture 110">
              <a:extLst>
                <a:ext uri="{FF2B5EF4-FFF2-40B4-BE49-F238E27FC236}">
                  <a16:creationId xmlns:a16="http://schemas.microsoft.com/office/drawing/2014/main" id="{DC5C9F78-2785-43F8-B768-65B9DF5BAF9B}"/>
                </a:ext>
              </a:extLst>
            </p:cNvPr>
            <p:cNvPicPr>
              <a:picLocks/>
            </p:cNvPicPr>
            <p:nvPr/>
          </p:nvPicPr>
          <p:blipFill>
            <a:blip r:embed="rId20" cstate="screen">
              <a:extLst>
                <a:ext uri="{28A0092B-C50C-407E-A947-70E740481C1C}">
                  <a14:useLocalDpi xmlns:a14="http://schemas.microsoft.com/office/drawing/2010/main"/>
                </a:ext>
              </a:extLst>
            </a:blip>
            <a:stretch>
              <a:fillRect/>
            </a:stretch>
          </p:blipFill>
          <p:spPr>
            <a:xfrm>
              <a:off x="14159951" y="3928329"/>
              <a:ext cx="524209" cy="684178"/>
            </a:xfrm>
            <a:prstGeom prst="rect">
              <a:avLst/>
            </a:prstGeom>
            <a:noFill/>
            <a:ln>
              <a:solidFill>
                <a:srgbClr val="808080"/>
              </a:solidFill>
            </a:ln>
          </p:spPr>
        </p:pic>
        <p:pic>
          <p:nvPicPr>
            <p:cNvPr id="112" name="Picture 111">
              <a:extLst>
                <a:ext uri="{FF2B5EF4-FFF2-40B4-BE49-F238E27FC236}">
                  <a16:creationId xmlns:a16="http://schemas.microsoft.com/office/drawing/2014/main" id="{9C8B4427-E8CF-4F07-8F3D-639C75BA7703}"/>
                </a:ext>
              </a:extLst>
            </p:cNvPr>
            <p:cNvPicPr>
              <a:picLocks/>
            </p:cNvPicPr>
            <p:nvPr/>
          </p:nvPicPr>
          <p:blipFill>
            <a:blip r:embed="rId21" cstate="screen">
              <a:extLst>
                <a:ext uri="{28A0092B-C50C-407E-A947-70E740481C1C}">
                  <a14:useLocalDpi xmlns:a14="http://schemas.microsoft.com/office/drawing/2010/main"/>
                </a:ext>
              </a:extLst>
            </a:blip>
            <a:stretch>
              <a:fillRect/>
            </a:stretch>
          </p:blipFill>
          <p:spPr>
            <a:xfrm>
              <a:off x="14590833" y="4415428"/>
              <a:ext cx="524209" cy="684178"/>
            </a:xfrm>
            <a:prstGeom prst="rect">
              <a:avLst/>
            </a:prstGeom>
            <a:solidFill>
              <a:schemeClr val="bg1"/>
            </a:solidFill>
            <a:ln>
              <a:solidFill>
                <a:schemeClr val="accent6">
                  <a:lumMod val="50000"/>
                </a:schemeClr>
              </a:solidFill>
            </a:ln>
          </p:spPr>
        </p:pic>
        <p:pic>
          <p:nvPicPr>
            <p:cNvPr id="113" name="Picture 112">
              <a:extLst>
                <a:ext uri="{FF2B5EF4-FFF2-40B4-BE49-F238E27FC236}">
                  <a16:creationId xmlns:a16="http://schemas.microsoft.com/office/drawing/2014/main" id="{52716F9F-1F09-4800-B689-2884B8A84007}"/>
                </a:ext>
              </a:extLst>
            </p:cNvPr>
            <p:cNvPicPr>
              <a:picLocks/>
            </p:cNvPicPr>
            <p:nvPr/>
          </p:nvPicPr>
          <p:blipFill>
            <a:blip r:embed="rId22" cstate="screen">
              <a:extLst>
                <a:ext uri="{28A0092B-C50C-407E-A947-70E740481C1C}">
                  <a14:useLocalDpi xmlns:a14="http://schemas.microsoft.com/office/drawing/2010/main"/>
                </a:ext>
              </a:extLst>
            </a:blip>
            <a:stretch>
              <a:fillRect/>
            </a:stretch>
          </p:blipFill>
          <p:spPr>
            <a:xfrm>
              <a:off x="14094450" y="4705971"/>
              <a:ext cx="524209" cy="684178"/>
            </a:xfrm>
            <a:prstGeom prst="rect">
              <a:avLst/>
            </a:prstGeom>
            <a:ln>
              <a:solidFill>
                <a:srgbClr val="808080"/>
              </a:solidFill>
            </a:ln>
          </p:spPr>
        </p:pic>
        <p:pic>
          <p:nvPicPr>
            <p:cNvPr id="114" name="Picture 113">
              <a:extLst>
                <a:ext uri="{FF2B5EF4-FFF2-40B4-BE49-F238E27FC236}">
                  <a16:creationId xmlns:a16="http://schemas.microsoft.com/office/drawing/2014/main" id="{88BBF1C6-708C-4DB2-9D78-49504ABA4D64}"/>
                </a:ext>
              </a:extLst>
            </p:cNvPr>
            <p:cNvPicPr>
              <a:picLocks/>
            </p:cNvPicPr>
            <p:nvPr/>
          </p:nvPicPr>
          <p:blipFill>
            <a:blip r:embed="rId23" cstate="screen">
              <a:extLst>
                <a:ext uri="{28A0092B-C50C-407E-A947-70E740481C1C}">
                  <a14:useLocalDpi xmlns:a14="http://schemas.microsoft.com/office/drawing/2010/main"/>
                </a:ext>
              </a:extLst>
            </a:blip>
            <a:stretch>
              <a:fillRect/>
            </a:stretch>
          </p:blipFill>
          <p:spPr>
            <a:xfrm>
              <a:off x="15083003" y="3899767"/>
              <a:ext cx="524209" cy="684178"/>
            </a:xfrm>
            <a:prstGeom prst="rect">
              <a:avLst/>
            </a:prstGeom>
            <a:ln>
              <a:solidFill>
                <a:srgbClr val="808080"/>
              </a:solidFill>
            </a:ln>
          </p:spPr>
        </p:pic>
      </p:grpSp>
      <p:sp>
        <p:nvSpPr>
          <p:cNvPr id="115" name="TextBox 114">
            <a:extLst>
              <a:ext uri="{FF2B5EF4-FFF2-40B4-BE49-F238E27FC236}">
                <a16:creationId xmlns:a16="http://schemas.microsoft.com/office/drawing/2014/main" id="{103DF7B0-F334-4D73-8910-1D0406086038}"/>
              </a:ext>
            </a:extLst>
          </p:cNvPr>
          <p:cNvSpPr txBox="1">
            <a:spLocks/>
          </p:cNvSpPr>
          <p:nvPr/>
        </p:nvSpPr>
        <p:spPr>
          <a:xfrm>
            <a:off x="2389587" y="2301755"/>
            <a:ext cx="4096937" cy="123110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lvl="0" defTabSz="895350">
              <a:buClr>
                <a:schemeClr val="tx2"/>
              </a:buClr>
              <a:defRPr>
                <a:latin typeface="+mn-lt"/>
              </a:defRPr>
            </a:lvl1pPr>
            <a:lvl2pPr marL="193675" lvl="1" indent="-192088" defTabSz="895350">
              <a:buClr>
                <a:schemeClr val="tx2"/>
              </a:buClr>
              <a:buSzPct val="125000"/>
              <a:buFont typeface="Arial" charset="0"/>
              <a:buChar char="▪"/>
              <a:defRPr>
                <a:latin typeface="+mn-lt"/>
              </a:defRPr>
            </a:lvl2pPr>
            <a:lvl3pPr marL="457200" lvl="2" indent="-261938" defTabSz="895350">
              <a:buClr>
                <a:schemeClr val="tx2"/>
              </a:buClr>
              <a:buSzPct val="120000"/>
              <a:buFont typeface="Arial" charset="0"/>
              <a:buChar char="–"/>
              <a:defRPr>
                <a:latin typeface="+mn-lt"/>
              </a:defRPr>
            </a:lvl3pPr>
            <a:lvl4pPr marL="614363" lvl="3" indent="-155575" defTabSz="895350">
              <a:buClr>
                <a:schemeClr val="tx2"/>
              </a:buClr>
              <a:buSzPct val="120000"/>
              <a:buFont typeface="Arial" charset="0"/>
              <a:buChar char="▫"/>
              <a:defRPr>
                <a:latin typeface="+mn-lt"/>
              </a:defRPr>
            </a:lvl4pPr>
            <a:lvl5pPr marL="746125" lvl="4" indent="-130175" defTabSz="895350">
              <a:buClr>
                <a:schemeClr val="tx2"/>
              </a:buClr>
              <a:buSzPct val="89000"/>
              <a:buFont typeface="Arial" charset="0"/>
              <a:buChar char="-"/>
              <a:defRPr>
                <a:latin typeface="+mn-lt"/>
              </a:defRPr>
            </a:lvl5pPr>
            <a:lvl6pPr marL="1203325" indent="-130175" defTabSz="895350" fontAlgn="base">
              <a:spcBef>
                <a:spcPct val="0"/>
              </a:spcBef>
              <a:spcAft>
                <a:spcPct val="0"/>
              </a:spcAft>
              <a:buClr>
                <a:schemeClr val="tx2"/>
              </a:buClr>
              <a:buSzPct val="89000"/>
              <a:buFont typeface="Arial" charset="0"/>
              <a:buChar char="-"/>
              <a:defRPr>
                <a:latin typeface="+mn-lt"/>
              </a:defRPr>
            </a:lvl6pPr>
            <a:lvl7pPr marL="1660525" indent="-130175" defTabSz="895350" fontAlgn="base">
              <a:spcBef>
                <a:spcPct val="0"/>
              </a:spcBef>
              <a:spcAft>
                <a:spcPct val="0"/>
              </a:spcAft>
              <a:buClr>
                <a:schemeClr val="tx2"/>
              </a:buClr>
              <a:buSzPct val="89000"/>
              <a:buFont typeface="Arial" charset="0"/>
              <a:buChar char="-"/>
              <a:defRPr>
                <a:latin typeface="+mn-lt"/>
              </a:defRPr>
            </a:lvl7pPr>
            <a:lvl8pPr marL="2117725" indent="-130175" defTabSz="895350" fontAlgn="base">
              <a:spcBef>
                <a:spcPct val="0"/>
              </a:spcBef>
              <a:spcAft>
                <a:spcPct val="0"/>
              </a:spcAft>
              <a:buClr>
                <a:schemeClr val="tx2"/>
              </a:buClr>
              <a:buSzPct val="89000"/>
              <a:buFont typeface="Arial" charset="0"/>
              <a:buChar char="-"/>
              <a:defRPr>
                <a:latin typeface="+mn-lt"/>
              </a:defRPr>
            </a:lvl8pPr>
            <a:lvl9pPr marL="2574925" indent="-130175" defTabSz="895350" fontAlgn="base">
              <a:spcBef>
                <a:spcPct val="0"/>
              </a:spcBef>
              <a:spcAft>
                <a:spcPct val="0"/>
              </a:spcAft>
              <a:buClr>
                <a:schemeClr val="tx2"/>
              </a:buClr>
              <a:buSzPct val="89000"/>
              <a:buFont typeface="Arial" charset="0"/>
              <a:buChar char="-"/>
              <a:defRPr>
                <a:latin typeface="+mn-lt"/>
              </a:defRPr>
            </a:lvl9pPr>
          </a:lstStyle>
          <a:p>
            <a:r>
              <a:rPr lang="en-US" b="1" dirty="0">
                <a:solidFill>
                  <a:srgbClr val="0065BD"/>
                </a:solidFill>
              </a:rPr>
              <a:t>We create unique insights </a:t>
            </a:r>
            <a:r>
              <a:rPr lang="en-US" dirty="0">
                <a:solidFill>
                  <a:srgbClr val="000000"/>
                </a:solidFill>
              </a:rPr>
              <a:t>with our competence center, the Basic Materials Institute (BMI), proprietary steel cost curves and models across products and across the entire value chain</a:t>
            </a:r>
            <a:endParaRPr lang="en-US" dirty="0"/>
          </a:p>
        </p:txBody>
      </p:sp>
      <p:sp>
        <p:nvSpPr>
          <p:cNvPr id="116" name="TextBox 115">
            <a:extLst>
              <a:ext uri="{FF2B5EF4-FFF2-40B4-BE49-F238E27FC236}">
                <a16:creationId xmlns:a16="http://schemas.microsoft.com/office/drawing/2014/main" id="{7D1A96C1-1F62-47DF-A2AC-40F353E7BEE1}"/>
              </a:ext>
            </a:extLst>
          </p:cNvPr>
          <p:cNvSpPr txBox="1">
            <a:spLocks/>
          </p:cNvSpPr>
          <p:nvPr/>
        </p:nvSpPr>
        <p:spPr>
          <a:xfrm>
            <a:off x="2537209" y="3758881"/>
            <a:ext cx="3896456" cy="9848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lvl="0" defTabSz="895350">
              <a:buClr>
                <a:schemeClr val="tx2"/>
              </a:buClr>
              <a:defRPr>
                <a:latin typeface="+mn-lt"/>
              </a:defRPr>
            </a:lvl1pPr>
            <a:lvl2pPr marL="193675" lvl="1" indent="-192088" defTabSz="895350">
              <a:buClr>
                <a:schemeClr val="tx2"/>
              </a:buClr>
              <a:buSzPct val="125000"/>
              <a:buFont typeface="Arial" charset="0"/>
              <a:buChar char="▪"/>
              <a:defRPr>
                <a:latin typeface="+mn-lt"/>
              </a:defRPr>
            </a:lvl2pPr>
            <a:lvl3pPr marL="457200" lvl="2" indent="-261938" defTabSz="895350">
              <a:buClr>
                <a:schemeClr val="tx2"/>
              </a:buClr>
              <a:buSzPct val="120000"/>
              <a:buFont typeface="Arial" charset="0"/>
              <a:buChar char="–"/>
              <a:defRPr>
                <a:latin typeface="+mn-lt"/>
              </a:defRPr>
            </a:lvl3pPr>
            <a:lvl4pPr marL="614363" lvl="3" indent="-155575" defTabSz="895350">
              <a:buClr>
                <a:schemeClr val="tx2"/>
              </a:buClr>
              <a:buSzPct val="120000"/>
              <a:buFont typeface="Arial" charset="0"/>
              <a:buChar char="▫"/>
              <a:defRPr>
                <a:latin typeface="+mn-lt"/>
              </a:defRPr>
            </a:lvl4pPr>
            <a:lvl5pPr marL="746125" lvl="4" indent="-130175" defTabSz="895350">
              <a:buClr>
                <a:schemeClr val="tx2"/>
              </a:buClr>
              <a:buSzPct val="89000"/>
              <a:buFont typeface="Arial" charset="0"/>
              <a:buChar char="-"/>
              <a:defRPr>
                <a:latin typeface="+mn-lt"/>
              </a:defRPr>
            </a:lvl5pPr>
            <a:lvl6pPr marL="1203325" indent="-130175" defTabSz="895350" fontAlgn="base">
              <a:spcBef>
                <a:spcPct val="0"/>
              </a:spcBef>
              <a:spcAft>
                <a:spcPct val="0"/>
              </a:spcAft>
              <a:buClr>
                <a:schemeClr val="tx2"/>
              </a:buClr>
              <a:buSzPct val="89000"/>
              <a:buFont typeface="Arial" charset="0"/>
              <a:buChar char="-"/>
              <a:defRPr>
                <a:latin typeface="+mn-lt"/>
              </a:defRPr>
            </a:lvl6pPr>
            <a:lvl7pPr marL="1660525" indent="-130175" defTabSz="895350" fontAlgn="base">
              <a:spcBef>
                <a:spcPct val="0"/>
              </a:spcBef>
              <a:spcAft>
                <a:spcPct val="0"/>
              </a:spcAft>
              <a:buClr>
                <a:schemeClr val="tx2"/>
              </a:buClr>
              <a:buSzPct val="89000"/>
              <a:buFont typeface="Arial" charset="0"/>
              <a:buChar char="-"/>
              <a:defRPr>
                <a:latin typeface="+mn-lt"/>
              </a:defRPr>
            </a:lvl7pPr>
            <a:lvl8pPr marL="2117725" indent="-130175" defTabSz="895350" fontAlgn="base">
              <a:spcBef>
                <a:spcPct val="0"/>
              </a:spcBef>
              <a:spcAft>
                <a:spcPct val="0"/>
              </a:spcAft>
              <a:buClr>
                <a:schemeClr val="tx2"/>
              </a:buClr>
              <a:buSzPct val="89000"/>
              <a:buFont typeface="Arial" charset="0"/>
              <a:buChar char="-"/>
              <a:defRPr>
                <a:latin typeface="+mn-lt"/>
              </a:defRPr>
            </a:lvl8pPr>
            <a:lvl9pPr marL="2574925" indent="-130175" defTabSz="895350" fontAlgn="base">
              <a:spcBef>
                <a:spcPct val="0"/>
              </a:spcBef>
              <a:spcAft>
                <a:spcPct val="0"/>
              </a:spcAft>
              <a:buClr>
                <a:schemeClr val="tx2"/>
              </a:buClr>
              <a:buSzPct val="89000"/>
              <a:buFont typeface="Arial" charset="0"/>
              <a:buChar char="-"/>
              <a:defRPr>
                <a:latin typeface="+mn-lt"/>
              </a:defRPr>
            </a:lvl9pPr>
          </a:lstStyle>
          <a:p>
            <a:r>
              <a:rPr lang="en-US" b="1" dirty="0">
                <a:solidFill>
                  <a:srgbClr val="0065BD"/>
                </a:solidFill>
              </a:rPr>
              <a:t>We are a recognized thought leader, </a:t>
            </a:r>
            <a:r>
              <a:rPr lang="en-US" dirty="0">
                <a:solidFill>
                  <a:srgbClr val="000000"/>
                </a:solidFill>
              </a:rPr>
              <a:t>regularly publish our latest thinking on steel, including key opportunities and challenges leaders are facing</a:t>
            </a:r>
            <a:endParaRPr lang="en-US" dirty="0"/>
          </a:p>
        </p:txBody>
      </p:sp>
      <p:sp>
        <p:nvSpPr>
          <p:cNvPr id="117" name="TextBox 116">
            <a:extLst>
              <a:ext uri="{FF2B5EF4-FFF2-40B4-BE49-F238E27FC236}">
                <a16:creationId xmlns:a16="http://schemas.microsoft.com/office/drawing/2014/main" id="{56E8CADC-21B0-42E5-8AC6-73D789783324}"/>
              </a:ext>
            </a:extLst>
          </p:cNvPr>
          <p:cNvSpPr txBox="1">
            <a:spLocks/>
          </p:cNvSpPr>
          <p:nvPr/>
        </p:nvSpPr>
        <p:spPr>
          <a:xfrm>
            <a:off x="2054010" y="5216008"/>
            <a:ext cx="4251539" cy="4924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lvl="0" defTabSz="895350">
              <a:buClr>
                <a:schemeClr val="tx2"/>
              </a:buClr>
              <a:defRPr>
                <a:latin typeface="+mn-lt"/>
              </a:defRPr>
            </a:lvl1pPr>
            <a:lvl2pPr marL="193675" lvl="1" indent="-192088" defTabSz="895350">
              <a:buClr>
                <a:schemeClr val="tx2"/>
              </a:buClr>
              <a:buSzPct val="125000"/>
              <a:buFont typeface="Arial" charset="0"/>
              <a:buChar char="▪"/>
              <a:defRPr>
                <a:latin typeface="+mn-lt"/>
              </a:defRPr>
            </a:lvl2pPr>
            <a:lvl3pPr marL="457200" lvl="2" indent="-261938" defTabSz="895350">
              <a:buClr>
                <a:schemeClr val="tx2"/>
              </a:buClr>
              <a:buSzPct val="120000"/>
              <a:buFont typeface="Arial" charset="0"/>
              <a:buChar char="–"/>
              <a:defRPr>
                <a:latin typeface="+mn-lt"/>
              </a:defRPr>
            </a:lvl3pPr>
            <a:lvl4pPr marL="614363" lvl="3" indent="-155575" defTabSz="895350">
              <a:buClr>
                <a:schemeClr val="tx2"/>
              </a:buClr>
              <a:buSzPct val="120000"/>
              <a:buFont typeface="Arial" charset="0"/>
              <a:buChar char="▫"/>
              <a:defRPr>
                <a:latin typeface="+mn-lt"/>
              </a:defRPr>
            </a:lvl4pPr>
            <a:lvl5pPr marL="746125" lvl="4" indent="-130175" defTabSz="895350">
              <a:buClr>
                <a:schemeClr val="tx2"/>
              </a:buClr>
              <a:buSzPct val="89000"/>
              <a:buFont typeface="Arial" charset="0"/>
              <a:buChar char="-"/>
              <a:defRPr>
                <a:latin typeface="+mn-lt"/>
              </a:defRPr>
            </a:lvl5pPr>
            <a:lvl6pPr marL="1203325" indent="-130175" defTabSz="895350" fontAlgn="base">
              <a:spcBef>
                <a:spcPct val="0"/>
              </a:spcBef>
              <a:spcAft>
                <a:spcPct val="0"/>
              </a:spcAft>
              <a:buClr>
                <a:schemeClr val="tx2"/>
              </a:buClr>
              <a:buSzPct val="89000"/>
              <a:buFont typeface="Arial" charset="0"/>
              <a:buChar char="-"/>
              <a:defRPr>
                <a:latin typeface="+mn-lt"/>
              </a:defRPr>
            </a:lvl6pPr>
            <a:lvl7pPr marL="1660525" indent="-130175" defTabSz="895350" fontAlgn="base">
              <a:spcBef>
                <a:spcPct val="0"/>
              </a:spcBef>
              <a:spcAft>
                <a:spcPct val="0"/>
              </a:spcAft>
              <a:buClr>
                <a:schemeClr val="tx2"/>
              </a:buClr>
              <a:buSzPct val="89000"/>
              <a:buFont typeface="Arial" charset="0"/>
              <a:buChar char="-"/>
              <a:defRPr>
                <a:latin typeface="+mn-lt"/>
              </a:defRPr>
            </a:lvl7pPr>
            <a:lvl8pPr marL="2117725" indent="-130175" defTabSz="895350" fontAlgn="base">
              <a:spcBef>
                <a:spcPct val="0"/>
              </a:spcBef>
              <a:spcAft>
                <a:spcPct val="0"/>
              </a:spcAft>
              <a:buClr>
                <a:schemeClr val="tx2"/>
              </a:buClr>
              <a:buSzPct val="89000"/>
              <a:buFont typeface="Arial" charset="0"/>
              <a:buChar char="-"/>
              <a:defRPr>
                <a:latin typeface="+mn-lt"/>
              </a:defRPr>
            </a:lvl8pPr>
            <a:lvl9pPr marL="2574925" indent="-130175" defTabSz="895350" fontAlgn="base">
              <a:spcBef>
                <a:spcPct val="0"/>
              </a:spcBef>
              <a:spcAft>
                <a:spcPct val="0"/>
              </a:spcAft>
              <a:buClr>
                <a:schemeClr val="tx2"/>
              </a:buClr>
              <a:buSzPct val="89000"/>
              <a:buFont typeface="Arial" charset="0"/>
              <a:buChar char="-"/>
              <a:defRPr>
                <a:latin typeface="+mn-lt"/>
              </a:defRPr>
            </a:lvl9pPr>
          </a:lstStyle>
          <a:p>
            <a:r>
              <a:rPr lang="en-US" b="1" dirty="0">
                <a:solidFill>
                  <a:srgbClr val="0065BD"/>
                </a:solidFill>
              </a:rPr>
              <a:t>We have proprietary tools </a:t>
            </a:r>
            <a:r>
              <a:rPr lang="en-US" dirty="0">
                <a:solidFill>
                  <a:srgbClr val="000000"/>
                </a:solidFill>
              </a:rPr>
              <a:t>designed and tailored particularly for the steel industry</a:t>
            </a:r>
            <a:endParaRPr lang="en-US" dirty="0"/>
          </a:p>
        </p:txBody>
      </p:sp>
      <p:grpSp>
        <p:nvGrpSpPr>
          <p:cNvPr id="121" name="Group 120">
            <a:extLst>
              <a:ext uri="{FF2B5EF4-FFF2-40B4-BE49-F238E27FC236}">
                <a16:creationId xmlns:a16="http://schemas.microsoft.com/office/drawing/2014/main" id="{2D3B193F-F2EC-478D-B115-FFD8EDF5F97F}"/>
              </a:ext>
            </a:extLst>
          </p:cNvPr>
          <p:cNvGrpSpPr/>
          <p:nvPr/>
        </p:nvGrpSpPr>
        <p:grpSpPr>
          <a:xfrm>
            <a:off x="0" y="1012065"/>
            <a:ext cx="2105025" cy="5021392"/>
            <a:chOff x="0" y="901404"/>
            <a:chExt cx="2044191" cy="4876275"/>
          </a:xfrm>
        </p:grpSpPr>
        <p:pic>
          <p:nvPicPr>
            <p:cNvPr id="152" name="Picture 151">
              <a:extLst>
                <a:ext uri="{FF2B5EF4-FFF2-40B4-BE49-F238E27FC236}">
                  <a16:creationId xmlns:a16="http://schemas.microsoft.com/office/drawing/2014/main" id="{DC19770E-3B34-444E-8D7D-7EAE66C88C6B}"/>
                </a:ext>
              </a:extLst>
            </p:cNvPr>
            <p:cNvPicPr>
              <a:picLocks noChangeAspect="1"/>
            </p:cNvPicPr>
            <p:nvPr/>
          </p:nvPicPr>
          <p:blipFill>
            <a:blip r:embed="rId24"/>
            <a:stretch>
              <a:fillRect/>
            </a:stretch>
          </p:blipFill>
          <p:spPr>
            <a:xfrm>
              <a:off x="0" y="949446"/>
              <a:ext cx="1983059" cy="4780193"/>
            </a:xfrm>
            <a:custGeom>
              <a:avLst/>
              <a:gdLst>
                <a:gd name="connsiteX0" fmla="*/ 2433 w 2288433"/>
                <a:gd name="connsiteY0" fmla="*/ 0 h 4572359"/>
                <a:gd name="connsiteX1" fmla="*/ 1982612 w 2288433"/>
                <a:gd name="connsiteY1" fmla="*/ 1143860 h 4572359"/>
                <a:gd name="connsiteX2" fmla="*/ 1981395 w 2288433"/>
                <a:gd name="connsiteY2" fmla="*/ 3430607 h 4572359"/>
                <a:gd name="connsiteX3" fmla="*/ 0 w 2288433"/>
                <a:gd name="connsiteY3" fmla="*/ 4572358 h 4572359"/>
              </a:gdLst>
              <a:ahLst/>
              <a:cxnLst>
                <a:cxn ang="0">
                  <a:pos x="connsiteX0" y="connsiteY0"/>
                </a:cxn>
                <a:cxn ang="0">
                  <a:pos x="connsiteX1" y="connsiteY1"/>
                </a:cxn>
                <a:cxn ang="0">
                  <a:pos x="connsiteX2" y="connsiteY2"/>
                </a:cxn>
                <a:cxn ang="0">
                  <a:pos x="connsiteX3" y="connsiteY3"/>
                </a:cxn>
              </a:cxnLst>
              <a:rect l="l" t="t" r="r" b="b"/>
              <a:pathLst>
                <a:path w="2288433" h="4572359">
                  <a:moveTo>
                    <a:pt x="2433" y="0"/>
                  </a:moveTo>
                  <a:cubicBezTo>
                    <a:pt x="819460" y="0"/>
                    <a:pt x="1574373" y="436080"/>
                    <a:pt x="1982612" y="1143860"/>
                  </a:cubicBezTo>
                  <a:cubicBezTo>
                    <a:pt x="2390808" y="1851568"/>
                    <a:pt x="2390344" y="2723334"/>
                    <a:pt x="1981395" y="3430607"/>
                  </a:cubicBezTo>
                  <a:cubicBezTo>
                    <a:pt x="1572404" y="4137953"/>
                    <a:pt x="817026" y="4573228"/>
                    <a:pt x="0" y="4572358"/>
                  </a:cubicBezTo>
                  <a:close/>
                </a:path>
              </a:pathLst>
            </a:custGeom>
            <a:noFill/>
          </p:spPr>
        </p:pic>
        <p:sp>
          <p:nvSpPr>
            <p:cNvPr id="153" name="Arc 9">
              <a:extLst>
                <a:ext uri="{FF2B5EF4-FFF2-40B4-BE49-F238E27FC236}">
                  <a16:creationId xmlns:a16="http://schemas.microsoft.com/office/drawing/2014/main" id="{4BB20FD4-584A-4A0F-9DC4-4BEE2FD3AD7F}"/>
                </a:ext>
              </a:extLst>
            </p:cNvPr>
            <p:cNvSpPr>
              <a:spLocks/>
            </p:cNvSpPr>
            <p:nvPr/>
          </p:nvSpPr>
          <p:spPr bwMode="gray">
            <a:xfrm>
              <a:off x="47679" y="901404"/>
              <a:ext cx="1996512" cy="4876275"/>
            </a:xfrm>
            <a:custGeom>
              <a:avLst/>
              <a:gdLst>
                <a:gd name="T0" fmla="*/ 10830009 w 21600"/>
                <a:gd name="T1" fmla="*/ 0 h 43072"/>
                <a:gd name="T2" fmla="*/ 10961416 w 21600"/>
                <a:gd name="T3" fmla="*/ 494110007 h 43072"/>
                <a:gd name="T4" fmla="*/ 0 w 21600"/>
                <a:gd name="T5" fmla="*/ 247066517 h 43072"/>
                <a:gd name="T6" fmla="*/ 0 60000 65536"/>
                <a:gd name="T7" fmla="*/ 0 60000 65536"/>
                <a:gd name="T8" fmla="*/ 0 60000 65536"/>
              </a:gdLst>
              <a:ahLst/>
              <a:cxnLst>
                <a:cxn ang="T6">
                  <a:pos x="T0" y="T1"/>
                </a:cxn>
                <a:cxn ang="T7">
                  <a:pos x="T2" y="T3"/>
                </a:cxn>
                <a:cxn ang="T8">
                  <a:pos x="T4" y="T5"/>
                </a:cxn>
              </a:cxnLst>
              <a:rect l="0" t="0" r="r" b="b"/>
              <a:pathLst>
                <a:path w="21600" h="43072" fill="none" extrusionOk="0">
                  <a:moveTo>
                    <a:pt x="1648" y="-1"/>
                  </a:moveTo>
                  <a:cubicBezTo>
                    <a:pt x="12905" y="861"/>
                    <a:pt x="21600" y="10246"/>
                    <a:pt x="21600" y="21537"/>
                  </a:cubicBezTo>
                  <a:cubicBezTo>
                    <a:pt x="21600" y="32819"/>
                    <a:pt x="12916" y="42201"/>
                    <a:pt x="1668" y="43072"/>
                  </a:cubicBezTo>
                </a:path>
                <a:path w="21600" h="43072" stroke="0" extrusionOk="0">
                  <a:moveTo>
                    <a:pt x="1648" y="-1"/>
                  </a:moveTo>
                  <a:cubicBezTo>
                    <a:pt x="12905" y="861"/>
                    <a:pt x="21600" y="10246"/>
                    <a:pt x="21600" y="21537"/>
                  </a:cubicBezTo>
                  <a:cubicBezTo>
                    <a:pt x="21600" y="32819"/>
                    <a:pt x="12916" y="42201"/>
                    <a:pt x="1668" y="43072"/>
                  </a:cubicBezTo>
                  <a:lnTo>
                    <a:pt x="0" y="21537"/>
                  </a:lnTo>
                  <a:lnTo>
                    <a:pt x="1648" y="-1"/>
                  </a:lnTo>
                  <a:close/>
                </a:path>
              </a:pathLst>
            </a:custGeom>
            <a:noFill/>
            <a:ln w="28575">
              <a:solidFill>
                <a:schemeClr val="hlink"/>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dirty="0">
                <a:latin typeface="+mn-lt"/>
              </a:endParaRPr>
            </a:p>
          </p:txBody>
        </p:sp>
      </p:grpSp>
      <p:sp>
        <p:nvSpPr>
          <p:cNvPr id="154" name="Freeform 126">
            <a:extLst>
              <a:ext uri="{FF2B5EF4-FFF2-40B4-BE49-F238E27FC236}">
                <a16:creationId xmlns:a16="http://schemas.microsoft.com/office/drawing/2014/main" id="{5EA74AED-88BD-40EC-9F2C-7D9EA6954CF1}"/>
              </a:ext>
            </a:extLst>
          </p:cNvPr>
          <p:cNvSpPr>
            <a:spLocks noEditPoints="1"/>
          </p:cNvSpPr>
          <p:nvPr/>
        </p:nvSpPr>
        <p:spPr bwMode="auto">
          <a:xfrm>
            <a:off x="7116098" y="696828"/>
            <a:ext cx="1004536" cy="1280486"/>
          </a:xfrm>
          <a:custGeom>
            <a:avLst/>
            <a:gdLst>
              <a:gd name="T0" fmla="*/ 235 w 506"/>
              <a:gd name="T1" fmla="*/ 142 h 645"/>
              <a:gd name="T2" fmla="*/ 248 w 506"/>
              <a:gd name="T3" fmla="*/ 137 h 645"/>
              <a:gd name="T4" fmla="*/ 253 w 506"/>
              <a:gd name="T5" fmla="*/ 126 h 645"/>
              <a:gd name="T6" fmla="*/ 251 w 506"/>
              <a:gd name="T7" fmla="*/ 118 h 645"/>
              <a:gd name="T8" fmla="*/ 242 w 506"/>
              <a:gd name="T9" fmla="*/ 110 h 645"/>
              <a:gd name="T10" fmla="*/ 235 w 506"/>
              <a:gd name="T11" fmla="*/ 108 h 645"/>
              <a:gd name="T12" fmla="*/ 222 w 506"/>
              <a:gd name="T13" fmla="*/ 113 h 645"/>
              <a:gd name="T14" fmla="*/ 218 w 506"/>
              <a:gd name="T15" fmla="*/ 126 h 645"/>
              <a:gd name="T16" fmla="*/ 219 w 506"/>
              <a:gd name="T17" fmla="*/ 132 h 645"/>
              <a:gd name="T18" fmla="*/ 229 w 506"/>
              <a:gd name="T19" fmla="*/ 142 h 645"/>
              <a:gd name="T20" fmla="*/ 235 w 506"/>
              <a:gd name="T21" fmla="*/ 142 h 645"/>
              <a:gd name="T22" fmla="*/ 371 w 506"/>
              <a:gd name="T23" fmla="*/ 463 h 645"/>
              <a:gd name="T24" fmla="*/ 298 w 506"/>
              <a:gd name="T25" fmla="*/ 163 h 645"/>
              <a:gd name="T26" fmla="*/ 306 w 506"/>
              <a:gd name="T27" fmla="*/ 137 h 645"/>
              <a:gd name="T28" fmla="*/ 306 w 506"/>
              <a:gd name="T29" fmla="*/ 118 h 645"/>
              <a:gd name="T30" fmla="*/ 319 w 506"/>
              <a:gd name="T31" fmla="*/ 114 h 645"/>
              <a:gd name="T32" fmla="*/ 338 w 506"/>
              <a:gd name="T33" fmla="*/ 113 h 645"/>
              <a:gd name="T34" fmla="*/ 363 w 506"/>
              <a:gd name="T35" fmla="*/ 118 h 645"/>
              <a:gd name="T36" fmla="*/ 390 w 506"/>
              <a:gd name="T37" fmla="*/ 132 h 645"/>
              <a:gd name="T38" fmla="*/ 398 w 506"/>
              <a:gd name="T39" fmla="*/ 139 h 645"/>
              <a:gd name="T40" fmla="*/ 416 w 506"/>
              <a:gd name="T41" fmla="*/ 145 h 645"/>
              <a:gd name="T42" fmla="*/ 438 w 506"/>
              <a:gd name="T43" fmla="*/ 150 h 645"/>
              <a:gd name="T44" fmla="*/ 466 w 506"/>
              <a:gd name="T45" fmla="*/ 147 h 645"/>
              <a:gd name="T46" fmla="*/ 483 w 506"/>
              <a:gd name="T47" fmla="*/ 142 h 645"/>
              <a:gd name="T48" fmla="*/ 501 w 506"/>
              <a:gd name="T49" fmla="*/ 29 h 645"/>
              <a:gd name="T50" fmla="*/ 483 w 506"/>
              <a:gd name="T51" fmla="*/ 34 h 645"/>
              <a:gd name="T52" fmla="*/ 456 w 506"/>
              <a:gd name="T53" fmla="*/ 37 h 645"/>
              <a:gd name="T54" fmla="*/ 432 w 506"/>
              <a:gd name="T55" fmla="*/ 32 h 645"/>
              <a:gd name="T56" fmla="*/ 416 w 506"/>
              <a:gd name="T57" fmla="*/ 26 h 645"/>
              <a:gd name="T58" fmla="*/ 408 w 506"/>
              <a:gd name="T59" fmla="*/ 19 h 645"/>
              <a:gd name="T60" fmla="*/ 392 w 506"/>
              <a:gd name="T61" fmla="*/ 10 h 645"/>
              <a:gd name="T62" fmla="*/ 361 w 506"/>
              <a:gd name="T63" fmla="*/ 0 h 645"/>
              <a:gd name="T64" fmla="*/ 335 w 506"/>
              <a:gd name="T65" fmla="*/ 2 h 645"/>
              <a:gd name="T66" fmla="*/ 319 w 506"/>
              <a:gd name="T67" fmla="*/ 6 h 645"/>
              <a:gd name="T68" fmla="*/ 293 w 506"/>
              <a:gd name="T69" fmla="*/ 152 h 645"/>
              <a:gd name="T70" fmla="*/ 250 w 506"/>
              <a:gd name="T71" fmla="*/ 152 h 645"/>
              <a:gd name="T72" fmla="*/ 243 w 506"/>
              <a:gd name="T73" fmla="*/ 148 h 645"/>
              <a:gd name="T74" fmla="*/ 237 w 506"/>
              <a:gd name="T75" fmla="*/ 147 h 645"/>
              <a:gd name="T76" fmla="*/ 229 w 506"/>
              <a:gd name="T77" fmla="*/ 148 h 645"/>
              <a:gd name="T78" fmla="*/ 211 w 506"/>
              <a:gd name="T79" fmla="*/ 206 h 645"/>
              <a:gd name="T80" fmla="*/ 209 w 506"/>
              <a:gd name="T81" fmla="*/ 181 h 645"/>
              <a:gd name="T82" fmla="*/ 221 w 506"/>
              <a:gd name="T83" fmla="*/ 211 h 645"/>
              <a:gd name="T84" fmla="*/ 218 w 506"/>
              <a:gd name="T85" fmla="*/ 252 h 645"/>
              <a:gd name="T86" fmla="*/ 232 w 506"/>
              <a:gd name="T87" fmla="*/ 306 h 645"/>
              <a:gd name="T88" fmla="*/ 156 w 506"/>
              <a:gd name="T89" fmla="*/ 377 h 645"/>
              <a:gd name="T90" fmla="*/ 506 w 506"/>
              <a:gd name="T91" fmla="*/ 645 h 645"/>
              <a:gd name="T92" fmla="*/ 234 w 506"/>
              <a:gd name="T93" fmla="*/ 302 h 645"/>
              <a:gd name="T94" fmla="*/ 238 w 506"/>
              <a:gd name="T95" fmla="*/ 231 h 645"/>
              <a:gd name="T96" fmla="*/ 238 w 506"/>
              <a:gd name="T97" fmla="*/ 231 h 645"/>
              <a:gd name="T98" fmla="*/ 238 w 506"/>
              <a:gd name="T99" fmla="*/ 231 h 645"/>
              <a:gd name="T100" fmla="*/ 253 w 506"/>
              <a:gd name="T101" fmla="*/ 242 h 645"/>
              <a:gd name="T102" fmla="*/ 234 w 506"/>
              <a:gd name="T103" fmla="*/ 302 h 645"/>
              <a:gd name="T104" fmla="*/ 271 w 506"/>
              <a:gd name="T105" fmla="*/ 234 h 645"/>
              <a:gd name="T106" fmla="*/ 256 w 506"/>
              <a:gd name="T107" fmla="*/ 211 h 645"/>
              <a:gd name="T108" fmla="*/ 280 w 506"/>
              <a:gd name="T109" fmla="*/ 189 h 645"/>
              <a:gd name="T110" fmla="*/ 272 w 506"/>
              <a:gd name="T111" fmla="*/ 285 h 6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06" h="645">
                <a:moveTo>
                  <a:pt x="235" y="142"/>
                </a:moveTo>
                <a:lnTo>
                  <a:pt x="235" y="142"/>
                </a:lnTo>
                <a:lnTo>
                  <a:pt x="242" y="142"/>
                </a:lnTo>
                <a:lnTo>
                  <a:pt x="248" y="137"/>
                </a:lnTo>
                <a:lnTo>
                  <a:pt x="251" y="132"/>
                </a:lnTo>
                <a:lnTo>
                  <a:pt x="253" y="126"/>
                </a:lnTo>
                <a:lnTo>
                  <a:pt x="253" y="126"/>
                </a:lnTo>
                <a:lnTo>
                  <a:pt x="251" y="118"/>
                </a:lnTo>
                <a:lnTo>
                  <a:pt x="248" y="113"/>
                </a:lnTo>
                <a:lnTo>
                  <a:pt x="242" y="110"/>
                </a:lnTo>
                <a:lnTo>
                  <a:pt x="235" y="108"/>
                </a:lnTo>
                <a:lnTo>
                  <a:pt x="235" y="108"/>
                </a:lnTo>
                <a:lnTo>
                  <a:pt x="229" y="110"/>
                </a:lnTo>
                <a:lnTo>
                  <a:pt x="222" y="113"/>
                </a:lnTo>
                <a:lnTo>
                  <a:pt x="219" y="118"/>
                </a:lnTo>
                <a:lnTo>
                  <a:pt x="218" y="126"/>
                </a:lnTo>
                <a:lnTo>
                  <a:pt x="218" y="126"/>
                </a:lnTo>
                <a:lnTo>
                  <a:pt x="219" y="132"/>
                </a:lnTo>
                <a:lnTo>
                  <a:pt x="222" y="137"/>
                </a:lnTo>
                <a:lnTo>
                  <a:pt x="229" y="142"/>
                </a:lnTo>
                <a:lnTo>
                  <a:pt x="235" y="142"/>
                </a:lnTo>
                <a:lnTo>
                  <a:pt x="235" y="142"/>
                </a:lnTo>
                <a:close/>
                <a:moveTo>
                  <a:pt x="379" y="440"/>
                </a:moveTo>
                <a:lnTo>
                  <a:pt x="371" y="463"/>
                </a:lnTo>
                <a:lnTo>
                  <a:pt x="279" y="297"/>
                </a:lnTo>
                <a:lnTo>
                  <a:pt x="298" y="163"/>
                </a:lnTo>
                <a:lnTo>
                  <a:pt x="313" y="144"/>
                </a:lnTo>
                <a:lnTo>
                  <a:pt x="306" y="137"/>
                </a:lnTo>
                <a:lnTo>
                  <a:pt x="301" y="142"/>
                </a:lnTo>
                <a:lnTo>
                  <a:pt x="306" y="118"/>
                </a:lnTo>
                <a:lnTo>
                  <a:pt x="306" y="118"/>
                </a:lnTo>
                <a:lnTo>
                  <a:pt x="319" y="114"/>
                </a:lnTo>
                <a:lnTo>
                  <a:pt x="327" y="113"/>
                </a:lnTo>
                <a:lnTo>
                  <a:pt x="338" y="113"/>
                </a:lnTo>
                <a:lnTo>
                  <a:pt x="350" y="114"/>
                </a:lnTo>
                <a:lnTo>
                  <a:pt x="363" y="118"/>
                </a:lnTo>
                <a:lnTo>
                  <a:pt x="377" y="124"/>
                </a:lnTo>
                <a:lnTo>
                  <a:pt x="390" y="132"/>
                </a:lnTo>
                <a:lnTo>
                  <a:pt x="390" y="132"/>
                </a:lnTo>
                <a:lnTo>
                  <a:pt x="398" y="139"/>
                </a:lnTo>
                <a:lnTo>
                  <a:pt x="406" y="142"/>
                </a:lnTo>
                <a:lnTo>
                  <a:pt x="416" y="145"/>
                </a:lnTo>
                <a:lnTo>
                  <a:pt x="424" y="148"/>
                </a:lnTo>
                <a:lnTo>
                  <a:pt x="438" y="150"/>
                </a:lnTo>
                <a:lnTo>
                  <a:pt x="453" y="150"/>
                </a:lnTo>
                <a:lnTo>
                  <a:pt x="466" y="147"/>
                </a:lnTo>
                <a:lnTo>
                  <a:pt x="475" y="145"/>
                </a:lnTo>
                <a:lnTo>
                  <a:pt x="483" y="142"/>
                </a:lnTo>
                <a:lnTo>
                  <a:pt x="501" y="29"/>
                </a:lnTo>
                <a:lnTo>
                  <a:pt x="501" y="29"/>
                </a:lnTo>
                <a:lnTo>
                  <a:pt x="493" y="32"/>
                </a:lnTo>
                <a:lnTo>
                  <a:pt x="483" y="34"/>
                </a:lnTo>
                <a:lnTo>
                  <a:pt x="471" y="37"/>
                </a:lnTo>
                <a:lnTo>
                  <a:pt x="456" y="37"/>
                </a:lnTo>
                <a:lnTo>
                  <a:pt x="440" y="35"/>
                </a:lnTo>
                <a:lnTo>
                  <a:pt x="432" y="32"/>
                </a:lnTo>
                <a:lnTo>
                  <a:pt x="424" y="29"/>
                </a:lnTo>
                <a:lnTo>
                  <a:pt x="416" y="26"/>
                </a:lnTo>
                <a:lnTo>
                  <a:pt x="408" y="19"/>
                </a:lnTo>
                <a:lnTo>
                  <a:pt x="408" y="19"/>
                </a:lnTo>
                <a:lnTo>
                  <a:pt x="400" y="15"/>
                </a:lnTo>
                <a:lnTo>
                  <a:pt x="392" y="10"/>
                </a:lnTo>
                <a:lnTo>
                  <a:pt x="375" y="3"/>
                </a:lnTo>
                <a:lnTo>
                  <a:pt x="361" y="0"/>
                </a:lnTo>
                <a:lnTo>
                  <a:pt x="346" y="0"/>
                </a:lnTo>
                <a:lnTo>
                  <a:pt x="335" y="2"/>
                </a:lnTo>
                <a:lnTo>
                  <a:pt x="327" y="3"/>
                </a:lnTo>
                <a:lnTo>
                  <a:pt x="319" y="6"/>
                </a:lnTo>
                <a:lnTo>
                  <a:pt x="316" y="6"/>
                </a:lnTo>
                <a:lnTo>
                  <a:pt x="293" y="152"/>
                </a:lnTo>
                <a:lnTo>
                  <a:pt x="277" y="169"/>
                </a:lnTo>
                <a:lnTo>
                  <a:pt x="250" y="152"/>
                </a:lnTo>
                <a:lnTo>
                  <a:pt x="250" y="152"/>
                </a:lnTo>
                <a:lnTo>
                  <a:pt x="243" y="148"/>
                </a:lnTo>
                <a:lnTo>
                  <a:pt x="237" y="147"/>
                </a:lnTo>
                <a:lnTo>
                  <a:pt x="237" y="147"/>
                </a:lnTo>
                <a:lnTo>
                  <a:pt x="234" y="147"/>
                </a:lnTo>
                <a:lnTo>
                  <a:pt x="229" y="148"/>
                </a:lnTo>
                <a:lnTo>
                  <a:pt x="189" y="176"/>
                </a:lnTo>
                <a:lnTo>
                  <a:pt x="211" y="206"/>
                </a:lnTo>
                <a:lnTo>
                  <a:pt x="219" y="203"/>
                </a:lnTo>
                <a:lnTo>
                  <a:pt x="209" y="181"/>
                </a:lnTo>
                <a:lnTo>
                  <a:pt x="219" y="173"/>
                </a:lnTo>
                <a:lnTo>
                  <a:pt x="221" y="211"/>
                </a:lnTo>
                <a:lnTo>
                  <a:pt x="221" y="211"/>
                </a:lnTo>
                <a:lnTo>
                  <a:pt x="218" y="252"/>
                </a:lnTo>
                <a:lnTo>
                  <a:pt x="216" y="305"/>
                </a:lnTo>
                <a:lnTo>
                  <a:pt x="232" y="306"/>
                </a:lnTo>
                <a:lnTo>
                  <a:pt x="171" y="403"/>
                </a:lnTo>
                <a:lnTo>
                  <a:pt x="156" y="377"/>
                </a:lnTo>
                <a:lnTo>
                  <a:pt x="0" y="645"/>
                </a:lnTo>
                <a:lnTo>
                  <a:pt x="506" y="645"/>
                </a:lnTo>
                <a:lnTo>
                  <a:pt x="379" y="440"/>
                </a:lnTo>
                <a:close/>
                <a:moveTo>
                  <a:pt x="234" y="302"/>
                </a:moveTo>
                <a:lnTo>
                  <a:pt x="235" y="253"/>
                </a:lnTo>
                <a:lnTo>
                  <a:pt x="238" y="231"/>
                </a:lnTo>
                <a:lnTo>
                  <a:pt x="238" y="231"/>
                </a:lnTo>
                <a:lnTo>
                  <a:pt x="238" y="231"/>
                </a:lnTo>
                <a:lnTo>
                  <a:pt x="238" y="231"/>
                </a:lnTo>
                <a:lnTo>
                  <a:pt x="238" y="231"/>
                </a:lnTo>
                <a:lnTo>
                  <a:pt x="238" y="231"/>
                </a:lnTo>
                <a:lnTo>
                  <a:pt x="253" y="242"/>
                </a:lnTo>
                <a:lnTo>
                  <a:pt x="253" y="271"/>
                </a:lnTo>
                <a:lnTo>
                  <a:pt x="234" y="302"/>
                </a:lnTo>
                <a:close/>
                <a:moveTo>
                  <a:pt x="271" y="234"/>
                </a:moveTo>
                <a:lnTo>
                  <a:pt x="271" y="234"/>
                </a:lnTo>
                <a:lnTo>
                  <a:pt x="264" y="224"/>
                </a:lnTo>
                <a:lnTo>
                  <a:pt x="256" y="211"/>
                </a:lnTo>
                <a:lnTo>
                  <a:pt x="256" y="173"/>
                </a:lnTo>
                <a:lnTo>
                  <a:pt x="280" y="189"/>
                </a:lnTo>
                <a:lnTo>
                  <a:pt x="290" y="176"/>
                </a:lnTo>
                <a:lnTo>
                  <a:pt x="272" y="285"/>
                </a:lnTo>
                <a:lnTo>
                  <a:pt x="271" y="234"/>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grpSp>
        <p:nvGrpSpPr>
          <p:cNvPr id="155" name="Group 154">
            <a:extLst>
              <a:ext uri="{FF2B5EF4-FFF2-40B4-BE49-F238E27FC236}">
                <a16:creationId xmlns:a16="http://schemas.microsoft.com/office/drawing/2014/main" id="{60E90B90-2187-4C36-9401-D1A4AC76F1EF}"/>
              </a:ext>
            </a:extLst>
          </p:cNvPr>
          <p:cNvGrpSpPr>
            <a:grpSpLocks noChangeAspect="1"/>
          </p:cNvGrpSpPr>
          <p:nvPr>
            <p:custDataLst>
              <p:tags r:id="rId5"/>
            </p:custDataLst>
          </p:nvPr>
        </p:nvGrpSpPr>
        <p:grpSpPr bwMode="gray">
          <a:xfrm>
            <a:off x="6949982" y="5129406"/>
            <a:ext cx="1336768" cy="1158088"/>
            <a:chOff x="4157663" y="3082925"/>
            <a:chExt cx="641350" cy="555626"/>
          </a:xfrm>
          <a:solidFill>
            <a:schemeClr val="accent2"/>
          </a:solidFill>
          <a:effectLst/>
        </p:grpSpPr>
        <p:sp>
          <p:nvSpPr>
            <p:cNvPr id="156" name="Freeform 112">
              <a:extLst>
                <a:ext uri="{FF2B5EF4-FFF2-40B4-BE49-F238E27FC236}">
                  <a16:creationId xmlns:a16="http://schemas.microsoft.com/office/drawing/2014/main" id="{B690594E-B491-424F-B7DC-1E3DBF1C283F}"/>
                </a:ext>
              </a:extLst>
            </p:cNvPr>
            <p:cNvSpPr>
              <a:spLocks noEditPoints="1"/>
            </p:cNvSpPr>
            <p:nvPr/>
          </p:nvSpPr>
          <p:spPr bwMode="gray">
            <a:xfrm>
              <a:off x="4487863" y="3082925"/>
              <a:ext cx="311150" cy="311150"/>
            </a:xfrm>
            <a:custGeom>
              <a:avLst/>
              <a:gdLst>
                <a:gd name="T0" fmla="*/ 39 w 83"/>
                <a:gd name="T1" fmla="*/ 0 h 83"/>
                <a:gd name="T2" fmla="*/ 22 w 83"/>
                <a:gd name="T3" fmla="*/ 5 h 83"/>
                <a:gd name="T4" fmla="*/ 18 w 83"/>
                <a:gd name="T5" fmla="*/ 19 h 83"/>
                <a:gd name="T6" fmla="*/ 4 w 83"/>
                <a:gd name="T7" fmla="*/ 23 h 83"/>
                <a:gd name="T8" fmla="*/ 1 w 83"/>
                <a:gd name="T9" fmla="*/ 31 h 83"/>
                <a:gd name="T10" fmla="*/ 0 w 83"/>
                <a:gd name="T11" fmla="*/ 40 h 83"/>
                <a:gd name="T12" fmla="*/ 11 w 83"/>
                <a:gd name="T13" fmla="*/ 50 h 83"/>
                <a:gd name="T14" fmla="*/ 7 w 83"/>
                <a:gd name="T15" fmla="*/ 64 h 83"/>
                <a:gd name="T16" fmla="*/ 19 w 83"/>
                <a:gd name="T17" fmla="*/ 76 h 83"/>
                <a:gd name="T18" fmla="*/ 34 w 83"/>
                <a:gd name="T19" fmla="*/ 72 h 83"/>
                <a:gd name="T20" fmla="*/ 44 w 83"/>
                <a:gd name="T21" fmla="*/ 83 h 83"/>
                <a:gd name="T22" fmla="*/ 61 w 83"/>
                <a:gd name="T23" fmla="*/ 78 h 83"/>
                <a:gd name="T24" fmla="*/ 64 w 83"/>
                <a:gd name="T25" fmla="*/ 63 h 83"/>
                <a:gd name="T26" fmla="*/ 78 w 83"/>
                <a:gd name="T27" fmla="*/ 60 h 83"/>
                <a:gd name="T28" fmla="*/ 81 w 83"/>
                <a:gd name="T29" fmla="*/ 51 h 83"/>
                <a:gd name="T30" fmla="*/ 83 w 83"/>
                <a:gd name="T31" fmla="*/ 42 h 83"/>
                <a:gd name="T32" fmla="*/ 81 w 83"/>
                <a:gd name="T33" fmla="*/ 42 h 83"/>
                <a:gd name="T34" fmla="*/ 72 w 83"/>
                <a:gd name="T35" fmla="*/ 32 h 83"/>
                <a:gd name="T36" fmla="*/ 76 w 83"/>
                <a:gd name="T37" fmla="*/ 18 h 83"/>
                <a:gd name="T38" fmla="*/ 63 w 83"/>
                <a:gd name="T39" fmla="*/ 6 h 83"/>
                <a:gd name="T40" fmla="*/ 49 w 83"/>
                <a:gd name="T41" fmla="*/ 10 h 83"/>
                <a:gd name="T42" fmla="*/ 39 w 83"/>
                <a:gd name="T43" fmla="*/ 0 h 83"/>
                <a:gd name="T44" fmla="*/ 42 w 83"/>
                <a:gd name="T45" fmla="*/ 28 h 83"/>
                <a:gd name="T46" fmla="*/ 45 w 83"/>
                <a:gd name="T47" fmla="*/ 28 h 83"/>
                <a:gd name="T48" fmla="*/ 55 w 83"/>
                <a:gd name="T49" fmla="*/ 45 h 83"/>
                <a:gd name="T50" fmla="*/ 38 w 83"/>
                <a:gd name="T51" fmla="*/ 55 h 83"/>
                <a:gd name="T52" fmla="*/ 35 w 83"/>
                <a:gd name="T53" fmla="*/ 54 h 83"/>
                <a:gd name="T54" fmla="*/ 33 w 83"/>
                <a:gd name="T55" fmla="*/ 52 h 83"/>
                <a:gd name="T56" fmla="*/ 28 w 83"/>
                <a:gd name="T57" fmla="*/ 38 h 83"/>
                <a:gd name="T58" fmla="*/ 42 w 83"/>
                <a:gd name="T59" fmla="*/ 28 h 83"/>
                <a:gd name="T60" fmla="*/ 42 w 83"/>
                <a:gd name="T61" fmla="*/ 34 h 83"/>
                <a:gd name="T62" fmla="*/ 34 w 83"/>
                <a:gd name="T63" fmla="*/ 40 h 83"/>
                <a:gd name="T64" fmla="*/ 37 w 83"/>
                <a:gd name="T65" fmla="*/ 47 h 83"/>
                <a:gd name="T66" fmla="*/ 40 w 83"/>
                <a:gd name="T67" fmla="*/ 48 h 83"/>
                <a:gd name="T68" fmla="*/ 48 w 83"/>
                <a:gd name="T69" fmla="*/ 43 h 83"/>
                <a:gd name="T70" fmla="*/ 43 w 83"/>
                <a:gd name="T71" fmla="*/ 34 h 83"/>
                <a:gd name="T72" fmla="*/ 42 w 83"/>
                <a:gd name="T73" fmla="*/ 34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83" h="83">
                  <a:moveTo>
                    <a:pt x="39" y="0"/>
                  </a:moveTo>
                  <a:cubicBezTo>
                    <a:pt x="33" y="0"/>
                    <a:pt x="27" y="2"/>
                    <a:pt x="22" y="5"/>
                  </a:cubicBezTo>
                  <a:cubicBezTo>
                    <a:pt x="23" y="10"/>
                    <a:pt x="22" y="15"/>
                    <a:pt x="18" y="19"/>
                  </a:cubicBezTo>
                  <a:cubicBezTo>
                    <a:pt x="15" y="23"/>
                    <a:pt x="9" y="24"/>
                    <a:pt x="4" y="23"/>
                  </a:cubicBezTo>
                  <a:cubicBezTo>
                    <a:pt x="3" y="26"/>
                    <a:pt x="2" y="28"/>
                    <a:pt x="1" y="31"/>
                  </a:cubicBezTo>
                  <a:cubicBezTo>
                    <a:pt x="1" y="34"/>
                    <a:pt x="0" y="37"/>
                    <a:pt x="0" y="40"/>
                  </a:cubicBezTo>
                  <a:cubicBezTo>
                    <a:pt x="5" y="41"/>
                    <a:pt x="9" y="45"/>
                    <a:pt x="11" y="50"/>
                  </a:cubicBezTo>
                  <a:cubicBezTo>
                    <a:pt x="12" y="55"/>
                    <a:pt x="11" y="61"/>
                    <a:pt x="7" y="64"/>
                  </a:cubicBezTo>
                  <a:cubicBezTo>
                    <a:pt x="10" y="69"/>
                    <a:pt x="14" y="73"/>
                    <a:pt x="19" y="76"/>
                  </a:cubicBezTo>
                  <a:cubicBezTo>
                    <a:pt x="23" y="73"/>
                    <a:pt x="28" y="71"/>
                    <a:pt x="34" y="72"/>
                  </a:cubicBezTo>
                  <a:cubicBezTo>
                    <a:pt x="39" y="73"/>
                    <a:pt x="43" y="78"/>
                    <a:pt x="44" y="83"/>
                  </a:cubicBezTo>
                  <a:cubicBezTo>
                    <a:pt x="50" y="82"/>
                    <a:pt x="56" y="81"/>
                    <a:pt x="61" y="78"/>
                  </a:cubicBezTo>
                  <a:cubicBezTo>
                    <a:pt x="59" y="73"/>
                    <a:pt x="60" y="67"/>
                    <a:pt x="64" y="63"/>
                  </a:cubicBezTo>
                  <a:cubicBezTo>
                    <a:pt x="68" y="59"/>
                    <a:pt x="73" y="58"/>
                    <a:pt x="78" y="60"/>
                  </a:cubicBezTo>
                  <a:cubicBezTo>
                    <a:pt x="80" y="57"/>
                    <a:pt x="81" y="54"/>
                    <a:pt x="81" y="51"/>
                  </a:cubicBezTo>
                  <a:cubicBezTo>
                    <a:pt x="82" y="48"/>
                    <a:pt x="83" y="45"/>
                    <a:pt x="83" y="42"/>
                  </a:cubicBezTo>
                  <a:cubicBezTo>
                    <a:pt x="82" y="42"/>
                    <a:pt x="82" y="42"/>
                    <a:pt x="81" y="42"/>
                  </a:cubicBezTo>
                  <a:cubicBezTo>
                    <a:pt x="77" y="41"/>
                    <a:pt x="73" y="37"/>
                    <a:pt x="72" y="32"/>
                  </a:cubicBezTo>
                  <a:cubicBezTo>
                    <a:pt x="70" y="27"/>
                    <a:pt x="72" y="22"/>
                    <a:pt x="76" y="18"/>
                  </a:cubicBezTo>
                  <a:cubicBezTo>
                    <a:pt x="72" y="13"/>
                    <a:pt x="68" y="9"/>
                    <a:pt x="63" y="6"/>
                  </a:cubicBezTo>
                  <a:cubicBezTo>
                    <a:pt x="60" y="10"/>
                    <a:pt x="54" y="11"/>
                    <a:pt x="49" y="10"/>
                  </a:cubicBezTo>
                  <a:cubicBezTo>
                    <a:pt x="44" y="9"/>
                    <a:pt x="40" y="5"/>
                    <a:pt x="39" y="0"/>
                  </a:cubicBezTo>
                  <a:close/>
                  <a:moveTo>
                    <a:pt x="42" y="28"/>
                  </a:moveTo>
                  <a:cubicBezTo>
                    <a:pt x="43" y="28"/>
                    <a:pt x="44" y="28"/>
                    <a:pt x="45" y="28"/>
                  </a:cubicBezTo>
                  <a:cubicBezTo>
                    <a:pt x="52" y="30"/>
                    <a:pt x="57" y="37"/>
                    <a:pt x="55" y="45"/>
                  </a:cubicBezTo>
                  <a:cubicBezTo>
                    <a:pt x="53" y="52"/>
                    <a:pt x="45" y="56"/>
                    <a:pt x="38" y="55"/>
                  </a:cubicBezTo>
                  <a:cubicBezTo>
                    <a:pt x="37" y="54"/>
                    <a:pt x="36" y="54"/>
                    <a:pt x="35" y="54"/>
                  </a:cubicBezTo>
                  <a:cubicBezTo>
                    <a:pt x="35" y="53"/>
                    <a:pt x="34" y="53"/>
                    <a:pt x="33" y="52"/>
                  </a:cubicBezTo>
                  <a:cubicBezTo>
                    <a:pt x="29" y="49"/>
                    <a:pt x="27" y="44"/>
                    <a:pt x="28" y="38"/>
                  </a:cubicBezTo>
                  <a:cubicBezTo>
                    <a:pt x="30" y="31"/>
                    <a:pt x="36" y="27"/>
                    <a:pt x="42" y="28"/>
                  </a:cubicBezTo>
                  <a:close/>
                  <a:moveTo>
                    <a:pt x="42" y="34"/>
                  </a:moveTo>
                  <a:cubicBezTo>
                    <a:pt x="38" y="34"/>
                    <a:pt x="35" y="36"/>
                    <a:pt x="34" y="40"/>
                  </a:cubicBezTo>
                  <a:cubicBezTo>
                    <a:pt x="34" y="42"/>
                    <a:pt x="35" y="45"/>
                    <a:pt x="37" y="47"/>
                  </a:cubicBezTo>
                  <a:cubicBezTo>
                    <a:pt x="38" y="48"/>
                    <a:pt x="39" y="48"/>
                    <a:pt x="40" y="48"/>
                  </a:cubicBezTo>
                  <a:cubicBezTo>
                    <a:pt x="43" y="49"/>
                    <a:pt x="47" y="47"/>
                    <a:pt x="48" y="43"/>
                  </a:cubicBezTo>
                  <a:cubicBezTo>
                    <a:pt x="49" y="39"/>
                    <a:pt x="47" y="35"/>
                    <a:pt x="43" y="34"/>
                  </a:cubicBezTo>
                  <a:cubicBezTo>
                    <a:pt x="43" y="34"/>
                    <a:pt x="42" y="34"/>
                    <a:pt x="42" y="34"/>
                  </a:cubicBezTo>
                  <a:close/>
                </a:path>
              </a:pathLst>
            </a:custGeom>
            <a:grpFill/>
            <a:ln>
              <a:noFill/>
            </a:ln>
          </p:spPr>
          <p:txBody>
            <a:bodyPr vert="horz" wrap="square" lIns="91440" tIns="45720" rIns="91440" bIns="45720" numCol="1" anchor="t" anchorCtr="0" compatLnSpc="1">
              <a:prstTxWarp prst="textNoShape">
                <a:avLst/>
              </a:prstTxWarp>
              <a:noAutofit/>
            </a:bodyPr>
            <a:lstStyle/>
            <a:p>
              <a:endParaRPr lang="en-US">
                <a:latin typeface="+mn-lt"/>
              </a:endParaRPr>
            </a:p>
          </p:txBody>
        </p:sp>
        <p:sp>
          <p:nvSpPr>
            <p:cNvPr id="157" name="Freeform 113">
              <a:extLst>
                <a:ext uri="{FF2B5EF4-FFF2-40B4-BE49-F238E27FC236}">
                  <a16:creationId xmlns:a16="http://schemas.microsoft.com/office/drawing/2014/main" id="{20844CCF-43E4-4F31-A943-8654DB18E887}"/>
                </a:ext>
              </a:extLst>
            </p:cNvPr>
            <p:cNvSpPr>
              <a:spLocks noEditPoints="1"/>
            </p:cNvSpPr>
            <p:nvPr/>
          </p:nvSpPr>
          <p:spPr bwMode="gray">
            <a:xfrm>
              <a:off x="4157663" y="3255963"/>
              <a:ext cx="396875" cy="382588"/>
            </a:xfrm>
            <a:custGeom>
              <a:avLst/>
              <a:gdLst>
                <a:gd name="T0" fmla="*/ 37 w 106"/>
                <a:gd name="T1" fmla="*/ 0 h 102"/>
                <a:gd name="T2" fmla="*/ 17 w 106"/>
                <a:gd name="T3" fmla="*/ 12 h 102"/>
                <a:gd name="T4" fmla="*/ 17 w 106"/>
                <a:gd name="T5" fmla="*/ 31 h 102"/>
                <a:gd name="T6" fmla="*/ 1 w 106"/>
                <a:gd name="T7" fmla="*/ 40 h 102"/>
                <a:gd name="T8" fmla="*/ 0 w 106"/>
                <a:gd name="T9" fmla="*/ 51 h 102"/>
                <a:gd name="T10" fmla="*/ 1 w 106"/>
                <a:gd name="T11" fmla="*/ 63 h 102"/>
                <a:gd name="T12" fmla="*/ 17 w 106"/>
                <a:gd name="T13" fmla="*/ 72 h 102"/>
                <a:gd name="T14" fmla="*/ 17 w 106"/>
                <a:gd name="T15" fmla="*/ 91 h 102"/>
                <a:gd name="T16" fmla="*/ 37 w 106"/>
                <a:gd name="T17" fmla="*/ 102 h 102"/>
                <a:gd name="T18" fmla="*/ 53 w 106"/>
                <a:gd name="T19" fmla="*/ 92 h 102"/>
                <a:gd name="T20" fmla="*/ 69 w 106"/>
                <a:gd name="T21" fmla="*/ 102 h 102"/>
                <a:gd name="T22" fmla="*/ 89 w 106"/>
                <a:gd name="T23" fmla="*/ 91 h 102"/>
                <a:gd name="T24" fmla="*/ 88 w 106"/>
                <a:gd name="T25" fmla="*/ 72 h 102"/>
                <a:gd name="T26" fmla="*/ 105 w 106"/>
                <a:gd name="T27" fmla="*/ 62 h 102"/>
                <a:gd name="T28" fmla="*/ 106 w 106"/>
                <a:gd name="T29" fmla="*/ 51 h 102"/>
                <a:gd name="T30" fmla="*/ 105 w 106"/>
                <a:gd name="T31" fmla="*/ 40 h 102"/>
                <a:gd name="T32" fmla="*/ 103 w 106"/>
                <a:gd name="T33" fmla="*/ 40 h 102"/>
                <a:gd name="T34" fmla="*/ 88 w 106"/>
                <a:gd name="T35" fmla="*/ 31 h 102"/>
                <a:gd name="T36" fmla="*/ 89 w 106"/>
                <a:gd name="T37" fmla="*/ 11 h 102"/>
                <a:gd name="T38" fmla="*/ 69 w 106"/>
                <a:gd name="T39" fmla="*/ 0 h 102"/>
                <a:gd name="T40" fmla="*/ 53 w 106"/>
                <a:gd name="T41" fmla="*/ 10 h 102"/>
                <a:gd name="T42" fmla="*/ 37 w 106"/>
                <a:gd name="T43" fmla="*/ 0 h 102"/>
                <a:gd name="T44" fmla="*/ 52 w 106"/>
                <a:gd name="T45" fmla="*/ 32 h 102"/>
                <a:gd name="T46" fmla="*/ 71 w 106"/>
                <a:gd name="T47" fmla="*/ 46 h 102"/>
                <a:gd name="T48" fmla="*/ 58 w 106"/>
                <a:gd name="T49" fmla="*/ 69 h 102"/>
                <a:gd name="T50" fmla="*/ 54 w 106"/>
                <a:gd name="T51" fmla="*/ 70 h 102"/>
                <a:gd name="T52" fmla="*/ 35 w 106"/>
                <a:gd name="T53" fmla="*/ 56 h 102"/>
                <a:gd name="T54" fmla="*/ 48 w 106"/>
                <a:gd name="T55" fmla="*/ 33 h 102"/>
                <a:gd name="T56" fmla="*/ 52 w 106"/>
                <a:gd name="T57" fmla="*/ 32 h 102"/>
                <a:gd name="T58" fmla="*/ 52 w 106"/>
                <a:gd name="T59" fmla="*/ 39 h 102"/>
                <a:gd name="T60" fmla="*/ 50 w 106"/>
                <a:gd name="T61" fmla="*/ 39 h 102"/>
                <a:gd name="T62" fmla="*/ 41 w 106"/>
                <a:gd name="T63" fmla="*/ 54 h 102"/>
                <a:gd name="T64" fmla="*/ 51 w 106"/>
                <a:gd name="T65" fmla="*/ 64 h 102"/>
                <a:gd name="T66" fmla="*/ 56 w 106"/>
                <a:gd name="T67" fmla="*/ 63 h 102"/>
                <a:gd name="T68" fmla="*/ 65 w 106"/>
                <a:gd name="T69" fmla="*/ 48 h 102"/>
                <a:gd name="T70" fmla="*/ 52 w 106"/>
                <a:gd name="T71" fmla="*/ 39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6" h="102">
                  <a:moveTo>
                    <a:pt x="37" y="0"/>
                  </a:moveTo>
                  <a:cubicBezTo>
                    <a:pt x="29" y="2"/>
                    <a:pt x="23" y="6"/>
                    <a:pt x="17" y="12"/>
                  </a:cubicBezTo>
                  <a:cubicBezTo>
                    <a:pt x="21" y="17"/>
                    <a:pt x="21" y="25"/>
                    <a:pt x="17" y="31"/>
                  </a:cubicBezTo>
                  <a:cubicBezTo>
                    <a:pt x="14" y="37"/>
                    <a:pt x="7" y="40"/>
                    <a:pt x="1" y="40"/>
                  </a:cubicBezTo>
                  <a:cubicBezTo>
                    <a:pt x="0" y="44"/>
                    <a:pt x="0" y="47"/>
                    <a:pt x="0" y="51"/>
                  </a:cubicBezTo>
                  <a:cubicBezTo>
                    <a:pt x="0" y="55"/>
                    <a:pt x="0" y="59"/>
                    <a:pt x="1" y="63"/>
                  </a:cubicBezTo>
                  <a:cubicBezTo>
                    <a:pt x="7" y="62"/>
                    <a:pt x="14" y="65"/>
                    <a:pt x="17" y="72"/>
                  </a:cubicBezTo>
                  <a:cubicBezTo>
                    <a:pt x="21" y="78"/>
                    <a:pt x="21" y="85"/>
                    <a:pt x="17" y="91"/>
                  </a:cubicBezTo>
                  <a:cubicBezTo>
                    <a:pt x="23" y="96"/>
                    <a:pt x="29" y="99"/>
                    <a:pt x="37" y="102"/>
                  </a:cubicBezTo>
                  <a:cubicBezTo>
                    <a:pt x="40" y="96"/>
                    <a:pt x="46" y="92"/>
                    <a:pt x="53" y="92"/>
                  </a:cubicBezTo>
                  <a:cubicBezTo>
                    <a:pt x="60" y="92"/>
                    <a:pt x="66" y="96"/>
                    <a:pt x="69" y="102"/>
                  </a:cubicBezTo>
                  <a:cubicBezTo>
                    <a:pt x="77" y="99"/>
                    <a:pt x="83" y="96"/>
                    <a:pt x="89" y="91"/>
                  </a:cubicBezTo>
                  <a:cubicBezTo>
                    <a:pt x="85" y="85"/>
                    <a:pt x="85" y="78"/>
                    <a:pt x="88" y="72"/>
                  </a:cubicBezTo>
                  <a:cubicBezTo>
                    <a:pt x="92" y="66"/>
                    <a:pt x="98" y="62"/>
                    <a:pt x="105" y="62"/>
                  </a:cubicBezTo>
                  <a:cubicBezTo>
                    <a:pt x="106" y="59"/>
                    <a:pt x="106" y="55"/>
                    <a:pt x="106" y="51"/>
                  </a:cubicBezTo>
                  <a:cubicBezTo>
                    <a:pt x="106" y="47"/>
                    <a:pt x="106" y="43"/>
                    <a:pt x="105" y="40"/>
                  </a:cubicBezTo>
                  <a:cubicBezTo>
                    <a:pt x="104" y="40"/>
                    <a:pt x="104" y="40"/>
                    <a:pt x="103" y="40"/>
                  </a:cubicBezTo>
                  <a:cubicBezTo>
                    <a:pt x="97" y="39"/>
                    <a:pt x="92" y="36"/>
                    <a:pt x="88" y="31"/>
                  </a:cubicBezTo>
                  <a:cubicBezTo>
                    <a:pt x="85" y="24"/>
                    <a:pt x="85" y="17"/>
                    <a:pt x="89" y="11"/>
                  </a:cubicBezTo>
                  <a:cubicBezTo>
                    <a:pt x="83" y="6"/>
                    <a:pt x="76" y="2"/>
                    <a:pt x="69" y="0"/>
                  </a:cubicBezTo>
                  <a:cubicBezTo>
                    <a:pt x="66" y="6"/>
                    <a:pt x="60" y="10"/>
                    <a:pt x="53" y="10"/>
                  </a:cubicBezTo>
                  <a:cubicBezTo>
                    <a:pt x="46" y="10"/>
                    <a:pt x="40" y="6"/>
                    <a:pt x="37" y="0"/>
                  </a:cubicBezTo>
                  <a:close/>
                  <a:moveTo>
                    <a:pt x="52" y="32"/>
                  </a:moveTo>
                  <a:cubicBezTo>
                    <a:pt x="61" y="32"/>
                    <a:pt x="69" y="37"/>
                    <a:pt x="71" y="46"/>
                  </a:cubicBezTo>
                  <a:cubicBezTo>
                    <a:pt x="74" y="56"/>
                    <a:pt x="68" y="67"/>
                    <a:pt x="58" y="69"/>
                  </a:cubicBezTo>
                  <a:cubicBezTo>
                    <a:pt x="57" y="70"/>
                    <a:pt x="55" y="70"/>
                    <a:pt x="54" y="70"/>
                  </a:cubicBezTo>
                  <a:cubicBezTo>
                    <a:pt x="45" y="71"/>
                    <a:pt x="37" y="65"/>
                    <a:pt x="35" y="56"/>
                  </a:cubicBezTo>
                  <a:cubicBezTo>
                    <a:pt x="32" y="46"/>
                    <a:pt x="38" y="35"/>
                    <a:pt x="48" y="33"/>
                  </a:cubicBezTo>
                  <a:cubicBezTo>
                    <a:pt x="49" y="32"/>
                    <a:pt x="51" y="32"/>
                    <a:pt x="52" y="32"/>
                  </a:cubicBezTo>
                  <a:close/>
                  <a:moveTo>
                    <a:pt x="52" y="39"/>
                  </a:moveTo>
                  <a:cubicBezTo>
                    <a:pt x="51" y="39"/>
                    <a:pt x="51" y="39"/>
                    <a:pt x="50" y="39"/>
                  </a:cubicBezTo>
                  <a:cubicBezTo>
                    <a:pt x="43" y="41"/>
                    <a:pt x="39" y="48"/>
                    <a:pt x="41" y="54"/>
                  </a:cubicBezTo>
                  <a:cubicBezTo>
                    <a:pt x="42" y="59"/>
                    <a:pt x="46" y="63"/>
                    <a:pt x="51" y="64"/>
                  </a:cubicBezTo>
                  <a:cubicBezTo>
                    <a:pt x="53" y="64"/>
                    <a:pt x="55" y="64"/>
                    <a:pt x="56" y="63"/>
                  </a:cubicBezTo>
                  <a:cubicBezTo>
                    <a:pt x="63" y="61"/>
                    <a:pt x="67" y="54"/>
                    <a:pt x="65" y="48"/>
                  </a:cubicBezTo>
                  <a:cubicBezTo>
                    <a:pt x="64" y="42"/>
                    <a:pt x="58" y="38"/>
                    <a:pt x="52" y="39"/>
                  </a:cubicBezTo>
                  <a:close/>
                </a:path>
              </a:pathLst>
            </a:custGeom>
            <a:grpFill/>
            <a:ln>
              <a:noFill/>
            </a:ln>
          </p:spPr>
          <p:txBody>
            <a:bodyPr vert="horz" wrap="square" lIns="91440" tIns="45720" rIns="91440" bIns="45720" numCol="1" anchor="t" anchorCtr="0" compatLnSpc="1">
              <a:prstTxWarp prst="textNoShape">
                <a:avLst/>
              </a:prstTxWarp>
              <a:noAutofit/>
            </a:bodyPr>
            <a:lstStyle/>
            <a:p>
              <a:endParaRPr lang="en-US">
                <a:latin typeface="+mn-lt"/>
              </a:endParaRPr>
            </a:p>
          </p:txBody>
        </p:sp>
      </p:grpSp>
      <p:grpSp>
        <p:nvGrpSpPr>
          <p:cNvPr id="158" name="Group 157">
            <a:extLst>
              <a:ext uri="{FF2B5EF4-FFF2-40B4-BE49-F238E27FC236}">
                <a16:creationId xmlns:a16="http://schemas.microsoft.com/office/drawing/2014/main" id="{1341A0AE-7A3C-44AC-8BC7-6B7CAC18ED97}"/>
              </a:ext>
            </a:extLst>
          </p:cNvPr>
          <p:cNvGrpSpPr/>
          <p:nvPr/>
        </p:nvGrpSpPr>
        <p:grpSpPr>
          <a:xfrm>
            <a:off x="6649725" y="2399100"/>
            <a:ext cx="1937283" cy="790195"/>
            <a:chOff x="6618799" y="2462457"/>
            <a:chExt cx="1937283" cy="790195"/>
          </a:xfrm>
        </p:grpSpPr>
        <p:grpSp>
          <p:nvGrpSpPr>
            <p:cNvPr id="159" name="Group 158">
              <a:extLst>
                <a:ext uri="{FF2B5EF4-FFF2-40B4-BE49-F238E27FC236}">
                  <a16:creationId xmlns:a16="http://schemas.microsoft.com/office/drawing/2014/main" id="{B3156455-CF91-43BE-85A3-5FF0BAE5DF37}"/>
                </a:ext>
              </a:extLst>
            </p:cNvPr>
            <p:cNvGrpSpPr/>
            <p:nvPr/>
          </p:nvGrpSpPr>
          <p:grpSpPr>
            <a:xfrm>
              <a:off x="7979058" y="2475652"/>
              <a:ext cx="577024" cy="763804"/>
              <a:chOff x="7817011" y="2293558"/>
              <a:chExt cx="760441" cy="1006596"/>
            </a:xfrm>
          </p:grpSpPr>
          <p:sp>
            <p:nvSpPr>
              <p:cNvPr id="194" name="Rectangle 36">
                <a:extLst>
                  <a:ext uri="{FF2B5EF4-FFF2-40B4-BE49-F238E27FC236}">
                    <a16:creationId xmlns:a16="http://schemas.microsoft.com/office/drawing/2014/main" id="{01C3E192-24D5-4C86-9172-337E1DE38136}"/>
                  </a:ext>
                </a:extLst>
              </p:cNvPr>
              <p:cNvSpPr>
                <a:spLocks noChangeArrowheads="1"/>
              </p:cNvSpPr>
              <p:nvPr/>
            </p:nvSpPr>
            <p:spPr bwMode="gray">
              <a:xfrm>
                <a:off x="8125493" y="3006414"/>
                <a:ext cx="16142" cy="66271"/>
              </a:xfrm>
              <a:prstGeom prst="rect">
                <a:avLst/>
              </a:prstGeom>
              <a:solidFill>
                <a:schemeClr val="bg2"/>
              </a:solidFill>
              <a:ln>
                <a:noFill/>
              </a:ln>
              <a:extLst/>
            </p:spPr>
            <p:txBody>
              <a:bodyPr/>
              <a:lstStyle/>
              <a:p>
                <a:endParaRPr lang="en-US" sz="1400"/>
              </a:p>
            </p:txBody>
          </p:sp>
          <p:sp>
            <p:nvSpPr>
              <p:cNvPr id="195" name="Rectangle 37">
                <a:extLst>
                  <a:ext uri="{FF2B5EF4-FFF2-40B4-BE49-F238E27FC236}">
                    <a16:creationId xmlns:a16="http://schemas.microsoft.com/office/drawing/2014/main" id="{70134B04-EF75-4B65-97A1-9AC1BC6F4BC0}"/>
                  </a:ext>
                </a:extLst>
              </p:cNvPr>
              <p:cNvSpPr>
                <a:spLocks noChangeArrowheads="1"/>
              </p:cNvSpPr>
              <p:nvPr/>
            </p:nvSpPr>
            <p:spPr bwMode="gray">
              <a:xfrm>
                <a:off x="8268970" y="3006414"/>
                <a:ext cx="14348" cy="66271"/>
              </a:xfrm>
              <a:prstGeom prst="rect">
                <a:avLst/>
              </a:prstGeom>
              <a:solidFill>
                <a:schemeClr val="bg2"/>
              </a:solidFill>
              <a:ln>
                <a:noFill/>
              </a:ln>
              <a:extLst/>
            </p:spPr>
            <p:txBody>
              <a:bodyPr/>
              <a:lstStyle/>
              <a:p>
                <a:endParaRPr lang="en-US" sz="1400"/>
              </a:p>
            </p:txBody>
          </p:sp>
          <p:sp>
            <p:nvSpPr>
              <p:cNvPr id="196" name="Rectangle 38">
                <a:extLst>
                  <a:ext uri="{FF2B5EF4-FFF2-40B4-BE49-F238E27FC236}">
                    <a16:creationId xmlns:a16="http://schemas.microsoft.com/office/drawing/2014/main" id="{7B5114B4-C44A-4905-B193-0726D8BC3A73}"/>
                  </a:ext>
                </a:extLst>
              </p:cNvPr>
              <p:cNvSpPr>
                <a:spLocks noChangeArrowheads="1"/>
              </p:cNvSpPr>
              <p:nvPr/>
            </p:nvSpPr>
            <p:spPr bwMode="gray">
              <a:xfrm>
                <a:off x="8155982" y="3006414"/>
                <a:ext cx="34076" cy="66271"/>
              </a:xfrm>
              <a:prstGeom prst="rect">
                <a:avLst/>
              </a:prstGeom>
              <a:solidFill>
                <a:schemeClr val="bg2"/>
              </a:solidFill>
              <a:ln>
                <a:noFill/>
              </a:ln>
              <a:extLst/>
            </p:spPr>
            <p:txBody>
              <a:bodyPr/>
              <a:lstStyle/>
              <a:p>
                <a:endParaRPr lang="en-US" sz="1400"/>
              </a:p>
            </p:txBody>
          </p:sp>
          <p:sp>
            <p:nvSpPr>
              <p:cNvPr id="197" name="Freeform 32">
                <a:extLst>
                  <a:ext uri="{FF2B5EF4-FFF2-40B4-BE49-F238E27FC236}">
                    <a16:creationId xmlns:a16="http://schemas.microsoft.com/office/drawing/2014/main" id="{7681E39E-1796-40F2-BB06-2B2CF13F2891}"/>
                  </a:ext>
                </a:extLst>
              </p:cNvPr>
              <p:cNvSpPr>
                <a:spLocks/>
              </p:cNvSpPr>
              <p:nvPr/>
            </p:nvSpPr>
            <p:spPr bwMode="gray">
              <a:xfrm>
                <a:off x="8116524" y="3192688"/>
                <a:ext cx="165002" cy="107466"/>
              </a:xfrm>
              <a:custGeom>
                <a:avLst/>
                <a:gdLst>
                  <a:gd name="T0" fmla="*/ 186 w 373"/>
                  <a:gd name="T1" fmla="*/ 245 h 245"/>
                  <a:gd name="T2" fmla="*/ 210 w 373"/>
                  <a:gd name="T3" fmla="*/ 244 h 245"/>
                  <a:gd name="T4" fmla="*/ 233 w 373"/>
                  <a:gd name="T5" fmla="*/ 242 h 245"/>
                  <a:gd name="T6" fmla="*/ 255 w 373"/>
                  <a:gd name="T7" fmla="*/ 237 h 245"/>
                  <a:gd name="T8" fmla="*/ 276 w 373"/>
                  <a:gd name="T9" fmla="*/ 230 h 245"/>
                  <a:gd name="T10" fmla="*/ 296 w 373"/>
                  <a:gd name="T11" fmla="*/ 222 h 245"/>
                  <a:gd name="T12" fmla="*/ 313 w 373"/>
                  <a:gd name="T13" fmla="*/ 213 h 245"/>
                  <a:gd name="T14" fmla="*/ 329 w 373"/>
                  <a:gd name="T15" fmla="*/ 202 h 245"/>
                  <a:gd name="T16" fmla="*/ 343 w 373"/>
                  <a:gd name="T17" fmla="*/ 190 h 245"/>
                  <a:gd name="T18" fmla="*/ 356 w 373"/>
                  <a:gd name="T19" fmla="*/ 175 h 245"/>
                  <a:gd name="T20" fmla="*/ 365 w 373"/>
                  <a:gd name="T21" fmla="*/ 157 h 245"/>
                  <a:gd name="T22" fmla="*/ 371 w 373"/>
                  <a:gd name="T23" fmla="*/ 140 h 245"/>
                  <a:gd name="T24" fmla="*/ 373 w 373"/>
                  <a:gd name="T25" fmla="*/ 122 h 245"/>
                  <a:gd name="T26" fmla="*/ 371 w 373"/>
                  <a:gd name="T27" fmla="*/ 103 h 245"/>
                  <a:gd name="T28" fmla="*/ 365 w 373"/>
                  <a:gd name="T29" fmla="*/ 86 h 245"/>
                  <a:gd name="T30" fmla="*/ 356 w 373"/>
                  <a:gd name="T31" fmla="*/ 70 h 245"/>
                  <a:gd name="T32" fmla="*/ 343 w 373"/>
                  <a:gd name="T33" fmla="*/ 55 h 245"/>
                  <a:gd name="T34" fmla="*/ 329 w 373"/>
                  <a:gd name="T35" fmla="*/ 42 h 245"/>
                  <a:gd name="T36" fmla="*/ 313 w 373"/>
                  <a:gd name="T37" fmla="*/ 32 h 245"/>
                  <a:gd name="T38" fmla="*/ 296 w 373"/>
                  <a:gd name="T39" fmla="*/ 23 h 245"/>
                  <a:gd name="T40" fmla="*/ 276 w 373"/>
                  <a:gd name="T41" fmla="*/ 15 h 245"/>
                  <a:gd name="T42" fmla="*/ 255 w 373"/>
                  <a:gd name="T43" fmla="*/ 8 h 245"/>
                  <a:gd name="T44" fmla="*/ 233 w 373"/>
                  <a:gd name="T45" fmla="*/ 3 h 245"/>
                  <a:gd name="T46" fmla="*/ 210 w 373"/>
                  <a:gd name="T47" fmla="*/ 1 h 245"/>
                  <a:gd name="T48" fmla="*/ 186 w 373"/>
                  <a:gd name="T49" fmla="*/ 0 h 245"/>
                  <a:gd name="T50" fmla="*/ 167 w 373"/>
                  <a:gd name="T51" fmla="*/ 1 h 245"/>
                  <a:gd name="T52" fmla="*/ 148 w 373"/>
                  <a:gd name="T53" fmla="*/ 2 h 245"/>
                  <a:gd name="T54" fmla="*/ 130 w 373"/>
                  <a:gd name="T55" fmla="*/ 5 h 245"/>
                  <a:gd name="T56" fmla="*/ 112 w 373"/>
                  <a:gd name="T57" fmla="*/ 9 h 245"/>
                  <a:gd name="T58" fmla="*/ 96 w 373"/>
                  <a:gd name="T59" fmla="*/ 15 h 245"/>
                  <a:gd name="T60" fmla="*/ 81 w 373"/>
                  <a:gd name="T61" fmla="*/ 20 h 245"/>
                  <a:gd name="T62" fmla="*/ 66 w 373"/>
                  <a:gd name="T63" fmla="*/ 27 h 245"/>
                  <a:gd name="T64" fmla="*/ 54 w 373"/>
                  <a:gd name="T65" fmla="*/ 35 h 245"/>
                  <a:gd name="T66" fmla="*/ 41 w 373"/>
                  <a:gd name="T67" fmla="*/ 43 h 245"/>
                  <a:gd name="T68" fmla="*/ 31 w 373"/>
                  <a:gd name="T69" fmla="*/ 54 h 245"/>
                  <a:gd name="T70" fmla="*/ 21 w 373"/>
                  <a:gd name="T71" fmla="*/ 63 h 245"/>
                  <a:gd name="T72" fmla="*/ 14 w 373"/>
                  <a:gd name="T73" fmla="*/ 74 h 245"/>
                  <a:gd name="T74" fmla="*/ 8 w 373"/>
                  <a:gd name="T75" fmla="*/ 85 h 245"/>
                  <a:gd name="T76" fmla="*/ 3 w 373"/>
                  <a:gd name="T77" fmla="*/ 98 h 245"/>
                  <a:gd name="T78" fmla="*/ 1 w 373"/>
                  <a:gd name="T79" fmla="*/ 109 h 245"/>
                  <a:gd name="T80" fmla="*/ 0 w 373"/>
                  <a:gd name="T81" fmla="*/ 122 h 245"/>
                  <a:gd name="T82" fmla="*/ 2 w 373"/>
                  <a:gd name="T83" fmla="*/ 140 h 245"/>
                  <a:gd name="T84" fmla="*/ 8 w 373"/>
                  <a:gd name="T85" fmla="*/ 157 h 245"/>
                  <a:gd name="T86" fmla="*/ 17 w 373"/>
                  <a:gd name="T87" fmla="*/ 175 h 245"/>
                  <a:gd name="T88" fmla="*/ 31 w 373"/>
                  <a:gd name="T89" fmla="*/ 190 h 245"/>
                  <a:gd name="T90" fmla="*/ 44 w 373"/>
                  <a:gd name="T91" fmla="*/ 202 h 245"/>
                  <a:gd name="T92" fmla="*/ 61 w 373"/>
                  <a:gd name="T93" fmla="*/ 213 h 245"/>
                  <a:gd name="T94" fmla="*/ 78 w 373"/>
                  <a:gd name="T95" fmla="*/ 222 h 245"/>
                  <a:gd name="T96" fmla="*/ 97 w 373"/>
                  <a:gd name="T97" fmla="*/ 230 h 245"/>
                  <a:gd name="T98" fmla="*/ 118 w 373"/>
                  <a:gd name="T99" fmla="*/ 237 h 245"/>
                  <a:gd name="T100" fmla="*/ 140 w 373"/>
                  <a:gd name="T101" fmla="*/ 242 h 245"/>
                  <a:gd name="T102" fmla="*/ 163 w 373"/>
                  <a:gd name="T103" fmla="*/ 244 h 245"/>
                  <a:gd name="T104" fmla="*/ 186 w 373"/>
                  <a:gd name="T10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73" h="245">
                    <a:moveTo>
                      <a:pt x="186" y="245"/>
                    </a:moveTo>
                    <a:lnTo>
                      <a:pt x="210" y="244"/>
                    </a:lnTo>
                    <a:lnTo>
                      <a:pt x="233" y="242"/>
                    </a:lnTo>
                    <a:lnTo>
                      <a:pt x="255" y="237"/>
                    </a:lnTo>
                    <a:lnTo>
                      <a:pt x="276" y="230"/>
                    </a:lnTo>
                    <a:lnTo>
                      <a:pt x="296" y="222"/>
                    </a:lnTo>
                    <a:lnTo>
                      <a:pt x="313" y="213"/>
                    </a:lnTo>
                    <a:lnTo>
                      <a:pt x="329" y="202"/>
                    </a:lnTo>
                    <a:lnTo>
                      <a:pt x="343" y="190"/>
                    </a:lnTo>
                    <a:lnTo>
                      <a:pt x="356" y="175"/>
                    </a:lnTo>
                    <a:lnTo>
                      <a:pt x="365" y="157"/>
                    </a:lnTo>
                    <a:lnTo>
                      <a:pt x="371" y="140"/>
                    </a:lnTo>
                    <a:lnTo>
                      <a:pt x="373" y="122"/>
                    </a:lnTo>
                    <a:lnTo>
                      <a:pt x="371" y="103"/>
                    </a:lnTo>
                    <a:lnTo>
                      <a:pt x="365" y="86"/>
                    </a:lnTo>
                    <a:lnTo>
                      <a:pt x="356" y="70"/>
                    </a:lnTo>
                    <a:lnTo>
                      <a:pt x="343" y="55"/>
                    </a:lnTo>
                    <a:lnTo>
                      <a:pt x="329" y="42"/>
                    </a:lnTo>
                    <a:lnTo>
                      <a:pt x="313" y="32"/>
                    </a:lnTo>
                    <a:lnTo>
                      <a:pt x="296" y="23"/>
                    </a:lnTo>
                    <a:lnTo>
                      <a:pt x="276" y="15"/>
                    </a:lnTo>
                    <a:lnTo>
                      <a:pt x="255" y="8"/>
                    </a:lnTo>
                    <a:lnTo>
                      <a:pt x="233" y="3"/>
                    </a:lnTo>
                    <a:lnTo>
                      <a:pt x="210" y="1"/>
                    </a:lnTo>
                    <a:lnTo>
                      <a:pt x="186" y="0"/>
                    </a:lnTo>
                    <a:lnTo>
                      <a:pt x="167" y="1"/>
                    </a:lnTo>
                    <a:lnTo>
                      <a:pt x="148" y="2"/>
                    </a:lnTo>
                    <a:lnTo>
                      <a:pt x="130" y="5"/>
                    </a:lnTo>
                    <a:lnTo>
                      <a:pt x="112" y="9"/>
                    </a:lnTo>
                    <a:lnTo>
                      <a:pt x="96" y="15"/>
                    </a:lnTo>
                    <a:lnTo>
                      <a:pt x="81" y="20"/>
                    </a:lnTo>
                    <a:lnTo>
                      <a:pt x="66" y="27"/>
                    </a:lnTo>
                    <a:lnTo>
                      <a:pt x="54" y="35"/>
                    </a:lnTo>
                    <a:lnTo>
                      <a:pt x="41" y="43"/>
                    </a:lnTo>
                    <a:lnTo>
                      <a:pt x="31" y="54"/>
                    </a:lnTo>
                    <a:lnTo>
                      <a:pt x="21" y="63"/>
                    </a:lnTo>
                    <a:lnTo>
                      <a:pt x="14" y="74"/>
                    </a:lnTo>
                    <a:lnTo>
                      <a:pt x="8" y="85"/>
                    </a:lnTo>
                    <a:lnTo>
                      <a:pt x="3" y="98"/>
                    </a:lnTo>
                    <a:lnTo>
                      <a:pt x="1" y="109"/>
                    </a:lnTo>
                    <a:lnTo>
                      <a:pt x="0" y="122"/>
                    </a:lnTo>
                    <a:lnTo>
                      <a:pt x="2" y="140"/>
                    </a:lnTo>
                    <a:lnTo>
                      <a:pt x="8" y="157"/>
                    </a:lnTo>
                    <a:lnTo>
                      <a:pt x="17" y="175"/>
                    </a:lnTo>
                    <a:lnTo>
                      <a:pt x="31" y="190"/>
                    </a:lnTo>
                    <a:lnTo>
                      <a:pt x="44" y="202"/>
                    </a:lnTo>
                    <a:lnTo>
                      <a:pt x="61" y="213"/>
                    </a:lnTo>
                    <a:lnTo>
                      <a:pt x="78" y="222"/>
                    </a:lnTo>
                    <a:lnTo>
                      <a:pt x="97" y="230"/>
                    </a:lnTo>
                    <a:lnTo>
                      <a:pt x="118" y="237"/>
                    </a:lnTo>
                    <a:lnTo>
                      <a:pt x="140" y="242"/>
                    </a:lnTo>
                    <a:lnTo>
                      <a:pt x="163" y="244"/>
                    </a:lnTo>
                    <a:lnTo>
                      <a:pt x="186" y="245"/>
                    </a:lnTo>
                    <a:close/>
                  </a:path>
                </a:pathLst>
              </a:custGeom>
              <a:solidFill>
                <a:schemeClr val="accent2"/>
              </a:solidFill>
              <a:ln>
                <a:noFill/>
              </a:ln>
              <a:extLst/>
            </p:spPr>
            <p:txBody>
              <a:bodyPr/>
              <a:lstStyle/>
              <a:p>
                <a:endParaRPr lang="en-US" sz="1400"/>
              </a:p>
            </p:txBody>
          </p:sp>
          <p:sp>
            <p:nvSpPr>
              <p:cNvPr id="198" name="Freeform 33">
                <a:extLst>
                  <a:ext uri="{FF2B5EF4-FFF2-40B4-BE49-F238E27FC236}">
                    <a16:creationId xmlns:a16="http://schemas.microsoft.com/office/drawing/2014/main" id="{6E8AAD8D-F510-49C0-9C01-C5CF80570DE2}"/>
                  </a:ext>
                </a:extLst>
              </p:cNvPr>
              <p:cNvSpPr>
                <a:spLocks/>
              </p:cNvSpPr>
              <p:nvPr/>
            </p:nvSpPr>
            <p:spPr bwMode="gray">
              <a:xfrm>
                <a:off x="7976632" y="2465503"/>
                <a:ext cx="442992" cy="544494"/>
              </a:xfrm>
              <a:custGeom>
                <a:avLst/>
                <a:gdLst>
                  <a:gd name="T0" fmla="*/ 846 w 1013"/>
                  <a:gd name="T1" fmla="*/ 131 h 1242"/>
                  <a:gd name="T2" fmla="*/ 808 w 1013"/>
                  <a:gd name="T3" fmla="*/ 99 h 1242"/>
                  <a:gd name="T4" fmla="*/ 766 w 1013"/>
                  <a:gd name="T5" fmla="*/ 71 h 1242"/>
                  <a:gd name="T6" fmla="*/ 724 w 1013"/>
                  <a:gd name="T7" fmla="*/ 48 h 1242"/>
                  <a:gd name="T8" fmla="*/ 677 w 1013"/>
                  <a:gd name="T9" fmla="*/ 29 h 1242"/>
                  <a:gd name="T10" fmla="*/ 630 w 1013"/>
                  <a:gd name="T11" fmla="*/ 15 h 1242"/>
                  <a:gd name="T12" fmla="*/ 582 w 1013"/>
                  <a:gd name="T13" fmla="*/ 6 h 1242"/>
                  <a:gd name="T14" fmla="*/ 532 w 1013"/>
                  <a:gd name="T15" fmla="*/ 1 h 1242"/>
                  <a:gd name="T16" fmla="*/ 455 w 1013"/>
                  <a:gd name="T17" fmla="*/ 2 h 1242"/>
                  <a:gd name="T18" fmla="*/ 356 w 1013"/>
                  <a:gd name="T19" fmla="*/ 23 h 1242"/>
                  <a:gd name="T20" fmla="*/ 265 w 1013"/>
                  <a:gd name="T21" fmla="*/ 61 h 1242"/>
                  <a:gd name="T22" fmla="*/ 184 w 1013"/>
                  <a:gd name="T23" fmla="*/ 115 h 1242"/>
                  <a:gd name="T24" fmla="*/ 115 w 1013"/>
                  <a:gd name="T25" fmla="*/ 184 h 1242"/>
                  <a:gd name="T26" fmla="*/ 61 w 1013"/>
                  <a:gd name="T27" fmla="*/ 265 h 1242"/>
                  <a:gd name="T28" fmla="*/ 23 w 1013"/>
                  <a:gd name="T29" fmla="*/ 356 h 1242"/>
                  <a:gd name="T30" fmla="*/ 2 w 1013"/>
                  <a:gd name="T31" fmla="*/ 455 h 1242"/>
                  <a:gd name="T32" fmla="*/ 2 w 1013"/>
                  <a:gd name="T33" fmla="*/ 551 h 1242"/>
                  <a:gd name="T34" fmla="*/ 17 w 1013"/>
                  <a:gd name="T35" fmla="*/ 637 h 1242"/>
                  <a:gd name="T36" fmla="*/ 46 w 1013"/>
                  <a:gd name="T37" fmla="*/ 719 h 1242"/>
                  <a:gd name="T38" fmla="*/ 90 w 1013"/>
                  <a:gd name="T39" fmla="*/ 795 h 1242"/>
                  <a:gd name="T40" fmla="*/ 117 w 1013"/>
                  <a:gd name="T41" fmla="*/ 832 h 1242"/>
                  <a:gd name="T42" fmla="*/ 182 w 1013"/>
                  <a:gd name="T43" fmla="*/ 933 h 1242"/>
                  <a:gd name="T44" fmla="*/ 233 w 1013"/>
                  <a:gd name="T45" fmla="*/ 1062 h 1242"/>
                  <a:gd name="T46" fmla="*/ 266 w 1013"/>
                  <a:gd name="T47" fmla="*/ 1174 h 1242"/>
                  <a:gd name="T48" fmla="*/ 278 w 1013"/>
                  <a:gd name="T49" fmla="*/ 1223 h 1242"/>
                  <a:gd name="T50" fmla="*/ 729 w 1013"/>
                  <a:gd name="T51" fmla="*/ 1242 h 1242"/>
                  <a:gd name="T52" fmla="*/ 737 w 1013"/>
                  <a:gd name="T53" fmla="*/ 1211 h 1242"/>
                  <a:gd name="T54" fmla="*/ 760 w 1013"/>
                  <a:gd name="T55" fmla="*/ 1129 h 1242"/>
                  <a:gd name="T56" fmla="*/ 802 w 1013"/>
                  <a:gd name="T57" fmla="*/ 1006 h 1242"/>
                  <a:gd name="T58" fmla="*/ 860 w 1013"/>
                  <a:gd name="T59" fmla="*/ 884 h 1242"/>
                  <a:gd name="T60" fmla="*/ 921 w 1013"/>
                  <a:gd name="T61" fmla="*/ 798 h 1242"/>
                  <a:gd name="T62" fmla="*/ 964 w 1013"/>
                  <a:gd name="T63" fmla="*/ 722 h 1242"/>
                  <a:gd name="T64" fmla="*/ 995 w 1013"/>
                  <a:gd name="T65" fmla="*/ 639 h 1242"/>
                  <a:gd name="T66" fmla="*/ 1010 w 1013"/>
                  <a:gd name="T67" fmla="*/ 552 h 1242"/>
                  <a:gd name="T68" fmla="*/ 1010 w 1013"/>
                  <a:gd name="T69" fmla="*/ 456 h 1242"/>
                  <a:gd name="T70" fmla="*/ 991 w 1013"/>
                  <a:gd name="T71" fmla="*/ 359 h 1242"/>
                  <a:gd name="T72" fmla="*/ 953 w 1013"/>
                  <a:gd name="T73" fmla="*/ 268 h 1242"/>
                  <a:gd name="T74" fmla="*/ 898 w 1013"/>
                  <a:gd name="T75" fmla="*/ 185 h 1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013" h="1242">
                    <a:moveTo>
                      <a:pt x="864" y="149"/>
                    </a:moveTo>
                    <a:lnTo>
                      <a:pt x="846" y="131"/>
                    </a:lnTo>
                    <a:lnTo>
                      <a:pt x="827" y="114"/>
                    </a:lnTo>
                    <a:lnTo>
                      <a:pt x="808" y="99"/>
                    </a:lnTo>
                    <a:lnTo>
                      <a:pt x="787" y="84"/>
                    </a:lnTo>
                    <a:lnTo>
                      <a:pt x="766" y="71"/>
                    </a:lnTo>
                    <a:lnTo>
                      <a:pt x="745" y="59"/>
                    </a:lnTo>
                    <a:lnTo>
                      <a:pt x="724" y="48"/>
                    </a:lnTo>
                    <a:lnTo>
                      <a:pt x="700" y="38"/>
                    </a:lnTo>
                    <a:lnTo>
                      <a:pt x="677" y="29"/>
                    </a:lnTo>
                    <a:lnTo>
                      <a:pt x="654" y="22"/>
                    </a:lnTo>
                    <a:lnTo>
                      <a:pt x="630" y="15"/>
                    </a:lnTo>
                    <a:lnTo>
                      <a:pt x="606" y="9"/>
                    </a:lnTo>
                    <a:lnTo>
                      <a:pt x="582" y="6"/>
                    </a:lnTo>
                    <a:lnTo>
                      <a:pt x="558" y="2"/>
                    </a:lnTo>
                    <a:lnTo>
                      <a:pt x="532" y="1"/>
                    </a:lnTo>
                    <a:lnTo>
                      <a:pt x="507" y="0"/>
                    </a:lnTo>
                    <a:lnTo>
                      <a:pt x="455" y="2"/>
                    </a:lnTo>
                    <a:lnTo>
                      <a:pt x="404" y="10"/>
                    </a:lnTo>
                    <a:lnTo>
                      <a:pt x="356" y="23"/>
                    </a:lnTo>
                    <a:lnTo>
                      <a:pt x="310" y="40"/>
                    </a:lnTo>
                    <a:lnTo>
                      <a:pt x="265" y="61"/>
                    </a:lnTo>
                    <a:lnTo>
                      <a:pt x="223" y="86"/>
                    </a:lnTo>
                    <a:lnTo>
                      <a:pt x="184" y="115"/>
                    </a:lnTo>
                    <a:lnTo>
                      <a:pt x="148" y="149"/>
                    </a:lnTo>
                    <a:lnTo>
                      <a:pt x="115" y="184"/>
                    </a:lnTo>
                    <a:lnTo>
                      <a:pt x="86" y="223"/>
                    </a:lnTo>
                    <a:lnTo>
                      <a:pt x="61" y="265"/>
                    </a:lnTo>
                    <a:lnTo>
                      <a:pt x="40" y="310"/>
                    </a:lnTo>
                    <a:lnTo>
                      <a:pt x="23" y="356"/>
                    </a:lnTo>
                    <a:lnTo>
                      <a:pt x="10" y="404"/>
                    </a:lnTo>
                    <a:lnTo>
                      <a:pt x="2" y="455"/>
                    </a:lnTo>
                    <a:lnTo>
                      <a:pt x="0" y="507"/>
                    </a:lnTo>
                    <a:lnTo>
                      <a:pt x="2" y="551"/>
                    </a:lnTo>
                    <a:lnTo>
                      <a:pt x="8" y="594"/>
                    </a:lnTo>
                    <a:lnTo>
                      <a:pt x="17" y="637"/>
                    </a:lnTo>
                    <a:lnTo>
                      <a:pt x="30" y="679"/>
                    </a:lnTo>
                    <a:lnTo>
                      <a:pt x="46" y="719"/>
                    </a:lnTo>
                    <a:lnTo>
                      <a:pt x="66" y="758"/>
                    </a:lnTo>
                    <a:lnTo>
                      <a:pt x="90" y="795"/>
                    </a:lnTo>
                    <a:lnTo>
                      <a:pt x="116" y="831"/>
                    </a:lnTo>
                    <a:lnTo>
                      <a:pt x="117" y="832"/>
                    </a:lnTo>
                    <a:lnTo>
                      <a:pt x="151" y="876"/>
                    </a:lnTo>
                    <a:lnTo>
                      <a:pt x="182" y="933"/>
                    </a:lnTo>
                    <a:lnTo>
                      <a:pt x="210" y="997"/>
                    </a:lnTo>
                    <a:lnTo>
                      <a:pt x="233" y="1062"/>
                    </a:lnTo>
                    <a:lnTo>
                      <a:pt x="251" y="1123"/>
                    </a:lnTo>
                    <a:lnTo>
                      <a:pt x="266" y="1174"/>
                    </a:lnTo>
                    <a:lnTo>
                      <a:pt x="274" y="1210"/>
                    </a:lnTo>
                    <a:lnTo>
                      <a:pt x="278" y="1223"/>
                    </a:lnTo>
                    <a:lnTo>
                      <a:pt x="282" y="1242"/>
                    </a:lnTo>
                    <a:lnTo>
                      <a:pt x="729" y="1242"/>
                    </a:lnTo>
                    <a:lnTo>
                      <a:pt x="734" y="1223"/>
                    </a:lnTo>
                    <a:lnTo>
                      <a:pt x="737" y="1211"/>
                    </a:lnTo>
                    <a:lnTo>
                      <a:pt x="745" y="1177"/>
                    </a:lnTo>
                    <a:lnTo>
                      <a:pt x="760" y="1129"/>
                    </a:lnTo>
                    <a:lnTo>
                      <a:pt x="779" y="1070"/>
                    </a:lnTo>
                    <a:lnTo>
                      <a:pt x="802" y="1006"/>
                    </a:lnTo>
                    <a:lnTo>
                      <a:pt x="830" y="942"/>
                    </a:lnTo>
                    <a:lnTo>
                      <a:pt x="860" y="884"/>
                    </a:lnTo>
                    <a:lnTo>
                      <a:pt x="893" y="834"/>
                    </a:lnTo>
                    <a:lnTo>
                      <a:pt x="921" y="798"/>
                    </a:lnTo>
                    <a:lnTo>
                      <a:pt x="945" y="761"/>
                    </a:lnTo>
                    <a:lnTo>
                      <a:pt x="964" y="722"/>
                    </a:lnTo>
                    <a:lnTo>
                      <a:pt x="982" y="681"/>
                    </a:lnTo>
                    <a:lnTo>
                      <a:pt x="995" y="639"/>
                    </a:lnTo>
                    <a:lnTo>
                      <a:pt x="1005" y="596"/>
                    </a:lnTo>
                    <a:lnTo>
                      <a:pt x="1010" y="552"/>
                    </a:lnTo>
                    <a:lnTo>
                      <a:pt x="1013" y="507"/>
                    </a:lnTo>
                    <a:lnTo>
                      <a:pt x="1010" y="456"/>
                    </a:lnTo>
                    <a:lnTo>
                      <a:pt x="1004" y="407"/>
                    </a:lnTo>
                    <a:lnTo>
                      <a:pt x="991" y="359"/>
                    </a:lnTo>
                    <a:lnTo>
                      <a:pt x="975" y="312"/>
                    </a:lnTo>
                    <a:lnTo>
                      <a:pt x="953" y="268"/>
                    </a:lnTo>
                    <a:lnTo>
                      <a:pt x="927" y="226"/>
                    </a:lnTo>
                    <a:lnTo>
                      <a:pt x="898" y="185"/>
                    </a:lnTo>
                    <a:lnTo>
                      <a:pt x="864" y="149"/>
                    </a:lnTo>
                    <a:close/>
                  </a:path>
                </a:pathLst>
              </a:custGeom>
              <a:solidFill>
                <a:schemeClr val="accent2"/>
              </a:solidFill>
              <a:ln>
                <a:noFill/>
              </a:ln>
              <a:extLst/>
            </p:spPr>
            <p:txBody>
              <a:bodyPr/>
              <a:lstStyle/>
              <a:p>
                <a:endParaRPr lang="en-US" sz="1400"/>
              </a:p>
            </p:txBody>
          </p:sp>
          <p:sp>
            <p:nvSpPr>
              <p:cNvPr id="199" name="Rectangle 34">
                <a:extLst>
                  <a:ext uri="{FF2B5EF4-FFF2-40B4-BE49-F238E27FC236}">
                    <a16:creationId xmlns:a16="http://schemas.microsoft.com/office/drawing/2014/main" id="{64A6888E-EFA5-49DA-8EB0-A2FC1E321E35}"/>
                  </a:ext>
                </a:extLst>
              </p:cNvPr>
              <p:cNvSpPr>
                <a:spLocks noChangeArrowheads="1"/>
              </p:cNvSpPr>
              <p:nvPr/>
            </p:nvSpPr>
            <p:spPr bwMode="gray">
              <a:xfrm>
                <a:off x="8087829" y="2990294"/>
                <a:ext cx="215219" cy="105674"/>
              </a:xfrm>
              <a:prstGeom prst="rect">
                <a:avLst/>
              </a:prstGeom>
              <a:solidFill>
                <a:schemeClr val="accent2"/>
              </a:solidFill>
              <a:ln>
                <a:noFill/>
              </a:ln>
              <a:extLst/>
            </p:spPr>
            <p:txBody>
              <a:bodyPr/>
              <a:lstStyle/>
              <a:p>
                <a:endParaRPr lang="en-US" sz="1400"/>
              </a:p>
            </p:txBody>
          </p:sp>
          <p:sp>
            <p:nvSpPr>
              <p:cNvPr id="200" name="Freeform 35">
                <a:extLst>
                  <a:ext uri="{FF2B5EF4-FFF2-40B4-BE49-F238E27FC236}">
                    <a16:creationId xmlns:a16="http://schemas.microsoft.com/office/drawing/2014/main" id="{67099029-1D32-4420-B535-30D11F377EE3}"/>
                  </a:ext>
                </a:extLst>
              </p:cNvPr>
              <p:cNvSpPr>
                <a:spLocks/>
              </p:cNvSpPr>
              <p:nvPr/>
            </p:nvSpPr>
            <p:spPr bwMode="gray">
              <a:xfrm>
                <a:off x="8077067" y="3083431"/>
                <a:ext cx="240328" cy="157616"/>
              </a:xfrm>
              <a:custGeom>
                <a:avLst/>
                <a:gdLst>
                  <a:gd name="T0" fmla="*/ 534 w 546"/>
                  <a:gd name="T1" fmla="*/ 116 h 361"/>
                  <a:gd name="T2" fmla="*/ 545 w 546"/>
                  <a:gd name="T3" fmla="*/ 91 h 361"/>
                  <a:gd name="T4" fmla="*/ 545 w 546"/>
                  <a:gd name="T5" fmla="*/ 61 h 361"/>
                  <a:gd name="T6" fmla="*/ 533 w 546"/>
                  <a:gd name="T7" fmla="*/ 33 h 361"/>
                  <a:gd name="T8" fmla="*/ 518 w 546"/>
                  <a:gd name="T9" fmla="*/ 17 h 361"/>
                  <a:gd name="T10" fmla="*/ 507 w 546"/>
                  <a:gd name="T11" fmla="*/ 9 h 361"/>
                  <a:gd name="T12" fmla="*/ 493 w 546"/>
                  <a:gd name="T13" fmla="*/ 3 h 361"/>
                  <a:gd name="T14" fmla="*/ 478 w 546"/>
                  <a:gd name="T15" fmla="*/ 0 h 361"/>
                  <a:gd name="T16" fmla="*/ 76 w 546"/>
                  <a:gd name="T17" fmla="*/ 0 h 361"/>
                  <a:gd name="T18" fmla="*/ 47 w 546"/>
                  <a:gd name="T19" fmla="*/ 5 h 361"/>
                  <a:gd name="T20" fmla="*/ 23 w 546"/>
                  <a:gd name="T21" fmla="*/ 22 h 361"/>
                  <a:gd name="T22" fmla="*/ 5 w 546"/>
                  <a:gd name="T23" fmla="*/ 46 h 361"/>
                  <a:gd name="T24" fmla="*/ 0 w 546"/>
                  <a:gd name="T25" fmla="*/ 76 h 361"/>
                  <a:gd name="T26" fmla="*/ 5 w 546"/>
                  <a:gd name="T27" fmla="*/ 103 h 361"/>
                  <a:gd name="T28" fmla="*/ 20 w 546"/>
                  <a:gd name="T29" fmla="*/ 128 h 361"/>
                  <a:gd name="T30" fmla="*/ 5 w 546"/>
                  <a:gd name="T31" fmla="*/ 152 h 361"/>
                  <a:gd name="T32" fmla="*/ 0 w 546"/>
                  <a:gd name="T33" fmla="*/ 180 h 361"/>
                  <a:gd name="T34" fmla="*/ 5 w 546"/>
                  <a:gd name="T35" fmla="*/ 208 h 361"/>
                  <a:gd name="T36" fmla="*/ 20 w 546"/>
                  <a:gd name="T37" fmla="*/ 232 h 361"/>
                  <a:gd name="T38" fmla="*/ 5 w 546"/>
                  <a:gd name="T39" fmla="*/ 257 h 361"/>
                  <a:gd name="T40" fmla="*/ 0 w 546"/>
                  <a:gd name="T41" fmla="*/ 285 h 361"/>
                  <a:gd name="T42" fmla="*/ 5 w 546"/>
                  <a:gd name="T43" fmla="*/ 314 h 361"/>
                  <a:gd name="T44" fmla="*/ 22 w 546"/>
                  <a:gd name="T45" fmla="*/ 338 h 361"/>
                  <a:gd name="T46" fmla="*/ 33 w 546"/>
                  <a:gd name="T47" fmla="*/ 349 h 361"/>
                  <a:gd name="T48" fmla="*/ 47 w 546"/>
                  <a:gd name="T49" fmla="*/ 356 h 361"/>
                  <a:gd name="T50" fmla="*/ 61 w 546"/>
                  <a:gd name="T51" fmla="*/ 360 h 361"/>
                  <a:gd name="T52" fmla="*/ 76 w 546"/>
                  <a:gd name="T53" fmla="*/ 361 h 361"/>
                  <a:gd name="T54" fmla="*/ 478 w 546"/>
                  <a:gd name="T55" fmla="*/ 361 h 361"/>
                  <a:gd name="T56" fmla="*/ 493 w 546"/>
                  <a:gd name="T57" fmla="*/ 358 h 361"/>
                  <a:gd name="T58" fmla="*/ 507 w 546"/>
                  <a:gd name="T59" fmla="*/ 352 h 361"/>
                  <a:gd name="T60" fmla="*/ 518 w 546"/>
                  <a:gd name="T61" fmla="*/ 344 h 361"/>
                  <a:gd name="T62" fmla="*/ 533 w 546"/>
                  <a:gd name="T63" fmla="*/ 327 h 361"/>
                  <a:gd name="T64" fmla="*/ 545 w 546"/>
                  <a:gd name="T65" fmla="*/ 300 h 361"/>
                  <a:gd name="T66" fmla="*/ 545 w 546"/>
                  <a:gd name="T67" fmla="*/ 270 h 361"/>
                  <a:gd name="T68" fmla="*/ 534 w 546"/>
                  <a:gd name="T69" fmla="*/ 244 h 361"/>
                  <a:gd name="T70" fmla="*/ 534 w 546"/>
                  <a:gd name="T71" fmla="*/ 221 h 361"/>
                  <a:gd name="T72" fmla="*/ 545 w 546"/>
                  <a:gd name="T73" fmla="*/ 195 h 361"/>
                  <a:gd name="T74" fmla="*/ 545 w 546"/>
                  <a:gd name="T75" fmla="*/ 166 h 361"/>
                  <a:gd name="T76" fmla="*/ 534 w 546"/>
                  <a:gd name="T77" fmla="*/ 139 h 3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46" h="361">
                    <a:moveTo>
                      <a:pt x="525" y="128"/>
                    </a:moveTo>
                    <a:lnTo>
                      <a:pt x="534" y="116"/>
                    </a:lnTo>
                    <a:lnTo>
                      <a:pt x="541" y="103"/>
                    </a:lnTo>
                    <a:lnTo>
                      <a:pt x="545" y="91"/>
                    </a:lnTo>
                    <a:lnTo>
                      <a:pt x="546" y="76"/>
                    </a:lnTo>
                    <a:lnTo>
                      <a:pt x="545" y="61"/>
                    </a:lnTo>
                    <a:lnTo>
                      <a:pt x="540" y="47"/>
                    </a:lnTo>
                    <a:lnTo>
                      <a:pt x="533" y="33"/>
                    </a:lnTo>
                    <a:lnTo>
                      <a:pt x="524" y="22"/>
                    </a:lnTo>
                    <a:lnTo>
                      <a:pt x="518" y="17"/>
                    </a:lnTo>
                    <a:lnTo>
                      <a:pt x="512" y="12"/>
                    </a:lnTo>
                    <a:lnTo>
                      <a:pt x="507" y="9"/>
                    </a:lnTo>
                    <a:lnTo>
                      <a:pt x="500" y="5"/>
                    </a:lnTo>
                    <a:lnTo>
                      <a:pt x="493" y="3"/>
                    </a:lnTo>
                    <a:lnTo>
                      <a:pt x="486" y="1"/>
                    </a:lnTo>
                    <a:lnTo>
                      <a:pt x="478" y="0"/>
                    </a:lnTo>
                    <a:lnTo>
                      <a:pt x="471" y="0"/>
                    </a:lnTo>
                    <a:lnTo>
                      <a:pt x="76" y="0"/>
                    </a:lnTo>
                    <a:lnTo>
                      <a:pt x="61" y="1"/>
                    </a:lnTo>
                    <a:lnTo>
                      <a:pt x="47" y="5"/>
                    </a:lnTo>
                    <a:lnTo>
                      <a:pt x="33" y="12"/>
                    </a:lnTo>
                    <a:lnTo>
                      <a:pt x="23" y="22"/>
                    </a:lnTo>
                    <a:lnTo>
                      <a:pt x="12" y="33"/>
                    </a:lnTo>
                    <a:lnTo>
                      <a:pt x="5" y="46"/>
                    </a:lnTo>
                    <a:lnTo>
                      <a:pt x="1" y="61"/>
                    </a:lnTo>
                    <a:lnTo>
                      <a:pt x="0" y="76"/>
                    </a:lnTo>
                    <a:lnTo>
                      <a:pt x="1" y="91"/>
                    </a:lnTo>
                    <a:lnTo>
                      <a:pt x="5" y="103"/>
                    </a:lnTo>
                    <a:lnTo>
                      <a:pt x="12" y="116"/>
                    </a:lnTo>
                    <a:lnTo>
                      <a:pt x="20" y="128"/>
                    </a:lnTo>
                    <a:lnTo>
                      <a:pt x="12" y="139"/>
                    </a:lnTo>
                    <a:lnTo>
                      <a:pt x="5" y="152"/>
                    </a:lnTo>
                    <a:lnTo>
                      <a:pt x="1" y="166"/>
                    </a:lnTo>
                    <a:lnTo>
                      <a:pt x="0" y="180"/>
                    </a:lnTo>
                    <a:lnTo>
                      <a:pt x="1" y="195"/>
                    </a:lnTo>
                    <a:lnTo>
                      <a:pt x="5" y="208"/>
                    </a:lnTo>
                    <a:lnTo>
                      <a:pt x="12" y="221"/>
                    </a:lnTo>
                    <a:lnTo>
                      <a:pt x="20" y="232"/>
                    </a:lnTo>
                    <a:lnTo>
                      <a:pt x="12" y="244"/>
                    </a:lnTo>
                    <a:lnTo>
                      <a:pt x="5" y="257"/>
                    </a:lnTo>
                    <a:lnTo>
                      <a:pt x="1" y="270"/>
                    </a:lnTo>
                    <a:lnTo>
                      <a:pt x="0" y="285"/>
                    </a:lnTo>
                    <a:lnTo>
                      <a:pt x="1" y="300"/>
                    </a:lnTo>
                    <a:lnTo>
                      <a:pt x="5" y="314"/>
                    </a:lnTo>
                    <a:lnTo>
                      <a:pt x="12" y="327"/>
                    </a:lnTo>
                    <a:lnTo>
                      <a:pt x="22" y="338"/>
                    </a:lnTo>
                    <a:lnTo>
                      <a:pt x="27" y="344"/>
                    </a:lnTo>
                    <a:lnTo>
                      <a:pt x="33" y="349"/>
                    </a:lnTo>
                    <a:lnTo>
                      <a:pt x="40" y="352"/>
                    </a:lnTo>
                    <a:lnTo>
                      <a:pt x="47" y="356"/>
                    </a:lnTo>
                    <a:lnTo>
                      <a:pt x="54" y="358"/>
                    </a:lnTo>
                    <a:lnTo>
                      <a:pt x="61" y="360"/>
                    </a:lnTo>
                    <a:lnTo>
                      <a:pt x="68" y="361"/>
                    </a:lnTo>
                    <a:lnTo>
                      <a:pt x="76" y="361"/>
                    </a:lnTo>
                    <a:lnTo>
                      <a:pt x="471" y="361"/>
                    </a:lnTo>
                    <a:lnTo>
                      <a:pt x="478" y="361"/>
                    </a:lnTo>
                    <a:lnTo>
                      <a:pt x="486" y="360"/>
                    </a:lnTo>
                    <a:lnTo>
                      <a:pt x="493" y="358"/>
                    </a:lnTo>
                    <a:lnTo>
                      <a:pt x="500" y="356"/>
                    </a:lnTo>
                    <a:lnTo>
                      <a:pt x="507" y="352"/>
                    </a:lnTo>
                    <a:lnTo>
                      <a:pt x="512" y="349"/>
                    </a:lnTo>
                    <a:lnTo>
                      <a:pt x="518" y="344"/>
                    </a:lnTo>
                    <a:lnTo>
                      <a:pt x="524" y="338"/>
                    </a:lnTo>
                    <a:lnTo>
                      <a:pt x="533" y="327"/>
                    </a:lnTo>
                    <a:lnTo>
                      <a:pt x="540" y="314"/>
                    </a:lnTo>
                    <a:lnTo>
                      <a:pt x="545" y="300"/>
                    </a:lnTo>
                    <a:lnTo>
                      <a:pt x="546" y="285"/>
                    </a:lnTo>
                    <a:lnTo>
                      <a:pt x="545" y="270"/>
                    </a:lnTo>
                    <a:lnTo>
                      <a:pt x="541" y="257"/>
                    </a:lnTo>
                    <a:lnTo>
                      <a:pt x="534" y="244"/>
                    </a:lnTo>
                    <a:lnTo>
                      <a:pt x="525" y="232"/>
                    </a:lnTo>
                    <a:lnTo>
                      <a:pt x="534" y="221"/>
                    </a:lnTo>
                    <a:lnTo>
                      <a:pt x="541" y="208"/>
                    </a:lnTo>
                    <a:lnTo>
                      <a:pt x="545" y="195"/>
                    </a:lnTo>
                    <a:lnTo>
                      <a:pt x="546" y="180"/>
                    </a:lnTo>
                    <a:lnTo>
                      <a:pt x="545" y="166"/>
                    </a:lnTo>
                    <a:lnTo>
                      <a:pt x="541" y="152"/>
                    </a:lnTo>
                    <a:lnTo>
                      <a:pt x="534" y="139"/>
                    </a:lnTo>
                    <a:lnTo>
                      <a:pt x="525" y="128"/>
                    </a:lnTo>
                    <a:close/>
                  </a:path>
                </a:pathLst>
              </a:custGeom>
              <a:solidFill>
                <a:schemeClr val="accent2"/>
              </a:solidFill>
              <a:ln>
                <a:noFill/>
              </a:ln>
              <a:extLst/>
            </p:spPr>
            <p:txBody>
              <a:bodyPr/>
              <a:lstStyle/>
              <a:p>
                <a:endParaRPr lang="en-US" sz="1400"/>
              </a:p>
            </p:txBody>
          </p:sp>
          <p:sp>
            <p:nvSpPr>
              <p:cNvPr id="201" name="Freeform 39">
                <a:extLst>
                  <a:ext uri="{FF2B5EF4-FFF2-40B4-BE49-F238E27FC236}">
                    <a16:creationId xmlns:a16="http://schemas.microsoft.com/office/drawing/2014/main" id="{4DBB9FA3-96CC-43A9-A7FC-B99BA02678C3}"/>
                  </a:ext>
                </a:extLst>
              </p:cNvPr>
              <p:cNvSpPr>
                <a:spLocks/>
              </p:cNvSpPr>
              <p:nvPr/>
            </p:nvSpPr>
            <p:spPr bwMode="gray">
              <a:xfrm>
                <a:off x="8082448" y="2311469"/>
                <a:ext cx="59185" cy="132541"/>
              </a:xfrm>
              <a:custGeom>
                <a:avLst/>
                <a:gdLst>
                  <a:gd name="T0" fmla="*/ 135 w 135"/>
                  <a:gd name="T1" fmla="*/ 275 h 302"/>
                  <a:gd name="T2" fmla="*/ 0 w 135"/>
                  <a:gd name="T3" fmla="*/ 0 h 302"/>
                  <a:gd name="T4" fmla="*/ 46 w 135"/>
                  <a:gd name="T5" fmla="*/ 302 h 302"/>
                  <a:gd name="T6" fmla="*/ 57 w 135"/>
                  <a:gd name="T7" fmla="*/ 298 h 302"/>
                  <a:gd name="T8" fmla="*/ 68 w 135"/>
                  <a:gd name="T9" fmla="*/ 294 h 302"/>
                  <a:gd name="T10" fmla="*/ 79 w 135"/>
                  <a:gd name="T11" fmla="*/ 291 h 302"/>
                  <a:gd name="T12" fmla="*/ 90 w 135"/>
                  <a:gd name="T13" fmla="*/ 286 h 302"/>
                  <a:gd name="T14" fmla="*/ 102 w 135"/>
                  <a:gd name="T15" fmla="*/ 284 h 302"/>
                  <a:gd name="T16" fmla="*/ 113 w 135"/>
                  <a:gd name="T17" fmla="*/ 280 h 302"/>
                  <a:gd name="T18" fmla="*/ 123 w 135"/>
                  <a:gd name="T19" fmla="*/ 277 h 302"/>
                  <a:gd name="T20" fmla="*/ 135 w 135"/>
                  <a:gd name="T21" fmla="*/ 275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5" h="302">
                    <a:moveTo>
                      <a:pt x="135" y="275"/>
                    </a:moveTo>
                    <a:lnTo>
                      <a:pt x="0" y="0"/>
                    </a:lnTo>
                    <a:lnTo>
                      <a:pt x="46" y="302"/>
                    </a:lnTo>
                    <a:lnTo>
                      <a:pt x="57" y="298"/>
                    </a:lnTo>
                    <a:lnTo>
                      <a:pt x="68" y="294"/>
                    </a:lnTo>
                    <a:lnTo>
                      <a:pt x="79" y="291"/>
                    </a:lnTo>
                    <a:lnTo>
                      <a:pt x="90" y="286"/>
                    </a:lnTo>
                    <a:lnTo>
                      <a:pt x="102" y="284"/>
                    </a:lnTo>
                    <a:lnTo>
                      <a:pt x="113" y="280"/>
                    </a:lnTo>
                    <a:lnTo>
                      <a:pt x="123" y="277"/>
                    </a:lnTo>
                    <a:lnTo>
                      <a:pt x="135" y="275"/>
                    </a:lnTo>
                    <a:close/>
                  </a:path>
                </a:pathLst>
              </a:custGeom>
              <a:solidFill>
                <a:schemeClr val="accent2"/>
              </a:solidFill>
              <a:ln>
                <a:noFill/>
              </a:ln>
              <a:extLst/>
            </p:spPr>
            <p:txBody>
              <a:bodyPr/>
              <a:lstStyle/>
              <a:p>
                <a:endParaRPr lang="en-US" sz="1400"/>
              </a:p>
            </p:txBody>
          </p:sp>
          <p:sp>
            <p:nvSpPr>
              <p:cNvPr id="202" name="Freeform 40">
                <a:extLst>
                  <a:ext uri="{FF2B5EF4-FFF2-40B4-BE49-F238E27FC236}">
                    <a16:creationId xmlns:a16="http://schemas.microsoft.com/office/drawing/2014/main" id="{B85CDE78-3F7D-4E1B-8F8D-A18C256F3E8C}"/>
                  </a:ext>
                </a:extLst>
              </p:cNvPr>
              <p:cNvSpPr>
                <a:spLocks/>
              </p:cNvSpPr>
              <p:nvPr/>
            </p:nvSpPr>
            <p:spPr bwMode="gray">
              <a:xfrm>
                <a:off x="7892337" y="2447593"/>
                <a:ext cx="116577" cy="93137"/>
              </a:xfrm>
              <a:custGeom>
                <a:avLst/>
                <a:gdLst>
                  <a:gd name="T0" fmla="*/ 268 w 268"/>
                  <a:gd name="T1" fmla="*/ 140 h 213"/>
                  <a:gd name="T2" fmla="*/ 0 w 268"/>
                  <a:gd name="T3" fmla="*/ 0 h 213"/>
                  <a:gd name="T4" fmla="*/ 211 w 268"/>
                  <a:gd name="T5" fmla="*/ 213 h 213"/>
                  <a:gd name="T6" fmla="*/ 218 w 268"/>
                  <a:gd name="T7" fmla="*/ 203 h 213"/>
                  <a:gd name="T8" fmla="*/ 224 w 268"/>
                  <a:gd name="T9" fmla="*/ 194 h 213"/>
                  <a:gd name="T10" fmla="*/ 231 w 268"/>
                  <a:gd name="T11" fmla="*/ 185 h 213"/>
                  <a:gd name="T12" fmla="*/ 238 w 268"/>
                  <a:gd name="T13" fmla="*/ 175 h 213"/>
                  <a:gd name="T14" fmla="*/ 246 w 268"/>
                  <a:gd name="T15" fmla="*/ 166 h 213"/>
                  <a:gd name="T16" fmla="*/ 253 w 268"/>
                  <a:gd name="T17" fmla="*/ 157 h 213"/>
                  <a:gd name="T18" fmla="*/ 260 w 268"/>
                  <a:gd name="T19" fmla="*/ 149 h 213"/>
                  <a:gd name="T20" fmla="*/ 268 w 268"/>
                  <a:gd name="T21" fmla="*/ 140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68" h="213">
                    <a:moveTo>
                      <a:pt x="268" y="140"/>
                    </a:moveTo>
                    <a:lnTo>
                      <a:pt x="0" y="0"/>
                    </a:lnTo>
                    <a:lnTo>
                      <a:pt x="211" y="213"/>
                    </a:lnTo>
                    <a:lnTo>
                      <a:pt x="218" y="203"/>
                    </a:lnTo>
                    <a:lnTo>
                      <a:pt x="224" y="194"/>
                    </a:lnTo>
                    <a:lnTo>
                      <a:pt x="231" y="185"/>
                    </a:lnTo>
                    <a:lnTo>
                      <a:pt x="238" y="175"/>
                    </a:lnTo>
                    <a:lnTo>
                      <a:pt x="246" y="166"/>
                    </a:lnTo>
                    <a:lnTo>
                      <a:pt x="253" y="157"/>
                    </a:lnTo>
                    <a:lnTo>
                      <a:pt x="260" y="149"/>
                    </a:lnTo>
                    <a:lnTo>
                      <a:pt x="268" y="140"/>
                    </a:lnTo>
                    <a:close/>
                  </a:path>
                </a:pathLst>
              </a:custGeom>
              <a:solidFill>
                <a:schemeClr val="accent2"/>
              </a:solidFill>
              <a:ln>
                <a:noFill/>
              </a:ln>
              <a:extLst/>
            </p:spPr>
            <p:txBody>
              <a:bodyPr/>
              <a:lstStyle/>
              <a:p>
                <a:endParaRPr lang="en-US" sz="1400"/>
              </a:p>
            </p:txBody>
          </p:sp>
          <p:sp>
            <p:nvSpPr>
              <p:cNvPr id="203" name="Freeform 41">
                <a:extLst>
                  <a:ext uri="{FF2B5EF4-FFF2-40B4-BE49-F238E27FC236}">
                    <a16:creationId xmlns:a16="http://schemas.microsoft.com/office/drawing/2014/main" id="{3F57B52A-EEE9-4539-9E28-389ED08502C8}"/>
                  </a:ext>
                </a:extLst>
              </p:cNvPr>
              <p:cNvSpPr>
                <a:spLocks/>
              </p:cNvSpPr>
              <p:nvPr/>
            </p:nvSpPr>
            <p:spPr bwMode="gray">
              <a:xfrm>
                <a:off x="8451908" y="2657150"/>
                <a:ext cx="125544" cy="37614"/>
              </a:xfrm>
              <a:custGeom>
                <a:avLst/>
                <a:gdLst>
                  <a:gd name="T0" fmla="*/ 285 w 285"/>
                  <a:gd name="T1" fmla="*/ 46 h 88"/>
                  <a:gd name="T2" fmla="*/ 0 w 285"/>
                  <a:gd name="T3" fmla="*/ 0 h 88"/>
                  <a:gd name="T4" fmla="*/ 2 w 285"/>
                  <a:gd name="T5" fmla="*/ 14 h 88"/>
                  <a:gd name="T6" fmla="*/ 3 w 285"/>
                  <a:gd name="T7" fmla="*/ 28 h 88"/>
                  <a:gd name="T8" fmla="*/ 4 w 285"/>
                  <a:gd name="T9" fmla="*/ 42 h 88"/>
                  <a:gd name="T10" fmla="*/ 4 w 285"/>
                  <a:gd name="T11" fmla="*/ 57 h 88"/>
                  <a:gd name="T12" fmla="*/ 4 w 285"/>
                  <a:gd name="T13" fmla="*/ 65 h 88"/>
                  <a:gd name="T14" fmla="*/ 4 w 285"/>
                  <a:gd name="T15" fmla="*/ 72 h 88"/>
                  <a:gd name="T16" fmla="*/ 3 w 285"/>
                  <a:gd name="T17" fmla="*/ 80 h 88"/>
                  <a:gd name="T18" fmla="*/ 3 w 285"/>
                  <a:gd name="T19" fmla="*/ 88 h 88"/>
                  <a:gd name="T20" fmla="*/ 285 w 285"/>
                  <a:gd name="T21" fmla="*/ 46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85" h="88">
                    <a:moveTo>
                      <a:pt x="285" y="46"/>
                    </a:moveTo>
                    <a:lnTo>
                      <a:pt x="0" y="0"/>
                    </a:lnTo>
                    <a:lnTo>
                      <a:pt x="2" y="14"/>
                    </a:lnTo>
                    <a:lnTo>
                      <a:pt x="3" y="28"/>
                    </a:lnTo>
                    <a:lnTo>
                      <a:pt x="4" y="42"/>
                    </a:lnTo>
                    <a:lnTo>
                      <a:pt x="4" y="57"/>
                    </a:lnTo>
                    <a:lnTo>
                      <a:pt x="4" y="65"/>
                    </a:lnTo>
                    <a:lnTo>
                      <a:pt x="4" y="72"/>
                    </a:lnTo>
                    <a:lnTo>
                      <a:pt x="3" y="80"/>
                    </a:lnTo>
                    <a:lnTo>
                      <a:pt x="3" y="88"/>
                    </a:lnTo>
                    <a:lnTo>
                      <a:pt x="285" y="46"/>
                    </a:lnTo>
                    <a:close/>
                  </a:path>
                </a:pathLst>
              </a:custGeom>
              <a:solidFill>
                <a:schemeClr val="accent2"/>
              </a:solidFill>
              <a:ln>
                <a:noFill/>
              </a:ln>
              <a:extLst/>
            </p:spPr>
            <p:txBody>
              <a:bodyPr/>
              <a:lstStyle/>
              <a:p>
                <a:endParaRPr lang="en-US" sz="1400"/>
              </a:p>
            </p:txBody>
          </p:sp>
          <p:sp>
            <p:nvSpPr>
              <p:cNvPr id="204" name="Freeform 42">
                <a:extLst>
                  <a:ext uri="{FF2B5EF4-FFF2-40B4-BE49-F238E27FC236}">
                    <a16:creationId xmlns:a16="http://schemas.microsoft.com/office/drawing/2014/main" id="{B221A4E1-E7D8-4078-A423-7CAE7BEE4744}"/>
                  </a:ext>
                </a:extLst>
              </p:cNvPr>
              <p:cNvSpPr>
                <a:spLocks/>
              </p:cNvSpPr>
              <p:nvPr/>
            </p:nvSpPr>
            <p:spPr bwMode="gray">
              <a:xfrm>
                <a:off x="7976632" y="2365201"/>
                <a:ext cx="93262" cy="118213"/>
              </a:xfrm>
              <a:custGeom>
                <a:avLst/>
                <a:gdLst>
                  <a:gd name="T0" fmla="*/ 213 w 213"/>
                  <a:gd name="T1" fmla="*/ 218 h 271"/>
                  <a:gd name="T2" fmla="*/ 0 w 213"/>
                  <a:gd name="T3" fmla="*/ 0 h 271"/>
                  <a:gd name="T4" fmla="*/ 137 w 213"/>
                  <a:gd name="T5" fmla="*/ 271 h 271"/>
                  <a:gd name="T6" fmla="*/ 146 w 213"/>
                  <a:gd name="T7" fmla="*/ 264 h 271"/>
                  <a:gd name="T8" fmla="*/ 156 w 213"/>
                  <a:gd name="T9" fmla="*/ 257 h 271"/>
                  <a:gd name="T10" fmla="*/ 165 w 213"/>
                  <a:gd name="T11" fmla="*/ 250 h 271"/>
                  <a:gd name="T12" fmla="*/ 174 w 213"/>
                  <a:gd name="T13" fmla="*/ 243 h 271"/>
                  <a:gd name="T14" fmla="*/ 183 w 213"/>
                  <a:gd name="T15" fmla="*/ 236 h 271"/>
                  <a:gd name="T16" fmla="*/ 194 w 213"/>
                  <a:gd name="T17" fmla="*/ 231 h 271"/>
                  <a:gd name="T18" fmla="*/ 203 w 213"/>
                  <a:gd name="T19" fmla="*/ 224 h 271"/>
                  <a:gd name="T20" fmla="*/ 213 w 213"/>
                  <a:gd name="T21" fmla="*/ 218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3" h="271">
                    <a:moveTo>
                      <a:pt x="213" y="218"/>
                    </a:moveTo>
                    <a:lnTo>
                      <a:pt x="0" y="0"/>
                    </a:lnTo>
                    <a:lnTo>
                      <a:pt x="137" y="271"/>
                    </a:lnTo>
                    <a:lnTo>
                      <a:pt x="146" y="264"/>
                    </a:lnTo>
                    <a:lnTo>
                      <a:pt x="156" y="257"/>
                    </a:lnTo>
                    <a:lnTo>
                      <a:pt x="165" y="250"/>
                    </a:lnTo>
                    <a:lnTo>
                      <a:pt x="174" y="243"/>
                    </a:lnTo>
                    <a:lnTo>
                      <a:pt x="183" y="236"/>
                    </a:lnTo>
                    <a:lnTo>
                      <a:pt x="194" y="231"/>
                    </a:lnTo>
                    <a:lnTo>
                      <a:pt x="203" y="224"/>
                    </a:lnTo>
                    <a:lnTo>
                      <a:pt x="213" y="218"/>
                    </a:lnTo>
                    <a:close/>
                  </a:path>
                </a:pathLst>
              </a:custGeom>
              <a:solidFill>
                <a:schemeClr val="accent2"/>
              </a:solidFill>
              <a:ln>
                <a:noFill/>
              </a:ln>
              <a:extLst/>
            </p:spPr>
            <p:txBody>
              <a:bodyPr/>
              <a:lstStyle/>
              <a:p>
                <a:endParaRPr lang="en-US" sz="1400"/>
              </a:p>
            </p:txBody>
          </p:sp>
          <p:sp>
            <p:nvSpPr>
              <p:cNvPr id="205" name="Freeform 43">
                <a:extLst>
                  <a:ext uri="{FF2B5EF4-FFF2-40B4-BE49-F238E27FC236}">
                    <a16:creationId xmlns:a16="http://schemas.microsoft.com/office/drawing/2014/main" id="{BD39EEDC-4CB2-41E5-9E6D-49329C5C7A9E}"/>
                  </a:ext>
                </a:extLst>
              </p:cNvPr>
              <p:cNvSpPr>
                <a:spLocks/>
              </p:cNvSpPr>
              <p:nvPr/>
            </p:nvSpPr>
            <p:spPr bwMode="gray">
              <a:xfrm>
                <a:off x="8179297" y="2293558"/>
                <a:ext cx="41250" cy="132541"/>
              </a:xfrm>
              <a:custGeom>
                <a:avLst/>
                <a:gdLst>
                  <a:gd name="T0" fmla="*/ 45 w 94"/>
                  <a:gd name="T1" fmla="*/ 301 h 303"/>
                  <a:gd name="T2" fmla="*/ 51 w 94"/>
                  <a:gd name="T3" fmla="*/ 301 h 303"/>
                  <a:gd name="T4" fmla="*/ 58 w 94"/>
                  <a:gd name="T5" fmla="*/ 301 h 303"/>
                  <a:gd name="T6" fmla="*/ 63 w 94"/>
                  <a:gd name="T7" fmla="*/ 301 h 303"/>
                  <a:gd name="T8" fmla="*/ 69 w 94"/>
                  <a:gd name="T9" fmla="*/ 301 h 303"/>
                  <a:gd name="T10" fmla="*/ 75 w 94"/>
                  <a:gd name="T11" fmla="*/ 301 h 303"/>
                  <a:gd name="T12" fmla="*/ 82 w 94"/>
                  <a:gd name="T13" fmla="*/ 302 h 303"/>
                  <a:gd name="T14" fmla="*/ 88 w 94"/>
                  <a:gd name="T15" fmla="*/ 302 h 303"/>
                  <a:gd name="T16" fmla="*/ 94 w 94"/>
                  <a:gd name="T17" fmla="*/ 303 h 303"/>
                  <a:gd name="T18" fmla="*/ 49 w 94"/>
                  <a:gd name="T19" fmla="*/ 0 h 303"/>
                  <a:gd name="T20" fmla="*/ 0 w 94"/>
                  <a:gd name="T21" fmla="*/ 302 h 303"/>
                  <a:gd name="T22" fmla="*/ 6 w 94"/>
                  <a:gd name="T23" fmla="*/ 302 h 303"/>
                  <a:gd name="T24" fmla="*/ 11 w 94"/>
                  <a:gd name="T25" fmla="*/ 301 h 303"/>
                  <a:gd name="T26" fmla="*/ 17 w 94"/>
                  <a:gd name="T27" fmla="*/ 301 h 303"/>
                  <a:gd name="T28" fmla="*/ 23 w 94"/>
                  <a:gd name="T29" fmla="*/ 301 h 303"/>
                  <a:gd name="T30" fmla="*/ 28 w 94"/>
                  <a:gd name="T31" fmla="*/ 301 h 303"/>
                  <a:gd name="T32" fmla="*/ 33 w 94"/>
                  <a:gd name="T33" fmla="*/ 301 h 303"/>
                  <a:gd name="T34" fmla="*/ 39 w 94"/>
                  <a:gd name="T35" fmla="*/ 301 h 303"/>
                  <a:gd name="T36" fmla="*/ 45 w 94"/>
                  <a:gd name="T37" fmla="*/ 301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94" h="303">
                    <a:moveTo>
                      <a:pt x="45" y="301"/>
                    </a:moveTo>
                    <a:lnTo>
                      <a:pt x="51" y="301"/>
                    </a:lnTo>
                    <a:lnTo>
                      <a:pt x="58" y="301"/>
                    </a:lnTo>
                    <a:lnTo>
                      <a:pt x="63" y="301"/>
                    </a:lnTo>
                    <a:lnTo>
                      <a:pt x="69" y="301"/>
                    </a:lnTo>
                    <a:lnTo>
                      <a:pt x="75" y="301"/>
                    </a:lnTo>
                    <a:lnTo>
                      <a:pt x="82" y="302"/>
                    </a:lnTo>
                    <a:lnTo>
                      <a:pt x="88" y="302"/>
                    </a:lnTo>
                    <a:lnTo>
                      <a:pt x="94" y="303"/>
                    </a:lnTo>
                    <a:lnTo>
                      <a:pt x="49" y="0"/>
                    </a:lnTo>
                    <a:lnTo>
                      <a:pt x="0" y="302"/>
                    </a:lnTo>
                    <a:lnTo>
                      <a:pt x="6" y="302"/>
                    </a:lnTo>
                    <a:lnTo>
                      <a:pt x="11" y="301"/>
                    </a:lnTo>
                    <a:lnTo>
                      <a:pt x="17" y="301"/>
                    </a:lnTo>
                    <a:lnTo>
                      <a:pt x="23" y="301"/>
                    </a:lnTo>
                    <a:lnTo>
                      <a:pt x="28" y="301"/>
                    </a:lnTo>
                    <a:lnTo>
                      <a:pt x="33" y="301"/>
                    </a:lnTo>
                    <a:lnTo>
                      <a:pt x="39" y="301"/>
                    </a:lnTo>
                    <a:lnTo>
                      <a:pt x="45" y="301"/>
                    </a:lnTo>
                    <a:close/>
                  </a:path>
                </a:pathLst>
              </a:custGeom>
              <a:solidFill>
                <a:schemeClr val="accent2"/>
              </a:solidFill>
              <a:ln>
                <a:noFill/>
              </a:ln>
              <a:extLst/>
            </p:spPr>
            <p:txBody>
              <a:bodyPr/>
              <a:lstStyle/>
              <a:p>
                <a:endParaRPr lang="en-US" sz="1400"/>
              </a:p>
            </p:txBody>
          </p:sp>
          <p:sp>
            <p:nvSpPr>
              <p:cNvPr id="206" name="Freeform 44">
                <a:extLst>
                  <a:ext uri="{FF2B5EF4-FFF2-40B4-BE49-F238E27FC236}">
                    <a16:creationId xmlns:a16="http://schemas.microsoft.com/office/drawing/2014/main" id="{ED32B25F-5051-416B-8513-AC972DBDA0E5}"/>
                  </a:ext>
                </a:extLst>
              </p:cNvPr>
              <p:cNvSpPr>
                <a:spLocks/>
              </p:cNvSpPr>
              <p:nvPr/>
            </p:nvSpPr>
            <p:spPr bwMode="gray">
              <a:xfrm>
                <a:off x="8432178" y="2558640"/>
                <a:ext cx="127338" cy="57315"/>
              </a:xfrm>
              <a:custGeom>
                <a:avLst/>
                <a:gdLst>
                  <a:gd name="T0" fmla="*/ 29 w 290"/>
                  <a:gd name="T1" fmla="*/ 129 h 129"/>
                  <a:gd name="T2" fmla="*/ 290 w 290"/>
                  <a:gd name="T3" fmla="*/ 0 h 129"/>
                  <a:gd name="T4" fmla="*/ 0 w 290"/>
                  <a:gd name="T5" fmla="*/ 45 h 129"/>
                  <a:gd name="T6" fmla="*/ 8 w 290"/>
                  <a:gd name="T7" fmla="*/ 65 h 129"/>
                  <a:gd name="T8" fmla="*/ 17 w 290"/>
                  <a:gd name="T9" fmla="*/ 86 h 129"/>
                  <a:gd name="T10" fmla="*/ 23 w 290"/>
                  <a:gd name="T11" fmla="*/ 107 h 129"/>
                  <a:gd name="T12" fmla="*/ 29 w 290"/>
                  <a:gd name="T13" fmla="*/ 129 h 129"/>
                </a:gdLst>
                <a:ahLst/>
                <a:cxnLst>
                  <a:cxn ang="0">
                    <a:pos x="T0" y="T1"/>
                  </a:cxn>
                  <a:cxn ang="0">
                    <a:pos x="T2" y="T3"/>
                  </a:cxn>
                  <a:cxn ang="0">
                    <a:pos x="T4" y="T5"/>
                  </a:cxn>
                  <a:cxn ang="0">
                    <a:pos x="T6" y="T7"/>
                  </a:cxn>
                  <a:cxn ang="0">
                    <a:pos x="T8" y="T9"/>
                  </a:cxn>
                  <a:cxn ang="0">
                    <a:pos x="T10" y="T11"/>
                  </a:cxn>
                  <a:cxn ang="0">
                    <a:pos x="T12" y="T13"/>
                  </a:cxn>
                </a:cxnLst>
                <a:rect l="0" t="0" r="r" b="b"/>
                <a:pathLst>
                  <a:path w="290" h="129">
                    <a:moveTo>
                      <a:pt x="29" y="129"/>
                    </a:moveTo>
                    <a:lnTo>
                      <a:pt x="290" y="0"/>
                    </a:lnTo>
                    <a:lnTo>
                      <a:pt x="0" y="45"/>
                    </a:lnTo>
                    <a:lnTo>
                      <a:pt x="8" y="65"/>
                    </a:lnTo>
                    <a:lnTo>
                      <a:pt x="17" y="86"/>
                    </a:lnTo>
                    <a:lnTo>
                      <a:pt x="23" y="107"/>
                    </a:lnTo>
                    <a:lnTo>
                      <a:pt x="29" y="129"/>
                    </a:lnTo>
                    <a:close/>
                  </a:path>
                </a:pathLst>
              </a:custGeom>
              <a:solidFill>
                <a:schemeClr val="accent2"/>
              </a:solidFill>
              <a:ln>
                <a:noFill/>
              </a:ln>
              <a:extLst/>
            </p:spPr>
            <p:txBody>
              <a:bodyPr/>
              <a:lstStyle/>
              <a:p>
                <a:endParaRPr lang="en-US" sz="1400"/>
              </a:p>
            </p:txBody>
          </p:sp>
          <p:sp>
            <p:nvSpPr>
              <p:cNvPr id="207" name="Freeform 45">
                <a:extLst>
                  <a:ext uri="{FF2B5EF4-FFF2-40B4-BE49-F238E27FC236}">
                    <a16:creationId xmlns:a16="http://schemas.microsoft.com/office/drawing/2014/main" id="{D5D2EF92-56FB-4586-9839-AF3ACAF57904}"/>
                  </a:ext>
                </a:extLst>
              </p:cNvPr>
              <p:cNvSpPr>
                <a:spLocks/>
              </p:cNvSpPr>
              <p:nvPr/>
            </p:nvSpPr>
            <p:spPr bwMode="gray">
              <a:xfrm>
                <a:off x="8389135" y="2452966"/>
                <a:ext cx="116577" cy="91346"/>
              </a:xfrm>
              <a:custGeom>
                <a:avLst/>
                <a:gdLst>
                  <a:gd name="T0" fmla="*/ 55 w 267"/>
                  <a:gd name="T1" fmla="*/ 206 h 206"/>
                  <a:gd name="T2" fmla="*/ 267 w 267"/>
                  <a:gd name="T3" fmla="*/ 0 h 206"/>
                  <a:gd name="T4" fmla="*/ 0 w 267"/>
                  <a:gd name="T5" fmla="*/ 134 h 206"/>
                  <a:gd name="T6" fmla="*/ 7 w 267"/>
                  <a:gd name="T7" fmla="*/ 143 h 206"/>
                  <a:gd name="T8" fmla="*/ 15 w 267"/>
                  <a:gd name="T9" fmla="*/ 151 h 206"/>
                  <a:gd name="T10" fmla="*/ 22 w 267"/>
                  <a:gd name="T11" fmla="*/ 160 h 206"/>
                  <a:gd name="T12" fmla="*/ 29 w 267"/>
                  <a:gd name="T13" fmla="*/ 169 h 206"/>
                  <a:gd name="T14" fmla="*/ 35 w 267"/>
                  <a:gd name="T15" fmla="*/ 178 h 206"/>
                  <a:gd name="T16" fmla="*/ 42 w 267"/>
                  <a:gd name="T17" fmla="*/ 188 h 206"/>
                  <a:gd name="T18" fmla="*/ 49 w 267"/>
                  <a:gd name="T19" fmla="*/ 197 h 206"/>
                  <a:gd name="T20" fmla="*/ 55 w 267"/>
                  <a:gd name="T21" fmla="*/ 206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67" h="206">
                    <a:moveTo>
                      <a:pt x="55" y="206"/>
                    </a:moveTo>
                    <a:lnTo>
                      <a:pt x="267" y="0"/>
                    </a:lnTo>
                    <a:lnTo>
                      <a:pt x="0" y="134"/>
                    </a:lnTo>
                    <a:lnTo>
                      <a:pt x="7" y="143"/>
                    </a:lnTo>
                    <a:lnTo>
                      <a:pt x="15" y="151"/>
                    </a:lnTo>
                    <a:lnTo>
                      <a:pt x="22" y="160"/>
                    </a:lnTo>
                    <a:lnTo>
                      <a:pt x="29" y="169"/>
                    </a:lnTo>
                    <a:lnTo>
                      <a:pt x="35" y="178"/>
                    </a:lnTo>
                    <a:lnTo>
                      <a:pt x="42" y="188"/>
                    </a:lnTo>
                    <a:lnTo>
                      <a:pt x="49" y="197"/>
                    </a:lnTo>
                    <a:lnTo>
                      <a:pt x="55" y="206"/>
                    </a:lnTo>
                    <a:close/>
                  </a:path>
                </a:pathLst>
              </a:custGeom>
              <a:solidFill>
                <a:schemeClr val="accent2"/>
              </a:solidFill>
              <a:ln>
                <a:noFill/>
              </a:ln>
              <a:extLst/>
            </p:spPr>
            <p:txBody>
              <a:bodyPr/>
              <a:lstStyle/>
              <a:p>
                <a:endParaRPr lang="en-US" sz="1400"/>
              </a:p>
            </p:txBody>
          </p:sp>
          <p:sp>
            <p:nvSpPr>
              <p:cNvPr id="208" name="Freeform 46">
                <a:extLst>
                  <a:ext uri="{FF2B5EF4-FFF2-40B4-BE49-F238E27FC236}">
                    <a16:creationId xmlns:a16="http://schemas.microsoft.com/office/drawing/2014/main" id="{2E00F74F-8283-40B0-9E40-275794918E27}"/>
                  </a:ext>
                </a:extLst>
              </p:cNvPr>
              <p:cNvSpPr>
                <a:spLocks/>
              </p:cNvSpPr>
              <p:nvPr/>
            </p:nvSpPr>
            <p:spPr bwMode="gray">
              <a:xfrm>
                <a:off x="8256417" y="2313259"/>
                <a:ext cx="60979" cy="130750"/>
              </a:xfrm>
              <a:custGeom>
                <a:avLst/>
                <a:gdLst>
                  <a:gd name="T0" fmla="*/ 89 w 140"/>
                  <a:gd name="T1" fmla="*/ 299 h 299"/>
                  <a:gd name="T2" fmla="*/ 140 w 140"/>
                  <a:gd name="T3" fmla="*/ 0 h 299"/>
                  <a:gd name="T4" fmla="*/ 0 w 140"/>
                  <a:gd name="T5" fmla="*/ 272 h 299"/>
                  <a:gd name="T6" fmla="*/ 12 w 140"/>
                  <a:gd name="T7" fmla="*/ 274 h 299"/>
                  <a:gd name="T8" fmla="*/ 22 w 140"/>
                  <a:gd name="T9" fmla="*/ 277 h 299"/>
                  <a:gd name="T10" fmla="*/ 34 w 140"/>
                  <a:gd name="T11" fmla="*/ 281 h 299"/>
                  <a:gd name="T12" fmla="*/ 45 w 140"/>
                  <a:gd name="T13" fmla="*/ 283 h 299"/>
                  <a:gd name="T14" fmla="*/ 57 w 140"/>
                  <a:gd name="T15" fmla="*/ 288 h 299"/>
                  <a:gd name="T16" fmla="*/ 67 w 140"/>
                  <a:gd name="T17" fmla="*/ 291 h 299"/>
                  <a:gd name="T18" fmla="*/ 79 w 140"/>
                  <a:gd name="T19" fmla="*/ 295 h 299"/>
                  <a:gd name="T20" fmla="*/ 89 w 140"/>
                  <a:gd name="T21" fmla="*/ 299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0" h="299">
                    <a:moveTo>
                      <a:pt x="89" y="299"/>
                    </a:moveTo>
                    <a:lnTo>
                      <a:pt x="140" y="0"/>
                    </a:lnTo>
                    <a:lnTo>
                      <a:pt x="0" y="272"/>
                    </a:lnTo>
                    <a:lnTo>
                      <a:pt x="12" y="274"/>
                    </a:lnTo>
                    <a:lnTo>
                      <a:pt x="22" y="277"/>
                    </a:lnTo>
                    <a:lnTo>
                      <a:pt x="34" y="281"/>
                    </a:lnTo>
                    <a:lnTo>
                      <a:pt x="45" y="283"/>
                    </a:lnTo>
                    <a:lnTo>
                      <a:pt x="57" y="288"/>
                    </a:lnTo>
                    <a:lnTo>
                      <a:pt x="67" y="291"/>
                    </a:lnTo>
                    <a:lnTo>
                      <a:pt x="79" y="295"/>
                    </a:lnTo>
                    <a:lnTo>
                      <a:pt x="89" y="299"/>
                    </a:lnTo>
                    <a:close/>
                  </a:path>
                </a:pathLst>
              </a:custGeom>
              <a:solidFill>
                <a:schemeClr val="accent2"/>
              </a:solidFill>
              <a:ln>
                <a:noFill/>
              </a:ln>
              <a:extLst/>
            </p:spPr>
            <p:txBody>
              <a:bodyPr/>
              <a:lstStyle/>
              <a:p>
                <a:endParaRPr lang="en-US" sz="1400"/>
              </a:p>
            </p:txBody>
          </p:sp>
          <p:sp>
            <p:nvSpPr>
              <p:cNvPr id="209" name="Freeform 47">
                <a:extLst>
                  <a:ext uri="{FF2B5EF4-FFF2-40B4-BE49-F238E27FC236}">
                    <a16:creationId xmlns:a16="http://schemas.microsoft.com/office/drawing/2014/main" id="{9AA38746-86D2-47EC-A576-35008E974740}"/>
                  </a:ext>
                </a:extLst>
              </p:cNvPr>
              <p:cNvSpPr>
                <a:spLocks/>
              </p:cNvSpPr>
              <p:nvPr/>
            </p:nvSpPr>
            <p:spPr bwMode="gray">
              <a:xfrm>
                <a:off x="8328157" y="2368784"/>
                <a:ext cx="95054" cy="116421"/>
              </a:xfrm>
              <a:custGeom>
                <a:avLst/>
                <a:gdLst>
                  <a:gd name="T0" fmla="*/ 75 w 215"/>
                  <a:gd name="T1" fmla="*/ 266 h 266"/>
                  <a:gd name="T2" fmla="*/ 215 w 215"/>
                  <a:gd name="T3" fmla="*/ 0 h 266"/>
                  <a:gd name="T4" fmla="*/ 0 w 215"/>
                  <a:gd name="T5" fmla="*/ 213 h 266"/>
                  <a:gd name="T6" fmla="*/ 9 w 215"/>
                  <a:gd name="T7" fmla="*/ 219 h 266"/>
                  <a:gd name="T8" fmla="*/ 19 w 215"/>
                  <a:gd name="T9" fmla="*/ 225 h 266"/>
                  <a:gd name="T10" fmla="*/ 29 w 215"/>
                  <a:gd name="T11" fmla="*/ 232 h 266"/>
                  <a:gd name="T12" fmla="*/ 38 w 215"/>
                  <a:gd name="T13" fmla="*/ 238 h 266"/>
                  <a:gd name="T14" fmla="*/ 47 w 215"/>
                  <a:gd name="T15" fmla="*/ 245 h 266"/>
                  <a:gd name="T16" fmla="*/ 57 w 215"/>
                  <a:gd name="T17" fmla="*/ 251 h 266"/>
                  <a:gd name="T18" fmla="*/ 66 w 215"/>
                  <a:gd name="T19" fmla="*/ 260 h 266"/>
                  <a:gd name="T20" fmla="*/ 75 w 215"/>
                  <a:gd name="T21" fmla="*/ 266 h 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5" h="266">
                    <a:moveTo>
                      <a:pt x="75" y="266"/>
                    </a:moveTo>
                    <a:lnTo>
                      <a:pt x="215" y="0"/>
                    </a:lnTo>
                    <a:lnTo>
                      <a:pt x="0" y="213"/>
                    </a:lnTo>
                    <a:lnTo>
                      <a:pt x="9" y="219"/>
                    </a:lnTo>
                    <a:lnTo>
                      <a:pt x="19" y="225"/>
                    </a:lnTo>
                    <a:lnTo>
                      <a:pt x="29" y="232"/>
                    </a:lnTo>
                    <a:lnTo>
                      <a:pt x="38" y="238"/>
                    </a:lnTo>
                    <a:lnTo>
                      <a:pt x="47" y="245"/>
                    </a:lnTo>
                    <a:lnTo>
                      <a:pt x="57" y="251"/>
                    </a:lnTo>
                    <a:lnTo>
                      <a:pt x="66" y="260"/>
                    </a:lnTo>
                    <a:lnTo>
                      <a:pt x="75" y="266"/>
                    </a:lnTo>
                    <a:close/>
                  </a:path>
                </a:pathLst>
              </a:custGeom>
              <a:solidFill>
                <a:schemeClr val="accent2"/>
              </a:solidFill>
              <a:ln>
                <a:noFill/>
              </a:ln>
              <a:extLst/>
            </p:spPr>
            <p:txBody>
              <a:bodyPr/>
              <a:lstStyle/>
              <a:p>
                <a:endParaRPr lang="en-US" sz="1400"/>
              </a:p>
            </p:txBody>
          </p:sp>
          <p:sp>
            <p:nvSpPr>
              <p:cNvPr id="210" name="Freeform 48">
                <a:extLst>
                  <a:ext uri="{FF2B5EF4-FFF2-40B4-BE49-F238E27FC236}">
                    <a16:creationId xmlns:a16="http://schemas.microsoft.com/office/drawing/2014/main" id="{6FB87F5D-BE87-4802-BBA5-D9FBEC6DA82C}"/>
                  </a:ext>
                </a:extLst>
              </p:cNvPr>
              <p:cNvSpPr>
                <a:spLocks/>
              </p:cNvSpPr>
              <p:nvPr/>
            </p:nvSpPr>
            <p:spPr bwMode="gray">
              <a:xfrm>
                <a:off x="7834945" y="2732376"/>
                <a:ext cx="121957" cy="55525"/>
              </a:xfrm>
              <a:custGeom>
                <a:avLst/>
                <a:gdLst>
                  <a:gd name="T0" fmla="*/ 257 w 280"/>
                  <a:gd name="T1" fmla="*/ 0 h 127"/>
                  <a:gd name="T2" fmla="*/ 0 w 280"/>
                  <a:gd name="T3" fmla="*/ 127 h 127"/>
                  <a:gd name="T4" fmla="*/ 280 w 280"/>
                  <a:gd name="T5" fmla="*/ 84 h 127"/>
                  <a:gd name="T6" fmla="*/ 273 w 280"/>
                  <a:gd name="T7" fmla="*/ 63 h 127"/>
                  <a:gd name="T8" fmla="*/ 268 w 280"/>
                  <a:gd name="T9" fmla="*/ 43 h 127"/>
                  <a:gd name="T10" fmla="*/ 262 w 280"/>
                  <a:gd name="T11" fmla="*/ 22 h 127"/>
                  <a:gd name="T12" fmla="*/ 257 w 280"/>
                  <a:gd name="T13" fmla="*/ 0 h 127"/>
                </a:gdLst>
                <a:ahLst/>
                <a:cxnLst>
                  <a:cxn ang="0">
                    <a:pos x="T0" y="T1"/>
                  </a:cxn>
                  <a:cxn ang="0">
                    <a:pos x="T2" y="T3"/>
                  </a:cxn>
                  <a:cxn ang="0">
                    <a:pos x="T4" y="T5"/>
                  </a:cxn>
                  <a:cxn ang="0">
                    <a:pos x="T6" y="T7"/>
                  </a:cxn>
                  <a:cxn ang="0">
                    <a:pos x="T8" y="T9"/>
                  </a:cxn>
                  <a:cxn ang="0">
                    <a:pos x="T10" y="T11"/>
                  </a:cxn>
                  <a:cxn ang="0">
                    <a:pos x="T12" y="T13"/>
                  </a:cxn>
                </a:cxnLst>
                <a:rect l="0" t="0" r="r" b="b"/>
                <a:pathLst>
                  <a:path w="280" h="127">
                    <a:moveTo>
                      <a:pt x="257" y="0"/>
                    </a:moveTo>
                    <a:lnTo>
                      <a:pt x="0" y="127"/>
                    </a:lnTo>
                    <a:lnTo>
                      <a:pt x="280" y="84"/>
                    </a:lnTo>
                    <a:lnTo>
                      <a:pt x="273" y="63"/>
                    </a:lnTo>
                    <a:lnTo>
                      <a:pt x="268" y="43"/>
                    </a:lnTo>
                    <a:lnTo>
                      <a:pt x="262" y="22"/>
                    </a:lnTo>
                    <a:lnTo>
                      <a:pt x="257" y="0"/>
                    </a:lnTo>
                    <a:close/>
                  </a:path>
                </a:pathLst>
              </a:custGeom>
              <a:solidFill>
                <a:schemeClr val="accent2"/>
              </a:solidFill>
              <a:ln>
                <a:noFill/>
              </a:ln>
              <a:extLst/>
            </p:spPr>
            <p:txBody>
              <a:bodyPr/>
              <a:lstStyle/>
              <a:p>
                <a:endParaRPr lang="en-US" sz="1400"/>
              </a:p>
            </p:txBody>
          </p:sp>
          <p:sp>
            <p:nvSpPr>
              <p:cNvPr id="211" name="Freeform 49">
                <a:extLst>
                  <a:ext uri="{FF2B5EF4-FFF2-40B4-BE49-F238E27FC236}">
                    <a16:creationId xmlns:a16="http://schemas.microsoft.com/office/drawing/2014/main" id="{3C6561B8-2AAB-4DFA-9289-0A8E39C6F46F}"/>
                  </a:ext>
                </a:extLst>
              </p:cNvPr>
              <p:cNvSpPr>
                <a:spLocks/>
              </p:cNvSpPr>
              <p:nvPr/>
            </p:nvSpPr>
            <p:spPr bwMode="gray">
              <a:xfrm>
                <a:off x="8396308" y="2812975"/>
                <a:ext cx="105816" cy="85973"/>
              </a:xfrm>
              <a:custGeom>
                <a:avLst/>
                <a:gdLst>
                  <a:gd name="T0" fmla="*/ 0 w 245"/>
                  <a:gd name="T1" fmla="*/ 69 h 197"/>
                  <a:gd name="T2" fmla="*/ 245 w 245"/>
                  <a:gd name="T3" fmla="*/ 197 h 197"/>
                  <a:gd name="T4" fmla="*/ 49 w 245"/>
                  <a:gd name="T5" fmla="*/ 0 h 197"/>
                  <a:gd name="T6" fmla="*/ 43 w 245"/>
                  <a:gd name="T7" fmla="*/ 10 h 197"/>
                  <a:gd name="T8" fmla="*/ 37 w 245"/>
                  <a:gd name="T9" fmla="*/ 19 h 197"/>
                  <a:gd name="T10" fmla="*/ 31 w 245"/>
                  <a:gd name="T11" fmla="*/ 27 h 197"/>
                  <a:gd name="T12" fmla="*/ 26 w 245"/>
                  <a:gd name="T13" fmla="*/ 36 h 197"/>
                  <a:gd name="T14" fmla="*/ 20 w 245"/>
                  <a:gd name="T15" fmla="*/ 44 h 197"/>
                  <a:gd name="T16" fmla="*/ 13 w 245"/>
                  <a:gd name="T17" fmla="*/ 53 h 197"/>
                  <a:gd name="T18" fmla="*/ 7 w 245"/>
                  <a:gd name="T19" fmla="*/ 61 h 197"/>
                  <a:gd name="T20" fmla="*/ 0 w 245"/>
                  <a:gd name="T21" fmla="*/ 69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45" h="197">
                    <a:moveTo>
                      <a:pt x="0" y="69"/>
                    </a:moveTo>
                    <a:lnTo>
                      <a:pt x="245" y="197"/>
                    </a:lnTo>
                    <a:lnTo>
                      <a:pt x="49" y="0"/>
                    </a:lnTo>
                    <a:lnTo>
                      <a:pt x="43" y="10"/>
                    </a:lnTo>
                    <a:lnTo>
                      <a:pt x="37" y="19"/>
                    </a:lnTo>
                    <a:lnTo>
                      <a:pt x="31" y="27"/>
                    </a:lnTo>
                    <a:lnTo>
                      <a:pt x="26" y="36"/>
                    </a:lnTo>
                    <a:lnTo>
                      <a:pt x="20" y="44"/>
                    </a:lnTo>
                    <a:lnTo>
                      <a:pt x="13" y="53"/>
                    </a:lnTo>
                    <a:lnTo>
                      <a:pt x="7" y="61"/>
                    </a:lnTo>
                    <a:lnTo>
                      <a:pt x="0" y="69"/>
                    </a:lnTo>
                    <a:close/>
                  </a:path>
                </a:pathLst>
              </a:custGeom>
              <a:solidFill>
                <a:schemeClr val="accent2"/>
              </a:solidFill>
              <a:ln>
                <a:noFill/>
              </a:ln>
              <a:extLst/>
            </p:spPr>
            <p:txBody>
              <a:bodyPr/>
              <a:lstStyle/>
              <a:p>
                <a:endParaRPr lang="en-US" sz="1400"/>
              </a:p>
            </p:txBody>
          </p:sp>
          <p:sp>
            <p:nvSpPr>
              <p:cNvPr id="212" name="Freeform 50">
                <a:extLst>
                  <a:ext uri="{FF2B5EF4-FFF2-40B4-BE49-F238E27FC236}">
                    <a16:creationId xmlns:a16="http://schemas.microsoft.com/office/drawing/2014/main" id="{1F9098B8-1337-44A5-A2B0-1B0840F80B1C}"/>
                  </a:ext>
                </a:extLst>
              </p:cNvPr>
              <p:cNvSpPr>
                <a:spLocks/>
              </p:cNvSpPr>
              <p:nvPr/>
            </p:nvSpPr>
            <p:spPr bwMode="gray">
              <a:xfrm>
                <a:off x="8353266" y="2884620"/>
                <a:ext cx="64565" cy="98510"/>
              </a:xfrm>
              <a:custGeom>
                <a:avLst/>
                <a:gdLst>
                  <a:gd name="T0" fmla="*/ 0 w 146"/>
                  <a:gd name="T1" fmla="*/ 73 h 222"/>
                  <a:gd name="T2" fmla="*/ 146 w 146"/>
                  <a:gd name="T3" fmla="*/ 222 h 222"/>
                  <a:gd name="T4" fmla="*/ 34 w 146"/>
                  <a:gd name="T5" fmla="*/ 0 h 222"/>
                  <a:gd name="T6" fmla="*/ 30 w 146"/>
                  <a:gd name="T7" fmla="*/ 9 h 222"/>
                  <a:gd name="T8" fmla="*/ 25 w 146"/>
                  <a:gd name="T9" fmla="*/ 17 h 222"/>
                  <a:gd name="T10" fmla="*/ 20 w 146"/>
                  <a:gd name="T11" fmla="*/ 27 h 222"/>
                  <a:gd name="T12" fmla="*/ 16 w 146"/>
                  <a:gd name="T13" fmla="*/ 36 h 222"/>
                  <a:gd name="T14" fmla="*/ 12 w 146"/>
                  <a:gd name="T15" fmla="*/ 45 h 222"/>
                  <a:gd name="T16" fmla="*/ 8 w 146"/>
                  <a:gd name="T17" fmla="*/ 54 h 222"/>
                  <a:gd name="T18" fmla="*/ 3 w 146"/>
                  <a:gd name="T19" fmla="*/ 63 h 222"/>
                  <a:gd name="T20" fmla="*/ 0 w 146"/>
                  <a:gd name="T21" fmla="*/ 73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6" h="222">
                    <a:moveTo>
                      <a:pt x="0" y="73"/>
                    </a:moveTo>
                    <a:lnTo>
                      <a:pt x="146" y="222"/>
                    </a:lnTo>
                    <a:lnTo>
                      <a:pt x="34" y="0"/>
                    </a:lnTo>
                    <a:lnTo>
                      <a:pt x="30" y="9"/>
                    </a:lnTo>
                    <a:lnTo>
                      <a:pt x="25" y="17"/>
                    </a:lnTo>
                    <a:lnTo>
                      <a:pt x="20" y="27"/>
                    </a:lnTo>
                    <a:lnTo>
                      <a:pt x="16" y="36"/>
                    </a:lnTo>
                    <a:lnTo>
                      <a:pt x="12" y="45"/>
                    </a:lnTo>
                    <a:lnTo>
                      <a:pt x="8" y="54"/>
                    </a:lnTo>
                    <a:lnTo>
                      <a:pt x="3" y="63"/>
                    </a:lnTo>
                    <a:lnTo>
                      <a:pt x="0" y="73"/>
                    </a:lnTo>
                    <a:close/>
                  </a:path>
                </a:pathLst>
              </a:custGeom>
              <a:solidFill>
                <a:schemeClr val="accent2"/>
              </a:solidFill>
              <a:ln>
                <a:noFill/>
              </a:ln>
              <a:extLst/>
            </p:spPr>
            <p:txBody>
              <a:bodyPr/>
              <a:lstStyle/>
              <a:p>
                <a:endParaRPr lang="en-US" sz="1400"/>
              </a:p>
            </p:txBody>
          </p:sp>
          <p:sp>
            <p:nvSpPr>
              <p:cNvPr id="213" name="Freeform 51">
                <a:extLst>
                  <a:ext uri="{FF2B5EF4-FFF2-40B4-BE49-F238E27FC236}">
                    <a16:creationId xmlns:a16="http://schemas.microsoft.com/office/drawing/2014/main" id="{F1E36521-B3CC-4D6C-9E1A-97E41899D6A6}"/>
                  </a:ext>
                </a:extLst>
              </p:cNvPr>
              <p:cNvSpPr>
                <a:spLocks/>
              </p:cNvSpPr>
              <p:nvPr/>
            </p:nvSpPr>
            <p:spPr bwMode="gray">
              <a:xfrm>
                <a:off x="8437559" y="2737749"/>
                <a:ext cx="120163" cy="55525"/>
              </a:xfrm>
              <a:custGeom>
                <a:avLst/>
                <a:gdLst>
                  <a:gd name="T0" fmla="*/ 0 w 275"/>
                  <a:gd name="T1" fmla="*/ 82 h 130"/>
                  <a:gd name="T2" fmla="*/ 275 w 275"/>
                  <a:gd name="T3" fmla="*/ 130 h 130"/>
                  <a:gd name="T4" fmla="*/ 24 w 275"/>
                  <a:gd name="T5" fmla="*/ 0 h 130"/>
                  <a:gd name="T6" fmla="*/ 19 w 275"/>
                  <a:gd name="T7" fmla="*/ 21 h 130"/>
                  <a:gd name="T8" fmla="*/ 13 w 275"/>
                  <a:gd name="T9" fmla="*/ 42 h 130"/>
                  <a:gd name="T10" fmla="*/ 7 w 275"/>
                  <a:gd name="T11" fmla="*/ 63 h 130"/>
                  <a:gd name="T12" fmla="*/ 0 w 275"/>
                  <a:gd name="T13" fmla="*/ 82 h 130"/>
                </a:gdLst>
                <a:ahLst/>
                <a:cxnLst>
                  <a:cxn ang="0">
                    <a:pos x="T0" y="T1"/>
                  </a:cxn>
                  <a:cxn ang="0">
                    <a:pos x="T2" y="T3"/>
                  </a:cxn>
                  <a:cxn ang="0">
                    <a:pos x="T4" y="T5"/>
                  </a:cxn>
                  <a:cxn ang="0">
                    <a:pos x="T6" y="T7"/>
                  </a:cxn>
                  <a:cxn ang="0">
                    <a:pos x="T8" y="T9"/>
                  </a:cxn>
                  <a:cxn ang="0">
                    <a:pos x="T10" y="T11"/>
                  </a:cxn>
                  <a:cxn ang="0">
                    <a:pos x="T12" y="T13"/>
                  </a:cxn>
                </a:cxnLst>
                <a:rect l="0" t="0" r="r" b="b"/>
                <a:pathLst>
                  <a:path w="275" h="130">
                    <a:moveTo>
                      <a:pt x="0" y="82"/>
                    </a:moveTo>
                    <a:lnTo>
                      <a:pt x="275" y="130"/>
                    </a:lnTo>
                    <a:lnTo>
                      <a:pt x="24" y="0"/>
                    </a:lnTo>
                    <a:lnTo>
                      <a:pt x="19" y="21"/>
                    </a:lnTo>
                    <a:lnTo>
                      <a:pt x="13" y="42"/>
                    </a:lnTo>
                    <a:lnTo>
                      <a:pt x="7" y="63"/>
                    </a:lnTo>
                    <a:lnTo>
                      <a:pt x="0" y="82"/>
                    </a:lnTo>
                    <a:close/>
                  </a:path>
                </a:pathLst>
              </a:custGeom>
              <a:solidFill>
                <a:schemeClr val="accent2"/>
              </a:solidFill>
              <a:ln>
                <a:noFill/>
              </a:ln>
              <a:extLst/>
            </p:spPr>
            <p:txBody>
              <a:bodyPr/>
              <a:lstStyle/>
              <a:p>
                <a:endParaRPr lang="en-US" sz="1400"/>
              </a:p>
            </p:txBody>
          </p:sp>
          <p:sp>
            <p:nvSpPr>
              <p:cNvPr id="214" name="Freeform 52">
                <a:extLst>
                  <a:ext uri="{FF2B5EF4-FFF2-40B4-BE49-F238E27FC236}">
                    <a16:creationId xmlns:a16="http://schemas.microsoft.com/office/drawing/2014/main" id="{B5FE50D3-6BC4-4442-B103-83E65A7BE194}"/>
                  </a:ext>
                </a:extLst>
              </p:cNvPr>
              <p:cNvSpPr>
                <a:spLocks/>
              </p:cNvSpPr>
              <p:nvPr/>
            </p:nvSpPr>
            <p:spPr bwMode="gray">
              <a:xfrm>
                <a:off x="7836739" y="2551476"/>
                <a:ext cx="129132" cy="60898"/>
              </a:xfrm>
              <a:custGeom>
                <a:avLst/>
                <a:gdLst>
                  <a:gd name="T0" fmla="*/ 293 w 293"/>
                  <a:gd name="T1" fmla="*/ 51 h 136"/>
                  <a:gd name="T2" fmla="*/ 0 w 293"/>
                  <a:gd name="T3" fmla="*/ 0 h 136"/>
                  <a:gd name="T4" fmla="*/ 262 w 293"/>
                  <a:gd name="T5" fmla="*/ 136 h 136"/>
                  <a:gd name="T6" fmla="*/ 268 w 293"/>
                  <a:gd name="T7" fmla="*/ 114 h 136"/>
                  <a:gd name="T8" fmla="*/ 275 w 293"/>
                  <a:gd name="T9" fmla="*/ 92 h 136"/>
                  <a:gd name="T10" fmla="*/ 283 w 293"/>
                  <a:gd name="T11" fmla="*/ 71 h 136"/>
                  <a:gd name="T12" fmla="*/ 293 w 293"/>
                  <a:gd name="T13" fmla="*/ 51 h 136"/>
                </a:gdLst>
                <a:ahLst/>
                <a:cxnLst>
                  <a:cxn ang="0">
                    <a:pos x="T0" y="T1"/>
                  </a:cxn>
                  <a:cxn ang="0">
                    <a:pos x="T2" y="T3"/>
                  </a:cxn>
                  <a:cxn ang="0">
                    <a:pos x="T4" y="T5"/>
                  </a:cxn>
                  <a:cxn ang="0">
                    <a:pos x="T6" y="T7"/>
                  </a:cxn>
                  <a:cxn ang="0">
                    <a:pos x="T8" y="T9"/>
                  </a:cxn>
                  <a:cxn ang="0">
                    <a:pos x="T10" y="T11"/>
                  </a:cxn>
                  <a:cxn ang="0">
                    <a:pos x="T12" y="T13"/>
                  </a:cxn>
                </a:cxnLst>
                <a:rect l="0" t="0" r="r" b="b"/>
                <a:pathLst>
                  <a:path w="293" h="136">
                    <a:moveTo>
                      <a:pt x="293" y="51"/>
                    </a:moveTo>
                    <a:lnTo>
                      <a:pt x="0" y="0"/>
                    </a:lnTo>
                    <a:lnTo>
                      <a:pt x="262" y="136"/>
                    </a:lnTo>
                    <a:lnTo>
                      <a:pt x="268" y="114"/>
                    </a:lnTo>
                    <a:lnTo>
                      <a:pt x="275" y="92"/>
                    </a:lnTo>
                    <a:lnTo>
                      <a:pt x="283" y="71"/>
                    </a:lnTo>
                    <a:lnTo>
                      <a:pt x="293" y="51"/>
                    </a:lnTo>
                    <a:close/>
                  </a:path>
                </a:pathLst>
              </a:custGeom>
              <a:solidFill>
                <a:schemeClr val="accent2"/>
              </a:solidFill>
              <a:ln>
                <a:noFill/>
              </a:ln>
              <a:extLst/>
            </p:spPr>
            <p:txBody>
              <a:bodyPr/>
              <a:lstStyle/>
              <a:p>
                <a:endParaRPr lang="en-US" sz="1400"/>
              </a:p>
            </p:txBody>
          </p:sp>
          <p:sp>
            <p:nvSpPr>
              <p:cNvPr id="215" name="Freeform 53">
                <a:extLst>
                  <a:ext uri="{FF2B5EF4-FFF2-40B4-BE49-F238E27FC236}">
                    <a16:creationId xmlns:a16="http://schemas.microsoft.com/office/drawing/2014/main" id="{220F0475-D39D-4239-B4E6-70B85205F068}"/>
                  </a:ext>
                </a:extLst>
              </p:cNvPr>
              <p:cNvSpPr>
                <a:spLocks/>
              </p:cNvSpPr>
              <p:nvPr/>
            </p:nvSpPr>
            <p:spPr bwMode="gray">
              <a:xfrm>
                <a:off x="7817011" y="2651777"/>
                <a:ext cx="127338" cy="39404"/>
              </a:xfrm>
              <a:custGeom>
                <a:avLst/>
                <a:gdLst>
                  <a:gd name="T0" fmla="*/ 285 w 289"/>
                  <a:gd name="T1" fmla="*/ 67 h 88"/>
                  <a:gd name="T2" fmla="*/ 285 w 289"/>
                  <a:gd name="T3" fmla="*/ 49 h 88"/>
                  <a:gd name="T4" fmla="*/ 286 w 289"/>
                  <a:gd name="T5" fmla="*/ 33 h 88"/>
                  <a:gd name="T6" fmla="*/ 288 w 289"/>
                  <a:gd name="T7" fmla="*/ 16 h 88"/>
                  <a:gd name="T8" fmla="*/ 289 w 289"/>
                  <a:gd name="T9" fmla="*/ 0 h 88"/>
                  <a:gd name="T10" fmla="*/ 0 w 289"/>
                  <a:gd name="T11" fmla="*/ 41 h 88"/>
                  <a:gd name="T12" fmla="*/ 286 w 289"/>
                  <a:gd name="T13" fmla="*/ 88 h 88"/>
                  <a:gd name="T14" fmla="*/ 286 w 289"/>
                  <a:gd name="T15" fmla="*/ 83 h 88"/>
                  <a:gd name="T16" fmla="*/ 286 w 289"/>
                  <a:gd name="T17" fmla="*/ 77 h 88"/>
                  <a:gd name="T18" fmla="*/ 285 w 289"/>
                  <a:gd name="T19" fmla="*/ 72 h 88"/>
                  <a:gd name="T20" fmla="*/ 285 w 289"/>
                  <a:gd name="T21" fmla="*/ 67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89" h="88">
                    <a:moveTo>
                      <a:pt x="285" y="67"/>
                    </a:moveTo>
                    <a:lnTo>
                      <a:pt x="285" y="49"/>
                    </a:lnTo>
                    <a:lnTo>
                      <a:pt x="286" y="33"/>
                    </a:lnTo>
                    <a:lnTo>
                      <a:pt x="288" y="16"/>
                    </a:lnTo>
                    <a:lnTo>
                      <a:pt x="289" y="0"/>
                    </a:lnTo>
                    <a:lnTo>
                      <a:pt x="0" y="41"/>
                    </a:lnTo>
                    <a:lnTo>
                      <a:pt x="286" y="88"/>
                    </a:lnTo>
                    <a:lnTo>
                      <a:pt x="286" y="83"/>
                    </a:lnTo>
                    <a:lnTo>
                      <a:pt x="286" y="77"/>
                    </a:lnTo>
                    <a:lnTo>
                      <a:pt x="285" y="72"/>
                    </a:lnTo>
                    <a:lnTo>
                      <a:pt x="285" y="67"/>
                    </a:lnTo>
                    <a:close/>
                  </a:path>
                </a:pathLst>
              </a:custGeom>
              <a:solidFill>
                <a:schemeClr val="accent2"/>
              </a:solidFill>
              <a:ln>
                <a:noFill/>
              </a:ln>
              <a:extLst/>
            </p:spPr>
            <p:txBody>
              <a:bodyPr/>
              <a:lstStyle/>
              <a:p>
                <a:endParaRPr lang="en-US" sz="1400"/>
              </a:p>
            </p:txBody>
          </p:sp>
          <p:sp>
            <p:nvSpPr>
              <p:cNvPr id="216" name="Freeform 54">
                <a:extLst>
                  <a:ext uri="{FF2B5EF4-FFF2-40B4-BE49-F238E27FC236}">
                    <a16:creationId xmlns:a16="http://schemas.microsoft.com/office/drawing/2014/main" id="{472901B1-3D91-45B5-A8C1-09A9D884C9CB}"/>
                  </a:ext>
                </a:extLst>
              </p:cNvPr>
              <p:cNvSpPr>
                <a:spLocks/>
              </p:cNvSpPr>
              <p:nvPr/>
            </p:nvSpPr>
            <p:spPr bwMode="gray">
              <a:xfrm>
                <a:off x="7888751" y="2807602"/>
                <a:ext cx="107610" cy="85973"/>
              </a:xfrm>
              <a:custGeom>
                <a:avLst/>
                <a:gdLst>
                  <a:gd name="T0" fmla="*/ 201 w 249"/>
                  <a:gd name="T1" fmla="*/ 0 h 197"/>
                  <a:gd name="T2" fmla="*/ 0 w 249"/>
                  <a:gd name="T3" fmla="*/ 197 h 197"/>
                  <a:gd name="T4" fmla="*/ 249 w 249"/>
                  <a:gd name="T5" fmla="*/ 71 h 197"/>
                  <a:gd name="T6" fmla="*/ 242 w 249"/>
                  <a:gd name="T7" fmla="*/ 62 h 197"/>
                  <a:gd name="T8" fmla="*/ 237 w 249"/>
                  <a:gd name="T9" fmla="*/ 54 h 197"/>
                  <a:gd name="T10" fmla="*/ 231 w 249"/>
                  <a:gd name="T11" fmla="*/ 45 h 197"/>
                  <a:gd name="T12" fmla="*/ 224 w 249"/>
                  <a:gd name="T13" fmla="*/ 37 h 197"/>
                  <a:gd name="T14" fmla="*/ 218 w 249"/>
                  <a:gd name="T15" fmla="*/ 27 h 197"/>
                  <a:gd name="T16" fmla="*/ 212 w 249"/>
                  <a:gd name="T17" fmla="*/ 18 h 197"/>
                  <a:gd name="T18" fmla="*/ 207 w 249"/>
                  <a:gd name="T19" fmla="*/ 9 h 197"/>
                  <a:gd name="T20" fmla="*/ 201 w 249"/>
                  <a:gd name="T21" fmla="*/ 0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49" h="197">
                    <a:moveTo>
                      <a:pt x="201" y="0"/>
                    </a:moveTo>
                    <a:lnTo>
                      <a:pt x="0" y="197"/>
                    </a:lnTo>
                    <a:lnTo>
                      <a:pt x="249" y="71"/>
                    </a:lnTo>
                    <a:lnTo>
                      <a:pt x="242" y="62"/>
                    </a:lnTo>
                    <a:lnTo>
                      <a:pt x="237" y="54"/>
                    </a:lnTo>
                    <a:lnTo>
                      <a:pt x="231" y="45"/>
                    </a:lnTo>
                    <a:lnTo>
                      <a:pt x="224" y="37"/>
                    </a:lnTo>
                    <a:lnTo>
                      <a:pt x="218" y="27"/>
                    </a:lnTo>
                    <a:lnTo>
                      <a:pt x="212" y="18"/>
                    </a:lnTo>
                    <a:lnTo>
                      <a:pt x="207" y="9"/>
                    </a:lnTo>
                    <a:lnTo>
                      <a:pt x="201" y="0"/>
                    </a:lnTo>
                    <a:close/>
                  </a:path>
                </a:pathLst>
              </a:custGeom>
              <a:solidFill>
                <a:schemeClr val="accent2"/>
              </a:solidFill>
              <a:ln>
                <a:noFill/>
              </a:ln>
              <a:extLst/>
            </p:spPr>
            <p:txBody>
              <a:bodyPr/>
              <a:lstStyle/>
              <a:p>
                <a:endParaRPr lang="en-US" sz="1400"/>
              </a:p>
            </p:txBody>
          </p:sp>
          <p:sp>
            <p:nvSpPr>
              <p:cNvPr id="217" name="Freeform 55">
                <a:extLst>
                  <a:ext uri="{FF2B5EF4-FFF2-40B4-BE49-F238E27FC236}">
                    <a16:creationId xmlns:a16="http://schemas.microsoft.com/office/drawing/2014/main" id="{14875868-5FE7-40D8-8ABC-4AEFAE3461F2}"/>
                  </a:ext>
                </a:extLst>
              </p:cNvPr>
              <p:cNvSpPr>
                <a:spLocks/>
              </p:cNvSpPr>
              <p:nvPr/>
            </p:nvSpPr>
            <p:spPr bwMode="gray">
              <a:xfrm>
                <a:off x="7971252" y="2877456"/>
                <a:ext cx="69946" cy="102093"/>
              </a:xfrm>
              <a:custGeom>
                <a:avLst/>
                <a:gdLst>
                  <a:gd name="T0" fmla="*/ 123 w 158"/>
                  <a:gd name="T1" fmla="*/ 0 h 232"/>
                  <a:gd name="T2" fmla="*/ 0 w 158"/>
                  <a:gd name="T3" fmla="*/ 232 h 232"/>
                  <a:gd name="T4" fmla="*/ 158 w 158"/>
                  <a:gd name="T5" fmla="*/ 74 h 232"/>
                  <a:gd name="T6" fmla="*/ 154 w 158"/>
                  <a:gd name="T7" fmla="*/ 64 h 232"/>
                  <a:gd name="T8" fmla="*/ 149 w 158"/>
                  <a:gd name="T9" fmla="*/ 55 h 232"/>
                  <a:gd name="T10" fmla="*/ 146 w 158"/>
                  <a:gd name="T11" fmla="*/ 46 h 232"/>
                  <a:gd name="T12" fmla="*/ 141 w 158"/>
                  <a:gd name="T13" fmla="*/ 35 h 232"/>
                  <a:gd name="T14" fmla="*/ 136 w 158"/>
                  <a:gd name="T15" fmla="*/ 26 h 232"/>
                  <a:gd name="T16" fmla="*/ 132 w 158"/>
                  <a:gd name="T17" fmla="*/ 17 h 232"/>
                  <a:gd name="T18" fmla="*/ 127 w 158"/>
                  <a:gd name="T19" fmla="*/ 9 h 232"/>
                  <a:gd name="T20" fmla="*/ 123 w 158"/>
                  <a:gd name="T21" fmla="*/ 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8" h="232">
                    <a:moveTo>
                      <a:pt x="123" y="0"/>
                    </a:moveTo>
                    <a:lnTo>
                      <a:pt x="0" y="232"/>
                    </a:lnTo>
                    <a:lnTo>
                      <a:pt x="158" y="74"/>
                    </a:lnTo>
                    <a:lnTo>
                      <a:pt x="154" y="64"/>
                    </a:lnTo>
                    <a:lnTo>
                      <a:pt x="149" y="55"/>
                    </a:lnTo>
                    <a:lnTo>
                      <a:pt x="146" y="46"/>
                    </a:lnTo>
                    <a:lnTo>
                      <a:pt x="141" y="35"/>
                    </a:lnTo>
                    <a:lnTo>
                      <a:pt x="136" y="26"/>
                    </a:lnTo>
                    <a:lnTo>
                      <a:pt x="132" y="17"/>
                    </a:lnTo>
                    <a:lnTo>
                      <a:pt x="127" y="9"/>
                    </a:lnTo>
                    <a:lnTo>
                      <a:pt x="123" y="0"/>
                    </a:lnTo>
                    <a:close/>
                  </a:path>
                </a:pathLst>
              </a:custGeom>
              <a:solidFill>
                <a:schemeClr val="accent2"/>
              </a:solidFill>
              <a:ln>
                <a:noFill/>
              </a:ln>
              <a:extLst/>
            </p:spPr>
            <p:txBody>
              <a:bodyPr/>
              <a:lstStyle/>
              <a:p>
                <a:endParaRPr lang="en-US" sz="1400"/>
              </a:p>
            </p:txBody>
          </p:sp>
          <p:sp>
            <p:nvSpPr>
              <p:cNvPr id="218" name="Freeform 56">
                <a:extLst>
                  <a:ext uri="{FF2B5EF4-FFF2-40B4-BE49-F238E27FC236}">
                    <a16:creationId xmlns:a16="http://schemas.microsoft.com/office/drawing/2014/main" id="{3DA1D656-DF62-4A1D-91D2-4AAAE54CA180}"/>
                  </a:ext>
                </a:extLst>
              </p:cNvPr>
              <p:cNvSpPr>
                <a:spLocks/>
              </p:cNvSpPr>
              <p:nvPr/>
            </p:nvSpPr>
            <p:spPr bwMode="gray">
              <a:xfrm>
                <a:off x="8046578" y="2522819"/>
                <a:ext cx="59185" cy="51942"/>
              </a:xfrm>
              <a:custGeom>
                <a:avLst/>
                <a:gdLst>
                  <a:gd name="T0" fmla="*/ 98 w 133"/>
                  <a:gd name="T1" fmla="*/ 0 h 121"/>
                  <a:gd name="T2" fmla="*/ 84 w 133"/>
                  <a:gd name="T3" fmla="*/ 13 h 121"/>
                  <a:gd name="T4" fmla="*/ 70 w 133"/>
                  <a:gd name="T5" fmla="*/ 26 h 121"/>
                  <a:gd name="T6" fmla="*/ 58 w 133"/>
                  <a:gd name="T7" fmla="*/ 40 h 121"/>
                  <a:gd name="T8" fmla="*/ 45 w 133"/>
                  <a:gd name="T9" fmla="*/ 54 h 121"/>
                  <a:gd name="T10" fmla="*/ 32 w 133"/>
                  <a:gd name="T11" fmla="*/ 69 h 121"/>
                  <a:gd name="T12" fmla="*/ 21 w 133"/>
                  <a:gd name="T13" fmla="*/ 84 h 121"/>
                  <a:gd name="T14" fmla="*/ 11 w 133"/>
                  <a:gd name="T15" fmla="*/ 99 h 121"/>
                  <a:gd name="T16" fmla="*/ 0 w 133"/>
                  <a:gd name="T17" fmla="*/ 115 h 121"/>
                  <a:gd name="T18" fmla="*/ 43 w 133"/>
                  <a:gd name="T19" fmla="*/ 121 h 121"/>
                  <a:gd name="T20" fmla="*/ 52 w 133"/>
                  <a:gd name="T21" fmla="*/ 106 h 121"/>
                  <a:gd name="T22" fmla="*/ 62 w 133"/>
                  <a:gd name="T23" fmla="*/ 91 h 121"/>
                  <a:gd name="T24" fmla="*/ 73 w 133"/>
                  <a:gd name="T25" fmla="*/ 77 h 121"/>
                  <a:gd name="T26" fmla="*/ 84 w 133"/>
                  <a:gd name="T27" fmla="*/ 63 h 121"/>
                  <a:gd name="T28" fmla="*/ 96 w 133"/>
                  <a:gd name="T29" fmla="*/ 49 h 121"/>
                  <a:gd name="T30" fmla="*/ 107 w 133"/>
                  <a:gd name="T31" fmla="*/ 37 h 121"/>
                  <a:gd name="T32" fmla="*/ 120 w 133"/>
                  <a:gd name="T33" fmla="*/ 24 h 121"/>
                  <a:gd name="T34" fmla="*/ 133 w 133"/>
                  <a:gd name="T35" fmla="*/ 11 h 121"/>
                  <a:gd name="T36" fmla="*/ 98 w 133"/>
                  <a:gd name="T37" fmla="*/ 0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33" h="121">
                    <a:moveTo>
                      <a:pt x="98" y="0"/>
                    </a:moveTo>
                    <a:lnTo>
                      <a:pt x="84" y="13"/>
                    </a:lnTo>
                    <a:lnTo>
                      <a:pt x="70" y="26"/>
                    </a:lnTo>
                    <a:lnTo>
                      <a:pt x="58" y="40"/>
                    </a:lnTo>
                    <a:lnTo>
                      <a:pt x="45" y="54"/>
                    </a:lnTo>
                    <a:lnTo>
                      <a:pt x="32" y="69"/>
                    </a:lnTo>
                    <a:lnTo>
                      <a:pt x="21" y="84"/>
                    </a:lnTo>
                    <a:lnTo>
                      <a:pt x="11" y="99"/>
                    </a:lnTo>
                    <a:lnTo>
                      <a:pt x="0" y="115"/>
                    </a:lnTo>
                    <a:lnTo>
                      <a:pt x="43" y="121"/>
                    </a:lnTo>
                    <a:lnTo>
                      <a:pt x="52" y="106"/>
                    </a:lnTo>
                    <a:lnTo>
                      <a:pt x="62" y="91"/>
                    </a:lnTo>
                    <a:lnTo>
                      <a:pt x="73" y="77"/>
                    </a:lnTo>
                    <a:lnTo>
                      <a:pt x="84" y="63"/>
                    </a:lnTo>
                    <a:lnTo>
                      <a:pt x="96" y="49"/>
                    </a:lnTo>
                    <a:lnTo>
                      <a:pt x="107" y="37"/>
                    </a:lnTo>
                    <a:lnTo>
                      <a:pt x="120" y="24"/>
                    </a:lnTo>
                    <a:lnTo>
                      <a:pt x="133" y="11"/>
                    </a:lnTo>
                    <a:lnTo>
                      <a:pt x="98" y="0"/>
                    </a:lnTo>
                    <a:close/>
                  </a:path>
                </a:pathLst>
              </a:custGeom>
              <a:solidFill>
                <a:schemeClr val="bg2"/>
              </a:solidFill>
              <a:ln>
                <a:noFill/>
              </a:ln>
              <a:extLst/>
            </p:spPr>
            <p:txBody>
              <a:bodyPr/>
              <a:lstStyle/>
              <a:p>
                <a:endParaRPr lang="en-US" sz="1400"/>
              </a:p>
            </p:txBody>
          </p:sp>
          <p:sp>
            <p:nvSpPr>
              <p:cNvPr id="219" name="Freeform 57">
                <a:extLst>
                  <a:ext uri="{FF2B5EF4-FFF2-40B4-BE49-F238E27FC236}">
                    <a16:creationId xmlns:a16="http://schemas.microsoft.com/office/drawing/2014/main" id="{FDB64DF5-6280-46D4-A6F0-5068833985B4}"/>
                  </a:ext>
                </a:extLst>
              </p:cNvPr>
              <p:cNvSpPr>
                <a:spLocks/>
              </p:cNvSpPr>
              <p:nvPr/>
            </p:nvSpPr>
            <p:spPr bwMode="gray">
              <a:xfrm>
                <a:off x="8012502" y="2587298"/>
                <a:ext cx="44837" cy="91346"/>
              </a:xfrm>
              <a:custGeom>
                <a:avLst/>
                <a:gdLst>
                  <a:gd name="T0" fmla="*/ 47 w 99"/>
                  <a:gd name="T1" fmla="*/ 206 h 206"/>
                  <a:gd name="T2" fmla="*/ 50 w 99"/>
                  <a:gd name="T3" fmla="*/ 180 h 206"/>
                  <a:gd name="T4" fmla="*/ 53 w 99"/>
                  <a:gd name="T5" fmla="*/ 154 h 206"/>
                  <a:gd name="T6" fmla="*/ 58 w 99"/>
                  <a:gd name="T7" fmla="*/ 129 h 206"/>
                  <a:gd name="T8" fmla="*/ 63 w 99"/>
                  <a:gd name="T9" fmla="*/ 103 h 206"/>
                  <a:gd name="T10" fmla="*/ 70 w 99"/>
                  <a:gd name="T11" fmla="*/ 79 h 206"/>
                  <a:gd name="T12" fmla="*/ 78 w 99"/>
                  <a:gd name="T13" fmla="*/ 55 h 206"/>
                  <a:gd name="T14" fmla="*/ 89 w 99"/>
                  <a:gd name="T15" fmla="*/ 32 h 206"/>
                  <a:gd name="T16" fmla="*/ 99 w 99"/>
                  <a:gd name="T17" fmla="*/ 9 h 206"/>
                  <a:gd name="T18" fmla="*/ 56 w 99"/>
                  <a:gd name="T19" fmla="*/ 0 h 206"/>
                  <a:gd name="T20" fmla="*/ 45 w 99"/>
                  <a:gd name="T21" fmla="*/ 23 h 206"/>
                  <a:gd name="T22" fmla="*/ 35 w 99"/>
                  <a:gd name="T23" fmla="*/ 47 h 206"/>
                  <a:gd name="T24" fmla="*/ 25 w 99"/>
                  <a:gd name="T25" fmla="*/ 71 h 206"/>
                  <a:gd name="T26" fmla="*/ 18 w 99"/>
                  <a:gd name="T27" fmla="*/ 97 h 206"/>
                  <a:gd name="T28" fmla="*/ 11 w 99"/>
                  <a:gd name="T29" fmla="*/ 123 h 206"/>
                  <a:gd name="T30" fmla="*/ 6 w 99"/>
                  <a:gd name="T31" fmla="*/ 150 h 206"/>
                  <a:gd name="T32" fmla="*/ 2 w 99"/>
                  <a:gd name="T33" fmla="*/ 176 h 206"/>
                  <a:gd name="T34" fmla="*/ 0 w 99"/>
                  <a:gd name="T35" fmla="*/ 204 h 206"/>
                  <a:gd name="T36" fmla="*/ 47 w 99"/>
                  <a:gd name="T37" fmla="*/ 206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99" h="206">
                    <a:moveTo>
                      <a:pt x="47" y="206"/>
                    </a:moveTo>
                    <a:lnTo>
                      <a:pt x="50" y="180"/>
                    </a:lnTo>
                    <a:lnTo>
                      <a:pt x="53" y="154"/>
                    </a:lnTo>
                    <a:lnTo>
                      <a:pt x="58" y="129"/>
                    </a:lnTo>
                    <a:lnTo>
                      <a:pt x="63" y="103"/>
                    </a:lnTo>
                    <a:lnTo>
                      <a:pt x="70" y="79"/>
                    </a:lnTo>
                    <a:lnTo>
                      <a:pt x="78" y="55"/>
                    </a:lnTo>
                    <a:lnTo>
                      <a:pt x="89" y="32"/>
                    </a:lnTo>
                    <a:lnTo>
                      <a:pt x="99" y="9"/>
                    </a:lnTo>
                    <a:lnTo>
                      <a:pt x="56" y="0"/>
                    </a:lnTo>
                    <a:lnTo>
                      <a:pt x="45" y="23"/>
                    </a:lnTo>
                    <a:lnTo>
                      <a:pt x="35" y="47"/>
                    </a:lnTo>
                    <a:lnTo>
                      <a:pt x="25" y="71"/>
                    </a:lnTo>
                    <a:lnTo>
                      <a:pt x="18" y="97"/>
                    </a:lnTo>
                    <a:lnTo>
                      <a:pt x="11" y="123"/>
                    </a:lnTo>
                    <a:lnTo>
                      <a:pt x="6" y="150"/>
                    </a:lnTo>
                    <a:lnTo>
                      <a:pt x="2" y="176"/>
                    </a:lnTo>
                    <a:lnTo>
                      <a:pt x="0" y="204"/>
                    </a:lnTo>
                    <a:lnTo>
                      <a:pt x="47" y="206"/>
                    </a:lnTo>
                    <a:close/>
                  </a:path>
                </a:pathLst>
              </a:custGeom>
              <a:solidFill>
                <a:schemeClr val="bg2"/>
              </a:solidFill>
              <a:ln>
                <a:noFill/>
              </a:ln>
              <a:extLst/>
            </p:spPr>
            <p:txBody>
              <a:bodyPr/>
              <a:lstStyle/>
              <a:p>
                <a:endParaRPr lang="en-US" sz="1400"/>
              </a:p>
            </p:txBody>
          </p:sp>
          <p:sp>
            <p:nvSpPr>
              <p:cNvPr id="220" name="Freeform 58">
                <a:extLst>
                  <a:ext uri="{FF2B5EF4-FFF2-40B4-BE49-F238E27FC236}">
                    <a16:creationId xmlns:a16="http://schemas.microsoft.com/office/drawing/2014/main" id="{B9B6A57B-6444-4EAB-9BF4-0DA293513A2A}"/>
                  </a:ext>
                </a:extLst>
              </p:cNvPr>
              <p:cNvSpPr>
                <a:spLocks/>
              </p:cNvSpPr>
              <p:nvPr/>
            </p:nvSpPr>
            <p:spPr bwMode="gray">
              <a:xfrm>
                <a:off x="8057339" y="2818349"/>
                <a:ext cx="89674" cy="159408"/>
              </a:xfrm>
              <a:custGeom>
                <a:avLst/>
                <a:gdLst>
                  <a:gd name="T0" fmla="*/ 0 w 204"/>
                  <a:gd name="T1" fmla="*/ 0 h 366"/>
                  <a:gd name="T2" fmla="*/ 7 w 204"/>
                  <a:gd name="T3" fmla="*/ 8 h 366"/>
                  <a:gd name="T4" fmla="*/ 25 w 204"/>
                  <a:gd name="T5" fmla="*/ 30 h 366"/>
                  <a:gd name="T6" fmla="*/ 52 w 204"/>
                  <a:gd name="T7" fmla="*/ 64 h 366"/>
                  <a:gd name="T8" fmla="*/ 82 w 204"/>
                  <a:gd name="T9" fmla="*/ 110 h 366"/>
                  <a:gd name="T10" fmla="*/ 111 w 204"/>
                  <a:gd name="T11" fmla="*/ 166 h 366"/>
                  <a:gd name="T12" fmla="*/ 135 w 204"/>
                  <a:gd name="T13" fmla="*/ 227 h 366"/>
                  <a:gd name="T14" fmla="*/ 150 w 204"/>
                  <a:gd name="T15" fmla="*/ 295 h 366"/>
                  <a:gd name="T16" fmla="*/ 152 w 204"/>
                  <a:gd name="T17" fmla="*/ 366 h 366"/>
                  <a:gd name="T18" fmla="*/ 204 w 204"/>
                  <a:gd name="T19" fmla="*/ 366 h 366"/>
                  <a:gd name="T20" fmla="*/ 204 w 204"/>
                  <a:gd name="T21" fmla="*/ 364 h 366"/>
                  <a:gd name="T22" fmla="*/ 203 w 204"/>
                  <a:gd name="T23" fmla="*/ 357 h 366"/>
                  <a:gd name="T24" fmla="*/ 202 w 204"/>
                  <a:gd name="T25" fmla="*/ 345 h 366"/>
                  <a:gd name="T26" fmla="*/ 201 w 204"/>
                  <a:gd name="T27" fmla="*/ 330 h 366"/>
                  <a:gd name="T28" fmla="*/ 197 w 204"/>
                  <a:gd name="T29" fmla="*/ 313 h 366"/>
                  <a:gd name="T30" fmla="*/ 193 w 204"/>
                  <a:gd name="T31" fmla="*/ 291 h 366"/>
                  <a:gd name="T32" fmla="*/ 186 w 204"/>
                  <a:gd name="T33" fmla="*/ 268 h 366"/>
                  <a:gd name="T34" fmla="*/ 176 w 204"/>
                  <a:gd name="T35" fmla="*/ 242 h 366"/>
                  <a:gd name="T36" fmla="*/ 166 w 204"/>
                  <a:gd name="T37" fmla="*/ 214 h 366"/>
                  <a:gd name="T38" fmla="*/ 152 w 204"/>
                  <a:gd name="T39" fmla="*/ 184 h 366"/>
                  <a:gd name="T40" fmla="*/ 136 w 204"/>
                  <a:gd name="T41" fmla="*/ 154 h 366"/>
                  <a:gd name="T42" fmla="*/ 116 w 204"/>
                  <a:gd name="T43" fmla="*/ 123 h 366"/>
                  <a:gd name="T44" fmla="*/ 93 w 204"/>
                  <a:gd name="T45" fmla="*/ 92 h 366"/>
                  <a:gd name="T46" fmla="*/ 66 w 204"/>
                  <a:gd name="T47" fmla="*/ 61 h 366"/>
                  <a:gd name="T48" fmla="*/ 35 w 204"/>
                  <a:gd name="T49" fmla="*/ 30 h 366"/>
                  <a:gd name="T50" fmla="*/ 0 w 204"/>
                  <a:gd name="T51" fmla="*/ 0 h 3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04" h="366">
                    <a:moveTo>
                      <a:pt x="0" y="0"/>
                    </a:moveTo>
                    <a:lnTo>
                      <a:pt x="7" y="8"/>
                    </a:lnTo>
                    <a:lnTo>
                      <a:pt x="25" y="30"/>
                    </a:lnTo>
                    <a:lnTo>
                      <a:pt x="52" y="64"/>
                    </a:lnTo>
                    <a:lnTo>
                      <a:pt x="82" y="110"/>
                    </a:lnTo>
                    <a:lnTo>
                      <a:pt x="111" y="166"/>
                    </a:lnTo>
                    <a:lnTo>
                      <a:pt x="135" y="227"/>
                    </a:lnTo>
                    <a:lnTo>
                      <a:pt x="150" y="295"/>
                    </a:lnTo>
                    <a:lnTo>
                      <a:pt x="152" y="366"/>
                    </a:lnTo>
                    <a:lnTo>
                      <a:pt x="204" y="366"/>
                    </a:lnTo>
                    <a:lnTo>
                      <a:pt x="204" y="364"/>
                    </a:lnTo>
                    <a:lnTo>
                      <a:pt x="203" y="357"/>
                    </a:lnTo>
                    <a:lnTo>
                      <a:pt x="202" y="345"/>
                    </a:lnTo>
                    <a:lnTo>
                      <a:pt x="201" y="330"/>
                    </a:lnTo>
                    <a:lnTo>
                      <a:pt x="197" y="313"/>
                    </a:lnTo>
                    <a:lnTo>
                      <a:pt x="193" y="291"/>
                    </a:lnTo>
                    <a:lnTo>
                      <a:pt x="186" y="268"/>
                    </a:lnTo>
                    <a:lnTo>
                      <a:pt x="176" y="242"/>
                    </a:lnTo>
                    <a:lnTo>
                      <a:pt x="166" y="214"/>
                    </a:lnTo>
                    <a:lnTo>
                      <a:pt x="152" y="184"/>
                    </a:lnTo>
                    <a:lnTo>
                      <a:pt x="136" y="154"/>
                    </a:lnTo>
                    <a:lnTo>
                      <a:pt x="116" y="123"/>
                    </a:lnTo>
                    <a:lnTo>
                      <a:pt x="93" y="92"/>
                    </a:lnTo>
                    <a:lnTo>
                      <a:pt x="66" y="61"/>
                    </a:lnTo>
                    <a:lnTo>
                      <a:pt x="35" y="30"/>
                    </a:lnTo>
                    <a:lnTo>
                      <a:pt x="0" y="0"/>
                    </a:lnTo>
                    <a:close/>
                  </a:path>
                </a:pathLst>
              </a:custGeom>
              <a:solidFill>
                <a:schemeClr val="bg2"/>
              </a:solidFill>
              <a:ln>
                <a:noFill/>
              </a:ln>
              <a:extLst/>
            </p:spPr>
            <p:txBody>
              <a:bodyPr/>
              <a:lstStyle/>
              <a:p>
                <a:endParaRPr lang="en-US" sz="1400"/>
              </a:p>
            </p:txBody>
          </p:sp>
          <p:sp>
            <p:nvSpPr>
              <p:cNvPr id="221" name="Freeform 59">
                <a:extLst>
                  <a:ext uri="{FF2B5EF4-FFF2-40B4-BE49-F238E27FC236}">
                    <a16:creationId xmlns:a16="http://schemas.microsoft.com/office/drawing/2014/main" id="{C2CEFB76-6121-48BC-8F51-990CE82B93FE}"/>
                  </a:ext>
                </a:extLst>
              </p:cNvPr>
              <p:cNvSpPr>
                <a:spLocks/>
              </p:cNvSpPr>
              <p:nvPr/>
            </p:nvSpPr>
            <p:spPr bwMode="gray">
              <a:xfrm>
                <a:off x="8098590" y="3149702"/>
                <a:ext cx="199078" cy="25075"/>
              </a:xfrm>
              <a:custGeom>
                <a:avLst/>
                <a:gdLst>
                  <a:gd name="T0" fmla="*/ 8 w 453"/>
                  <a:gd name="T1" fmla="*/ 48 h 57"/>
                  <a:gd name="T2" fmla="*/ 4 w 453"/>
                  <a:gd name="T3" fmla="*/ 43 h 57"/>
                  <a:gd name="T4" fmla="*/ 2 w 453"/>
                  <a:gd name="T5" fmla="*/ 39 h 57"/>
                  <a:gd name="T6" fmla="*/ 1 w 453"/>
                  <a:gd name="T7" fmla="*/ 34 h 57"/>
                  <a:gd name="T8" fmla="*/ 0 w 453"/>
                  <a:gd name="T9" fmla="*/ 28 h 57"/>
                  <a:gd name="T10" fmla="*/ 1 w 453"/>
                  <a:gd name="T11" fmla="*/ 23 h 57"/>
                  <a:gd name="T12" fmla="*/ 2 w 453"/>
                  <a:gd name="T13" fmla="*/ 17 h 57"/>
                  <a:gd name="T14" fmla="*/ 4 w 453"/>
                  <a:gd name="T15" fmla="*/ 12 h 57"/>
                  <a:gd name="T16" fmla="*/ 8 w 453"/>
                  <a:gd name="T17" fmla="*/ 8 h 57"/>
                  <a:gd name="T18" fmla="*/ 13 w 453"/>
                  <a:gd name="T19" fmla="*/ 4 h 57"/>
                  <a:gd name="T20" fmla="*/ 17 w 453"/>
                  <a:gd name="T21" fmla="*/ 2 h 57"/>
                  <a:gd name="T22" fmla="*/ 23 w 453"/>
                  <a:gd name="T23" fmla="*/ 0 h 57"/>
                  <a:gd name="T24" fmla="*/ 29 w 453"/>
                  <a:gd name="T25" fmla="*/ 0 h 57"/>
                  <a:gd name="T26" fmla="*/ 424 w 453"/>
                  <a:gd name="T27" fmla="*/ 0 h 57"/>
                  <a:gd name="T28" fmla="*/ 430 w 453"/>
                  <a:gd name="T29" fmla="*/ 0 h 57"/>
                  <a:gd name="T30" fmla="*/ 434 w 453"/>
                  <a:gd name="T31" fmla="*/ 2 h 57"/>
                  <a:gd name="T32" fmla="*/ 440 w 453"/>
                  <a:gd name="T33" fmla="*/ 4 h 57"/>
                  <a:gd name="T34" fmla="*/ 444 w 453"/>
                  <a:gd name="T35" fmla="*/ 8 h 57"/>
                  <a:gd name="T36" fmla="*/ 447 w 453"/>
                  <a:gd name="T37" fmla="*/ 12 h 57"/>
                  <a:gd name="T38" fmla="*/ 450 w 453"/>
                  <a:gd name="T39" fmla="*/ 17 h 57"/>
                  <a:gd name="T40" fmla="*/ 452 w 453"/>
                  <a:gd name="T41" fmla="*/ 23 h 57"/>
                  <a:gd name="T42" fmla="*/ 453 w 453"/>
                  <a:gd name="T43" fmla="*/ 28 h 57"/>
                  <a:gd name="T44" fmla="*/ 29 w 453"/>
                  <a:gd name="T45" fmla="*/ 57 h 57"/>
                  <a:gd name="T46" fmla="*/ 23 w 453"/>
                  <a:gd name="T47" fmla="*/ 56 h 57"/>
                  <a:gd name="T48" fmla="*/ 17 w 453"/>
                  <a:gd name="T49" fmla="*/ 55 h 57"/>
                  <a:gd name="T50" fmla="*/ 13 w 453"/>
                  <a:gd name="T51" fmla="*/ 52 h 57"/>
                  <a:gd name="T52" fmla="*/ 8 w 453"/>
                  <a:gd name="T53" fmla="*/ 48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53" h="57">
                    <a:moveTo>
                      <a:pt x="8" y="48"/>
                    </a:moveTo>
                    <a:lnTo>
                      <a:pt x="4" y="43"/>
                    </a:lnTo>
                    <a:lnTo>
                      <a:pt x="2" y="39"/>
                    </a:lnTo>
                    <a:lnTo>
                      <a:pt x="1" y="34"/>
                    </a:lnTo>
                    <a:lnTo>
                      <a:pt x="0" y="28"/>
                    </a:lnTo>
                    <a:lnTo>
                      <a:pt x="1" y="23"/>
                    </a:lnTo>
                    <a:lnTo>
                      <a:pt x="2" y="17"/>
                    </a:lnTo>
                    <a:lnTo>
                      <a:pt x="4" y="12"/>
                    </a:lnTo>
                    <a:lnTo>
                      <a:pt x="8" y="8"/>
                    </a:lnTo>
                    <a:lnTo>
                      <a:pt x="13" y="4"/>
                    </a:lnTo>
                    <a:lnTo>
                      <a:pt x="17" y="2"/>
                    </a:lnTo>
                    <a:lnTo>
                      <a:pt x="23" y="0"/>
                    </a:lnTo>
                    <a:lnTo>
                      <a:pt x="29" y="0"/>
                    </a:lnTo>
                    <a:lnTo>
                      <a:pt x="424" y="0"/>
                    </a:lnTo>
                    <a:lnTo>
                      <a:pt x="430" y="0"/>
                    </a:lnTo>
                    <a:lnTo>
                      <a:pt x="434" y="2"/>
                    </a:lnTo>
                    <a:lnTo>
                      <a:pt x="440" y="4"/>
                    </a:lnTo>
                    <a:lnTo>
                      <a:pt x="444" y="8"/>
                    </a:lnTo>
                    <a:lnTo>
                      <a:pt x="447" y="12"/>
                    </a:lnTo>
                    <a:lnTo>
                      <a:pt x="450" y="17"/>
                    </a:lnTo>
                    <a:lnTo>
                      <a:pt x="452" y="23"/>
                    </a:lnTo>
                    <a:lnTo>
                      <a:pt x="453" y="28"/>
                    </a:lnTo>
                    <a:lnTo>
                      <a:pt x="29" y="57"/>
                    </a:lnTo>
                    <a:lnTo>
                      <a:pt x="23" y="56"/>
                    </a:lnTo>
                    <a:lnTo>
                      <a:pt x="17" y="55"/>
                    </a:lnTo>
                    <a:lnTo>
                      <a:pt x="13" y="52"/>
                    </a:lnTo>
                    <a:lnTo>
                      <a:pt x="8" y="48"/>
                    </a:lnTo>
                    <a:close/>
                  </a:path>
                </a:pathLst>
              </a:custGeom>
              <a:solidFill>
                <a:schemeClr val="bg2"/>
              </a:solidFill>
              <a:ln>
                <a:noFill/>
              </a:ln>
              <a:extLst/>
            </p:spPr>
            <p:txBody>
              <a:bodyPr/>
              <a:lstStyle/>
              <a:p>
                <a:endParaRPr lang="en-US" sz="1400"/>
              </a:p>
            </p:txBody>
          </p:sp>
          <p:sp>
            <p:nvSpPr>
              <p:cNvPr id="222" name="Freeform 60">
                <a:extLst>
                  <a:ext uri="{FF2B5EF4-FFF2-40B4-BE49-F238E27FC236}">
                    <a16:creationId xmlns:a16="http://schemas.microsoft.com/office/drawing/2014/main" id="{1EACD487-96B8-4C4B-9554-F975C68E92DD}"/>
                  </a:ext>
                </a:extLst>
              </p:cNvPr>
              <p:cNvSpPr>
                <a:spLocks/>
              </p:cNvSpPr>
              <p:nvPr/>
            </p:nvSpPr>
            <p:spPr bwMode="gray">
              <a:xfrm>
                <a:off x="8098590" y="3103134"/>
                <a:ext cx="199078" cy="26867"/>
              </a:xfrm>
              <a:custGeom>
                <a:avLst/>
                <a:gdLst>
                  <a:gd name="T0" fmla="*/ 8 w 453"/>
                  <a:gd name="T1" fmla="*/ 8 h 57"/>
                  <a:gd name="T2" fmla="*/ 13 w 453"/>
                  <a:gd name="T3" fmla="*/ 4 h 57"/>
                  <a:gd name="T4" fmla="*/ 17 w 453"/>
                  <a:gd name="T5" fmla="*/ 2 h 57"/>
                  <a:gd name="T6" fmla="*/ 23 w 453"/>
                  <a:gd name="T7" fmla="*/ 0 h 57"/>
                  <a:gd name="T8" fmla="*/ 29 w 453"/>
                  <a:gd name="T9" fmla="*/ 0 h 57"/>
                  <a:gd name="T10" fmla="*/ 424 w 453"/>
                  <a:gd name="T11" fmla="*/ 0 h 57"/>
                  <a:gd name="T12" fmla="*/ 430 w 453"/>
                  <a:gd name="T13" fmla="*/ 0 h 57"/>
                  <a:gd name="T14" fmla="*/ 434 w 453"/>
                  <a:gd name="T15" fmla="*/ 2 h 57"/>
                  <a:gd name="T16" fmla="*/ 440 w 453"/>
                  <a:gd name="T17" fmla="*/ 4 h 57"/>
                  <a:gd name="T18" fmla="*/ 444 w 453"/>
                  <a:gd name="T19" fmla="*/ 8 h 57"/>
                  <a:gd name="T20" fmla="*/ 447 w 453"/>
                  <a:gd name="T21" fmla="*/ 13 h 57"/>
                  <a:gd name="T22" fmla="*/ 450 w 453"/>
                  <a:gd name="T23" fmla="*/ 17 h 57"/>
                  <a:gd name="T24" fmla="*/ 452 w 453"/>
                  <a:gd name="T25" fmla="*/ 23 h 57"/>
                  <a:gd name="T26" fmla="*/ 453 w 453"/>
                  <a:gd name="T27" fmla="*/ 29 h 57"/>
                  <a:gd name="T28" fmla="*/ 29 w 453"/>
                  <a:gd name="T29" fmla="*/ 57 h 57"/>
                  <a:gd name="T30" fmla="*/ 23 w 453"/>
                  <a:gd name="T31" fmla="*/ 56 h 57"/>
                  <a:gd name="T32" fmla="*/ 17 w 453"/>
                  <a:gd name="T33" fmla="*/ 55 h 57"/>
                  <a:gd name="T34" fmla="*/ 13 w 453"/>
                  <a:gd name="T35" fmla="*/ 52 h 57"/>
                  <a:gd name="T36" fmla="*/ 8 w 453"/>
                  <a:gd name="T37" fmla="*/ 48 h 57"/>
                  <a:gd name="T38" fmla="*/ 4 w 453"/>
                  <a:gd name="T39" fmla="*/ 44 h 57"/>
                  <a:gd name="T40" fmla="*/ 2 w 453"/>
                  <a:gd name="T41" fmla="*/ 39 h 57"/>
                  <a:gd name="T42" fmla="*/ 1 w 453"/>
                  <a:gd name="T43" fmla="*/ 34 h 57"/>
                  <a:gd name="T44" fmla="*/ 0 w 453"/>
                  <a:gd name="T45" fmla="*/ 29 h 57"/>
                  <a:gd name="T46" fmla="*/ 1 w 453"/>
                  <a:gd name="T47" fmla="*/ 23 h 57"/>
                  <a:gd name="T48" fmla="*/ 2 w 453"/>
                  <a:gd name="T49" fmla="*/ 17 h 57"/>
                  <a:gd name="T50" fmla="*/ 4 w 453"/>
                  <a:gd name="T51" fmla="*/ 13 h 57"/>
                  <a:gd name="T52" fmla="*/ 8 w 453"/>
                  <a:gd name="T53" fmla="*/ 8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53" h="57">
                    <a:moveTo>
                      <a:pt x="8" y="8"/>
                    </a:moveTo>
                    <a:lnTo>
                      <a:pt x="13" y="4"/>
                    </a:lnTo>
                    <a:lnTo>
                      <a:pt x="17" y="2"/>
                    </a:lnTo>
                    <a:lnTo>
                      <a:pt x="23" y="0"/>
                    </a:lnTo>
                    <a:lnTo>
                      <a:pt x="29" y="0"/>
                    </a:lnTo>
                    <a:lnTo>
                      <a:pt x="424" y="0"/>
                    </a:lnTo>
                    <a:lnTo>
                      <a:pt x="430" y="0"/>
                    </a:lnTo>
                    <a:lnTo>
                      <a:pt x="434" y="2"/>
                    </a:lnTo>
                    <a:lnTo>
                      <a:pt x="440" y="4"/>
                    </a:lnTo>
                    <a:lnTo>
                      <a:pt x="444" y="8"/>
                    </a:lnTo>
                    <a:lnTo>
                      <a:pt x="447" y="13"/>
                    </a:lnTo>
                    <a:lnTo>
                      <a:pt x="450" y="17"/>
                    </a:lnTo>
                    <a:lnTo>
                      <a:pt x="452" y="23"/>
                    </a:lnTo>
                    <a:lnTo>
                      <a:pt x="453" y="29"/>
                    </a:lnTo>
                    <a:lnTo>
                      <a:pt x="29" y="57"/>
                    </a:lnTo>
                    <a:lnTo>
                      <a:pt x="23" y="56"/>
                    </a:lnTo>
                    <a:lnTo>
                      <a:pt x="17" y="55"/>
                    </a:lnTo>
                    <a:lnTo>
                      <a:pt x="13" y="52"/>
                    </a:lnTo>
                    <a:lnTo>
                      <a:pt x="8" y="48"/>
                    </a:lnTo>
                    <a:lnTo>
                      <a:pt x="4" y="44"/>
                    </a:lnTo>
                    <a:lnTo>
                      <a:pt x="2" y="39"/>
                    </a:lnTo>
                    <a:lnTo>
                      <a:pt x="1" y="34"/>
                    </a:lnTo>
                    <a:lnTo>
                      <a:pt x="0" y="29"/>
                    </a:lnTo>
                    <a:lnTo>
                      <a:pt x="1" y="23"/>
                    </a:lnTo>
                    <a:lnTo>
                      <a:pt x="2" y="17"/>
                    </a:lnTo>
                    <a:lnTo>
                      <a:pt x="4" y="13"/>
                    </a:lnTo>
                    <a:lnTo>
                      <a:pt x="8" y="8"/>
                    </a:lnTo>
                    <a:close/>
                  </a:path>
                </a:pathLst>
              </a:custGeom>
              <a:solidFill>
                <a:schemeClr val="bg2"/>
              </a:solidFill>
              <a:ln>
                <a:noFill/>
              </a:ln>
              <a:extLst/>
            </p:spPr>
            <p:txBody>
              <a:bodyPr/>
              <a:lstStyle/>
              <a:p>
                <a:endParaRPr lang="en-US" sz="1400"/>
              </a:p>
            </p:txBody>
          </p:sp>
          <p:sp>
            <p:nvSpPr>
              <p:cNvPr id="223" name="Freeform 61">
                <a:extLst>
                  <a:ext uri="{FF2B5EF4-FFF2-40B4-BE49-F238E27FC236}">
                    <a16:creationId xmlns:a16="http://schemas.microsoft.com/office/drawing/2014/main" id="{E4E0FFAD-F289-40A3-A394-CDF984ED4667}"/>
                  </a:ext>
                </a:extLst>
              </p:cNvPr>
              <p:cNvSpPr>
                <a:spLocks/>
              </p:cNvSpPr>
              <p:nvPr/>
            </p:nvSpPr>
            <p:spPr bwMode="gray">
              <a:xfrm>
                <a:off x="8098590" y="3196271"/>
                <a:ext cx="199078" cy="25075"/>
              </a:xfrm>
              <a:custGeom>
                <a:avLst/>
                <a:gdLst>
                  <a:gd name="T0" fmla="*/ 29 w 453"/>
                  <a:gd name="T1" fmla="*/ 57 h 57"/>
                  <a:gd name="T2" fmla="*/ 23 w 453"/>
                  <a:gd name="T3" fmla="*/ 56 h 57"/>
                  <a:gd name="T4" fmla="*/ 17 w 453"/>
                  <a:gd name="T5" fmla="*/ 55 h 57"/>
                  <a:gd name="T6" fmla="*/ 13 w 453"/>
                  <a:gd name="T7" fmla="*/ 51 h 57"/>
                  <a:gd name="T8" fmla="*/ 8 w 453"/>
                  <a:gd name="T9" fmla="*/ 48 h 57"/>
                  <a:gd name="T10" fmla="*/ 4 w 453"/>
                  <a:gd name="T11" fmla="*/ 43 h 57"/>
                  <a:gd name="T12" fmla="*/ 2 w 453"/>
                  <a:gd name="T13" fmla="*/ 39 h 57"/>
                  <a:gd name="T14" fmla="*/ 1 w 453"/>
                  <a:gd name="T15" fmla="*/ 34 h 57"/>
                  <a:gd name="T16" fmla="*/ 0 w 453"/>
                  <a:gd name="T17" fmla="*/ 28 h 57"/>
                  <a:gd name="T18" fmla="*/ 1 w 453"/>
                  <a:gd name="T19" fmla="*/ 23 h 57"/>
                  <a:gd name="T20" fmla="*/ 2 w 453"/>
                  <a:gd name="T21" fmla="*/ 17 h 57"/>
                  <a:gd name="T22" fmla="*/ 4 w 453"/>
                  <a:gd name="T23" fmla="*/ 12 h 57"/>
                  <a:gd name="T24" fmla="*/ 8 w 453"/>
                  <a:gd name="T25" fmla="*/ 8 h 57"/>
                  <a:gd name="T26" fmla="*/ 13 w 453"/>
                  <a:gd name="T27" fmla="*/ 4 h 57"/>
                  <a:gd name="T28" fmla="*/ 17 w 453"/>
                  <a:gd name="T29" fmla="*/ 2 h 57"/>
                  <a:gd name="T30" fmla="*/ 23 w 453"/>
                  <a:gd name="T31" fmla="*/ 0 h 57"/>
                  <a:gd name="T32" fmla="*/ 29 w 453"/>
                  <a:gd name="T33" fmla="*/ 0 h 57"/>
                  <a:gd name="T34" fmla="*/ 424 w 453"/>
                  <a:gd name="T35" fmla="*/ 0 h 57"/>
                  <a:gd name="T36" fmla="*/ 430 w 453"/>
                  <a:gd name="T37" fmla="*/ 0 h 57"/>
                  <a:gd name="T38" fmla="*/ 434 w 453"/>
                  <a:gd name="T39" fmla="*/ 2 h 57"/>
                  <a:gd name="T40" fmla="*/ 440 w 453"/>
                  <a:gd name="T41" fmla="*/ 4 h 57"/>
                  <a:gd name="T42" fmla="*/ 444 w 453"/>
                  <a:gd name="T43" fmla="*/ 8 h 57"/>
                  <a:gd name="T44" fmla="*/ 447 w 453"/>
                  <a:gd name="T45" fmla="*/ 12 h 57"/>
                  <a:gd name="T46" fmla="*/ 450 w 453"/>
                  <a:gd name="T47" fmla="*/ 17 h 57"/>
                  <a:gd name="T48" fmla="*/ 452 w 453"/>
                  <a:gd name="T49" fmla="*/ 23 h 57"/>
                  <a:gd name="T50" fmla="*/ 453 w 453"/>
                  <a:gd name="T51" fmla="*/ 28 h 57"/>
                  <a:gd name="T52" fmla="*/ 29 w 453"/>
                  <a:gd name="T53"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53" h="57">
                    <a:moveTo>
                      <a:pt x="29" y="57"/>
                    </a:moveTo>
                    <a:lnTo>
                      <a:pt x="23" y="56"/>
                    </a:lnTo>
                    <a:lnTo>
                      <a:pt x="17" y="55"/>
                    </a:lnTo>
                    <a:lnTo>
                      <a:pt x="13" y="51"/>
                    </a:lnTo>
                    <a:lnTo>
                      <a:pt x="8" y="48"/>
                    </a:lnTo>
                    <a:lnTo>
                      <a:pt x="4" y="43"/>
                    </a:lnTo>
                    <a:lnTo>
                      <a:pt x="2" y="39"/>
                    </a:lnTo>
                    <a:lnTo>
                      <a:pt x="1" y="34"/>
                    </a:lnTo>
                    <a:lnTo>
                      <a:pt x="0" y="28"/>
                    </a:lnTo>
                    <a:lnTo>
                      <a:pt x="1" y="23"/>
                    </a:lnTo>
                    <a:lnTo>
                      <a:pt x="2" y="17"/>
                    </a:lnTo>
                    <a:lnTo>
                      <a:pt x="4" y="12"/>
                    </a:lnTo>
                    <a:lnTo>
                      <a:pt x="8" y="8"/>
                    </a:lnTo>
                    <a:lnTo>
                      <a:pt x="13" y="4"/>
                    </a:lnTo>
                    <a:lnTo>
                      <a:pt x="17" y="2"/>
                    </a:lnTo>
                    <a:lnTo>
                      <a:pt x="23" y="0"/>
                    </a:lnTo>
                    <a:lnTo>
                      <a:pt x="29" y="0"/>
                    </a:lnTo>
                    <a:lnTo>
                      <a:pt x="424" y="0"/>
                    </a:lnTo>
                    <a:lnTo>
                      <a:pt x="430" y="0"/>
                    </a:lnTo>
                    <a:lnTo>
                      <a:pt x="434" y="2"/>
                    </a:lnTo>
                    <a:lnTo>
                      <a:pt x="440" y="4"/>
                    </a:lnTo>
                    <a:lnTo>
                      <a:pt x="444" y="8"/>
                    </a:lnTo>
                    <a:lnTo>
                      <a:pt x="447" y="12"/>
                    </a:lnTo>
                    <a:lnTo>
                      <a:pt x="450" y="17"/>
                    </a:lnTo>
                    <a:lnTo>
                      <a:pt x="452" y="23"/>
                    </a:lnTo>
                    <a:lnTo>
                      <a:pt x="453" y="28"/>
                    </a:lnTo>
                    <a:lnTo>
                      <a:pt x="29" y="57"/>
                    </a:lnTo>
                    <a:close/>
                  </a:path>
                </a:pathLst>
              </a:custGeom>
              <a:solidFill>
                <a:schemeClr val="bg2"/>
              </a:solidFill>
              <a:ln>
                <a:noFill/>
              </a:ln>
              <a:extLst/>
            </p:spPr>
            <p:txBody>
              <a:bodyPr/>
              <a:lstStyle/>
              <a:p>
                <a:endParaRPr lang="en-US" sz="1400"/>
              </a:p>
            </p:txBody>
          </p:sp>
        </p:grpSp>
        <p:grpSp>
          <p:nvGrpSpPr>
            <p:cNvPr id="160" name="Group 159">
              <a:extLst>
                <a:ext uri="{FF2B5EF4-FFF2-40B4-BE49-F238E27FC236}">
                  <a16:creationId xmlns:a16="http://schemas.microsoft.com/office/drawing/2014/main" id="{5FD9FBAB-110B-45B2-987F-C24585FF4F4E}"/>
                </a:ext>
              </a:extLst>
            </p:cNvPr>
            <p:cNvGrpSpPr/>
            <p:nvPr/>
          </p:nvGrpSpPr>
          <p:grpSpPr>
            <a:xfrm>
              <a:off x="6618799" y="2462457"/>
              <a:ext cx="1247300" cy="790195"/>
              <a:chOff x="6652136" y="2456527"/>
              <a:chExt cx="1247300" cy="790195"/>
            </a:xfrm>
          </p:grpSpPr>
          <p:grpSp>
            <p:nvGrpSpPr>
              <p:cNvPr id="161" name="Group 160">
                <a:extLst>
                  <a:ext uri="{FF2B5EF4-FFF2-40B4-BE49-F238E27FC236}">
                    <a16:creationId xmlns:a16="http://schemas.microsoft.com/office/drawing/2014/main" id="{BE1CE1FA-F35A-4D05-A1E5-10AA2E8E606B}"/>
                  </a:ext>
                </a:extLst>
              </p:cNvPr>
              <p:cNvGrpSpPr/>
              <p:nvPr/>
            </p:nvGrpSpPr>
            <p:grpSpPr>
              <a:xfrm>
                <a:off x="6652136" y="2828002"/>
                <a:ext cx="261463" cy="418720"/>
                <a:chOff x="3259156" y="1113563"/>
                <a:chExt cx="666571" cy="1067480"/>
              </a:xfrm>
            </p:grpSpPr>
            <p:sp>
              <p:nvSpPr>
                <p:cNvPr id="192" name="Rounded Rectangle 149">
                  <a:extLst>
                    <a:ext uri="{FF2B5EF4-FFF2-40B4-BE49-F238E27FC236}">
                      <a16:creationId xmlns:a16="http://schemas.microsoft.com/office/drawing/2014/main" id="{DC186F6B-092B-4484-82FD-D2EEC8603715}"/>
                    </a:ext>
                  </a:extLst>
                </p:cNvPr>
                <p:cNvSpPr>
                  <a:spLocks/>
                </p:cNvSpPr>
                <p:nvPr>
                  <p:custDataLst>
                    <p:tags r:id="rId11"/>
                  </p:custDataLst>
                </p:nvPr>
              </p:nvSpPr>
              <p:spPr bwMode="gray">
                <a:xfrm>
                  <a:off x="3485922" y="1333534"/>
                  <a:ext cx="221826" cy="794764"/>
                </a:xfrm>
                <a:prstGeom prst="roundRect">
                  <a:avLst/>
                </a:prstGeom>
                <a:solidFill>
                  <a:schemeClr val="bg2"/>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b="0" dirty="0" err="1">
                    <a:solidFill>
                      <a:srgbClr val="000000"/>
                    </a:solidFill>
                  </a:endParaRPr>
                </a:p>
              </p:txBody>
            </p:sp>
            <p:sp>
              <p:nvSpPr>
                <p:cNvPr id="193" name="Freeform 149">
                  <a:extLst>
                    <a:ext uri="{FF2B5EF4-FFF2-40B4-BE49-F238E27FC236}">
                      <a16:creationId xmlns:a16="http://schemas.microsoft.com/office/drawing/2014/main" id="{7CA7AD23-6E7E-47B7-847E-462D26861B79}"/>
                    </a:ext>
                  </a:extLst>
                </p:cNvPr>
                <p:cNvSpPr>
                  <a:spLocks noChangeAspect="1" noEditPoints="1"/>
                </p:cNvSpPr>
                <p:nvPr/>
              </p:nvSpPr>
              <p:spPr bwMode="gray">
                <a:xfrm>
                  <a:off x="3259156" y="1113563"/>
                  <a:ext cx="666571" cy="1067480"/>
                </a:xfrm>
                <a:custGeom>
                  <a:avLst/>
                  <a:gdLst>
                    <a:gd name="T0" fmla="*/ 1222 w 2252"/>
                    <a:gd name="T1" fmla="*/ 4 h 3602"/>
                    <a:gd name="T2" fmla="*/ 2 w 2252"/>
                    <a:gd name="T3" fmla="*/ 1112 h 3602"/>
                    <a:gd name="T4" fmla="*/ 423 w 2252"/>
                    <a:gd name="T5" fmla="*/ 2104 h 3602"/>
                    <a:gd name="T6" fmla="*/ 556 w 2252"/>
                    <a:gd name="T7" fmla="*/ 2667 h 3602"/>
                    <a:gd name="T8" fmla="*/ 661 w 2252"/>
                    <a:gd name="T9" fmla="*/ 2945 h 3602"/>
                    <a:gd name="T10" fmla="*/ 827 w 2252"/>
                    <a:gd name="T11" fmla="*/ 3393 h 3602"/>
                    <a:gd name="T12" fmla="*/ 865 w 2252"/>
                    <a:gd name="T13" fmla="*/ 3415 h 3602"/>
                    <a:gd name="T14" fmla="*/ 1372 w 2252"/>
                    <a:gd name="T15" fmla="*/ 3497 h 3602"/>
                    <a:gd name="T16" fmla="*/ 1414 w 2252"/>
                    <a:gd name="T17" fmla="*/ 3395 h 3602"/>
                    <a:gd name="T18" fmla="*/ 1604 w 2252"/>
                    <a:gd name="T19" fmla="*/ 3021 h 3602"/>
                    <a:gd name="T20" fmla="*/ 1637 w 2252"/>
                    <a:gd name="T21" fmla="*/ 2748 h 3602"/>
                    <a:gd name="T22" fmla="*/ 1689 w 2252"/>
                    <a:gd name="T23" fmla="*/ 2409 h 3602"/>
                    <a:gd name="T24" fmla="*/ 2130 w 2252"/>
                    <a:gd name="T25" fmla="*/ 1547 h 3602"/>
                    <a:gd name="T26" fmla="*/ 1127 w 2252"/>
                    <a:gd name="T27" fmla="*/ 3466 h 3602"/>
                    <a:gd name="T28" fmla="*/ 1079 w 2252"/>
                    <a:gd name="T29" fmla="*/ 3384 h 3602"/>
                    <a:gd name="T30" fmla="*/ 1234 w 2252"/>
                    <a:gd name="T31" fmla="*/ 3386 h 3602"/>
                    <a:gd name="T32" fmla="*/ 1308 w 2252"/>
                    <a:gd name="T33" fmla="*/ 3262 h 3602"/>
                    <a:gd name="T34" fmla="*/ 1037 w 2252"/>
                    <a:gd name="T35" fmla="*/ 3261 h 3602"/>
                    <a:gd name="T36" fmla="*/ 773 w 2252"/>
                    <a:gd name="T37" fmla="*/ 3217 h 3602"/>
                    <a:gd name="T38" fmla="*/ 1067 w 2252"/>
                    <a:gd name="T39" fmla="*/ 3198 h 3602"/>
                    <a:gd name="T40" fmla="*/ 1386 w 2252"/>
                    <a:gd name="T41" fmla="*/ 3196 h 3602"/>
                    <a:gd name="T42" fmla="*/ 1473 w 2252"/>
                    <a:gd name="T43" fmla="*/ 3058 h 3602"/>
                    <a:gd name="T44" fmla="*/ 1101 w 2252"/>
                    <a:gd name="T45" fmla="*/ 3071 h 3602"/>
                    <a:gd name="T46" fmla="*/ 773 w 2252"/>
                    <a:gd name="T47" fmla="*/ 3051 h 3602"/>
                    <a:gd name="T48" fmla="*/ 1000 w 2252"/>
                    <a:gd name="T49" fmla="*/ 3009 h 3602"/>
                    <a:gd name="T50" fmla="*/ 1329 w 2252"/>
                    <a:gd name="T51" fmla="*/ 3010 h 3602"/>
                    <a:gd name="T52" fmla="*/ 1473 w 2252"/>
                    <a:gd name="T53" fmla="*/ 3058 h 3602"/>
                    <a:gd name="T54" fmla="*/ 1367 w 2252"/>
                    <a:gd name="T55" fmla="*/ 2885 h 3602"/>
                    <a:gd name="T56" fmla="*/ 1036 w 2252"/>
                    <a:gd name="T57" fmla="*/ 2886 h 3602"/>
                    <a:gd name="T58" fmla="*/ 769 w 2252"/>
                    <a:gd name="T59" fmla="*/ 2851 h 3602"/>
                    <a:gd name="T60" fmla="*/ 1067 w 2252"/>
                    <a:gd name="T61" fmla="*/ 2824 h 3602"/>
                    <a:gd name="T62" fmla="*/ 1468 w 2252"/>
                    <a:gd name="T63" fmla="*/ 2831 h 3602"/>
                    <a:gd name="T64" fmla="*/ 1406 w 2252"/>
                    <a:gd name="T65" fmla="*/ 1835 h 3602"/>
                    <a:gd name="T66" fmla="*/ 1219 w 2252"/>
                    <a:gd name="T67" fmla="*/ 2265 h 3602"/>
                    <a:gd name="T68" fmla="*/ 1186 w 2252"/>
                    <a:gd name="T69" fmla="*/ 2239 h 3602"/>
                    <a:gd name="T70" fmla="*/ 1331 w 2252"/>
                    <a:gd name="T71" fmla="*/ 1745 h 3602"/>
                    <a:gd name="T72" fmla="*/ 1277 w 2252"/>
                    <a:gd name="T73" fmla="*/ 1609 h 3602"/>
                    <a:gd name="T74" fmla="*/ 1116 w 2252"/>
                    <a:gd name="T75" fmla="*/ 1627 h 3602"/>
                    <a:gd name="T76" fmla="*/ 1015 w 2252"/>
                    <a:gd name="T77" fmla="*/ 1593 h 3602"/>
                    <a:gd name="T78" fmla="*/ 863 w 2252"/>
                    <a:gd name="T79" fmla="*/ 1614 h 3602"/>
                    <a:gd name="T80" fmla="*/ 946 w 2252"/>
                    <a:gd name="T81" fmla="*/ 1909 h 3602"/>
                    <a:gd name="T82" fmla="*/ 1029 w 2252"/>
                    <a:gd name="T83" fmla="*/ 2262 h 3602"/>
                    <a:gd name="T84" fmla="*/ 906 w 2252"/>
                    <a:gd name="T85" fmla="*/ 2078 h 3602"/>
                    <a:gd name="T86" fmla="*/ 760 w 2252"/>
                    <a:gd name="T87" fmla="*/ 1639 h 3602"/>
                    <a:gd name="T88" fmla="*/ 763 w 2252"/>
                    <a:gd name="T89" fmla="*/ 1460 h 3602"/>
                    <a:gd name="T90" fmla="*/ 957 w 2252"/>
                    <a:gd name="T91" fmla="*/ 1515 h 3602"/>
                    <a:gd name="T92" fmla="*/ 1117 w 2252"/>
                    <a:gd name="T93" fmla="*/ 1391 h 3602"/>
                    <a:gd name="T94" fmla="*/ 1135 w 2252"/>
                    <a:gd name="T95" fmla="*/ 1417 h 3602"/>
                    <a:gd name="T96" fmla="*/ 1298 w 2252"/>
                    <a:gd name="T97" fmla="*/ 1516 h 3602"/>
                    <a:gd name="T98" fmla="*/ 1400 w 2252"/>
                    <a:gd name="T99" fmla="*/ 1491 h 3602"/>
                    <a:gd name="T100" fmla="*/ 1514 w 2252"/>
                    <a:gd name="T101" fmla="*/ 1469 h 36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252" h="3602">
                      <a:moveTo>
                        <a:pt x="2234" y="1007"/>
                      </a:moveTo>
                      <a:cubicBezTo>
                        <a:pt x="2215" y="755"/>
                        <a:pt x="2099" y="512"/>
                        <a:pt x="1907" y="324"/>
                      </a:cubicBezTo>
                      <a:cubicBezTo>
                        <a:pt x="1718" y="138"/>
                        <a:pt x="1475" y="25"/>
                        <a:pt x="1222" y="4"/>
                      </a:cubicBezTo>
                      <a:cubicBezTo>
                        <a:pt x="1187" y="1"/>
                        <a:pt x="1152" y="0"/>
                        <a:pt x="1117" y="0"/>
                      </a:cubicBezTo>
                      <a:cubicBezTo>
                        <a:pt x="808" y="0"/>
                        <a:pt x="538" y="118"/>
                        <a:pt x="316" y="353"/>
                      </a:cubicBezTo>
                      <a:cubicBezTo>
                        <a:pt x="108" y="571"/>
                        <a:pt x="0" y="834"/>
                        <a:pt x="2" y="1112"/>
                      </a:cubicBezTo>
                      <a:cubicBezTo>
                        <a:pt x="4" y="1373"/>
                        <a:pt x="141" y="1638"/>
                        <a:pt x="244" y="1814"/>
                      </a:cubicBezTo>
                      <a:cubicBezTo>
                        <a:pt x="280" y="1876"/>
                        <a:pt x="320" y="1940"/>
                        <a:pt x="363" y="2008"/>
                      </a:cubicBezTo>
                      <a:cubicBezTo>
                        <a:pt x="383" y="2040"/>
                        <a:pt x="403" y="2072"/>
                        <a:pt x="423" y="2104"/>
                      </a:cubicBezTo>
                      <a:cubicBezTo>
                        <a:pt x="486" y="2206"/>
                        <a:pt x="544" y="2306"/>
                        <a:pt x="556" y="2418"/>
                      </a:cubicBezTo>
                      <a:cubicBezTo>
                        <a:pt x="559" y="2449"/>
                        <a:pt x="557" y="2488"/>
                        <a:pt x="554" y="2525"/>
                      </a:cubicBezTo>
                      <a:cubicBezTo>
                        <a:pt x="551" y="2575"/>
                        <a:pt x="547" y="2626"/>
                        <a:pt x="556" y="2667"/>
                      </a:cubicBezTo>
                      <a:cubicBezTo>
                        <a:pt x="566" y="2710"/>
                        <a:pt x="591" y="2736"/>
                        <a:pt x="616" y="2761"/>
                      </a:cubicBezTo>
                      <a:cubicBezTo>
                        <a:pt x="626" y="2771"/>
                        <a:pt x="636" y="2781"/>
                        <a:pt x="646" y="2793"/>
                      </a:cubicBezTo>
                      <a:cubicBezTo>
                        <a:pt x="627" y="2842"/>
                        <a:pt x="633" y="2903"/>
                        <a:pt x="661" y="2945"/>
                      </a:cubicBezTo>
                      <a:cubicBezTo>
                        <a:pt x="630" y="3000"/>
                        <a:pt x="625" y="3081"/>
                        <a:pt x="661" y="3133"/>
                      </a:cubicBezTo>
                      <a:cubicBezTo>
                        <a:pt x="630" y="3188"/>
                        <a:pt x="628" y="3249"/>
                        <a:pt x="655" y="3300"/>
                      </a:cubicBezTo>
                      <a:cubicBezTo>
                        <a:pt x="686" y="3358"/>
                        <a:pt x="750" y="3393"/>
                        <a:pt x="827" y="3393"/>
                      </a:cubicBezTo>
                      <a:cubicBezTo>
                        <a:pt x="827" y="3393"/>
                        <a:pt x="827" y="3393"/>
                        <a:pt x="827" y="3393"/>
                      </a:cubicBezTo>
                      <a:cubicBezTo>
                        <a:pt x="839" y="3393"/>
                        <a:pt x="852" y="3392"/>
                        <a:pt x="865" y="3390"/>
                      </a:cubicBezTo>
                      <a:cubicBezTo>
                        <a:pt x="865" y="3399"/>
                        <a:pt x="865" y="3407"/>
                        <a:pt x="865" y="3415"/>
                      </a:cubicBezTo>
                      <a:cubicBezTo>
                        <a:pt x="865" y="3463"/>
                        <a:pt x="864" y="3518"/>
                        <a:pt x="915" y="3559"/>
                      </a:cubicBezTo>
                      <a:cubicBezTo>
                        <a:pt x="964" y="3599"/>
                        <a:pt x="1073" y="3602"/>
                        <a:pt x="1105" y="3602"/>
                      </a:cubicBezTo>
                      <a:cubicBezTo>
                        <a:pt x="1215" y="3602"/>
                        <a:pt x="1343" y="3574"/>
                        <a:pt x="1372" y="3497"/>
                      </a:cubicBezTo>
                      <a:cubicBezTo>
                        <a:pt x="1385" y="3462"/>
                        <a:pt x="1382" y="3436"/>
                        <a:pt x="1378" y="3409"/>
                      </a:cubicBezTo>
                      <a:cubicBezTo>
                        <a:pt x="1377" y="3403"/>
                        <a:pt x="1376" y="3398"/>
                        <a:pt x="1376" y="3392"/>
                      </a:cubicBezTo>
                      <a:cubicBezTo>
                        <a:pt x="1389" y="3394"/>
                        <a:pt x="1401" y="3395"/>
                        <a:pt x="1414" y="3395"/>
                      </a:cubicBezTo>
                      <a:cubicBezTo>
                        <a:pt x="1493" y="3395"/>
                        <a:pt x="1561" y="3356"/>
                        <a:pt x="1591" y="3294"/>
                      </a:cubicBezTo>
                      <a:cubicBezTo>
                        <a:pt x="1614" y="3245"/>
                        <a:pt x="1608" y="3189"/>
                        <a:pt x="1577" y="3140"/>
                      </a:cubicBezTo>
                      <a:cubicBezTo>
                        <a:pt x="1598" y="3109"/>
                        <a:pt x="1607" y="3061"/>
                        <a:pt x="1604" y="3021"/>
                      </a:cubicBezTo>
                      <a:cubicBezTo>
                        <a:pt x="1602" y="2991"/>
                        <a:pt x="1593" y="2966"/>
                        <a:pt x="1579" y="2948"/>
                      </a:cubicBezTo>
                      <a:cubicBezTo>
                        <a:pt x="1602" y="2911"/>
                        <a:pt x="1614" y="2849"/>
                        <a:pt x="1598" y="2800"/>
                      </a:cubicBezTo>
                      <a:cubicBezTo>
                        <a:pt x="1610" y="2778"/>
                        <a:pt x="1624" y="2763"/>
                        <a:pt x="1637" y="2748"/>
                      </a:cubicBezTo>
                      <a:cubicBezTo>
                        <a:pt x="1658" y="2724"/>
                        <a:pt x="1679" y="2700"/>
                        <a:pt x="1688" y="2659"/>
                      </a:cubicBezTo>
                      <a:cubicBezTo>
                        <a:pt x="1700" y="2604"/>
                        <a:pt x="1696" y="2554"/>
                        <a:pt x="1691" y="2507"/>
                      </a:cubicBezTo>
                      <a:cubicBezTo>
                        <a:pt x="1688" y="2473"/>
                        <a:pt x="1685" y="2441"/>
                        <a:pt x="1689" y="2409"/>
                      </a:cubicBezTo>
                      <a:cubicBezTo>
                        <a:pt x="1702" y="2292"/>
                        <a:pt x="1766" y="2179"/>
                        <a:pt x="1813" y="2105"/>
                      </a:cubicBezTo>
                      <a:cubicBezTo>
                        <a:pt x="1837" y="2067"/>
                        <a:pt x="1860" y="2031"/>
                        <a:pt x="1883" y="1996"/>
                      </a:cubicBezTo>
                      <a:cubicBezTo>
                        <a:pt x="1972" y="1858"/>
                        <a:pt x="2056" y="1729"/>
                        <a:pt x="2130" y="1547"/>
                      </a:cubicBezTo>
                      <a:cubicBezTo>
                        <a:pt x="2190" y="1399"/>
                        <a:pt x="2252" y="1246"/>
                        <a:pt x="2234" y="1007"/>
                      </a:cubicBezTo>
                      <a:close/>
                      <a:moveTo>
                        <a:pt x="1247" y="3448"/>
                      </a:moveTo>
                      <a:cubicBezTo>
                        <a:pt x="1224" y="3459"/>
                        <a:pt x="1179" y="3466"/>
                        <a:pt x="1127" y="3466"/>
                      </a:cubicBezTo>
                      <a:cubicBezTo>
                        <a:pt x="1078" y="3466"/>
                        <a:pt x="1029" y="3460"/>
                        <a:pt x="1000" y="3451"/>
                      </a:cubicBezTo>
                      <a:cubicBezTo>
                        <a:pt x="996" y="3437"/>
                        <a:pt x="996" y="3408"/>
                        <a:pt x="1001" y="3396"/>
                      </a:cubicBezTo>
                      <a:cubicBezTo>
                        <a:pt x="1022" y="3385"/>
                        <a:pt x="1055" y="3384"/>
                        <a:pt x="1079" y="3384"/>
                      </a:cubicBezTo>
                      <a:cubicBezTo>
                        <a:pt x="1097" y="3384"/>
                        <a:pt x="1118" y="3385"/>
                        <a:pt x="1137" y="3386"/>
                      </a:cubicBezTo>
                      <a:cubicBezTo>
                        <a:pt x="1157" y="3387"/>
                        <a:pt x="1178" y="3388"/>
                        <a:pt x="1198" y="3388"/>
                      </a:cubicBezTo>
                      <a:cubicBezTo>
                        <a:pt x="1211" y="3388"/>
                        <a:pt x="1223" y="3387"/>
                        <a:pt x="1234" y="3386"/>
                      </a:cubicBezTo>
                      <a:cubicBezTo>
                        <a:pt x="1244" y="3392"/>
                        <a:pt x="1248" y="3411"/>
                        <a:pt x="1247" y="3448"/>
                      </a:cubicBezTo>
                      <a:close/>
                      <a:moveTo>
                        <a:pt x="1472" y="3240"/>
                      </a:moveTo>
                      <a:cubicBezTo>
                        <a:pt x="1427" y="3259"/>
                        <a:pt x="1362" y="3262"/>
                        <a:pt x="1308" y="3262"/>
                      </a:cubicBezTo>
                      <a:cubicBezTo>
                        <a:pt x="1278" y="3262"/>
                        <a:pt x="1247" y="3261"/>
                        <a:pt x="1214" y="3260"/>
                      </a:cubicBezTo>
                      <a:cubicBezTo>
                        <a:pt x="1180" y="3259"/>
                        <a:pt x="1145" y="3258"/>
                        <a:pt x="1110" y="3258"/>
                      </a:cubicBezTo>
                      <a:cubicBezTo>
                        <a:pt x="1090" y="3258"/>
                        <a:pt x="1066" y="3259"/>
                        <a:pt x="1037" y="3261"/>
                      </a:cubicBezTo>
                      <a:cubicBezTo>
                        <a:pt x="1001" y="3262"/>
                        <a:pt x="960" y="3264"/>
                        <a:pt x="921" y="3265"/>
                      </a:cubicBezTo>
                      <a:cubicBezTo>
                        <a:pt x="779" y="3265"/>
                        <a:pt x="769" y="3236"/>
                        <a:pt x="769" y="3231"/>
                      </a:cubicBezTo>
                      <a:cubicBezTo>
                        <a:pt x="768" y="3223"/>
                        <a:pt x="770" y="3220"/>
                        <a:pt x="773" y="3217"/>
                      </a:cubicBezTo>
                      <a:cubicBezTo>
                        <a:pt x="783" y="3206"/>
                        <a:pt x="814" y="3193"/>
                        <a:pt x="902" y="3193"/>
                      </a:cubicBezTo>
                      <a:cubicBezTo>
                        <a:pt x="933" y="3193"/>
                        <a:pt x="965" y="3195"/>
                        <a:pt x="996" y="3196"/>
                      </a:cubicBezTo>
                      <a:cubicBezTo>
                        <a:pt x="1022" y="3197"/>
                        <a:pt x="1046" y="3198"/>
                        <a:pt x="1067" y="3198"/>
                      </a:cubicBezTo>
                      <a:cubicBezTo>
                        <a:pt x="1263" y="3198"/>
                        <a:pt x="1263" y="3198"/>
                        <a:pt x="1263" y="3198"/>
                      </a:cubicBezTo>
                      <a:cubicBezTo>
                        <a:pt x="1285" y="3198"/>
                        <a:pt x="1307" y="3198"/>
                        <a:pt x="1328" y="3197"/>
                      </a:cubicBezTo>
                      <a:cubicBezTo>
                        <a:pt x="1349" y="3196"/>
                        <a:pt x="1368" y="3196"/>
                        <a:pt x="1386" y="3196"/>
                      </a:cubicBezTo>
                      <a:cubicBezTo>
                        <a:pt x="1435" y="3196"/>
                        <a:pt x="1465" y="3201"/>
                        <a:pt x="1472" y="3213"/>
                      </a:cubicBezTo>
                      <a:cubicBezTo>
                        <a:pt x="1476" y="3218"/>
                        <a:pt x="1476" y="3227"/>
                        <a:pt x="1472" y="3240"/>
                      </a:cubicBezTo>
                      <a:close/>
                      <a:moveTo>
                        <a:pt x="1473" y="3058"/>
                      </a:moveTo>
                      <a:cubicBezTo>
                        <a:pt x="1420" y="3071"/>
                        <a:pt x="1357" y="3073"/>
                        <a:pt x="1301" y="3073"/>
                      </a:cubicBezTo>
                      <a:cubicBezTo>
                        <a:pt x="1271" y="3073"/>
                        <a:pt x="1240" y="3073"/>
                        <a:pt x="1207" y="3072"/>
                      </a:cubicBezTo>
                      <a:cubicBezTo>
                        <a:pt x="1173" y="3071"/>
                        <a:pt x="1137" y="3071"/>
                        <a:pt x="1101" y="3071"/>
                      </a:cubicBezTo>
                      <a:cubicBezTo>
                        <a:pt x="1083" y="3071"/>
                        <a:pt x="1058" y="3072"/>
                        <a:pt x="1031" y="3073"/>
                      </a:cubicBezTo>
                      <a:cubicBezTo>
                        <a:pt x="995" y="3075"/>
                        <a:pt x="955" y="3078"/>
                        <a:pt x="916" y="3078"/>
                      </a:cubicBezTo>
                      <a:cubicBezTo>
                        <a:pt x="813" y="3078"/>
                        <a:pt x="782" y="3061"/>
                        <a:pt x="773" y="3051"/>
                      </a:cubicBezTo>
                      <a:cubicBezTo>
                        <a:pt x="770" y="3047"/>
                        <a:pt x="768" y="3044"/>
                        <a:pt x="769" y="3038"/>
                      </a:cubicBezTo>
                      <a:cubicBezTo>
                        <a:pt x="769" y="3029"/>
                        <a:pt x="784" y="3006"/>
                        <a:pt x="905" y="3006"/>
                      </a:cubicBezTo>
                      <a:cubicBezTo>
                        <a:pt x="937" y="3006"/>
                        <a:pt x="969" y="3007"/>
                        <a:pt x="1000" y="3009"/>
                      </a:cubicBezTo>
                      <a:cubicBezTo>
                        <a:pt x="1028" y="3010"/>
                        <a:pt x="1054" y="3011"/>
                        <a:pt x="1075" y="3011"/>
                      </a:cubicBezTo>
                      <a:cubicBezTo>
                        <a:pt x="1263" y="3011"/>
                        <a:pt x="1263" y="3011"/>
                        <a:pt x="1263" y="3011"/>
                      </a:cubicBezTo>
                      <a:cubicBezTo>
                        <a:pt x="1285" y="3011"/>
                        <a:pt x="1308" y="3010"/>
                        <a:pt x="1329" y="3010"/>
                      </a:cubicBezTo>
                      <a:cubicBezTo>
                        <a:pt x="1349" y="3009"/>
                        <a:pt x="1368" y="3008"/>
                        <a:pt x="1386" y="3008"/>
                      </a:cubicBezTo>
                      <a:cubicBezTo>
                        <a:pt x="1404" y="3008"/>
                        <a:pt x="1460" y="3008"/>
                        <a:pt x="1473" y="3026"/>
                      </a:cubicBezTo>
                      <a:cubicBezTo>
                        <a:pt x="1477" y="3032"/>
                        <a:pt x="1477" y="3043"/>
                        <a:pt x="1473" y="3058"/>
                      </a:cubicBezTo>
                      <a:close/>
                      <a:moveTo>
                        <a:pt x="1476" y="2866"/>
                      </a:moveTo>
                      <a:cubicBezTo>
                        <a:pt x="1465" y="2880"/>
                        <a:pt x="1444" y="2886"/>
                        <a:pt x="1407" y="2886"/>
                      </a:cubicBezTo>
                      <a:cubicBezTo>
                        <a:pt x="1394" y="2886"/>
                        <a:pt x="1381" y="2885"/>
                        <a:pt x="1367" y="2885"/>
                      </a:cubicBezTo>
                      <a:cubicBezTo>
                        <a:pt x="1353" y="2884"/>
                        <a:pt x="1338" y="2883"/>
                        <a:pt x="1323" y="2883"/>
                      </a:cubicBezTo>
                      <a:cubicBezTo>
                        <a:pt x="1110" y="2883"/>
                        <a:pt x="1110" y="2883"/>
                        <a:pt x="1110" y="2883"/>
                      </a:cubicBezTo>
                      <a:cubicBezTo>
                        <a:pt x="1090" y="2883"/>
                        <a:pt x="1065" y="2885"/>
                        <a:pt x="1036" y="2886"/>
                      </a:cubicBezTo>
                      <a:cubicBezTo>
                        <a:pt x="999" y="2888"/>
                        <a:pt x="958" y="2890"/>
                        <a:pt x="918" y="2890"/>
                      </a:cubicBezTo>
                      <a:cubicBezTo>
                        <a:pt x="819" y="2890"/>
                        <a:pt x="784" y="2876"/>
                        <a:pt x="773" y="2864"/>
                      </a:cubicBezTo>
                      <a:cubicBezTo>
                        <a:pt x="770" y="2860"/>
                        <a:pt x="768" y="2856"/>
                        <a:pt x="769" y="2851"/>
                      </a:cubicBezTo>
                      <a:cubicBezTo>
                        <a:pt x="770" y="2829"/>
                        <a:pt x="816" y="2817"/>
                        <a:pt x="895" y="2817"/>
                      </a:cubicBezTo>
                      <a:cubicBezTo>
                        <a:pt x="929" y="2817"/>
                        <a:pt x="965" y="2819"/>
                        <a:pt x="997" y="2821"/>
                      </a:cubicBezTo>
                      <a:cubicBezTo>
                        <a:pt x="1023" y="2822"/>
                        <a:pt x="1048" y="2824"/>
                        <a:pt x="1067" y="2824"/>
                      </a:cubicBezTo>
                      <a:cubicBezTo>
                        <a:pt x="1110" y="2824"/>
                        <a:pt x="1151" y="2823"/>
                        <a:pt x="1189" y="2823"/>
                      </a:cubicBezTo>
                      <a:cubicBezTo>
                        <a:pt x="1223" y="2823"/>
                        <a:pt x="1256" y="2822"/>
                        <a:pt x="1286" y="2822"/>
                      </a:cubicBezTo>
                      <a:cubicBezTo>
                        <a:pt x="1350" y="2822"/>
                        <a:pt x="1416" y="2823"/>
                        <a:pt x="1468" y="2831"/>
                      </a:cubicBezTo>
                      <a:cubicBezTo>
                        <a:pt x="1476" y="2836"/>
                        <a:pt x="1477" y="2853"/>
                        <a:pt x="1476" y="2866"/>
                      </a:cubicBezTo>
                      <a:close/>
                      <a:moveTo>
                        <a:pt x="1516" y="1491"/>
                      </a:moveTo>
                      <a:cubicBezTo>
                        <a:pt x="1478" y="1600"/>
                        <a:pt x="1441" y="1720"/>
                        <a:pt x="1406" y="1835"/>
                      </a:cubicBezTo>
                      <a:cubicBezTo>
                        <a:pt x="1381" y="1916"/>
                        <a:pt x="1355" y="2001"/>
                        <a:pt x="1329" y="2078"/>
                      </a:cubicBezTo>
                      <a:cubicBezTo>
                        <a:pt x="1326" y="2088"/>
                        <a:pt x="1323" y="2099"/>
                        <a:pt x="1319" y="2110"/>
                      </a:cubicBezTo>
                      <a:cubicBezTo>
                        <a:pt x="1301" y="2171"/>
                        <a:pt x="1279" y="2247"/>
                        <a:pt x="1219" y="2265"/>
                      </a:cubicBezTo>
                      <a:cubicBezTo>
                        <a:pt x="1216" y="2266"/>
                        <a:pt x="1214" y="2266"/>
                        <a:pt x="1211" y="2266"/>
                      </a:cubicBezTo>
                      <a:cubicBezTo>
                        <a:pt x="1205" y="2266"/>
                        <a:pt x="1200" y="2264"/>
                        <a:pt x="1195" y="2261"/>
                      </a:cubicBezTo>
                      <a:cubicBezTo>
                        <a:pt x="1189" y="2255"/>
                        <a:pt x="1185" y="2247"/>
                        <a:pt x="1186" y="2239"/>
                      </a:cubicBezTo>
                      <a:cubicBezTo>
                        <a:pt x="1193" y="2153"/>
                        <a:pt x="1222" y="2069"/>
                        <a:pt x="1251" y="1987"/>
                      </a:cubicBezTo>
                      <a:cubicBezTo>
                        <a:pt x="1261" y="1958"/>
                        <a:pt x="1271" y="1929"/>
                        <a:pt x="1280" y="1901"/>
                      </a:cubicBezTo>
                      <a:cubicBezTo>
                        <a:pt x="1297" y="1848"/>
                        <a:pt x="1314" y="1796"/>
                        <a:pt x="1331" y="1745"/>
                      </a:cubicBezTo>
                      <a:cubicBezTo>
                        <a:pt x="1345" y="1702"/>
                        <a:pt x="1360" y="1659"/>
                        <a:pt x="1374" y="1615"/>
                      </a:cubicBezTo>
                      <a:cubicBezTo>
                        <a:pt x="1365" y="1617"/>
                        <a:pt x="1355" y="1618"/>
                        <a:pt x="1345" y="1618"/>
                      </a:cubicBezTo>
                      <a:cubicBezTo>
                        <a:pt x="1322" y="1618"/>
                        <a:pt x="1299" y="1613"/>
                        <a:pt x="1277" y="1609"/>
                      </a:cubicBezTo>
                      <a:cubicBezTo>
                        <a:pt x="1254" y="1605"/>
                        <a:pt x="1232" y="1601"/>
                        <a:pt x="1213" y="1602"/>
                      </a:cubicBezTo>
                      <a:cubicBezTo>
                        <a:pt x="1201" y="1602"/>
                        <a:pt x="1189" y="1607"/>
                        <a:pt x="1176" y="1613"/>
                      </a:cubicBezTo>
                      <a:cubicBezTo>
                        <a:pt x="1159" y="1620"/>
                        <a:pt x="1140" y="1628"/>
                        <a:pt x="1116" y="1627"/>
                      </a:cubicBezTo>
                      <a:cubicBezTo>
                        <a:pt x="1094" y="1626"/>
                        <a:pt x="1073" y="1616"/>
                        <a:pt x="1055" y="1608"/>
                      </a:cubicBezTo>
                      <a:cubicBezTo>
                        <a:pt x="1041" y="1600"/>
                        <a:pt x="1026" y="1593"/>
                        <a:pt x="1015" y="1593"/>
                      </a:cubicBezTo>
                      <a:cubicBezTo>
                        <a:pt x="1015" y="1593"/>
                        <a:pt x="1015" y="1593"/>
                        <a:pt x="1015" y="1593"/>
                      </a:cubicBezTo>
                      <a:cubicBezTo>
                        <a:pt x="1004" y="1593"/>
                        <a:pt x="991" y="1599"/>
                        <a:pt x="977" y="1604"/>
                      </a:cubicBezTo>
                      <a:cubicBezTo>
                        <a:pt x="961" y="1610"/>
                        <a:pt x="942" y="1618"/>
                        <a:pt x="923" y="1619"/>
                      </a:cubicBezTo>
                      <a:cubicBezTo>
                        <a:pt x="898" y="1620"/>
                        <a:pt x="880" y="1617"/>
                        <a:pt x="863" y="1614"/>
                      </a:cubicBezTo>
                      <a:cubicBezTo>
                        <a:pt x="861" y="1614"/>
                        <a:pt x="858" y="1614"/>
                        <a:pt x="856" y="1613"/>
                      </a:cubicBezTo>
                      <a:cubicBezTo>
                        <a:pt x="872" y="1662"/>
                        <a:pt x="887" y="1712"/>
                        <a:pt x="901" y="1761"/>
                      </a:cubicBezTo>
                      <a:cubicBezTo>
                        <a:pt x="915" y="1810"/>
                        <a:pt x="930" y="1861"/>
                        <a:pt x="946" y="1909"/>
                      </a:cubicBezTo>
                      <a:cubicBezTo>
                        <a:pt x="956" y="1939"/>
                        <a:pt x="968" y="1969"/>
                        <a:pt x="979" y="1998"/>
                      </a:cubicBezTo>
                      <a:cubicBezTo>
                        <a:pt x="1010" y="2076"/>
                        <a:pt x="1041" y="2155"/>
                        <a:pt x="1041" y="2241"/>
                      </a:cubicBezTo>
                      <a:cubicBezTo>
                        <a:pt x="1041" y="2249"/>
                        <a:pt x="1036" y="2257"/>
                        <a:pt x="1029" y="2262"/>
                      </a:cubicBezTo>
                      <a:cubicBezTo>
                        <a:pt x="1022" y="2267"/>
                        <a:pt x="1013" y="2268"/>
                        <a:pt x="1005" y="2264"/>
                      </a:cubicBezTo>
                      <a:cubicBezTo>
                        <a:pt x="945" y="2239"/>
                        <a:pt x="930" y="2174"/>
                        <a:pt x="917" y="2121"/>
                      </a:cubicBezTo>
                      <a:cubicBezTo>
                        <a:pt x="913" y="2106"/>
                        <a:pt x="910" y="2091"/>
                        <a:pt x="906" y="2078"/>
                      </a:cubicBezTo>
                      <a:cubicBezTo>
                        <a:pt x="883" y="2012"/>
                        <a:pt x="862" y="1944"/>
                        <a:pt x="841" y="1880"/>
                      </a:cubicBezTo>
                      <a:cubicBezTo>
                        <a:pt x="821" y="1816"/>
                        <a:pt x="800" y="1751"/>
                        <a:pt x="778" y="1687"/>
                      </a:cubicBezTo>
                      <a:cubicBezTo>
                        <a:pt x="773" y="1671"/>
                        <a:pt x="767" y="1656"/>
                        <a:pt x="760" y="1639"/>
                      </a:cubicBezTo>
                      <a:cubicBezTo>
                        <a:pt x="739" y="1588"/>
                        <a:pt x="718" y="1534"/>
                        <a:pt x="726" y="1479"/>
                      </a:cubicBezTo>
                      <a:cubicBezTo>
                        <a:pt x="727" y="1471"/>
                        <a:pt x="732" y="1463"/>
                        <a:pt x="740" y="1460"/>
                      </a:cubicBezTo>
                      <a:cubicBezTo>
                        <a:pt x="747" y="1456"/>
                        <a:pt x="756" y="1456"/>
                        <a:pt x="763" y="1460"/>
                      </a:cubicBezTo>
                      <a:cubicBezTo>
                        <a:pt x="773" y="1465"/>
                        <a:pt x="783" y="1471"/>
                        <a:pt x="793" y="1477"/>
                      </a:cubicBezTo>
                      <a:cubicBezTo>
                        <a:pt x="830" y="1499"/>
                        <a:pt x="872" y="1524"/>
                        <a:pt x="914" y="1524"/>
                      </a:cubicBezTo>
                      <a:cubicBezTo>
                        <a:pt x="929" y="1524"/>
                        <a:pt x="943" y="1521"/>
                        <a:pt x="957" y="1515"/>
                      </a:cubicBezTo>
                      <a:cubicBezTo>
                        <a:pt x="942" y="1471"/>
                        <a:pt x="946" y="1419"/>
                        <a:pt x="968" y="1382"/>
                      </a:cubicBezTo>
                      <a:cubicBezTo>
                        <a:pt x="990" y="1345"/>
                        <a:pt x="1027" y="1328"/>
                        <a:pt x="1065" y="1339"/>
                      </a:cubicBezTo>
                      <a:cubicBezTo>
                        <a:pt x="1090" y="1346"/>
                        <a:pt x="1108" y="1364"/>
                        <a:pt x="1117" y="1391"/>
                      </a:cubicBezTo>
                      <a:cubicBezTo>
                        <a:pt x="1130" y="1430"/>
                        <a:pt x="1123" y="1483"/>
                        <a:pt x="1106" y="1523"/>
                      </a:cubicBezTo>
                      <a:cubicBezTo>
                        <a:pt x="1120" y="1525"/>
                        <a:pt x="1137" y="1526"/>
                        <a:pt x="1150" y="1525"/>
                      </a:cubicBezTo>
                      <a:cubicBezTo>
                        <a:pt x="1137" y="1496"/>
                        <a:pt x="1123" y="1463"/>
                        <a:pt x="1135" y="1417"/>
                      </a:cubicBezTo>
                      <a:cubicBezTo>
                        <a:pt x="1147" y="1369"/>
                        <a:pt x="1178" y="1340"/>
                        <a:pt x="1217" y="1340"/>
                      </a:cubicBezTo>
                      <a:cubicBezTo>
                        <a:pt x="1262" y="1340"/>
                        <a:pt x="1312" y="1384"/>
                        <a:pt x="1313" y="1456"/>
                      </a:cubicBezTo>
                      <a:cubicBezTo>
                        <a:pt x="1314" y="1481"/>
                        <a:pt x="1306" y="1499"/>
                        <a:pt x="1298" y="1516"/>
                      </a:cubicBezTo>
                      <a:cubicBezTo>
                        <a:pt x="1297" y="1519"/>
                        <a:pt x="1296" y="1522"/>
                        <a:pt x="1294" y="1525"/>
                      </a:cubicBezTo>
                      <a:cubicBezTo>
                        <a:pt x="1299" y="1526"/>
                        <a:pt x="1304" y="1526"/>
                        <a:pt x="1309" y="1526"/>
                      </a:cubicBezTo>
                      <a:cubicBezTo>
                        <a:pt x="1341" y="1526"/>
                        <a:pt x="1371" y="1508"/>
                        <a:pt x="1400" y="1491"/>
                      </a:cubicBezTo>
                      <a:cubicBezTo>
                        <a:pt x="1429" y="1473"/>
                        <a:pt x="1456" y="1457"/>
                        <a:pt x="1488" y="1457"/>
                      </a:cubicBezTo>
                      <a:cubicBezTo>
                        <a:pt x="1490" y="1457"/>
                        <a:pt x="1492" y="1457"/>
                        <a:pt x="1494" y="1457"/>
                      </a:cubicBezTo>
                      <a:cubicBezTo>
                        <a:pt x="1502" y="1458"/>
                        <a:pt x="1509" y="1462"/>
                        <a:pt x="1514" y="1469"/>
                      </a:cubicBezTo>
                      <a:cubicBezTo>
                        <a:pt x="1518" y="1475"/>
                        <a:pt x="1519" y="1484"/>
                        <a:pt x="1516" y="1491"/>
                      </a:cubicBezTo>
                      <a:close/>
                    </a:path>
                  </a:pathLst>
                </a:custGeom>
                <a:solidFill>
                  <a:schemeClr val="accent2"/>
                </a:solidFill>
                <a:ln>
                  <a:noFill/>
                </a:ln>
              </p:spPr>
              <p:txBody>
                <a:bodyPr vert="horz" wrap="square" lIns="91440" tIns="45720" rIns="91440" bIns="45720" numCol="1" anchor="t" anchorCtr="0" compatLnSpc="1">
                  <a:prstTxWarp prst="textNoShape">
                    <a:avLst/>
                  </a:prstTxWarp>
                  <a:noAutofit/>
                </a:bodyPr>
                <a:lstStyle/>
                <a:p>
                  <a:endParaRPr lang="en-US"/>
                </a:p>
              </p:txBody>
            </p:sp>
          </p:grpSp>
          <p:grpSp>
            <p:nvGrpSpPr>
              <p:cNvPr id="162" name="Group 161">
                <a:extLst>
                  <a:ext uri="{FF2B5EF4-FFF2-40B4-BE49-F238E27FC236}">
                    <a16:creationId xmlns:a16="http://schemas.microsoft.com/office/drawing/2014/main" id="{657D0360-F7E8-4D5E-8F5C-C98858685D42}"/>
                  </a:ext>
                </a:extLst>
              </p:cNvPr>
              <p:cNvGrpSpPr/>
              <p:nvPr/>
            </p:nvGrpSpPr>
            <p:grpSpPr>
              <a:xfrm>
                <a:off x="6849303" y="2456527"/>
                <a:ext cx="261463" cy="418720"/>
                <a:chOff x="3259156" y="1113563"/>
                <a:chExt cx="666571" cy="1067480"/>
              </a:xfrm>
            </p:grpSpPr>
            <p:sp>
              <p:nvSpPr>
                <p:cNvPr id="190" name="Rounded Rectangle 167">
                  <a:extLst>
                    <a:ext uri="{FF2B5EF4-FFF2-40B4-BE49-F238E27FC236}">
                      <a16:creationId xmlns:a16="http://schemas.microsoft.com/office/drawing/2014/main" id="{CA372148-EA31-4CDE-8B93-D6414195D1AE}"/>
                    </a:ext>
                  </a:extLst>
                </p:cNvPr>
                <p:cNvSpPr>
                  <a:spLocks/>
                </p:cNvSpPr>
                <p:nvPr>
                  <p:custDataLst>
                    <p:tags r:id="rId10"/>
                  </p:custDataLst>
                </p:nvPr>
              </p:nvSpPr>
              <p:spPr bwMode="gray">
                <a:xfrm>
                  <a:off x="3485922" y="1333534"/>
                  <a:ext cx="221826" cy="794764"/>
                </a:xfrm>
                <a:prstGeom prst="roundRect">
                  <a:avLst/>
                </a:prstGeom>
                <a:solidFill>
                  <a:schemeClr val="bg2"/>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b="0" dirty="0" err="1">
                    <a:solidFill>
                      <a:srgbClr val="000000"/>
                    </a:solidFill>
                  </a:endParaRPr>
                </a:p>
              </p:txBody>
            </p:sp>
            <p:sp>
              <p:nvSpPr>
                <p:cNvPr id="191" name="Freeform 149">
                  <a:extLst>
                    <a:ext uri="{FF2B5EF4-FFF2-40B4-BE49-F238E27FC236}">
                      <a16:creationId xmlns:a16="http://schemas.microsoft.com/office/drawing/2014/main" id="{4C33329A-9236-46FD-BB22-EC5BC252B7B7}"/>
                    </a:ext>
                  </a:extLst>
                </p:cNvPr>
                <p:cNvSpPr>
                  <a:spLocks noChangeAspect="1" noEditPoints="1"/>
                </p:cNvSpPr>
                <p:nvPr/>
              </p:nvSpPr>
              <p:spPr bwMode="gray">
                <a:xfrm>
                  <a:off x="3259156" y="1113563"/>
                  <a:ext cx="666571" cy="1067480"/>
                </a:xfrm>
                <a:custGeom>
                  <a:avLst/>
                  <a:gdLst>
                    <a:gd name="T0" fmla="*/ 1222 w 2252"/>
                    <a:gd name="T1" fmla="*/ 4 h 3602"/>
                    <a:gd name="T2" fmla="*/ 2 w 2252"/>
                    <a:gd name="T3" fmla="*/ 1112 h 3602"/>
                    <a:gd name="T4" fmla="*/ 423 w 2252"/>
                    <a:gd name="T5" fmla="*/ 2104 h 3602"/>
                    <a:gd name="T6" fmla="*/ 556 w 2252"/>
                    <a:gd name="T7" fmla="*/ 2667 h 3602"/>
                    <a:gd name="T8" fmla="*/ 661 w 2252"/>
                    <a:gd name="T9" fmla="*/ 2945 h 3602"/>
                    <a:gd name="T10" fmla="*/ 827 w 2252"/>
                    <a:gd name="T11" fmla="*/ 3393 h 3602"/>
                    <a:gd name="T12" fmla="*/ 865 w 2252"/>
                    <a:gd name="T13" fmla="*/ 3415 h 3602"/>
                    <a:gd name="T14" fmla="*/ 1372 w 2252"/>
                    <a:gd name="T15" fmla="*/ 3497 h 3602"/>
                    <a:gd name="T16" fmla="*/ 1414 w 2252"/>
                    <a:gd name="T17" fmla="*/ 3395 h 3602"/>
                    <a:gd name="T18" fmla="*/ 1604 w 2252"/>
                    <a:gd name="T19" fmla="*/ 3021 h 3602"/>
                    <a:gd name="T20" fmla="*/ 1637 w 2252"/>
                    <a:gd name="T21" fmla="*/ 2748 h 3602"/>
                    <a:gd name="T22" fmla="*/ 1689 w 2252"/>
                    <a:gd name="T23" fmla="*/ 2409 h 3602"/>
                    <a:gd name="T24" fmla="*/ 2130 w 2252"/>
                    <a:gd name="T25" fmla="*/ 1547 h 3602"/>
                    <a:gd name="T26" fmla="*/ 1127 w 2252"/>
                    <a:gd name="T27" fmla="*/ 3466 h 3602"/>
                    <a:gd name="T28" fmla="*/ 1079 w 2252"/>
                    <a:gd name="T29" fmla="*/ 3384 h 3602"/>
                    <a:gd name="T30" fmla="*/ 1234 w 2252"/>
                    <a:gd name="T31" fmla="*/ 3386 h 3602"/>
                    <a:gd name="T32" fmla="*/ 1308 w 2252"/>
                    <a:gd name="T33" fmla="*/ 3262 h 3602"/>
                    <a:gd name="T34" fmla="*/ 1037 w 2252"/>
                    <a:gd name="T35" fmla="*/ 3261 h 3602"/>
                    <a:gd name="T36" fmla="*/ 773 w 2252"/>
                    <a:gd name="T37" fmla="*/ 3217 h 3602"/>
                    <a:gd name="T38" fmla="*/ 1067 w 2252"/>
                    <a:gd name="T39" fmla="*/ 3198 h 3602"/>
                    <a:gd name="T40" fmla="*/ 1386 w 2252"/>
                    <a:gd name="T41" fmla="*/ 3196 h 3602"/>
                    <a:gd name="T42" fmla="*/ 1473 w 2252"/>
                    <a:gd name="T43" fmla="*/ 3058 h 3602"/>
                    <a:gd name="T44" fmla="*/ 1101 w 2252"/>
                    <a:gd name="T45" fmla="*/ 3071 h 3602"/>
                    <a:gd name="T46" fmla="*/ 773 w 2252"/>
                    <a:gd name="T47" fmla="*/ 3051 h 3602"/>
                    <a:gd name="T48" fmla="*/ 1000 w 2252"/>
                    <a:gd name="T49" fmla="*/ 3009 h 3602"/>
                    <a:gd name="T50" fmla="*/ 1329 w 2252"/>
                    <a:gd name="T51" fmla="*/ 3010 h 3602"/>
                    <a:gd name="T52" fmla="*/ 1473 w 2252"/>
                    <a:gd name="T53" fmla="*/ 3058 h 3602"/>
                    <a:gd name="T54" fmla="*/ 1367 w 2252"/>
                    <a:gd name="T55" fmla="*/ 2885 h 3602"/>
                    <a:gd name="T56" fmla="*/ 1036 w 2252"/>
                    <a:gd name="T57" fmla="*/ 2886 h 3602"/>
                    <a:gd name="T58" fmla="*/ 769 w 2252"/>
                    <a:gd name="T59" fmla="*/ 2851 h 3602"/>
                    <a:gd name="T60" fmla="*/ 1067 w 2252"/>
                    <a:gd name="T61" fmla="*/ 2824 h 3602"/>
                    <a:gd name="T62" fmla="*/ 1468 w 2252"/>
                    <a:gd name="T63" fmla="*/ 2831 h 3602"/>
                    <a:gd name="T64" fmla="*/ 1406 w 2252"/>
                    <a:gd name="T65" fmla="*/ 1835 h 3602"/>
                    <a:gd name="T66" fmla="*/ 1219 w 2252"/>
                    <a:gd name="T67" fmla="*/ 2265 h 3602"/>
                    <a:gd name="T68" fmla="*/ 1186 w 2252"/>
                    <a:gd name="T69" fmla="*/ 2239 h 3602"/>
                    <a:gd name="T70" fmla="*/ 1331 w 2252"/>
                    <a:gd name="T71" fmla="*/ 1745 h 3602"/>
                    <a:gd name="T72" fmla="*/ 1277 w 2252"/>
                    <a:gd name="T73" fmla="*/ 1609 h 3602"/>
                    <a:gd name="T74" fmla="*/ 1116 w 2252"/>
                    <a:gd name="T75" fmla="*/ 1627 h 3602"/>
                    <a:gd name="T76" fmla="*/ 1015 w 2252"/>
                    <a:gd name="T77" fmla="*/ 1593 h 3602"/>
                    <a:gd name="T78" fmla="*/ 863 w 2252"/>
                    <a:gd name="T79" fmla="*/ 1614 h 3602"/>
                    <a:gd name="T80" fmla="*/ 946 w 2252"/>
                    <a:gd name="T81" fmla="*/ 1909 h 3602"/>
                    <a:gd name="T82" fmla="*/ 1029 w 2252"/>
                    <a:gd name="T83" fmla="*/ 2262 h 3602"/>
                    <a:gd name="T84" fmla="*/ 906 w 2252"/>
                    <a:gd name="T85" fmla="*/ 2078 h 3602"/>
                    <a:gd name="T86" fmla="*/ 760 w 2252"/>
                    <a:gd name="T87" fmla="*/ 1639 h 3602"/>
                    <a:gd name="T88" fmla="*/ 763 w 2252"/>
                    <a:gd name="T89" fmla="*/ 1460 h 3602"/>
                    <a:gd name="T90" fmla="*/ 957 w 2252"/>
                    <a:gd name="T91" fmla="*/ 1515 h 3602"/>
                    <a:gd name="T92" fmla="*/ 1117 w 2252"/>
                    <a:gd name="T93" fmla="*/ 1391 h 3602"/>
                    <a:gd name="T94" fmla="*/ 1135 w 2252"/>
                    <a:gd name="T95" fmla="*/ 1417 h 3602"/>
                    <a:gd name="T96" fmla="*/ 1298 w 2252"/>
                    <a:gd name="T97" fmla="*/ 1516 h 3602"/>
                    <a:gd name="T98" fmla="*/ 1400 w 2252"/>
                    <a:gd name="T99" fmla="*/ 1491 h 3602"/>
                    <a:gd name="T100" fmla="*/ 1514 w 2252"/>
                    <a:gd name="T101" fmla="*/ 1469 h 36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252" h="3602">
                      <a:moveTo>
                        <a:pt x="2234" y="1007"/>
                      </a:moveTo>
                      <a:cubicBezTo>
                        <a:pt x="2215" y="755"/>
                        <a:pt x="2099" y="512"/>
                        <a:pt x="1907" y="324"/>
                      </a:cubicBezTo>
                      <a:cubicBezTo>
                        <a:pt x="1718" y="138"/>
                        <a:pt x="1475" y="25"/>
                        <a:pt x="1222" y="4"/>
                      </a:cubicBezTo>
                      <a:cubicBezTo>
                        <a:pt x="1187" y="1"/>
                        <a:pt x="1152" y="0"/>
                        <a:pt x="1117" y="0"/>
                      </a:cubicBezTo>
                      <a:cubicBezTo>
                        <a:pt x="808" y="0"/>
                        <a:pt x="538" y="118"/>
                        <a:pt x="316" y="353"/>
                      </a:cubicBezTo>
                      <a:cubicBezTo>
                        <a:pt x="108" y="571"/>
                        <a:pt x="0" y="834"/>
                        <a:pt x="2" y="1112"/>
                      </a:cubicBezTo>
                      <a:cubicBezTo>
                        <a:pt x="4" y="1373"/>
                        <a:pt x="141" y="1638"/>
                        <a:pt x="244" y="1814"/>
                      </a:cubicBezTo>
                      <a:cubicBezTo>
                        <a:pt x="280" y="1876"/>
                        <a:pt x="320" y="1940"/>
                        <a:pt x="363" y="2008"/>
                      </a:cubicBezTo>
                      <a:cubicBezTo>
                        <a:pt x="383" y="2040"/>
                        <a:pt x="403" y="2072"/>
                        <a:pt x="423" y="2104"/>
                      </a:cubicBezTo>
                      <a:cubicBezTo>
                        <a:pt x="486" y="2206"/>
                        <a:pt x="544" y="2306"/>
                        <a:pt x="556" y="2418"/>
                      </a:cubicBezTo>
                      <a:cubicBezTo>
                        <a:pt x="559" y="2449"/>
                        <a:pt x="557" y="2488"/>
                        <a:pt x="554" y="2525"/>
                      </a:cubicBezTo>
                      <a:cubicBezTo>
                        <a:pt x="551" y="2575"/>
                        <a:pt x="547" y="2626"/>
                        <a:pt x="556" y="2667"/>
                      </a:cubicBezTo>
                      <a:cubicBezTo>
                        <a:pt x="566" y="2710"/>
                        <a:pt x="591" y="2736"/>
                        <a:pt x="616" y="2761"/>
                      </a:cubicBezTo>
                      <a:cubicBezTo>
                        <a:pt x="626" y="2771"/>
                        <a:pt x="636" y="2781"/>
                        <a:pt x="646" y="2793"/>
                      </a:cubicBezTo>
                      <a:cubicBezTo>
                        <a:pt x="627" y="2842"/>
                        <a:pt x="633" y="2903"/>
                        <a:pt x="661" y="2945"/>
                      </a:cubicBezTo>
                      <a:cubicBezTo>
                        <a:pt x="630" y="3000"/>
                        <a:pt x="625" y="3081"/>
                        <a:pt x="661" y="3133"/>
                      </a:cubicBezTo>
                      <a:cubicBezTo>
                        <a:pt x="630" y="3188"/>
                        <a:pt x="628" y="3249"/>
                        <a:pt x="655" y="3300"/>
                      </a:cubicBezTo>
                      <a:cubicBezTo>
                        <a:pt x="686" y="3358"/>
                        <a:pt x="750" y="3393"/>
                        <a:pt x="827" y="3393"/>
                      </a:cubicBezTo>
                      <a:cubicBezTo>
                        <a:pt x="827" y="3393"/>
                        <a:pt x="827" y="3393"/>
                        <a:pt x="827" y="3393"/>
                      </a:cubicBezTo>
                      <a:cubicBezTo>
                        <a:pt x="839" y="3393"/>
                        <a:pt x="852" y="3392"/>
                        <a:pt x="865" y="3390"/>
                      </a:cubicBezTo>
                      <a:cubicBezTo>
                        <a:pt x="865" y="3399"/>
                        <a:pt x="865" y="3407"/>
                        <a:pt x="865" y="3415"/>
                      </a:cubicBezTo>
                      <a:cubicBezTo>
                        <a:pt x="865" y="3463"/>
                        <a:pt x="864" y="3518"/>
                        <a:pt x="915" y="3559"/>
                      </a:cubicBezTo>
                      <a:cubicBezTo>
                        <a:pt x="964" y="3599"/>
                        <a:pt x="1073" y="3602"/>
                        <a:pt x="1105" y="3602"/>
                      </a:cubicBezTo>
                      <a:cubicBezTo>
                        <a:pt x="1215" y="3602"/>
                        <a:pt x="1343" y="3574"/>
                        <a:pt x="1372" y="3497"/>
                      </a:cubicBezTo>
                      <a:cubicBezTo>
                        <a:pt x="1385" y="3462"/>
                        <a:pt x="1382" y="3436"/>
                        <a:pt x="1378" y="3409"/>
                      </a:cubicBezTo>
                      <a:cubicBezTo>
                        <a:pt x="1377" y="3403"/>
                        <a:pt x="1376" y="3398"/>
                        <a:pt x="1376" y="3392"/>
                      </a:cubicBezTo>
                      <a:cubicBezTo>
                        <a:pt x="1389" y="3394"/>
                        <a:pt x="1401" y="3395"/>
                        <a:pt x="1414" y="3395"/>
                      </a:cubicBezTo>
                      <a:cubicBezTo>
                        <a:pt x="1493" y="3395"/>
                        <a:pt x="1561" y="3356"/>
                        <a:pt x="1591" y="3294"/>
                      </a:cubicBezTo>
                      <a:cubicBezTo>
                        <a:pt x="1614" y="3245"/>
                        <a:pt x="1608" y="3189"/>
                        <a:pt x="1577" y="3140"/>
                      </a:cubicBezTo>
                      <a:cubicBezTo>
                        <a:pt x="1598" y="3109"/>
                        <a:pt x="1607" y="3061"/>
                        <a:pt x="1604" y="3021"/>
                      </a:cubicBezTo>
                      <a:cubicBezTo>
                        <a:pt x="1602" y="2991"/>
                        <a:pt x="1593" y="2966"/>
                        <a:pt x="1579" y="2948"/>
                      </a:cubicBezTo>
                      <a:cubicBezTo>
                        <a:pt x="1602" y="2911"/>
                        <a:pt x="1614" y="2849"/>
                        <a:pt x="1598" y="2800"/>
                      </a:cubicBezTo>
                      <a:cubicBezTo>
                        <a:pt x="1610" y="2778"/>
                        <a:pt x="1624" y="2763"/>
                        <a:pt x="1637" y="2748"/>
                      </a:cubicBezTo>
                      <a:cubicBezTo>
                        <a:pt x="1658" y="2724"/>
                        <a:pt x="1679" y="2700"/>
                        <a:pt x="1688" y="2659"/>
                      </a:cubicBezTo>
                      <a:cubicBezTo>
                        <a:pt x="1700" y="2604"/>
                        <a:pt x="1696" y="2554"/>
                        <a:pt x="1691" y="2507"/>
                      </a:cubicBezTo>
                      <a:cubicBezTo>
                        <a:pt x="1688" y="2473"/>
                        <a:pt x="1685" y="2441"/>
                        <a:pt x="1689" y="2409"/>
                      </a:cubicBezTo>
                      <a:cubicBezTo>
                        <a:pt x="1702" y="2292"/>
                        <a:pt x="1766" y="2179"/>
                        <a:pt x="1813" y="2105"/>
                      </a:cubicBezTo>
                      <a:cubicBezTo>
                        <a:pt x="1837" y="2067"/>
                        <a:pt x="1860" y="2031"/>
                        <a:pt x="1883" y="1996"/>
                      </a:cubicBezTo>
                      <a:cubicBezTo>
                        <a:pt x="1972" y="1858"/>
                        <a:pt x="2056" y="1729"/>
                        <a:pt x="2130" y="1547"/>
                      </a:cubicBezTo>
                      <a:cubicBezTo>
                        <a:pt x="2190" y="1399"/>
                        <a:pt x="2252" y="1246"/>
                        <a:pt x="2234" y="1007"/>
                      </a:cubicBezTo>
                      <a:close/>
                      <a:moveTo>
                        <a:pt x="1247" y="3448"/>
                      </a:moveTo>
                      <a:cubicBezTo>
                        <a:pt x="1224" y="3459"/>
                        <a:pt x="1179" y="3466"/>
                        <a:pt x="1127" y="3466"/>
                      </a:cubicBezTo>
                      <a:cubicBezTo>
                        <a:pt x="1078" y="3466"/>
                        <a:pt x="1029" y="3460"/>
                        <a:pt x="1000" y="3451"/>
                      </a:cubicBezTo>
                      <a:cubicBezTo>
                        <a:pt x="996" y="3437"/>
                        <a:pt x="996" y="3408"/>
                        <a:pt x="1001" y="3396"/>
                      </a:cubicBezTo>
                      <a:cubicBezTo>
                        <a:pt x="1022" y="3385"/>
                        <a:pt x="1055" y="3384"/>
                        <a:pt x="1079" y="3384"/>
                      </a:cubicBezTo>
                      <a:cubicBezTo>
                        <a:pt x="1097" y="3384"/>
                        <a:pt x="1118" y="3385"/>
                        <a:pt x="1137" y="3386"/>
                      </a:cubicBezTo>
                      <a:cubicBezTo>
                        <a:pt x="1157" y="3387"/>
                        <a:pt x="1178" y="3388"/>
                        <a:pt x="1198" y="3388"/>
                      </a:cubicBezTo>
                      <a:cubicBezTo>
                        <a:pt x="1211" y="3388"/>
                        <a:pt x="1223" y="3387"/>
                        <a:pt x="1234" y="3386"/>
                      </a:cubicBezTo>
                      <a:cubicBezTo>
                        <a:pt x="1244" y="3392"/>
                        <a:pt x="1248" y="3411"/>
                        <a:pt x="1247" y="3448"/>
                      </a:cubicBezTo>
                      <a:close/>
                      <a:moveTo>
                        <a:pt x="1472" y="3240"/>
                      </a:moveTo>
                      <a:cubicBezTo>
                        <a:pt x="1427" y="3259"/>
                        <a:pt x="1362" y="3262"/>
                        <a:pt x="1308" y="3262"/>
                      </a:cubicBezTo>
                      <a:cubicBezTo>
                        <a:pt x="1278" y="3262"/>
                        <a:pt x="1247" y="3261"/>
                        <a:pt x="1214" y="3260"/>
                      </a:cubicBezTo>
                      <a:cubicBezTo>
                        <a:pt x="1180" y="3259"/>
                        <a:pt x="1145" y="3258"/>
                        <a:pt x="1110" y="3258"/>
                      </a:cubicBezTo>
                      <a:cubicBezTo>
                        <a:pt x="1090" y="3258"/>
                        <a:pt x="1066" y="3259"/>
                        <a:pt x="1037" y="3261"/>
                      </a:cubicBezTo>
                      <a:cubicBezTo>
                        <a:pt x="1001" y="3262"/>
                        <a:pt x="960" y="3264"/>
                        <a:pt x="921" y="3265"/>
                      </a:cubicBezTo>
                      <a:cubicBezTo>
                        <a:pt x="779" y="3265"/>
                        <a:pt x="769" y="3236"/>
                        <a:pt x="769" y="3231"/>
                      </a:cubicBezTo>
                      <a:cubicBezTo>
                        <a:pt x="768" y="3223"/>
                        <a:pt x="770" y="3220"/>
                        <a:pt x="773" y="3217"/>
                      </a:cubicBezTo>
                      <a:cubicBezTo>
                        <a:pt x="783" y="3206"/>
                        <a:pt x="814" y="3193"/>
                        <a:pt x="902" y="3193"/>
                      </a:cubicBezTo>
                      <a:cubicBezTo>
                        <a:pt x="933" y="3193"/>
                        <a:pt x="965" y="3195"/>
                        <a:pt x="996" y="3196"/>
                      </a:cubicBezTo>
                      <a:cubicBezTo>
                        <a:pt x="1022" y="3197"/>
                        <a:pt x="1046" y="3198"/>
                        <a:pt x="1067" y="3198"/>
                      </a:cubicBezTo>
                      <a:cubicBezTo>
                        <a:pt x="1263" y="3198"/>
                        <a:pt x="1263" y="3198"/>
                        <a:pt x="1263" y="3198"/>
                      </a:cubicBezTo>
                      <a:cubicBezTo>
                        <a:pt x="1285" y="3198"/>
                        <a:pt x="1307" y="3198"/>
                        <a:pt x="1328" y="3197"/>
                      </a:cubicBezTo>
                      <a:cubicBezTo>
                        <a:pt x="1349" y="3196"/>
                        <a:pt x="1368" y="3196"/>
                        <a:pt x="1386" y="3196"/>
                      </a:cubicBezTo>
                      <a:cubicBezTo>
                        <a:pt x="1435" y="3196"/>
                        <a:pt x="1465" y="3201"/>
                        <a:pt x="1472" y="3213"/>
                      </a:cubicBezTo>
                      <a:cubicBezTo>
                        <a:pt x="1476" y="3218"/>
                        <a:pt x="1476" y="3227"/>
                        <a:pt x="1472" y="3240"/>
                      </a:cubicBezTo>
                      <a:close/>
                      <a:moveTo>
                        <a:pt x="1473" y="3058"/>
                      </a:moveTo>
                      <a:cubicBezTo>
                        <a:pt x="1420" y="3071"/>
                        <a:pt x="1357" y="3073"/>
                        <a:pt x="1301" y="3073"/>
                      </a:cubicBezTo>
                      <a:cubicBezTo>
                        <a:pt x="1271" y="3073"/>
                        <a:pt x="1240" y="3073"/>
                        <a:pt x="1207" y="3072"/>
                      </a:cubicBezTo>
                      <a:cubicBezTo>
                        <a:pt x="1173" y="3071"/>
                        <a:pt x="1137" y="3071"/>
                        <a:pt x="1101" y="3071"/>
                      </a:cubicBezTo>
                      <a:cubicBezTo>
                        <a:pt x="1083" y="3071"/>
                        <a:pt x="1058" y="3072"/>
                        <a:pt x="1031" y="3073"/>
                      </a:cubicBezTo>
                      <a:cubicBezTo>
                        <a:pt x="995" y="3075"/>
                        <a:pt x="955" y="3078"/>
                        <a:pt x="916" y="3078"/>
                      </a:cubicBezTo>
                      <a:cubicBezTo>
                        <a:pt x="813" y="3078"/>
                        <a:pt x="782" y="3061"/>
                        <a:pt x="773" y="3051"/>
                      </a:cubicBezTo>
                      <a:cubicBezTo>
                        <a:pt x="770" y="3047"/>
                        <a:pt x="768" y="3044"/>
                        <a:pt x="769" y="3038"/>
                      </a:cubicBezTo>
                      <a:cubicBezTo>
                        <a:pt x="769" y="3029"/>
                        <a:pt x="784" y="3006"/>
                        <a:pt x="905" y="3006"/>
                      </a:cubicBezTo>
                      <a:cubicBezTo>
                        <a:pt x="937" y="3006"/>
                        <a:pt x="969" y="3007"/>
                        <a:pt x="1000" y="3009"/>
                      </a:cubicBezTo>
                      <a:cubicBezTo>
                        <a:pt x="1028" y="3010"/>
                        <a:pt x="1054" y="3011"/>
                        <a:pt x="1075" y="3011"/>
                      </a:cubicBezTo>
                      <a:cubicBezTo>
                        <a:pt x="1263" y="3011"/>
                        <a:pt x="1263" y="3011"/>
                        <a:pt x="1263" y="3011"/>
                      </a:cubicBezTo>
                      <a:cubicBezTo>
                        <a:pt x="1285" y="3011"/>
                        <a:pt x="1308" y="3010"/>
                        <a:pt x="1329" y="3010"/>
                      </a:cubicBezTo>
                      <a:cubicBezTo>
                        <a:pt x="1349" y="3009"/>
                        <a:pt x="1368" y="3008"/>
                        <a:pt x="1386" y="3008"/>
                      </a:cubicBezTo>
                      <a:cubicBezTo>
                        <a:pt x="1404" y="3008"/>
                        <a:pt x="1460" y="3008"/>
                        <a:pt x="1473" y="3026"/>
                      </a:cubicBezTo>
                      <a:cubicBezTo>
                        <a:pt x="1477" y="3032"/>
                        <a:pt x="1477" y="3043"/>
                        <a:pt x="1473" y="3058"/>
                      </a:cubicBezTo>
                      <a:close/>
                      <a:moveTo>
                        <a:pt x="1476" y="2866"/>
                      </a:moveTo>
                      <a:cubicBezTo>
                        <a:pt x="1465" y="2880"/>
                        <a:pt x="1444" y="2886"/>
                        <a:pt x="1407" y="2886"/>
                      </a:cubicBezTo>
                      <a:cubicBezTo>
                        <a:pt x="1394" y="2886"/>
                        <a:pt x="1381" y="2885"/>
                        <a:pt x="1367" y="2885"/>
                      </a:cubicBezTo>
                      <a:cubicBezTo>
                        <a:pt x="1353" y="2884"/>
                        <a:pt x="1338" y="2883"/>
                        <a:pt x="1323" y="2883"/>
                      </a:cubicBezTo>
                      <a:cubicBezTo>
                        <a:pt x="1110" y="2883"/>
                        <a:pt x="1110" y="2883"/>
                        <a:pt x="1110" y="2883"/>
                      </a:cubicBezTo>
                      <a:cubicBezTo>
                        <a:pt x="1090" y="2883"/>
                        <a:pt x="1065" y="2885"/>
                        <a:pt x="1036" y="2886"/>
                      </a:cubicBezTo>
                      <a:cubicBezTo>
                        <a:pt x="999" y="2888"/>
                        <a:pt x="958" y="2890"/>
                        <a:pt x="918" y="2890"/>
                      </a:cubicBezTo>
                      <a:cubicBezTo>
                        <a:pt x="819" y="2890"/>
                        <a:pt x="784" y="2876"/>
                        <a:pt x="773" y="2864"/>
                      </a:cubicBezTo>
                      <a:cubicBezTo>
                        <a:pt x="770" y="2860"/>
                        <a:pt x="768" y="2856"/>
                        <a:pt x="769" y="2851"/>
                      </a:cubicBezTo>
                      <a:cubicBezTo>
                        <a:pt x="770" y="2829"/>
                        <a:pt x="816" y="2817"/>
                        <a:pt x="895" y="2817"/>
                      </a:cubicBezTo>
                      <a:cubicBezTo>
                        <a:pt x="929" y="2817"/>
                        <a:pt x="965" y="2819"/>
                        <a:pt x="997" y="2821"/>
                      </a:cubicBezTo>
                      <a:cubicBezTo>
                        <a:pt x="1023" y="2822"/>
                        <a:pt x="1048" y="2824"/>
                        <a:pt x="1067" y="2824"/>
                      </a:cubicBezTo>
                      <a:cubicBezTo>
                        <a:pt x="1110" y="2824"/>
                        <a:pt x="1151" y="2823"/>
                        <a:pt x="1189" y="2823"/>
                      </a:cubicBezTo>
                      <a:cubicBezTo>
                        <a:pt x="1223" y="2823"/>
                        <a:pt x="1256" y="2822"/>
                        <a:pt x="1286" y="2822"/>
                      </a:cubicBezTo>
                      <a:cubicBezTo>
                        <a:pt x="1350" y="2822"/>
                        <a:pt x="1416" y="2823"/>
                        <a:pt x="1468" y="2831"/>
                      </a:cubicBezTo>
                      <a:cubicBezTo>
                        <a:pt x="1476" y="2836"/>
                        <a:pt x="1477" y="2853"/>
                        <a:pt x="1476" y="2866"/>
                      </a:cubicBezTo>
                      <a:close/>
                      <a:moveTo>
                        <a:pt x="1516" y="1491"/>
                      </a:moveTo>
                      <a:cubicBezTo>
                        <a:pt x="1478" y="1600"/>
                        <a:pt x="1441" y="1720"/>
                        <a:pt x="1406" y="1835"/>
                      </a:cubicBezTo>
                      <a:cubicBezTo>
                        <a:pt x="1381" y="1916"/>
                        <a:pt x="1355" y="2001"/>
                        <a:pt x="1329" y="2078"/>
                      </a:cubicBezTo>
                      <a:cubicBezTo>
                        <a:pt x="1326" y="2088"/>
                        <a:pt x="1323" y="2099"/>
                        <a:pt x="1319" y="2110"/>
                      </a:cubicBezTo>
                      <a:cubicBezTo>
                        <a:pt x="1301" y="2171"/>
                        <a:pt x="1279" y="2247"/>
                        <a:pt x="1219" y="2265"/>
                      </a:cubicBezTo>
                      <a:cubicBezTo>
                        <a:pt x="1216" y="2266"/>
                        <a:pt x="1214" y="2266"/>
                        <a:pt x="1211" y="2266"/>
                      </a:cubicBezTo>
                      <a:cubicBezTo>
                        <a:pt x="1205" y="2266"/>
                        <a:pt x="1200" y="2264"/>
                        <a:pt x="1195" y="2261"/>
                      </a:cubicBezTo>
                      <a:cubicBezTo>
                        <a:pt x="1189" y="2255"/>
                        <a:pt x="1185" y="2247"/>
                        <a:pt x="1186" y="2239"/>
                      </a:cubicBezTo>
                      <a:cubicBezTo>
                        <a:pt x="1193" y="2153"/>
                        <a:pt x="1222" y="2069"/>
                        <a:pt x="1251" y="1987"/>
                      </a:cubicBezTo>
                      <a:cubicBezTo>
                        <a:pt x="1261" y="1958"/>
                        <a:pt x="1271" y="1929"/>
                        <a:pt x="1280" y="1901"/>
                      </a:cubicBezTo>
                      <a:cubicBezTo>
                        <a:pt x="1297" y="1848"/>
                        <a:pt x="1314" y="1796"/>
                        <a:pt x="1331" y="1745"/>
                      </a:cubicBezTo>
                      <a:cubicBezTo>
                        <a:pt x="1345" y="1702"/>
                        <a:pt x="1360" y="1659"/>
                        <a:pt x="1374" y="1615"/>
                      </a:cubicBezTo>
                      <a:cubicBezTo>
                        <a:pt x="1365" y="1617"/>
                        <a:pt x="1355" y="1618"/>
                        <a:pt x="1345" y="1618"/>
                      </a:cubicBezTo>
                      <a:cubicBezTo>
                        <a:pt x="1322" y="1618"/>
                        <a:pt x="1299" y="1613"/>
                        <a:pt x="1277" y="1609"/>
                      </a:cubicBezTo>
                      <a:cubicBezTo>
                        <a:pt x="1254" y="1605"/>
                        <a:pt x="1232" y="1601"/>
                        <a:pt x="1213" y="1602"/>
                      </a:cubicBezTo>
                      <a:cubicBezTo>
                        <a:pt x="1201" y="1602"/>
                        <a:pt x="1189" y="1607"/>
                        <a:pt x="1176" y="1613"/>
                      </a:cubicBezTo>
                      <a:cubicBezTo>
                        <a:pt x="1159" y="1620"/>
                        <a:pt x="1140" y="1628"/>
                        <a:pt x="1116" y="1627"/>
                      </a:cubicBezTo>
                      <a:cubicBezTo>
                        <a:pt x="1094" y="1626"/>
                        <a:pt x="1073" y="1616"/>
                        <a:pt x="1055" y="1608"/>
                      </a:cubicBezTo>
                      <a:cubicBezTo>
                        <a:pt x="1041" y="1600"/>
                        <a:pt x="1026" y="1593"/>
                        <a:pt x="1015" y="1593"/>
                      </a:cubicBezTo>
                      <a:cubicBezTo>
                        <a:pt x="1015" y="1593"/>
                        <a:pt x="1015" y="1593"/>
                        <a:pt x="1015" y="1593"/>
                      </a:cubicBezTo>
                      <a:cubicBezTo>
                        <a:pt x="1004" y="1593"/>
                        <a:pt x="991" y="1599"/>
                        <a:pt x="977" y="1604"/>
                      </a:cubicBezTo>
                      <a:cubicBezTo>
                        <a:pt x="961" y="1610"/>
                        <a:pt x="942" y="1618"/>
                        <a:pt x="923" y="1619"/>
                      </a:cubicBezTo>
                      <a:cubicBezTo>
                        <a:pt x="898" y="1620"/>
                        <a:pt x="880" y="1617"/>
                        <a:pt x="863" y="1614"/>
                      </a:cubicBezTo>
                      <a:cubicBezTo>
                        <a:pt x="861" y="1614"/>
                        <a:pt x="858" y="1614"/>
                        <a:pt x="856" y="1613"/>
                      </a:cubicBezTo>
                      <a:cubicBezTo>
                        <a:pt x="872" y="1662"/>
                        <a:pt x="887" y="1712"/>
                        <a:pt x="901" y="1761"/>
                      </a:cubicBezTo>
                      <a:cubicBezTo>
                        <a:pt x="915" y="1810"/>
                        <a:pt x="930" y="1861"/>
                        <a:pt x="946" y="1909"/>
                      </a:cubicBezTo>
                      <a:cubicBezTo>
                        <a:pt x="956" y="1939"/>
                        <a:pt x="968" y="1969"/>
                        <a:pt x="979" y="1998"/>
                      </a:cubicBezTo>
                      <a:cubicBezTo>
                        <a:pt x="1010" y="2076"/>
                        <a:pt x="1041" y="2155"/>
                        <a:pt x="1041" y="2241"/>
                      </a:cubicBezTo>
                      <a:cubicBezTo>
                        <a:pt x="1041" y="2249"/>
                        <a:pt x="1036" y="2257"/>
                        <a:pt x="1029" y="2262"/>
                      </a:cubicBezTo>
                      <a:cubicBezTo>
                        <a:pt x="1022" y="2267"/>
                        <a:pt x="1013" y="2268"/>
                        <a:pt x="1005" y="2264"/>
                      </a:cubicBezTo>
                      <a:cubicBezTo>
                        <a:pt x="945" y="2239"/>
                        <a:pt x="930" y="2174"/>
                        <a:pt x="917" y="2121"/>
                      </a:cubicBezTo>
                      <a:cubicBezTo>
                        <a:pt x="913" y="2106"/>
                        <a:pt x="910" y="2091"/>
                        <a:pt x="906" y="2078"/>
                      </a:cubicBezTo>
                      <a:cubicBezTo>
                        <a:pt x="883" y="2012"/>
                        <a:pt x="862" y="1944"/>
                        <a:pt x="841" y="1880"/>
                      </a:cubicBezTo>
                      <a:cubicBezTo>
                        <a:pt x="821" y="1816"/>
                        <a:pt x="800" y="1751"/>
                        <a:pt x="778" y="1687"/>
                      </a:cubicBezTo>
                      <a:cubicBezTo>
                        <a:pt x="773" y="1671"/>
                        <a:pt x="767" y="1656"/>
                        <a:pt x="760" y="1639"/>
                      </a:cubicBezTo>
                      <a:cubicBezTo>
                        <a:pt x="739" y="1588"/>
                        <a:pt x="718" y="1534"/>
                        <a:pt x="726" y="1479"/>
                      </a:cubicBezTo>
                      <a:cubicBezTo>
                        <a:pt x="727" y="1471"/>
                        <a:pt x="732" y="1463"/>
                        <a:pt x="740" y="1460"/>
                      </a:cubicBezTo>
                      <a:cubicBezTo>
                        <a:pt x="747" y="1456"/>
                        <a:pt x="756" y="1456"/>
                        <a:pt x="763" y="1460"/>
                      </a:cubicBezTo>
                      <a:cubicBezTo>
                        <a:pt x="773" y="1465"/>
                        <a:pt x="783" y="1471"/>
                        <a:pt x="793" y="1477"/>
                      </a:cubicBezTo>
                      <a:cubicBezTo>
                        <a:pt x="830" y="1499"/>
                        <a:pt x="872" y="1524"/>
                        <a:pt x="914" y="1524"/>
                      </a:cubicBezTo>
                      <a:cubicBezTo>
                        <a:pt x="929" y="1524"/>
                        <a:pt x="943" y="1521"/>
                        <a:pt x="957" y="1515"/>
                      </a:cubicBezTo>
                      <a:cubicBezTo>
                        <a:pt x="942" y="1471"/>
                        <a:pt x="946" y="1419"/>
                        <a:pt x="968" y="1382"/>
                      </a:cubicBezTo>
                      <a:cubicBezTo>
                        <a:pt x="990" y="1345"/>
                        <a:pt x="1027" y="1328"/>
                        <a:pt x="1065" y="1339"/>
                      </a:cubicBezTo>
                      <a:cubicBezTo>
                        <a:pt x="1090" y="1346"/>
                        <a:pt x="1108" y="1364"/>
                        <a:pt x="1117" y="1391"/>
                      </a:cubicBezTo>
                      <a:cubicBezTo>
                        <a:pt x="1130" y="1430"/>
                        <a:pt x="1123" y="1483"/>
                        <a:pt x="1106" y="1523"/>
                      </a:cubicBezTo>
                      <a:cubicBezTo>
                        <a:pt x="1120" y="1525"/>
                        <a:pt x="1137" y="1526"/>
                        <a:pt x="1150" y="1525"/>
                      </a:cubicBezTo>
                      <a:cubicBezTo>
                        <a:pt x="1137" y="1496"/>
                        <a:pt x="1123" y="1463"/>
                        <a:pt x="1135" y="1417"/>
                      </a:cubicBezTo>
                      <a:cubicBezTo>
                        <a:pt x="1147" y="1369"/>
                        <a:pt x="1178" y="1340"/>
                        <a:pt x="1217" y="1340"/>
                      </a:cubicBezTo>
                      <a:cubicBezTo>
                        <a:pt x="1262" y="1340"/>
                        <a:pt x="1312" y="1384"/>
                        <a:pt x="1313" y="1456"/>
                      </a:cubicBezTo>
                      <a:cubicBezTo>
                        <a:pt x="1314" y="1481"/>
                        <a:pt x="1306" y="1499"/>
                        <a:pt x="1298" y="1516"/>
                      </a:cubicBezTo>
                      <a:cubicBezTo>
                        <a:pt x="1297" y="1519"/>
                        <a:pt x="1296" y="1522"/>
                        <a:pt x="1294" y="1525"/>
                      </a:cubicBezTo>
                      <a:cubicBezTo>
                        <a:pt x="1299" y="1526"/>
                        <a:pt x="1304" y="1526"/>
                        <a:pt x="1309" y="1526"/>
                      </a:cubicBezTo>
                      <a:cubicBezTo>
                        <a:pt x="1341" y="1526"/>
                        <a:pt x="1371" y="1508"/>
                        <a:pt x="1400" y="1491"/>
                      </a:cubicBezTo>
                      <a:cubicBezTo>
                        <a:pt x="1429" y="1473"/>
                        <a:pt x="1456" y="1457"/>
                        <a:pt x="1488" y="1457"/>
                      </a:cubicBezTo>
                      <a:cubicBezTo>
                        <a:pt x="1490" y="1457"/>
                        <a:pt x="1492" y="1457"/>
                        <a:pt x="1494" y="1457"/>
                      </a:cubicBezTo>
                      <a:cubicBezTo>
                        <a:pt x="1502" y="1458"/>
                        <a:pt x="1509" y="1462"/>
                        <a:pt x="1514" y="1469"/>
                      </a:cubicBezTo>
                      <a:cubicBezTo>
                        <a:pt x="1518" y="1475"/>
                        <a:pt x="1519" y="1484"/>
                        <a:pt x="1516" y="1491"/>
                      </a:cubicBezTo>
                      <a:close/>
                    </a:path>
                  </a:pathLst>
                </a:custGeom>
                <a:solidFill>
                  <a:schemeClr val="accent2"/>
                </a:solidFill>
                <a:ln>
                  <a:noFill/>
                </a:ln>
              </p:spPr>
              <p:txBody>
                <a:bodyPr vert="horz" wrap="square" lIns="91440" tIns="45720" rIns="91440" bIns="45720" numCol="1" anchor="t" anchorCtr="0" compatLnSpc="1">
                  <a:prstTxWarp prst="textNoShape">
                    <a:avLst/>
                  </a:prstTxWarp>
                  <a:noAutofit/>
                </a:bodyPr>
                <a:lstStyle/>
                <a:p>
                  <a:endParaRPr lang="en-US"/>
                </a:p>
              </p:txBody>
            </p:sp>
          </p:grpSp>
          <p:grpSp>
            <p:nvGrpSpPr>
              <p:cNvPr id="163" name="Group 162">
                <a:extLst>
                  <a:ext uri="{FF2B5EF4-FFF2-40B4-BE49-F238E27FC236}">
                    <a16:creationId xmlns:a16="http://schemas.microsoft.com/office/drawing/2014/main" id="{00393084-6729-4542-A0C5-0DBD90FA367B}"/>
                  </a:ext>
                </a:extLst>
              </p:cNvPr>
              <p:cNvGrpSpPr/>
              <p:nvPr/>
            </p:nvGrpSpPr>
            <p:grpSpPr>
              <a:xfrm>
                <a:off x="7046470" y="2828002"/>
                <a:ext cx="261463" cy="418720"/>
                <a:chOff x="3259156" y="1113563"/>
                <a:chExt cx="666571" cy="1067480"/>
              </a:xfrm>
            </p:grpSpPr>
            <p:sp>
              <p:nvSpPr>
                <p:cNvPr id="188" name="Rounded Rectangle 170">
                  <a:extLst>
                    <a:ext uri="{FF2B5EF4-FFF2-40B4-BE49-F238E27FC236}">
                      <a16:creationId xmlns:a16="http://schemas.microsoft.com/office/drawing/2014/main" id="{69A18F80-2E0B-44D8-8B68-45774058B003}"/>
                    </a:ext>
                  </a:extLst>
                </p:cNvPr>
                <p:cNvSpPr>
                  <a:spLocks/>
                </p:cNvSpPr>
                <p:nvPr>
                  <p:custDataLst>
                    <p:tags r:id="rId9"/>
                  </p:custDataLst>
                </p:nvPr>
              </p:nvSpPr>
              <p:spPr bwMode="gray">
                <a:xfrm>
                  <a:off x="3485922" y="1333534"/>
                  <a:ext cx="221826" cy="794764"/>
                </a:xfrm>
                <a:prstGeom prst="roundRect">
                  <a:avLst/>
                </a:prstGeom>
                <a:solidFill>
                  <a:schemeClr val="bg2"/>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b="0" dirty="0" err="1">
                    <a:solidFill>
                      <a:srgbClr val="000000"/>
                    </a:solidFill>
                  </a:endParaRPr>
                </a:p>
              </p:txBody>
            </p:sp>
            <p:sp>
              <p:nvSpPr>
                <p:cNvPr id="189" name="Freeform 149">
                  <a:extLst>
                    <a:ext uri="{FF2B5EF4-FFF2-40B4-BE49-F238E27FC236}">
                      <a16:creationId xmlns:a16="http://schemas.microsoft.com/office/drawing/2014/main" id="{996EE31F-022B-45FD-90AA-5075D1F075AB}"/>
                    </a:ext>
                  </a:extLst>
                </p:cNvPr>
                <p:cNvSpPr>
                  <a:spLocks noChangeAspect="1" noEditPoints="1"/>
                </p:cNvSpPr>
                <p:nvPr/>
              </p:nvSpPr>
              <p:spPr bwMode="gray">
                <a:xfrm>
                  <a:off x="3259156" y="1113563"/>
                  <a:ext cx="666571" cy="1067480"/>
                </a:xfrm>
                <a:custGeom>
                  <a:avLst/>
                  <a:gdLst>
                    <a:gd name="T0" fmla="*/ 1222 w 2252"/>
                    <a:gd name="T1" fmla="*/ 4 h 3602"/>
                    <a:gd name="T2" fmla="*/ 2 w 2252"/>
                    <a:gd name="T3" fmla="*/ 1112 h 3602"/>
                    <a:gd name="T4" fmla="*/ 423 w 2252"/>
                    <a:gd name="T5" fmla="*/ 2104 h 3602"/>
                    <a:gd name="T6" fmla="*/ 556 w 2252"/>
                    <a:gd name="T7" fmla="*/ 2667 h 3602"/>
                    <a:gd name="T8" fmla="*/ 661 w 2252"/>
                    <a:gd name="T9" fmla="*/ 2945 h 3602"/>
                    <a:gd name="T10" fmla="*/ 827 w 2252"/>
                    <a:gd name="T11" fmla="*/ 3393 h 3602"/>
                    <a:gd name="T12" fmla="*/ 865 w 2252"/>
                    <a:gd name="T13" fmla="*/ 3415 h 3602"/>
                    <a:gd name="T14" fmla="*/ 1372 w 2252"/>
                    <a:gd name="T15" fmla="*/ 3497 h 3602"/>
                    <a:gd name="T16" fmla="*/ 1414 w 2252"/>
                    <a:gd name="T17" fmla="*/ 3395 h 3602"/>
                    <a:gd name="T18" fmla="*/ 1604 w 2252"/>
                    <a:gd name="T19" fmla="*/ 3021 h 3602"/>
                    <a:gd name="T20" fmla="*/ 1637 w 2252"/>
                    <a:gd name="T21" fmla="*/ 2748 h 3602"/>
                    <a:gd name="T22" fmla="*/ 1689 w 2252"/>
                    <a:gd name="T23" fmla="*/ 2409 h 3602"/>
                    <a:gd name="T24" fmla="*/ 2130 w 2252"/>
                    <a:gd name="T25" fmla="*/ 1547 h 3602"/>
                    <a:gd name="T26" fmla="*/ 1127 w 2252"/>
                    <a:gd name="T27" fmla="*/ 3466 h 3602"/>
                    <a:gd name="T28" fmla="*/ 1079 w 2252"/>
                    <a:gd name="T29" fmla="*/ 3384 h 3602"/>
                    <a:gd name="T30" fmla="*/ 1234 w 2252"/>
                    <a:gd name="T31" fmla="*/ 3386 h 3602"/>
                    <a:gd name="T32" fmla="*/ 1308 w 2252"/>
                    <a:gd name="T33" fmla="*/ 3262 h 3602"/>
                    <a:gd name="T34" fmla="*/ 1037 w 2252"/>
                    <a:gd name="T35" fmla="*/ 3261 h 3602"/>
                    <a:gd name="T36" fmla="*/ 773 w 2252"/>
                    <a:gd name="T37" fmla="*/ 3217 h 3602"/>
                    <a:gd name="T38" fmla="*/ 1067 w 2252"/>
                    <a:gd name="T39" fmla="*/ 3198 h 3602"/>
                    <a:gd name="T40" fmla="*/ 1386 w 2252"/>
                    <a:gd name="T41" fmla="*/ 3196 h 3602"/>
                    <a:gd name="T42" fmla="*/ 1473 w 2252"/>
                    <a:gd name="T43" fmla="*/ 3058 h 3602"/>
                    <a:gd name="T44" fmla="*/ 1101 w 2252"/>
                    <a:gd name="T45" fmla="*/ 3071 h 3602"/>
                    <a:gd name="T46" fmla="*/ 773 w 2252"/>
                    <a:gd name="T47" fmla="*/ 3051 h 3602"/>
                    <a:gd name="T48" fmla="*/ 1000 w 2252"/>
                    <a:gd name="T49" fmla="*/ 3009 h 3602"/>
                    <a:gd name="T50" fmla="*/ 1329 w 2252"/>
                    <a:gd name="T51" fmla="*/ 3010 h 3602"/>
                    <a:gd name="T52" fmla="*/ 1473 w 2252"/>
                    <a:gd name="T53" fmla="*/ 3058 h 3602"/>
                    <a:gd name="T54" fmla="*/ 1367 w 2252"/>
                    <a:gd name="T55" fmla="*/ 2885 h 3602"/>
                    <a:gd name="T56" fmla="*/ 1036 w 2252"/>
                    <a:gd name="T57" fmla="*/ 2886 h 3602"/>
                    <a:gd name="T58" fmla="*/ 769 w 2252"/>
                    <a:gd name="T59" fmla="*/ 2851 h 3602"/>
                    <a:gd name="T60" fmla="*/ 1067 w 2252"/>
                    <a:gd name="T61" fmla="*/ 2824 h 3602"/>
                    <a:gd name="T62" fmla="*/ 1468 w 2252"/>
                    <a:gd name="T63" fmla="*/ 2831 h 3602"/>
                    <a:gd name="T64" fmla="*/ 1406 w 2252"/>
                    <a:gd name="T65" fmla="*/ 1835 h 3602"/>
                    <a:gd name="T66" fmla="*/ 1219 w 2252"/>
                    <a:gd name="T67" fmla="*/ 2265 h 3602"/>
                    <a:gd name="T68" fmla="*/ 1186 w 2252"/>
                    <a:gd name="T69" fmla="*/ 2239 h 3602"/>
                    <a:gd name="T70" fmla="*/ 1331 w 2252"/>
                    <a:gd name="T71" fmla="*/ 1745 h 3602"/>
                    <a:gd name="T72" fmla="*/ 1277 w 2252"/>
                    <a:gd name="T73" fmla="*/ 1609 h 3602"/>
                    <a:gd name="T74" fmla="*/ 1116 w 2252"/>
                    <a:gd name="T75" fmla="*/ 1627 h 3602"/>
                    <a:gd name="T76" fmla="*/ 1015 w 2252"/>
                    <a:gd name="T77" fmla="*/ 1593 h 3602"/>
                    <a:gd name="T78" fmla="*/ 863 w 2252"/>
                    <a:gd name="T79" fmla="*/ 1614 h 3602"/>
                    <a:gd name="T80" fmla="*/ 946 w 2252"/>
                    <a:gd name="T81" fmla="*/ 1909 h 3602"/>
                    <a:gd name="T82" fmla="*/ 1029 w 2252"/>
                    <a:gd name="T83" fmla="*/ 2262 h 3602"/>
                    <a:gd name="T84" fmla="*/ 906 w 2252"/>
                    <a:gd name="T85" fmla="*/ 2078 h 3602"/>
                    <a:gd name="T86" fmla="*/ 760 w 2252"/>
                    <a:gd name="T87" fmla="*/ 1639 h 3602"/>
                    <a:gd name="T88" fmla="*/ 763 w 2252"/>
                    <a:gd name="T89" fmla="*/ 1460 h 3602"/>
                    <a:gd name="T90" fmla="*/ 957 w 2252"/>
                    <a:gd name="T91" fmla="*/ 1515 h 3602"/>
                    <a:gd name="T92" fmla="*/ 1117 w 2252"/>
                    <a:gd name="T93" fmla="*/ 1391 h 3602"/>
                    <a:gd name="T94" fmla="*/ 1135 w 2252"/>
                    <a:gd name="T95" fmla="*/ 1417 h 3602"/>
                    <a:gd name="T96" fmla="*/ 1298 w 2252"/>
                    <a:gd name="T97" fmla="*/ 1516 h 3602"/>
                    <a:gd name="T98" fmla="*/ 1400 w 2252"/>
                    <a:gd name="T99" fmla="*/ 1491 h 3602"/>
                    <a:gd name="T100" fmla="*/ 1514 w 2252"/>
                    <a:gd name="T101" fmla="*/ 1469 h 36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252" h="3602">
                      <a:moveTo>
                        <a:pt x="2234" y="1007"/>
                      </a:moveTo>
                      <a:cubicBezTo>
                        <a:pt x="2215" y="755"/>
                        <a:pt x="2099" y="512"/>
                        <a:pt x="1907" y="324"/>
                      </a:cubicBezTo>
                      <a:cubicBezTo>
                        <a:pt x="1718" y="138"/>
                        <a:pt x="1475" y="25"/>
                        <a:pt x="1222" y="4"/>
                      </a:cubicBezTo>
                      <a:cubicBezTo>
                        <a:pt x="1187" y="1"/>
                        <a:pt x="1152" y="0"/>
                        <a:pt x="1117" y="0"/>
                      </a:cubicBezTo>
                      <a:cubicBezTo>
                        <a:pt x="808" y="0"/>
                        <a:pt x="538" y="118"/>
                        <a:pt x="316" y="353"/>
                      </a:cubicBezTo>
                      <a:cubicBezTo>
                        <a:pt x="108" y="571"/>
                        <a:pt x="0" y="834"/>
                        <a:pt x="2" y="1112"/>
                      </a:cubicBezTo>
                      <a:cubicBezTo>
                        <a:pt x="4" y="1373"/>
                        <a:pt x="141" y="1638"/>
                        <a:pt x="244" y="1814"/>
                      </a:cubicBezTo>
                      <a:cubicBezTo>
                        <a:pt x="280" y="1876"/>
                        <a:pt x="320" y="1940"/>
                        <a:pt x="363" y="2008"/>
                      </a:cubicBezTo>
                      <a:cubicBezTo>
                        <a:pt x="383" y="2040"/>
                        <a:pt x="403" y="2072"/>
                        <a:pt x="423" y="2104"/>
                      </a:cubicBezTo>
                      <a:cubicBezTo>
                        <a:pt x="486" y="2206"/>
                        <a:pt x="544" y="2306"/>
                        <a:pt x="556" y="2418"/>
                      </a:cubicBezTo>
                      <a:cubicBezTo>
                        <a:pt x="559" y="2449"/>
                        <a:pt x="557" y="2488"/>
                        <a:pt x="554" y="2525"/>
                      </a:cubicBezTo>
                      <a:cubicBezTo>
                        <a:pt x="551" y="2575"/>
                        <a:pt x="547" y="2626"/>
                        <a:pt x="556" y="2667"/>
                      </a:cubicBezTo>
                      <a:cubicBezTo>
                        <a:pt x="566" y="2710"/>
                        <a:pt x="591" y="2736"/>
                        <a:pt x="616" y="2761"/>
                      </a:cubicBezTo>
                      <a:cubicBezTo>
                        <a:pt x="626" y="2771"/>
                        <a:pt x="636" y="2781"/>
                        <a:pt x="646" y="2793"/>
                      </a:cubicBezTo>
                      <a:cubicBezTo>
                        <a:pt x="627" y="2842"/>
                        <a:pt x="633" y="2903"/>
                        <a:pt x="661" y="2945"/>
                      </a:cubicBezTo>
                      <a:cubicBezTo>
                        <a:pt x="630" y="3000"/>
                        <a:pt x="625" y="3081"/>
                        <a:pt x="661" y="3133"/>
                      </a:cubicBezTo>
                      <a:cubicBezTo>
                        <a:pt x="630" y="3188"/>
                        <a:pt x="628" y="3249"/>
                        <a:pt x="655" y="3300"/>
                      </a:cubicBezTo>
                      <a:cubicBezTo>
                        <a:pt x="686" y="3358"/>
                        <a:pt x="750" y="3393"/>
                        <a:pt x="827" y="3393"/>
                      </a:cubicBezTo>
                      <a:cubicBezTo>
                        <a:pt x="827" y="3393"/>
                        <a:pt x="827" y="3393"/>
                        <a:pt x="827" y="3393"/>
                      </a:cubicBezTo>
                      <a:cubicBezTo>
                        <a:pt x="839" y="3393"/>
                        <a:pt x="852" y="3392"/>
                        <a:pt x="865" y="3390"/>
                      </a:cubicBezTo>
                      <a:cubicBezTo>
                        <a:pt x="865" y="3399"/>
                        <a:pt x="865" y="3407"/>
                        <a:pt x="865" y="3415"/>
                      </a:cubicBezTo>
                      <a:cubicBezTo>
                        <a:pt x="865" y="3463"/>
                        <a:pt x="864" y="3518"/>
                        <a:pt x="915" y="3559"/>
                      </a:cubicBezTo>
                      <a:cubicBezTo>
                        <a:pt x="964" y="3599"/>
                        <a:pt x="1073" y="3602"/>
                        <a:pt x="1105" y="3602"/>
                      </a:cubicBezTo>
                      <a:cubicBezTo>
                        <a:pt x="1215" y="3602"/>
                        <a:pt x="1343" y="3574"/>
                        <a:pt x="1372" y="3497"/>
                      </a:cubicBezTo>
                      <a:cubicBezTo>
                        <a:pt x="1385" y="3462"/>
                        <a:pt x="1382" y="3436"/>
                        <a:pt x="1378" y="3409"/>
                      </a:cubicBezTo>
                      <a:cubicBezTo>
                        <a:pt x="1377" y="3403"/>
                        <a:pt x="1376" y="3398"/>
                        <a:pt x="1376" y="3392"/>
                      </a:cubicBezTo>
                      <a:cubicBezTo>
                        <a:pt x="1389" y="3394"/>
                        <a:pt x="1401" y="3395"/>
                        <a:pt x="1414" y="3395"/>
                      </a:cubicBezTo>
                      <a:cubicBezTo>
                        <a:pt x="1493" y="3395"/>
                        <a:pt x="1561" y="3356"/>
                        <a:pt x="1591" y="3294"/>
                      </a:cubicBezTo>
                      <a:cubicBezTo>
                        <a:pt x="1614" y="3245"/>
                        <a:pt x="1608" y="3189"/>
                        <a:pt x="1577" y="3140"/>
                      </a:cubicBezTo>
                      <a:cubicBezTo>
                        <a:pt x="1598" y="3109"/>
                        <a:pt x="1607" y="3061"/>
                        <a:pt x="1604" y="3021"/>
                      </a:cubicBezTo>
                      <a:cubicBezTo>
                        <a:pt x="1602" y="2991"/>
                        <a:pt x="1593" y="2966"/>
                        <a:pt x="1579" y="2948"/>
                      </a:cubicBezTo>
                      <a:cubicBezTo>
                        <a:pt x="1602" y="2911"/>
                        <a:pt x="1614" y="2849"/>
                        <a:pt x="1598" y="2800"/>
                      </a:cubicBezTo>
                      <a:cubicBezTo>
                        <a:pt x="1610" y="2778"/>
                        <a:pt x="1624" y="2763"/>
                        <a:pt x="1637" y="2748"/>
                      </a:cubicBezTo>
                      <a:cubicBezTo>
                        <a:pt x="1658" y="2724"/>
                        <a:pt x="1679" y="2700"/>
                        <a:pt x="1688" y="2659"/>
                      </a:cubicBezTo>
                      <a:cubicBezTo>
                        <a:pt x="1700" y="2604"/>
                        <a:pt x="1696" y="2554"/>
                        <a:pt x="1691" y="2507"/>
                      </a:cubicBezTo>
                      <a:cubicBezTo>
                        <a:pt x="1688" y="2473"/>
                        <a:pt x="1685" y="2441"/>
                        <a:pt x="1689" y="2409"/>
                      </a:cubicBezTo>
                      <a:cubicBezTo>
                        <a:pt x="1702" y="2292"/>
                        <a:pt x="1766" y="2179"/>
                        <a:pt x="1813" y="2105"/>
                      </a:cubicBezTo>
                      <a:cubicBezTo>
                        <a:pt x="1837" y="2067"/>
                        <a:pt x="1860" y="2031"/>
                        <a:pt x="1883" y="1996"/>
                      </a:cubicBezTo>
                      <a:cubicBezTo>
                        <a:pt x="1972" y="1858"/>
                        <a:pt x="2056" y="1729"/>
                        <a:pt x="2130" y="1547"/>
                      </a:cubicBezTo>
                      <a:cubicBezTo>
                        <a:pt x="2190" y="1399"/>
                        <a:pt x="2252" y="1246"/>
                        <a:pt x="2234" y="1007"/>
                      </a:cubicBezTo>
                      <a:close/>
                      <a:moveTo>
                        <a:pt x="1247" y="3448"/>
                      </a:moveTo>
                      <a:cubicBezTo>
                        <a:pt x="1224" y="3459"/>
                        <a:pt x="1179" y="3466"/>
                        <a:pt x="1127" y="3466"/>
                      </a:cubicBezTo>
                      <a:cubicBezTo>
                        <a:pt x="1078" y="3466"/>
                        <a:pt x="1029" y="3460"/>
                        <a:pt x="1000" y="3451"/>
                      </a:cubicBezTo>
                      <a:cubicBezTo>
                        <a:pt x="996" y="3437"/>
                        <a:pt x="996" y="3408"/>
                        <a:pt x="1001" y="3396"/>
                      </a:cubicBezTo>
                      <a:cubicBezTo>
                        <a:pt x="1022" y="3385"/>
                        <a:pt x="1055" y="3384"/>
                        <a:pt x="1079" y="3384"/>
                      </a:cubicBezTo>
                      <a:cubicBezTo>
                        <a:pt x="1097" y="3384"/>
                        <a:pt x="1118" y="3385"/>
                        <a:pt x="1137" y="3386"/>
                      </a:cubicBezTo>
                      <a:cubicBezTo>
                        <a:pt x="1157" y="3387"/>
                        <a:pt x="1178" y="3388"/>
                        <a:pt x="1198" y="3388"/>
                      </a:cubicBezTo>
                      <a:cubicBezTo>
                        <a:pt x="1211" y="3388"/>
                        <a:pt x="1223" y="3387"/>
                        <a:pt x="1234" y="3386"/>
                      </a:cubicBezTo>
                      <a:cubicBezTo>
                        <a:pt x="1244" y="3392"/>
                        <a:pt x="1248" y="3411"/>
                        <a:pt x="1247" y="3448"/>
                      </a:cubicBezTo>
                      <a:close/>
                      <a:moveTo>
                        <a:pt x="1472" y="3240"/>
                      </a:moveTo>
                      <a:cubicBezTo>
                        <a:pt x="1427" y="3259"/>
                        <a:pt x="1362" y="3262"/>
                        <a:pt x="1308" y="3262"/>
                      </a:cubicBezTo>
                      <a:cubicBezTo>
                        <a:pt x="1278" y="3262"/>
                        <a:pt x="1247" y="3261"/>
                        <a:pt x="1214" y="3260"/>
                      </a:cubicBezTo>
                      <a:cubicBezTo>
                        <a:pt x="1180" y="3259"/>
                        <a:pt x="1145" y="3258"/>
                        <a:pt x="1110" y="3258"/>
                      </a:cubicBezTo>
                      <a:cubicBezTo>
                        <a:pt x="1090" y="3258"/>
                        <a:pt x="1066" y="3259"/>
                        <a:pt x="1037" y="3261"/>
                      </a:cubicBezTo>
                      <a:cubicBezTo>
                        <a:pt x="1001" y="3262"/>
                        <a:pt x="960" y="3264"/>
                        <a:pt x="921" y="3265"/>
                      </a:cubicBezTo>
                      <a:cubicBezTo>
                        <a:pt x="779" y="3265"/>
                        <a:pt x="769" y="3236"/>
                        <a:pt x="769" y="3231"/>
                      </a:cubicBezTo>
                      <a:cubicBezTo>
                        <a:pt x="768" y="3223"/>
                        <a:pt x="770" y="3220"/>
                        <a:pt x="773" y="3217"/>
                      </a:cubicBezTo>
                      <a:cubicBezTo>
                        <a:pt x="783" y="3206"/>
                        <a:pt x="814" y="3193"/>
                        <a:pt x="902" y="3193"/>
                      </a:cubicBezTo>
                      <a:cubicBezTo>
                        <a:pt x="933" y="3193"/>
                        <a:pt x="965" y="3195"/>
                        <a:pt x="996" y="3196"/>
                      </a:cubicBezTo>
                      <a:cubicBezTo>
                        <a:pt x="1022" y="3197"/>
                        <a:pt x="1046" y="3198"/>
                        <a:pt x="1067" y="3198"/>
                      </a:cubicBezTo>
                      <a:cubicBezTo>
                        <a:pt x="1263" y="3198"/>
                        <a:pt x="1263" y="3198"/>
                        <a:pt x="1263" y="3198"/>
                      </a:cubicBezTo>
                      <a:cubicBezTo>
                        <a:pt x="1285" y="3198"/>
                        <a:pt x="1307" y="3198"/>
                        <a:pt x="1328" y="3197"/>
                      </a:cubicBezTo>
                      <a:cubicBezTo>
                        <a:pt x="1349" y="3196"/>
                        <a:pt x="1368" y="3196"/>
                        <a:pt x="1386" y="3196"/>
                      </a:cubicBezTo>
                      <a:cubicBezTo>
                        <a:pt x="1435" y="3196"/>
                        <a:pt x="1465" y="3201"/>
                        <a:pt x="1472" y="3213"/>
                      </a:cubicBezTo>
                      <a:cubicBezTo>
                        <a:pt x="1476" y="3218"/>
                        <a:pt x="1476" y="3227"/>
                        <a:pt x="1472" y="3240"/>
                      </a:cubicBezTo>
                      <a:close/>
                      <a:moveTo>
                        <a:pt x="1473" y="3058"/>
                      </a:moveTo>
                      <a:cubicBezTo>
                        <a:pt x="1420" y="3071"/>
                        <a:pt x="1357" y="3073"/>
                        <a:pt x="1301" y="3073"/>
                      </a:cubicBezTo>
                      <a:cubicBezTo>
                        <a:pt x="1271" y="3073"/>
                        <a:pt x="1240" y="3073"/>
                        <a:pt x="1207" y="3072"/>
                      </a:cubicBezTo>
                      <a:cubicBezTo>
                        <a:pt x="1173" y="3071"/>
                        <a:pt x="1137" y="3071"/>
                        <a:pt x="1101" y="3071"/>
                      </a:cubicBezTo>
                      <a:cubicBezTo>
                        <a:pt x="1083" y="3071"/>
                        <a:pt x="1058" y="3072"/>
                        <a:pt x="1031" y="3073"/>
                      </a:cubicBezTo>
                      <a:cubicBezTo>
                        <a:pt x="995" y="3075"/>
                        <a:pt x="955" y="3078"/>
                        <a:pt x="916" y="3078"/>
                      </a:cubicBezTo>
                      <a:cubicBezTo>
                        <a:pt x="813" y="3078"/>
                        <a:pt x="782" y="3061"/>
                        <a:pt x="773" y="3051"/>
                      </a:cubicBezTo>
                      <a:cubicBezTo>
                        <a:pt x="770" y="3047"/>
                        <a:pt x="768" y="3044"/>
                        <a:pt x="769" y="3038"/>
                      </a:cubicBezTo>
                      <a:cubicBezTo>
                        <a:pt x="769" y="3029"/>
                        <a:pt x="784" y="3006"/>
                        <a:pt x="905" y="3006"/>
                      </a:cubicBezTo>
                      <a:cubicBezTo>
                        <a:pt x="937" y="3006"/>
                        <a:pt x="969" y="3007"/>
                        <a:pt x="1000" y="3009"/>
                      </a:cubicBezTo>
                      <a:cubicBezTo>
                        <a:pt x="1028" y="3010"/>
                        <a:pt x="1054" y="3011"/>
                        <a:pt x="1075" y="3011"/>
                      </a:cubicBezTo>
                      <a:cubicBezTo>
                        <a:pt x="1263" y="3011"/>
                        <a:pt x="1263" y="3011"/>
                        <a:pt x="1263" y="3011"/>
                      </a:cubicBezTo>
                      <a:cubicBezTo>
                        <a:pt x="1285" y="3011"/>
                        <a:pt x="1308" y="3010"/>
                        <a:pt x="1329" y="3010"/>
                      </a:cubicBezTo>
                      <a:cubicBezTo>
                        <a:pt x="1349" y="3009"/>
                        <a:pt x="1368" y="3008"/>
                        <a:pt x="1386" y="3008"/>
                      </a:cubicBezTo>
                      <a:cubicBezTo>
                        <a:pt x="1404" y="3008"/>
                        <a:pt x="1460" y="3008"/>
                        <a:pt x="1473" y="3026"/>
                      </a:cubicBezTo>
                      <a:cubicBezTo>
                        <a:pt x="1477" y="3032"/>
                        <a:pt x="1477" y="3043"/>
                        <a:pt x="1473" y="3058"/>
                      </a:cubicBezTo>
                      <a:close/>
                      <a:moveTo>
                        <a:pt x="1476" y="2866"/>
                      </a:moveTo>
                      <a:cubicBezTo>
                        <a:pt x="1465" y="2880"/>
                        <a:pt x="1444" y="2886"/>
                        <a:pt x="1407" y="2886"/>
                      </a:cubicBezTo>
                      <a:cubicBezTo>
                        <a:pt x="1394" y="2886"/>
                        <a:pt x="1381" y="2885"/>
                        <a:pt x="1367" y="2885"/>
                      </a:cubicBezTo>
                      <a:cubicBezTo>
                        <a:pt x="1353" y="2884"/>
                        <a:pt x="1338" y="2883"/>
                        <a:pt x="1323" y="2883"/>
                      </a:cubicBezTo>
                      <a:cubicBezTo>
                        <a:pt x="1110" y="2883"/>
                        <a:pt x="1110" y="2883"/>
                        <a:pt x="1110" y="2883"/>
                      </a:cubicBezTo>
                      <a:cubicBezTo>
                        <a:pt x="1090" y="2883"/>
                        <a:pt x="1065" y="2885"/>
                        <a:pt x="1036" y="2886"/>
                      </a:cubicBezTo>
                      <a:cubicBezTo>
                        <a:pt x="999" y="2888"/>
                        <a:pt x="958" y="2890"/>
                        <a:pt x="918" y="2890"/>
                      </a:cubicBezTo>
                      <a:cubicBezTo>
                        <a:pt x="819" y="2890"/>
                        <a:pt x="784" y="2876"/>
                        <a:pt x="773" y="2864"/>
                      </a:cubicBezTo>
                      <a:cubicBezTo>
                        <a:pt x="770" y="2860"/>
                        <a:pt x="768" y="2856"/>
                        <a:pt x="769" y="2851"/>
                      </a:cubicBezTo>
                      <a:cubicBezTo>
                        <a:pt x="770" y="2829"/>
                        <a:pt x="816" y="2817"/>
                        <a:pt x="895" y="2817"/>
                      </a:cubicBezTo>
                      <a:cubicBezTo>
                        <a:pt x="929" y="2817"/>
                        <a:pt x="965" y="2819"/>
                        <a:pt x="997" y="2821"/>
                      </a:cubicBezTo>
                      <a:cubicBezTo>
                        <a:pt x="1023" y="2822"/>
                        <a:pt x="1048" y="2824"/>
                        <a:pt x="1067" y="2824"/>
                      </a:cubicBezTo>
                      <a:cubicBezTo>
                        <a:pt x="1110" y="2824"/>
                        <a:pt x="1151" y="2823"/>
                        <a:pt x="1189" y="2823"/>
                      </a:cubicBezTo>
                      <a:cubicBezTo>
                        <a:pt x="1223" y="2823"/>
                        <a:pt x="1256" y="2822"/>
                        <a:pt x="1286" y="2822"/>
                      </a:cubicBezTo>
                      <a:cubicBezTo>
                        <a:pt x="1350" y="2822"/>
                        <a:pt x="1416" y="2823"/>
                        <a:pt x="1468" y="2831"/>
                      </a:cubicBezTo>
                      <a:cubicBezTo>
                        <a:pt x="1476" y="2836"/>
                        <a:pt x="1477" y="2853"/>
                        <a:pt x="1476" y="2866"/>
                      </a:cubicBezTo>
                      <a:close/>
                      <a:moveTo>
                        <a:pt x="1516" y="1491"/>
                      </a:moveTo>
                      <a:cubicBezTo>
                        <a:pt x="1478" y="1600"/>
                        <a:pt x="1441" y="1720"/>
                        <a:pt x="1406" y="1835"/>
                      </a:cubicBezTo>
                      <a:cubicBezTo>
                        <a:pt x="1381" y="1916"/>
                        <a:pt x="1355" y="2001"/>
                        <a:pt x="1329" y="2078"/>
                      </a:cubicBezTo>
                      <a:cubicBezTo>
                        <a:pt x="1326" y="2088"/>
                        <a:pt x="1323" y="2099"/>
                        <a:pt x="1319" y="2110"/>
                      </a:cubicBezTo>
                      <a:cubicBezTo>
                        <a:pt x="1301" y="2171"/>
                        <a:pt x="1279" y="2247"/>
                        <a:pt x="1219" y="2265"/>
                      </a:cubicBezTo>
                      <a:cubicBezTo>
                        <a:pt x="1216" y="2266"/>
                        <a:pt x="1214" y="2266"/>
                        <a:pt x="1211" y="2266"/>
                      </a:cubicBezTo>
                      <a:cubicBezTo>
                        <a:pt x="1205" y="2266"/>
                        <a:pt x="1200" y="2264"/>
                        <a:pt x="1195" y="2261"/>
                      </a:cubicBezTo>
                      <a:cubicBezTo>
                        <a:pt x="1189" y="2255"/>
                        <a:pt x="1185" y="2247"/>
                        <a:pt x="1186" y="2239"/>
                      </a:cubicBezTo>
                      <a:cubicBezTo>
                        <a:pt x="1193" y="2153"/>
                        <a:pt x="1222" y="2069"/>
                        <a:pt x="1251" y="1987"/>
                      </a:cubicBezTo>
                      <a:cubicBezTo>
                        <a:pt x="1261" y="1958"/>
                        <a:pt x="1271" y="1929"/>
                        <a:pt x="1280" y="1901"/>
                      </a:cubicBezTo>
                      <a:cubicBezTo>
                        <a:pt x="1297" y="1848"/>
                        <a:pt x="1314" y="1796"/>
                        <a:pt x="1331" y="1745"/>
                      </a:cubicBezTo>
                      <a:cubicBezTo>
                        <a:pt x="1345" y="1702"/>
                        <a:pt x="1360" y="1659"/>
                        <a:pt x="1374" y="1615"/>
                      </a:cubicBezTo>
                      <a:cubicBezTo>
                        <a:pt x="1365" y="1617"/>
                        <a:pt x="1355" y="1618"/>
                        <a:pt x="1345" y="1618"/>
                      </a:cubicBezTo>
                      <a:cubicBezTo>
                        <a:pt x="1322" y="1618"/>
                        <a:pt x="1299" y="1613"/>
                        <a:pt x="1277" y="1609"/>
                      </a:cubicBezTo>
                      <a:cubicBezTo>
                        <a:pt x="1254" y="1605"/>
                        <a:pt x="1232" y="1601"/>
                        <a:pt x="1213" y="1602"/>
                      </a:cubicBezTo>
                      <a:cubicBezTo>
                        <a:pt x="1201" y="1602"/>
                        <a:pt x="1189" y="1607"/>
                        <a:pt x="1176" y="1613"/>
                      </a:cubicBezTo>
                      <a:cubicBezTo>
                        <a:pt x="1159" y="1620"/>
                        <a:pt x="1140" y="1628"/>
                        <a:pt x="1116" y="1627"/>
                      </a:cubicBezTo>
                      <a:cubicBezTo>
                        <a:pt x="1094" y="1626"/>
                        <a:pt x="1073" y="1616"/>
                        <a:pt x="1055" y="1608"/>
                      </a:cubicBezTo>
                      <a:cubicBezTo>
                        <a:pt x="1041" y="1600"/>
                        <a:pt x="1026" y="1593"/>
                        <a:pt x="1015" y="1593"/>
                      </a:cubicBezTo>
                      <a:cubicBezTo>
                        <a:pt x="1015" y="1593"/>
                        <a:pt x="1015" y="1593"/>
                        <a:pt x="1015" y="1593"/>
                      </a:cubicBezTo>
                      <a:cubicBezTo>
                        <a:pt x="1004" y="1593"/>
                        <a:pt x="991" y="1599"/>
                        <a:pt x="977" y="1604"/>
                      </a:cubicBezTo>
                      <a:cubicBezTo>
                        <a:pt x="961" y="1610"/>
                        <a:pt x="942" y="1618"/>
                        <a:pt x="923" y="1619"/>
                      </a:cubicBezTo>
                      <a:cubicBezTo>
                        <a:pt x="898" y="1620"/>
                        <a:pt x="880" y="1617"/>
                        <a:pt x="863" y="1614"/>
                      </a:cubicBezTo>
                      <a:cubicBezTo>
                        <a:pt x="861" y="1614"/>
                        <a:pt x="858" y="1614"/>
                        <a:pt x="856" y="1613"/>
                      </a:cubicBezTo>
                      <a:cubicBezTo>
                        <a:pt x="872" y="1662"/>
                        <a:pt x="887" y="1712"/>
                        <a:pt x="901" y="1761"/>
                      </a:cubicBezTo>
                      <a:cubicBezTo>
                        <a:pt x="915" y="1810"/>
                        <a:pt x="930" y="1861"/>
                        <a:pt x="946" y="1909"/>
                      </a:cubicBezTo>
                      <a:cubicBezTo>
                        <a:pt x="956" y="1939"/>
                        <a:pt x="968" y="1969"/>
                        <a:pt x="979" y="1998"/>
                      </a:cubicBezTo>
                      <a:cubicBezTo>
                        <a:pt x="1010" y="2076"/>
                        <a:pt x="1041" y="2155"/>
                        <a:pt x="1041" y="2241"/>
                      </a:cubicBezTo>
                      <a:cubicBezTo>
                        <a:pt x="1041" y="2249"/>
                        <a:pt x="1036" y="2257"/>
                        <a:pt x="1029" y="2262"/>
                      </a:cubicBezTo>
                      <a:cubicBezTo>
                        <a:pt x="1022" y="2267"/>
                        <a:pt x="1013" y="2268"/>
                        <a:pt x="1005" y="2264"/>
                      </a:cubicBezTo>
                      <a:cubicBezTo>
                        <a:pt x="945" y="2239"/>
                        <a:pt x="930" y="2174"/>
                        <a:pt x="917" y="2121"/>
                      </a:cubicBezTo>
                      <a:cubicBezTo>
                        <a:pt x="913" y="2106"/>
                        <a:pt x="910" y="2091"/>
                        <a:pt x="906" y="2078"/>
                      </a:cubicBezTo>
                      <a:cubicBezTo>
                        <a:pt x="883" y="2012"/>
                        <a:pt x="862" y="1944"/>
                        <a:pt x="841" y="1880"/>
                      </a:cubicBezTo>
                      <a:cubicBezTo>
                        <a:pt x="821" y="1816"/>
                        <a:pt x="800" y="1751"/>
                        <a:pt x="778" y="1687"/>
                      </a:cubicBezTo>
                      <a:cubicBezTo>
                        <a:pt x="773" y="1671"/>
                        <a:pt x="767" y="1656"/>
                        <a:pt x="760" y="1639"/>
                      </a:cubicBezTo>
                      <a:cubicBezTo>
                        <a:pt x="739" y="1588"/>
                        <a:pt x="718" y="1534"/>
                        <a:pt x="726" y="1479"/>
                      </a:cubicBezTo>
                      <a:cubicBezTo>
                        <a:pt x="727" y="1471"/>
                        <a:pt x="732" y="1463"/>
                        <a:pt x="740" y="1460"/>
                      </a:cubicBezTo>
                      <a:cubicBezTo>
                        <a:pt x="747" y="1456"/>
                        <a:pt x="756" y="1456"/>
                        <a:pt x="763" y="1460"/>
                      </a:cubicBezTo>
                      <a:cubicBezTo>
                        <a:pt x="773" y="1465"/>
                        <a:pt x="783" y="1471"/>
                        <a:pt x="793" y="1477"/>
                      </a:cubicBezTo>
                      <a:cubicBezTo>
                        <a:pt x="830" y="1499"/>
                        <a:pt x="872" y="1524"/>
                        <a:pt x="914" y="1524"/>
                      </a:cubicBezTo>
                      <a:cubicBezTo>
                        <a:pt x="929" y="1524"/>
                        <a:pt x="943" y="1521"/>
                        <a:pt x="957" y="1515"/>
                      </a:cubicBezTo>
                      <a:cubicBezTo>
                        <a:pt x="942" y="1471"/>
                        <a:pt x="946" y="1419"/>
                        <a:pt x="968" y="1382"/>
                      </a:cubicBezTo>
                      <a:cubicBezTo>
                        <a:pt x="990" y="1345"/>
                        <a:pt x="1027" y="1328"/>
                        <a:pt x="1065" y="1339"/>
                      </a:cubicBezTo>
                      <a:cubicBezTo>
                        <a:pt x="1090" y="1346"/>
                        <a:pt x="1108" y="1364"/>
                        <a:pt x="1117" y="1391"/>
                      </a:cubicBezTo>
                      <a:cubicBezTo>
                        <a:pt x="1130" y="1430"/>
                        <a:pt x="1123" y="1483"/>
                        <a:pt x="1106" y="1523"/>
                      </a:cubicBezTo>
                      <a:cubicBezTo>
                        <a:pt x="1120" y="1525"/>
                        <a:pt x="1137" y="1526"/>
                        <a:pt x="1150" y="1525"/>
                      </a:cubicBezTo>
                      <a:cubicBezTo>
                        <a:pt x="1137" y="1496"/>
                        <a:pt x="1123" y="1463"/>
                        <a:pt x="1135" y="1417"/>
                      </a:cubicBezTo>
                      <a:cubicBezTo>
                        <a:pt x="1147" y="1369"/>
                        <a:pt x="1178" y="1340"/>
                        <a:pt x="1217" y="1340"/>
                      </a:cubicBezTo>
                      <a:cubicBezTo>
                        <a:pt x="1262" y="1340"/>
                        <a:pt x="1312" y="1384"/>
                        <a:pt x="1313" y="1456"/>
                      </a:cubicBezTo>
                      <a:cubicBezTo>
                        <a:pt x="1314" y="1481"/>
                        <a:pt x="1306" y="1499"/>
                        <a:pt x="1298" y="1516"/>
                      </a:cubicBezTo>
                      <a:cubicBezTo>
                        <a:pt x="1297" y="1519"/>
                        <a:pt x="1296" y="1522"/>
                        <a:pt x="1294" y="1525"/>
                      </a:cubicBezTo>
                      <a:cubicBezTo>
                        <a:pt x="1299" y="1526"/>
                        <a:pt x="1304" y="1526"/>
                        <a:pt x="1309" y="1526"/>
                      </a:cubicBezTo>
                      <a:cubicBezTo>
                        <a:pt x="1341" y="1526"/>
                        <a:pt x="1371" y="1508"/>
                        <a:pt x="1400" y="1491"/>
                      </a:cubicBezTo>
                      <a:cubicBezTo>
                        <a:pt x="1429" y="1473"/>
                        <a:pt x="1456" y="1457"/>
                        <a:pt x="1488" y="1457"/>
                      </a:cubicBezTo>
                      <a:cubicBezTo>
                        <a:pt x="1490" y="1457"/>
                        <a:pt x="1492" y="1457"/>
                        <a:pt x="1494" y="1457"/>
                      </a:cubicBezTo>
                      <a:cubicBezTo>
                        <a:pt x="1502" y="1458"/>
                        <a:pt x="1509" y="1462"/>
                        <a:pt x="1514" y="1469"/>
                      </a:cubicBezTo>
                      <a:cubicBezTo>
                        <a:pt x="1518" y="1475"/>
                        <a:pt x="1519" y="1484"/>
                        <a:pt x="1516" y="1491"/>
                      </a:cubicBezTo>
                      <a:close/>
                    </a:path>
                  </a:pathLst>
                </a:custGeom>
                <a:solidFill>
                  <a:schemeClr val="accent2"/>
                </a:solidFill>
                <a:ln>
                  <a:noFill/>
                </a:ln>
              </p:spPr>
              <p:txBody>
                <a:bodyPr vert="horz" wrap="square" lIns="91440" tIns="45720" rIns="91440" bIns="45720" numCol="1" anchor="t" anchorCtr="0" compatLnSpc="1">
                  <a:prstTxWarp prst="textNoShape">
                    <a:avLst/>
                  </a:prstTxWarp>
                  <a:noAutofit/>
                </a:bodyPr>
                <a:lstStyle/>
                <a:p>
                  <a:endParaRPr lang="en-US"/>
                </a:p>
              </p:txBody>
            </p:sp>
          </p:grpSp>
          <p:grpSp>
            <p:nvGrpSpPr>
              <p:cNvPr id="164" name="Group 163">
                <a:extLst>
                  <a:ext uri="{FF2B5EF4-FFF2-40B4-BE49-F238E27FC236}">
                    <a16:creationId xmlns:a16="http://schemas.microsoft.com/office/drawing/2014/main" id="{C540E81E-1396-4F92-A97D-FAB59FD51559}"/>
                  </a:ext>
                </a:extLst>
              </p:cNvPr>
              <p:cNvGrpSpPr/>
              <p:nvPr/>
            </p:nvGrpSpPr>
            <p:grpSpPr>
              <a:xfrm>
                <a:off x="7243637" y="2456527"/>
                <a:ext cx="261463" cy="418720"/>
                <a:chOff x="3259156" y="1113563"/>
                <a:chExt cx="666571" cy="1067480"/>
              </a:xfrm>
            </p:grpSpPr>
            <p:sp>
              <p:nvSpPr>
                <p:cNvPr id="186" name="Rounded Rectangle 173">
                  <a:extLst>
                    <a:ext uri="{FF2B5EF4-FFF2-40B4-BE49-F238E27FC236}">
                      <a16:creationId xmlns:a16="http://schemas.microsoft.com/office/drawing/2014/main" id="{F82521A7-D4FD-44D6-B01C-506F85E6D5C7}"/>
                    </a:ext>
                  </a:extLst>
                </p:cNvPr>
                <p:cNvSpPr>
                  <a:spLocks/>
                </p:cNvSpPr>
                <p:nvPr>
                  <p:custDataLst>
                    <p:tags r:id="rId8"/>
                  </p:custDataLst>
                </p:nvPr>
              </p:nvSpPr>
              <p:spPr bwMode="gray">
                <a:xfrm>
                  <a:off x="3485922" y="1333534"/>
                  <a:ext cx="221826" cy="794764"/>
                </a:xfrm>
                <a:prstGeom prst="roundRect">
                  <a:avLst/>
                </a:prstGeom>
                <a:solidFill>
                  <a:schemeClr val="bg2"/>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b="0" dirty="0" err="1">
                    <a:solidFill>
                      <a:srgbClr val="000000"/>
                    </a:solidFill>
                  </a:endParaRPr>
                </a:p>
              </p:txBody>
            </p:sp>
            <p:sp>
              <p:nvSpPr>
                <p:cNvPr id="187" name="Freeform 149">
                  <a:extLst>
                    <a:ext uri="{FF2B5EF4-FFF2-40B4-BE49-F238E27FC236}">
                      <a16:creationId xmlns:a16="http://schemas.microsoft.com/office/drawing/2014/main" id="{C43E37CF-22B8-4003-A9F7-3F6E09E29F4A}"/>
                    </a:ext>
                  </a:extLst>
                </p:cNvPr>
                <p:cNvSpPr>
                  <a:spLocks noChangeAspect="1" noEditPoints="1"/>
                </p:cNvSpPr>
                <p:nvPr/>
              </p:nvSpPr>
              <p:spPr bwMode="gray">
                <a:xfrm>
                  <a:off x="3259156" y="1113563"/>
                  <a:ext cx="666571" cy="1067480"/>
                </a:xfrm>
                <a:custGeom>
                  <a:avLst/>
                  <a:gdLst>
                    <a:gd name="T0" fmla="*/ 1222 w 2252"/>
                    <a:gd name="T1" fmla="*/ 4 h 3602"/>
                    <a:gd name="T2" fmla="*/ 2 w 2252"/>
                    <a:gd name="T3" fmla="*/ 1112 h 3602"/>
                    <a:gd name="T4" fmla="*/ 423 w 2252"/>
                    <a:gd name="T5" fmla="*/ 2104 h 3602"/>
                    <a:gd name="T6" fmla="*/ 556 w 2252"/>
                    <a:gd name="T7" fmla="*/ 2667 h 3602"/>
                    <a:gd name="T8" fmla="*/ 661 w 2252"/>
                    <a:gd name="T9" fmla="*/ 2945 h 3602"/>
                    <a:gd name="T10" fmla="*/ 827 w 2252"/>
                    <a:gd name="T11" fmla="*/ 3393 h 3602"/>
                    <a:gd name="T12" fmla="*/ 865 w 2252"/>
                    <a:gd name="T13" fmla="*/ 3415 h 3602"/>
                    <a:gd name="T14" fmla="*/ 1372 w 2252"/>
                    <a:gd name="T15" fmla="*/ 3497 h 3602"/>
                    <a:gd name="T16" fmla="*/ 1414 w 2252"/>
                    <a:gd name="T17" fmla="*/ 3395 h 3602"/>
                    <a:gd name="T18" fmla="*/ 1604 w 2252"/>
                    <a:gd name="T19" fmla="*/ 3021 h 3602"/>
                    <a:gd name="T20" fmla="*/ 1637 w 2252"/>
                    <a:gd name="T21" fmla="*/ 2748 h 3602"/>
                    <a:gd name="T22" fmla="*/ 1689 w 2252"/>
                    <a:gd name="T23" fmla="*/ 2409 h 3602"/>
                    <a:gd name="T24" fmla="*/ 2130 w 2252"/>
                    <a:gd name="T25" fmla="*/ 1547 h 3602"/>
                    <a:gd name="T26" fmla="*/ 1127 w 2252"/>
                    <a:gd name="T27" fmla="*/ 3466 h 3602"/>
                    <a:gd name="T28" fmla="*/ 1079 w 2252"/>
                    <a:gd name="T29" fmla="*/ 3384 h 3602"/>
                    <a:gd name="T30" fmla="*/ 1234 w 2252"/>
                    <a:gd name="T31" fmla="*/ 3386 h 3602"/>
                    <a:gd name="T32" fmla="*/ 1308 w 2252"/>
                    <a:gd name="T33" fmla="*/ 3262 h 3602"/>
                    <a:gd name="T34" fmla="*/ 1037 w 2252"/>
                    <a:gd name="T35" fmla="*/ 3261 h 3602"/>
                    <a:gd name="T36" fmla="*/ 773 w 2252"/>
                    <a:gd name="T37" fmla="*/ 3217 h 3602"/>
                    <a:gd name="T38" fmla="*/ 1067 w 2252"/>
                    <a:gd name="T39" fmla="*/ 3198 h 3602"/>
                    <a:gd name="T40" fmla="*/ 1386 w 2252"/>
                    <a:gd name="T41" fmla="*/ 3196 h 3602"/>
                    <a:gd name="T42" fmla="*/ 1473 w 2252"/>
                    <a:gd name="T43" fmla="*/ 3058 h 3602"/>
                    <a:gd name="T44" fmla="*/ 1101 w 2252"/>
                    <a:gd name="T45" fmla="*/ 3071 h 3602"/>
                    <a:gd name="T46" fmla="*/ 773 w 2252"/>
                    <a:gd name="T47" fmla="*/ 3051 h 3602"/>
                    <a:gd name="T48" fmla="*/ 1000 w 2252"/>
                    <a:gd name="T49" fmla="*/ 3009 h 3602"/>
                    <a:gd name="T50" fmla="*/ 1329 w 2252"/>
                    <a:gd name="T51" fmla="*/ 3010 h 3602"/>
                    <a:gd name="T52" fmla="*/ 1473 w 2252"/>
                    <a:gd name="T53" fmla="*/ 3058 h 3602"/>
                    <a:gd name="T54" fmla="*/ 1367 w 2252"/>
                    <a:gd name="T55" fmla="*/ 2885 h 3602"/>
                    <a:gd name="T56" fmla="*/ 1036 w 2252"/>
                    <a:gd name="T57" fmla="*/ 2886 h 3602"/>
                    <a:gd name="T58" fmla="*/ 769 w 2252"/>
                    <a:gd name="T59" fmla="*/ 2851 h 3602"/>
                    <a:gd name="T60" fmla="*/ 1067 w 2252"/>
                    <a:gd name="T61" fmla="*/ 2824 h 3602"/>
                    <a:gd name="T62" fmla="*/ 1468 w 2252"/>
                    <a:gd name="T63" fmla="*/ 2831 h 3602"/>
                    <a:gd name="T64" fmla="*/ 1406 w 2252"/>
                    <a:gd name="T65" fmla="*/ 1835 h 3602"/>
                    <a:gd name="T66" fmla="*/ 1219 w 2252"/>
                    <a:gd name="T67" fmla="*/ 2265 h 3602"/>
                    <a:gd name="T68" fmla="*/ 1186 w 2252"/>
                    <a:gd name="T69" fmla="*/ 2239 h 3602"/>
                    <a:gd name="T70" fmla="*/ 1331 w 2252"/>
                    <a:gd name="T71" fmla="*/ 1745 h 3602"/>
                    <a:gd name="T72" fmla="*/ 1277 w 2252"/>
                    <a:gd name="T73" fmla="*/ 1609 h 3602"/>
                    <a:gd name="T74" fmla="*/ 1116 w 2252"/>
                    <a:gd name="T75" fmla="*/ 1627 h 3602"/>
                    <a:gd name="T76" fmla="*/ 1015 w 2252"/>
                    <a:gd name="T77" fmla="*/ 1593 h 3602"/>
                    <a:gd name="T78" fmla="*/ 863 w 2252"/>
                    <a:gd name="T79" fmla="*/ 1614 h 3602"/>
                    <a:gd name="T80" fmla="*/ 946 w 2252"/>
                    <a:gd name="T81" fmla="*/ 1909 h 3602"/>
                    <a:gd name="T82" fmla="*/ 1029 w 2252"/>
                    <a:gd name="T83" fmla="*/ 2262 h 3602"/>
                    <a:gd name="T84" fmla="*/ 906 w 2252"/>
                    <a:gd name="T85" fmla="*/ 2078 h 3602"/>
                    <a:gd name="T86" fmla="*/ 760 w 2252"/>
                    <a:gd name="T87" fmla="*/ 1639 h 3602"/>
                    <a:gd name="T88" fmla="*/ 763 w 2252"/>
                    <a:gd name="T89" fmla="*/ 1460 h 3602"/>
                    <a:gd name="T90" fmla="*/ 957 w 2252"/>
                    <a:gd name="T91" fmla="*/ 1515 h 3602"/>
                    <a:gd name="T92" fmla="*/ 1117 w 2252"/>
                    <a:gd name="T93" fmla="*/ 1391 h 3602"/>
                    <a:gd name="T94" fmla="*/ 1135 w 2252"/>
                    <a:gd name="T95" fmla="*/ 1417 h 3602"/>
                    <a:gd name="T96" fmla="*/ 1298 w 2252"/>
                    <a:gd name="T97" fmla="*/ 1516 h 3602"/>
                    <a:gd name="T98" fmla="*/ 1400 w 2252"/>
                    <a:gd name="T99" fmla="*/ 1491 h 3602"/>
                    <a:gd name="T100" fmla="*/ 1514 w 2252"/>
                    <a:gd name="T101" fmla="*/ 1469 h 36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252" h="3602">
                      <a:moveTo>
                        <a:pt x="2234" y="1007"/>
                      </a:moveTo>
                      <a:cubicBezTo>
                        <a:pt x="2215" y="755"/>
                        <a:pt x="2099" y="512"/>
                        <a:pt x="1907" y="324"/>
                      </a:cubicBezTo>
                      <a:cubicBezTo>
                        <a:pt x="1718" y="138"/>
                        <a:pt x="1475" y="25"/>
                        <a:pt x="1222" y="4"/>
                      </a:cubicBezTo>
                      <a:cubicBezTo>
                        <a:pt x="1187" y="1"/>
                        <a:pt x="1152" y="0"/>
                        <a:pt x="1117" y="0"/>
                      </a:cubicBezTo>
                      <a:cubicBezTo>
                        <a:pt x="808" y="0"/>
                        <a:pt x="538" y="118"/>
                        <a:pt x="316" y="353"/>
                      </a:cubicBezTo>
                      <a:cubicBezTo>
                        <a:pt x="108" y="571"/>
                        <a:pt x="0" y="834"/>
                        <a:pt x="2" y="1112"/>
                      </a:cubicBezTo>
                      <a:cubicBezTo>
                        <a:pt x="4" y="1373"/>
                        <a:pt x="141" y="1638"/>
                        <a:pt x="244" y="1814"/>
                      </a:cubicBezTo>
                      <a:cubicBezTo>
                        <a:pt x="280" y="1876"/>
                        <a:pt x="320" y="1940"/>
                        <a:pt x="363" y="2008"/>
                      </a:cubicBezTo>
                      <a:cubicBezTo>
                        <a:pt x="383" y="2040"/>
                        <a:pt x="403" y="2072"/>
                        <a:pt x="423" y="2104"/>
                      </a:cubicBezTo>
                      <a:cubicBezTo>
                        <a:pt x="486" y="2206"/>
                        <a:pt x="544" y="2306"/>
                        <a:pt x="556" y="2418"/>
                      </a:cubicBezTo>
                      <a:cubicBezTo>
                        <a:pt x="559" y="2449"/>
                        <a:pt x="557" y="2488"/>
                        <a:pt x="554" y="2525"/>
                      </a:cubicBezTo>
                      <a:cubicBezTo>
                        <a:pt x="551" y="2575"/>
                        <a:pt x="547" y="2626"/>
                        <a:pt x="556" y="2667"/>
                      </a:cubicBezTo>
                      <a:cubicBezTo>
                        <a:pt x="566" y="2710"/>
                        <a:pt x="591" y="2736"/>
                        <a:pt x="616" y="2761"/>
                      </a:cubicBezTo>
                      <a:cubicBezTo>
                        <a:pt x="626" y="2771"/>
                        <a:pt x="636" y="2781"/>
                        <a:pt x="646" y="2793"/>
                      </a:cubicBezTo>
                      <a:cubicBezTo>
                        <a:pt x="627" y="2842"/>
                        <a:pt x="633" y="2903"/>
                        <a:pt x="661" y="2945"/>
                      </a:cubicBezTo>
                      <a:cubicBezTo>
                        <a:pt x="630" y="3000"/>
                        <a:pt x="625" y="3081"/>
                        <a:pt x="661" y="3133"/>
                      </a:cubicBezTo>
                      <a:cubicBezTo>
                        <a:pt x="630" y="3188"/>
                        <a:pt x="628" y="3249"/>
                        <a:pt x="655" y="3300"/>
                      </a:cubicBezTo>
                      <a:cubicBezTo>
                        <a:pt x="686" y="3358"/>
                        <a:pt x="750" y="3393"/>
                        <a:pt x="827" y="3393"/>
                      </a:cubicBezTo>
                      <a:cubicBezTo>
                        <a:pt x="827" y="3393"/>
                        <a:pt x="827" y="3393"/>
                        <a:pt x="827" y="3393"/>
                      </a:cubicBezTo>
                      <a:cubicBezTo>
                        <a:pt x="839" y="3393"/>
                        <a:pt x="852" y="3392"/>
                        <a:pt x="865" y="3390"/>
                      </a:cubicBezTo>
                      <a:cubicBezTo>
                        <a:pt x="865" y="3399"/>
                        <a:pt x="865" y="3407"/>
                        <a:pt x="865" y="3415"/>
                      </a:cubicBezTo>
                      <a:cubicBezTo>
                        <a:pt x="865" y="3463"/>
                        <a:pt x="864" y="3518"/>
                        <a:pt x="915" y="3559"/>
                      </a:cubicBezTo>
                      <a:cubicBezTo>
                        <a:pt x="964" y="3599"/>
                        <a:pt x="1073" y="3602"/>
                        <a:pt x="1105" y="3602"/>
                      </a:cubicBezTo>
                      <a:cubicBezTo>
                        <a:pt x="1215" y="3602"/>
                        <a:pt x="1343" y="3574"/>
                        <a:pt x="1372" y="3497"/>
                      </a:cubicBezTo>
                      <a:cubicBezTo>
                        <a:pt x="1385" y="3462"/>
                        <a:pt x="1382" y="3436"/>
                        <a:pt x="1378" y="3409"/>
                      </a:cubicBezTo>
                      <a:cubicBezTo>
                        <a:pt x="1377" y="3403"/>
                        <a:pt x="1376" y="3398"/>
                        <a:pt x="1376" y="3392"/>
                      </a:cubicBezTo>
                      <a:cubicBezTo>
                        <a:pt x="1389" y="3394"/>
                        <a:pt x="1401" y="3395"/>
                        <a:pt x="1414" y="3395"/>
                      </a:cubicBezTo>
                      <a:cubicBezTo>
                        <a:pt x="1493" y="3395"/>
                        <a:pt x="1561" y="3356"/>
                        <a:pt x="1591" y="3294"/>
                      </a:cubicBezTo>
                      <a:cubicBezTo>
                        <a:pt x="1614" y="3245"/>
                        <a:pt x="1608" y="3189"/>
                        <a:pt x="1577" y="3140"/>
                      </a:cubicBezTo>
                      <a:cubicBezTo>
                        <a:pt x="1598" y="3109"/>
                        <a:pt x="1607" y="3061"/>
                        <a:pt x="1604" y="3021"/>
                      </a:cubicBezTo>
                      <a:cubicBezTo>
                        <a:pt x="1602" y="2991"/>
                        <a:pt x="1593" y="2966"/>
                        <a:pt x="1579" y="2948"/>
                      </a:cubicBezTo>
                      <a:cubicBezTo>
                        <a:pt x="1602" y="2911"/>
                        <a:pt x="1614" y="2849"/>
                        <a:pt x="1598" y="2800"/>
                      </a:cubicBezTo>
                      <a:cubicBezTo>
                        <a:pt x="1610" y="2778"/>
                        <a:pt x="1624" y="2763"/>
                        <a:pt x="1637" y="2748"/>
                      </a:cubicBezTo>
                      <a:cubicBezTo>
                        <a:pt x="1658" y="2724"/>
                        <a:pt x="1679" y="2700"/>
                        <a:pt x="1688" y="2659"/>
                      </a:cubicBezTo>
                      <a:cubicBezTo>
                        <a:pt x="1700" y="2604"/>
                        <a:pt x="1696" y="2554"/>
                        <a:pt x="1691" y="2507"/>
                      </a:cubicBezTo>
                      <a:cubicBezTo>
                        <a:pt x="1688" y="2473"/>
                        <a:pt x="1685" y="2441"/>
                        <a:pt x="1689" y="2409"/>
                      </a:cubicBezTo>
                      <a:cubicBezTo>
                        <a:pt x="1702" y="2292"/>
                        <a:pt x="1766" y="2179"/>
                        <a:pt x="1813" y="2105"/>
                      </a:cubicBezTo>
                      <a:cubicBezTo>
                        <a:pt x="1837" y="2067"/>
                        <a:pt x="1860" y="2031"/>
                        <a:pt x="1883" y="1996"/>
                      </a:cubicBezTo>
                      <a:cubicBezTo>
                        <a:pt x="1972" y="1858"/>
                        <a:pt x="2056" y="1729"/>
                        <a:pt x="2130" y="1547"/>
                      </a:cubicBezTo>
                      <a:cubicBezTo>
                        <a:pt x="2190" y="1399"/>
                        <a:pt x="2252" y="1246"/>
                        <a:pt x="2234" y="1007"/>
                      </a:cubicBezTo>
                      <a:close/>
                      <a:moveTo>
                        <a:pt x="1247" y="3448"/>
                      </a:moveTo>
                      <a:cubicBezTo>
                        <a:pt x="1224" y="3459"/>
                        <a:pt x="1179" y="3466"/>
                        <a:pt x="1127" y="3466"/>
                      </a:cubicBezTo>
                      <a:cubicBezTo>
                        <a:pt x="1078" y="3466"/>
                        <a:pt x="1029" y="3460"/>
                        <a:pt x="1000" y="3451"/>
                      </a:cubicBezTo>
                      <a:cubicBezTo>
                        <a:pt x="996" y="3437"/>
                        <a:pt x="996" y="3408"/>
                        <a:pt x="1001" y="3396"/>
                      </a:cubicBezTo>
                      <a:cubicBezTo>
                        <a:pt x="1022" y="3385"/>
                        <a:pt x="1055" y="3384"/>
                        <a:pt x="1079" y="3384"/>
                      </a:cubicBezTo>
                      <a:cubicBezTo>
                        <a:pt x="1097" y="3384"/>
                        <a:pt x="1118" y="3385"/>
                        <a:pt x="1137" y="3386"/>
                      </a:cubicBezTo>
                      <a:cubicBezTo>
                        <a:pt x="1157" y="3387"/>
                        <a:pt x="1178" y="3388"/>
                        <a:pt x="1198" y="3388"/>
                      </a:cubicBezTo>
                      <a:cubicBezTo>
                        <a:pt x="1211" y="3388"/>
                        <a:pt x="1223" y="3387"/>
                        <a:pt x="1234" y="3386"/>
                      </a:cubicBezTo>
                      <a:cubicBezTo>
                        <a:pt x="1244" y="3392"/>
                        <a:pt x="1248" y="3411"/>
                        <a:pt x="1247" y="3448"/>
                      </a:cubicBezTo>
                      <a:close/>
                      <a:moveTo>
                        <a:pt x="1472" y="3240"/>
                      </a:moveTo>
                      <a:cubicBezTo>
                        <a:pt x="1427" y="3259"/>
                        <a:pt x="1362" y="3262"/>
                        <a:pt x="1308" y="3262"/>
                      </a:cubicBezTo>
                      <a:cubicBezTo>
                        <a:pt x="1278" y="3262"/>
                        <a:pt x="1247" y="3261"/>
                        <a:pt x="1214" y="3260"/>
                      </a:cubicBezTo>
                      <a:cubicBezTo>
                        <a:pt x="1180" y="3259"/>
                        <a:pt x="1145" y="3258"/>
                        <a:pt x="1110" y="3258"/>
                      </a:cubicBezTo>
                      <a:cubicBezTo>
                        <a:pt x="1090" y="3258"/>
                        <a:pt x="1066" y="3259"/>
                        <a:pt x="1037" y="3261"/>
                      </a:cubicBezTo>
                      <a:cubicBezTo>
                        <a:pt x="1001" y="3262"/>
                        <a:pt x="960" y="3264"/>
                        <a:pt x="921" y="3265"/>
                      </a:cubicBezTo>
                      <a:cubicBezTo>
                        <a:pt x="779" y="3265"/>
                        <a:pt x="769" y="3236"/>
                        <a:pt x="769" y="3231"/>
                      </a:cubicBezTo>
                      <a:cubicBezTo>
                        <a:pt x="768" y="3223"/>
                        <a:pt x="770" y="3220"/>
                        <a:pt x="773" y="3217"/>
                      </a:cubicBezTo>
                      <a:cubicBezTo>
                        <a:pt x="783" y="3206"/>
                        <a:pt x="814" y="3193"/>
                        <a:pt x="902" y="3193"/>
                      </a:cubicBezTo>
                      <a:cubicBezTo>
                        <a:pt x="933" y="3193"/>
                        <a:pt x="965" y="3195"/>
                        <a:pt x="996" y="3196"/>
                      </a:cubicBezTo>
                      <a:cubicBezTo>
                        <a:pt x="1022" y="3197"/>
                        <a:pt x="1046" y="3198"/>
                        <a:pt x="1067" y="3198"/>
                      </a:cubicBezTo>
                      <a:cubicBezTo>
                        <a:pt x="1263" y="3198"/>
                        <a:pt x="1263" y="3198"/>
                        <a:pt x="1263" y="3198"/>
                      </a:cubicBezTo>
                      <a:cubicBezTo>
                        <a:pt x="1285" y="3198"/>
                        <a:pt x="1307" y="3198"/>
                        <a:pt x="1328" y="3197"/>
                      </a:cubicBezTo>
                      <a:cubicBezTo>
                        <a:pt x="1349" y="3196"/>
                        <a:pt x="1368" y="3196"/>
                        <a:pt x="1386" y="3196"/>
                      </a:cubicBezTo>
                      <a:cubicBezTo>
                        <a:pt x="1435" y="3196"/>
                        <a:pt x="1465" y="3201"/>
                        <a:pt x="1472" y="3213"/>
                      </a:cubicBezTo>
                      <a:cubicBezTo>
                        <a:pt x="1476" y="3218"/>
                        <a:pt x="1476" y="3227"/>
                        <a:pt x="1472" y="3240"/>
                      </a:cubicBezTo>
                      <a:close/>
                      <a:moveTo>
                        <a:pt x="1473" y="3058"/>
                      </a:moveTo>
                      <a:cubicBezTo>
                        <a:pt x="1420" y="3071"/>
                        <a:pt x="1357" y="3073"/>
                        <a:pt x="1301" y="3073"/>
                      </a:cubicBezTo>
                      <a:cubicBezTo>
                        <a:pt x="1271" y="3073"/>
                        <a:pt x="1240" y="3073"/>
                        <a:pt x="1207" y="3072"/>
                      </a:cubicBezTo>
                      <a:cubicBezTo>
                        <a:pt x="1173" y="3071"/>
                        <a:pt x="1137" y="3071"/>
                        <a:pt x="1101" y="3071"/>
                      </a:cubicBezTo>
                      <a:cubicBezTo>
                        <a:pt x="1083" y="3071"/>
                        <a:pt x="1058" y="3072"/>
                        <a:pt x="1031" y="3073"/>
                      </a:cubicBezTo>
                      <a:cubicBezTo>
                        <a:pt x="995" y="3075"/>
                        <a:pt x="955" y="3078"/>
                        <a:pt x="916" y="3078"/>
                      </a:cubicBezTo>
                      <a:cubicBezTo>
                        <a:pt x="813" y="3078"/>
                        <a:pt x="782" y="3061"/>
                        <a:pt x="773" y="3051"/>
                      </a:cubicBezTo>
                      <a:cubicBezTo>
                        <a:pt x="770" y="3047"/>
                        <a:pt x="768" y="3044"/>
                        <a:pt x="769" y="3038"/>
                      </a:cubicBezTo>
                      <a:cubicBezTo>
                        <a:pt x="769" y="3029"/>
                        <a:pt x="784" y="3006"/>
                        <a:pt x="905" y="3006"/>
                      </a:cubicBezTo>
                      <a:cubicBezTo>
                        <a:pt x="937" y="3006"/>
                        <a:pt x="969" y="3007"/>
                        <a:pt x="1000" y="3009"/>
                      </a:cubicBezTo>
                      <a:cubicBezTo>
                        <a:pt x="1028" y="3010"/>
                        <a:pt x="1054" y="3011"/>
                        <a:pt x="1075" y="3011"/>
                      </a:cubicBezTo>
                      <a:cubicBezTo>
                        <a:pt x="1263" y="3011"/>
                        <a:pt x="1263" y="3011"/>
                        <a:pt x="1263" y="3011"/>
                      </a:cubicBezTo>
                      <a:cubicBezTo>
                        <a:pt x="1285" y="3011"/>
                        <a:pt x="1308" y="3010"/>
                        <a:pt x="1329" y="3010"/>
                      </a:cubicBezTo>
                      <a:cubicBezTo>
                        <a:pt x="1349" y="3009"/>
                        <a:pt x="1368" y="3008"/>
                        <a:pt x="1386" y="3008"/>
                      </a:cubicBezTo>
                      <a:cubicBezTo>
                        <a:pt x="1404" y="3008"/>
                        <a:pt x="1460" y="3008"/>
                        <a:pt x="1473" y="3026"/>
                      </a:cubicBezTo>
                      <a:cubicBezTo>
                        <a:pt x="1477" y="3032"/>
                        <a:pt x="1477" y="3043"/>
                        <a:pt x="1473" y="3058"/>
                      </a:cubicBezTo>
                      <a:close/>
                      <a:moveTo>
                        <a:pt x="1476" y="2866"/>
                      </a:moveTo>
                      <a:cubicBezTo>
                        <a:pt x="1465" y="2880"/>
                        <a:pt x="1444" y="2886"/>
                        <a:pt x="1407" y="2886"/>
                      </a:cubicBezTo>
                      <a:cubicBezTo>
                        <a:pt x="1394" y="2886"/>
                        <a:pt x="1381" y="2885"/>
                        <a:pt x="1367" y="2885"/>
                      </a:cubicBezTo>
                      <a:cubicBezTo>
                        <a:pt x="1353" y="2884"/>
                        <a:pt x="1338" y="2883"/>
                        <a:pt x="1323" y="2883"/>
                      </a:cubicBezTo>
                      <a:cubicBezTo>
                        <a:pt x="1110" y="2883"/>
                        <a:pt x="1110" y="2883"/>
                        <a:pt x="1110" y="2883"/>
                      </a:cubicBezTo>
                      <a:cubicBezTo>
                        <a:pt x="1090" y="2883"/>
                        <a:pt x="1065" y="2885"/>
                        <a:pt x="1036" y="2886"/>
                      </a:cubicBezTo>
                      <a:cubicBezTo>
                        <a:pt x="999" y="2888"/>
                        <a:pt x="958" y="2890"/>
                        <a:pt x="918" y="2890"/>
                      </a:cubicBezTo>
                      <a:cubicBezTo>
                        <a:pt x="819" y="2890"/>
                        <a:pt x="784" y="2876"/>
                        <a:pt x="773" y="2864"/>
                      </a:cubicBezTo>
                      <a:cubicBezTo>
                        <a:pt x="770" y="2860"/>
                        <a:pt x="768" y="2856"/>
                        <a:pt x="769" y="2851"/>
                      </a:cubicBezTo>
                      <a:cubicBezTo>
                        <a:pt x="770" y="2829"/>
                        <a:pt x="816" y="2817"/>
                        <a:pt x="895" y="2817"/>
                      </a:cubicBezTo>
                      <a:cubicBezTo>
                        <a:pt x="929" y="2817"/>
                        <a:pt x="965" y="2819"/>
                        <a:pt x="997" y="2821"/>
                      </a:cubicBezTo>
                      <a:cubicBezTo>
                        <a:pt x="1023" y="2822"/>
                        <a:pt x="1048" y="2824"/>
                        <a:pt x="1067" y="2824"/>
                      </a:cubicBezTo>
                      <a:cubicBezTo>
                        <a:pt x="1110" y="2824"/>
                        <a:pt x="1151" y="2823"/>
                        <a:pt x="1189" y="2823"/>
                      </a:cubicBezTo>
                      <a:cubicBezTo>
                        <a:pt x="1223" y="2823"/>
                        <a:pt x="1256" y="2822"/>
                        <a:pt x="1286" y="2822"/>
                      </a:cubicBezTo>
                      <a:cubicBezTo>
                        <a:pt x="1350" y="2822"/>
                        <a:pt x="1416" y="2823"/>
                        <a:pt x="1468" y="2831"/>
                      </a:cubicBezTo>
                      <a:cubicBezTo>
                        <a:pt x="1476" y="2836"/>
                        <a:pt x="1477" y="2853"/>
                        <a:pt x="1476" y="2866"/>
                      </a:cubicBezTo>
                      <a:close/>
                      <a:moveTo>
                        <a:pt x="1516" y="1491"/>
                      </a:moveTo>
                      <a:cubicBezTo>
                        <a:pt x="1478" y="1600"/>
                        <a:pt x="1441" y="1720"/>
                        <a:pt x="1406" y="1835"/>
                      </a:cubicBezTo>
                      <a:cubicBezTo>
                        <a:pt x="1381" y="1916"/>
                        <a:pt x="1355" y="2001"/>
                        <a:pt x="1329" y="2078"/>
                      </a:cubicBezTo>
                      <a:cubicBezTo>
                        <a:pt x="1326" y="2088"/>
                        <a:pt x="1323" y="2099"/>
                        <a:pt x="1319" y="2110"/>
                      </a:cubicBezTo>
                      <a:cubicBezTo>
                        <a:pt x="1301" y="2171"/>
                        <a:pt x="1279" y="2247"/>
                        <a:pt x="1219" y="2265"/>
                      </a:cubicBezTo>
                      <a:cubicBezTo>
                        <a:pt x="1216" y="2266"/>
                        <a:pt x="1214" y="2266"/>
                        <a:pt x="1211" y="2266"/>
                      </a:cubicBezTo>
                      <a:cubicBezTo>
                        <a:pt x="1205" y="2266"/>
                        <a:pt x="1200" y="2264"/>
                        <a:pt x="1195" y="2261"/>
                      </a:cubicBezTo>
                      <a:cubicBezTo>
                        <a:pt x="1189" y="2255"/>
                        <a:pt x="1185" y="2247"/>
                        <a:pt x="1186" y="2239"/>
                      </a:cubicBezTo>
                      <a:cubicBezTo>
                        <a:pt x="1193" y="2153"/>
                        <a:pt x="1222" y="2069"/>
                        <a:pt x="1251" y="1987"/>
                      </a:cubicBezTo>
                      <a:cubicBezTo>
                        <a:pt x="1261" y="1958"/>
                        <a:pt x="1271" y="1929"/>
                        <a:pt x="1280" y="1901"/>
                      </a:cubicBezTo>
                      <a:cubicBezTo>
                        <a:pt x="1297" y="1848"/>
                        <a:pt x="1314" y="1796"/>
                        <a:pt x="1331" y="1745"/>
                      </a:cubicBezTo>
                      <a:cubicBezTo>
                        <a:pt x="1345" y="1702"/>
                        <a:pt x="1360" y="1659"/>
                        <a:pt x="1374" y="1615"/>
                      </a:cubicBezTo>
                      <a:cubicBezTo>
                        <a:pt x="1365" y="1617"/>
                        <a:pt x="1355" y="1618"/>
                        <a:pt x="1345" y="1618"/>
                      </a:cubicBezTo>
                      <a:cubicBezTo>
                        <a:pt x="1322" y="1618"/>
                        <a:pt x="1299" y="1613"/>
                        <a:pt x="1277" y="1609"/>
                      </a:cubicBezTo>
                      <a:cubicBezTo>
                        <a:pt x="1254" y="1605"/>
                        <a:pt x="1232" y="1601"/>
                        <a:pt x="1213" y="1602"/>
                      </a:cubicBezTo>
                      <a:cubicBezTo>
                        <a:pt x="1201" y="1602"/>
                        <a:pt x="1189" y="1607"/>
                        <a:pt x="1176" y="1613"/>
                      </a:cubicBezTo>
                      <a:cubicBezTo>
                        <a:pt x="1159" y="1620"/>
                        <a:pt x="1140" y="1628"/>
                        <a:pt x="1116" y="1627"/>
                      </a:cubicBezTo>
                      <a:cubicBezTo>
                        <a:pt x="1094" y="1626"/>
                        <a:pt x="1073" y="1616"/>
                        <a:pt x="1055" y="1608"/>
                      </a:cubicBezTo>
                      <a:cubicBezTo>
                        <a:pt x="1041" y="1600"/>
                        <a:pt x="1026" y="1593"/>
                        <a:pt x="1015" y="1593"/>
                      </a:cubicBezTo>
                      <a:cubicBezTo>
                        <a:pt x="1015" y="1593"/>
                        <a:pt x="1015" y="1593"/>
                        <a:pt x="1015" y="1593"/>
                      </a:cubicBezTo>
                      <a:cubicBezTo>
                        <a:pt x="1004" y="1593"/>
                        <a:pt x="991" y="1599"/>
                        <a:pt x="977" y="1604"/>
                      </a:cubicBezTo>
                      <a:cubicBezTo>
                        <a:pt x="961" y="1610"/>
                        <a:pt x="942" y="1618"/>
                        <a:pt x="923" y="1619"/>
                      </a:cubicBezTo>
                      <a:cubicBezTo>
                        <a:pt x="898" y="1620"/>
                        <a:pt x="880" y="1617"/>
                        <a:pt x="863" y="1614"/>
                      </a:cubicBezTo>
                      <a:cubicBezTo>
                        <a:pt x="861" y="1614"/>
                        <a:pt x="858" y="1614"/>
                        <a:pt x="856" y="1613"/>
                      </a:cubicBezTo>
                      <a:cubicBezTo>
                        <a:pt x="872" y="1662"/>
                        <a:pt x="887" y="1712"/>
                        <a:pt x="901" y="1761"/>
                      </a:cubicBezTo>
                      <a:cubicBezTo>
                        <a:pt x="915" y="1810"/>
                        <a:pt x="930" y="1861"/>
                        <a:pt x="946" y="1909"/>
                      </a:cubicBezTo>
                      <a:cubicBezTo>
                        <a:pt x="956" y="1939"/>
                        <a:pt x="968" y="1969"/>
                        <a:pt x="979" y="1998"/>
                      </a:cubicBezTo>
                      <a:cubicBezTo>
                        <a:pt x="1010" y="2076"/>
                        <a:pt x="1041" y="2155"/>
                        <a:pt x="1041" y="2241"/>
                      </a:cubicBezTo>
                      <a:cubicBezTo>
                        <a:pt x="1041" y="2249"/>
                        <a:pt x="1036" y="2257"/>
                        <a:pt x="1029" y="2262"/>
                      </a:cubicBezTo>
                      <a:cubicBezTo>
                        <a:pt x="1022" y="2267"/>
                        <a:pt x="1013" y="2268"/>
                        <a:pt x="1005" y="2264"/>
                      </a:cubicBezTo>
                      <a:cubicBezTo>
                        <a:pt x="945" y="2239"/>
                        <a:pt x="930" y="2174"/>
                        <a:pt x="917" y="2121"/>
                      </a:cubicBezTo>
                      <a:cubicBezTo>
                        <a:pt x="913" y="2106"/>
                        <a:pt x="910" y="2091"/>
                        <a:pt x="906" y="2078"/>
                      </a:cubicBezTo>
                      <a:cubicBezTo>
                        <a:pt x="883" y="2012"/>
                        <a:pt x="862" y="1944"/>
                        <a:pt x="841" y="1880"/>
                      </a:cubicBezTo>
                      <a:cubicBezTo>
                        <a:pt x="821" y="1816"/>
                        <a:pt x="800" y="1751"/>
                        <a:pt x="778" y="1687"/>
                      </a:cubicBezTo>
                      <a:cubicBezTo>
                        <a:pt x="773" y="1671"/>
                        <a:pt x="767" y="1656"/>
                        <a:pt x="760" y="1639"/>
                      </a:cubicBezTo>
                      <a:cubicBezTo>
                        <a:pt x="739" y="1588"/>
                        <a:pt x="718" y="1534"/>
                        <a:pt x="726" y="1479"/>
                      </a:cubicBezTo>
                      <a:cubicBezTo>
                        <a:pt x="727" y="1471"/>
                        <a:pt x="732" y="1463"/>
                        <a:pt x="740" y="1460"/>
                      </a:cubicBezTo>
                      <a:cubicBezTo>
                        <a:pt x="747" y="1456"/>
                        <a:pt x="756" y="1456"/>
                        <a:pt x="763" y="1460"/>
                      </a:cubicBezTo>
                      <a:cubicBezTo>
                        <a:pt x="773" y="1465"/>
                        <a:pt x="783" y="1471"/>
                        <a:pt x="793" y="1477"/>
                      </a:cubicBezTo>
                      <a:cubicBezTo>
                        <a:pt x="830" y="1499"/>
                        <a:pt x="872" y="1524"/>
                        <a:pt x="914" y="1524"/>
                      </a:cubicBezTo>
                      <a:cubicBezTo>
                        <a:pt x="929" y="1524"/>
                        <a:pt x="943" y="1521"/>
                        <a:pt x="957" y="1515"/>
                      </a:cubicBezTo>
                      <a:cubicBezTo>
                        <a:pt x="942" y="1471"/>
                        <a:pt x="946" y="1419"/>
                        <a:pt x="968" y="1382"/>
                      </a:cubicBezTo>
                      <a:cubicBezTo>
                        <a:pt x="990" y="1345"/>
                        <a:pt x="1027" y="1328"/>
                        <a:pt x="1065" y="1339"/>
                      </a:cubicBezTo>
                      <a:cubicBezTo>
                        <a:pt x="1090" y="1346"/>
                        <a:pt x="1108" y="1364"/>
                        <a:pt x="1117" y="1391"/>
                      </a:cubicBezTo>
                      <a:cubicBezTo>
                        <a:pt x="1130" y="1430"/>
                        <a:pt x="1123" y="1483"/>
                        <a:pt x="1106" y="1523"/>
                      </a:cubicBezTo>
                      <a:cubicBezTo>
                        <a:pt x="1120" y="1525"/>
                        <a:pt x="1137" y="1526"/>
                        <a:pt x="1150" y="1525"/>
                      </a:cubicBezTo>
                      <a:cubicBezTo>
                        <a:pt x="1137" y="1496"/>
                        <a:pt x="1123" y="1463"/>
                        <a:pt x="1135" y="1417"/>
                      </a:cubicBezTo>
                      <a:cubicBezTo>
                        <a:pt x="1147" y="1369"/>
                        <a:pt x="1178" y="1340"/>
                        <a:pt x="1217" y="1340"/>
                      </a:cubicBezTo>
                      <a:cubicBezTo>
                        <a:pt x="1262" y="1340"/>
                        <a:pt x="1312" y="1384"/>
                        <a:pt x="1313" y="1456"/>
                      </a:cubicBezTo>
                      <a:cubicBezTo>
                        <a:pt x="1314" y="1481"/>
                        <a:pt x="1306" y="1499"/>
                        <a:pt x="1298" y="1516"/>
                      </a:cubicBezTo>
                      <a:cubicBezTo>
                        <a:pt x="1297" y="1519"/>
                        <a:pt x="1296" y="1522"/>
                        <a:pt x="1294" y="1525"/>
                      </a:cubicBezTo>
                      <a:cubicBezTo>
                        <a:pt x="1299" y="1526"/>
                        <a:pt x="1304" y="1526"/>
                        <a:pt x="1309" y="1526"/>
                      </a:cubicBezTo>
                      <a:cubicBezTo>
                        <a:pt x="1341" y="1526"/>
                        <a:pt x="1371" y="1508"/>
                        <a:pt x="1400" y="1491"/>
                      </a:cubicBezTo>
                      <a:cubicBezTo>
                        <a:pt x="1429" y="1473"/>
                        <a:pt x="1456" y="1457"/>
                        <a:pt x="1488" y="1457"/>
                      </a:cubicBezTo>
                      <a:cubicBezTo>
                        <a:pt x="1490" y="1457"/>
                        <a:pt x="1492" y="1457"/>
                        <a:pt x="1494" y="1457"/>
                      </a:cubicBezTo>
                      <a:cubicBezTo>
                        <a:pt x="1502" y="1458"/>
                        <a:pt x="1509" y="1462"/>
                        <a:pt x="1514" y="1469"/>
                      </a:cubicBezTo>
                      <a:cubicBezTo>
                        <a:pt x="1518" y="1475"/>
                        <a:pt x="1519" y="1484"/>
                        <a:pt x="1516" y="1491"/>
                      </a:cubicBezTo>
                      <a:close/>
                    </a:path>
                  </a:pathLst>
                </a:custGeom>
                <a:solidFill>
                  <a:schemeClr val="accent2"/>
                </a:solidFill>
                <a:ln>
                  <a:noFill/>
                </a:ln>
              </p:spPr>
              <p:txBody>
                <a:bodyPr vert="horz" wrap="square" lIns="91440" tIns="45720" rIns="91440" bIns="45720" numCol="1" anchor="t" anchorCtr="0" compatLnSpc="1">
                  <a:prstTxWarp prst="textNoShape">
                    <a:avLst/>
                  </a:prstTxWarp>
                  <a:noAutofit/>
                </a:bodyPr>
                <a:lstStyle/>
                <a:p>
                  <a:endParaRPr lang="en-US"/>
                </a:p>
              </p:txBody>
            </p:sp>
          </p:grpSp>
          <p:grpSp>
            <p:nvGrpSpPr>
              <p:cNvPr id="165" name="Group 164">
                <a:extLst>
                  <a:ext uri="{FF2B5EF4-FFF2-40B4-BE49-F238E27FC236}">
                    <a16:creationId xmlns:a16="http://schemas.microsoft.com/office/drawing/2014/main" id="{F39C9053-5849-47E7-9465-3323B12F4119}"/>
                  </a:ext>
                </a:extLst>
              </p:cNvPr>
              <p:cNvGrpSpPr/>
              <p:nvPr/>
            </p:nvGrpSpPr>
            <p:grpSpPr>
              <a:xfrm>
                <a:off x="7440804" y="2828002"/>
                <a:ext cx="261463" cy="418720"/>
                <a:chOff x="3259156" y="1113563"/>
                <a:chExt cx="666571" cy="1067480"/>
              </a:xfrm>
            </p:grpSpPr>
            <p:sp>
              <p:nvSpPr>
                <p:cNvPr id="184" name="Rounded Rectangle 176">
                  <a:extLst>
                    <a:ext uri="{FF2B5EF4-FFF2-40B4-BE49-F238E27FC236}">
                      <a16:creationId xmlns:a16="http://schemas.microsoft.com/office/drawing/2014/main" id="{B8F3799B-4684-4FFC-9219-210EE7C88A0F}"/>
                    </a:ext>
                  </a:extLst>
                </p:cNvPr>
                <p:cNvSpPr>
                  <a:spLocks/>
                </p:cNvSpPr>
                <p:nvPr>
                  <p:custDataLst>
                    <p:tags r:id="rId7"/>
                  </p:custDataLst>
                </p:nvPr>
              </p:nvSpPr>
              <p:spPr bwMode="gray">
                <a:xfrm>
                  <a:off x="3485922" y="1333534"/>
                  <a:ext cx="221826" cy="794764"/>
                </a:xfrm>
                <a:prstGeom prst="roundRect">
                  <a:avLst/>
                </a:prstGeom>
                <a:solidFill>
                  <a:schemeClr val="bg2"/>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b="0" dirty="0" err="1">
                    <a:solidFill>
                      <a:srgbClr val="000000"/>
                    </a:solidFill>
                  </a:endParaRPr>
                </a:p>
              </p:txBody>
            </p:sp>
            <p:sp>
              <p:nvSpPr>
                <p:cNvPr id="185" name="Freeform 149">
                  <a:extLst>
                    <a:ext uri="{FF2B5EF4-FFF2-40B4-BE49-F238E27FC236}">
                      <a16:creationId xmlns:a16="http://schemas.microsoft.com/office/drawing/2014/main" id="{A9223C39-E492-449B-BE33-BEAF8626FDF4}"/>
                    </a:ext>
                  </a:extLst>
                </p:cNvPr>
                <p:cNvSpPr>
                  <a:spLocks noChangeAspect="1" noEditPoints="1"/>
                </p:cNvSpPr>
                <p:nvPr/>
              </p:nvSpPr>
              <p:spPr bwMode="gray">
                <a:xfrm>
                  <a:off x="3259156" y="1113563"/>
                  <a:ext cx="666571" cy="1067480"/>
                </a:xfrm>
                <a:custGeom>
                  <a:avLst/>
                  <a:gdLst>
                    <a:gd name="T0" fmla="*/ 1222 w 2252"/>
                    <a:gd name="T1" fmla="*/ 4 h 3602"/>
                    <a:gd name="T2" fmla="*/ 2 w 2252"/>
                    <a:gd name="T3" fmla="*/ 1112 h 3602"/>
                    <a:gd name="T4" fmla="*/ 423 w 2252"/>
                    <a:gd name="T5" fmla="*/ 2104 h 3602"/>
                    <a:gd name="T6" fmla="*/ 556 w 2252"/>
                    <a:gd name="T7" fmla="*/ 2667 h 3602"/>
                    <a:gd name="T8" fmla="*/ 661 w 2252"/>
                    <a:gd name="T9" fmla="*/ 2945 h 3602"/>
                    <a:gd name="T10" fmla="*/ 827 w 2252"/>
                    <a:gd name="T11" fmla="*/ 3393 h 3602"/>
                    <a:gd name="T12" fmla="*/ 865 w 2252"/>
                    <a:gd name="T13" fmla="*/ 3415 h 3602"/>
                    <a:gd name="T14" fmla="*/ 1372 w 2252"/>
                    <a:gd name="T15" fmla="*/ 3497 h 3602"/>
                    <a:gd name="T16" fmla="*/ 1414 w 2252"/>
                    <a:gd name="T17" fmla="*/ 3395 h 3602"/>
                    <a:gd name="T18" fmla="*/ 1604 w 2252"/>
                    <a:gd name="T19" fmla="*/ 3021 h 3602"/>
                    <a:gd name="T20" fmla="*/ 1637 w 2252"/>
                    <a:gd name="T21" fmla="*/ 2748 h 3602"/>
                    <a:gd name="T22" fmla="*/ 1689 w 2252"/>
                    <a:gd name="T23" fmla="*/ 2409 h 3602"/>
                    <a:gd name="T24" fmla="*/ 2130 w 2252"/>
                    <a:gd name="T25" fmla="*/ 1547 h 3602"/>
                    <a:gd name="T26" fmla="*/ 1127 w 2252"/>
                    <a:gd name="T27" fmla="*/ 3466 h 3602"/>
                    <a:gd name="T28" fmla="*/ 1079 w 2252"/>
                    <a:gd name="T29" fmla="*/ 3384 h 3602"/>
                    <a:gd name="T30" fmla="*/ 1234 w 2252"/>
                    <a:gd name="T31" fmla="*/ 3386 h 3602"/>
                    <a:gd name="T32" fmla="*/ 1308 w 2252"/>
                    <a:gd name="T33" fmla="*/ 3262 h 3602"/>
                    <a:gd name="T34" fmla="*/ 1037 w 2252"/>
                    <a:gd name="T35" fmla="*/ 3261 h 3602"/>
                    <a:gd name="T36" fmla="*/ 773 w 2252"/>
                    <a:gd name="T37" fmla="*/ 3217 h 3602"/>
                    <a:gd name="T38" fmla="*/ 1067 w 2252"/>
                    <a:gd name="T39" fmla="*/ 3198 h 3602"/>
                    <a:gd name="T40" fmla="*/ 1386 w 2252"/>
                    <a:gd name="T41" fmla="*/ 3196 h 3602"/>
                    <a:gd name="T42" fmla="*/ 1473 w 2252"/>
                    <a:gd name="T43" fmla="*/ 3058 h 3602"/>
                    <a:gd name="T44" fmla="*/ 1101 w 2252"/>
                    <a:gd name="T45" fmla="*/ 3071 h 3602"/>
                    <a:gd name="T46" fmla="*/ 773 w 2252"/>
                    <a:gd name="T47" fmla="*/ 3051 h 3602"/>
                    <a:gd name="T48" fmla="*/ 1000 w 2252"/>
                    <a:gd name="T49" fmla="*/ 3009 h 3602"/>
                    <a:gd name="T50" fmla="*/ 1329 w 2252"/>
                    <a:gd name="T51" fmla="*/ 3010 h 3602"/>
                    <a:gd name="T52" fmla="*/ 1473 w 2252"/>
                    <a:gd name="T53" fmla="*/ 3058 h 3602"/>
                    <a:gd name="T54" fmla="*/ 1367 w 2252"/>
                    <a:gd name="T55" fmla="*/ 2885 h 3602"/>
                    <a:gd name="T56" fmla="*/ 1036 w 2252"/>
                    <a:gd name="T57" fmla="*/ 2886 h 3602"/>
                    <a:gd name="T58" fmla="*/ 769 w 2252"/>
                    <a:gd name="T59" fmla="*/ 2851 h 3602"/>
                    <a:gd name="T60" fmla="*/ 1067 w 2252"/>
                    <a:gd name="T61" fmla="*/ 2824 h 3602"/>
                    <a:gd name="T62" fmla="*/ 1468 w 2252"/>
                    <a:gd name="T63" fmla="*/ 2831 h 3602"/>
                    <a:gd name="T64" fmla="*/ 1406 w 2252"/>
                    <a:gd name="T65" fmla="*/ 1835 h 3602"/>
                    <a:gd name="T66" fmla="*/ 1219 w 2252"/>
                    <a:gd name="T67" fmla="*/ 2265 h 3602"/>
                    <a:gd name="T68" fmla="*/ 1186 w 2252"/>
                    <a:gd name="T69" fmla="*/ 2239 h 3602"/>
                    <a:gd name="T70" fmla="*/ 1331 w 2252"/>
                    <a:gd name="T71" fmla="*/ 1745 h 3602"/>
                    <a:gd name="T72" fmla="*/ 1277 w 2252"/>
                    <a:gd name="T73" fmla="*/ 1609 h 3602"/>
                    <a:gd name="T74" fmla="*/ 1116 w 2252"/>
                    <a:gd name="T75" fmla="*/ 1627 h 3602"/>
                    <a:gd name="T76" fmla="*/ 1015 w 2252"/>
                    <a:gd name="T77" fmla="*/ 1593 h 3602"/>
                    <a:gd name="T78" fmla="*/ 863 w 2252"/>
                    <a:gd name="T79" fmla="*/ 1614 h 3602"/>
                    <a:gd name="T80" fmla="*/ 946 w 2252"/>
                    <a:gd name="T81" fmla="*/ 1909 h 3602"/>
                    <a:gd name="T82" fmla="*/ 1029 w 2252"/>
                    <a:gd name="T83" fmla="*/ 2262 h 3602"/>
                    <a:gd name="T84" fmla="*/ 906 w 2252"/>
                    <a:gd name="T85" fmla="*/ 2078 h 3602"/>
                    <a:gd name="T86" fmla="*/ 760 w 2252"/>
                    <a:gd name="T87" fmla="*/ 1639 h 3602"/>
                    <a:gd name="T88" fmla="*/ 763 w 2252"/>
                    <a:gd name="T89" fmla="*/ 1460 h 3602"/>
                    <a:gd name="T90" fmla="*/ 957 w 2252"/>
                    <a:gd name="T91" fmla="*/ 1515 h 3602"/>
                    <a:gd name="T92" fmla="*/ 1117 w 2252"/>
                    <a:gd name="T93" fmla="*/ 1391 h 3602"/>
                    <a:gd name="T94" fmla="*/ 1135 w 2252"/>
                    <a:gd name="T95" fmla="*/ 1417 h 3602"/>
                    <a:gd name="T96" fmla="*/ 1298 w 2252"/>
                    <a:gd name="T97" fmla="*/ 1516 h 3602"/>
                    <a:gd name="T98" fmla="*/ 1400 w 2252"/>
                    <a:gd name="T99" fmla="*/ 1491 h 3602"/>
                    <a:gd name="T100" fmla="*/ 1514 w 2252"/>
                    <a:gd name="T101" fmla="*/ 1469 h 36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252" h="3602">
                      <a:moveTo>
                        <a:pt x="2234" y="1007"/>
                      </a:moveTo>
                      <a:cubicBezTo>
                        <a:pt x="2215" y="755"/>
                        <a:pt x="2099" y="512"/>
                        <a:pt x="1907" y="324"/>
                      </a:cubicBezTo>
                      <a:cubicBezTo>
                        <a:pt x="1718" y="138"/>
                        <a:pt x="1475" y="25"/>
                        <a:pt x="1222" y="4"/>
                      </a:cubicBezTo>
                      <a:cubicBezTo>
                        <a:pt x="1187" y="1"/>
                        <a:pt x="1152" y="0"/>
                        <a:pt x="1117" y="0"/>
                      </a:cubicBezTo>
                      <a:cubicBezTo>
                        <a:pt x="808" y="0"/>
                        <a:pt x="538" y="118"/>
                        <a:pt x="316" y="353"/>
                      </a:cubicBezTo>
                      <a:cubicBezTo>
                        <a:pt x="108" y="571"/>
                        <a:pt x="0" y="834"/>
                        <a:pt x="2" y="1112"/>
                      </a:cubicBezTo>
                      <a:cubicBezTo>
                        <a:pt x="4" y="1373"/>
                        <a:pt x="141" y="1638"/>
                        <a:pt x="244" y="1814"/>
                      </a:cubicBezTo>
                      <a:cubicBezTo>
                        <a:pt x="280" y="1876"/>
                        <a:pt x="320" y="1940"/>
                        <a:pt x="363" y="2008"/>
                      </a:cubicBezTo>
                      <a:cubicBezTo>
                        <a:pt x="383" y="2040"/>
                        <a:pt x="403" y="2072"/>
                        <a:pt x="423" y="2104"/>
                      </a:cubicBezTo>
                      <a:cubicBezTo>
                        <a:pt x="486" y="2206"/>
                        <a:pt x="544" y="2306"/>
                        <a:pt x="556" y="2418"/>
                      </a:cubicBezTo>
                      <a:cubicBezTo>
                        <a:pt x="559" y="2449"/>
                        <a:pt x="557" y="2488"/>
                        <a:pt x="554" y="2525"/>
                      </a:cubicBezTo>
                      <a:cubicBezTo>
                        <a:pt x="551" y="2575"/>
                        <a:pt x="547" y="2626"/>
                        <a:pt x="556" y="2667"/>
                      </a:cubicBezTo>
                      <a:cubicBezTo>
                        <a:pt x="566" y="2710"/>
                        <a:pt x="591" y="2736"/>
                        <a:pt x="616" y="2761"/>
                      </a:cubicBezTo>
                      <a:cubicBezTo>
                        <a:pt x="626" y="2771"/>
                        <a:pt x="636" y="2781"/>
                        <a:pt x="646" y="2793"/>
                      </a:cubicBezTo>
                      <a:cubicBezTo>
                        <a:pt x="627" y="2842"/>
                        <a:pt x="633" y="2903"/>
                        <a:pt x="661" y="2945"/>
                      </a:cubicBezTo>
                      <a:cubicBezTo>
                        <a:pt x="630" y="3000"/>
                        <a:pt x="625" y="3081"/>
                        <a:pt x="661" y="3133"/>
                      </a:cubicBezTo>
                      <a:cubicBezTo>
                        <a:pt x="630" y="3188"/>
                        <a:pt x="628" y="3249"/>
                        <a:pt x="655" y="3300"/>
                      </a:cubicBezTo>
                      <a:cubicBezTo>
                        <a:pt x="686" y="3358"/>
                        <a:pt x="750" y="3393"/>
                        <a:pt x="827" y="3393"/>
                      </a:cubicBezTo>
                      <a:cubicBezTo>
                        <a:pt x="827" y="3393"/>
                        <a:pt x="827" y="3393"/>
                        <a:pt x="827" y="3393"/>
                      </a:cubicBezTo>
                      <a:cubicBezTo>
                        <a:pt x="839" y="3393"/>
                        <a:pt x="852" y="3392"/>
                        <a:pt x="865" y="3390"/>
                      </a:cubicBezTo>
                      <a:cubicBezTo>
                        <a:pt x="865" y="3399"/>
                        <a:pt x="865" y="3407"/>
                        <a:pt x="865" y="3415"/>
                      </a:cubicBezTo>
                      <a:cubicBezTo>
                        <a:pt x="865" y="3463"/>
                        <a:pt x="864" y="3518"/>
                        <a:pt x="915" y="3559"/>
                      </a:cubicBezTo>
                      <a:cubicBezTo>
                        <a:pt x="964" y="3599"/>
                        <a:pt x="1073" y="3602"/>
                        <a:pt x="1105" y="3602"/>
                      </a:cubicBezTo>
                      <a:cubicBezTo>
                        <a:pt x="1215" y="3602"/>
                        <a:pt x="1343" y="3574"/>
                        <a:pt x="1372" y="3497"/>
                      </a:cubicBezTo>
                      <a:cubicBezTo>
                        <a:pt x="1385" y="3462"/>
                        <a:pt x="1382" y="3436"/>
                        <a:pt x="1378" y="3409"/>
                      </a:cubicBezTo>
                      <a:cubicBezTo>
                        <a:pt x="1377" y="3403"/>
                        <a:pt x="1376" y="3398"/>
                        <a:pt x="1376" y="3392"/>
                      </a:cubicBezTo>
                      <a:cubicBezTo>
                        <a:pt x="1389" y="3394"/>
                        <a:pt x="1401" y="3395"/>
                        <a:pt x="1414" y="3395"/>
                      </a:cubicBezTo>
                      <a:cubicBezTo>
                        <a:pt x="1493" y="3395"/>
                        <a:pt x="1561" y="3356"/>
                        <a:pt x="1591" y="3294"/>
                      </a:cubicBezTo>
                      <a:cubicBezTo>
                        <a:pt x="1614" y="3245"/>
                        <a:pt x="1608" y="3189"/>
                        <a:pt x="1577" y="3140"/>
                      </a:cubicBezTo>
                      <a:cubicBezTo>
                        <a:pt x="1598" y="3109"/>
                        <a:pt x="1607" y="3061"/>
                        <a:pt x="1604" y="3021"/>
                      </a:cubicBezTo>
                      <a:cubicBezTo>
                        <a:pt x="1602" y="2991"/>
                        <a:pt x="1593" y="2966"/>
                        <a:pt x="1579" y="2948"/>
                      </a:cubicBezTo>
                      <a:cubicBezTo>
                        <a:pt x="1602" y="2911"/>
                        <a:pt x="1614" y="2849"/>
                        <a:pt x="1598" y="2800"/>
                      </a:cubicBezTo>
                      <a:cubicBezTo>
                        <a:pt x="1610" y="2778"/>
                        <a:pt x="1624" y="2763"/>
                        <a:pt x="1637" y="2748"/>
                      </a:cubicBezTo>
                      <a:cubicBezTo>
                        <a:pt x="1658" y="2724"/>
                        <a:pt x="1679" y="2700"/>
                        <a:pt x="1688" y="2659"/>
                      </a:cubicBezTo>
                      <a:cubicBezTo>
                        <a:pt x="1700" y="2604"/>
                        <a:pt x="1696" y="2554"/>
                        <a:pt x="1691" y="2507"/>
                      </a:cubicBezTo>
                      <a:cubicBezTo>
                        <a:pt x="1688" y="2473"/>
                        <a:pt x="1685" y="2441"/>
                        <a:pt x="1689" y="2409"/>
                      </a:cubicBezTo>
                      <a:cubicBezTo>
                        <a:pt x="1702" y="2292"/>
                        <a:pt x="1766" y="2179"/>
                        <a:pt x="1813" y="2105"/>
                      </a:cubicBezTo>
                      <a:cubicBezTo>
                        <a:pt x="1837" y="2067"/>
                        <a:pt x="1860" y="2031"/>
                        <a:pt x="1883" y="1996"/>
                      </a:cubicBezTo>
                      <a:cubicBezTo>
                        <a:pt x="1972" y="1858"/>
                        <a:pt x="2056" y="1729"/>
                        <a:pt x="2130" y="1547"/>
                      </a:cubicBezTo>
                      <a:cubicBezTo>
                        <a:pt x="2190" y="1399"/>
                        <a:pt x="2252" y="1246"/>
                        <a:pt x="2234" y="1007"/>
                      </a:cubicBezTo>
                      <a:close/>
                      <a:moveTo>
                        <a:pt x="1247" y="3448"/>
                      </a:moveTo>
                      <a:cubicBezTo>
                        <a:pt x="1224" y="3459"/>
                        <a:pt x="1179" y="3466"/>
                        <a:pt x="1127" y="3466"/>
                      </a:cubicBezTo>
                      <a:cubicBezTo>
                        <a:pt x="1078" y="3466"/>
                        <a:pt x="1029" y="3460"/>
                        <a:pt x="1000" y="3451"/>
                      </a:cubicBezTo>
                      <a:cubicBezTo>
                        <a:pt x="996" y="3437"/>
                        <a:pt x="996" y="3408"/>
                        <a:pt x="1001" y="3396"/>
                      </a:cubicBezTo>
                      <a:cubicBezTo>
                        <a:pt x="1022" y="3385"/>
                        <a:pt x="1055" y="3384"/>
                        <a:pt x="1079" y="3384"/>
                      </a:cubicBezTo>
                      <a:cubicBezTo>
                        <a:pt x="1097" y="3384"/>
                        <a:pt x="1118" y="3385"/>
                        <a:pt x="1137" y="3386"/>
                      </a:cubicBezTo>
                      <a:cubicBezTo>
                        <a:pt x="1157" y="3387"/>
                        <a:pt x="1178" y="3388"/>
                        <a:pt x="1198" y="3388"/>
                      </a:cubicBezTo>
                      <a:cubicBezTo>
                        <a:pt x="1211" y="3388"/>
                        <a:pt x="1223" y="3387"/>
                        <a:pt x="1234" y="3386"/>
                      </a:cubicBezTo>
                      <a:cubicBezTo>
                        <a:pt x="1244" y="3392"/>
                        <a:pt x="1248" y="3411"/>
                        <a:pt x="1247" y="3448"/>
                      </a:cubicBezTo>
                      <a:close/>
                      <a:moveTo>
                        <a:pt x="1472" y="3240"/>
                      </a:moveTo>
                      <a:cubicBezTo>
                        <a:pt x="1427" y="3259"/>
                        <a:pt x="1362" y="3262"/>
                        <a:pt x="1308" y="3262"/>
                      </a:cubicBezTo>
                      <a:cubicBezTo>
                        <a:pt x="1278" y="3262"/>
                        <a:pt x="1247" y="3261"/>
                        <a:pt x="1214" y="3260"/>
                      </a:cubicBezTo>
                      <a:cubicBezTo>
                        <a:pt x="1180" y="3259"/>
                        <a:pt x="1145" y="3258"/>
                        <a:pt x="1110" y="3258"/>
                      </a:cubicBezTo>
                      <a:cubicBezTo>
                        <a:pt x="1090" y="3258"/>
                        <a:pt x="1066" y="3259"/>
                        <a:pt x="1037" y="3261"/>
                      </a:cubicBezTo>
                      <a:cubicBezTo>
                        <a:pt x="1001" y="3262"/>
                        <a:pt x="960" y="3264"/>
                        <a:pt x="921" y="3265"/>
                      </a:cubicBezTo>
                      <a:cubicBezTo>
                        <a:pt x="779" y="3265"/>
                        <a:pt x="769" y="3236"/>
                        <a:pt x="769" y="3231"/>
                      </a:cubicBezTo>
                      <a:cubicBezTo>
                        <a:pt x="768" y="3223"/>
                        <a:pt x="770" y="3220"/>
                        <a:pt x="773" y="3217"/>
                      </a:cubicBezTo>
                      <a:cubicBezTo>
                        <a:pt x="783" y="3206"/>
                        <a:pt x="814" y="3193"/>
                        <a:pt x="902" y="3193"/>
                      </a:cubicBezTo>
                      <a:cubicBezTo>
                        <a:pt x="933" y="3193"/>
                        <a:pt x="965" y="3195"/>
                        <a:pt x="996" y="3196"/>
                      </a:cubicBezTo>
                      <a:cubicBezTo>
                        <a:pt x="1022" y="3197"/>
                        <a:pt x="1046" y="3198"/>
                        <a:pt x="1067" y="3198"/>
                      </a:cubicBezTo>
                      <a:cubicBezTo>
                        <a:pt x="1263" y="3198"/>
                        <a:pt x="1263" y="3198"/>
                        <a:pt x="1263" y="3198"/>
                      </a:cubicBezTo>
                      <a:cubicBezTo>
                        <a:pt x="1285" y="3198"/>
                        <a:pt x="1307" y="3198"/>
                        <a:pt x="1328" y="3197"/>
                      </a:cubicBezTo>
                      <a:cubicBezTo>
                        <a:pt x="1349" y="3196"/>
                        <a:pt x="1368" y="3196"/>
                        <a:pt x="1386" y="3196"/>
                      </a:cubicBezTo>
                      <a:cubicBezTo>
                        <a:pt x="1435" y="3196"/>
                        <a:pt x="1465" y="3201"/>
                        <a:pt x="1472" y="3213"/>
                      </a:cubicBezTo>
                      <a:cubicBezTo>
                        <a:pt x="1476" y="3218"/>
                        <a:pt x="1476" y="3227"/>
                        <a:pt x="1472" y="3240"/>
                      </a:cubicBezTo>
                      <a:close/>
                      <a:moveTo>
                        <a:pt x="1473" y="3058"/>
                      </a:moveTo>
                      <a:cubicBezTo>
                        <a:pt x="1420" y="3071"/>
                        <a:pt x="1357" y="3073"/>
                        <a:pt x="1301" y="3073"/>
                      </a:cubicBezTo>
                      <a:cubicBezTo>
                        <a:pt x="1271" y="3073"/>
                        <a:pt x="1240" y="3073"/>
                        <a:pt x="1207" y="3072"/>
                      </a:cubicBezTo>
                      <a:cubicBezTo>
                        <a:pt x="1173" y="3071"/>
                        <a:pt x="1137" y="3071"/>
                        <a:pt x="1101" y="3071"/>
                      </a:cubicBezTo>
                      <a:cubicBezTo>
                        <a:pt x="1083" y="3071"/>
                        <a:pt x="1058" y="3072"/>
                        <a:pt x="1031" y="3073"/>
                      </a:cubicBezTo>
                      <a:cubicBezTo>
                        <a:pt x="995" y="3075"/>
                        <a:pt x="955" y="3078"/>
                        <a:pt x="916" y="3078"/>
                      </a:cubicBezTo>
                      <a:cubicBezTo>
                        <a:pt x="813" y="3078"/>
                        <a:pt x="782" y="3061"/>
                        <a:pt x="773" y="3051"/>
                      </a:cubicBezTo>
                      <a:cubicBezTo>
                        <a:pt x="770" y="3047"/>
                        <a:pt x="768" y="3044"/>
                        <a:pt x="769" y="3038"/>
                      </a:cubicBezTo>
                      <a:cubicBezTo>
                        <a:pt x="769" y="3029"/>
                        <a:pt x="784" y="3006"/>
                        <a:pt x="905" y="3006"/>
                      </a:cubicBezTo>
                      <a:cubicBezTo>
                        <a:pt x="937" y="3006"/>
                        <a:pt x="969" y="3007"/>
                        <a:pt x="1000" y="3009"/>
                      </a:cubicBezTo>
                      <a:cubicBezTo>
                        <a:pt x="1028" y="3010"/>
                        <a:pt x="1054" y="3011"/>
                        <a:pt x="1075" y="3011"/>
                      </a:cubicBezTo>
                      <a:cubicBezTo>
                        <a:pt x="1263" y="3011"/>
                        <a:pt x="1263" y="3011"/>
                        <a:pt x="1263" y="3011"/>
                      </a:cubicBezTo>
                      <a:cubicBezTo>
                        <a:pt x="1285" y="3011"/>
                        <a:pt x="1308" y="3010"/>
                        <a:pt x="1329" y="3010"/>
                      </a:cubicBezTo>
                      <a:cubicBezTo>
                        <a:pt x="1349" y="3009"/>
                        <a:pt x="1368" y="3008"/>
                        <a:pt x="1386" y="3008"/>
                      </a:cubicBezTo>
                      <a:cubicBezTo>
                        <a:pt x="1404" y="3008"/>
                        <a:pt x="1460" y="3008"/>
                        <a:pt x="1473" y="3026"/>
                      </a:cubicBezTo>
                      <a:cubicBezTo>
                        <a:pt x="1477" y="3032"/>
                        <a:pt x="1477" y="3043"/>
                        <a:pt x="1473" y="3058"/>
                      </a:cubicBezTo>
                      <a:close/>
                      <a:moveTo>
                        <a:pt x="1476" y="2866"/>
                      </a:moveTo>
                      <a:cubicBezTo>
                        <a:pt x="1465" y="2880"/>
                        <a:pt x="1444" y="2886"/>
                        <a:pt x="1407" y="2886"/>
                      </a:cubicBezTo>
                      <a:cubicBezTo>
                        <a:pt x="1394" y="2886"/>
                        <a:pt x="1381" y="2885"/>
                        <a:pt x="1367" y="2885"/>
                      </a:cubicBezTo>
                      <a:cubicBezTo>
                        <a:pt x="1353" y="2884"/>
                        <a:pt x="1338" y="2883"/>
                        <a:pt x="1323" y="2883"/>
                      </a:cubicBezTo>
                      <a:cubicBezTo>
                        <a:pt x="1110" y="2883"/>
                        <a:pt x="1110" y="2883"/>
                        <a:pt x="1110" y="2883"/>
                      </a:cubicBezTo>
                      <a:cubicBezTo>
                        <a:pt x="1090" y="2883"/>
                        <a:pt x="1065" y="2885"/>
                        <a:pt x="1036" y="2886"/>
                      </a:cubicBezTo>
                      <a:cubicBezTo>
                        <a:pt x="999" y="2888"/>
                        <a:pt x="958" y="2890"/>
                        <a:pt x="918" y="2890"/>
                      </a:cubicBezTo>
                      <a:cubicBezTo>
                        <a:pt x="819" y="2890"/>
                        <a:pt x="784" y="2876"/>
                        <a:pt x="773" y="2864"/>
                      </a:cubicBezTo>
                      <a:cubicBezTo>
                        <a:pt x="770" y="2860"/>
                        <a:pt x="768" y="2856"/>
                        <a:pt x="769" y="2851"/>
                      </a:cubicBezTo>
                      <a:cubicBezTo>
                        <a:pt x="770" y="2829"/>
                        <a:pt x="816" y="2817"/>
                        <a:pt x="895" y="2817"/>
                      </a:cubicBezTo>
                      <a:cubicBezTo>
                        <a:pt x="929" y="2817"/>
                        <a:pt x="965" y="2819"/>
                        <a:pt x="997" y="2821"/>
                      </a:cubicBezTo>
                      <a:cubicBezTo>
                        <a:pt x="1023" y="2822"/>
                        <a:pt x="1048" y="2824"/>
                        <a:pt x="1067" y="2824"/>
                      </a:cubicBezTo>
                      <a:cubicBezTo>
                        <a:pt x="1110" y="2824"/>
                        <a:pt x="1151" y="2823"/>
                        <a:pt x="1189" y="2823"/>
                      </a:cubicBezTo>
                      <a:cubicBezTo>
                        <a:pt x="1223" y="2823"/>
                        <a:pt x="1256" y="2822"/>
                        <a:pt x="1286" y="2822"/>
                      </a:cubicBezTo>
                      <a:cubicBezTo>
                        <a:pt x="1350" y="2822"/>
                        <a:pt x="1416" y="2823"/>
                        <a:pt x="1468" y="2831"/>
                      </a:cubicBezTo>
                      <a:cubicBezTo>
                        <a:pt x="1476" y="2836"/>
                        <a:pt x="1477" y="2853"/>
                        <a:pt x="1476" y="2866"/>
                      </a:cubicBezTo>
                      <a:close/>
                      <a:moveTo>
                        <a:pt x="1516" y="1491"/>
                      </a:moveTo>
                      <a:cubicBezTo>
                        <a:pt x="1478" y="1600"/>
                        <a:pt x="1441" y="1720"/>
                        <a:pt x="1406" y="1835"/>
                      </a:cubicBezTo>
                      <a:cubicBezTo>
                        <a:pt x="1381" y="1916"/>
                        <a:pt x="1355" y="2001"/>
                        <a:pt x="1329" y="2078"/>
                      </a:cubicBezTo>
                      <a:cubicBezTo>
                        <a:pt x="1326" y="2088"/>
                        <a:pt x="1323" y="2099"/>
                        <a:pt x="1319" y="2110"/>
                      </a:cubicBezTo>
                      <a:cubicBezTo>
                        <a:pt x="1301" y="2171"/>
                        <a:pt x="1279" y="2247"/>
                        <a:pt x="1219" y="2265"/>
                      </a:cubicBezTo>
                      <a:cubicBezTo>
                        <a:pt x="1216" y="2266"/>
                        <a:pt x="1214" y="2266"/>
                        <a:pt x="1211" y="2266"/>
                      </a:cubicBezTo>
                      <a:cubicBezTo>
                        <a:pt x="1205" y="2266"/>
                        <a:pt x="1200" y="2264"/>
                        <a:pt x="1195" y="2261"/>
                      </a:cubicBezTo>
                      <a:cubicBezTo>
                        <a:pt x="1189" y="2255"/>
                        <a:pt x="1185" y="2247"/>
                        <a:pt x="1186" y="2239"/>
                      </a:cubicBezTo>
                      <a:cubicBezTo>
                        <a:pt x="1193" y="2153"/>
                        <a:pt x="1222" y="2069"/>
                        <a:pt x="1251" y="1987"/>
                      </a:cubicBezTo>
                      <a:cubicBezTo>
                        <a:pt x="1261" y="1958"/>
                        <a:pt x="1271" y="1929"/>
                        <a:pt x="1280" y="1901"/>
                      </a:cubicBezTo>
                      <a:cubicBezTo>
                        <a:pt x="1297" y="1848"/>
                        <a:pt x="1314" y="1796"/>
                        <a:pt x="1331" y="1745"/>
                      </a:cubicBezTo>
                      <a:cubicBezTo>
                        <a:pt x="1345" y="1702"/>
                        <a:pt x="1360" y="1659"/>
                        <a:pt x="1374" y="1615"/>
                      </a:cubicBezTo>
                      <a:cubicBezTo>
                        <a:pt x="1365" y="1617"/>
                        <a:pt x="1355" y="1618"/>
                        <a:pt x="1345" y="1618"/>
                      </a:cubicBezTo>
                      <a:cubicBezTo>
                        <a:pt x="1322" y="1618"/>
                        <a:pt x="1299" y="1613"/>
                        <a:pt x="1277" y="1609"/>
                      </a:cubicBezTo>
                      <a:cubicBezTo>
                        <a:pt x="1254" y="1605"/>
                        <a:pt x="1232" y="1601"/>
                        <a:pt x="1213" y="1602"/>
                      </a:cubicBezTo>
                      <a:cubicBezTo>
                        <a:pt x="1201" y="1602"/>
                        <a:pt x="1189" y="1607"/>
                        <a:pt x="1176" y="1613"/>
                      </a:cubicBezTo>
                      <a:cubicBezTo>
                        <a:pt x="1159" y="1620"/>
                        <a:pt x="1140" y="1628"/>
                        <a:pt x="1116" y="1627"/>
                      </a:cubicBezTo>
                      <a:cubicBezTo>
                        <a:pt x="1094" y="1626"/>
                        <a:pt x="1073" y="1616"/>
                        <a:pt x="1055" y="1608"/>
                      </a:cubicBezTo>
                      <a:cubicBezTo>
                        <a:pt x="1041" y="1600"/>
                        <a:pt x="1026" y="1593"/>
                        <a:pt x="1015" y="1593"/>
                      </a:cubicBezTo>
                      <a:cubicBezTo>
                        <a:pt x="1015" y="1593"/>
                        <a:pt x="1015" y="1593"/>
                        <a:pt x="1015" y="1593"/>
                      </a:cubicBezTo>
                      <a:cubicBezTo>
                        <a:pt x="1004" y="1593"/>
                        <a:pt x="991" y="1599"/>
                        <a:pt x="977" y="1604"/>
                      </a:cubicBezTo>
                      <a:cubicBezTo>
                        <a:pt x="961" y="1610"/>
                        <a:pt x="942" y="1618"/>
                        <a:pt x="923" y="1619"/>
                      </a:cubicBezTo>
                      <a:cubicBezTo>
                        <a:pt x="898" y="1620"/>
                        <a:pt x="880" y="1617"/>
                        <a:pt x="863" y="1614"/>
                      </a:cubicBezTo>
                      <a:cubicBezTo>
                        <a:pt x="861" y="1614"/>
                        <a:pt x="858" y="1614"/>
                        <a:pt x="856" y="1613"/>
                      </a:cubicBezTo>
                      <a:cubicBezTo>
                        <a:pt x="872" y="1662"/>
                        <a:pt x="887" y="1712"/>
                        <a:pt x="901" y="1761"/>
                      </a:cubicBezTo>
                      <a:cubicBezTo>
                        <a:pt x="915" y="1810"/>
                        <a:pt x="930" y="1861"/>
                        <a:pt x="946" y="1909"/>
                      </a:cubicBezTo>
                      <a:cubicBezTo>
                        <a:pt x="956" y="1939"/>
                        <a:pt x="968" y="1969"/>
                        <a:pt x="979" y="1998"/>
                      </a:cubicBezTo>
                      <a:cubicBezTo>
                        <a:pt x="1010" y="2076"/>
                        <a:pt x="1041" y="2155"/>
                        <a:pt x="1041" y="2241"/>
                      </a:cubicBezTo>
                      <a:cubicBezTo>
                        <a:pt x="1041" y="2249"/>
                        <a:pt x="1036" y="2257"/>
                        <a:pt x="1029" y="2262"/>
                      </a:cubicBezTo>
                      <a:cubicBezTo>
                        <a:pt x="1022" y="2267"/>
                        <a:pt x="1013" y="2268"/>
                        <a:pt x="1005" y="2264"/>
                      </a:cubicBezTo>
                      <a:cubicBezTo>
                        <a:pt x="945" y="2239"/>
                        <a:pt x="930" y="2174"/>
                        <a:pt x="917" y="2121"/>
                      </a:cubicBezTo>
                      <a:cubicBezTo>
                        <a:pt x="913" y="2106"/>
                        <a:pt x="910" y="2091"/>
                        <a:pt x="906" y="2078"/>
                      </a:cubicBezTo>
                      <a:cubicBezTo>
                        <a:pt x="883" y="2012"/>
                        <a:pt x="862" y="1944"/>
                        <a:pt x="841" y="1880"/>
                      </a:cubicBezTo>
                      <a:cubicBezTo>
                        <a:pt x="821" y="1816"/>
                        <a:pt x="800" y="1751"/>
                        <a:pt x="778" y="1687"/>
                      </a:cubicBezTo>
                      <a:cubicBezTo>
                        <a:pt x="773" y="1671"/>
                        <a:pt x="767" y="1656"/>
                        <a:pt x="760" y="1639"/>
                      </a:cubicBezTo>
                      <a:cubicBezTo>
                        <a:pt x="739" y="1588"/>
                        <a:pt x="718" y="1534"/>
                        <a:pt x="726" y="1479"/>
                      </a:cubicBezTo>
                      <a:cubicBezTo>
                        <a:pt x="727" y="1471"/>
                        <a:pt x="732" y="1463"/>
                        <a:pt x="740" y="1460"/>
                      </a:cubicBezTo>
                      <a:cubicBezTo>
                        <a:pt x="747" y="1456"/>
                        <a:pt x="756" y="1456"/>
                        <a:pt x="763" y="1460"/>
                      </a:cubicBezTo>
                      <a:cubicBezTo>
                        <a:pt x="773" y="1465"/>
                        <a:pt x="783" y="1471"/>
                        <a:pt x="793" y="1477"/>
                      </a:cubicBezTo>
                      <a:cubicBezTo>
                        <a:pt x="830" y="1499"/>
                        <a:pt x="872" y="1524"/>
                        <a:pt x="914" y="1524"/>
                      </a:cubicBezTo>
                      <a:cubicBezTo>
                        <a:pt x="929" y="1524"/>
                        <a:pt x="943" y="1521"/>
                        <a:pt x="957" y="1515"/>
                      </a:cubicBezTo>
                      <a:cubicBezTo>
                        <a:pt x="942" y="1471"/>
                        <a:pt x="946" y="1419"/>
                        <a:pt x="968" y="1382"/>
                      </a:cubicBezTo>
                      <a:cubicBezTo>
                        <a:pt x="990" y="1345"/>
                        <a:pt x="1027" y="1328"/>
                        <a:pt x="1065" y="1339"/>
                      </a:cubicBezTo>
                      <a:cubicBezTo>
                        <a:pt x="1090" y="1346"/>
                        <a:pt x="1108" y="1364"/>
                        <a:pt x="1117" y="1391"/>
                      </a:cubicBezTo>
                      <a:cubicBezTo>
                        <a:pt x="1130" y="1430"/>
                        <a:pt x="1123" y="1483"/>
                        <a:pt x="1106" y="1523"/>
                      </a:cubicBezTo>
                      <a:cubicBezTo>
                        <a:pt x="1120" y="1525"/>
                        <a:pt x="1137" y="1526"/>
                        <a:pt x="1150" y="1525"/>
                      </a:cubicBezTo>
                      <a:cubicBezTo>
                        <a:pt x="1137" y="1496"/>
                        <a:pt x="1123" y="1463"/>
                        <a:pt x="1135" y="1417"/>
                      </a:cubicBezTo>
                      <a:cubicBezTo>
                        <a:pt x="1147" y="1369"/>
                        <a:pt x="1178" y="1340"/>
                        <a:pt x="1217" y="1340"/>
                      </a:cubicBezTo>
                      <a:cubicBezTo>
                        <a:pt x="1262" y="1340"/>
                        <a:pt x="1312" y="1384"/>
                        <a:pt x="1313" y="1456"/>
                      </a:cubicBezTo>
                      <a:cubicBezTo>
                        <a:pt x="1314" y="1481"/>
                        <a:pt x="1306" y="1499"/>
                        <a:pt x="1298" y="1516"/>
                      </a:cubicBezTo>
                      <a:cubicBezTo>
                        <a:pt x="1297" y="1519"/>
                        <a:pt x="1296" y="1522"/>
                        <a:pt x="1294" y="1525"/>
                      </a:cubicBezTo>
                      <a:cubicBezTo>
                        <a:pt x="1299" y="1526"/>
                        <a:pt x="1304" y="1526"/>
                        <a:pt x="1309" y="1526"/>
                      </a:cubicBezTo>
                      <a:cubicBezTo>
                        <a:pt x="1341" y="1526"/>
                        <a:pt x="1371" y="1508"/>
                        <a:pt x="1400" y="1491"/>
                      </a:cubicBezTo>
                      <a:cubicBezTo>
                        <a:pt x="1429" y="1473"/>
                        <a:pt x="1456" y="1457"/>
                        <a:pt x="1488" y="1457"/>
                      </a:cubicBezTo>
                      <a:cubicBezTo>
                        <a:pt x="1490" y="1457"/>
                        <a:pt x="1492" y="1457"/>
                        <a:pt x="1494" y="1457"/>
                      </a:cubicBezTo>
                      <a:cubicBezTo>
                        <a:pt x="1502" y="1458"/>
                        <a:pt x="1509" y="1462"/>
                        <a:pt x="1514" y="1469"/>
                      </a:cubicBezTo>
                      <a:cubicBezTo>
                        <a:pt x="1518" y="1475"/>
                        <a:pt x="1519" y="1484"/>
                        <a:pt x="1516" y="1491"/>
                      </a:cubicBezTo>
                      <a:close/>
                    </a:path>
                  </a:pathLst>
                </a:custGeom>
                <a:solidFill>
                  <a:schemeClr val="accent2"/>
                </a:solidFill>
                <a:ln>
                  <a:noFill/>
                </a:ln>
              </p:spPr>
              <p:txBody>
                <a:bodyPr vert="horz" wrap="square" lIns="91440" tIns="45720" rIns="91440" bIns="45720" numCol="1" anchor="t" anchorCtr="0" compatLnSpc="1">
                  <a:prstTxWarp prst="textNoShape">
                    <a:avLst/>
                  </a:prstTxWarp>
                  <a:noAutofit/>
                </a:bodyPr>
                <a:lstStyle/>
                <a:p>
                  <a:endParaRPr lang="en-US"/>
                </a:p>
              </p:txBody>
            </p:sp>
          </p:grpSp>
          <p:grpSp>
            <p:nvGrpSpPr>
              <p:cNvPr id="166" name="Group 165">
                <a:extLst>
                  <a:ext uri="{FF2B5EF4-FFF2-40B4-BE49-F238E27FC236}">
                    <a16:creationId xmlns:a16="http://schemas.microsoft.com/office/drawing/2014/main" id="{1E0FD31F-C9C0-433D-BBE5-8AC626C9048E}"/>
                  </a:ext>
                </a:extLst>
              </p:cNvPr>
              <p:cNvGrpSpPr/>
              <p:nvPr/>
            </p:nvGrpSpPr>
            <p:grpSpPr>
              <a:xfrm>
                <a:off x="7637973" y="2456527"/>
                <a:ext cx="261463" cy="418720"/>
                <a:chOff x="3259156" y="1113563"/>
                <a:chExt cx="666571" cy="1067480"/>
              </a:xfrm>
            </p:grpSpPr>
            <p:sp>
              <p:nvSpPr>
                <p:cNvPr id="182" name="Rounded Rectangle 179">
                  <a:extLst>
                    <a:ext uri="{FF2B5EF4-FFF2-40B4-BE49-F238E27FC236}">
                      <a16:creationId xmlns:a16="http://schemas.microsoft.com/office/drawing/2014/main" id="{D36AB971-49A4-45E3-AD88-923EA4899C06}"/>
                    </a:ext>
                  </a:extLst>
                </p:cNvPr>
                <p:cNvSpPr>
                  <a:spLocks/>
                </p:cNvSpPr>
                <p:nvPr>
                  <p:custDataLst>
                    <p:tags r:id="rId6"/>
                  </p:custDataLst>
                </p:nvPr>
              </p:nvSpPr>
              <p:spPr bwMode="gray">
                <a:xfrm>
                  <a:off x="3485922" y="1333534"/>
                  <a:ext cx="221826" cy="794764"/>
                </a:xfrm>
                <a:prstGeom prst="roundRect">
                  <a:avLst/>
                </a:prstGeom>
                <a:solidFill>
                  <a:schemeClr val="bg2"/>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b="0" dirty="0" err="1">
                    <a:solidFill>
                      <a:srgbClr val="000000"/>
                    </a:solidFill>
                  </a:endParaRPr>
                </a:p>
              </p:txBody>
            </p:sp>
            <p:sp>
              <p:nvSpPr>
                <p:cNvPr id="183" name="Freeform 149">
                  <a:extLst>
                    <a:ext uri="{FF2B5EF4-FFF2-40B4-BE49-F238E27FC236}">
                      <a16:creationId xmlns:a16="http://schemas.microsoft.com/office/drawing/2014/main" id="{44643A82-EFB5-44EB-BF59-ACAC23487C24}"/>
                    </a:ext>
                  </a:extLst>
                </p:cNvPr>
                <p:cNvSpPr>
                  <a:spLocks noChangeAspect="1" noEditPoints="1"/>
                </p:cNvSpPr>
                <p:nvPr/>
              </p:nvSpPr>
              <p:spPr bwMode="gray">
                <a:xfrm>
                  <a:off x="3259156" y="1113563"/>
                  <a:ext cx="666571" cy="1067480"/>
                </a:xfrm>
                <a:custGeom>
                  <a:avLst/>
                  <a:gdLst>
                    <a:gd name="T0" fmla="*/ 1222 w 2252"/>
                    <a:gd name="T1" fmla="*/ 4 h 3602"/>
                    <a:gd name="T2" fmla="*/ 2 w 2252"/>
                    <a:gd name="T3" fmla="*/ 1112 h 3602"/>
                    <a:gd name="T4" fmla="*/ 423 w 2252"/>
                    <a:gd name="T5" fmla="*/ 2104 h 3602"/>
                    <a:gd name="T6" fmla="*/ 556 w 2252"/>
                    <a:gd name="T7" fmla="*/ 2667 h 3602"/>
                    <a:gd name="T8" fmla="*/ 661 w 2252"/>
                    <a:gd name="T9" fmla="*/ 2945 h 3602"/>
                    <a:gd name="T10" fmla="*/ 827 w 2252"/>
                    <a:gd name="T11" fmla="*/ 3393 h 3602"/>
                    <a:gd name="T12" fmla="*/ 865 w 2252"/>
                    <a:gd name="T13" fmla="*/ 3415 h 3602"/>
                    <a:gd name="T14" fmla="*/ 1372 w 2252"/>
                    <a:gd name="T15" fmla="*/ 3497 h 3602"/>
                    <a:gd name="T16" fmla="*/ 1414 w 2252"/>
                    <a:gd name="T17" fmla="*/ 3395 h 3602"/>
                    <a:gd name="T18" fmla="*/ 1604 w 2252"/>
                    <a:gd name="T19" fmla="*/ 3021 h 3602"/>
                    <a:gd name="T20" fmla="*/ 1637 w 2252"/>
                    <a:gd name="T21" fmla="*/ 2748 h 3602"/>
                    <a:gd name="T22" fmla="*/ 1689 w 2252"/>
                    <a:gd name="T23" fmla="*/ 2409 h 3602"/>
                    <a:gd name="T24" fmla="*/ 2130 w 2252"/>
                    <a:gd name="T25" fmla="*/ 1547 h 3602"/>
                    <a:gd name="T26" fmla="*/ 1127 w 2252"/>
                    <a:gd name="T27" fmla="*/ 3466 h 3602"/>
                    <a:gd name="T28" fmla="*/ 1079 w 2252"/>
                    <a:gd name="T29" fmla="*/ 3384 h 3602"/>
                    <a:gd name="T30" fmla="*/ 1234 w 2252"/>
                    <a:gd name="T31" fmla="*/ 3386 h 3602"/>
                    <a:gd name="T32" fmla="*/ 1308 w 2252"/>
                    <a:gd name="T33" fmla="*/ 3262 h 3602"/>
                    <a:gd name="T34" fmla="*/ 1037 w 2252"/>
                    <a:gd name="T35" fmla="*/ 3261 h 3602"/>
                    <a:gd name="T36" fmla="*/ 773 w 2252"/>
                    <a:gd name="T37" fmla="*/ 3217 h 3602"/>
                    <a:gd name="T38" fmla="*/ 1067 w 2252"/>
                    <a:gd name="T39" fmla="*/ 3198 h 3602"/>
                    <a:gd name="T40" fmla="*/ 1386 w 2252"/>
                    <a:gd name="T41" fmla="*/ 3196 h 3602"/>
                    <a:gd name="T42" fmla="*/ 1473 w 2252"/>
                    <a:gd name="T43" fmla="*/ 3058 h 3602"/>
                    <a:gd name="T44" fmla="*/ 1101 w 2252"/>
                    <a:gd name="T45" fmla="*/ 3071 h 3602"/>
                    <a:gd name="T46" fmla="*/ 773 w 2252"/>
                    <a:gd name="T47" fmla="*/ 3051 h 3602"/>
                    <a:gd name="T48" fmla="*/ 1000 w 2252"/>
                    <a:gd name="T49" fmla="*/ 3009 h 3602"/>
                    <a:gd name="T50" fmla="*/ 1329 w 2252"/>
                    <a:gd name="T51" fmla="*/ 3010 h 3602"/>
                    <a:gd name="T52" fmla="*/ 1473 w 2252"/>
                    <a:gd name="T53" fmla="*/ 3058 h 3602"/>
                    <a:gd name="T54" fmla="*/ 1367 w 2252"/>
                    <a:gd name="T55" fmla="*/ 2885 h 3602"/>
                    <a:gd name="T56" fmla="*/ 1036 w 2252"/>
                    <a:gd name="T57" fmla="*/ 2886 h 3602"/>
                    <a:gd name="T58" fmla="*/ 769 w 2252"/>
                    <a:gd name="T59" fmla="*/ 2851 h 3602"/>
                    <a:gd name="T60" fmla="*/ 1067 w 2252"/>
                    <a:gd name="T61" fmla="*/ 2824 h 3602"/>
                    <a:gd name="T62" fmla="*/ 1468 w 2252"/>
                    <a:gd name="T63" fmla="*/ 2831 h 3602"/>
                    <a:gd name="T64" fmla="*/ 1406 w 2252"/>
                    <a:gd name="T65" fmla="*/ 1835 h 3602"/>
                    <a:gd name="T66" fmla="*/ 1219 w 2252"/>
                    <a:gd name="T67" fmla="*/ 2265 h 3602"/>
                    <a:gd name="T68" fmla="*/ 1186 w 2252"/>
                    <a:gd name="T69" fmla="*/ 2239 h 3602"/>
                    <a:gd name="T70" fmla="*/ 1331 w 2252"/>
                    <a:gd name="T71" fmla="*/ 1745 h 3602"/>
                    <a:gd name="T72" fmla="*/ 1277 w 2252"/>
                    <a:gd name="T73" fmla="*/ 1609 h 3602"/>
                    <a:gd name="T74" fmla="*/ 1116 w 2252"/>
                    <a:gd name="T75" fmla="*/ 1627 h 3602"/>
                    <a:gd name="T76" fmla="*/ 1015 w 2252"/>
                    <a:gd name="T77" fmla="*/ 1593 h 3602"/>
                    <a:gd name="T78" fmla="*/ 863 w 2252"/>
                    <a:gd name="T79" fmla="*/ 1614 h 3602"/>
                    <a:gd name="T80" fmla="*/ 946 w 2252"/>
                    <a:gd name="T81" fmla="*/ 1909 h 3602"/>
                    <a:gd name="T82" fmla="*/ 1029 w 2252"/>
                    <a:gd name="T83" fmla="*/ 2262 h 3602"/>
                    <a:gd name="T84" fmla="*/ 906 w 2252"/>
                    <a:gd name="T85" fmla="*/ 2078 h 3602"/>
                    <a:gd name="T86" fmla="*/ 760 w 2252"/>
                    <a:gd name="T87" fmla="*/ 1639 h 3602"/>
                    <a:gd name="T88" fmla="*/ 763 w 2252"/>
                    <a:gd name="T89" fmla="*/ 1460 h 3602"/>
                    <a:gd name="T90" fmla="*/ 957 w 2252"/>
                    <a:gd name="T91" fmla="*/ 1515 h 3602"/>
                    <a:gd name="T92" fmla="*/ 1117 w 2252"/>
                    <a:gd name="T93" fmla="*/ 1391 h 3602"/>
                    <a:gd name="T94" fmla="*/ 1135 w 2252"/>
                    <a:gd name="T95" fmla="*/ 1417 h 3602"/>
                    <a:gd name="T96" fmla="*/ 1298 w 2252"/>
                    <a:gd name="T97" fmla="*/ 1516 h 3602"/>
                    <a:gd name="T98" fmla="*/ 1400 w 2252"/>
                    <a:gd name="T99" fmla="*/ 1491 h 3602"/>
                    <a:gd name="T100" fmla="*/ 1514 w 2252"/>
                    <a:gd name="T101" fmla="*/ 1469 h 36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252" h="3602">
                      <a:moveTo>
                        <a:pt x="2234" y="1007"/>
                      </a:moveTo>
                      <a:cubicBezTo>
                        <a:pt x="2215" y="755"/>
                        <a:pt x="2099" y="512"/>
                        <a:pt x="1907" y="324"/>
                      </a:cubicBezTo>
                      <a:cubicBezTo>
                        <a:pt x="1718" y="138"/>
                        <a:pt x="1475" y="25"/>
                        <a:pt x="1222" y="4"/>
                      </a:cubicBezTo>
                      <a:cubicBezTo>
                        <a:pt x="1187" y="1"/>
                        <a:pt x="1152" y="0"/>
                        <a:pt x="1117" y="0"/>
                      </a:cubicBezTo>
                      <a:cubicBezTo>
                        <a:pt x="808" y="0"/>
                        <a:pt x="538" y="118"/>
                        <a:pt x="316" y="353"/>
                      </a:cubicBezTo>
                      <a:cubicBezTo>
                        <a:pt x="108" y="571"/>
                        <a:pt x="0" y="834"/>
                        <a:pt x="2" y="1112"/>
                      </a:cubicBezTo>
                      <a:cubicBezTo>
                        <a:pt x="4" y="1373"/>
                        <a:pt x="141" y="1638"/>
                        <a:pt x="244" y="1814"/>
                      </a:cubicBezTo>
                      <a:cubicBezTo>
                        <a:pt x="280" y="1876"/>
                        <a:pt x="320" y="1940"/>
                        <a:pt x="363" y="2008"/>
                      </a:cubicBezTo>
                      <a:cubicBezTo>
                        <a:pt x="383" y="2040"/>
                        <a:pt x="403" y="2072"/>
                        <a:pt x="423" y="2104"/>
                      </a:cubicBezTo>
                      <a:cubicBezTo>
                        <a:pt x="486" y="2206"/>
                        <a:pt x="544" y="2306"/>
                        <a:pt x="556" y="2418"/>
                      </a:cubicBezTo>
                      <a:cubicBezTo>
                        <a:pt x="559" y="2449"/>
                        <a:pt x="557" y="2488"/>
                        <a:pt x="554" y="2525"/>
                      </a:cubicBezTo>
                      <a:cubicBezTo>
                        <a:pt x="551" y="2575"/>
                        <a:pt x="547" y="2626"/>
                        <a:pt x="556" y="2667"/>
                      </a:cubicBezTo>
                      <a:cubicBezTo>
                        <a:pt x="566" y="2710"/>
                        <a:pt x="591" y="2736"/>
                        <a:pt x="616" y="2761"/>
                      </a:cubicBezTo>
                      <a:cubicBezTo>
                        <a:pt x="626" y="2771"/>
                        <a:pt x="636" y="2781"/>
                        <a:pt x="646" y="2793"/>
                      </a:cubicBezTo>
                      <a:cubicBezTo>
                        <a:pt x="627" y="2842"/>
                        <a:pt x="633" y="2903"/>
                        <a:pt x="661" y="2945"/>
                      </a:cubicBezTo>
                      <a:cubicBezTo>
                        <a:pt x="630" y="3000"/>
                        <a:pt x="625" y="3081"/>
                        <a:pt x="661" y="3133"/>
                      </a:cubicBezTo>
                      <a:cubicBezTo>
                        <a:pt x="630" y="3188"/>
                        <a:pt x="628" y="3249"/>
                        <a:pt x="655" y="3300"/>
                      </a:cubicBezTo>
                      <a:cubicBezTo>
                        <a:pt x="686" y="3358"/>
                        <a:pt x="750" y="3393"/>
                        <a:pt x="827" y="3393"/>
                      </a:cubicBezTo>
                      <a:cubicBezTo>
                        <a:pt x="827" y="3393"/>
                        <a:pt x="827" y="3393"/>
                        <a:pt x="827" y="3393"/>
                      </a:cubicBezTo>
                      <a:cubicBezTo>
                        <a:pt x="839" y="3393"/>
                        <a:pt x="852" y="3392"/>
                        <a:pt x="865" y="3390"/>
                      </a:cubicBezTo>
                      <a:cubicBezTo>
                        <a:pt x="865" y="3399"/>
                        <a:pt x="865" y="3407"/>
                        <a:pt x="865" y="3415"/>
                      </a:cubicBezTo>
                      <a:cubicBezTo>
                        <a:pt x="865" y="3463"/>
                        <a:pt x="864" y="3518"/>
                        <a:pt x="915" y="3559"/>
                      </a:cubicBezTo>
                      <a:cubicBezTo>
                        <a:pt x="964" y="3599"/>
                        <a:pt x="1073" y="3602"/>
                        <a:pt x="1105" y="3602"/>
                      </a:cubicBezTo>
                      <a:cubicBezTo>
                        <a:pt x="1215" y="3602"/>
                        <a:pt x="1343" y="3574"/>
                        <a:pt x="1372" y="3497"/>
                      </a:cubicBezTo>
                      <a:cubicBezTo>
                        <a:pt x="1385" y="3462"/>
                        <a:pt x="1382" y="3436"/>
                        <a:pt x="1378" y="3409"/>
                      </a:cubicBezTo>
                      <a:cubicBezTo>
                        <a:pt x="1377" y="3403"/>
                        <a:pt x="1376" y="3398"/>
                        <a:pt x="1376" y="3392"/>
                      </a:cubicBezTo>
                      <a:cubicBezTo>
                        <a:pt x="1389" y="3394"/>
                        <a:pt x="1401" y="3395"/>
                        <a:pt x="1414" y="3395"/>
                      </a:cubicBezTo>
                      <a:cubicBezTo>
                        <a:pt x="1493" y="3395"/>
                        <a:pt x="1561" y="3356"/>
                        <a:pt x="1591" y="3294"/>
                      </a:cubicBezTo>
                      <a:cubicBezTo>
                        <a:pt x="1614" y="3245"/>
                        <a:pt x="1608" y="3189"/>
                        <a:pt x="1577" y="3140"/>
                      </a:cubicBezTo>
                      <a:cubicBezTo>
                        <a:pt x="1598" y="3109"/>
                        <a:pt x="1607" y="3061"/>
                        <a:pt x="1604" y="3021"/>
                      </a:cubicBezTo>
                      <a:cubicBezTo>
                        <a:pt x="1602" y="2991"/>
                        <a:pt x="1593" y="2966"/>
                        <a:pt x="1579" y="2948"/>
                      </a:cubicBezTo>
                      <a:cubicBezTo>
                        <a:pt x="1602" y="2911"/>
                        <a:pt x="1614" y="2849"/>
                        <a:pt x="1598" y="2800"/>
                      </a:cubicBezTo>
                      <a:cubicBezTo>
                        <a:pt x="1610" y="2778"/>
                        <a:pt x="1624" y="2763"/>
                        <a:pt x="1637" y="2748"/>
                      </a:cubicBezTo>
                      <a:cubicBezTo>
                        <a:pt x="1658" y="2724"/>
                        <a:pt x="1679" y="2700"/>
                        <a:pt x="1688" y="2659"/>
                      </a:cubicBezTo>
                      <a:cubicBezTo>
                        <a:pt x="1700" y="2604"/>
                        <a:pt x="1696" y="2554"/>
                        <a:pt x="1691" y="2507"/>
                      </a:cubicBezTo>
                      <a:cubicBezTo>
                        <a:pt x="1688" y="2473"/>
                        <a:pt x="1685" y="2441"/>
                        <a:pt x="1689" y="2409"/>
                      </a:cubicBezTo>
                      <a:cubicBezTo>
                        <a:pt x="1702" y="2292"/>
                        <a:pt x="1766" y="2179"/>
                        <a:pt x="1813" y="2105"/>
                      </a:cubicBezTo>
                      <a:cubicBezTo>
                        <a:pt x="1837" y="2067"/>
                        <a:pt x="1860" y="2031"/>
                        <a:pt x="1883" y="1996"/>
                      </a:cubicBezTo>
                      <a:cubicBezTo>
                        <a:pt x="1972" y="1858"/>
                        <a:pt x="2056" y="1729"/>
                        <a:pt x="2130" y="1547"/>
                      </a:cubicBezTo>
                      <a:cubicBezTo>
                        <a:pt x="2190" y="1399"/>
                        <a:pt x="2252" y="1246"/>
                        <a:pt x="2234" y="1007"/>
                      </a:cubicBezTo>
                      <a:close/>
                      <a:moveTo>
                        <a:pt x="1247" y="3448"/>
                      </a:moveTo>
                      <a:cubicBezTo>
                        <a:pt x="1224" y="3459"/>
                        <a:pt x="1179" y="3466"/>
                        <a:pt x="1127" y="3466"/>
                      </a:cubicBezTo>
                      <a:cubicBezTo>
                        <a:pt x="1078" y="3466"/>
                        <a:pt x="1029" y="3460"/>
                        <a:pt x="1000" y="3451"/>
                      </a:cubicBezTo>
                      <a:cubicBezTo>
                        <a:pt x="996" y="3437"/>
                        <a:pt x="996" y="3408"/>
                        <a:pt x="1001" y="3396"/>
                      </a:cubicBezTo>
                      <a:cubicBezTo>
                        <a:pt x="1022" y="3385"/>
                        <a:pt x="1055" y="3384"/>
                        <a:pt x="1079" y="3384"/>
                      </a:cubicBezTo>
                      <a:cubicBezTo>
                        <a:pt x="1097" y="3384"/>
                        <a:pt x="1118" y="3385"/>
                        <a:pt x="1137" y="3386"/>
                      </a:cubicBezTo>
                      <a:cubicBezTo>
                        <a:pt x="1157" y="3387"/>
                        <a:pt x="1178" y="3388"/>
                        <a:pt x="1198" y="3388"/>
                      </a:cubicBezTo>
                      <a:cubicBezTo>
                        <a:pt x="1211" y="3388"/>
                        <a:pt x="1223" y="3387"/>
                        <a:pt x="1234" y="3386"/>
                      </a:cubicBezTo>
                      <a:cubicBezTo>
                        <a:pt x="1244" y="3392"/>
                        <a:pt x="1248" y="3411"/>
                        <a:pt x="1247" y="3448"/>
                      </a:cubicBezTo>
                      <a:close/>
                      <a:moveTo>
                        <a:pt x="1472" y="3240"/>
                      </a:moveTo>
                      <a:cubicBezTo>
                        <a:pt x="1427" y="3259"/>
                        <a:pt x="1362" y="3262"/>
                        <a:pt x="1308" y="3262"/>
                      </a:cubicBezTo>
                      <a:cubicBezTo>
                        <a:pt x="1278" y="3262"/>
                        <a:pt x="1247" y="3261"/>
                        <a:pt x="1214" y="3260"/>
                      </a:cubicBezTo>
                      <a:cubicBezTo>
                        <a:pt x="1180" y="3259"/>
                        <a:pt x="1145" y="3258"/>
                        <a:pt x="1110" y="3258"/>
                      </a:cubicBezTo>
                      <a:cubicBezTo>
                        <a:pt x="1090" y="3258"/>
                        <a:pt x="1066" y="3259"/>
                        <a:pt x="1037" y="3261"/>
                      </a:cubicBezTo>
                      <a:cubicBezTo>
                        <a:pt x="1001" y="3262"/>
                        <a:pt x="960" y="3264"/>
                        <a:pt x="921" y="3265"/>
                      </a:cubicBezTo>
                      <a:cubicBezTo>
                        <a:pt x="779" y="3265"/>
                        <a:pt x="769" y="3236"/>
                        <a:pt x="769" y="3231"/>
                      </a:cubicBezTo>
                      <a:cubicBezTo>
                        <a:pt x="768" y="3223"/>
                        <a:pt x="770" y="3220"/>
                        <a:pt x="773" y="3217"/>
                      </a:cubicBezTo>
                      <a:cubicBezTo>
                        <a:pt x="783" y="3206"/>
                        <a:pt x="814" y="3193"/>
                        <a:pt x="902" y="3193"/>
                      </a:cubicBezTo>
                      <a:cubicBezTo>
                        <a:pt x="933" y="3193"/>
                        <a:pt x="965" y="3195"/>
                        <a:pt x="996" y="3196"/>
                      </a:cubicBezTo>
                      <a:cubicBezTo>
                        <a:pt x="1022" y="3197"/>
                        <a:pt x="1046" y="3198"/>
                        <a:pt x="1067" y="3198"/>
                      </a:cubicBezTo>
                      <a:cubicBezTo>
                        <a:pt x="1263" y="3198"/>
                        <a:pt x="1263" y="3198"/>
                        <a:pt x="1263" y="3198"/>
                      </a:cubicBezTo>
                      <a:cubicBezTo>
                        <a:pt x="1285" y="3198"/>
                        <a:pt x="1307" y="3198"/>
                        <a:pt x="1328" y="3197"/>
                      </a:cubicBezTo>
                      <a:cubicBezTo>
                        <a:pt x="1349" y="3196"/>
                        <a:pt x="1368" y="3196"/>
                        <a:pt x="1386" y="3196"/>
                      </a:cubicBezTo>
                      <a:cubicBezTo>
                        <a:pt x="1435" y="3196"/>
                        <a:pt x="1465" y="3201"/>
                        <a:pt x="1472" y="3213"/>
                      </a:cubicBezTo>
                      <a:cubicBezTo>
                        <a:pt x="1476" y="3218"/>
                        <a:pt x="1476" y="3227"/>
                        <a:pt x="1472" y="3240"/>
                      </a:cubicBezTo>
                      <a:close/>
                      <a:moveTo>
                        <a:pt x="1473" y="3058"/>
                      </a:moveTo>
                      <a:cubicBezTo>
                        <a:pt x="1420" y="3071"/>
                        <a:pt x="1357" y="3073"/>
                        <a:pt x="1301" y="3073"/>
                      </a:cubicBezTo>
                      <a:cubicBezTo>
                        <a:pt x="1271" y="3073"/>
                        <a:pt x="1240" y="3073"/>
                        <a:pt x="1207" y="3072"/>
                      </a:cubicBezTo>
                      <a:cubicBezTo>
                        <a:pt x="1173" y="3071"/>
                        <a:pt x="1137" y="3071"/>
                        <a:pt x="1101" y="3071"/>
                      </a:cubicBezTo>
                      <a:cubicBezTo>
                        <a:pt x="1083" y="3071"/>
                        <a:pt x="1058" y="3072"/>
                        <a:pt x="1031" y="3073"/>
                      </a:cubicBezTo>
                      <a:cubicBezTo>
                        <a:pt x="995" y="3075"/>
                        <a:pt x="955" y="3078"/>
                        <a:pt x="916" y="3078"/>
                      </a:cubicBezTo>
                      <a:cubicBezTo>
                        <a:pt x="813" y="3078"/>
                        <a:pt x="782" y="3061"/>
                        <a:pt x="773" y="3051"/>
                      </a:cubicBezTo>
                      <a:cubicBezTo>
                        <a:pt x="770" y="3047"/>
                        <a:pt x="768" y="3044"/>
                        <a:pt x="769" y="3038"/>
                      </a:cubicBezTo>
                      <a:cubicBezTo>
                        <a:pt x="769" y="3029"/>
                        <a:pt x="784" y="3006"/>
                        <a:pt x="905" y="3006"/>
                      </a:cubicBezTo>
                      <a:cubicBezTo>
                        <a:pt x="937" y="3006"/>
                        <a:pt x="969" y="3007"/>
                        <a:pt x="1000" y="3009"/>
                      </a:cubicBezTo>
                      <a:cubicBezTo>
                        <a:pt x="1028" y="3010"/>
                        <a:pt x="1054" y="3011"/>
                        <a:pt x="1075" y="3011"/>
                      </a:cubicBezTo>
                      <a:cubicBezTo>
                        <a:pt x="1263" y="3011"/>
                        <a:pt x="1263" y="3011"/>
                        <a:pt x="1263" y="3011"/>
                      </a:cubicBezTo>
                      <a:cubicBezTo>
                        <a:pt x="1285" y="3011"/>
                        <a:pt x="1308" y="3010"/>
                        <a:pt x="1329" y="3010"/>
                      </a:cubicBezTo>
                      <a:cubicBezTo>
                        <a:pt x="1349" y="3009"/>
                        <a:pt x="1368" y="3008"/>
                        <a:pt x="1386" y="3008"/>
                      </a:cubicBezTo>
                      <a:cubicBezTo>
                        <a:pt x="1404" y="3008"/>
                        <a:pt x="1460" y="3008"/>
                        <a:pt x="1473" y="3026"/>
                      </a:cubicBezTo>
                      <a:cubicBezTo>
                        <a:pt x="1477" y="3032"/>
                        <a:pt x="1477" y="3043"/>
                        <a:pt x="1473" y="3058"/>
                      </a:cubicBezTo>
                      <a:close/>
                      <a:moveTo>
                        <a:pt x="1476" y="2866"/>
                      </a:moveTo>
                      <a:cubicBezTo>
                        <a:pt x="1465" y="2880"/>
                        <a:pt x="1444" y="2886"/>
                        <a:pt x="1407" y="2886"/>
                      </a:cubicBezTo>
                      <a:cubicBezTo>
                        <a:pt x="1394" y="2886"/>
                        <a:pt x="1381" y="2885"/>
                        <a:pt x="1367" y="2885"/>
                      </a:cubicBezTo>
                      <a:cubicBezTo>
                        <a:pt x="1353" y="2884"/>
                        <a:pt x="1338" y="2883"/>
                        <a:pt x="1323" y="2883"/>
                      </a:cubicBezTo>
                      <a:cubicBezTo>
                        <a:pt x="1110" y="2883"/>
                        <a:pt x="1110" y="2883"/>
                        <a:pt x="1110" y="2883"/>
                      </a:cubicBezTo>
                      <a:cubicBezTo>
                        <a:pt x="1090" y="2883"/>
                        <a:pt x="1065" y="2885"/>
                        <a:pt x="1036" y="2886"/>
                      </a:cubicBezTo>
                      <a:cubicBezTo>
                        <a:pt x="999" y="2888"/>
                        <a:pt x="958" y="2890"/>
                        <a:pt x="918" y="2890"/>
                      </a:cubicBezTo>
                      <a:cubicBezTo>
                        <a:pt x="819" y="2890"/>
                        <a:pt x="784" y="2876"/>
                        <a:pt x="773" y="2864"/>
                      </a:cubicBezTo>
                      <a:cubicBezTo>
                        <a:pt x="770" y="2860"/>
                        <a:pt x="768" y="2856"/>
                        <a:pt x="769" y="2851"/>
                      </a:cubicBezTo>
                      <a:cubicBezTo>
                        <a:pt x="770" y="2829"/>
                        <a:pt x="816" y="2817"/>
                        <a:pt x="895" y="2817"/>
                      </a:cubicBezTo>
                      <a:cubicBezTo>
                        <a:pt x="929" y="2817"/>
                        <a:pt x="965" y="2819"/>
                        <a:pt x="997" y="2821"/>
                      </a:cubicBezTo>
                      <a:cubicBezTo>
                        <a:pt x="1023" y="2822"/>
                        <a:pt x="1048" y="2824"/>
                        <a:pt x="1067" y="2824"/>
                      </a:cubicBezTo>
                      <a:cubicBezTo>
                        <a:pt x="1110" y="2824"/>
                        <a:pt x="1151" y="2823"/>
                        <a:pt x="1189" y="2823"/>
                      </a:cubicBezTo>
                      <a:cubicBezTo>
                        <a:pt x="1223" y="2823"/>
                        <a:pt x="1256" y="2822"/>
                        <a:pt x="1286" y="2822"/>
                      </a:cubicBezTo>
                      <a:cubicBezTo>
                        <a:pt x="1350" y="2822"/>
                        <a:pt x="1416" y="2823"/>
                        <a:pt x="1468" y="2831"/>
                      </a:cubicBezTo>
                      <a:cubicBezTo>
                        <a:pt x="1476" y="2836"/>
                        <a:pt x="1477" y="2853"/>
                        <a:pt x="1476" y="2866"/>
                      </a:cubicBezTo>
                      <a:close/>
                      <a:moveTo>
                        <a:pt x="1516" y="1491"/>
                      </a:moveTo>
                      <a:cubicBezTo>
                        <a:pt x="1478" y="1600"/>
                        <a:pt x="1441" y="1720"/>
                        <a:pt x="1406" y="1835"/>
                      </a:cubicBezTo>
                      <a:cubicBezTo>
                        <a:pt x="1381" y="1916"/>
                        <a:pt x="1355" y="2001"/>
                        <a:pt x="1329" y="2078"/>
                      </a:cubicBezTo>
                      <a:cubicBezTo>
                        <a:pt x="1326" y="2088"/>
                        <a:pt x="1323" y="2099"/>
                        <a:pt x="1319" y="2110"/>
                      </a:cubicBezTo>
                      <a:cubicBezTo>
                        <a:pt x="1301" y="2171"/>
                        <a:pt x="1279" y="2247"/>
                        <a:pt x="1219" y="2265"/>
                      </a:cubicBezTo>
                      <a:cubicBezTo>
                        <a:pt x="1216" y="2266"/>
                        <a:pt x="1214" y="2266"/>
                        <a:pt x="1211" y="2266"/>
                      </a:cubicBezTo>
                      <a:cubicBezTo>
                        <a:pt x="1205" y="2266"/>
                        <a:pt x="1200" y="2264"/>
                        <a:pt x="1195" y="2261"/>
                      </a:cubicBezTo>
                      <a:cubicBezTo>
                        <a:pt x="1189" y="2255"/>
                        <a:pt x="1185" y="2247"/>
                        <a:pt x="1186" y="2239"/>
                      </a:cubicBezTo>
                      <a:cubicBezTo>
                        <a:pt x="1193" y="2153"/>
                        <a:pt x="1222" y="2069"/>
                        <a:pt x="1251" y="1987"/>
                      </a:cubicBezTo>
                      <a:cubicBezTo>
                        <a:pt x="1261" y="1958"/>
                        <a:pt x="1271" y="1929"/>
                        <a:pt x="1280" y="1901"/>
                      </a:cubicBezTo>
                      <a:cubicBezTo>
                        <a:pt x="1297" y="1848"/>
                        <a:pt x="1314" y="1796"/>
                        <a:pt x="1331" y="1745"/>
                      </a:cubicBezTo>
                      <a:cubicBezTo>
                        <a:pt x="1345" y="1702"/>
                        <a:pt x="1360" y="1659"/>
                        <a:pt x="1374" y="1615"/>
                      </a:cubicBezTo>
                      <a:cubicBezTo>
                        <a:pt x="1365" y="1617"/>
                        <a:pt x="1355" y="1618"/>
                        <a:pt x="1345" y="1618"/>
                      </a:cubicBezTo>
                      <a:cubicBezTo>
                        <a:pt x="1322" y="1618"/>
                        <a:pt x="1299" y="1613"/>
                        <a:pt x="1277" y="1609"/>
                      </a:cubicBezTo>
                      <a:cubicBezTo>
                        <a:pt x="1254" y="1605"/>
                        <a:pt x="1232" y="1601"/>
                        <a:pt x="1213" y="1602"/>
                      </a:cubicBezTo>
                      <a:cubicBezTo>
                        <a:pt x="1201" y="1602"/>
                        <a:pt x="1189" y="1607"/>
                        <a:pt x="1176" y="1613"/>
                      </a:cubicBezTo>
                      <a:cubicBezTo>
                        <a:pt x="1159" y="1620"/>
                        <a:pt x="1140" y="1628"/>
                        <a:pt x="1116" y="1627"/>
                      </a:cubicBezTo>
                      <a:cubicBezTo>
                        <a:pt x="1094" y="1626"/>
                        <a:pt x="1073" y="1616"/>
                        <a:pt x="1055" y="1608"/>
                      </a:cubicBezTo>
                      <a:cubicBezTo>
                        <a:pt x="1041" y="1600"/>
                        <a:pt x="1026" y="1593"/>
                        <a:pt x="1015" y="1593"/>
                      </a:cubicBezTo>
                      <a:cubicBezTo>
                        <a:pt x="1015" y="1593"/>
                        <a:pt x="1015" y="1593"/>
                        <a:pt x="1015" y="1593"/>
                      </a:cubicBezTo>
                      <a:cubicBezTo>
                        <a:pt x="1004" y="1593"/>
                        <a:pt x="991" y="1599"/>
                        <a:pt x="977" y="1604"/>
                      </a:cubicBezTo>
                      <a:cubicBezTo>
                        <a:pt x="961" y="1610"/>
                        <a:pt x="942" y="1618"/>
                        <a:pt x="923" y="1619"/>
                      </a:cubicBezTo>
                      <a:cubicBezTo>
                        <a:pt x="898" y="1620"/>
                        <a:pt x="880" y="1617"/>
                        <a:pt x="863" y="1614"/>
                      </a:cubicBezTo>
                      <a:cubicBezTo>
                        <a:pt x="861" y="1614"/>
                        <a:pt x="858" y="1614"/>
                        <a:pt x="856" y="1613"/>
                      </a:cubicBezTo>
                      <a:cubicBezTo>
                        <a:pt x="872" y="1662"/>
                        <a:pt x="887" y="1712"/>
                        <a:pt x="901" y="1761"/>
                      </a:cubicBezTo>
                      <a:cubicBezTo>
                        <a:pt x="915" y="1810"/>
                        <a:pt x="930" y="1861"/>
                        <a:pt x="946" y="1909"/>
                      </a:cubicBezTo>
                      <a:cubicBezTo>
                        <a:pt x="956" y="1939"/>
                        <a:pt x="968" y="1969"/>
                        <a:pt x="979" y="1998"/>
                      </a:cubicBezTo>
                      <a:cubicBezTo>
                        <a:pt x="1010" y="2076"/>
                        <a:pt x="1041" y="2155"/>
                        <a:pt x="1041" y="2241"/>
                      </a:cubicBezTo>
                      <a:cubicBezTo>
                        <a:pt x="1041" y="2249"/>
                        <a:pt x="1036" y="2257"/>
                        <a:pt x="1029" y="2262"/>
                      </a:cubicBezTo>
                      <a:cubicBezTo>
                        <a:pt x="1022" y="2267"/>
                        <a:pt x="1013" y="2268"/>
                        <a:pt x="1005" y="2264"/>
                      </a:cubicBezTo>
                      <a:cubicBezTo>
                        <a:pt x="945" y="2239"/>
                        <a:pt x="930" y="2174"/>
                        <a:pt x="917" y="2121"/>
                      </a:cubicBezTo>
                      <a:cubicBezTo>
                        <a:pt x="913" y="2106"/>
                        <a:pt x="910" y="2091"/>
                        <a:pt x="906" y="2078"/>
                      </a:cubicBezTo>
                      <a:cubicBezTo>
                        <a:pt x="883" y="2012"/>
                        <a:pt x="862" y="1944"/>
                        <a:pt x="841" y="1880"/>
                      </a:cubicBezTo>
                      <a:cubicBezTo>
                        <a:pt x="821" y="1816"/>
                        <a:pt x="800" y="1751"/>
                        <a:pt x="778" y="1687"/>
                      </a:cubicBezTo>
                      <a:cubicBezTo>
                        <a:pt x="773" y="1671"/>
                        <a:pt x="767" y="1656"/>
                        <a:pt x="760" y="1639"/>
                      </a:cubicBezTo>
                      <a:cubicBezTo>
                        <a:pt x="739" y="1588"/>
                        <a:pt x="718" y="1534"/>
                        <a:pt x="726" y="1479"/>
                      </a:cubicBezTo>
                      <a:cubicBezTo>
                        <a:pt x="727" y="1471"/>
                        <a:pt x="732" y="1463"/>
                        <a:pt x="740" y="1460"/>
                      </a:cubicBezTo>
                      <a:cubicBezTo>
                        <a:pt x="747" y="1456"/>
                        <a:pt x="756" y="1456"/>
                        <a:pt x="763" y="1460"/>
                      </a:cubicBezTo>
                      <a:cubicBezTo>
                        <a:pt x="773" y="1465"/>
                        <a:pt x="783" y="1471"/>
                        <a:pt x="793" y="1477"/>
                      </a:cubicBezTo>
                      <a:cubicBezTo>
                        <a:pt x="830" y="1499"/>
                        <a:pt x="872" y="1524"/>
                        <a:pt x="914" y="1524"/>
                      </a:cubicBezTo>
                      <a:cubicBezTo>
                        <a:pt x="929" y="1524"/>
                        <a:pt x="943" y="1521"/>
                        <a:pt x="957" y="1515"/>
                      </a:cubicBezTo>
                      <a:cubicBezTo>
                        <a:pt x="942" y="1471"/>
                        <a:pt x="946" y="1419"/>
                        <a:pt x="968" y="1382"/>
                      </a:cubicBezTo>
                      <a:cubicBezTo>
                        <a:pt x="990" y="1345"/>
                        <a:pt x="1027" y="1328"/>
                        <a:pt x="1065" y="1339"/>
                      </a:cubicBezTo>
                      <a:cubicBezTo>
                        <a:pt x="1090" y="1346"/>
                        <a:pt x="1108" y="1364"/>
                        <a:pt x="1117" y="1391"/>
                      </a:cubicBezTo>
                      <a:cubicBezTo>
                        <a:pt x="1130" y="1430"/>
                        <a:pt x="1123" y="1483"/>
                        <a:pt x="1106" y="1523"/>
                      </a:cubicBezTo>
                      <a:cubicBezTo>
                        <a:pt x="1120" y="1525"/>
                        <a:pt x="1137" y="1526"/>
                        <a:pt x="1150" y="1525"/>
                      </a:cubicBezTo>
                      <a:cubicBezTo>
                        <a:pt x="1137" y="1496"/>
                        <a:pt x="1123" y="1463"/>
                        <a:pt x="1135" y="1417"/>
                      </a:cubicBezTo>
                      <a:cubicBezTo>
                        <a:pt x="1147" y="1369"/>
                        <a:pt x="1178" y="1340"/>
                        <a:pt x="1217" y="1340"/>
                      </a:cubicBezTo>
                      <a:cubicBezTo>
                        <a:pt x="1262" y="1340"/>
                        <a:pt x="1312" y="1384"/>
                        <a:pt x="1313" y="1456"/>
                      </a:cubicBezTo>
                      <a:cubicBezTo>
                        <a:pt x="1314" y="1481"/>
                        <a:pt x="1306" y="1499"/>
                        <a:pt x="1298" y="1516"/>
                      </a:cubicBezTo>
                      <a:cubicBezTo>
                        <a:pt x="1297" y="1519"/>
                        <a:pt x="1296" y="1522"/>
                        <a:pt x="1294" y="1525"/>
                      </a:cubicBezTo>
                      <a:cubicBezTo>
                        <a:pt x="1299" y="1526"/>
                        <a:pt x="1304" y="1526"/>
                        <a:pt x="1309" y="1526"/>
                      </a:cubicBezTo>
                      <a:cubicBezTo>
                        <a:pt x="1341" y="1526"/>
                        <a:pt x="1371" y="1508"/>
                        <a:pt x="1400" y="1491"/>
                      </a:cubicBezTo>
                      <a:cubicBezTo>
                        <a:pt x="1429" y="1473"/>
                        <a:pt x="1456" y="1457"/>
                        <a:pt x="1488" y="1457"/>
                      </a:cubicBezTo>
                      <a:cubicBezTo>
                        <a:pt x="1490" y="1457"/>
                        <a:pt x="1492" y="1457"/>
                        <a:pt x="1494" y="1457"/>
                      </a:cubicBezTo>
                      <a:cubicBezTo>
                        <a:pt x="1502" y="1458"/>
                        <a:pt x="1509" y="1462"/>
                        <a:pt x="1514" y="1469"/>
                      </a:cubicBezTo>
                      <a:cubicBezTo>
                        <a:pt x="1518" y="1475"/>
                        <a:pt x="1519" y="1484"/>
                        <a:pt x="1516" y="1491"/>
                      </a:cubicBezTo>
                      <a:close/>
                    </a:path>
                  </a:pathLst>
                </a:custGeom>
                <a:solidFill>
                  <a:schemeClr val="accent2"/>
                </a:solidFill>
                <a:ln>
                  <a:noFill/>
                </a:ln>
              </p:spPr>
              <p:txBody>
                <a:bodyPr vert="horz" wrap="square" lIns="91440" tIns="45720" rIns="91440" bIns="45720" numCol="1" anchor="t" anchorCtr="0" compatLnSpc="1">
                  <a:prstTxWarp prst="textNoShape">
                    <a:avLst/>
                  </a:prstTxWarp>
                  <a:noAutofit/>
                </a:bodyPr>
                <a:lstStyle/>
                <a:p>
                  <a:endParaRPr lang="en-US"/>
                </a:p>
              </p:txBody>
            </p:sp>
          </p:grpSp>
        </p:grpSp>
      </p:grpSp>
      <p:sp>
        <p:nvSpPr>
          <p:cNvPr id="224" name="TextBox 223">
            <a:extLst>
              <a:ext uri="{FF2B5EF4-FFF2-40B4-BE49-F238E27FC236}">
                <a16:creationId xmlns:a16="http://schemas.microsoft.com/office/drawing/2014/main" id="{8F78DC31-D6D7-412C-AEB6-5CDCBA185C4E}"/>
              </a:ext>
            </a:extLst>
          </p:cNvPr>
          <p:cNvSpPr txBox="1">
            <a:spLocks/>
          </p:cNvSpPr>
          <p:nvPr/>
        </p:nvSpPr>
        <p:spPr>
          <a:xfrm>
            <a:off x="1737804" y="929873"/>
            <a:ext cx="4682045" cy="123110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lvl="0" defTabSz="895350">
              <a:buClr>
                <a:schemeClr val="tx2"/>
              </a:buClr>
              <a:defRPr>
                <a:latin typeface="+mn-lt"/>
              </a:defRPr>
            </a:lvl1pPr>
            <a:lvl2pPr marL="193675" lvl="1" indent="-192088" defTabSz="895350">
              <a:buClr>
                <a:schemeClr val="tx2"/>
              </a:buClr>
              <a:buSzPct val="125000"/>
              <a:buFont typeface="Arial" charset="0"/>
              <a:buChar char="▪"/>
              <a:defRPr>
                <a:latin typeface="+mn-lt"/>
              </a:defRPr>
            </a:lvl2pPr>
            <a:lvl3pPr marL="457200" lvl="2" indent="-261938" defTabSz="895350">
              <a:buClr>
                <a:schemeClr val="tx2"/>
              </a:buClr>
              <a:buSzPct val="120000"/>
              <a:buFont typeface="Arial" charset="0"/>
              <a:buChar char="–"/>
              <a:defRPr>
                <a:latin typeface="+mn-lt"/>
              </a:defRPr>
            </a:lvl3pPr>
            <a:lvl4pPr marL="614363" lvl="3" indent="-155575" defTabSz="895350">
              <a:buClr>
                <a:schemeClr val="tx2"/>
              </a:buClr>
              <a:buSzPct val="120000"/>
              <a:buFont typeface="Arial" charset="0"/>
              <a:buChar char="▫"/>
              <a:defRPr>
                <a:latin typeface="+mn-lt"/>
              </a:defRPr>
            </a:lvl4pPr>
            <a:lvl5pPr marL="746125" lvl="4" indent="-130175" defTabSz="895350">
              <a:buClr>
                <a:schemeClr val="tx2"/>
              </a:buClr>
              <a:buSzPct val="89000"/>
              <a:buFont typeface="Arial" charset="0"/>
              <a:buChar char="-"/>
              <a:defRPr>
                <a:latin typeface="+mn-lt"/>
              </a:defRPr>
            </a:lvl5pPr>
            <a:lvl6pPr marL="1203325" indent="-130175" defTabSz="895350" fontAlgn="base">
              <a:spcBef>
                <a:spcPct val="0"/>
              </a:spcBef>
              <a:spcAft>
                <a:spcPct val="0"/>
              </a:spcAft>
              <a:buClr>
                <a:schemeClr val="tx2"/>
              </a:buClr>
              <a:buSzPct val="89000"/>
              <a:buFont typeface="Arial" charset="0"/>
              <a:buChar char="-"/>
              <a:defRPr>
                <a:latin typeface="+mn-lt"/>
              </a:defRPr>
            </a:lvl6pPr>
            <a:lvl7pPr marL="1660525" indent="-130175" defTabSz="895350" fontAlgn="base">
              <a:spcBef>
                <a:spcPct val="0"/>
              </a:spcBef>
              <a:spcAft>
                <a:spcPct val="0"/>
              </a:spcAft>
              <a:buClr>
                <a:schemeClr val="tx2"/>
              </a:buClr>
              <a:buSzPct val="89000"/>
              <a:buFont typeface="Arial" charset="0"/>
              <a:buChar char="-"/>
              <a:defRPr>
                <a:latin typeface="+mn-lt"/>
              </a:defRPr>
            </a:lvl7pPr>
            <a:lvl8pPr marL="2117725" indent="-130175" defTabSz="895350" fontAlgn="base">
              <a:spcBef>
                <a:spcPct val="0"/>
              </a:spcBef>
              <a:spcAft>
                <a:spcPct val="0"/>
              </a:spcAft>
              <a:buClr>
                <a:schemeClr val="tx2"/>
              </a:buClr>
              <a:buSzPct val="89000"/>
              <a:buFont typeface="Arial" charset="0"/>
              <a:buChar char="-"/>
              <a:defRPr>
                <a:latin typeface="+mn-lt"/>
              </a:defRPr>
            </a:lvl8pPr>
            <a:lvl9pPr marL="2574925" indent="-130175" defTabSz="895350" fontAlgn="base">
              <a:spcBef>
                <a:spcPct val="0"/>
              </a:spcBef>
              <a:spcAft>
                <a:spcPct val="0"/>
              </a:spcAft>
              <a:buClr>
                <a:schemeClr val="tx2"/>
              </a:buClr>
              <a:buSzPct val="89000"/>
              <a:buFont typeface="Arial" charset="0"/>
              <a:buChar char="-"/>
              <a:defRPr>
                <a:latin typeface="+mn-lt"/>
              </a:defRPr>
            </a:lvl9pPr>
          </a:lstStyle>
          <a:p>
            <a:r>
              <a:rPr lang="en-US" b="1" dirty="0">
                <a:solidFill>
                  <a:srgbClr val="0065BD"/>
                </a:solidFill>
              </a:rPr>
              <a:t>We have reach</a:t>
            </a:r>
            <a:r>
              <a:rPr lang="en-US" dirty="0">
                <a:solidFill>
                  <a:srgbClr val="000000"/>
                </a:solidFill>
              </a:rPr>
              <a:t>: McKinsey’s steel practice is the largest amongst its peers, with almost 100% market share in China and experience with 8 of top 10 steel players in Europe. In India, we have done 60+ engagements in the last 10 years</a:t>
            </a:r>
            <a:endParaRPr lang="en-US" dirty="0"/>
          </a:p>
        </p:txBody>
      </p:sp>
      <p:sp>
        <p:nvSpPr>
          <p:cNvPr id="225" name="Chevron 102">
            <a:extLst>
              <a:ext uri="{FF2B5EF4-FFF2-40B4-BE49-F238E27FC236}">
                <a16:creationId xmlns:a16="http://schemas.microsoft.com/office/drawing/2014/main" id="{3287A8D5-60FA-44DE-8303-D9DD69E1960E}"/>
              </a:ext>
            </a:extLst>
          </p:cNvPr>
          <p:cNvSpPr/>
          <p:nvPr/>
        </p:nvSpPr>
        <p:spPr>
          <a:xfrm>
            <a:off x="1519411" y="895625"/>
            <a:ext cx="155442" cy="276999"/>
          </a:xfrm>
          <a:prstGeom prst="chevron">
            <a:avLst>
              <a:gd name="adj" fmla="val 39182"/>
            </a:avLst>
          </a:prstGeom>
          <a:solidFill>
            <a:schemeClr val="accent3"/>
          </a:solidFill>
          <a:ln w="9525" cap="flat" cmpd="sng" algn="ctr">
            <a:noFill/>
            <a:prstDash val="solid"/>
          </a:ln>
          <a:effectLst/>
          <a:extLst>
            <a:ext uri="{91240B29-F687-4F45-9708-019B960494DF}">
              <a14:hiddenLine xmlns:a14="http://schemas.microsoft.com/office/drawing/2010/main" w="9525" cap="flat" cmpd="sng" algn="ctr">
                <a:solidFill>
                  <a:schemeClr val="accent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000000"/>
              </a:solidFill>
            </a:endParaRPr>
          </a:p>
        </p:txBody>
      </p:sp>
      <p:sp>
        <p:nvSpPr>
          <p:cNvPr id="226" name="Chevron 103">
            <a:extLst>
              <a:ext uri="{FF2B5EF4-FFF2-40B4-BE49-F238E27FC236}">
                <a16:creationId xmlns:a16="http://schemas.microsoft.com/office/drawing/2014/main" id="{D0DF9E46-AEDF-47BD-8837-A14004E8F20C}"/>
              </a:ext>
            </a:extLst>
          </p:cNvPr>
          <p:cNvSpPr/>
          <p:nvPr/>
        </p:nvSpPr>
        <p:spPr>
          <a:xfrm>
            <a:off x="2180445" y="2277772"/>
            <a:ext cx="155442" cy="276999"/>
          </a:xfrm>
          <a:prstGeom prst="chevron">
            <a:avLst>
              <a:gd name="adj" fmla="val 39182"/>
            </a:avLst>
          </a:prstGeom>
          <a:solidFill>
            <a:schemeClr val="accent3"/>
          </a:solidFill>
          <a:ln w="9525" cap="flat" cmpd="sng" algn="ctr">
            <a:noFill/>
            <a:prstDash val="solid"/>
          </a:ln>
          <a:effectLst/>
          <a:extLst>
            <a:ext uri="{91240B29-F687-4F45-9708-019B960494DF}">
              <a14:hiddenLine xmlns:a14="http://schemas.microsoft.com/office/drawing/2010/main" w="9525" cap="flat" cmpd="sng" algn="ctr">
                <a:solidFill>
                  <a:schemeClr val="accent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000000"/>
              </a:solidFill>
            </a:endParaRPr>
          </a:p>
        </p:txBody>
      </p:sp>
      <p:sp>
        <p:nvSpPr>
          <p:cNvPr id="227" name="Chevron 104">
            <a:extLst>
              <a:ext uri="{FF2B5EF4-FFF2-40B4-BE49-F238E27FC236}">
                <a16:creationId xmlns:a16="http://schemas.microsoft.com/office/drawing/2014/main" id="{1FF47EA9-9EC1-4A08-8030-76B86D916271}"/>
              </a:ext>
            </a:extLst>
          </p:cNvPr>
          <p:cNvSpPr/>
          <p:nvPr/>
        </p:nvSpPr>
        <p:spPr>
          <a:xfrm>
            <a:off x="1840274" y="5200396"/>
            <a:ext cx="155442" cy="276999"/>
          </a:xfrm>
          <a:prstGeom prst="chevron">
            <a:avLst>
              <a:gd name="adj" fmla="val 39182"/>
            </a:avLst>
          </a:prstGeom>
          <a:solidFill>
            <a:schemeClr val="accent3"/>
          </a:solidFill>
          <a:ln w="9525" cap="flat" cmpd="sng" algn="ctr">
            <a:noFill/>
            <a:prstDash val="solid"/>
          </a:ln>
          <a:effectLst/>
          <a:extLst>
            <a:ext uri="{91240B29-F687-4F45-9708-019B960494DF}">
              <a14:hiddenLine xmlns:a14="http://schemas.microsoft.com/office/drawing/2010/main" w="9525" cap="flat" cmpd="sng" algn="ctr">
                <a:solidFill>
                  <a:schemeClr val="accent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000000"/>
              </a:solidFill>
            </a:endParaRPr>
          </a:p>
        </p:txBody>
      </p:sp>
      <p:sp>
        <p:nvSpPr>
          <p:cNvPr id="228" name="Chevron 105">
            <a:extLst>
              <a:ext uri="{FF2B5EF4-FFF2-40B4-BE49-F238E27FC236}">
                <a16:creationId xmlns:a16="http://schemas.microsoft.com/office/drawing/2014/main" id="{CDCC747A-6765-471D-9229-B7263519197B}"/>
              </a:ext>
            </a:extLst>
          </p:cNvPr>
          <p:cNvSpPr/>
          <p:nvPr/>
        </p:nvSpPr>
        <p:spPr>
          <a:xfrm>
            <a:off x="2345373" y="3735618"/>
            <a:ext cx="155442" cy="276999"/>
          </a:xfrm>
          <a:prstGeom prst="chevron">
            <a:avLst>
              <a:gd name="adj" fmla="val 39182"/>
            </a:avLst>
          </a:prstGeom>
          <a:solidFill>
            <a:schemeClr val="accent3"/>
          </a:solidFill>
          <a:ln w="9525" cap="flat" cmpd="sng" algn="ctr">
            <a:noFill/>
            <a:prstDash val="solid"/>
          </a:ln>
          <a:effectLst/>
          <a:extLst>
            <a:ext uri="{91240B29-F687-4F45-9708-019B960494DF}">
              <a14:hiddenLine xmlns:a14="http://schemas.microsoft.com/office/drawing/2010/main" w="9525" cap="flat" cmpd="sng" algn="ctr">
                <a:solidFill>
                  <a:schemeClr val="accent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000000"/>
              </a:solidFill>
            </a:endParaRPr>
          </a:p>
        </p:txBody>
      </p:sp>
    </p:spTree>
    <p:extLst>
      <p:ext uri="{BB962C8B-B14F-4D97-AF65-F5344CB8AC3E}">
        <p14:creationId xmlns:p14="http://schemas.microsoft.com/office/powerpoint/2010/main" val="110841185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193665465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73428" name="think-cell Slide" r:id="rId12" imgW="353" imgH="353" progId="TCLayout.ActiveDocument.1">
                  <p:embed/>
                </p:oleObj>
              </mc:Choice>
              <mc:Fallback>
                <p:oleObj name="think-cell Slide" r:id="rId12" imgW="353" imgH="353" progId="TCLayout.ActiveDocument.1">
                  <p:embed/>
                  <p:pic>
                    <p:nvPicPr>
                      <p:cNvPr id="5" name="Object 4" hidden="1"/>
                      <p:cNvPicPr/>
                      <p:nvPr/>
                    </p:nvPicPr>
                    <p:blipFill>
                      <a:blip r:embed="rId13"/>
                      <a:stretch>
                        <a:fillRect/>
                      </a:stretch>
                    </p:blipFill>
                    <p:spPr>
                      <a:xfrm>
                        <a:off x="1588" y="1588"/>
                        <a:ext cx="1587" cy="1587"/>
                      </a:xfrm>
                      <a:prstGeom prst="rect">
                        <a:avLst/>
                      </a:prstGeom>
                    </p:spPr>
                  </p:pic>
                </p:oleObj>
              </mc:Fallback>
            </mc:AlternateContent>
          </a:graphicData>
        </a:graphic>
      </p:graphicFrame>
      <p:sp>
        <p:nvSpPr>
          <p:cNvPr id="4" name="Rectangle 3" hidden="1"/>
          <p:cNvSpPr/>
          <p:nvPr>
            <p:custDataLst>
              <p:tags r:id="rId3"/>
            </p:custDataLst>
          </p:nvPr>
        </p:nvSpPr>
        <p:spPr bwMode="auto">
          <a:xfrm>
            <a:off x="0" y="0"/>
            <a:ext cx="158750" cy="158750"/>
          </a:xfrm>
          <a:prstGeom prst="rect">
            <a:avLst/>
          </a:prstGeom>
          <a:solidFill>
            <a:schemeClr val="bg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2800" dirty="0">
              <a:solidFill>
                <a:schemeClr val="tx1"/>
              </a:solidFill>
              <a:latin typeface="Arial" panose="020B0604020202020204" pitchFamily="34" charset="0"/>
              <a:sym typeface="Arial" panose="020B0604020202020204" pitchFamily="34" charset="0"/>
            </a:endParaRPr>
          </a:p>
        </p:txBody>
      </p:sp>
      <p:sp>
        <p:nvSpPr>
          <p:cNvPr id="2" name="Title 1"/>
          <p:cNvSpPr>
            <a:spLocks noGrp="1"/>
          </p:cNvSpPr>
          <p:nvPr>
            <p:ph type="title"/>
          </p:nvPr>
        </p:nvSpPr>
        <p:spPr bwMode="black">
          <a:xfrm>
            <a:off x="119063" y="230188"/>
            <a:ext cx="8618537" cy="307777"/>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r>
              <a:rPr lang="en-US" dirty="0"/>
              <a:t>Contents</a:t>
            </a:r>
          </a:p>
        </p:txBody>
      </p:sp>
      <p:sp>
        <p:nvSpPr>
          <p:cNvPr id="7" name="Text Placeholder 2"/>
          <p:cNvSpPr>
            <a:spLocks noGrp="1"/>
          </p:cNvSpPr>
          <p:nvPr>
            <p:custDataLst>
              <p:tags r:id="rId4"/>
            </p:custDataLst>
          </p:nvPr>
        </p:nvSpPr>
        <p:spPr bwMode="black">
          <a:xfrm>
            <a:off x="125403" y="1225550"/>
            <a:ext cx="6842125" cy="712788"/>
          </a:xfrm>
          <a:prstGeom prst="rect">
            <a:avLst/>
          </a:prstGeom>
          <a:noFill/>
          <a:ln w="9525">
            <a:solidFill>
              <a:schemeClr val="bg2"/>
            </a:solidFill>
          </a:ln>
          <a:extLst>
            <a:ext uri="{909E8E84-426E-40DD-AFC4-6F175D3DCCD1}">
              <a14:hiddenFill xmlns:a14="http://schemas.microsoft.com/office/drawing/2010/main">
                <a:solidFill>
                  <a:schemeClr val="accent1"/>
                </a:solidFill>
              </a14:hiddenFill>
            </a:ext>
          </a:extLst>
        </p:spPr>
        <p:txBody>
          <a:bodyPr vert="horz" wrap="square" lIns="142875" tIns="142875" rIns="0" bIns="142875" numCol="1" spcCol="0" rtlCol="0" anchor="ctr" anchorCtr="0">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buClr>
                <a:schemeClr val="bg1"/>
              </a:buClr>
            </a:pPr>
            <a:r>
              <a:rPr lang="en-US" sz="2800" dirty="0">
                <a:solidFill>
                  <a:schemeClr val="bg1"/>
                </a:solidFill>
                <a:sym typeface="+mn-lt"/>
              </a:rPr>
              <a:t>1. Integration expertise</a:t>
            </a:r>
          </a:p>
        </p:txBody>
      </p:sp>
      <p:sp>
        <p:nvSpPr>
          <p:cNvPr id="11" name="Text Placeholder 2">
            <a:hlinkClick r:id="rId14" action="ppaction://hlinksldjump"/>
            <a:extLst>
              <a:ext uri="{FF2B5EF4-FFF2-40B4-BE49-F238E27FC236}">
                <a16:creationId xmlns:a16="http://schemas.microsoft.com/office/drawing/2014/main" id="{CE038592-7581-4D99-8C55-7F00489C7D8A}"/>
              </a:ext>
            </a:extLst>
          </p:cNvPr>
          <p:cNvSpPr>
            <a:spLocks noGrp="1"/>
          </p:cNvSpPr>
          <p:nvPr>
            <p:custDataLst>
              <p:tags r:id="rId5"/>
            </p:custDataLst>
          </p:nvPr>
        </p:nvSpPr>
        <p:spPr bwMode="black">
          <a:xfrm>
            <a:off x="125413" y="1938338"/>
            <a:ext cx="6842125" cy="711200"/>
          </a:xfrm>
          <a:prstGeom prst="rect">
            <a:avLst/>
          </a:prstGeom>
          <a:noFill/>
          <a:ln w="9525">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bg2"/>
                </a:solidFill>
              </a14:hiddenLine>
            </a:ext>
          </a:extLst>
        </p:spPr>
        <p:txBody>
          <a:bodyPr vert="horz" wrap="square" lIns="142875" tIns="141288" rIns="0" bIns="142875" numCol="1" spcCol="0" rtlCol="0" anchor="ctr" anchorCtr="0">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defTabSz="914400">
              <a:buClr>
                <a:schemeClr val="bg1"/>
              </a:buClr>
            </a:pPr>
            <a:r>
              <a:rPr lang="en-US" altLang="en-US" sz="2800" dirty="0">
                <a:solidFill>
                  <a:schemeClr val="bg1"/>
                </a:solidFill>
              </a:rPr>
              <a:t>2. Lessons &amp; tools</a:t>
            </a:r>
            <a:endParaRPr lang="en-US" sz="2800" dirty="0">
              <a:solidFill>
                <a:schemeClr val="bg1"/>
              </a:solidFill>
              <a:latin typeface="Arial" charset="0"/>
              <a:sym typeface="+mn-lt"/>
            </a:endParaRPr>
          </a:p>
        </p:txBody>
      </p:sp>
      <p:sp>
        <p:nvSpPr>
          <p:cNvPr id="17" name="Text Placeholder 2">
            <a:hlinkClick r:id="rId15" action="ppaction://hlinksldjump"/>
            <a:extLst>
              <a:ext uri="{FF2B5EF4-FFF2-40B4-BE49-F238E27FC236}">
                <a16:creationId xmlns:a16="http://schemas.microsoft.com/office/drawing/2014/main" id="{46D6D00F-4E12-4CAD-8FA9-92A047E4B8A9}"/>
              </a:ext>
            </a:extLst>
          </p:cNvPr>
          <p:cNvSpPr>
            <a:spLocks noGrp="1"/>
          </p:cNvSpPr>
          <p:nvPr>
            <p:custDataLst>
              <p:tags r:id="rId6"/>
            </p:custDataLst>
          </p:nvPr>
        </p:nvSpPr>
        <p:spPr bwMode="black">
          <a:xfrm>
            <a:off x="125413" y="2649538"/>
            <a:ext cx="6842125" cy="711200"/>
          </a:xfrm>
          <a:prstGeom prst="rect">
            <a:avLst/>
          </a:prstGeom>
          <a:noFill/>
          <a:ln w="9525">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bg2"/>
                </a:solidFill>
              </a14:hiddenLine>
            </a:ext>
          </a:extLst>
        </p:spPr>
        <p:txBody>
          <a:bodyPr vert="horz" wrap="square" lIns="142875" tIns="141288" rIns="0" bIns="142875" numCol="1" spcCol="0" rtlCol="0" anchor="ctr" anchorCtr="0">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defTabSz="914400">
              <a:buClr>
                <a:schemeClr val="bg1"/>
              </a:buClr>
            </a:pPr>
            <a:r>
              <a:rPr lang="en-US" altLang="en-US" sz="2800" dirty="0">
                <a:solidFill>
                  <a:schemeClr val="bg1"/>
                </a:solidFill>
              </a:rPr>
              <a:t>3. Distinctive team</a:t>
            </a:r>
            <a:endParaRPr lang="en-US" sz="2800" dirty="0">
              <a:solidFill>
                <a:schemeClr val="bg1"/>
              </a:solidFill>
              <a:latin typeface="Arial" charset="0"/>
              <a:sym typeface="+mn-lt"/>
            </a:endParaRPr>
          </a:p>
        </p:txBody>
      </p:sp>
      <p:sp>
        <p:nvSpPr>
          <p:cNvPr id="15" name="Text Placeholder 2">
            <a:hlinkClick r:id="rId16" action="ppaction://hlinksldjump"/>
            <a:extLst>
              <a:ext uri="{FF2B5EF4-FFF2-40B4-BE49-F238E27FC236}">
                <a16:creationId xmlns:a16="http://schemas.microsoft.com/office/drawing/2014/main" id="{BD13AC66-E043-4568-B3BA-8E2504F5CC53}"/>
              </a:ext>
            </a:extLst>
          </p:cNvPr>
          <p:cNvSpPr>
            <a:spLocks noGrp="1"/>
          </p:cNvSpPr>
          <p:nvPr>
            <p:custDataLst>
              <p:tags r:id="rId7"/>
            </p:custDataLst>
          </p:nvPr>
        </p:nvSpPr>
        <p:spPr bwMode="black">
          <a:xfrm>
            <a:off x="125412" y="3360738"/>
            <a:ext cx="6842125" cy="711200"/>
          </a:xfrm>
          <a:prstGeom prst="rect">
            <a:avLst/>
          </a:prstGeom>
          <a:noFill/>
          <a:ln w="9525">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bg2"/>
                </a:solidFill>
              </a14:hiddenLine>
            </a:ext>
          </a:extLst>
        </p:spPr>
        <p:txBody>
          <a:bodyPr vert="horz" wrap="square" lIns="142875" tIns="142875" rIns="0" bIns="141288" numCol="1" spcCol="0" rtlCol="0" anchor="ctr" anchorCtr="0">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defTabSz="914400">
              <a:buClr>
                <a:schemeClr val="bg1"/>
              </a:buClr>
            </a:pPr>
            <a:r>
              <a:rPr lang="en-US" altLang="en-US" sz="2800" dirty="0">
                <a:solidFill>
                  <a:schemeClr val="bg1"/>
                </a:solidFill>
              </a:rPr>
              <a:t>4. Turnaround experience &amp; methodology</a:t>
            </a:r>
            <a:endParaRPr lang="en-US" sz="2800" dirty="0">
              <a:solidFill>
                <a:schemeClr val="bg1"/>
              </a:solidFill>
              <a:latin typeface="Arial" charset="0"/>
              <a:sym typeface="+mn-lt"/>
            </a:endParaRPr>
          </a:p>
        </p:txBody>
      </p:sp>
      <p:sp>
        <p:nvSpPr>
          <p:cNvPr id="13" name="Text Placeholder 2">
            <a:hlinkClick r:id="rId17" action="ppaction://hlinksldjump"/>
            <a:extLst>
              <a:ext uri="{FF2B5EF4-FFF2-40B4-BE49-F238E27FC236}">
                <a16:creationId xmlns:a16="http://schemas.microsoft.com/office/drawing/2014/main" id="{5FC20AA1-657D-4D1B-88F3-E37FC2DFC59E}"/>
              </a:ext>
            </a:extLst>
          </p:cNvPr>
          <p:cNvSpPr>
            <a:spLocks noGrp="1"/>
          </p:cNvSpPr>
          <p:nvPr>
            <p:custDataLst>
              <p:tags r:id="rId8"/>
            </p:custDataLst>
          </p:nvPr>
        </p:nvSpPr>
        <p:spPr bwMode="black">
          <a:xfrm>
            <a:off x="125412" y="4071938"/>
            <a:ext cx="6842125" cy="711200"/>
          </a:xfrm>
          <a:prstGeom prst="rect">
            <a:avLst/>
          </a:prstGeom>
          <a:noFill/>
          <a:ln w="9525">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bg2"/>
                </a:solidFill>
              </a14:hiddenLine>
            </a:ext>
          </a:extLst>
        </p:spPr>
        <p:txBody>
          <a:bodyPr vert="horz" wrap="square" lIns="142875" tIns="142875" rIns="0" bIns="141288" numCol="1" spcCol="0" rtlCol="0" anchor="ctr" anchorCtr="0">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defTabSz="914400">
              <a:buClr>
                <a:schemeClr val="bg1"/>
              </a:buClr>
            </a:pPr>
            <a:r>
              <a:rPr lang="en-US" altLang="en-US" sz="2800" dirty="0">
                <a:solidFill>
                  <a:schemeClr val="bg1"/>
                </a:solidFill>
              </a:rPr>
              <a:t>5. Functional depth</a:t>
            </a:r>
            <a:endParaRPr lang="en-US" sz="2800" dirty="0">
              <a:solidFill>
                <a:schemeClr val="bg1"/>
              </a:solidFill>
              <a:latin typeface="Arial" charset="0"/>
              <a:sym typeface="+mn-lt"/>
            </a:endParaRPr>
          </a:p>
        </p:txBody>
      </p:sp>
      <p:sp>
        <p:nvSpPr>
          <p:cNvPr id="16" name="Text Placeholder 2">
            <a:hlinkClick r:id="rId18" action="ppaction://hlinksldjump"/>
            <a:extLst>
              <a:ext uri="{FF2B5EF4-FFF2-40B4-BE49-F238E27FC236}">
                <a16:creationId xmlns:a16="http://schemas.microsoft.com/office/drawing/2014/main" id="{4F00D506-E4E8-4C9B-BD7F-00BBFDEC04AF}"/>
              </a:ext>
            </a:extLst>
          </p:cNvPr>
          <p:cNvSpPr>
            <a:spLocks noGrp="1"/>
          </p:cNvSpPr>
          <p:nvPr>
            <p:custDataLst>
              <p:tags r:id="rId9"/>
            </p:custDataLst>
          </p:nvPr>
        </p:nvSpPr>
        <p:spPr bwMode="black">
          <a:xfrm>
            <a:off x="125412" y="4783138"/>
            <a:ext cx="6842125" cy="712788"/>
          </a:xfrm>
          <a:prstGeom prst="rect">
            <a:avLst/>
          </a:prstGeom>
          <a:noFill/>
          <a:ln w="9525">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bg2"/>
                </a:solidFill>
              </a14:hiddenLine>
            </a:ext>
          </a:extLst>
        </p:spPr>
        <p:txBody>
          <a:bodyPr vert="horz" wrap="square" lIns="142875" tIns="142875" rIns="0" bIns="142875" numCol="1" spcCol="0" rtlCol="0" anchor="ctr" anchorCtr="0">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defTabSz="914400">
              <a:buClr>
                <a:schemeClr val="bg1"/>
              </a:buClr>
            </a:pPr>
            <a:r>
              <a:rPr lang="en-US" altLang="en-US" sz="2800" dirty="0">
                <a:solidFill>
                  <a:schemeClr val="bg1"/>
                </a:solidFill>
              </a:rPr>
              <a:t>6. Industry expertise</a:t>
            </a:r>
            <a:endParaRPr lang="en-US" sz="2800" dirty="0">
              <a:solidFill>
                <a:schemeClr val="bg1"/>
              </a:solidFill>
              <a:latin typeface="Arial" charset="0"/>
              <a:sym typeface="+mn-lt"/>
            </a:endParaRPr>
          </a:p>
        </p:txBody>
      </p:sp>
    </p:spTree>
    <p:extLst>
      <p:ext uri="{BB962C8B-B14F-4D97-AF65-F5344CB8AC3E}">
        <p14:creationId xmlns:p14="http://schemas.microsoft.com/office/powerpoint/2010/main" val="296963920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NEWNAMES" val="True"/>
  <p:tag name="MTBTACCENT" val="Accent4"/>
  <p:tag name="THINKCELLUNDODONOTDELETE" val="0"/>
  <p:tag name="PREVIOUSNAME" val="C:\Users\Aditya Sriram\AppData\Local\Microsoft\Windows\INetCache\Content.Outlook\9B1XJKKX\McKinsey post merger integration qualifications document for Tata Steel March 19 2018 v4.pptx"/>
</p:tagLst>
</file>

<file path=ppt/tags/tag10.xml><?xml version="1.0" encoding="utf-8"?>
<p:tagLst xmlns:a="http://schemas.openxmlformats.org/drawingml/2006/main" xmlns:r="http://schemas.openxmlformats.org/officeDocument/2006/relationships" xmlns:p="http://schemas.openxmlformats.org/presentationml/2006/main">
  <p:tag name="ISLEGEND" val="true"/>
</p:tagLst>
</file>

<file path=ppt/tags/tag100.xml><?xml version="1.0" encoding="utf-8"?>
<p:tagLst xmlns:a="http://schemas.openxmlformats.org/drawingml/2006/main" xmlns:r="http://schemas.openxmlformats.org/officeDocument/2006/relationships" xmlns:p="http://schemas.openxmlformats.org/presentationml/2006/main">
  <p:tag name="ISLEGEND" val="true"/>
</p:tagLst>
</file>

<file path=ppt/tags/tag1000.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001.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002.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003.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1004.xml><?xml version="1.0" encoding="utf-8"?>
<p:tagLst xmlns:a="http://schemas.openxmlformats.org/drawingml/2006/main" xmlns:r="http://schemas.openxmlformats.org/officeDocument/2006/relationships" xmlns:p="http://schemas.openxmlformats.org/presentationml/2006/main">
  <p:tag name="ISLEGEND" val="true"/>
</p:tagLst>
</file>

<file path=ppt/tags/tag1005.xml><?xml version="1.0" encoding="utf-8"?>
<p:tagLst xmlns:a="http://schemas.openxmlformats.org/drawingml/2006/main" xmlns:r="http://schemas.openxmlformats.org/officeDocument/2006/relationships" xmlns:p="http://schemas.openxmlformats.org/presentationml/2006/main">
  <p:tag name="ISLEGEND" val="true"/>
</p:tagLst>
</file>

<file path=ppt/tags/tag1006.xml><?xml version="1.0" encoding="utf-8"?>
<p:tagLst xmlns:a="http://schemas.openxmlformats.org/drawingml/2006/main" xmlns:r="http://schemas.openxmlformats.org/officeDocument/2006/relationships" xmlns:p="http://schemas.openxmlformats.org/presentationml/2006/main">
  <p:tag name="ISLEGEND" val="true"/>
</p:tagLst>
</file>

<file path=ppt/tags/tag1007.xml><?xml version="1.0" encoding="utf-8"?>
<p:tagLst xmlns:a="http://schemas.openxmlformats.org/drawingml/2006/main" xmlns:r="http://schemas.openxmlformats.org/officeDocument/2006/relationships" xmlns:p="http://schemas.openxmlformats.org/presentationml/2006/main">
  <p:tag name="ISLEGEND" val="true"/>
</p:tagLst>
</file>

<file path=ppt/tags/tag1008.xml><?xml version="1.0" encoding="utf-8"?>
<p:tagLst xmlns:a="http://schemas.openxmlformats.org/drawingml/2006/main" xmlns:r="http://schemas.openxmlformats.org/officeDocument/2006/relationships" xmlns:p="http://schemas.openxmlformats.org/presentationml/2006/main">
  <p:tag name="ISLEGEND" val="true"/>
</p:tagLst>
</file>

<file path=ppt/tags/tag1009.xml><?xml version="1.0" encoding="utf-8"?>
<p:tagLst xmlns:a="http://schemas.openxmlformats.org/drawingml/2006/main" xmlns:r="http://schemas.openxmlformats.org/officeDocument/2006/relationships" xmlns:p="http://schemas.openxmlformats.org/presentationml/2006/main">
  <p:tag name="ISLEGEND" val="tru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0.xml><?xml version="1.0" encoding="utf-8"?>
<p:tagLst xmlns:a="http://schemas.openxmlformats.org/drawingml/2006/main" xmlns:r="http://schemas.openxmlformats.org/officeDocument/2006/relationships" xmlns:p="http://schemas.openxmlformats.org/presentationml/2006/main">
  <p:tag name="ISLEGEND" val="true"/>
</p:tagLst>
</file>

<file path=ppt/tags/tag10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3.xml><?xml version="1.0" encoding="utf-8"?>
<p:tagLst xmlns:a="http://schemas.openxmlformats.org/drawingml/2006/main" xmlns:r="http://schemas.openxmlformats.org/officeDocument/2006/relationships" xmlns:p="http://schemas.openxmlformats.org/presentationml/2006/main">
  <p:tag name="NAME" val="Logo"/>
</p:tagLst>
</file>

<file path=ppt/tags/tag10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5.xml><?xml version="1.0" encoding="utf-8"?>
<p:tagLst xmlns:a="http://schemas.openxmlformats.org/drawingml/2006/main" xmlns:r="http://schemas.openxmlformats.org/officeDocument/2006/relationships" xmlns:p="http://schemas.openxmlformats.org/presentationml/2006/main">
  <p:tag name="NAME" val="Logo"/>
</p:tagLst>
</file>

<file path=ppt/tags/tag10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8.xml><?xml version="1.0" encoding="utf-8"?>
<p:tagLst xmlns:a="http://schemas.openxmlformats.org/drawingml/2006/main" xmlns:r="http://schemas.openxmlformats.org/officeDocument/2006/relationships" xmlns:p="http://schemas.openxmlformats.org/presentationml/2006/main">
  <p:tag name="THINKCELLSHAPEDONOTDELETE" val="tdUVaNioeQEy1srSxzx_jYw"/>
</p:tagLst>
</file>

<file path=ppt/tags/tag1019.xml><?xml version="1.0" encoding="utf-8"?>
<p:tagLst xmlns:a="http://schemas.openxmlformats.org/drawingml/2006/main" xmlns:r="http://schemas.openxmlformats.org/officeDocument/2006/relationships" xmlns:p="http://schemas.openxmlformats.org/presentationml/2006/main">
  <p:tag name="NAME" val="Moon"/>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0.xml><?xml version="1.0" encoding="utf-8"?>
<p:tagLst xmlns:a="http://schemas.openxmlformats.org/drawingml/2006/main" xmlns:r="http://schemas.openxmlformats.org/officeDocument/2006/relationships" xmlns:p="http://schemas.openxmlformats.org/presentationml/2006/main">
  <p:tag name="NAME" val="Moon"/>
</p:tagLst>
</file>

<file path=ppt/tags/tag1021.xml><?xml version="1.0" encoding="utf-8"?>
<p:tagLst xmlns:a="http://schemas.openxmlformats.org/drawingml/2006/main" xmlns:r="http://schemas.openxmlformats.org/officeDocument/2006/relationships" xmlns:p="http://schemas.openxmlformats.org/presentationml/2006/main">
  <p:tag name="NAME" val="Moon"/>
</p:tagLst>
</file>

<file path=ppt/tags/tag1022.xml><?xml version="1.0" encoding="utf-8"?>
<p:tagLst xmlns:a="http://schemas.openxmlformats.org/drawingml/2006/main" xmlns:r="http://schemas.openxmlformats.org/officeDocument/2006/relationships" xmlns:p="http://schemas.openxmlformats.org/presentationml/2006/main">
  <p:tag name="NAME" val="Moon"/>
</p:tagLst>
</file>

<file path=ppt/tags/tag1023.xml><?xml version="1.0" encoding="utf-8"?>
<p:tagLst xmlns:a="http://schemas.openxmlformats.org/drawingml/2006/main" xmlns:r="http://schemas.openxmlformats.org/officeDocument/2006/relationships" xmlns:p="http://schemas.openxmlformats.org/presentationml/2006/main">
  <p:tag name="NAME" val="Moon"/>
</p:tagLst>
</file>

<file path=ppt/tags/tag1024.xml><?xml version="1.0" encoding="utf-8"?>
<p:tagLst xmlns:a="http://schemas.openxmlformats.org/drawingml/2006/main" xmlns:r="http://schemas.openxmlformats.org/officeDocument/2006/relationships" xmlns:p="http://schemas.openxmlformats.org/presentationml/2006/main">
  <p:tag name="ISLEGEND" val="true"/>
</p:tagLst>
</file>

<file path=ppt/tags/tag1025.xml><?xml version="1.0" encoding="utf-8"?>
<p:tagLst xmlns:a="http://schemas.openxmlformats.org/drawingml/2006/main" xmlns:r="http://schemas.openxmlformats.org/officeDocument/2006/relationships" xmlns:p="http://schemas.openxmlformats.org/presentationml/2006/main">
  <p:tag name="ISLEGEND" val="true"/>
</p:tagLst>
</file>

<file path=ppt/tags/tag1026.xml><?xml version="1.0" encoding="utf-8"?>
<p:tagLst xmlns:a="http://schemas.openxmlformats.org/drawingml/2006/main" xmlns:r="http://schemas.openxmlformats.org/officeDocument/2006/relationships" xmlns:p="http://schemas.openxmlformats.org/presentationml/2006/main">
  <p:tag name="ISLEGEND" val="true"/>
</p:tagLst>
</file>

<file path=ppt/tags/tag1027.xml><?xml version="1.0" encoding="utf-8"?>
<p:tagLst xmlns:a="http://schemas.openxmlformats.org/drawingml/2006/main" xmlns:r="http://schemas.openxmlformats.org/officeDocument/2006/relationships" xmlns:p="http://schemas.openxmlformats.org/presentationml/2006/main">
  <p:tag name="ISLEGEND" val="true"/>
</p:tagLst>
</file>

<file path=ppt/tags/tag1028.xml><?xml version="1.0" encoding="utf-8"?>
<p:tagLst xmlns:a="http://schemas.openxmlformats.org/drawingml/2006/main" xmlns:r="http://schemas.openxmlformats.org/officeDocument/2006/relationships" xmlns:p="http://schemas.openxmlformats.org/presentationml/2006/main">
  <p:tag name="ISLEGEND" val="true"/>
</p:tagLst>
</file>

<file path=ppt/tags/tag1029.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103.xml><?xml version="1.0" encoding="utf-8"?>
<p:tagLst xmlns:a="http://schemas.openxmlformats.org/drawingml/2006/main" xmlns:r="http://schemas.openxmlformats.org/officeDocument/2006/relationships" xmlns:p="http://schemas.openxmlformats.org/presentationml/2006/main">
  <p:tag name="NAME" val="Logo"/>
</p:tagLst>
</file>

<file path=ppt/tags/tag1030.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031.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032.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033.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034.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035.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036.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037.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038.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1039.xml><?xml version="1.0" encoding="utf-8"?>
<p:tagLst xmlns:a="http://schemas.openxmlformats.org/drawingml/2006/main" xmlns:r="http://schemas.openxmlformats.org/officeDocument/2006/relationships" xmlns:p="http://schemas.openxmlformats.org/presentationml/2006/main">
  <p:tag name="ISLEGEND" val="tru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0.xml><?xml version="1.0" encoding="utf-8"?>
<p:tagLst xmlns:a="http://schemas.openxmlformats.org/drawingml/2006/main" xmlns:r="http://schemas.openxmlformats.org/officeDocument/2006/relationships" xmlns:p="http://schemas.openxmlformats.org/presentationml/2006/main">
  <p:tag name="ISLEGEND" val="true"/>
</p:tagLst>
</file>

<file path=ppt/tags/tag1041.xml><?xml version="1.0" encoding="utf-8"?>
<p:tagLst xmlns:a="http://schemas.openxmlformats.org/drawingml/2006/main" xmlns:r="http://schemas.openxmlformats.org/officeDocument/2006/relationships" xmlns:p="http://schemas.openxmlformats.org/presentationml/2006/main">
  <p:tag name="ISLEGEND" val="true"/>
</p:tagLst>
</file>

<file path=ppt/tags/tag1042.xml><?xml version="1.0" encoding="utf-8"?>
<p:tagLst xmlns:a="http://schemas.openxmlformats.org/drawingml/2006/main" xmlns:r="http://schemas.openxmlformats.org/officeDocument/2006/relationships" xmlns:p="http://schemas.openxmlformats.org/presentationml/2006/main">
  <p:tag name="ISLEGEND" val="true"/>
</p:tagLst>
</file>

<file path=ppt/tags/tag1043.xml><?xml version="1.0" encoding="utf-8"?>
<p:tagLst xmlns:a="http://schemas.openxmlformats.org/drawingml/2006/main" xmlns:r="http://schemas.openxmlformats.org/officeDocument/2006/relationships" xmlns:p="http://schemas.openxmlformats.org/presentationml/2006/main">
  <p:tag name="ISLEGEND" val="true"/>
</p:tagLst>
</file>

<file path=ppt/tags/tag1044.xml><?xml version="1.0" encoding="utf-8"?>
<p:tagLst xmlns:a="http://schemas.openxmlformats.org/drawingml/2006/main" xmlns:r="http://schemas.openxmlformats.org/officeDocument/2006/relationships" xmlns:p="http://schemas.openxmlformats.org/presentationml/2006/main">
  <p:tag name="ISLEGEND" val="true"/>
</p:tagLst>
</file>

<file path=ppt/tags/tag1045.xml><?xml version="1.0" encoding="utf-8"?>
<p:tagLst xmlns:a="http://schemas.openxmlformats.org/drawingml/2006/main" xmlns:r="http://schemas.openxmlformats.org/officeDocument/2006/relationships" xmlns:p="http://schemas.openxmlformats.org/presentationml/2006/main">
  <p:tag name="ISLEGEND" val="true"/>
</p:tagLst>
</file>

<file path=ppt/tags/tag10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8.xml><?xml version="1.0" encoding="utf-8"?>
<p:tagLst xmlns:a="http://schemas.openxmlformats.org/drawingml/2006/main" xmlns:r="http://schemas.openxmlformats.org/officeDocument/2006/relationships" xmlns:p="http://schemas.openxmlformats.org/presentationml/2006/main">
  <p:tag name="NAME" val="Logo"/>
</p:tagLst>
</file>

<file path=ppt/tags/tag10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NAME" val="Logo"/>
</p:tagLst>
</file>

<file path=ppt/tags/tag1050.xml><?xml version="1.0" encoding="utf-8"?>
<p:tagLst xmlns:a="http://schemas.openxmlformats.org/drawingml/2006/main" xmlns:r="http://schemas.openxmlformats.org/officeDocument/2006/relationships" xmlns:p="http://schemas.openxmlformats.org/presentationml/2006/main">
  <p:tag name="NAME" val="Logo"/>
</p:tagLst>
</file>

<file path=ppt/tags/tag10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3.xml><?xml version="1.0" encoding="utf-8"?>
<p:tagLst xmlns:a="http://schemas.openxmlformats.org/drawingml/2006/main" xmlns:r="http://schemas.openxmlformats.org/officeDocument/2006/relationships" xmlns:p="http://schemas.openxmlformats.org/presentationml/2006/main">
  <p:tag name="THINKCELLSHAPEDONOTDELETE" val="tdUVaNioeQEy1srSxzx_jYw"/>
</p:tagLst>
</file>

<file path=ppt/tags/tag1054.xml><?xml version="1.0" encoding="utf-8"?>
<p:tagLst xmlns:a="http://schemas.openxmlformats.org/drawingml/2006/main" xmlns:r="http://schemas.openxmlformats.org/officeDocument/2006/relationships" xmlns:p="http://schemas.openxmlformats.org/presentationml/2006/main">
  <p:tag name="NAME" val="Moon"/>
</p:tagLst>
</file>

<file path=ppt/tags/tag1055.xml><?xml version="1.0" encoding="utf-8"?>
<p:tagLst xmlns:a="http://schemas.openxmlformats.org/drawingml/2006/main" xmlns:r="http://schemas.openxmlformats.org/officeDocument/2006/relationships" xmlns:p="http://schemas.openxmlformats.org/presentationml/2006/main">
  <p:tag name="NAME" val="Moon"/>
</p:tagLst>
</file>

<file path=ppt/tags/tag1056.xml><?xml version="1.0" encoding="utf-8"?>
<p:tagLst xmlns:a="http://schemas.openxmlformats.org/drawingml/2006/main" xmlns:r="http://schemas.openxmlformats.org/officeDocument/2006/relationships" xmlns:p="http://schemas.openxmlformats.org/presentationml/2006/main">
  <p:tag name="NAME" val="Moon"/>
</p:tagLst>
</file>

<file path=ppt/tags/tag1057.xml><?xml version="1.0" encoding="utf-8"?>
<p:tagLst xmlns:a="http://schemas.openxmlformats.org/drawingml/2006/main" xmlns:r="http://schemas.openxmlformats.org/officeDocument/2006/relationships" xmlns:p="http://schemas.openxmlformats.org/presentationml/2006/main">
  <p:tag name="NAME" val="Moon"/>
</p:tagLst>
</file>

<file path=ppt/tags/tag1058.xml><?xml version="1.0" encoding="utf-8"?>
<p:tagLst xmlns:a="http://schemas.openxmlformats.org/drawingml/2006/main" xmlns:r="http://schemas.openxmlformats.org/officeDocument/2006/relationships" xmlns:p="http://schemas.openxmlformats.org/presentationml/2006/main">
  <p:tag name="NAME" val="Moon"/>
</p:tagLst>
</file>

<file path=ppt/tags/tag1059.xml><?xml version="1.0" encoding="utf-8"?>
<p:tagLst xmlns:a="http://schemas.openxmlformats.org/drawingml/2006/main" xmlns:r="http://schemas.openxmlformats.org/officeDocument/2006/relationships" xmlns:p="http://schemas.openxmlformats.org/presentationml/2006/main">
  <p:tag name="ISLEGEND" val="tru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0.xml><?xml version="1.0" encoding="utf-8"?>
<p:tagLst xmlns:a="http://schemas.openxmlformats.org/drawingml/2006/main" xmlns:r="http://schemas.openxmlformats.org/officeDocument/2006/relationships" xmlns:p="http://schemas.openxmlformats.org/presentationml/2006/main">
  <p:tag name="ISLEGEND" val="true"/>
</p:tagLst>
</file>

<file path=ppt/tags/tag1061.xml><?xml version="1.0" encoding="utf-8"?>
<p:tagLst xmlns:a="http://schemas.openxmlformats.org/drawingml/2006/main" xmlns:r="http://schemas.openxmlformats.org/officeDocument/2006/relationships" xmlns:p="http://schemas.openxmlformats.org/presentationml/2006/main">
  <p:tag name="ISLEGEND" val="true"/>
</p:tagLst>
</file>

<file path=ppt/tags/tag1062.xml><?xml version="1.0" encoding="utf-8"?>
<p:tagLst xmlns:a="http://schemas.openxmlformats.org/drawingml/2006/main" xmlns:r="http://schemas.openxmlformats.org/officeDocument/2006/relationships" xmlns:p="http://schemas.openxmlformats.org/presentationml/2006/main">
  <p:tag name="ISLEGEND" val="true"/>
</p:tagLst>
</file>

<file path=ppt/tags/tag1063.xml><?xml version="1.0" encoding="utf-8"?>
<p:tagLst xmlns:a="http://schemas.openxmlformats.org/drawingml/2006/main" xmlns:r="http://schemas.openxmlformats.org/officeDocument/2006/relationships" xmlns:p="http://schemas.openxmlformats.org/presentationml/2006/main">
  <p:tag name="ISLEGEND" val="true"/>
</p:tagLst>
</file>

<file path=ppt/tags/tag1064.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1065.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066.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067.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068.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069.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0.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071.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072.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073.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1074.xml><?xml version="1.0" encoding="utf-8"?>
<p:tagLst xmlns:a="http://schemas.openxmlformats.org/drawingml/2006/main" xmlns:r="http://schemas.openxmlformats.org/officeDocument/2006/relationships" xmlns:p="http://schemas.openxmlformats.org/presentationml/2006/main">
  <p:tag name="ISLEGEND" val="true"/>
</p:tagLst>
</file>

<file path=ppt/tags/tag1075.xml><?xml version="1.0" encoding="utf-8"?>
<p:tagLst xmlns:a="http://schemas.openxmlformats.org/drawingml/2006/main" xmlns:r="http://schemas.openxmlformats.org/officeDocument/2006/relationships" xmlns:p="http://schemas.openxmlformats.org/presentationml/2006/main">
  <p:tag name="ISLEGEND" val="true"/>
</p:tagLst>
</file>

<file path=ppt/tags/tag1076.xml><?xml version="1.0" encoding="utf-8"?>
<p:tagLst xmlns:a="http://schemas.openxmlformats.org/drawingml/2006/main" xmlns:r="http://schemas.openxmlformats.org/officeDocument/2006/relationships" xmlns:p="http://schemas.openxmlformats.org/presentationml/2006/main">
  <p:tag name="ISLEGEND" val="true"/>
</p:tagLst>
</file>

<file path=ppt/tags/tag1077.xml><?xml version="1.0" encoding="utf-8"?>
<p:tagLst xmlns:a="http://schemas.openxmlformats.org/drawingml/2006/main" xmlns:r="http://schemas.openxmlformats.org/officeDocument/2006/relationships" xmlns:p="http://schemas.openxmlformats.org/presentationml/2006/main">
  <p:tag name="ISLEGEND" val="true"/>
</p:tagLst>
</file>

<file path=ppt/tags/tag1078.xml><?xml version="1.0" encoding="utf-8"?>
<p:tagLst xmlns:a="http://schemas.openxmlformats.org/drawingml/2006/main" xmlns:r="http://schemas.openxmlformats.org/officeDocument/2006/relationships" xmlns:p="http://schemas.openxmlformats.org/presentationml/2006/main">
  <p:tag name="ISLEGEND" val="true"/>
</p:tagLst>
</file>

<file path=ppt/tags/tag1079.xml><?xml version="1.0" encoding="utf-8"?>
<p:tagLst xmlns:a="http://schemas.openxmlformats.org/drawingml/2006/main" xmlns:r="http://schemas.openxmlformats.org/officeDocument/2006/relationships" xmlns:p="http://schemas.openxmlformats.org/presentationml/2006/main">
  <p:tag name="ISLEGEND" val="tru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dUVaNioeQEy1srSxzx_jYw"/>
</p:tagLst>
</file>

<file path=ppt/tags/tag1080.xml><?xml version="1.0" encoding="utf-8"?>
<p:tagLst xmlns:a="http://schemas.openxmlformats.org/drawingml/2006/main" xmlns:r="http://schemas.openxmlformats.org/officeDocument/2006/relationships" xmlns:p="http://schemas.openxmlformats.org/presentationml/2006/main">
  <p:tag name="ISLEGEND" val="true"/>
</p:tagLst>
</file>

<file path=ppt/tags/tag10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3.xml><?xml version="1.0" encoding="utf-8"?>
<p:tagLst xmlns:a="http://schemas.openxmlformats.org/drawingml/2006/main" xmlns:r="http://schemas.openxmlformats.org/officeDocument/2006/relationships" xmlns:p="http://schemas.openxmlformats.org/presentationml/2006/main">
  <p:tag name="NAME" val="Logo"/>
</p:tagLst>
</file>

<file path=ppt/tags/tag10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5.xml><?xml version="1.0" encoding="utf-8"?>
<p:tagLst xmlns:a="http://schemas.openxmlformats.org/drawingml/2006/main" xmlns:r="http://schemas.openxmlformats.org/officeDocument/2006/relationships" xmlns:p="http://schemas.openxmlformats.org/presentationml/2006/main">
  <p:tag name="NAME" val="Logo"/>
</p:tagLst>
</file>

<file path=ppt/tags/tag10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8.xml><?xml version="1.0" encoding="utf-8"?>
<p:tagLst xmlns:a="http://schemas.openxmlformats.org/drawingml/2006/main" xmlns:r="http://schemas.openxmlformats.org/officeDocument/2006/relationships" xmlns:p="http://schemas.openxmlformats.org/presentationml/2006/main">
  <p:tag name="THINKCELLSHAPEDONOTDELETE" val="tdUVaNioeQEy1srSxzx_jYw"/>
</p:tagLst>
</file>

<file path=ppt/tags/tag1089.xml><?xml version="1.0" encoding="utf-8"?>
<p:tagLst xmlns:a="http://schemas.openxmlformats.org/drawingml/2006/main" xmlns:r="http://schemas.openxmlformats.org/officeDocument/2006/relationships" xmlns:p="http://schemas.openxmlformats.org/presentationml/2006/main">
  <p:tag name="NAME" val="Moon"/>
</p:tagLst>
</file>

<file path=ppt/tags/tag109.xml><?xml version="1.0" encoding="utf-8"?>
<p:tagLst xmlns:a="http://schemas.openxmlformats.org/drawingml/2006/main" xmlns:r="http://schemas.openxmlformats.org/officeDocument/2006/relationships" xmlns:p="http://schemas.openxmlformats.org/presentationml/2006/main">
  <p:tag name="NAME" val="Moon"/>
</p:tagLst>
</file>

<file path=ppt/tags/tag1090.xml><?xml version="1.0" encoding="utf-8"?>
<p:tagLst xmlns:a="http://schemas.openxmlformats.org/drawingml/2006/main" xmlns:r="http://schemas.openxmlformats.org/officeDocument/2006/relationships" xmlns:p="http://schemas.openxmlformats.org/presentationml/2006/main">
  <p:tag name="NAME" val="Moon"/>
</p:tagLst>
</file>

<file path=ppt/tags/tag1091.xml><?xml version="1.0" encoding="utf-8"?>
<p:tagLst xmlns:a="http://schemas.openxmlformats.org/drawingml/2006/main" xmlns:r="http://schemas.openxmlformats.org/officeDocument/2006/relationships" xmlns:p="http://schemas.openxmlformats.org/presentationml/2006/main">
  <p:tag name="NAME" val="Moon"/>
</p:tagLst>
</file>

<file path=ppt/tags/tag1092.xml><?xml version="1.0" encoding="utf-8"?>
<p:tagLst xmlns:a="http://schemas.openxmlformats.org/drawingml/2006/main" xmlns:r="http://schemas.openxmlformats.org/officeDocument/2006/relationships" xmlns:p="http://schemas.openxmlformats.org/presentationml/2006/main">
  <p:tag name="NAME" val="Moon"/>
</p:tagLst>
</file>

<file path=ppt/tags/tag1093.xml><?xml version="1.0" encoding="utf-8"?>
<p:tagLst xmlns:a="http://schemas.openxmlformats.org/drawingml/2006/main" xmlns:r="http://schemas.openxmlformats.org/officeDocument/2006/relationships" xmlns:p="http://schemas.openxmlformats.org/presentationml/2006/main">
  <p:tag name="NAME" val="Moon"/>
</p:tagLst>
</file>

<file path=ppt/tags/tag1094.xml><?xml version="1.0" encoding="utf-8"?>
<p:tagLst xmlns:a="http://schemas.openxmlformats.org/drawingml/2006/main" xmlns:r="http://schemas.openxmlformats.org/officeDocument/2006/relationships" xmlns:p="http://schemas.openxmlformats.org/presentationml/2006/main">
  <p:tag name="ISLEGEND" val="true"/>
</p:tagLst>
</file>

<file path=ppt/tags/tag1095.xml><?xml version="1.0" encoding="utf-8"?>
<p:tagLst xmlns:a="http://schemas.openxmlformats.org/drawingml/2006/main" xmlns:r="http://schemas.openxmlformats.org/officeDocument/2006/relationships" xmlns:p="http://schemas.openxmlformats.org/presentationml/2006/main">
  <p:tag name="ISLEGEND" val="true"/>
</p:tagLst>
</file>

<file path=ppt/tags/tag1096.xml><?xml version="1.0" encoding="utf-8"?>
<p:tagLst xmlns:a="http://schemas.openxmlformats.org/drawingml/2006/main" xmlns:r="http://schemas.openxmlformats.org/officeDocument/2006/relationships" xmlns:p="http://schemas.openxmlformats.org/presentationml/2006/main">
  <p:tag name="ISLEGEND" val="true"/>
</p:tagLst>
</file>

<file path=ppt/tags/tag1097.xml><?xml version="1.0" encoding="utf-8"?>
<p:tagLst xmlns:a="http://schemas.openxmlformats.org/drawingml/2006/main" xmlns:r="http://schemas.openxmlformats.org/officeDocument/2006/relationships" xmlns:p="http://schemas.openxmlformats.org/presentationml/2006/main">
  <p:tag name="ISLEGEND" val="true"/>
</p:tagLst>
</file>

<file path=ppt/tags/tag1098.xml><?xml version="1.0" encoding="utf-8"?>
<p:tagLst xmlns:a="http://schemas.openxmlformats.org/drawingml/2006/main" xmlns:r="http://schemas.openxmlformats.org/officeDocument/2006/relationships" xmlns:p="http://schemas.openxmlformats.org/presentationml/2006/main">
  <p:tag name="ISLEGEND" val="true"/>
</p:tagLst>
</file>

<file path=ppt/tags/tag1099.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11.xml><?xml version="1.0" encoding="utf-8"?>
<p:tagLst xmlns:a="http://schemas.openxmlformats.org/drawingml/2006/main" xmlns:r="http://schemas.openxmlformats.org/officeDocument/2006/relationships" xmlns:p="http://schemas.openxmlformats.org/presentationml/2006/main">
  <p:tag name="ISLEGEND" val="true"/>
</p:tagLst>
</file>

<file path=ppt/tags/tag110.xml><?xml version="1.0" encoding="utf-8"?>
<p:tagLst xmlns:a="http://schemas.openxmlformats.org/drawingml/2006/main" xmlns:r="http://schemas.openxmlformats.org/officeDocument/2006/relationships" xmlns:p="http://schemas.openxmlformats.org/presentationml/2006/main">
  <p:tag name="NAME" val="Moon"/>
</p:tagLst>
</file>

<file path=ppt/tags/tag1100.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101.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102.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103.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104.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105.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106.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107.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108.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1109.xml><?xml version="1.0" encoding="utf-8"?>
<p:tagLst xmlns:a="http://schemas.openxmlformats.org/drawingml/2006/main" xmlns:r="http://schemas.openxmlformats.org/officeDocument/2006/relationships" xmlns:p="http://schemas.openxmlformats.org/presentationml/2006/main">
  <p:tag name="ISLEGEND" val="true"/>
</p:tagLst>
</file>

<file path=ppt/tags/tag111.xml><?xml version="1.0" encoding="utf-8"?>
<p:tagLst xmlns:a="http://schemas.openxmlformats.org/drawingml/2006/main" xmlns:r="http://schemas.openxmlformats.org/officeDocument/2006/relationships" xmlns:p="http://schemas.openxmlformats.org/presentationml/2006/main">
  <p:tag name="NAME" val="Moon"/>
</p:tagLst>
</file>

<file path=ppt/tags/tag1110.xml><?xml version="1.0" encoding="utf-8"?>
<p:tagLst xmlns:a="http://schemas.openxmlformats.org/drawingml/2006/main" xmlns:r="http://schemas.openxmlformats.org/officeDocument/2006/relationships" xmlns:p="http://schemas.openxmlformats.org/presentationml/2006/main">
  <p:tag name="ISLEGEND" val="true"/>
</p:tagLst>
</file>

<file path=ppt/tags/tag1111.xml><?xml version="1.0" encoding="utf-8"?>
<p:tagLst xmlns:a="http://schemas.openxmlformats.org/drawingml/2006/main" xmlns:r="http://schemas.openxmlformats.org/officeDocument/2006/relationships" xmlns:p="http://schemas.openxmlformats.org/presentationml/2006/main">
  <p:tag name="ISLEGEND" val="true"/>
</p:tagLst>
</file>

<file path=ppt/tags/tag1112.xml><?xml version="1.0" encoding="utf-8"?>
<p:tagLst xmlns:a="http://schemas.openxmlformats.org/drawingml/2006/main" xmlns:r="http://schemas.openxmlformats.org/officeDocument/2006/relationships" xmlns:p="http://schemas.openxmlformats.org/presentationml/2006/main">
  <p:tag name="ISLEGEND" val="true"/>
</p:tagLst>
</file>

<file path=ppt/tags/tag1113.xml><?xml version="1.0" encoding="utf-8"?>
<p:tagLst xmlns:a="http://schemas.openxmlformats.org/drawingml/2006/main" xmlns:r="http://schemas.openxmlformats.org/officeDocument/2006/relationships" xmlns:p="http://schemas.openxmlformats.org/presentationml/2006/main">
  <p:tag name="ISLEGEND" val="true"/>
</p:tagLst>
</file>

<file path=ppt/tags/tag1114.xml><?xml version="1.0" encoding="utf-8"?>
<p:tagLst xmlns:a="http://schemas.openxmlformats.org/drawingml/2006/main" xmlns:r="http://schemas.openxmlformats.org/officeDocument/2006/relationships" xmlns:p="http://schemas.openxmlformats.org/presentationml/2006/main">
  <p:tag name="ISLEGEND" val="true"/>
</p:tagLst>
</file>

<file path=ppt/tags/tag1115.xml><?xml version="1.0" encoding="utf-8"?>
<p:tagLst xmlns:a="http://schemas.openxmlformats.org/drawingml/2006/main" xmlns:r="http://schemas.openxmlformats.org/officeDocument/2006/relationships" xmlns:p="http://schemas.openxmlformats.org/presentationml/2006/main">
  <p:tag name="ISLEGEND" val="true"/>
</p:tagLst>
</file>

<file path=ppt/tags/tag1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8.xml><?xml version="1.0" encoding="utf-8"?>
<p:tagLst xmlns:a="http://schemas.openxmlformats.org/drawingml/2006/main" xmlns:r="http://schemas.openxmlformats.org/officeDocument/2006/relationships" xmlns:p="http://schemas.openxmlformats.org/presentationml/2006/main">
  <p:tag name="NAME" val="Logo"/>
</p:tagLst>
</file>

<file path=ppt/tags/tag1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NAME" val="Moon"/>
</p:tagLst>
</file>

<file path=ppt/tags/tag1120.xml><?xml version="1.0" encoding="utf-8"?>
<p:tagLst xmlns:a="http://schemas.openxmlformats.org/drawingml/2006/main" xmlns:r="http://schemas.openxmlformats.org/officeDocument/2006/relationships" xmlns:p="http://schemas.openxmlformats.org/presentationml/2006/main">
  <p:tag name="NAME" val="Logo"/>
</p:tagLst>
</file>

<file path=ppt/tags/tag1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3.xml><?xml version="1.0" encoding="utf-8"?>
<p:tagLst xmlns:a="http://schemas.openxmlformats.org/drawingml/2006/main" xmlns:r="http://schemas.openxmlformats.org/officeDocument/2006/relationships" xmlns:p="http://schemas.openxmlformats.org/presentationml/2006/main">
  <p:tag name="THINKCELLSHAPEDONOTDELETE" val="tdUVaNioeQEy1srSxzx_jYw"/>
</p:tagLst>
</file>

<file path=ppt/tags/tag1124.xml><?xml version="1.0" encoding="utf-8"?>
<p:tagLst xmlns:a="http://schemas.openxmlformats.org/drawingml/2006/main" xmlns:r="http://schemas.openxmlformats.org/officeDocument/2006/relationships" xmlns:p="http://schemas.openxmlformats.org/presentationml/2006/main">
  <p:tag name="NAME" val="Moon"/>
</p:tagLst>
</file>

<file path=ppt/tags/tag1125.xml><?xml version="1.0" encoding="utf-8"?>
<p:tagLst xmlns:a="http://schemas.openxmlformats.org/drawingml/2006/main" xmlns:r="http://schemas.openxmlformats.org/officeDocument/2006/relationships" xmlns:p="http://schemas.openxmlformats.org/presentationml/2006/main">
  <p:tag name="NAME" val="Moon"/>
</p:tagLst>
</file>

<file path=ppt/tags/tag1126.xml><?xml version="1.0" encoding="utf-8"?>
<p:tagLst xmlns:a="http://schemas.openxmlformats.org/drawingml/2006/main" xmlns:r="http://schemas.openxmlformats.org/officeDocument/2006/relationships" xmlns:p="http://schemas.openxmlformats.org/presentationml/2006/main">
  <p:tag name="NAME" val="Moon"/>
</p:tagLst>
</file>

<file path=ppt/tags/tag1127.xml><?xml version="1.0" encoding="utf-8"?>
<p:tagLst xmlns:a="http://schemas.openxmlformats.org/drawingml/2006/main" xmlns:r="http://schemas.openxmlformats.org/officeDocument/2006/relationships" xmlns:p="http://schemas.openxmlformats.org/presentationml/2006/main">
  <p:tag name="NAME" val="Moon"/>
</p:tagLst>
</file>

<file path=ppt/tags/tag1128.xml><?xml version="1.0" encoding="utf-8"?>
<p:tagLst xmlns:a="http://schemas.openxmlformats.org/drawingml/2006/main" xmlns:r="http://schemas.openxmlformats.org/officeDocument/2006/relationships" xmlns:p="http://schemas.openxmlformats.org/presentationml/2006/main">
  <p:tag name="NAME" val="Moon"/>
</p:tagLst>
</file>

<file path=ppt/tags/tag1129.xml><?xml version="1.0" encoding="utf-8"?>
<p:tagLst xmlns:a="http://schemas.openxmlformats.org/drawingml/2006/main" xmlns:r="http://schemas.openxmlformats.org/officeDocument/2006/relationships" xmlns:p="http://schemas.openxmlformats.org/presentationml/2006/main">
  <p:tag name="ISLEGEND" val="true"/>
</p:tagLst>
</file>

<file path=ppt/tags/tag113.xml><?xml version="1.0" encoding="utf-8"?>
<p:tagLst xmlns:a="http://schemas.openxmlformats.org/drawingml/2006/main" xmlns:r="http://schemas.openxmlformats.org/officeDocument/2006/relationships" xmlns:p="http://schemas.openxmlformats.org/presentationml/2006/main">
  <p:tag name="NAME" val="Moon"/>
</p:tagLst>
</file>

<file path=ppt/tags/tag1130.xml><?xml version="1.0" encoding="utf-8"?>
<p:tagLst xmlns:a="http://schemas.openxmlformats.org/drawingml/2006/main" xmlns:r="http://schemas.openxmlformats.org/officeDocument/2006/relationships" xmlns:p="http://schemas.openxmlformats.org/presentationml/2006/main">
  <p:tag name="ISLEGEND" val="true"/>
</p:tagLst>
</file>

<file path=ppt/tags/tag1131.xml><?xml version="1.0" encoding="utf-8"?>
<p:tagLst xmlns:a="http://schemas.openxmlformats.org/drawingml/2006/main" xmlns:r="http://schemas.openxmlformats.org/officeDocument/2006/relationships" xmlns:p="http://schemas.openxmlformats.org/presentationml/2006/main">
  <p:tag name="ISLEGEND" val="true"/>
</p:tagLst>
</file>

<file path=ppt/tags/tag1132.xml><?xml version="1.0" encoding="utf-8"?>
<p:tagLst xmlns:a="http://schemas.openxmlformats.org/drawingml/2006/main" xmlns:r="http://schemas.openxmlformats.org/officeDocument/2006/relationships" xmlns:p="http://schemas.openxmlformats.org/presentationml/2006/main">
  <p:tag name="ISLEGEND" val="true"/>
</p:tagLst>
</file>

<file path=ppt/tags/tag1133.xml><?xml version="1.0" encoding="utf-8"?>
<p:tagLst xmlns:a="http://schemas.openxmlformats.org/drawingml/2006/main" xmlns:r="http://schemas.openxmlformats.org/officeDocument/2006/relationships" xmlns:p="http://schemas.openxmlformats.org/presentationml/2006/main">
  <p:tag name="ISLEGEND" val="true"/>
</p:tagLst>
</file>

<file path=ppt/tags/tag1134.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1135.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136.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137.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138.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139.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14.xml><?xml version="1.0" encoding="utf-8"?>
<p:tagLst xmlns:a="http://schemas.openxmlformats.org/drawingml/2006/main" xmlns:r="http://schemas.openxmlformats.org/officeDocument/2006/relationships" xmlns:p="http://schemas.openxmlformats.org/presentationml/2006/main">
  <p:tag name="ISLEGEND" val="true"/>
</p:tagLst>
</file>

<file path=ppt/tags/tag1140.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141.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142.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143.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1144.xml><?xml version="1.0" encoding="utf-8"?>
<p:tagLst xmlns:a="http://schemas.openxmlformats.org/drawingml/2006/main" xmlns:r="http://schemas.openxmlformats.org/officeDocument/2006/relationships" xmlns:p="http://schemas.openxmlformats.org/presentationml/2006/main">
  <p:tag name="ISLEGEND" val="true"/>
</p:tagLst>
</file>

<file path=ppt/tags/tag1145.xml><?xml version="1.0" encoding="utf-8"?>
<p:tagLst xmlns:a="http://schemas.openxmlformats.org/drawingml/2006/main" xmlns:r="http://schemas.openxmlformats.org/officeDocument/2006/relationships" xmlns:p="http://schemas.openxmlformats.org/presentationml/2006/main">
  <p:tag name="ISLEGEND" val="true"/>
</p:tagLst>
</file>

<file path=ppt/tags/tag1146.xml><?xml version="1.0" encoding="utf-8"?>
<p:tagLst xmlns:a="http://schemas.openxmlformats.org/drawingml/2006/main" xmlns:r="http://schemas.openxmlformats.org/officeDocument/2006/relationships" xmlns:p="http://schemas.openxmlformats.org/presentationml/2006/main">
  <p:tag name="ISLEGEND" val="true"/>
</p:tagLst>
</file>

<file path=ppt/tags/tag1147.xml><?xml version="1.0" encoding="utf-8"?>
<p:tagLst xmlns:a="http://schemas.openxmlformats.org/drawingml/2006/main" xmlns:r="http://schemas.openxmlformats.org/officeDocument/2006/relationships" xmlns:p="http://schemas.openxmlformats.org/presentationml/2006/main">
  <p:tag name="ISLEGEND" val="true"/>
</p:tagLst>
</file>

<file path=ppt/tags/tag1148.xml><?xml version="1.0" encoding="utf-8"?>
<p:tagLst xmlns:a="http://schemas.openxmlformats.org/drawingml/2006/main" xmlns:r="http://schemas.openxmlformats.org/officeDocument/2006/relationships" xmlns:p="http://schemas.openxmlformats.org/presentationml/2006/main">
  <p:tag name="ISLEGEND" val="true"/>
</p:tagLst>
</file>

<file path=ppt/tags/tag1149.xml><?xml version="1.0" encoding="utf-8"?>
<p:tagLst xmlns:a="http://schemas.openxmlformats.org/drawingml/2006/main" xmlns:r="http://schemas.openxmlformats.org/officeDocument/2006/relationships" xmlns:p="http://schemas.openxmlformats.org/presentationml/2006/main">
  <p:tag name="ISLEGEND" val="true"/>
</p:tagLst>
</file>

<file path=ppt/tags/tag115.xml><?xml version="1.0" encoding="utf-8"?>
<p:tagLst xmlns:a="http://schemas.openxmlformats.org/drawingml/2006/main" xmlns:r="http://schemas.openxmlformats.org/officeDocument/2006/relationships" xmlns:p="http://schemas.openxmlformats.org/presentationml/2006/main">
  <p:tag name="ISLEGEND" val="true"/>
</p:tagLst>
</file>

<file path=ppt/tags/tag1150.xml><?xml version="1.0" encoding="utf-8"?>
<p:tagLst xmlns:a="http://schemas.openxmlformats.org/drawingml/2006/main" xmlns:r="http://schemas.openxmlformats.org/officeDocument/2006/relationships" xmlns:p="http://schemas.openxmlformats.org/presentationml/2006/main">
  <p:tag name="ISLEGEND" val="true"/>
</p:tagLst>
</file>

<file path=ppt/tags/tag11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3.xml><?xml version="1.0" encoding="utf-8"?>
<p:tagLst xmlns:a="http://schemas.openxmlformats.org/drawingml/2006/main" xmlns:r="http://schemas.openxmlformats.org/officeDocument/2006/relationships" xmlns:p="http://schemas.openxmlformats.org/presentationml/2006/main">
  <p:tag name="NAME" val="Logo"/>
</p:tagLst>
</file>

<file path=ppt/tags/tag11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5.xml><?xml version="1.0" encoding="utf-8"?>
<p:tagLst xmlns:a="http://schemas.openxmlformats.org/drawingml/2006/main" xmlns:r="http://schemas.openxmlformats.org/officeDocument/2006/relationships" xmlns:p="http://schemas.openxmlformats.org/presentationml/2006/main">
  <p:tag name="NAME" val="Logo"/>
</p:tagLst>
</file>

<file path=ppt/tags/tag11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7.xml><?xml version="1.0" encoding="utf-8"?>
<p:tagLst xmlns:a="http://schemas.openxmlformats.org/drawingml/2006/main" xmlns:r="http://schemas.openxmlformats.org/officeDocument/2006/relationships" xmlns:p="http://schemas.openxmlformats.org/presentationml/2006/main">
  <p:tag name="THINKCELLSHAPEDONOTDELETE" val="tdUVaNioeQEy1srSxzx_jYw"/>
</p:tagLst>
</file>

<file path=ppt/tags/tag1158.xml><?xml version="1.0" encoding="utf-8"?>
<p:tagLst xmlns:a="http://schemas.openxmlformats.org/drawingml/2006/main" xmlns:r="http://schemas.openxmlformats.org/officeDocument/2006/relationships" xmlns:p="http://schemas.openxmlformats.org/presentationml/2006/main">
  <p:tag name="NAME" val="Moon"/>
</p:tagLst>
</file>

<file path=ppt/tags/tag1159.xml><?xml version="1.0" encoding="utf-8"?>
<p:tagLst xmlns:a="http://schemas.openxmlformats.org/drawingml/2006/main" xmlns:r="http://schemas.openxmlformats.org/officeDocument/2006/relationships" xmlns:p="http://schemas.openxmlformats.org/presentationml/2006/main">
  <p:tag name="NAME" val="Moon"/>
</p:tagLst>
</file>

<file path=ppt/tags/tag116.xml><?xml version="1.0" encoding="utf-8"?>
<p:tagLst xmlns:a="http://schemas.openxmlformats.org/drawingml/2006/main" xmlns:r="http://schemas.openxmlformats.org/officeDocument/2006/relationships" xmlns:p="http://schemas.openxmlformats.org/presentationml/2006/main">
  <p:tag name="ISLEGEND" val="true"/>
</p:tagLst>
</file>

<file path=ppt/tags/tag1160.xml><?xml version="1.0" encoding="utf-8"?>
<p:tagLst xmlns:a="http://schemas.openxmlformats.org/drawingml/2006/main" xmlns:r="http://schemas.openxmlformats.org/officeDocument/2006/relationships" xmlns:p="http://schemas.openxmlformats.org/presentationml/2006/main">
  <p:tag name="NAME" val="Moon"/>
</p:tagLst>
</file>

<file path=ppt/tags/tag1161.xml><?xml version="1.0" encoding="utf-8"?>
<p:tagLst xmlns:a="http://schemas.openxmlformats.org/drawingml/2006/main" xmlns:r="http://schemas.openxmlformats.org/officeDocument/2006/relationships" xmlns:p="http://schemas.openxmlformats.org/presentationml/2006/main">
  <p:tag name="NAME" val="Moon"/>
</p:tagLst>
</file>

<file path=ppt/tags/tag1162.xml><?xml version="1.0" encoding="utf-8"?>
<p:tagLst xmlns:a="http://schemas.openxmlformats.org/drawingml/2006/main" xmlns:r="http://schemas.openxmlformats.org/officeDocument/2006/relationships" xmlns:p="http://schemas.openxmlformats.org/presentationml/2006/main">
  <p:tag name="NAME" val="Moon"/>
</p:tagLst>
</file>

<file path=ppt/tags/tag1163.xml><?xml version="1.0" encoding="utf-8"?>
<p:tagLst xmlns:a="http://schemas.openxmlformats.org/drawingml/2006/main" xmlns:r="http://schemas.openxmlformats.org/officeDocument/2006/relationships" xmlns:p="http://schemas.openxmlformats.org/presentationml/2006/main">
  <p:tag name="ISLEGEND" val="true"/>
</p:tagLst>
</file>

<file path=ppt/tags/tag1164.xml><?xml version="1.0" encoding="utf-8"?>
<p:tagLst xmlns:a="http://schemas.openxmlformats.org/drawingml/2006/main" xmlns:r="http://schemas.openxmlformats.org/officeDocument/2006/relationships" xmlns:p="http://schemas.openxmlformats.org/presentationml/2006/main">
  <p:tag name="ISLEGEND" val="true"/>
</p:tagLst>
</file>

<file path=ppt/tags/tag1165.xml><?xml version="1.0" encoding="utf-8"?>
<p:tagLst xmlns:a="http://schemas.openxmlformats.org/drawingml/2006/main" xmlns:r="http://schemas.openxmlformats.org/officeDocument/2006/relationships" xmlns:p="http://schemas.openxmlformats.org/presentationml/2006/main">
  <p:tag name="ISLEGEND" val="true"/>
</p:tagLst>
</file>

<file path=ppt/tags/tag1166.xml><?xml version="1.0" encoding="utf-8"?>
<p:tagLst xmlns:a="http://schemas.openxmlformats.org/drawingml/2006/main" xmlns:r="http://schemas.openxmlformats.org/officeDocument/2006/relationships" xmlns:p="http://schemas.openxmlformats.org/presentationml/2006/main">
  <p:tag name="ISLEGEND" val="true"/>
</p:tagLst>
</file>

<file path=ppt/tags/tag1167.xml><?xml version="1.0" encoding="utf-8"?>
<p:tagLst xmlns:a="http://schemas.openxmlformats.org/drawingml/2006/main" xmlns:r="http://schemas.openxmlformats.org/officeDocument/2006/relationships" xmlns:p="http://schemas.openxmlformats.org/presentationml/2006/main">
  <p:tag name="ISLEGEND" val="true"/>
</p:tagLst>
</file>

<file path=ppt/tags/tag1168.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1169.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17.xml><?xml version="1.0" encoding="utf-8"?>
<p:tagLst xmlns:a="http://schemas.openxmlformats.org/drawingml/2006/main" xmlns:r="http://schemas.openxmlformats.org/officeDocument/2006/relationships" xmlns:p="http://schemas.openxmlformats.org/presentationml/2006/main">
  <p:tag name="ISLEGEND" val="true"/>
</p:tagLst>
</file>

<file path=ppt/tags/tag1170.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171.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172.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173.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174.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175.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176.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177.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1178.xml><?xml version="1.0" encoding="utf-8"?>
<p:tagLst xmlns:a="http://schemas.openxmlformats.org/drawingml/2006/main" xmlns:r="http://schemas.openxmlformats.org/officeDocument/2006/relationships" xmlns:p="http://schemas.openxmlformats.org/presentationml/2006/main">
  <p:tag name="ISLEGEND" val="true"/>
</p:tagLst>
</file>

<file path=ppt/tags/tag1179.xml><?xml version="1.0" encoding="utf-8"?>
<p:tagLst xmlns:a="http://schemas.openxmlformats.org/drawingml/2006/main" xmlns:r="http://schemas.openxmlformats.org/officeDocument/2006/relationships" xmlns:p="http://schemas.openxmlformats.org/presentationml/2006/main">
  <p:tag name="ISLEGEND" val="true"/>
</p:tagLst>
</file>

<file path=ppt/tags/tag118.xml><?xml version="1.0" encoding="utf-8"?>
<p:tagLst xmlns:a="http://schemas.openxmlformats.org/drawingml/2006/main" xmlns:r="http://schemas.openxmlformats.org/officeDocument/2006/relationships" xmlns:p="http://schemas.openxmlformats.org/presentationml/2006/main">
  <p:tag name="ISLEGEND" val="true"/>
</p:tagLst>
</file>

<file path=ppt/tags/tag1180.xml><?xml version="1.0" encoding="utf-8"?>
<p:tagLst xmlns:a="http://schemas.openxmlformats.org/drawingml/2006/main" xmlns:r="http://schemas.openxmlformats.org/officeDocument/2006/relationships" xmlns:p="http://schemas.openxmlformats.org/presentationml/2006/main">
  <p:tag name="ISLEGEND" val="true"/>
</p:tagLst>
</file>

<file path=ppt/tags/tag1181.xml><?xml version="1.0" encoding="utf-8"?>
<p:tagLst xmlns:a="http://schemas.openxmlformats.org/drawingml/2006/main" xmlns:r="http://schemas.openxmlformats.org/officeDocument/2006/relationships" xmlns:p="http://schemas.openxmlformats.org/presentationml/2006/main">
  <p:tag name="ISLEGEND" val="true"/>
</p:tagLst>
</file>

<file path=ppt/tags/tag1182.xml><?xml version="1.0" encoding="utf-8"?>
<p:tagLst xmlns:a="http://schemas.openxmlformats.org/drawingml/2006/main" xmlns:r="http://schemas.openxmlformats.org/officeDocument/2006/relationships" xmlns:p="http://schemas.openxmlformats.org/presentationml/2006/main">
  <p:tag name="ISLEGEND" val="true"/>
</p:tagLst>
</file>

<file path=ppt/tags/tag1183.xml><?xml version="1.0" encoding="utf-8"?>
<p:tagLst xmlns:a="http://schemas.openxmlformats.org/drawingml/2006/main" xmlns:r="http://schemas.openxmlformats.org/officeDocument/2006/relationships" xmlns:p="http://schemas.openxmlformats.org/presentationml/2006/main">
  <p:tag name="ISLEGEND" val="true"/>
</p:tagLst>
</file>

<file path=ppt/tags/tag1184.xml><?xml version="1.0" encoding="utf-8"?>
<p:tagLst xmlns:a="http://schemas.openxmlformats.org/drawingml/2006/main" xmlns:r="http://schemas.openxmlformats.org/officeDocument/2006/relationships" xmlns:p="http://schemas.openxmlformats.org/presentationml/2006/main">
  <p:tag name="ISLEGEND" val="true"/>
</p:tagLst>
</file>

<file path=ppt/tags/tag11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7.xml><?xml version="1.0" encoding="utf-8"?>
<p:tagLst xmlns:a="http://schemas.openxmlformats.org/drawingml/2006/main" xmlns:r="http://schemas.openxmlformats.org/officeDocument/2006/relationships" xmlns:p="http://schemas.openxmlformats.org/presentationml/2006/main">
  <p:tag name="NAME" val="Logo"/>
</p:tagLst>
</file>

<file path=ppt/tags/tag11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9.xml><?xml version="1.0" encoding="utf-8"?>
<p:tagLst xmlns:a="http://schemas.openxmlformats.org/drawingml/2006/main" xmlns:r="http://schemas.openxmlformats.org/officeDocument/2006/relationships" xmlns:p="http://schemas.openxmlformats.org/presentationml/2006/main">
  <p:tag name="NAME" val="Logo"/>
</p:tagLst>
</file>

<file path=ppt/tags/tag119.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11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2.xml><?xml version="1.0" encoding="utf-8"?>
<p:tagLst xmlns:a="http://schemas.openxmlformats.org/drawingml/2006/main" xmlns:r="http://schemas.openxmlformats.org/officeDocument/2006/relationships" xmlns:p="http://schemas.openxmlformats.org/presentationml/2006/main">
  <p:tag name="THINKCELLSHAPEDONOTDELETE" val="tdUVaNioeQEy1srSxzx_jYw"/>
</p:tagLst>
</file>

<file path=ppt/tags/tag1193.xml><?xml version="1.0" encoding="utf-8"?>
<p:tagLst xmlns:a="http://schemas.openxmlformats.org/drawingml/2006/main" xmlns:r="http://schemas.openxmlformats.org/officeDocument/2006/relationships" xmlns:p="http://schemas.openxmlformats.org/presentationml/2006/main">
  <p:tag name="NAME" val="Moon"/>
</p:tagLst>
</file>

<file path=ppt/tags/tag1194.xml><?xml version="1.0" encoding="utf-8"?>
<p:tagLst xmlns:a="http://schemas.openxmlformats.org/drawingml/2006/main" xmlns:r="http://schemas.openxmlformats.org/officeDocument/2006/relationships" xmlns:p="http://schemas.openxmlformats.org/presentationml/2006/main">
  <p:tag name="NAME" val="Moon"/>
</p:tagLst>
</file>

<file path=ppt/tags/tag1195.xml><?xml version="1.0" encoding="utf-8"?>
<p:tagLst xmlns:a="http://schemas.openxmlformats.org/drawingml/2006/main" xmlns:r="http://schemas.openxmlformats.org/officeDocument/2006/relationships" xmlns:p="http://schemas.openxmlformats.org/presentationml/2006/main">
  <p:tag name="NAME" val="Moon"/>
</p:tagLst>
</file>

<file path=ppt/tags/tag1196.xml><?xml version="1.0" encoding="utf-8"?>
<p:tagLst xmlns:a="http://schemas.openxmlformats.org/drawingml/2006/main" xmlns:r="http://schemas.openxmlformats.org/officeDocument/2006/relationships" xmlns:p="http://schemas.openxmlformats.org/presentationml/2006/main">
  <p:tag name="NAME" val="Moon"/>
</p:tagLst>
</file>

<file path=ppt/tags/tag1197.xml><?xml version="1.0" encoding="utf-8"?>
<p:tagLst xmlns:a="http://schemas.openxmlformats.org/drawingml/2006/main" xmlns:r="http://schemas.openxmlformats.org/officeDocument/2006/relationships" xmlns:p="http://schemas.openxmlformats.org/presentationml/2006/main">
  <p:tag name="NAME" val="Moon"/>
</p:tagLst>
</file>

<file path=ppt/tags/tag1198.xml><?xml version="1.0" encoding="utf-8"?>
<p:tagLst xmlns:a="http://schemas.openxmlformats.org/drawingml/2006/main" xmlns:r="http://schemas.openxmlformats.org/officeDocument/2006/relationships" xmlns:p="http://schemas.openxmlformats.org/presentationml/2006/main">
  <p:tag name="ISLEGEND" val="true"/>
</p:tagLst>
</file>

<file path=ppt/tags/tag1199.xml><?xml version="1.0" encoding="utf-8"?>
<p:tagLst xmlns:a="http://schemas.openxmlformats.org/drawingml/2006/main" xmlns:r="http://schemas.openxmlformats.org/officeDocument/2006/relationships" xmlns:p="http://schemas.openxmlformats.org/presentationml/2006/main">
  <p:tag name="ISLEGEND" val="true"/>
</p:tagLst>
</file>

<file path=ppt/tags/tag12.xml><?xml version="1.0" encoding="utf-8"?>
<p:tagLst xmlns:a="http://schemas.openxmlformats.org/drawingml/2006/main" xmlns:r="http://schemas.openxmlformats.org/officeDocument/2006/relationships" xmlns:p="http://schemas.openxmlformats.org/presentationml/2006/main">
  <p:tag name="ISLEGEND" val="true"/>
</p:tagLst>
</file>

<file path=ppt/tags/tag120.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200.xml><?xml version="1.0" encoding="utf-8"?>
<p:tagLst xmlns:a="http://schemas.openxmlformats.org/drawingml/2006/main" xmlns:r="http://schemas.openxmlformats.org/officeDocument/2006/relationships" xmlns:p="http://schemas.openxmlformats.org/presentationml/2006/main">
  <p:tag name="ISLEGEND" val="true"/>
</p:tagLst>
</file>

<file path=ppt/tags/tag1201.xml><?xml version="1.0" encoding="utf-8"?>
<p:tagLst xmlns:a="http://schemas.openxmlformats.org/drawingml/2006/main" xmlns:r="http://schemas.openxmlformats.org/officeDocument/2006/relationships" xmlns:p="http://schemas.openxmlformats.org/presentationml/2006/main">
  <p:tag name="ISLEGEND" val="true"/>
</p:tagLst>
</file>

<file path=ppt/tags/tag1202.xml><?xml version="1.0" encoding="utf-8"?>
<p:tagLst xmlns:a="http://schemas.openxmlformats.org/drawingml/2006/main" xmlns:r="http://schemas.openxmlformats.org/officeDocument/2006/relationships" xmlns:p="http://schemas.openxmlformats.org/presentationml/2006/main">
  <p:tag name="ISLEGEND" val="true"/>
</p:tagLst>
</file>

<file path=ppt/tags/tag1203.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1204.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205.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206.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207.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208.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209.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21.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210.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211.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212.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1213.xml><?xml version="1.0" encoding="utf-8"?>
<p:tagLst xmlns:a="http://schemas.openxmlformats.org/drawingml/2006/main" xmlns:r="http://schemas.openxmlformats.org/officeDocument/2006/relationships" xmlns:p="http://schemas.openxmlformats.org/presentationml/2006/main">
  <p:tag name="ISLEGEND" val="true"/>
</p:tagLst>
</file>

<file path=ppt/tags/tag1214.xml><?xml version="1.0" encoding="utf-8"?>
<p:tagLst xmlns:a="http://schemas.openxmlformats.org/drawingml/2006/main" xmlns:r="http://schemas.openxmlformats.org/officeDocument/2006/relationships" xmlns:p="http://schemas.openxmlformats.org/presentationml/2006/main">
  <p:tag name="ISLEGEND" val="true"/>
</p:tagLst>
</file>

<file path=ppt/tags/tag1215.xml><?xml version="1.0" encoding="utf-8"?>
<p:tagLst xmlns:a="http://schemas.openxmlformats.org/drawingml/2006/main" xmlns:r="http://schemas.openxmlformats.org/officeDocument/2006/relationships" xmlns:p="http://schemas.openxmlformats.org/presentationml/2006/main">
  <p:tag name="ISLEGEND" val="true"/>
</p:tagLst>
</file>

<file path=ppt/tags/tag1216.xml><?xml version="1.0" encoding="utf-8"?>
<p:tagLst xmlns:a="http://schemas.openxmlformats.org/drawingml/2006/main" xmlns:r="http://schemas.openxmlformats.org/officeDocument/2006/relationships" xmlns:p="http://schemas.openxmlformats.org/presentationml/2006/main">
  <p:tag name="ISLEGEND" val="true"/>
</p:tagLst>
</file>

<file path=ppt/tags/tag1217.xml><?xml version="1.0" encoding="utf-8"?>
<p:tagLst xmlns:a="http://schemas.openxmlformats.org/drawingml/2006/main" xmlns:r="http://schemas.openxmlformats.org/officeDocument/2006/relationships" xmlns:p="http://schemas.openxmlformats.org/presentationml/2006/main">
  <p:tag name="ISLEGEND" val="true"/>
</p:tagLst>
</file>

<file path=ppt/tags/tag1218.xml><?xml version="1.0" encoding="utf-8"?>
<p:tagLst xmlns:a="http://schemas.openxmlformats.org/drawingml/2006/main" xmlns:r="http://schemas.openxmlformats.org/officeDocument/2006/relationships" xmlns:p="http://schemas.openxmlformats.org/presentationml/2006/main">
  <p:tag name="ISLEGEND" val="true"/>
</p:tagLst>
</file>

<file path=ppt/tags/tag1219.xml><?xml version="1.0" encoding="utf-8"?>
<p:tagLst xmlns:a="http://schemas.openxmlformats.org/drawingml/2006/main" xmlns:r="http://schemas.openxmlformats.org/officeDocument/2006/relationships" xmlns:p="http://schemas.openxmlformats.org/presentationml/2006/main">
  <p:tag name="ISLEGEND" val="true"/>
</p:tagLst>
</file>

<file path=ppt/tags/tag122.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2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2.xml><?xml version="1.0" encoding="utf-8"?>
<p:tagLst xmlns:a="http://schemas.openxmlformats.org/drawingml/2006/main" xmlns:r="http://schemas.openxmlformats.org/officeDocument/2006/relationships" xmlns:p="http://schemas.openxmlformats.org/presentationml/2006/main">
  <p:tag name="NAME" val="Logo"/>
</p:tagLst>
</file>

<file path=ppt/tags/tag12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4.xml><?xml version="1.0" encoding="utf-8"?>
<p:tagLst xmlns:a="http://schemas.openxmlformats.org/drawingml/2006/main" xmlns:r="http://schemas.openxmlformats.org/officeDocument/2006/relationships" xmlns:p="http://schemas.openxmlformats.org/presentationml/2006/main">
  <p:tag name="NAME" val="Logo"/>
</p:tagLst>
</file>

<file path=ppt/tags/tag12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7.xml><?xml version="1.0" encoding="utf-8"?>
<p:tagLst xmlns:a="http://schemas.openxmlformats.org/drawingml/2006/main" xmlns:r="http://schemas.openxmlformats.org/officeDocument/2006/relationships" xmlns:p="http://schemas.openxmlformats.org/presentationml/2006/main">
  <p:tag name="THINKCELLSHAPEDONOTDELETE" val="tdUVaNioeQEy1srSxzx_jYw"/>
</p:tagLst>
</file>

<file path=ppt/tags/tag1228.xml><?xml version="1.0" encoding="utf-8"?>
<p:tagLst xmlns:a="http://schemas.openxmlformats.org/drawingml/2006/main" xmlns:r="http://schemas.openxmlformats.org/officeDocument/2006/relationships" xmlns:p="http://schemas.openxmlformats.org/presentationml/2006/main">
  <p:tag name="NAME" val="Moon"/>
</p:tagLst>
</file>

<file path=ppt/tags/tag1229.xml><?xml version="1.0" encoding="utf-8"?>
<p:tagLst xmlns:a="http://schemas.openxmlformats.org/drawingml/2006/main" xmlns:r="http://schemas.openxmlformats.org/officeDocument/2006/relationships" xmlns:p="http://schemas.openxmlformats.org/presentationml/2006/main">
  <p:tag name="NAME" val="Moon"/>
</p:tagLst>
</file>

<file path=ppt/tags/tag123.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230.xml><?xml version="1.0" encoding="utf-8"?>
<p:tagLst xmlns:a="http://schemas.openxmlformats.org/drawingml/2006/main" xmlns:r="http://schemas.openxmlformats.org/officeDocument/2006/relationships" xmlns:p="http://schemas.openxmlformats.org/presentationml/2006/main">
  <p:tag name="NAME" val="Moon"/>
</p:tagLst>
</file>

<file path=ppt/tags/tag1231.xml><?xml version="1.0" encoding="utf-8"?>
<p:tagLst xmlns:a="http://schemas.openxmlformats.org/drawingml/2006/main" xmlns:r="http://schemas.openxmlformats.org/officeDocument/2006/relationships" xmlns:p="http://schemas.openxmlformats.org/presentationml/2006/main">
  <p:tag name="NAME" val="Moon"/>
</p:tagLst>
</file>

<file path=ppt/tags/tag1232.xml><?xml version="1.0" encoding="utf-8"?>
<p:tagLst xmlns:a="http://schemas.openxmlformats.org/drawingml/2006/main" xmlns:r="http://schemas.openxmlformats.org/officeDocument/2006/relationships" xmlns:p="http://schemas.openxmlformats.org/presentationml/2006/main">
  <p:tag name="NAME" val="Moon"/>
</p:tagLst>
</file>

<file path=ppt/tags/tag1233.xml><?xml version="1.0" encoding="utf-8"?>
<p:tagLst xmlns:a="http://schemas.openxmlformats.org/drawingml/2006/main" xmlns:r="http://schemas.openxmlformats.org/officeDocument/2006/relationships" xmlns:p="http://schemas.openxmlformats.org/presentationml/2006/main">
  <p:tag name="ISLEGEND" val="true"/>
</p:tagLst>
</file>

<file path=ppt/tags/tag1234.xml><?xml version="1.0" encoding="utf-8"?>
<p:tagLst xmlns:a="http://schemas.openxmlformats.org/drawingml/2006/main" xmlns:r="http://schemas.openxmlformats.org/officeDocument/2006/relationships" xmlns:p="http://schemas.openxmlformats.org/presentationml/2006/main">
  <p:tag name="ISLEGEND" val="true"/>
</p:tagLst>
</file>

<file path=ppt/tags/tag1235.xml><?xml version="1.0" encoding="utf-8"?>
<p:tagLst xmlns:a="http://schemas.openxmlformats.org/drawingml/2006/main" xmlns:r="http://schemas.openxmlformats.org/officeDocument/2006/relationships" xmlns:p="http://schemas.openxmlformats.org/presentationml/2006/main">
  <p:tag name="ISLEGEND" val="true"/>
</p:tagLst>
</file>

<file path=ppt/tags/tag1236.xml><?xml version="1.0" encoding="utf-8"?>
<p:tagLst xmlns:a="http://schemas.openxmlformats.org/drawingml/2006/main" xmlns:r="http://schemas.openxmlformats.org/officeDocument/2006/relationships" xmlns:p="http://schemas.openxmlformats.org/presentationml/2006/main">
  <p:tag name="ISLEGEND" val="true"/>
</p:tagLst>
</file>

<file path=ppt/tags/tag1237.xml><?xml version="1.0" encoding="utf-8"?>
<p:tagLst xmlns:a="http://schemas.openxmlformats.org/drawingml/2006/main" xmlns:r="http://schemas.openxmlformats.org/officeDocument/2006/relationships" xmlns:p="http://schemas.openxmlformats.org/presentationml/2006/main">
  <p:tag name="ISLEGEND" val="true"/>
</p:tagLst>
</file>

<file path=ppt/tags/tag1238.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1239.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24.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240.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241.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242.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243.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244.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245.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246.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247.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1248.xml><?xml version="1.0" encoding="utf-8"?>
<p:tagLst xmlns:a="http://schemas.openxmlformats.org/drawingml/2006/main" xmlns:r="http://schemas.openxmlformats.org/officeDocument/2006/relationships" xmlns:p="http://schemas.openxmlformats.org/presentationml/2006/main">
  <p:tag name="ISLEGEND" val="true"/>
</p:tagLst>
</file>

<file path=ppt/tags/tag1249.xml><?xml version="1.0" encoding="utf-8"?>
<p:tagLst xmlns:a="http://schemas.openxmlformats.org/drawingml/2006/main" xmlns:r="http://schemas.openxmlformats.org/officeDocument/2006/relationships" xmlns:p="http://schemas.openxmlformats.org/presentationml/2006/main">
  <p:tag name="ISLEGEND" val="true"/>
</p:tagLst>
</file>

<file path=ppt/tags/tag125.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250.xml><?xml version="1.0" encoding="utf-8"?>
<p:tagLst xmlns:a="http://schemas.openxmlformats.org/drawingml/2006/main" xmlns:r="http://schemas.openxmlformats.org/officeDocument/2006/relationships" xmlns:p="http://schemas.openxmlformats.org/presentationml/2006/main">
  <p:tag name="ISLEGEND" val="true"/>
</p:tagLst>
</file>

<file path=ppt/tags/tag1251.xml><?xml version="1.0" encoding="utf-8"?>
<p:tagLst xmlns:a="http://schemas.openxmlformats.org/drawingml/2006/main" xmlns:r="http://schemas.openxmlformats.org/officeDocument/2006/relationships" xmlns:p="http://schemas.openxmlformats.org/presentationml/2006/main">
  <p:tag name="ISLEGEND" val="true"/>
</p:tagLst>
</file>

<file path=ppt/tags/tag1252.xml><?xml version="1.0" encoding="utf-8"?>
<p:tagLst xmlns:a="http://schemas.openxmlformats.org/drawingml/2006/main" xmlns:r="http://schemas.openxmlformats.org/officeDocument/2006/relationships" xmlns:p="http://schemas.openxmlformats.org/presentationml/2006/main">
  <p:tag name="ISLEGEND" val="true"/>
</p:tagLst>
</file>

<file path=ppt/tags/tag1253.xml><?xml version="1.0" encoding="utf-8"?>
<p:tagLst xmlns:a="http://schemas.openxmlformats.org/drawingml/2006/main" xmlns:r="http://schemas.openxmlformats.org/officeDocument/2006/relationships" xmlns:p="http://schemas.openxmlformats.org/presentationml/2006/main">
  <p:tag name="ISLEGEND" val="true"/>
</p:tagLst>
</file>

<file path=ppt/tags/tag1254.xml><?xml version="1.0" encoding="utf-8"?>
<p:tagLst xmlns:a="http://schemas.openxmlformats.org/drawingml/2006/main" xmlns:r="http://schemas.openxmlformats.org/officeDocument/2006/relationships" xmlns:p="http://schemas.openxmlformats.org/presentationml/2006/main">
  <p:tag name="ISLEGEND" val="true"/>
</p:tagLst>
</file>

<file path=ppt/tags/tag12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7.xml><?xml version="1.0" encoding="utf-8"?>
<p:tagLst xmlns:a="http://schemas.openxmlformats.org/drawingml/2006/main" xmlns:r="http://schemas.openxmlformats.org/officeDocument/2006/relationships" xmlns:p="http://schemas.openxmlformats.org/presentationml/2006/main">
  <p:tag name="NAME" val="Logo"/>
</p:tagLst>
</file>

<file path=ppt/tags/tag12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9.xml><?xml version="1.0" encoding="utf-8"?>
<p:tagLst xmlns:a="http://schemas.openxmlformats.org/drawingml/2006/main" xmlns:r="http://schemas.openxmlformats.org/officeDocument/2006/relationships" xmlns:p="http://schemas.openxmlformats.org/presentationml/2006/main">
  <p:tag name="NAME" val="Logo"/>
</p:tagLst>
</file>

<file path=ppt/tags/tag126.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2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2.xml><?xml version="1.0" encoding="utf-8"?>
<p:tagLst xmlns:a="http://schemas.openxmlformats.org/drawingml/2006/main" xmlns:r="http://schemas.openxmlformats.org/officeDocument/2006/relationships" xmlns:p="http://schemas.openxmlformats.org/presentationml/2006/main">
  <p:tag name="THINKCELLSHAPEDONOTDELETE" val="tdUVaNioeQEy1srSxzx_jYw"/>
</p:tagLst>
</file>

<file path=ppt/tags/tag1263.xml><?xml version="1.0" encoding="utf-8"?>
<p:tagLst xmlns:a="http://schemas.openxmlformats.org/drawingml/2006/main" xmlns:r="http://schemas.openxmlformats.org/officeDocument/2006/relationships" xmlns:p="http://schemas.openxmlformats.org/presentationml/2006/main">
  <p:tag name="NAME" val="Moon"/>
</p:tagLst>
</file>

<file path=ppt/tags/tag1264.xml><?xml version="1.0" encoding="utf-8"?>
<p:tagLst xmlns:a="http://schemas.openxmlformats.org/drawingml/2006/main" xmlns:r="http://schemas.openxmlformats.org/officeDocument/2006/relationships" xmlns:p="http://schemas.openxmlformats.org/presentationml/2006/main">
  <p:tag name="NAME" val="Moon"/>
</p:tagLst>
</file>

<file path=ppt/tags/tag1265.xml><?xml version="1.0" encoding="utf-8"?>
<p:tagLst xmlns:a="http://schemas.openxmlformats.org/drawingml/2006/main" xmlns:r="http://schemas.openxmlformats.org/officeDocument/2006/relationships" xmlns:p="http://schemas.openxmlformats.org/presentationml/2006/main">
  <p:tag name="NAME" val="Moon"/>
</p:tagLst>
</file>

<file path=ppt/tags/tag1266.xml><?xml version="1.0" encoding="utf-8"?>
<p:tagLst xmlns:a="http://schemas.openxmlformats.org/drawingml/2006/main" xmlns:r="http://schemas.openxmlformats.org/officeDocument/2006/relationships" xmlns:p="http://schemas.openxmlformats.org/presentationml/2006/main">
  <p:tag name="NAME" val="Moon"/>
</p:tagLst>
</file>

<file path=ppt/tags/tag1267.xml><?xml version="1.0" encoding="utf-8"?>
<p:tagLst xmlns:a="http://schemas.openxmlformats.org/drawingml/2006/main" xmlns:r="http://schemas.openxmlformats.org/officeDocument/2006/relationships" xmlns:p="http://schemas.openxmlformats.org/presentationml/2006/main">
  <p:tag name="NAME" val="Moon"/>
</p:tagLst>
</file>

<file path=ppt/tags/tag1268.xml><?xml version="1.0" encoding="utf-8"?>
<p:tagLst xmlns:a="http://schemas.openxmlformats.org/drawingml/2006/main" xmlns:r="http://schemas.openxmlformats.org/officeDocument/2006/relationships" xmlns:p="http://schemas.openxmlformats.org/presentationml/2006/main">
  <p:tag name="ISLEGEND" val="true"/>
</p:tagLst>
</file>

<file path=ppt/tags/tag1269.xml><?xml version="1.0" encoding="utf-8"?>
<p:tagLst xmlns:a="http://schemas.openxmlformats.org/drawingml/2006/main" xmlns:r="http://schemas.openxmlformats.org/officeDocument/2006/relationships" xmlns:p="http://schemas.openxmlformats.org/presentationml/2006/main">
  <p:tag name="ISLEGEND" val="true"/>
</p:tagLst>
</file>

<file path=ppt/tags/tag127.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270.xml><?xml version="1.0" encoding="utf-8"?>
<p:tagLst xmlns:a="http://schemas.openxmlformats.org/drawingml/2006/main" xmlns:r="http://schemas.openxmlformats.org/officeDocument/2006/relationships" xmlns:p="http://schemas.openxmlformats.org/presentationml/2006/main">
  <p:tag name="ISLEGEND" val="true"/>
</p:tagLst>
</file>

<file path=ppt/tags/tag1271.xml><?xml version="1.0" encoding="utf-8"?>
<p:tagLst xmlns:a="http://schemas.openxmlformats.org/drawingml/2006/main" xmlns:r="http://schemas.openxmlformats.org/officeDocument/2006/relationships" xmlns:p="http://schemas.openxmlformats.org/presentationml/2006/main">
  <p:tag name="ISLEGEND" val="true"/>
</p:tagLst>
</file>

<file path=ppt/tags/tag1272.xml><?xml version="1.0" encoding="utf-8"?>
<p:tagLst xmlns:a="http://schemas.openxmlformats.org/drawingml/2006/main" xmlns:r="http://schemas.openxmlformats.org/officeDocument/2006/relationships" xmlns:p="http://schemas.openxmlformats.org/presentationml/2006/main">
  <p:tag name="ISLEGEND" val="true"/>
</p:tagLst>
</file>

<file path=ppt/tags/tag1273.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1274.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275.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276.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277.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278.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279.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28.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1280.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281.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282.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1283.xml><?xml version="1.0" encoding="utf-8"?>
<p:tagLst xmlns:a="http://schemas.openxmlformats.org/drawingml/2006/main" xmlns:r="http://schemas.openxmlformats.org/officeDocument/2006/relationships" xmlns:p="http://schemas.openxmlformats.org/presentationml/2006/main">
  <p:tag name="ISLEGEND" val="true"/>
</p:tagLst>
</file>

<file path=ppt/tags/tag1284.xml><?xml version="1.0" encoding="utf-8"?>
<p:tagLst xmlns:a="http://schemas.openxmlformats.org/drawingml/2006/main" xmlns:r="http://schemas.openxmlformats.org/officeDocument/2006/relationships" xmlns:p="http://schemas.openxmlformats.org/presentationml/2006/main">
  <p:tag name="ISLEGEND" val="true"/>
</p:tagLst>
</file>

<file path=ppt/tags/tag1285.xml><?xml version="1.0" encoding="utf-8"?>
<p:tagLst xmlns:a="http://schemas.openxmlformats.org/drawingml/2006/main" xmlns:r="http://schemas.openxmlformats.org/officeDocument/2006/relationships" xmlns:p="http://schemas.openxmlformats.org/presentationml/2006/main">
  <p:tag name="ISLEGEND" val="true"/>
</p:tagLst>
</file>

<file path=ppt/tags/tag1286.xml><?xml version="1.0" encoding="utf-8"?>
<p:tagLst xmlns:a="http://schemas.openxmlformats.org/drawingml/2006/main" xmlns:r="http://schemas.openxmlformats.org/officeDocument/2006/relationships" xmlns:p="http://schemas.openxmlformats.org/presentationml/2006/main">
  <p:tag name="ISLEGEND" val="true"/>
</p:tagLst>
</file>

<file path=ppt/tags/tag1287.xml><?xml version="1.0" encoding="utf-8"?>
<p:tagLst xmlns:a="http://schemas.openxmlformats.org/drawingml/2006/main" xmlns:r="http://schemas.openxmlformats.org/officeDocument/2006/relationships" xmlns:p="http://schemas.openxmlformats.org/presentationml/2006/main">
  <p:tag name="ISLEGEND" val="true"/>
</p:tagLst>
</file>

<file path=ppt/tags/tag1288.xml><?xml version="1.0" encoding="utf-8"?>
<p:tagLst xmlns:a="http://schemas.openxmlformats.org/drawingml/2006/main" xmlns:r="http://schemas.openxmlformats.org/officeDocument/2006/relationships" xmlns:p="http://schemas.openxmlformats.org/presentationml/2006/main">
  <p:tag name="ISLEGEND" val="true"/>
</p:tagLst>
</file>

<file path=ppt/tags/tag1289.xml><?xml version="1.0" encoding="utf-8"?>
<p:tagLst xmlns:a="http://schemas.openxmlformats.org/drawingml/2006/main" xmlns:r="http://schemas.openxmlformats.org/officeDocument/2006/relationships" xmlns:p="http://schemas.openxmlformats.org/presentationml/2006/main">
  <p:tag name="ISLEGEND" val="true"/>
</p:tagLst>
</file>

<file path=ppt/tags/tag129.xml><?xml version="1.0" encoding="utf-8"?>
<p:tagLst xmlns:a="http://schemas.openxmlformats.org/drawingml/2006/main" xmlns:r="http://schemas.openxmlformats.org/officeDocument/2006/relationships" xmlns:p="http://schemas.openxmlformats.org/presentationml/2006/main">
  <p:tag name="ISLEGEND" val="true"/>
</p:tagLst>
</file>

<file path=ppt/tags/tag12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2.xml><?xml version="1.0" encoding="utf-8"?>
<p:tagLst xmlns:a="http://schemas.openxmlformats.org/drawingml/2006/main" xmlns:r="http://schemas.openxmlformats.org/officeDocument/2006/relationships" xmlns:p="http://schemas.openxmlformats.org/presentationml/2006/main">
  <p:tag name="NAME" val="Logo"/>
</p:tagLst>
</file>

<file path=ppt/tags/tag12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4.xml><?xml version="1.0" encoding="utf-8"?>
<p:tagLst xmlns:a="http://schemas.openxmlformats.org/drawingml/2006/main" xmlns:r="http://schemas.openxmlformats.org/officeDocument/2006/relationships" xmlns:p="http://schemas.openxmlformats.org/presentationml/2006/main">
  <p:tag name="NAME" val="Logo"/>
</p:tagLst>
</file>

<file path=ppt/tags/tag12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7.xml><?xml version="1.0" encoding="utf-8"?>
<p:tagLst xmlns:a="http://schemas.openxmlformats.org/drawingml/2006/main" xmlns:r="http://schemas.openxmlformats.org/officeDocument/2006/relationships" xmlns:p="http://schemas.openxmlformats.org/presentationml/2006/main">
  <p:tag name="THINKCELLSHAPEDONOTDELETE" val="tdUVaNioeQEy1srSxzx_jYw"/>
</p:tagLst>
</file>

<file path=ppt/tags/tag1298.xml><?xml version="1.0" encoding="utf-8"?>
<p:tagLst xmlns:a="http://schemas.openxmlformats.org/drawingml/2006/main" xmlns:r="http://schemas.openxmlformats.org/officeDocument/2006/relationships" xmlns:p="http://schemas.openxmlformats.org/presentationml/2006/main">
  <p:tag name="NAME" val="Moon"/>
</p:tagLst>
</file>

<file path=ppt/tags/tag1299.xml><?xml version="1.0" encoding="utf-8"?>
<p:tagLst xmlns:a="http://schemas.openxmlformats.org/drawingml/2006/main" xmlns:r="http://schemas.openxmlformats.org/officeDocument/2006/relationships" xmlns:p="http://schemas.openxmlformats.org/presentationml/2006/main">
  <p:tag name="NAME" val="Moon"/>
</p:tagLst>
</file>

<file path=ppt/tags/tag13.xml><?xml version="1.0" encoding="utf-8"?>
<p:tagLst xmlns:a="http://schemas.openxmlformats.org/drawingml/2006/main" xmlns:r="http://schemas.openxmlformats.org/officeDocument/2006/relationships" xmlns:p="http://schemas.openxmlformats.org/presentationml/2006/main">
  <p:tag name="ISLEGEND" val="true"/>
</p:tagLst>
</file>

<file path=ppt/tags/tag130.xml><?xml version="1.0" encoding="utf-8"?>
<p:tagLst xmlns:a="http://schemas.openxmlformats.org/drawingml/2006/main" xmlns:r="http://schemas.openxmlformats.org/officeDocument/2006/relationships" xmlns:p="http://schemas.openxmlformats.org/presentationml/2006/main">
  <p:tag name="ISLEGEND" val="true"/>
</p:tagLst>
</file>

<file path=ppt/tags/tag1300.xml><?xml version="1.0" encoding="utf-8"?>
<p:tagLst xmlns:a="http://schemas.openxmlformats.org/drawingml/2006/main" xmlns:r="http://schemas.openxmlformats.org/officeDocument/2006/relationships" xmlns:p="http://schemas.openxmlformats.org/presentationml/2006/main">
  <p:tag name="NAME" val="Moon"/>
</p:tagLst>
</file>

<file path=ppt/tags/tag1301.xml><?xml version="1.0" encoding="utf-8"?>
<p:tagLst xmlns:a="http://schemas.openxmlformats.org/drawingml/2006/main" xmlns:r="http://schemas.openxmlformats.org/officeDocument/2006/relationships" xmlns:p="http://schemas.openxmlformats.org/presentationml/2006/main">
  <p:tag name="NAME" val="Moon"/>
</p:tagLst>
</file>

<file path=ppt/tags/tag1302.xml><?xml version="1.0" encoding="utf-8"?>
<p:tagLst xmlns:a="http://schemas.openxmlformats.org/drawingml/2006/main" xmlns:r="http://schemas.openxmlformats.org/officeDocument/2006/relationships" xmlns:p="http://schemas.openxmlformats.org/presentationml/2006/main">
  <p:tag name="NAME" val="Moon"/>
</p:tagLst>
</file>

<file path=ppt/tags/tag1303.xml><?xml version="1.0" encoding="utf-8"?>
<p:tagLst xmlns:a="http://schemas.openxmlformats.org/drawingml/2006/main" xmlns:r="http://schemas.openxmlformats.org/officeDocument/2006/relationships" xmlns:p="http://schemas.openxmlformats.org/presentationml/2006/main">
  <p:tag name="ISLEGEND" val="true"/>
</p:tagLst>
</file>

<file path=ppt/tags/tag1304.xml><?xml version="1.0" encoding="utf-8"?>
<p:tagLst xmlns:a="http://schemas.openxmlformats.org/drawingml/2006/main" xmlns:r="http://schemas.openxmlformats.org/officeDocument/2006/relationships" xmlns:p="http://schemas.openxmlformats.org/presentationml/2006/main">
  <p:tag name="ISLEGEND" val="true"/>
</p:tagLst>
</file>

<file path=ppt/tags/tag1305.xml><?xml version="1.0" encoding="utf-8"?>
<p:tagLst xmlns:a="http://schemas.openxmlformats.org/drawingml/2006/main" xmlns:r="http://schemas.openxmlformats.org/officeDocument/2006/relationships" xmlns:p="http://schemas.openxmlformats.org/presentationml/2006/main">
  <p:tag name="ISLEGEND" val="true"/>
</p:tagLst>
</file>

<file path=ppt/tags/tag1306.xml><?xml version="1.0" encoding="utf-8"?>
<p:tagLst xmlns:a="http://schemas.openxmlformats.org/drawingml/2006/main" xmlns:r="http://schemas.openxmlformats.org/officeDocument/2006/relationships" xmlns:p="http://schemas.openxmlformats.org/presentationml/2006/main">
  <p:tag name="ISLEGEND" val="true"/>
</p:tagLst>
</file>

<file path=ppt/tags/tag1307.xml><?xml version="1.0" encoding="utf-8"?>
<p:tagLst xmlns:a="http://schemas.openxmlformats.org/drawingml/2006/main" xmlns:r="http://schemas.openxmlformats.org/officeDocument/2006/relationships" xmlns:p="http://schemas.openxmlformats.org/presentationml/2006/main">
  <p:tag name="ISLEGEND" val="true"/>
</p:tagLst>
</file>

<file path=ppt/tags/tag1308.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1309.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31.xml><?xml version="1.0" encoding="utf-8"?>
<p:tagLst xmlns:a="http://schemas.openxmlformats.org/drawingml/2006/main" xmlns:r="http://schemas.openxmlformats.org/officeDocument/2006/relationships" xmlns:p="http://schemas.openxmlformats.org/presentationml/2006/main">
  <p:tag name="ISLEGEND" val="true"/>
</p:tagLst>
</file>

<file path=ppt/tags/tag1310.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311.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312.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313.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314.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315.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316.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317.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1318.xml><?xml version="1.0" encoding="utf-8"?>
<p:tagLst xmlns:a="http://schemas.openxmlformats.org/drawingml/2006/main" xmlns:r="http://schemas.openxmlformats.org/officeDocument/2006/relationships" xmlns:p="http://schemas.openxmlformats.org/presentationml/2006/main">
  <p:tag name="ISLEGEND" val="true"/>
</p:tagLst>
</file>

<file path=ppt/tags/tag1319.xml><?xml version="1.0" encoding="utf-8"?>
<p:tagLst xmlns:a="http://schemas.openxmlformats.org/drawingml/2006/main" xmlns:r="http://schemas.openxmlformats.org/officeDocument/2006/relationships" xmlns:p="http://schemas.openxmlformats.org/presentationml/2006/main">
  <p:tag name="ISLEGEND" val="true"/>
</p:tagLst>
</file>

<file path=ppt/tags/tag132.xml><?xml version="1.0" encoding="utf-8"?>
<p:tagLst xmlns:a="http://schemas.openxmlformats.org/drawingml/2006/main" xmlns:r="http://schemas.openxmlformats.org/officeDocument/2006/relationships" xmlns:p="http://schemas.openxmlformats.org/presentationml/2006/main">
  <p:tag name="ISLEGEND" val="true"/>
</p:tagLst>
</file>

<file path=ppt/tags/tag1320.xml><?xml version="1.0" encoding="utf-8"?>
<p:tagLst xmlns:a="http://schemas.openxmlformats.org/drawingml/2006/main" xmlns:r="http://schemas.openxmlformats.org/officeDocument/2006/relationships" xmlns:p="http://schemas.openxmlformats.org/presentationml/2006/main">
  <p:tag name="ISLEGEND" val="true"/>
</p:tagLst>
</file>

<file path=ppt/tags/tag1321.xml><?xml version="1.0" encoding="utf-8"?>
<p:tagLst xmlns:a="http://schemas.openxmlformats.org/drawingml/2006/main" xmlns:r="http://schemas.openxmlformats.org/officeDocument/2006/relationships" xmlns:p="http://schemas.openxmlformats.org/presentationml/2006/main">
  <p:tag name="ISLEGEND" val="true"/>
</p:tagLst>
</file>

<file path=ppt/tags/tag1322.xml><?xml version="1.0" encoding="utf-8"?>
<p:tagLst xmlns:a="http://schemas.openxmlformats.org/drawingml/2006/main" xmlns:r="http://schemas.openxmlformats.org/officeDocument/2006/relationships" xmlns:p="http://schemas.openxmlformats.org/presentationml/2006/main">
  <p:tag name="ISLEGEND" val="true"/>
</p:tagLst>
</file>

<file path=ppt/tags/tag1323.xml><?xml version="1.0" encoding="utf-8"?>
<p:tagLst xmlns:a="http://schemas.openxmlformats.org/drawingml/2006/main" xmlns:r="http://schemas.openxmlformats.org/officeDocument/2006/relationships" xmlns:p="http://schemas.openxmlformats.org/presentationml/2006/main">
  <p:tag name="ISLEGEND" val="true"/>
</p:tagLst>
</file>

<file path=ppt/tags/tag1324.xml><?xml version="1.0" encoding="utf-8"?>
<p:tagLst xmlns:a="http://schemas.openxmlformats.org/drawingml/2006/main" xmlns:r="http://schemas.openxmlformats.org/officeDocument/2006/relationships" xmlns:p="http://schemas.openxmlformats.org/presentationml/2006/main">
  <p:tag name="ISLEGEND" val="true"/>
</p:tagLst>
</file>

<file path=ppt/tags/tag13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7.xml><?xml version="1.0" encoding="utf-8"?>
<p:tagLst xmlns:a="http://schemas.openxmlformats.org/drawingml/2006/main" xmlns:r="http://schemas.openxmlformats.org/officeDocument/2006/relationships" xmlns:p="http://schemas.openxmlformats.org/presentationml/2006/main">
  <p:tag name="NAME" val="Logo"/>
</p:tagLst>
</file>

<file path=ppt/tags/tag13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9.xml><?xml version="1.0" encoding="utf-8"?>
<p:tagLst xmlns:a="http://schemas.openxmlformats.org/drawingml/2006/main" xmlns:r="http://schemas.openxmlformats.org/officeDocument/2006/relationships" xmlns:p="http://schemas.openxmlformats.org/presentationml/2006/main">
  <p:tag name="NAME" val="Logo"/>
</p:tagLst>
</file>

<file path=ppt/tags/tag133.xml><?xml version="1.0" encoding="utf-8"?>
<p:tagLst xmlns:a="http://schemas.openxmlformats.org/drawingml/2006/main" xmlns:r="http://schemas.openxmlformats.org/officeDocument/2006/relationships" xmlns:p="http://schemas.openxmlformats.org/presentationml/2006/main">
  <p:tag name="ISLEGEND" val="true"/>
</p:tagLst>
</file>

<file path=ppt/tags/tag13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2.xml><?xml version="1.0" encoding="utf-8"?>
<p:tagLst xmlns:a="http://schemas.openxmlformats.org/drawingml/2006/main" xmlns:r="http://schemas.openxmlformats.org/officeDocument/2006/relationships" xmlns:p="http://schemas.openxmlformats.org/presentationml/2006/main">
  <p:tag name="THINKCELLSHAPEDONOTDELETE" val="tdUVaNioeQEy1srSxzx_jYw"/>
</p:tagLst>
</file>

<file path=ppt/tags/tag1333.xml><?xml version="1.0" encoding="utf-8"?>
<p:tagLst xmlns:a="http://schemas.openxmlformats.org/drawingml/2006/main" xmlns:r="http://schemas.openxmlformats.org/officeDocument/2006/relationships" xmlns:p="http://schemas.openxmlformats.org/presentationml/2006/main">
  <p:tag name="NAME" val="Moon"/>
</p:tagLst>
</file>

<file path=ppt/tags/tag1334.xml><?xml version="1.0" encoding="utf-8"?>
<p:tagLst xmlns:a="http://schemas.openxmlformats.org/drawingml/2006/main" xmlns:r="http://schemas.openxmlformats.org/officeDocument/2006/relationships" xmlns:p="http://schemas.openxmlformats.org/presentationml/2006/main">
  <p:tag name="NAME" val="Moon"/>
</p:tagLst>
</file>

<file path=ppt/tags/tag1335.xml><?xml version="1.0" encoding="utf-8"?>
<p:tagLst xmlns:a="http://schemas.openxmlformats.org/drawingml/2006/main" xmlns:r="http://schemas.openxmlformats.org/officeDocument/2006/relationships" xmlns:p="http://schemas.openxmlformats.org/presentationml/2006/main">
  <p:tag name="NAME" val="Moon"/>
</p:tagLst>
</file>

<file path=ppt/tags/tag1336.xml><?xml version="1.0" encoding="utf-8"?>
<p:tagLst xmlns:a="http://schemas.openxmlformats.org/drawingml/2006/main" xmlns:r="http://schemas.openxmlformats.org/officeDocument/2006/relationships" xmlns:p="http://schemas.openxmlformats.org/presentationml/2006/main">
  <p:tag name="NAME" val="Moon"/>
</p:tagLst>
</file>

<file path=ppt/tags/tag1337.xml><?xml version="1.0" encoding="utf-8"?>
<p:tagLst xmlns:a="http://schemas.openxmlformats.org/drawingml/2006/main" xmlns:r="http://schemas.openxmlformats.org/officeDocument/2006/relationships" xmlns:p="http://schemas.openxmlformats.org/presentationml/2006/main">
  <p:tag name="NAME" val="Moon"/>
</p:tagLst>
</file>

<file path=ppt/tags/tag1338.xml><?xml version="1.0" encoding="utf-8"?>
<p:tagLst xmlns:a="http://schemas.openxmlformats.org/drawingml/2006/main" xmlns:r="http://schemas.openxmlformats.org/officeDocument/2006/relationships" xmlns:p="http://schemas.openxmlformats.org/presentationml/2006/main">
  <p:tag name="ISLEGEND" val="true"/>
</p:tagLst>
</file>

<file path=ppt/tags/tag1339.xml><?xml version="1.0" encoding="utf-8"?>
<p:tagLst xmlns:a="http://schemas.openxmlformats.org/drawingml/2006/main" xmlns:r="http://schemas.openxmlformats.org/officeDocument/2006/relationships" xmlns:p="http://schemas.openxmlformats.org/presentationml/2006/main">
  <p:tag name="ISLEGEND" val="true"/>
</p:tagLst>
</file>

<file path=ppt/tags/tag134.xml><?xml version="1.0" encoding="utf-8"?>
<p:tagLst xmlns:a="http://schemas.openxmlformats.org/drawingml/2006/main" xmlns:r="http://schemas.openxmlformats.org/officeDocument/2006/relationships" xmlns:p="http://schemas.openxmlformats.org/presentationml/2006/main">
  <p:tag name="ISLEGEND" val="true"/>
</p:tagLst>
</file>

<file path=ppt/tags/tag1340.xml><?xml version="1.0" encoding="utf-8"?>
<p:tagLst xmlns:a="http://schemas.openxmlformats.org/drawingml/2006/main" xmlns:r="http://schemas.openxmlformats.org/officeDocument/2006/relationships" xmlns:p="http://schemas.openxmlformats.org/presentationml/2006/main">
  <p:tag name="ISLEGEND" val="true"/>
</p:tagLst>
</file>

<file path=ppt/tags/tag1341.xml><?xml version="1.0" encoding="utf-8"?>
<p:tagLst xmlns:a="http://schemas.openxmlformats.org/drawingml/2006/main" xmlns:r="http://schemas.openxmlformats.org/officeDocument/2006/relationships" xmlns:p="http://schemas.openxmlformats.org/presentationml/2006/main">
  <p:tag name="ISLEGEND" val="true"/>
</p:tagLst>
</file>

<file path=ppt/tags/tag1342.xml><?xml version="1.0" encoding="utf-8"?>
<p:tagLst xmlns:a="http://schemas.openxmlformats.org/drawingml/2006/main" xmlns:r="http://schemas.openxmlformats.org/officeDocument/2006/relationships" xmlns:p="http://schemas.openxmlformats.org/presentationml/2006/main">
  <p:tag name="ISLEGEND" val="true"/>
</p:tagLst>
</file>

<file path=ppt/tags/tag1343.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1344.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345.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346.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347.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348.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349.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35.xml><?xml version="1.0" encoding="utf-8"?>
<p:tagLst xmlns:a="http://schemas.openxmlformats.org/drawingml/2006/main" xmlns:r="http://schemas.openxmlformats.org/officeDocument/2006/relationships" xmlns:p="http://schemas.openxmlformats.org/presentationml/2006/main">
  <p:tag name="ISLEGEND" val="true"/>
</p:tagLst>
</file>

<file path=ppt/tags/tag1350.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351.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352.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1353.xml><?xml version="1.0" encoding="utf-8"?>
<p:tagLst xmlns:a="http://schemas.openxmlformats.org/drawingml/2006/main" xmlns:r="http://schemas.openxmlformats.org/officeDocument/2006/relationships" xmlns:p="http://schemas.openxmlformats.org/presentationml/2006/main">
  <p:tag name="ISLEGEND" val="true"/>
</p:tagLst>
</file>

<file path=ppt/tags/tag1354.xml><?xml version="1.0" encoding="utf-8"?>
<p:tagLst xmlns:a="http://schemas.openxmlformats.org/drawingml/2006/main" xmlns:r="http://schemas.openxmlformats.org/officeDocument/2006/relationships" xmlns:p="http://schemas.openxmlformats.org/presentationml/2006/main">
  <p:tag name="ISLEGEND" val="true"/>
</p:tagLst>
</file>

<file path=ppt/tags/tag1355.xml><?xml version="1.0" encoding="utf-8"?>
<p:tagLst xmlns:a="http://schemas.openxmlformats.org/drawingml/2006/main" xmlns:r="http://schemas.openxmlformats.org/officeDocument/2006/relationships" xmlns:p="http://schemas.openxmlformats.org/presentationml/2006/main">
  <p:tag name="ISLEGEND" val="true"/>
</p:tagLst>
</file>

<file path=ppt/tags/tag1356.xml><?xml version="1.0" encoding="utf-8"?>
<p:tagLst xmlns:a="http://schemas.openxmlformats.org/drawingml/2006/main" xmlns:r="http://schemas.openxmlformats.org/officeDocument/2006/relationships" xmlns:p="http://schemas.openxmlformats.org/presentationml/2006/main">
  <p:tag name="ISLEGEND" val="true"/>
</p:tagLst>
</file>

<file path=ppt/tags/tag1357.xml><?xml version="1.0" encoding="utf-8"?>
<p:tagLst xmlns:a="http://schemas.openxmlformats.org/drawingml/2006/main" xmlns:r="http://schemas.openxmlformats.org/officeDocument/2006/relationships" xmlns:p="http://schemas.openxmlformats.org/presentationml/2006/main">
  <p:tag name="ISLEGEND" val="true"/>
</p:tagLst>
</file>

<file path=ppt/tags/tag1358.xml><?xml version="1.0" encoding="utf-8"?>
<p:tagLst xmlns:a="http://schemas.openxmlformats.org/drawingml/2006/main" xmlns:r="http://schemas.openxmlformats.org/officeDocument/2006/relationships" xmlns:p="http://schemas.openxmlformats.org/presentationml/2006/main">
  <p:tag name="ISLEGEND" val="true"/>
</p:tagLst>
</file>

<file path=ppt/tags/tag1359.xml><?xml version="1.0" encoding="utf-8"?>
<p:tagLst xmlns:a="http://schemas.openxmlformats.org/drawingml/2006/main" xmlns:r="http://schemas.openxmlformats.org/officeDocument/2006/relationships" xmlns:p="http://schemas.openxmlformats.org/presentationml/2006/main">
  <p:tag name="ISLEGEND" val="true"/>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2.xml><?xml version="1.0" encoding="utf-8"?>
<p:tagLst xmlns:a="http://schemas.openxmlformats.org/drawingml/2006/main" xmlns:r="http://schemas.openxmlformats.org/officeDocument/2006/relationships" xmlns:p="http://schemas.openxmlformats.org/presentationml/2006/main">
  <p:tag name="NAME" val="Logo"/>
</p:tagLst>
</file>

<file path=ppt/tags/tag13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4.xml><?xml version="1.0" encoding="utf-8"?>
<p:tagLst xmlns:a="http://schemas.openxmlformats.org/drawingml/2006/main" xmlns:r="http://schemas.openxmlformats.org/officeDocument/2006/relationships" xmlns:p="http://schemas.openxmlformats.org/presentationml/2006/main">
  <p:tag name="NAME" val="Logo"/>
</p:tagLst>
</file>

<file path=ppt/tags/tag13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7.xml><?xml version="1.0" encoding="utf-8"?>
<p:tagLst xmlns:a="http://schemas.openxmlformats.org/drawingml/2006/main" xmlns:r="http://schemas.openxmlformats.org/officeDocument/2006/relationships" xmlns:p="http://schemas.openxmlformats.org/presentationml/2006/main">
  <p:tag name="THINKCELLSHAPEDONOTDELETE" val="tdUVaNioeQEy1srSxzx_jYw"/>
</p:tagLst>
</file>

<file path=ppt/tags/tag1368.xml><?xml version="1.0" encoding="utf-8"?>
<p:tagLst xmlns:a="http://schemas.openxmlformats.org/drawingml/2006/main" xmlns:r="http://schemas.openxmlformats.org/officeDocument/2006/relationships" xmlns:p="http://schemas.openxmlformats.org/presentationml/2006/main">
  <p:tag name="NAME" val="Moon"/>
</p:tagLst>
</file>

<file path=ppt/tags/tag1369.xml><?xml version="1.0" encoding="utf-8"?>
<p:tagLst xmlns:a="http://schemas.openxmlformats.org/drawingml/2006/main" xmlns:r="http://schemas.openxmlformats.org/officeDocument/2006/relationships" xmlns:p="http://schemas.openxmlformats.org/presentationml/2006/main">
  <p:tag name="NAME" val="Moon"/>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0.xml><?xml version="1.0" encoding="utf-8"?>
<p:tagLst xmlns:a="http://schemas.openxmlformats.org/drawingml/2006/main" xmlns:r="http://schemas.openxmlformats.org/officeDocument/2006/relationships" xmlns:p="http://schemas.openxmlformats.org/presentationml/2006/main">
  <p:tag name="NAME" val="Moon"/>
</p:tagLst>
</file>

<file path=ppt/tags/tag1371.xml><?xml version="1.0" encoding="utf-8"?>
<p:tagLst xmlns:a="http://schemas.openxmlformats.org/drawingml/2006/main" xmlns:r="http://schemas.openxmlformats.org/officeDocument/2006/relationships" xmlns:p="http://schemas.openxmlformats.org/presentationml/2006/main">
  <p:tag name="NAME" val="Moon"/>
</p:tagLst>
</file>

<file path=ppt/tags/tag1372.xml><?xml version="1.0" encoding="utf-8"?>
<p:tagLst xmlns:a="http://schemas.openxmlformats.org/drawingml/2006/main" xmlns:r="http://schemas.openxmlformats.org/officeDocument/2006/relationships" xmlns:p="http://schemas.openxmlformats.org/presentationml/2006/main">
  <p:tag name="NAME" val="Moon"/>
</p:tagLst>
</file>

<file path=ppt/tags/tag1373.xml><?xml version="1.0" encoding="utf-8"?>
<p:tagLst xmlns:a="http://schemas.openxmlformats.org/drawingml/2006/main" xmlns:r="http://schemas.openxmlformats.org/officeDocument/2006/relationships" xmlns:p="http://schemas.openxmlformats.org/presentationml/2006/main">
  <p:tag name="ISLEGEND" val="true"/>
</p:tagLst>
</file>

<file path=ppt/tags/tag1374.xml><?xml version="1.0" encoding="utf-8"?>
<p:tagLst xmlns:a="http://schemas.openxmlformats.org/drawingml/2006/main" xmlns:r="http://schemas.openxmlformats.org/officeDocument/2006/relationships" xmlns:p="http://schemas.openxmlformats.org/presentationml/2006/main">
  <p:tag name="ISLEGEND" val="true"/>
</p:tagLst>
</file>

<file path=ppt/tags/tag1375.xml><?xml version="1.0" encoding="utf-8"?>
<p:tagLst xmlns:a="http://schemas.openxmlformats.org/drawingml/2006/main" xmlns:r="http://schemas.openxmlformats.org/officeDocument/2006/relationships" xmlns:p="http://schemas.openxmlformats.org/presentationml/2006/main">
  <p:tag name="ISLEGEND" val="true"/>
</p:tagLst>
</file>

<file path=ppt/tags/tag1376.xml><?xml version="1.0" encoding="utf-8"?>
<p:tagLst xmlns:a="http://schemas.openxmlformats.org/drawingml/2006/main" xmlns:r="http://schemas.openxmlformats.org/officeDocument/2006/relationships" xmlns:p="http://schemas.openxmlformats.org/presentationml/2006/main">
  <p:tag name="ISLEGEND" val="true"/>
</p:tagLst>
</file>

<file path=ppt/tags/tag1377.xml><?xml version="1.0" encoding="utf-8"?>
<p:tagLst xmlns:a="http://schemas.openxmlformats.org/drawingml/2006/main" xmlns:r="http://schemas.openxmlformats.org/officeDocument/2006/relationships" xmlns:p="http://schemas.openxmlformats.org/presentationml/2006/main">
  <p:tag name="ISLEGEND" val="true"/>
</p:tagLst>
</file>

<file path=ppt/tags/tag1378.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1379.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38.xml><?xml version="1.0" encoding="utf-8"?>
<p:tagLst xmlns:a="http://schemas.openxmlformats.org/drawingml/2006/main" xmlns:r="http://schemas.openxmlformats.org/officeDocument/2006/relationships" xmlns:p="http://schemas.openxmlformats.org/presentationml/2006/main">
  <p:tag name="NAME" val="Logo"/>
</p:tagLst>
</file>

<file path=ppt/tags/tag1380.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381.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382.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383.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384.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385.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386.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387.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1388.xml><?xml version="1.0" encoding="utf-8"?>
<p:tagLst xmlns:a="http://schemas.openxmlformats.org/drawingml/2006/main" xmlns:r="http://schemas.openxmlformats.org/officeDocument/2006/relationships" xmlns:p="http://schemas.openxmlformats.org/presentationml/2006/main">
  <p:tag name="ISLEGEND" val="true"/>
</p:tagLst>
</file>

<file path=ppt/tags/tag1389.xml><?xml version="1.0" encoding="utf-8"?>
<p:tagLst xmlns:a="http://schemas.openxmlformats.org/drawingml/2006/main" xmlns:r="http://schemas.openxmlformats.org/officeDocument/2006/relationships" xmlns:p="http://schemas.openxmlformats.org/presentationml/2006/main">
  <p:tag name="ISLEGEND" val="true"/>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0.xml><?xml version="1.0" encoding="utf-8"?>
<p:tagLst xmlns:a="http://schemas.openxmlformats.org/drawingml/2006/main" xmlns:r="http://schemas.openxmlformats.org/officeDocument/2006/relationships" xmlns:p="http://schemas.openxmlformats.org/presentationml/2006/main">
  <p:tag name="ISLEGEND" val="true"/>
</p:tagLst>
</file>

<file path=ppt/tags/tag1391.xml><?xml version="1.0" encoding="utf-8"?>
<p:tagLst xmlns:a="http://schemas.openxmlformats.org/drawingml/2006/main" xmlns:r="http://schemas.openxmlformats.org/officeDocument/2006/relationships" xmlns:p="http://schemas.openxmlformats.org/presentationml/2006/main">
  <p:tag name="ISLEGEND" val="true"/>
</p:tagLst>
</file>

<file path=ppt/tags/tag1392.xml><?xml version="1.0" encoding="utf-8"?>
<p:tagLst xmlns:a="http://schemas.openxmlformats.org/drawingml/2006/main" xmlns:r="http://schemas.openxmlformats.org/officeDocument/2006/relationships" xmlns:p="http://schemas.openxmlformats.org/presentationml/2006/main">
  <p:tag name="ISLEGEND" val="true"/>
</p:tagLst>
</file>

<file path=ppt/tags/tag1393.xml><?xml version="1.0" encoding="utf-8"?>
<p:tagLst xmlns:a="http://schemas.openxmlformats.org/drawingml/2006/main" xmlns:r="http://schemas.openxmlformats.org/officeDocument/2006/relationships" xmlns:p="http://schemas.openxmlformats.org/presentationml/2006/main">
  <p:tag name="ISLEGEND" val="true"/>
</p:tagLst>
</file>

<file path=ppt/tags/tag1394.xml><?xml version="1.0" encoding="utf-8"?>
<p:tagLst xmlns:a="http://schemas.openxmlformats.org/drawingml/2006/main" xmlns:r="http://schemas.openxmlformats.org/officeDocument/2006/relationships" xmlns:p="http://schemas.openxmlformats.org/presentationml/2006/main">
  <p:tag name="ISLEGEND" val="true"/>
</p:tagLst>
</file>

<file path=ppt/tags/tag13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7.xml><?xml version="1.0" encoding="utf-8"?>
<p:tagLst xmlns:a="http://schemas.openxmlformats.org/drawingml/2006/main" xmlns:r="http://schemas.openxmlformats.org/officeDocument/2006/relationships" xmlns:p="http://schemas.openxmlformats.org/presentationml/2006/main">
  <p:tag name="NAME" val="Logo"/>
</p:tagLst>
</file>

<file path=ppt/tags/tag13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9.xml><?xml version="1.0" encoding="utf-8"?>
<p:tagLst xmlns:a="http://schemas.openxmlformats.org/drawingml/2006/main" xmlns:r="http://schemas.openxmlformats.org/officeDocument/2006/relationships" xmlns:p="http://schemas.openxmlformats.org/presentationml/2006/main">
  <p:tag name="NAME" val="Logo"/>
</p:tagLst>
</file>

<file path=ppt/tags/tag14.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140.xml><?xml version="1.0" encoding="utf-8"?>
<p:tagLst xmlns:a="http://schemas.openxmlformats.org/drawingml/2006/main" xmlns:r="http://schemas.openxmlformats.org/officeDocument/2006/relationships" xmlns:p="http://schemas.openxmlformats.org/presentationml/2006/main">
  <p:tag name="NAME" val="Logo"/>
</p:tagLst>
</file>

<file path=ppt/tags/tag14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2.xml><?xml version="1.0" encoding="utf-8"?>
<p:tagLst xmlns:a="http://schemas.openxmlformats.org/drawingml/2006/main" xmlns:r="http://schemas.openxmlformats.org/officeDocument/2006/relationships" xmlns:p="http://schemas.openxmlformats.org/presentationml/2006/main">
  <p:tag name="THINKCELLSHAPEDONOTDELETE" val="tdUVaNioeQEy1srSxzx_jYw"/>
</p:tagLst>
</file>

<file path=ppt/tags/tag1403.xml><?xml version="1.0" encoding="utf-8"?>
<p:tagLst xmlns:a="http://schemas.openxmlformats.org/drawingml/2006/main" xmlns:r="http://schemas.openxmlformats.org/officeDocument/2006/relationships" xmlns:p="http://schemas.openxmlformats.org/presentationml/2006/main">
  <p:tag name="NAME" val="Moon"/>
</p:tagLst>
</file>

<file path=ppt/tags/tag1404.xml><?xml version="1.0" encoding="utf-8"?>
<p:tagLst xmlns:a="http://schemas.openxmlformats.org/drawingml/2006/main" xmlns:r="http://schemas.openxmlformats.org/officeDocument/2006/relationships" xmlns:p="http://schemas.openxmlformats.org/presentationml/2006/main">
  <p:tag name="NAME" val="Moon"/>
</p:tagLst>
</file>

<file path=ppt/tags/tag1405.xml><?xml version="1.0" encoding="utf-8"?>
<p:tagLst xmlns:a="http://schemas.openxmlformats.org/drawingml/2006/main" xmlns:r="http://schemas.openxmlformats.org/officeDocument/2006/relationships" xmlns:p="http://schemas.openxmlformats.org/presentationml/2006/main">
  <p:tag name="NAME" val="Moon"/>
</p:tagLst>
</file>

<file path=ppt/tags/tag1406.xml><?xml version="1.0" encoding="utf-8"?>
<p:tagLst xmlns:a="http://schemas.openxmlformats.org/drawingml/2006/main" xmlns:r="http://schemas.openxmlformats.org/officeDocument/2006/relationships" xmlns:p="http://schemas.openxmlformats.org/presentationml/2006/main">
  <p:tag name="NAME" val="Moon"/>
</p:tagLst>
</file>

<file path=ppt/tags/tag1407.xml><?xml version="1.0" encoding="utf-8"?>
<p:tagLst xmlns:a="http://schemas.openxmlformats.org/drawingml/2006/main" xmlns:r="http://schemas.openxmlformats.org/officeDocument/2006/relationships" xmlns:p="http://schemas.openxmlformats.org/presentationml/2006/main">
  <p:tag name="NAME" val="Moon"/>
</p:tagLst>
</file>

<file path=ppt/tags/tag1408.xml><?xml version="1.0" encoding="utf-8"?>
<p:tagLst xmlns:a="http://schemas.openxmlformats.org/drawingml/2006/main" xmlns:r="http://schemas.openxmlformats.org/officeDocument/2006/relationships" xmlns:p="http://schemas.openxmlformats.org/presentationml/2006/main">
  <p:tag name="ISLEGEND" val="true"/>
</p:tagLst>
</file>

<file path=ppt/tags/tag1409.xml><?xml version="1.0" encoding="utf-8"?>
<p:tagLst xmlns:a="http://schemas.openxmlformats.org/drawingml/2006/main" xmlns:r="http://schemas.openxmlformats.org/officeDocument/2006/relationships" xmlns:p="http://schemas.openxmlformats.org/presentationml/2006/main">
  <p:tag name="ISLEGEND" val="true"/>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10.xml><?xml version="1.0" encoding="utf-8"?>
<p:tagLst xmlns:a="http://schemas.openxmlformats.org/drawingml/2006/main" xmlns:r="http://schemas.openxmlformats.org/officeDocument/2006/relationships" xmlns:p="http://schemas.openxmlformats.org/presentationml/2006/main">
  <p:tag name="ISLEGEND" val="true"/>
</p:tagLst>
</file>

<file path=ppt/tags/tag1411.xml><?xml version="1.0" encoding="utf-8"?>
<p:tagLst xmlns:a="http://schemas.openxmlformats.org/drawingml/2006/main" xmlns:r="http://schemas.openxmlformats.org/officeDocument/2006/relationships" xmlns:p="http://schemas.openxmlformats.org/presentationml/2006/main">
  <p:tag name="ISLEGEND" val="true"/>
</p:tagLst>
</file>

<file path=ppt/tags/tag1412.xml><?xml version="1.0" encoding="utf-8"?>
<p:tagLst xmlns:a="http://schemas.openxmlformats.org/drawingml/2006/main" xmlns:r="http://schemas.openxmlformats.org/officeDocument/2006/relationships" xmlns:p="http://schemas.openxmlformats.org/presentationml/2006/main">
  <p:tag name="ISLEGEND" val="true"/>
</p:tagLst>
</file>

<file path=ppt/tags/tag1413.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1414.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415.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416.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417.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418.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419.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20.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421.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422.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1423.xml><?xml version="1.0" encoding="utf-8"?>
<p:tagLst xmlns:a="http://schemas.openxmlformats.org/drawingml/2006/main" xmlns:r="http://schemas.openxmlformats.org/officeDocument/2006/relationships" xmlns:p="http://schemas.openxmlformats.org/presentationml/2006/main">
  <p:tag name="ISLEGEND" val="true"/>
</p:tagLst>
</file>

<file path=ppt/tags/tag1424.xml><?xml version="1.0" encoding="utf-8"?>
<p:tagLst xmlns:a="http://schemas.openxmlformats.org/drawingml/2006/main" xmlns:r="http://schemas.openxmlformats.org/officeDocument/2006/relationships" xmlns:p="http://schemas.openxmlformats.org/presentationml/2006/main">
  <p:tag name="ISLEGEND" val="true"/>
</p:tagLst>
</file>

<file path=ppt/tags/tag1425.xml><?xml version="1.0" encoding="utf-8"?>
<p:tagLst xmlns:a="http://schemas.openxmlformats.org/drawingml/2006/main" xmlns:r="http://schemas.openxmlformats.org/officeDocument/2006/relationships" xmlns:p="http://schemas.openxmlformats.org/presentationml/2006/main">
  <p:tag name="ISLEGEND" val="true"/>
</p:tagLst>
</file>

<file path=ppt/tags/tag1426.xml><?xml version="1.0" encoding="utf-8"?>
<p:tagLst xmlns:a="http://schemas.openxmlformats.org/drawingml/2006/main" xmlns:r="http://schemas.openxmlformats.org/officeDocument/2006/relationships" xmlns:p="http://schemas.openxmlformats.org/presentationml/2006/main">
  <p:tag name="ISLEGEND" val="true"/>
</p:tagLst>
</file>

<file path=ppt/tags/tag1427.xml><?xml version="1.0" encoding="utf-8"?>
<p:tagLst xmlns:a="http://schemas.openxmlformats.org/drawingml/2006/main" xmlns:r="http://schemas.openxmlformats.org/officeDocument/2006/relationships" xmlns:p="http://schemas.openxmlformats.org/presentationml/2006/main">
  <p:tag name="ISLEGEND" val="true"/>
</p:tagLst>
</file>

<file path=ppt/tags/tag1428.xml><?xml version="1.0" encoding="utf-8"?>
<p:tagLst xmlns:a="http://schemas.openxmlformats.org/drawingml/2006/main" xmlns:r="http://schemas.openxmlformats.org/officeDocument/2006/relationships" xmlns:p="http://schemas.openxmlformats.org/presentationml/2006/main">
  <p:tag name="ISLEGEND" val="true"/>
</p:tagLst>
</file>

<file path=ppt/tags/tag1429.xml><?xml version="1.0" encoding="utf-8"?>
<p:tagLst xmlns:a="http://schemas.openxmlformats.org/drawingml/2006/main" xmlns:r="http://schemas.openxmlformats.org/officeDocument/2006/relationships" xmlns:p="http://schemas.openxmlformats.org/presentationml/2006/main">
  <p:tag name="ISLEGEND" val="true"/>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dUVaNioeQEy1srSxzx_jYw"/>
</p:tagLst>
</file>

<file path=ppt/tags/tag14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2.xml><?xml version="1.0" encoding="utf-8"?>
<p:tagLst xmlns:a="http://schemas.openxmlformats.org/drawingml/2006/main" xmlns:r="http://schemas.openxmlformats.org/officeDocument/2006/relationships" xmlns:p="http://schemas.openxmlformats.org/presentationml/2006/main">
  <p:tag name="NAME" val="Logo"/>
</p:tagLst>
</file>

<file path=ppt/tags/tag14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4.xml><?xml version="1.0" encoding="utf-8"?>
<p:tagLst xmlns:a="http://schemas.openxmlformats.org/drawingml/2006/main" xmlns:r="http://schemas.openxmlformats.org/officeDocument/2006/relationships" xmlns:p="http://schemas.openxmlformats.org/presentationml/2006/main">
  <p:tag name="NAME" val="Logo"/>
</p:tagLst>
</file>

<file path=ppt/tags/tag14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7.xml><?xml version="1.0" encoding="utf-8"?>
<p:tagLst xmlns:a="http://schemas.openxmlformats.org/drawingml/2006/main" xmlns:r="http://schemas.openxmlformats.org/officeDocument/2006/relationships" xmlns:p="http://schemas.openxmlformats.org/presentationml/2006/main">
  <p:tag name="THINKCELLSHAPEDONOTDELETE" val="tdUVaNioeQEy1srSxzx_jYw"/>
</p:tagLst>
</file>

<file path=ppt/tags/tag1438.xml><?xml version="1.0" encoding="utf-8"?>
<p:tagLst xmlns:a="http://schemas.openxmlformats.org/drawingml/2006/main" xmlns:r="http://schemas.openxmlformats.org/officeDocument/2006/relationships" xmlns:p="http://schemas.openxmlformats.org/presentationml/2006/main">
  <p:tag name="NAME" val="Moon"/>
</p:tagLst>
</file>

<file path=ppt/tags/tag1439.xml><?xml version="1.0" encoding="utf-8"?>
<p:tagLst xmlns:a="http://schemas.openxmlformats.org/drawingml/2006/main" xmlns:r="http://schemas.openxmlformats.org/officeDocument/2006/relationships" xmlns:p="http://schemas.openxmlformats.org/presentationml/2006/main">
  <p:tag name="NAME" val="Moon"/>
</p:tagLst>
</file>

<file path=ppt/tags/tag144.xml><?xml version="1.0" encoding="utf-8"?>
<p:tagLst xmlns:a="http://schemas.openxmlformats.org/drawingml/2006/main" xmlns:r="http://schemas.openxmlformats.org/officeDocument/2006/relationships" xmlns:p="http://schemas.openxmlformats.org/presentationml/2006/main">
  <p:tag name="NAME" val="Moon"/>
</p:tagLst>
</file>

<file path=ppt/tags/tag1440.xml><?xml version="1.0" encoding="utf-8"?>
<p:tagLst xmlns:a="http://schemas.openxmlformats.org/drawingml/2006/main" xmlns:r="http://schemas.openxmlformats.org/officeDocument/2006/relationships" xmlns:p="http://schemas.openxmlformats.org/presentationml/2006/main">
  <p:tag name="NAME" val="Moon"/>
</p:tagLst>
</file>

<file path=ppt/tags/tag1441.xml><?xml version="1.0" encoding="utf-8"?>
<p:tagLst xmlns:a="http://schemas.openxmlformats.org/drawingml/2006/main" xmlns:r="http://schemas.openxmlformats.org/officeDocument/2006/relationships" xmlns:p="http://schemas.openxmlformats.org/presentationml/2006/main">
  <p:tag name="NAME" val="Moon"/>
</p:tagLst>
</file>

<file path=ppt/tags/tag1442.xml><?xml version="1.0" encoding="utf-8"?>
<p:tagLst xmlns:a="http://schemas.openxmlformats.org/drawingml/2006/main" xmlns:r="http://schemas.openxmlformats.org/officeDocument/2006/relationships" xmlns:p="http://schemas.openxmlformats.org/presentationml/2006/main">
  <p:tag name="NAME" val="Moon"/>
</p:tagLst>
</file>

<file path=ppt/tags/tag1443.xml><?xml version="1.0" encoding="utf-8"?>
<p:tagLst xmlns:a="http://schemas.openxmlformats.org/drawingml/2006/main" xmlns:r="http://schemas.openxmlformats.org/officeDocument/2006/relationships" xmlns:p="http://schemas.openxmlformats.org/presentationml/2006/main">
  <p:tag name="ISLEGEND" val="true"/>
</p:tagLst>
</file>

<file path=ppt/tags/tag1444.xml><?xml version="1.0" encoding="utf-8"?>
<p:tagLst xmlns:a="http://schemas.openxmlformats.org/drawingml/2006/main" xmlns:r="http://schemas.openxmlformats.org/officeDocument/2006/relationships" xmlns:p="http://schemas.openxmlformats.org/presentationml/2006/main">
  <p:tag name="ISLEGEND" val="true"/>
</p:tagLst>
</file>

<file path=ppt/tags/tag1445.xml><?xml version="1.0" encoding="utf-8"?>
<p:tagLst xmlns:a="http://schemas.openxmlformats.org/drawingml/2006/main" xmlns:r="http://schemas.openxmlformats.org/officeDocument/2006/relationships" xmlns:p="http://schemas.openxmlformats.org/presentationml/2006/main">
  <p:tag name="ISLEGEND" val="true"/>
</p:tagLst>
</file>

<file path=ppt/tags/tag1446.xml><?xml version="1.0" encoding="utf-8"?>
<p:tagLst xmlns:a="http://schemas.openxmlformats.org/drawingml/2006/main" xmlns:r="http://schemas.openxmlformats.org/officeDocument/2006/relationships" xmlns:p="http://schemas.openxmlformats.org/presentationml/2006/main">
  <p:tag name="ISLEGEND" val="true"/>
</p:tagLst>
</file>

<file path=ppt/tags/tag1447.xml><?xml version="1.0" encoding="utf-8"?>
<p:tagLst xmlns:a="http://schemas.openxmlformats.org/drawingml/2006/main" xmlns:r="http://schemas.openxmlformats.org/officeDocument/2006/relationships" xmlns:p="http://schemas.openxmlformats.org/presentationml/2006/main">
  <p:tag name="ISLEGEND" val="true"/>
</p:tagLst>
</file>

<file path=ppt/tags/tag1448.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1449.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45.xml><?xml version="1.0" encoding="utf-8"?>
<p:tagLst xmlns:a="http://schemas.openxmlformats.org/drawingml/2006/main" xmlns:r="http://schemas.openxmlformats.org/officeDocument/2006/relationships" xmlns:p="http://schemas.openxmlformats.org/presentationml/2006/main">
  <p:tag name="NAME" val="Moon"/>
</p:tagLst>
</file>

<file path=ppt/tags/tag1450.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451.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452.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453.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454.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455.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456.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457.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1458.xml><?xml version="1.0" encoding="utf-8"?>
<p:tagLst xmlns:a="http://schemas.openxmlformats.org/drawingml/2006/main" xmlns:r="http://schemas.openxmlformats.org/officeDocument/2006/relationships" xmlns:p="http://schemas.openxmlformats.org/presentationml/2006/main">
  <p:tag name="ISLEGEND" val="true"/>
</p:tagLst>
</file>

<file path=ppt/tags/tag1459.xml><?xml version="1.0" encoding="utf-8"?>
<p:tagLst xmlns:a="http://schemas.openxmlformats.org/drawingml/2006/main" xmlns:r="http://schemas.openxmlformats.org/officeDocument/2006/relationships" xmlns:p="http://schemas.openxmlformats.org/presentationml/2006/main">
  <p:tag name="ISLEGEND" val="true"/>
</p:tagLst>
</file>

<file path=ppt/tags/tag146.xml><?xml version="1.0" encoding="utf-8"?>
<p:tagLst xmlns:a="http://schemas.openxmlformats.org/drawingml/2006/main" xmlns:r="http://schemas.openxmlformats.org/officeDocument/2006/relationships" xmlns:p="http://schemas.openxmlformats.org/presentationml/2006/main">
  <p:tag name="NAME" val="Moon"/>
</p:tagLst>
</file>

<file path=ppt/tags/tag1460.xml><?xml version="1.0" encoding="utf-8"?>
<p:tagLst xmlns:a="http://schemas.openxmlformats.org/drawingml/2006/main" xmlns:r="http://schemas.openxmlformats.org/officeDocument/2006/relationships" xmlns:p="http://schemas.openxmlformats.org/presentationml/2006/main">
  <p:tag name="ISLEGEND" val="true"/>
</p:tagLst>
</file>

<file path=ppt/tags/tag1461.xml><?xml version="1.0" encoding="utf-8"?>
<p:tagLst xmlns:a="http://schemas.openxmlformats.org/drawingml/2006/main" xmlns:r="http://schemas.openxmlformats.org/officeDocument/2006/relationships" xmlns:p="http://schemas.openxmlformats.org/presentationml/2006/main">
  <p:tag name="ISLEGEND" val="true"/>
</p:tagLst>
</file>

<file path=ppt/tags/tag1462.xml><?xml version="1.0" encoding="utf-8"?>
<p:tagLst xmlns:a="http://schemas.openxmlformats.org/drawingml/2006/main" xmlns:r="http://schemas.openxmlformats.org/officeDocument/2006/relationships" xmlns:p="http://schemas.openxmlformats.org/presentationml/2006/main">
  <p:tag name="ISLEGEND" val="true"/>
</p:tagLst>
</file>

<file path=ppt/tags/tag1463.xml><?xml version="1.0" encoding="utf-8"?>
<p:tagLst xmlns:a="http://schemas.openxmlformats.org/drawingml/2006/main" xmlns:r="http://schemas.openxmlformats.org/officeDocument/2006/relationships" xmlns:p="http://schemas.openxmlformats.org/presentationml/2006/main">
  <p:tag name="ISLEGEND" val="true"/>
</p:tagLst>
</file>

<file path=ppt/tags/tag1464.xml><?xml version="1.0" encoding="utf-8"?>
<p:tagLst xmlns:a="http://schemas.openxmlformats.org/drawingml/2006/main" xmlns:r="http://schemas.openxmlformats.org/officeDocument/2006/relationships" xmlns:p="http://schemas.openxmlformats.org/presentationml/2006/main">
  <p:tag name="ISLEGEND" val="true"/>
</p:tagLst>
</file>

<file path=ppt/tags/tag14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67.xml><?xml version="1.0" encoding="utf-8"?>
<p:tagLst xmlns:a="http://schemas.openxmlformats.org/drawingml/2006/main" xmlns:r="http://schemas.openxmlformats.org/officeDocument/2006/relationships" xmlns:p="http://schemas.openxmlformats.org/presentationml/2006/main">
  <p:tag name="NAME" val="Logo"/>
</p:tagLst>
</file>

<file path=ppt/tags/tag14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69.xml><?xml version="1.0" encoding="utf-8"?>
<p:tagLst xmlns:a="http://schemas.openxmlformats.org/drawingml/2006/main" xmlns:r="http://schemas.openxmlformats.org/officeDocument/2006/relationships" xmlns:p="http://schemas.openxmlformats.org/presentationml/2006/main">
  <p:tag name="NAME" val="Logo"/>
</p:tagLst>
</file>

<file path=ppt/tags/tag147.xml><?xml version="1.0" encoding="utf-8"?>
<p:tagLst xmlns:a="http://schemas.openxmlformats.org/drawingml/2006/main" xmlns:r="http://schemas.openxmlformats.org/officeDocument/2006/relationships" xmlns:p="http://schemas.openxmlformats.org/presentationml/2006/main">
  <p:tag name="NAME" val="Moon"/>
</p:tagLst>
</file>

<file path=ppt/tags/tag14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72.xml><?xml version="1.0" encoding="utf-8"?>
<p:tagLst xmlns:a="http://schemas.openxmlformats.org/drawingml/2006/main" xmlns:r="http://schemas.openxmlformats.org/officeDocument/2006/relationships" xmlns:p="http://schemas.openxmlformats.org/presentationml/2006/main">
  <p:tag name="THINKCELLSHAPEDONOTDELETE" val="tdUVaNioeQEy1srSxzx_jYw"/>
</p:tagLst>
</file>

<file path=ppt/tags/tag1473.xml><?xml version="1.0" encoding="utf-8"?>
<p:tagLst xmlns:a="http://schemas.openxmlformats.org/drawingml/2006/main" xmlns:r="http://schemas.openxmlformats.org/officeDocument/2006/relationships" xmlns:p="http://schemas.openxmlformats.org/presentationml/2006/main">
  <p:tag name="NAME" val="Moon"/>
</p:tagLst>
</file>

<file path=ppt/tags/tag1474.xml><?xml version="1.0" encoding="utf-8"?>
<p:tagLst xmlns:a="http://schemas.openxmlformats.org/drawingml/2006/main" xmlns:r="http://schemas.openxmlformats.org/officeDocument/2006/relationships" xmlns:p="http://schemas.openxmlformats.org/presentationml/2006/main">
  <p:tag name="NAME" val="Moon"/>
</p:tagLst>
</file>

<file path=ppt/tags/tag1475.xml><?xml version="1.0" encoding="utf-8"?>
<p:tagLst xmlns:a="http://schemas.openxmlformats.org/drawingml/2006/main" xmlns:r="http://schemas.openxmlformats.org/officeDocument/2006/relationships" xmlns:p="http://schemas.openxmlformats.org/presentationml/2006/main">
  <p:tag name="NAME" val="Moon"/>
</p:tagLst>
</file>

<file path=ppt/tags/tag1476.xml><?xml version="1.0" encoding="utf-8"?>
<p:tagLst xmlns:a="http://schemas.openxmlformats.org/drawingml/2006/main" xmlns:r="http://schemas.openxmlformats.org/officeDocument/2006/relationships" xmlns:p="http://schemas.openxmlformats.org/presentationml/2006/main">
  <p:tag name="NAME" val="Moon"/>
</p:tagLst>
</file>

<file path=ppt/tags/tag1477.xml><?xml version="1.0" encoding="utf-8"?>
<p:tagLst xmlns:a="http://schemas.openxmlformats.org/drawingml/2006/main" xmlns:r="http://schemas.openxmlformats.org/officeDocument/2006/relationships" xmlns:p="http://schemas.openxmlformats.org/presentationml/2006/main">
  <p:tag name="NAME" val="Moon"/>
</p:tagLst>
</file>

<file path=ppt/tags/tag1478.xml><?xml version="1.0" encoding="utf-8"?>
<p:tagLst xmlns:a="http://schemas.openxmlformats.org/drawingml/2006/main" xmlns:r="http://schemas.openxmlformats.org/officeDocument/2006/relationships" xmlns:p="http://schemas.openxmlformats.org/presentationml/2006/main">
  <p:tag name="ISLEGEND" val="true"/>
</p:tagLst>
</file>

<file path=ppt/tags/tag1479.xml><?xml version="1.0" encoding="utf-8"?>
<p:tagLst xmlns:a="http://schemas.openxmlformats.org/drawingml/2006/main" xmlns:r="http://schemas.openxmlformats.org/officeDocument/2006/relationships" xmlns:p="http://schemas.openxmlformats.org/presentationml/2006/main">
  <p:tag name="ISLEGEND" val="true"/>
</p:tagLst>
</file>

<file path=ppt/tags/tag148.xml><?xml version="1.0" encoding="utf-8"?>
<p:tagLst xmlns:a="http://schemas.openxmlformats.org/drawingml/2006/main" xmlns:r="http://schemas.openxmlformats.org/officeDocument/2006/relationships" xmlns:p="http://schemas.openxmlformats.org/presentationml/2006/main">
  <p:tag name="NAME" val="Moon"/>
</p:tagLst>
</file>

<file path=ppt/tags/tag1480.xml><?xml version="1.0" encoding="utf-8"?>
<p:tagLst xmlns:a="http://schemas.openxmlformats.org/drawingml/2006/main" xmlns:r="http://schemas.openxmlformats.org/officeDocument/2006/relationships" xmlns:p="http://schemas.openxmlformats.org/presentationml/2006/main">
  <p:tag name="ISLEGEND" val="true"/>
</p:tagLst>
</file>

<file path=ppt/tags/tag1481.xml><?xml version="1.0" encoding="utf-8"?>
<p:tagLst xmlns:a="http://schemas.openxmlformats.org/drawingml/2006/main" xmlns:r="http://schemas.openxmlformats.org/officeDocument/2006/relationships" xmlns:p="http://schemas.openxmlformats.org/presentationml/2006/main">
  <p:tag name="ISLEGEND" val="true"/>
</p:tagLst>
</file>

<file path=ppt/tags/tag1482.xml><?xml version="1.0" encoding="utf-8"?>
<p:tagLst xmlns:a="http://schemas.openxmlformats.org/drawingml/2006/main" xmlns:r="http://schemas.openxmlformats.org/officeDocument/2006/relationships" xmlns:p="http://schemas.openxmlformats.org/presentationml/2006/main">
  <p:tag name="ISLEGEND" val="true"/>
</p:tagLst>
</file>

<file path=ppt/tags/tag1483.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1484.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485.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486.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487.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488.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489.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49.xml><?xml version="1.0" encoding="utf-8"?>
<p:tagLst xmlns:a="http://schemas.openxmlformats.org/drawingml/2006/main" xmlns:r="http://schemas.openxmlformats.org/officeDocument/2006/relationships" xmlns:p="http://schemas.openxmlformats.org/presentationml/2006/main">
  <p:tag name="ISLEGEND" val="true"/>
</p:tagLst>
</file>

<file path=ppt/tags/tag1490.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491.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492.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1493.xml><?xml version="1.0" encoding="utf-8"?>
<p:tagLst xmlns:a="http://schemas.openxmlformats.org/drawingml/2006/main" xmlns:r="http://schemas.openxmlformats.org/officeDocument/2006/relationships" xmlns:p="http://schemas.openxmlformats.org/presentationml/2006/main">
  <p:tag name="ISLEGEND" val="true"/>
</p:tagLst>
</file>

<file path=ppt/tags/tag1494.xml><?xml version="1.0" encoding="utf-8"?>
<p:tagLst xmlns:a="http://schemas.openxmlformats.org/drawingml/2006/main" xmlns:r="http://schemas.openxmlformats.org/officeDocument/2006/relationships" xmlns:p="http://schemas.openxmlformats.org/presentationml/2006/main">
  <p:tag name="ISLEGEND" val="true"/>
</p:tagLst>
</file>

<file path=ppt/tags/tag1495.xml><?xml version="1.0" encoding="utf-8"?>
<p:tagLst xmlns:a="http://schemas.openxmlformats.org/drawingml/2006/main" xmlns:r="http://schemas.openxmlformats.org/officeDocument/2006/relationships" xmlns:p="http://schemas.openxmlformats.org/presentationml/2006/main">
  <p:tag name="ISLEGEND" val="true"/>
</p:tagLst>
</file>

<file path=ppt/tags/tag1496.xml><?xml version="1.0" encoding="utf-8"?>
<p:tagLst xmlns:a="http://schemas.openxmlformats.org/drawingml/2006/main" xmlns:r="http://schemas.openxmlformats.org/officeDocument/2006/relationships" xmlns:p="http://schemas.openxmlformats.org/presentationml/2006/main">
  <p:tag name="ISLEGEND" val="true"/>
</p:tagLst>
</file>

<file path=ppt/tags/tag1497.xml><?xml version="1.0" encoding="utf-8"?>
<p:tagLst xmlns:a="http://schemas.openxmlformats.org/drawingml/2006/main" xmlns:r="http://schemas.openxmlformats.org/officeDocument/2006/relationships" xmlns:p="http://schemas.openxmlformats.org/presentationml/2006/main">
  <p:tag name="ISLEGEND" val="true"/>
</p:tagLst>
</file>

<file path=ppt/tags/tag1498.xml><?xml version="1.0" encoding="utf-8"?>
<p:tagLst xmlns:a="http://schemas.openxmlformats.org/drawingml/2006/main" xmlns:r="http://schemas.openxmlformats.org/officeDocument/2006/relationships" xmlns:p="http://schemas.openxmlformats.org/presentationml/2006/main">
  <p:tag name="ISLEGEND" val="true"/>
</p:tagLst>
</file>

<file path=ppt/tags/tag1499.xml><?xml version="1.0" encoding="utf-8"?>
<p:tagLst xmlns:a="http://schemas.openxmlformats.org/drawingml/2006/main" xmlns:r="http://schemas.openxmlformats.org/officeDocument/2006/relationships" xmlns:p="http://schemas.openxmlformats.org/presentationml/2006/main">
  <p:tag name="ISLEGEND" val="true"/>
</p:tagLst>
</file>

<file path=ppt/tags/tag15.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50.xml><?xml version="1.0" encoding="utf-8"?>
<p:tagLst xmlns:a="http://schemas.openxmlformats.org/drawingml/2006/main" xmlns:r="http://schemas.openxmlformats.org/officeDocument/2006/relationships" xmlns:p="http://schemas.openxmlformats.org/presentationml/2006/main">
  <p:tag name="ISLEGEND" val="true"/>
</p:tagLst>
</file>

<file path=ppt/tags/tag15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2.xml><?xml version="1.0" encoding="utf-8"?>
<p:tagLst xmlns:a="http://schemas.openxmlformats.org/drawingml/2006/main" xmlns:r="http://schemas.openxmlformats.org/officeDocument/2006/relationships" xmlns:p="http://schemas.openxmlformats.org/presentationml/2006/main">
  <p:tag name="NAME" val="Logo"/>
</p:tagLst>
</file>

<file path=ppt/tags/tag15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4.xml><?xml version="1.0" encoding="utf-8"?>
<p:tagLst xmlns:a="http://schemas.openxmlformats.org/drawingml/2006/main" xmlns:r="http://schemas.openxmlformats.org/officeDocument/2006/relationships" xmlns:p="http://schemas.openxmlformats.org/presentationml/2006/main">
  <p:tag name="NAME" val="Logo"/>
</p:tagLst>
</file>

<file path=ppt/tags/tag15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7.xml><?xml version="1.0" encoding="utf-8"?>
<p:tagLst xmlns:a="http://schemas.openxmlformats.org/drawingml/2006/main" xmlns:r="http://schemas.openxmlformats.org/officeDocument/2006/relationships" xmlns:p="http://schemas.openxmlformats.org/presentationml/2006/main">
  <p:tag name="THINKCELLSHAPEDONOTDELETE" val="tdUVaNioeQEy1srSxzx_jYw"/>
</p:tagLst>
</file>

<file path=ppt/tags/tag1508.xml><?xml version="1.0" encoding="utf-8"?>
<p:tagLst xmlns:a="http://schemas.openxmlformats.org/drawingml/2006/main" xmlns:r="http://schemas.openxmlformats.org/officeDocument/2006/relationships" xmlns:p="http://schemas.openxmlformats.org/presentationml/2006/main">
  <p:tag name="NAME" val="Moon"/>
</p:tagLst>
</file>

<file path=ppt/tags/tag1509.xml><?xml version="1.0" encoding="utf-8"?>
<p:tagLst xmlns:a="http://schemas.openxmlformats.org/drawingml/2006/main" xmlns:r="http://schemas.openxmlformats.org/officeDocument/2006/relationships" xmlns:p="http://schemas.openxmlformats.org/presentationml/2006/main">
  <p:tag name="NAME" val="Moon"/>
</p:tagLst>
</file>

<file path=ppt/tags/tag151.xml><?xml version="1.0" encoding="utf-8"?>
<p:tagLst xmlns:a="http://schemas.openxmlformats.org/drawingml/2006/main" xmlns:r="http://schemas.openxmlformats.org/officeDocument/2006/relationships" xmlns:p="http://schemas.openxmlformats.org/presentationml/2006/main">
  <p:tag name="ISLEGEND" val="true"/>
</p:tagLst>
</file>

<file path=ppt/tags/tag1510.xml><?xml version="1.0" encoding="utf-8"?>
<p:tagLst xmlns:a="http://schemas.openxmlformats.org/drawingml/2006/main" xmlns:r="http://schemas.openxmlformats.org/officeDocument/2006/relationships" xmlns:p="http://schemas.openxmlformats.org/presentationml/2006/main">
  <p:tag name="NAME" val="Moon"/>
</p:tagLst>
</file>

<file path=ppt/tags/tag1511.xml><?xml version="1.0" encoding="utf-8"?>
<p:tagLst xmlns:a="http://schemas.openxmlformats.org/drawingml/2006/main" xmlns:r="http://schemas.openxmlformats.org/officeDocument/2006/relationships" xmlns:p="http://schemas.openxmlformats.org/presentationml/2006/main">
  <p:tag name="NAME" val="Moon"/>
</p:tagLst>
</file>

<file path=ppt/tags/tag1512.xml><?xml version="1.0" encoding="utf-8"?>
<p:tagLst xmlns:a="http://schemas.openxmlformats.org/drawingml/2006/main" xmlns:r="http://schemas.openxmlformats.org/officeDocument/2006/relationships" xmlns:p="http://schemas.openxmlformats.org/presentationml/2006/main">
  <p:tag name="NAME" val="Moon"/>
</p:tagLst>
</file>

<file path=ppt/tags/tag1513.xml><?xml version="1.0" encoding="utf-8"?>
<p:tagLst xmlns:a="http://schemas.openxmlformats.org/drawingml/2006/main" xmlns:r="http://schemas.openxmlformats.org/officeDocument/2006/relationships" xmlns:p="http://schemas.openxmlformats.org/presentationml/2006/main">
  <p:tag name="ISLEGEND" val="true"/>
</p:tagLst>
</file>

<file path=ppt/tags/tag1514.xml><?xml version="1.0" encoding="utf-8"?>
<p:tagLst xmlns:a="http://schemas.openxmlformats.org/drawingml/2006/main" xmlns:r="http://schemas.openxmlformats.org/officeDocument/2006/relationships" xmlns:p="http://schemas.openxmlformats.org/presentationml/2006/main">
  <p:tag name="ISLEGEND" val="true"/>
</p:tagLst>
</file>

<file path=ppt/tags/tag1515.xml><?xml version="1.0" encoding="utf-8"?>
<p:tagLst xmlns:a="http://schemas.openxmlformats.org/drawingml/2006/main" xmlns:r="http://schemas.openxmlformats.org/officeDocument/2006/relationships" xmlns:p="http://schemas.openxmlformats.org/presentationml/2006/main">
  <p:tag name="ISLEGEND" val="true"/>
</p:tagLst>
</file>

<file path=ppt/tags/tag1516.xml><?xml version="1.0" encoding="utf-8"?>
<p:tagLst xmlns:a="http://schemas.openxmlformats.org/drawingml/2006/main" xmlns:r="http://schemas.openxmlformats.org/officeDocument/2006/relationships" xmlns:p="http://schemas.openxmlformats.org/presentationml/2006/main">
  <p:tag name="ISLEGEND" val="true"/>
</p:tagLst>
</file>

<file path=ppt/tags/tag1517.xml><?xml version="1.0" encoding="utf-8"?>
<p:tagLst xmlns:a="http://schemas.openxmlformats.org/drawingml/2006/main" xmlns:r="http://schemas.openxmlformats.org/officeDocument/2006/relationships" xmlns:p="http://schemas.openxmlformats.org/presentationml/2006/main">
  <p:tag name="ISLEGEND" val="true"/>
</p:tagLst>
</file>

<file path=ppt/tags/tag1518.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1519.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52.xml><?xml version="1.0" encoding="utf-8"?>
<p:tagLst xmlns:a="http://schemas.openxmlformats.org/drawingml/2006/main" xmlns:r="http://schemas.openxmlformats.org/officeDocument/2006/relationships" xmlns:p="http://schemas.openxmlformats.org/presentationml/2006/main">
  <p:tag name="ISLEGEND" val="true"/>
</p:tagLst>
</file>

<file path=ppt/tags/tag1520.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521.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522.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523.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524.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525.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526.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527.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1528.xml><?xml version="1.0" encoding="utf-8"?>
<p:tagLst xmlns:a="http://schemas.openxmlformats.org/drawingml/2006/main" xmlns:r="http://schemas.openxmlformats.org/officeDocument/2006/relationships" xmlns:p="http://schemas.openxmlformats.org/presentationml/2006/main">
  <p:tag name="ISLEGEND" val="true"/>
</p:tagLst>
</file>

<file path=ppt/tags/tag1529.xml><?xml version="1.0" encoding="utf-8"?>
<p:tagLst xmlns:a="http://schemas.openxmlformats.org/drawingml/2006/main" xmlns:r="http://schemas.openxmlformats.org/officeDocument/2006/relationships" xmlns:p="http://schemas.openxmlformats.org/presentationml/2006/main">
  <p:tag name="ISLEGEND" val="true"/>
</p:tagLst>
</file>

<file path=ppt/tags/tag153.xml><?xml version="1.0" encoding="utf-8"?>
<p:tagLst xmlns:a="http://schemas.openxmlformats.org/drawingml/2006/main" xmlns:r="http://schemas.openxmlformats.org/officeDocument/2006/relationships" xmlns:p="http://schemas.openxmlformats.org/presentationml/2006/main">
  <p:tag name="ISLEGEND" val="true"/>
</p:tagLst>
</file>

<file path=ppt/tags/tag1530.xml><?xml version="1.0" encoding="utf-8"?>
<p:tagLst xmlns:a="http://schemas.openxmlformats.org/drawingml/2006/main" xmlns:r="http://schemas.openxmlformats.org/officeDocument/2006/relationships" xmlns:p="http://schemas.openxmlformats.org/presentationml/2006/main">
  <p:tag name="ISLEGEND" val="true"/>
</p:tagLst>
</file>

<file path=ppt/tags/tag1531.xml><?xml version="1.0" encoding="utf-8"?>
<p:tagLst xmlns:a="http://schemas.openxmlformats.org/drawingml/2006/main" xmlns:r="http://schemas.openxmlformats.org/officeDocument/2006/relationships" xmlns:p="http://schemas.openxmlformats.org/presentationml/2006/main">
  <p:tag name="ISLEGEND" val="true"/>
</p:tagLst>
</file>

<file path=ppt/tags/tag1532.xml><?xml version="1.0" encoding="utf-8"?>
<p:tagLst xmlns:a="http://schemas.openxmlformats.org/drawingml/2006/main" xmlns:r="http://schemas.openxmlformats.org/officeDocument/2006/relationships" xmlns:p="http://schemas.openxmlformats.org/presentationml/2006/main">
  <p:tag name="ISLEGEND" val="true"/>
</p:tagLst>
</file>

<file path=ppt/tags/tag1533.xml><?xml version="1.0" encoding="utf-8"?>
<p:tagLst xmlns:a="http://schemas.openxmlformats.org/drawingml/2006/main" xmlns:r="http://schemas.openxmlformats.org/officeDocument/2006/relationships" xmlns:p="http://schemas.openxmlformats.org/presentationml/2006/main">
  <p:tag name="ISLEGEND" val="true"/>
</p:tagLst>
</file>

<file path=ppt/tags/tag1534.xml><?xml version="1.0" encoding="utf-8"?>
<p:tagLst xmlns:a="http://schemas.openxmlformats.org/drawingml/2006/main" xmlns:r="http://schemas.openxmlformats.org/officeDocument/2006/relationships" xmlns:p="http://schemas.openxmlformats.org/presentationml/2006/main">
  <p:tag name="ISLEGEND" val="true"/>
</p:tagLst>
</file>

<file path=ppt/tags/tag15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37.xml><?xml version="1.0" encoding="utf-8"?>
<p:tagLst xmlns:a="http://schemas.openxmlformats.org/drawingml/2006/main" xmlns:r="http://schemas.openxmlformats.org/officeDocument/2006/relationships" xmlns:p="http://schemas.openxmlformats.org/presentationml/2006/main">
  <p:tag name="NAME" val="Logo"/>
</p:tagLst>
</file>

<file path=ppt/tags/tag15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39.xml><?xml version="1.0" encoding="utf-8"?>
<p:tagLst xmlns:a="http://schemas.openxmlformats.org/drawingml/2006/main" xmlns:r="http://schemas.openxmlformats.org/officeDocument/2006/relationships" xmlns:p="http://schemas.openxmlformats.org/presentationml/2006/main">
  <p:tag name="NAME" val="Logo"/>
</p:tagLst>
</file>

<file path=ppt/tags/tag154.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15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42.xml><?xml version="1.0" encoding="utf-8"?>
<p:tagLst xmlns:a="http://schemas.openxmlformats.org/drawingml/2006/main" xmlns:r="http://schemas.openxmlformats.org/officeDocument/2006/relationships" xmlns:p="http://schemas.openxmlformats.org/presentationml/2006/main">
  <p:tag name="THINKCELLSHAPEDONOTDELETE" val="tdUVaNioeQEy1srSxzx_jYw"/>
</p:tagLst>
</file>

<file path=ppt/tags/tag1543.xml><?xml version="1.0" encoding="utf-8"?>
<p:tagLst xmlns:a="http://schemas.openxmlformats.org/drawingml/2006/main" xmlns:r="http://schemas.openxmlformats.org/officeDocument/2006/relationships" xmlns:p="http://schemas.openxmlformats.org/presentationml/2006/main">
  <p:tag name="NAME" val="Moon"/>
</p:tagLst>
</file>

<file path=ppt/tags/tag1544.xml><?xml version="1.0" encoding="utf-8"?>
<p:tagLst xmlns:a="http://schemas.openxmlformats.org/drawingml/2006/main" xmlns:r="http://schemas.openxmlformats.org/officeDocument/2006/relationships" xmlns:p="http://schemas.openxmlformats.org/presentationml/2006/main">
  <p:tag name="NAME" val="Moon"/>
</p:tagLst>
</file>

<file path=ppt/tags/tag1545.xml><?xml version="1.0" encoding="utf-8"?>
<p:tagLst xmlns:a="http://schemas.openxmlformats.org/drawingml/2006/main" xmlns:r="http://schemas.openxmlformats.org/officeDocument/2006/relationships" xmlns:p="http://schemas.openxmlformats.org/presentationml/2006/main">
  <p:tag name="NAME" val="Moon"/>
</p:tagLst>
</file>

<file path=ppt/tags/tag1546.xml><?xml version="1.0" encoding="utf-8"?>
<p:tagLst xmlns:a="http://schemas.openxmlformats.org/drawingml/2006/main" xmlns:r="http://schemas.openxmlformats.org/officeDocument/2006/relationships" xmlns:p="http://schemas.openxmlformats.org/presentationml/2006/main">
  <p:tag name="NAME" val="Moon"/>
</p:tagLst>
</file>

<file path=ppt/tags/tag1547.xml><?xml version="1.0" encoding="utf-8"?>
<p:tagLst xmlns:a="http://schemas.openxmlformats.org/drawingml/2006/main" xmlns:r="http://schemas.openxmlformats.org/officeDocument/2006/relationships" xmlns:p="http://schemas.openxmlformats.org/presentationml/2006/main">
  <p:tag name="NAME" val="Moon"/>
</p:tagLst>
</file>

<file path=ppt/tags/tag1548.xml><?xml version="1.0" encoding="utf-8"?>
<p:tagLst xmlns:a="http://schemas.openxmlformats.org/drawingml/2006/main" xmlns:r="http://schemas.openxmlformats.org/officeDocument/2006/relationships" xmlns:p="http://schemas.openxmlformats.org/presentationml/2006/main">
  <p:tag name="ISLEGEND" val="true"/>
</p:tagLst>
</file>

<file path=ppt/tags/tag1549.xml><?xml version="1.0" encoding="utf-8"?>
<p:tagLst xmlns:a="http://schemas.openxmlformats.org/drawingml/2006/main" xmlns:r="http://schemas.openxmlformats.org/officeDocument/2006/relationships" xmlns:p="http://schemas.openxmlformats.org/presentationml/2006/main">
  <p:tag name="ISLEGEND" val="true"/>
</p:tagLst>
</file>

<file path=ppt/tags/tag155.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550.xml><?xml version="1.0" encoding="utf-8"?>
<p:tagLst xmlns:a="http://schemas.openxmlformats.org/drawingml/2006/main" xmlns:r="http://schemas.openxmlformats.org/officeDocument/2006/relationships" xmlns:p="http://schemas.openxmlformats.org/presentationml/2006/main">
  <p:tag name="ISLEGEND" val="true"/>
</p:tagLst>
</file>

<file path=ppt/tags/tag1551.xml><?xml version="1.0" encoding="utf-8"?>
<p:tagLst xmlns:a="http://schemas.openxmlformats.org/drawingml/2006/main" xmlns:r="http://schemas.openxmlformats.org/officeDocument/2006/relationships" xmlns:p="http://schemas.openxmlformats.org/presentationml/2006/main">
  <p:tag name="ISLEGEND" val="true"/>
</p:tagLst>
</file>

<file path=ppt/tags/tag1552.xml><?xml version="1.0" encoding="utf-8"?>
<p:tagLst xmlns:a="http://schemas.openxmlformats.org/drawingml/2006/main" xmlns:r="http://schemas.openxmlformats.org/officeDocument/2006/relationships" xmlns:p="http://schemas.openxmlformats.org/presentationml/2006/main">
  <p:tag name="ISLEGEND" val="true"/>
</p:tagLst>
</file>

<file path=ppt/tags/tag1553.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1554.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555.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556.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557.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558.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559.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56.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560.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561.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562.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1563.xml><?xml version="1.0" encoding="utf-8"?>
<p:tagLst xmlns:a="http://schemas.openxmlformats.org/drawingml/2006/main" xmlns:r="http://schemas.openxmlformats.org/officeDocument/2006/relationships" xmlns:p="http://schemas.openxmlformats.org/presentationml/2006/main">
  <p:tag name="ISLEGEND" val="true"/>
</p:tagLst>
</file>

<file path=ppt/tags/tag1564.xml><?xml version="1.0" encoding="utf-8"?>
<p:tagLst xmlns:a="http://schemas.openxmlformats.org/drawingml/2006/main" xmlns:r="http://schemas.openxmlformats.org/officeDocument/2006/relationships" xmlns:p="http://schemas.openxmlformats.org/presentationml/2006/main">
  <p:tag name="ISLEGEND" val="true"/>
</p:tagLst>
</file>

<file path=ppt/tags/tag1565.xml><?xml version="1.0" encoding="utf-8"?>
<p:tagLst xmlns:a="http://schemas.openxmlformats.org/drawingml/2006/main" xmlns:r="http://schemas.openxmlformats.org/officeDocument/2006/relationships" xmlns:p="http://schemas.openxmlformats.org/presentationml/2006/main">
  <p:tag name="ISLEGEND" val="true"/>
</p:tagLst>
</file>

<file path=ppt/tags/tag1566.xml><?xml version="1.0" encoding="utf-8"?>
<p:tagLst xmlns:a="http://schemas.openxmlformats.org/drawingml/2006/main" xmlns:r="http://schemas.openxmlformats.org/officeDocument/2006/relationships" xmlns:p="http://schemas.openxmlformats.org/presentationml/2006/main">
  <p:tag name="ISLEGEND" val="true"/>
</p:tagLst>
</file>

<file path=ppt/tags/tag1567.xml><?xml version="1.0" encoding="utf-8"?>
<p:tagLst xmlns:a="http://schemas.openxmlformats.org/drawingml/2006/main" xmlns:r="http://schemas.openxmlformats.org/officeDocument/2006/relationships" xmlns:p="http://schemas.openxmlformats.org/presentationml/2006/main">
  <p:tag name="ISLEGEND" val="true"/>
</p:tagLst>
</file>

<file path=ppt/tags/tag1568.xml><?xml version="1.0" encoding="utf-8"?>
<p:tagLst xmlns:a="http://schemas.openxmlformats.org/drawingml/2006/main" xmlns:r="http://schemas.openxmlformats.org/officeDocument/2006/relationships" xmlns:p="http://schemas.openxmlformats.org/presentationml/2006/main">
  <p:tag name="ISLEGEND" val="true"/>
</p:tagLst>
</file>

<file path=ppt/tags/tag1569.xml><?xml version="1.0" encoding="utf-8"?>
<p:tagLst xmlns:a="http://schemas.openxmlformats.org/drawingml/2006/main" xmlns:r="http://schemas.openxmlformats.org/officeDocument/2006/relationships" xmlns:p="http://schemas.openxmlformats.org/presentationml/2006/main">
  <p:tag name="ISLEGEND" val="true"/>
</p:tagLst>
</file>

<file path=ppt/tags/tag157.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5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72.xml><?xml version="1.0" encoding="utf-8"?>
<p:tagLst xmlns:a="http://schemas.openxmlformats.org/drawingml/2006/main" xmlns:r="http://schemas.openxmlformats.org/officeDocument/2006/relationships" xmlns:p="http://schemas.openxmlformats.org/presentationml/2006/main">
  <p:tag name="NAME" val="Logo"/>
</p:tagLst>
</file>

<file path=ppt/tags/tag15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74.xml><?xml version="1.0" encoding="utf-8"?>
<p:tagLst xmlns:a="http://schemas.openxmlformats.org/drawingml/2006/main" xmlns:r="http://schemas.openxmlformats.org/officeDocument/2006/relationships" xmlns:p="http://schemas.openxmlformats.org/presentationml/2006/main">
  <p:tag name="NAME" val="Logo"/>
</p:tagLst>
</file>

<file path=ppt/tags/tag15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77.xml><?xml version="1.0" encoding="utf-8"?>
<p:tagLst xmlns:a="http://schemas.openxmlformats.org/drawingml/2006/main" xmlns:r="http://schemas.openxmlformats.org/officeDocument/2006/relationships" xmlns:p="http://schemas.openxmlformats.org/presentationml/2006/main">
  <p:tag name="THINKCELLSHAPEDONOTDELETE" val="tdUVaNioeQEy1srSxzx_jYw"/>
</p:tagLst>
</file>

<file path=ppt/tags/tag1578.xml><?xml version="1.0" encoding="utf-8"?>
<p:tagLst xmlns:a="http://schemas.openxmlformats.org/drawingml/2006/main" xmlns:r="http://schemas.openxmlformats.org/officeDocument/2006/relationships" xmlns:p="http://schemas.openxmlformats.org/presentationml/2006/main">
  <p:tag name="NAME" val="Moon"/>
</p:tagLst>
</file>

<file path=ppt/tags/tag1579.xml><?xml version="1.0" encoding="utf-8"?>
<p:tagLst xmlns:a="http://schemas.openxmlformats.org/drawingml/2006/main" xmlns:r="http://schemas.openxmlformats.org/officeDocument/2006/relationships" xmlns:p="http://schemas.openxmlformats.org/presentationml/2006/main">
  <p:tag name="NAME" val="Moon"/>
</p:tagLst>
</file>

<file path=ppt/tags/tag158.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580.xml><?xml version="1.0" encoding="utf-8"?>
<p:tagLst xmlns:a="http://schemas.openxmlformats.org/drawingml/2006/main" xmlns:r="http://schemas.openxmlformats.org/officeDocument/2006/relationships" xmlns:p="http://schemas.openxmlformats.org/presentationml/2006/main">
  <p:tag name="NAME" val="Moon"/>
</p:tagLst>
</file>

<file path=ppt/tags/tag1581.xml><?xml version="1.0" encoding="utf-8"?>
<p:tagLst xmlns:a="http://schemas.openxmlformats.org/drawingml/2006/main" xmlns:r="http://schemas.openxmlformats.org/officeDocument/2006/relationships" xmlns:p="http://schemas.openxmlformats.org/presentationml/2006/main">
  <p:tag name="NAME" val="Moon"/>
</p:tagLst>
</file>

<file path=ppt/tags/tag1582.xml><?xml version="1.0" encoding="utf-8"?>
<p:tagLst xmlns:a="http://schemas.openxmlformats.org/drawingml/2006/main" xmlns:r="http://schemas.openxmlformats.org/officeDocument/2006/relationships" xmlns:p="http://schemas.openxmlformats.org/presentationml/2006/main">
  <p:tag name="NAME" val="Moon"/>
</p:tagLst>
</file>

<file path=ppt/tags/tag1583.xml><?xml version="1.0" encoding="utf-8"?>
<p:tagLst xmlns:a="http://schemas.openxmlformats.org/drawingml/2006/main" xmlns:r="http://schemas.openxmlformats.org/officeDocument/2006/relationships" xmlns:p="http://schemas.openxmlformats.org/presentationml/2006/main">
  <p:tag name="ISLEGEND" val="true"/>
</p:tagLst>
</file>

<file path=ppt/tags/tag1584.xml><?xml version="1.0" encoding="utf-8"?>
<p:tagLst xmlns:a="http://schemas.openxmlformats.org/drawingml/2006/main" xmlns:r="http://schemas.openxmlformats.org/officeDocument/2006/relationships" xmlns:p="http://schemas.openxmlformats.org/presentationml/2006/main">
  <p:tag name="ISLEGEND" val="true"/>
</p:tagLst>
</file>

<file path=ppt/tags/tag1585.xml><?xml version="1.0" encoding="utf-8"?>
<p:tagLst xmlns:a="http://schemas.openxmlformats.org/drawingml/2006/main" xmlns:r="http://schemas.openxmlformats.org/officeDocument/2006/relationships" xmlns:p="http://schemas.openxmlformats.org/presentationml/2006/main">
  <p:tag name="ISLEGEND" val="true"/>
</p:tagLst>
</file>

<file path=ppt/tags/tag1586.xml><?xml version="1.0" encoding="utf-8"?>
<p:tagLst xmlns:a="http://schemas.openxmlformats.org/drawingml/2006/main" xmlns:r="http://schemas.openxmlformats.org/officeDocument/2006/relationships" xmlns:p="http://schemas.openxmlformats.org/presentationml/2006/main">
  <p:tag name="ISLEGEND" val="true"/>
</p:tagLst>
</file>

<file path=ppt/tags/tag1587.xml><?xml version="1.0" encoding="utf-8"?>
<p:tagLst xmlns:a="http://schemas.openxmlformats.org/drawingml/2006/main" xmlns:r="http://schemas.openxmlformats.org/officeDocument/2006/relationships" xmlns:p="http://schemas.openxmlformats.org/presentationml/2006/main">
  <p:tag name="ISLEGEND" val="true"/>
</p:tagLst>
</file>

<file path=ppt/tags/tag1588.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1589.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59.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590.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591.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592.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593.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594.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595.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596.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597.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1598.xml><?xml version="1.0" encoding="utf-8"?>
<p:tagLst xmlns:a="http://schemas.openxmlformats.org/drawingml/2006/main" xmlns:r="http://schemas.openxmlformats.org/officeDocument/2006/relationships" xmlns:p="http://schemas.openxmlformats.org/presentationml/2006/main">
  <p:tag name="ISLEGEND" val="true"/>
</p:tagLst>
</file>

<file path=ppt/tags/tag1599.xml><?xml version="1.0" encoding="utf-8"?>
<p:tagLst xmlns:a="http://schemas.openxmlformats.org/drawingml/2006/main" xmlns:r="http://schemas.openxmlformats.org/officeDocument/2006/relationships" xmlns:p="http://schemas.openxmlformats.org/presentationml/2006/main">
  <p:tag name="ISLEGEND" val="true"/>
</p:tagLst>
</file>

<file path=ppt/tags/tag16.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60.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600.xml><?xml version="1.0" encoding="utf-8"?>
<p:tagLst xmlns:a="http://schemas.openxmlformats.org/drawingml/2006/main" xmlns:r="http://schemas.openxmlformats.org/officeDocument/2006/relationships" xmlns:p="http://schemas.openxmlformats.org/presentationml/2006/main">
  <p:tag name="ISLEGEND" val="true"/>
</p:tagLst>
</file>

<file path=ppt/tags/tag1601.xml><?xml version="1.0" encoding="utf-8"?>
<p:tagLst xmlns:a="http://schemas.openxmlformats.org/drawingml/2006/main" xmlns:r="http://schemas.openxmlformats.org/officeDocument/2006/relationships" xmlns:p="http://schemas.openxmlformats.org/presentationml/2006/main">
  <p:tag name="ISLEGEND" val="true"/>
</p:tagLst>
</file>

<file path=ppt/tags/tag1602.xml><?xml version="1.0" encoding="utf-8"?>
<p:tagLst xmlns:a="http://schemas.openxmlformats.org/drawingml/2006/main" xmlns:r="http://schemas.openxmlformats.org/officeDocument/2006/relationships" xmlns:p="http://schemas.openxmlformats.org/presentationml/2006/main">
  <p:tag name="ISLEGEND" val="true"/>
</p:tagLst>
</file>

<file path=ppt/tags/tag1603.xml><?xml version="1.0" encoding="utf-8"?>
<p:tagLst xmlns:a="http://schemas.openxmlformats.org/drawingml/2006/main" xmlns:r="http://schemas.openxmlformats.org/officeDocument/2006/relationships" xmlns:p="http://schemas.openxmlformats.org/presentationml/2006/main">
  <p:tag name="ISLEGEND" val="true"/>
</p:tagLst>
</file>

<file path=ppt/tags/tag1604.xml><?xml version="1.0" encoding="utf-8"?>
<p:tagLst xmlns:a="http://schemas.openxmlformats.org/drawingml/2006/main" xmlns:r="http://schemas.openxmlformats.org/officeDocument/2006/relationships" xmlns:p="http://schemas.openxmlformats.org/presentationml/2006/main">
  <p:tag name="ISLEGEND" val="true"/>
</p:tagLst>
</file>

<file path=ppt/tags/tag16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7.xml><?xml version="1.0" encoding="utf-8"?>
<p:tagLst xmlns:a="http://schemas.openxmlformats.org/drawingml/2006/main" xmlns:r="http://schemas.openxmlformats.org/officeDocument/2006/relationships" xmlns:p="http://schemas.openxmlformats.org/presentationml/2006/main">
  <p:tag name="NAME" val="Logo"/>
</p:tagLst>
</file>

<file path=ppt/tags/tag16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9.xml><?xml version="1.0" encoding="utf-8"?>
<p:tagLst xmlns:a="http://schemas.openxmlformats.org/drawingml/2006/main" xmlns:r="http://schemas.openxmlformats.org/officeDocument/2006/relationships" xmlns:p="http://schemas.openxmlformats.org/presentationml/2006/main">
  <p:tag name="NAME" val="Logo"/>
</p:tagLst>
</file>

<file path=ppt/tags/tag161.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6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12.xml><?xml version="1.0" encoding="utf-8"?>
<p:tagLst xmlns:a="http://schemas.openxmlformats.org/drawingml/2006/main" xmlns:r="http://schemas.openxmlformats.org/officeDocument/2006/relationships" xmlns:p="http://schemas.openxmlformats.org/presentationml/2006/main">
  <p:tag name="THINKCELLSHAPEDONOTDELETE" val="tdUVaNioeQEy1srSxzx_jYw"/>
</p:tagLst>
</file>

<file path=ppt/tags/tag1613.xml><?xml version="1.0" encoding="utf-8"?>
<p:tagLst xmlns:a="http://schemas.openxmlformats.org/drawingml/2006/main" xmlns:r="http://schemas.openxmlformats.org/officeDocument/2006/relationships" xmlns:p="http://schemas.openxmlformats.org/presentationml/2006/main">
  <p:tag name="NAME" val="Moon"/>
</p:tagLst>
</file>

<file path=ppt/tags/tag1614.xml><?xml version="1.0" encoding="utf-8"?>
<p:tagLst xmlns:a="http://schemas.openxmlformats.org/drawingml/2006/main" xmlns:r="http://schemas.openxmlformats.org/officeDocument/2006/relationships" xmlns:p="http://schemas.openxmlformats.org/presentationml/2006/main">
  <p:tag name="NAME" val="Moon"/>
</p:tagLst>
</file>

<file path=ppt/tags/tag1615.xml><?xml version="1.0" encoding="utf-8"?>
<p:tagLst xmlns:a="http://schemas.openxmlformats.org/drawingml/2006/main" xmlns:r="http://schemas.openxmlformats.org/officeDocument/2006/relationships" xmlns:p="http://schemas.openxmlformats.org/presentationml/2006/main">
  <p:tag name="NAME" val="Moon"/>
</p:tagLst>
</file>

<file path=ppt/tags/tag1616.xml><?xml version="1.0" encoding="utf-8"?>
<p:tagLst xmlns:a="http://schemas.openxmlformats.org/drawingml/2006/main" xmlns:r="http://schemas.openxmlformats.org/officeDocument/2006/relationships" xmlns:p="http://schemas.openxmlformats.org/presentationml/2006/main">
  <p:tag name="NAME" val="Moon"/>
</p:tagLst>
</file>

<file path=ppt/tags/tag1617.xml><?xml version="1.0" encoding="utf-8"?>
<p:tagLst xmlns:a="http://schemas.openxmlformats.org/drawingml/2006/main" xmlns:r="http://schemas.openxmlformats.org/officeDocument/2006/relationships" xmlns:p="http://schemas.openxmlformats.org/presentationml/2006/main">
  <p:tag name="NAME" val="Moon"/>
</p:tagLst>
</file>

<file path=ppt/tags/tag1618.xml><?xml version="1.0" encoding="utf-8"?>
<p:tagLst xmlns:a="http://schemas.openxmlformats.org/drawingml/2006/main" xmlns:r="http://schemas.openxmlformats.org/officeDocument/2006/relationships" xmlns:p="http://schemas.openxmlformats.org/presentationml/2006/main">
  <p:tag name="ISLEGEND" val="true"/>
</p:tagLst>
</file>

<file path=ppt/tags/tag1619.xml><?xml version="1.0" encoding="utf-8"?>
<p:tagLst xmlns:a="http://schemas.openxmlformats.org/drawingml/2006/main" xmlns:r="http://schemas.openxmlformats.org/officeDocument/2006/relationships" xmlns:p="http://schemas.openxmlformats.org/presentationml/2006/main">
  <p:tag name="ISLEGEND" val="true"/>
</p:tagLst>
</file>

<file path=ppt/tags/tag162.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620.xml><?xml version="1.0" encoding="utf-8"?>
<p:tagLst xmlns:a="http://schemas.openxmlformats.org/drawingml/2006/main" xmlns:r="http://schemas.openxmlformats.org/officeDocument/2006/relationships" xmlns:p="http://schemas.openxmlformats.org/presentationml/2006/main">
  <p:tag name="ISLEGEND" val="true"/>
</p:tagLst>
</file>

<file path=ppt/tags/tag1621.xml><?xml version="1.0" encoding="utf-8"?>
<p:tagLst xmlns:a="http://schemas.openxmlformats.org/drawingml/2006/main" xmlns:r="http://schemas.openxmlformats.org/officeDocument/2006/relationships" xmlns:p="http://schemas.openxmlformats.org/presentationml/2006/main">
  <p:tag name="ISLEGEND" val="true"/>
</p:tagLst>
</file>

<file path=ppt/tags/tag1622.xml><?xml version="1.0" encoding="utf-8"?>
<p:tagLst xmlns:a="http://schemas.openxmlformats.org/drawingml/2006/main" xmlns:r="http://schemas.openxmlformats.org/officeDocument/2006/relationships" xmlns:p="http://schemas.openxmlformats.org/presentationml/2006/main">
  <p:tag name="ISLEGEND" val="true"/>
</p:tagLst>
</file>

<file path=ppt/tags/tag1623.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1624.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625.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626.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627.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628.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629.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63.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1630.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631.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632.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1633.xml><?xml version="1.0" encoding="utf-8"?>
<p:tagLst xmlns:a="http://schemas.openxmlformats.org/drawingml/2006/main" xmlns:r="http://schemas.openxmlformats.org/officeDocument/2006/relationships" xmlns:p="http://schemas.openxmlformats.org/presentationml/2006/main">
  <p:tag name="ISLEGEND" val="true"/>
</p:tagLst>
</file>

<file path=ppt/tags/tag1634.xml><?xml version="1.0" encoding="utf-8"?>
<p:tagLst xmlns:a="http://schemas.openxmlformats.org/drawingml/2006/main" xmlns:r="http://schemas.openxmlformats.org/officeDocument/2006/relationships" xmlns:p="http://schemas.openxmlformats.org/presentationml/2006/main">
  <p:tag name="ISLEGEND" val="true"/>
</p:tagLst>
</file>

<file path=ppt/tags/tag1635.xml><?xml version="1.0" encoding="utf-8"?>
<p:tagLst xmlns:a="http://schemas.openxmlformats.org/drawingml/2006/main" xmlns:r="http://schemas.openxmlformats.org/officeDocument/2006/relationships" xmlns:p="http://schemas.openxmlformats.org/presentationml/2006/main">
  <p:tag name="ISLEGEND" val="true"/>
</p:tagLst>
</file>

<file path=ppt/tags/tag1636.xml><?xml version="1.0" encoding="utf-8"?>
<p:tagLst xmlns:a="http://schemas.openxmlformats.org/drawingml/2006/main" xmlns:r="http://schemas.openxmlformats.org/officeDocument/2006/relationships" xmlns:p="http://schemas.openxmlformats.org/presentationml/2006/main">
  <p:tag name="ISLEGEND" val="true"/>
</p:tagLst>
</file>

<file path=ppt/tags/tag1637.xml><?xml version="1.0" encoding="utf-8"?>
<p:tagLst xmlns:a="http://schemas.openxmlformats.org/drawingml/2006/main" xmlns:r="http://schemas.openxmlformats.org/officeDocument/2006/relationships" xmlns:p="http://schemas.openxmlformats.org/presentationml/2006/main">
  <p:tag name="ISLEGEND" val="true"/>
</p:tagLst>
</file>

<file path=ppt/tags/tag1638.xml><?xml version="1.0" encoding="utf-8"?>
<p:tagLst xmlns:a="http://schemas.openxmlformats.org/drawingml/2006/main" xmlns:r="http://schemas.openxmlformats.org/officeDocument/2006/relationships" xmlns:p="http://schemas.openxmlformats.org/presentationml/2006/main">
  <p:tag name="ISLEGEND" val="true"/>
</p:tagLst>
</file>

<file path=ppt/tags/tag1639.xml><?xml version="1.0" encoding="utf-8"?>
<p:tagLst xmlns:a="http://schemas.openxmlformats.org/drawingml/2006/main" xmlns:r="http://schemas.openxmlformats.org/officeDocument/2006/relationships" xmlns:p="http://schemas.openxmlformats.org/presentationml/2006/main">
  <p:tag name="ISLEGEND" val="true"/>
</p:tagLst>
</file>

<file path=ppt/tags/tag164.xml><?xml version="1.0" encoding="utf-8"?>
<p:tagLst xmlns:a="http://schemas.openxmlformats.org/drawingml/2006/main" xmlns:r="http://schemas.openxmlformats.org/officeDocument/2006/relationships" xmlns:p="http://schemas.openxmlformats.org/presentationml/2006/main">
  <p:tag name="ISLEGEND" val="true"/>
</p:tagLst>
</file>

<file path=ppt/tags/tag16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42.xml><?xml version="1.0" encoding="utf-8"?>
<p:tagLst xmlns:a="http://schemas.openxmlformats.org/drawingml/2006/main" xmlns:r="http://schemas.openxmlformats.org/officeDocument/2006/relationships" xmlns:p="http://schemas.openxmlformats.org/presentationml/2006/main">
  <p:tag name="NAME" val="Logo"/>
</p:tagLst>
</file>

<file path=ppt/tags/tag16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44.xml><?xml version="1.0" encoding="utf-8"?>
<p:tagLst xmlns:a="http://schemas.openxmlformats.org/drawingml/2006/main" xmlns:r="http://schemas.openxmlformats.org/officeDocument/2006/relationships" xmlns:p="http://schemas.openxmlformats.org/presentationml/2006/main">
  <p:tag name="NAME" val="Logo"/>
</p:tagLst>
</file>

<file path=ppt/tags/tag16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47.xml><?xml version="1.0" encoding="utf-8"?>
<p:tagLst xmlns:a="http://schemas.openxmlformats.org/drawingml/2006/main" xmlns:r="http://schemas.openxmlformats.org/officeDocument/2006/relationships" xmlns:p="http://schemas.openxmlformats.org/presentationml/2006/main">
  <p:tag name="THINKCELLSHAPEDONOTDELETE" val="tdUVaNioeQEy1srSxzx_jYw"/>
</p:tagLst>
</file>

<file path=ppt/tags/tag1648.xml><?xml version="1.0" encoding="utf-8"?>
<p:tagLst xmlns:a="http://schemas.openxmlformats.org/drawingml/2006/main" xmlns:r="http://schemas.openxmlformats.org/officeDocument/2006/relationships" xmlns:p="http://schemas.openxmlformats.org/presentationml/2006/main">
  <p:tag name="NAME" val="Moon"/>
</p:tagLst>
</file>

<file path=ppt/tags/tag1649.xml><?xml version="1.0" encoding="utf-8"?>
<p:tagLst xmlns:a="http://schemas.openxmlformats.org/drawingml/2006/main" xmlns:r="http://schemas.openxmlformats.org/officeDocument/2006/relationships" xmlns:p="http://schemas.openxmlformats.org/presentationml/2006/main">
  <p:tag name="NAME" val="Moon"/>
</p:tagLst>
</file>

<file path=ppt/tags/tag165.xml><?xml version="1.0" encoding="utf-8"?>
<p:tagLst xmlns:a="http://schemas.openxmlformats.org/drawingml/2006/main" xmlns:r="http://schemas.openxmlformats.org/officeDocument/2006/relationships" xmlns:p="http://schemas.openxmlformats.org/presentationml/2006/main">
  <p:tag name="ISLEGEND" val="true"/>
</p:tagLst>
</file>

<file path=ppt/tags/tag1650.xml><?xml version="1.0" encoding="utf-8"?>
<p:tagLst xmlns:a="http://schemas.openxmlformats.org/drawingml/2006/main" xmlns:r="http://schemas.openxmlformats.org/officeDocument/2006/relationships" xmlns:p="http://schemas.openxmlformats.org/presentationml/2006/main">
  <p:tag name="NAME" val="Moon"/>
</p:tagLst>
</file>

<file path=ppt/tags/tag1651.xml><?xml version="1.0" encoding="utf-8"?>
<p:tagLst xmlns:a="http://schemas.openxmlformats.org/drawingml/2006/main" xmlns:r="http://schemas.openxmlformats.org/officeDocument/2006/relationships" xmlns:p="http://schemas.openxmlformats.org/presentationml/2006/main">
  <p:tag name="NAME" val="Moon"/>
</p:tagLst>
</file>

<file path=ppt/tags/tag1652.xml><?xml version="1.0" encoding="utf-8"?>
<p:tagLst xmlns:a="http://schemas.openxmlformats.org/drawingml/2006/main" xmlns:r="http://schemas.openxmlformats.org/officeDocument/2006/relationships" xmlns:p="http://schemas.openxmlformats.org/presentationml/2006/main">
  <p:tag name="NAME" val="Moon"/>
</p:tagLst>
</file>

<file path=ppt/tags/tag1653.xml><?xml version="1.0" encoding="utf-8"?>
<p:tagLst xmlns:a="http://schemas.openxmlformats.org/drawingml/2006/main" xmlns:r="http://schemas.openxmlformats.org/officeDocument/2006/relationships" xmlns:p="http://schemas.openxmlformats.org/presentationml/2006/main">
  <p:tag name="ISLEGEND" val="true"/>
</p:tagLst>
</file>

<file path=ppt/tags/tag1654.xml><?xml version="1.0" encoding="utf-8"?>
<p:tagLst xmlns:a="http://schemas.openxmlformats.org/drawingml/2006/main" xmlns:r="http://schemas.openxmlformats.org/officeDocument/2006/relationships" xmlns:p="http://schemas.openxmlformats.org/presentationml/2006/main">
  <p:tag name="ISLEGEND" val="true"/>
</p:tagLst>
</file>

<file path=ppt/tags/tag1655.xml><?xml version="1.0" encoding="utf-8"?>
<p:tagLst xmlns:a="http://schemas.openxmlformats.org/drawingml/2006/main" xmlns:r="http://schemas.openxmlformats.org/officeDocument/2006/relationships" xmlns:p="http://schemas.openxmlformats.org/presentationml/2006/main">
  <p:tag name="ISLEGEND" val="true"/>
</p:tagLst>
</file>

<file path=ppt/tags/tag1656.xml><?xml version="1.0" encoding="utf-8"?>
<p:tagLst xmlns:a="http://schemas.openxmlformats.org/drawingml/2006/main" xmlns:r="http://schemas.openxmlformats.org/officeDocument/2006/relationships" xmlns:p="http://schemas.openxmlformats.org/presentationml/2006/main">
  <p:tag name="ISLEGEND" val="true"/>
</p:tagLst>
</file>

<file path=ppt/tags/tag1657.xml><?xml version="1.0" encoding="utf-8"?>
<p:tagLst xmlns:a="http://schemas.openxmlformats.org/drawingml/2006/main" xmlns:r="http://schemas.openxmlformats.org/officeDocument/2006/relationships" xmlns:p="http://schemas.openxmlformats.org/presentationml/2006/main">
  <p:tag name="ISLEGEND" val="true"/>
</p:tagLst>
</file>

<file path=ppt/tags/tag1658.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1659.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66.xml><?xml version="1.0" encoding="utf-8"?>
<p:tagLst xmlns:a="http://schemas.openxmlformats.org/drawingml/2006/main" xmlns:r="http://schemas.openxmlformats.org/officeDocument/2006/relationships" xmlns:p="http://schemas.openxmlformats.org/presentationml/2006/main">
  <p:tag name="ISLEGEND" val="true"/>
</p:tagLst>
</file>

<file path=ppt/tags/tag1660.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661.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662.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663.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664.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665.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666.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667.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1668.xml><?xml version="1.0" encoding="utf-8"?>
<p:tagLst xmlns:a="http://schemas.openxmlformats.org/drawingml/2006/main" xmlns:r="http://schemas.openxmlformats.org/officeDocument/2006/relationships" xmlns:p="http://schemas.openxmlformats.org/presentationml/2006/main">
  <p:tag name="ISLEGEND" val="true"/>
</p:tagLst>
</file>

<file path=ppt/tags/tag1669.xml><?xml version="1.0" encoding="utf-8"?>
<p:tagLst xmlns:a="http://schemas.openxmlformats.org/drawingml/2006/main" xmlns:r="http://schemas.openxmlformats.org/officeDocument/2006/relationships" xmlns:p="http://schemas.openxmlformats.org/presentationml/2006/main">
  <p:tag name="ISLEGEND" val="true"/>
</p:tagLst>
</file>

<file path=ppt/tags/tag167.xml><?xml version="1.0" encoding="utf-8"?>
<p:tagLst xmlns:a="http://schemas.openxmlformats.org/drawingml/2006/main" xmlns:r="http://schemas.openxmlformats.org/officeDocument/2006/relationships" xmlns:p="http://schemas.openxmlformats.org/presentationml/2006/main">
  <p:tag name="ISLEGEND" val="true"/>
</p:tagLst>
</file>

<file path=ppt/tags/tag1670.xml><?xml version="1.0" encoding="utf-8"?>
<p:tagLst xmlns:a="http://schemas.openxmlformats.org/drawingml/2006/main" xmlns:r="http://schemas.openxmlformats.org/officeDocument/2006/relationships" xmlns:p="http://schemas.openxmlformats.org/presentationml/2006/main">
  <p:tag name="ISLEGEND" val="true"/>
</p:tagLst>
</file>

<file path=ppt/tags/tag1671.xml><?xml version="1.0" encoding="utf-8"?>
<p:tagLst xmlns:a="http://schemas.openxmlformats.org/drawingml/2006/main" xmlns:r="http://schemas.openxmlformats.org/officeDocument/2006/relationships" xmlns:p="http://schemas.openxmlformats.org/presentationml/2006/main">
  <p:tag name="ISLEGEND" val="true"/>
</p:tagLst>
</file>

<file path=ppt/tags/tag1672.xml><?xml version="1.0" encoding="utf-8"?>
<p:tagLst xmlns:a="http://schemas.openxmlformats.org/drawingml/2006/main" xmlns:r="http://schemas.openxmlformats.org/officeDocument/2006/relationships" xmlns:p="http://schemas.openxmlformats.org/presentationml/2006/main">
  <p:tag name="ISLEGEND" val="true"/>
</p:tagLst>
</file>

<file path=ppt/tags/tag1673.xml><?xml version="1.0" encoding="utf-8"?>
<p:tagLst xmlns:a="http://schemas.openxmlformats.org/drawingml/2006/main" xmlns:r="http://schemas.openxmlformats.org/officeDocument/2006/relationships" xmlns:p="http://schemas.openxmlformats.org/presentationml/2006/main">
  <p:tag name="ISLEGEND" val="true"/>
</p:tagLst>
</file>

<file path=ppt/tags/tag1674.xml><?xml version="1.0" encoding="utf-8"?>
<p:tagLst xmlns:a="http://schemas.openxmlformats.org/drawingml/2006/main" xmlns:r="http://schemas.openxmlformats.org/officeDocument/2006/relationships" xmlns:p="http://schemas.openxmlformats.org/presentationml/2006/main">
  <p:tag name="ISLEGEND" val="true"/>
</p:tagLst>
</file>

<file path=ppt/tags/tag16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77.xml><?xml version="1.0" encoding="utf-8"?>
<p:tagLst xmlns:a="http://schemas.openxmlformats.org/drawingml/2006/main" xmlns:r="http://schemas.openxmlformats.org/officeDocument/2006/relationships" xmlns:p="http://schemas.openxmlformats.org/presentationml/2006/main">
  <p:tag name="NAME" val="Logo"/>
</p:tagLst>
</file>

<file path=ppt/tags/tag16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79.xml><?xml version="1.0" encoding="utf-8"?>
<p:tagLst xmlns:a="http://schemas.openxmlformats.org/drawingml/2006/main" xmlns:r="http://schemas.openxmlformats.org/officeDocument/2006/relationships" xmlns:p="http://schemas.openxmlformats.org/presentationml/2006/main">
  <p:tag name="NAME" val="Logo"/>
</p:tagLst>
</file>

<file path=ppt/tags/tag168.xml><?xml version="1.0" encoding="utf-8"?>
<p:tagLst xmlns:a="http://schemas.openxmlformats.org/drawingml/2006/main" xmlns:r="http://schemas.openxmlformats.org/officeDocument/2006/relationships" xmlns:p="http://schemas.openxmlformats.org/presentationml/2006/main">
  <p:tag name="ISLEGEND" val="true"/>
</p:tagLst>
</file>

<file path=ppt/tags/tag16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82.xml><?xml version="1.0" encoding="utf-8"?>
<p:tagLst xmlns:a="http://schemas.openxmlformats.org/drawingml/2006/main" xmlns:r="http://schemas.openxmlformats.org/officeDocument/2006/relationships" xmlns:p="http://schemas.openxmlformats.org/presentationml/2006/main">
  <p:tag name="THINKCELLSHAPEDONOTDELETE" val="tdUVaNioeQEy1srSxzx_jYw"/>
</p:tagLst>
</file>

<file path=ppt/tags/tag1683.xml><?xml version="1.0" encoding="utf-8"?>
<p:tagLst xmlns:a="http://schemas.openxmlformats.org/drawingml/2006/main" xmlns:r="http://schemas.openxmlformats.org/officeDocument/2006/relationships" xmlns:p="http://schemas.openxmlformats.org/presentationml/2006/main">
  <p:tag name="NAME" val="Moon"/>
</p:tagLst>
</file>

<file path=ppt/tags/tag1684.xml><?xml version="1.0" encoding="utf-8"?>
<p:tagLst xmlns:a="http://schemas.openxmlformats.org/drawingml/2006/main" xmlns:r="http://schemas.openxmlformats.org/officeDocument/2006/relationships" xmlns:p="http://schemas.openxmlformats.org/presentationml/2006/main">
  <p:tag name="NAME" val="Moon"/>
</p:tagLst>
</file>

<file path=ppt/tags/tag1685.xml><?xml version="1.0" encoding="utf-8"?>
<p:tagLst xmlns:a="http://schemas.openxmlformats.org/drawingml/2006/main" xmlns:r="http://schemas.openxmlformats.org/officeDocument/2006/relationships" xmlns:p="http://schemas.openxmlformats.org/presentationml/2006/main">
  <p:tag name="NAME" val="Moon"/>
</p:tagLst>
</file>

<file path=ppt/tags/tag1686.xml><?xml version="1.0" encoding="utf-8"?>
<p:tagLst xmlns:a="http://schemas.openxmlformats.org/drawingml/2006/main" xmlns:r="http://schemas.openxmlformats.org/officeDocument/2006/relationships" xmlns:p="http://schemas.openxmlformats.org/presentationml/2006/main">
  <p:tag name="NAME" val="Moon"/>
</p:tagLst>
</file>

<file path=ppt/tags/tag1687.xml><?xml version="1.0" encoding="utf-8"?>
<p:tagLst xmlns:a="http://schemas.openxmlformats.org/drawingml/2006/main" xmlns:r="http://schemas.openxmlformats.org/officeDocument/2006/relationships" xmlns:p="http://schemas.openxmlformats.org/presentationml/2006/main">
  <p:tag name="NAME" val="Moon"/>
</p:tagLst>
</file>

<file path=ppt/tags/tag1688.xml><?xml version="1.0" encoding="utf-8"?>
<p:tagLst xmlns:a="http://schemas.openxmlformats.org/drawingml/2006/main" xmlns:r="http://schemas.openxmlformats.org/officeDocument/2006/relationships" xmlns:p="http://schemas.openxmlformats.org/presentationml/2006/main">
  <p:tag name="ISLEGEND" val="true"/>
</p:tagLst>
</file>

<file path=ppt/tags/tag1689.xml><?xml version="1.0" encoding="utf-8"?>
<p:tagLst xmlns:a="http://schemas.openxmlformats.org/drawingml/2006/main" xmlns:r="http://schemas.openxmlformats.org/officeDocument/2006/relationships" xmlns:p="http://schemas.openxmlformats.org/presentationml/2006/main">
  <p:tag name="ISLEGEND" val="true"/>
</p:tagLst>
</file>

<file path=ppt/tags/tag169.xml><?xml version="1.0" encoding="utf-8"?>
<p:tagLst xmlns:a="http://schemas.openxmlformats.org/drawingml/2006/main" xmlns:r="http://schemas.openxmlformats.org/officeDocument/2006/relationships" xmlns:p="http://schemas.openxmlformats.org/presentationml/2006/main">
  <p:tag name="ISLEGEND" val="true"/>
</p:tagLst>
</file>

<file path=ppt/tags/tag1690.xml><?xml version="1.0" encoding="utf-8"?>
<p:tagLst xmlns:a="http://schemas.openxmlformats.org/drawingml/2006/main" xmlns:r="http://schemas.openxmlformats.org/officeDocument/2006/relationships" xmlns:p="http://schemas.openxmlformats.org/presentationml/2006/main">
  <p:tag name="ISLEGEND" val="true"/>
</p:tagLst>
</file>

<file path=ppt/tags/tag1691.xml><?xml version="1.0" encoding="utf-8"?>
<p:tagLst xmlns:a="http://schemas.openxmlformats.org/drawingml/2006/main" xmlns:r="http://schemas.openxmlformats.org/officeDocument/2006/relationships" xmlns:p="http://schemas.openxmlformats.org/presentationml/2006/main">
  <p:tag name="ISLEGEND" val="true"/>
</p:tagLst>
</file>

<file path=ppt/tags/tag1692.xml><?xml version="1.0" encoding="utf-8"?>
<p:tagLst xmlns:a="http://schemas.openxmlformats.org/drawingml/2006/main" xmlns:r="http://schemas.openxmlformats.org/officeDocument/2006/relationships" xmlns:p="http://schemas.openxmlformats.org/presentationml/2006/main">
  <p:tag name="ISLEGEND" val="true"/>
</p:tagLst>
</file>

<file path=ppt/tags/tag1693.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1694.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695.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696.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697.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698.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699.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7.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70.xml><?xml version="1.0" encoding="utf-8"?>
<p:tagLst xmlns:a="http://schemas.openxmlformats.org/drawingml/2006/main" xmlns:r="http://schemas.openxmlformats.org/officeDocument/2006/relationships" xmlns:p="http://schemas.openxmlformats.org/presentationml/2006/main">
  <p:tag name="ISLEGEND" val="true"/>
</p:tagLst>
</file>

<file path=ppt/tags/tag1700.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701.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702.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1703.xml><?xml version="1.0" encoding="utf-8"?>
<p:tagLst xmlns:a="http://schemas.openxmlformats.org/drawingml/2006/main" xmlns:r="http://schemas.openxmlformats.org/officeDocument/2006/relationships" xmlns:p="http://schemas.openxmlformats.org/presentationml/2006/main">
  <p:tag name="ISLEGEND" val="true"/>
</p:tagLst>
</file>

<file path=ppt/tags/tag1704.xml><?xml version="1.0" encoding="utf-8"?>
<p:tagLst xmlns:a="http://schemas.openxmlformats.org/drawingml/2006/main" xmlns:r="http://schemas.openxmlformats.org/officeDocument/2006/relationships" xmlns:p="http://schemas.openxmlformats.org/presentationml/2006/main">
  <p:tag name="ISLEGEND" val="true"/>
</p:tagLst>
</file>

<file path=ppt/tags/tag1705.xml><?xml version="1.0" encoding="utf-8"?>
<p:tagLst xmlns:a="http://schemas.openxmlformats.org/drawingml/2006/main" xmlns:r="http://schemas.openxmlformats.org/officeDocument/2006/relationships" xmlns:p="http://schemas.openxmlformats.org/presentationml/2006/main">
  <p:tag name="ISLEGEND" val="true"/>
</p:tagLst>
</file>

<file path=ppt/tags/tag1706.xml><?xml version="1.0" encoding="utf-8"?>
<p:tagLst xmlns:a="http://schemas.openxmlformats.org/drawingml/2006/main" xmlns:r="http://schemas.openxmlformats.org/officeDocument/2006/relationships" xmlns:p="http://schemas.openxmlformats.org/presentationml/2006/main">
  <p:tag name="ISLEGEND" val="true"/>
</p:tagLst>
</file>

<file path=ppt/tags/tag1707.xml><?xml version="1.0" encoding="utf-8"?>
<p:tagLst xmlns:a="http://schemas.openxmlformats.org/drawingml/2006/main" xmlns:r="http://schemas.openxmlformats.org/officeDocument/2006/relationships" xmlns:p="http://schemas.openxmlformats.org/presentationml/2006/main">
  <p:tag name="ISLEGEND" val="true"/>
</p:tagLst>
</file>

<file path=ppt/tags/tag1708.xml><?xml version="1.0" encoding="utf-8"?>
<p:tagLst xmlns:a="http://schemas.openxmlformats.org/drawingml/2006/main" xmlns:r="http://schemas.openxmlformats.org/officeDocument/2006/relationships" xmlns:p="http://schemas.openxmlformats.org/presentationml/2006/main">
  <p:tag name="ISLEGEND" val="true"/>
</p:tagLst>
</file>

<file path=ppt/tags/tag1709.xml><?xml version="1.0" encoding="utf-8"?>
<p:tagLst xmlns:a="http://schemas.openxmlformats.org/drawingml/2006/main" xmlns:r="http://schemas.openxmlformats.org/officeDocument/2006/relationships" xmlns:p="http://schemas.openxmlformats.org/presentationml/2006/main">
  <p:tag name="ISLEGEND" val="true"/>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12.xml><?xml version="1.0" encoding="utf-8"?>
<p:tagLst xmlns:a="http://schemas.openxmlformats.org/drawingml/2006/main" xmlns:r="http://schemas.openxmlformats.org/officeDocument/2006/relationships" xmlns:p="http://schemas.openxmlformats.org/presentationml/2006/main">
  <p:tag name="NAME" val="Logo"/>
</p:tagLst>
</file>

<file path=ppt/tags/tag17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14.xml><?xml version="1.0" encoding="utf-8"?>
<p:tagLst xmlns:a="http://schemas.openxmlformats.org/drawingml/2006/main" xmlns:r="http://schemas.openxmlformats.org/officeDocument/2006/relationships" xmlns:p="http://schemas.openxmlformats.org/presentationml/2006/main">
  <p:tag name="NAME" val="Logo"/>
</p:tagLst>
</file>

<file path=ppt/tags/tag17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17.xml><?xml version="1.0" encoding="utf-8"?>
<p:tagLst xmlns:a="http://schemas.openxmlformats.org/drawingml/2006/main" xmlns:r="http://schemas.openxmlformats.org/officeDocument/2006/relationships" xmlns:p="http://schemas.openxmlformats.org/presentationml/2006/main">
  <p:tag name="THINKCELLSHAPEDONOTDELETE" val="tdUVaNioeQEy1srSxzx_jYw"/>
</p:tagLst>
</file>

<file path=ppt/tags/tag1718.xml><?xml version="1.0" encoding="utf-8"?>
<p:tagLst xmlns:a="http://schemas.openxmlformats.org/drawingml/2006/main" xmlns:r="http://schemas.openxmlformats.org/officeDocument/2006/relationships" xmlns:p="http://schemas.openxmlformats.org/presentationml/2006/main">
  <p:tag name="NAME" val="Moon"/>
</p:tagLst>
</file>

<file path=ppt/tags/tag1719.xml><?xml version="1.0" encoding="utf-8"?>
<p:tagLst xmlns:a="http://schemas.openxmlformats.org/drawingml/2006/main" xmlns:r="http://schemas.openxmlformats.org/officeDocument/2006/relationships" xmlns:p="http://schemas.openxmlformats.org/presentationml/2006/main">
  <p:tag name="NAME" val="Moon"/>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20.xml><?xml version="1.0" encoding="utf-8"?>
<p:tagLst xmlns:a="http://schemas.openxmlformats.org/drawingml/2006/main" xmlns:r="http://schemas.openxmlformats.org/officeDocument/2006/relationships" xmlns:p="http://schemas.openxmlformats.org/presentationml/2006/main">
  <p:tag name="NAME" val="Moon"/>
</p:tagLst>
</file>

<file path=ppt/tags/tag1721.xml><?xml version="1.0" encoding="utf-8"?>
<p:tagLst xmlns:a="http://schemas.openxmlformats.org/drawingml/2006/main" xmlns:r="http://schemas.openxmlformats.org/officeDocument/2006/relationships" xmlns:p="http://schemas.openxmlformats.org/presentationml/2006/main">
  <p:tag name="NAME" val="Moon"/>
</p:tagLst>
</file>

<file path=ppt/tags/tag1722.xml><?xml version="1.0" encoding="utf-8"?>
<p:tagLst xmlns:a="http://schemas.openxmlformats.org/drawingml/2006/main" xmlns:r="http://schemas.openxmlformats.org/officeDocument/2006/relationships" xmlns:p="http://schemas.openxmlformats.org/presentationml/2006/main">
  <p:tag name="NAME" val="Moon"/>
</p:tagLst>
</file>

<file path=ppt/tags/tag1723.xml><?xml version="1.0" encoding="utf-8"?>
<p:tagLst xmlns:a="http://schemas.openxmlformats.org/drawingml/2006/main" xmlns:r="http://schemas.openxmlformats.org/officeDocument/2006/relationships" xmlns:p="http://schemas.openxmlformats.org/presentationml/2006/main">
  <p:tag name="ISLEGEND" val="true"/>
</p:tagLst>
</file>

<file path=ppt/tags/tag1724.xml><?xml version="1.0" encoding="utf-8"?>
<p:tagLst xmlns:a="http://schemas.openxmlformats.org/drawingml/2006/main" xmlns:r="http://schemas.openxmlformats.org/officeDocument/2006/relationships" xmlns:p="http://schemas.openxmlformats.org/presentationml/2006/main">
  <p:tag name="ISLEGEND" val="true"/>
</p:tagLst>
</file>

<file path=ppt/tags/tag1725.xml><?xml version="1.0" encoding="utf-8"?>
<p:tagLst xmlns:a="http://schemas.openxmlformats.org/drawingml/2006/main" xmlns:r="http://schemas.openxmlformats.org/officeDocument/2006/relationships" xmlns:p="http://schemas.openxmlformats.org/presentationml/2006/main">
  <p:tag name="ISLEGEND" val="true"/>
</p:tagLst>
</file>

<file path=ppt/tags/tag1726.xml><?xml version="1.0" encoding="utf-8"?>
<p:tagLst xmlns:a="http://schemas.openxmlformats.org/drawingml/2006/main" xmlns:r="http://schemas.openxmlformats.org/officeDocument/2006/relationships" xmlns:p="http://schemas.openxmlformats.org/presentationml/2006/main">
  <p:tag name="ISLEGEND" val="true"/>
</p:tagLst>
</file>

<file path=ppt/tags/tag1727.xml><?xml version="1.0" encoding="utf-8"?>
<p:tagLst xmlns:a="http://schemas.openxmlformats.org/drawingml/2006/main" xmlns:r="http://schemas.openxmlformats.org/officeDocument/2006/relationships" xmlns:p="http://schemas.openxmlformats.org/presentationml/2006/main">
  <p:tag name="ISLEGEND" val="true"/>
</p:tagLst>
</file>

<file path=ppt/tags/tag1728.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1729.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73.xml><?xml version="1.0" encoding="utf-8"?>
<p:tagLst xmlns:a="http://schemas.openxmlformats.org/drawingml/2006/main" xmlns:r="http://schemas.openxmlformats.org/officeDocument/2006/relationships" xmlns:p="http://schemas.openxmlformats.org/presentationml/2006/main">
  <p:tag name="NAME" val="Logo"/>
</p:tagLst>
</file>

<file path=ppt/tags/tag1730.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731.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732.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733.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734.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735.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736.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737.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1738.xml><?xml version="1.0" encoding="utf-8"?>
<p:tagLst xmlns:a="http://schemas.openxmlformats.org/drawingml/2006/main" xmlns:r="http://schemas.openxmlformats.org/officeDocument/2006/relationships" xmlns:p="http://schemas.openxmlformats.org/presentationml/2006/main">
  <p:tag name="ISLEGEND" val="true"/>
</p:tagLst>
</file>

<file path=ppt/tags/tag1739.xml><?xml version="1.0" encoding="utf-8"?>
<p:tagLst xmlns:a="http://schemas.openxmlformats.org/drawingml/2006/main" xmlns:r="http://schemas.openxmlformats.org/officeDocument/2006/relationships" xmlns:p="http://schemas.openxmlformats.org/presentationml/2006/main">
  <p:tag name="ISLEGEND" val="true"/>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40.xml><?xml version="1.0" encoding="utf-8"?>
<p:tagLst xmlns:a="http://schemas.openxmlformats.org/drawingml/2006/main" xmlns:r="http://schemas.openxmlformats.org/officeDocument/2006/relationships" xmlns:p="http://schemas.openxmlformats.org/presentationml/2006/main">
  <p:tag name="ISLEGEND" val="true"/>
</p:tagLst>
</file>

<file path=ppt/tags/tag1741.xml><?xml version="1.0" encoding="utf-8"?>
<p:tagLst xmlns:a="http://schemas.openxmlformats.org/drawingml/2006/main" xmlns:r="http://schemas.openxmlformats.org/officeDocument/2006/relationships" xmlns:p="http://schemas.openxmlformats.org/presentationml/2006/main">
  <p:tag name="ISLEGEND" val="true"/>
</p:tagLst>
</file>

<file path=ppt/tags/tag1742.xml><?xml version="1.0" encoding="utf-8"?>
<p:tagLst xmlns:a="http://schemas.openxmlformats.org/drawingml/2006/main" xmlns:r="http://schemas.openxmlformats.org/officeDocument/2006/relationships" xmlns:p="http://schemas.openxmlformats.org/presentationml/2006/main">
  <p:tag name="ISLEGEND" val="true"/>
</p:tagLst>
</file>

<file path=ppt/tags/tag1743.xml><?xml version="1.0" encoding="utf-8"?>
<p:tagLst xmlns:a="http://schemas.openxmlformats.org/drawingml/2006/main" xmlns:r="http://schemas.openxmlformats.org/officeDocument/2006/relationships" xmlns:p="http://schemas.openxmlformats.org/presentationml/2006/main">
  <p:tag name="ISLEGEND" val="true"/>
</p:tagLst>
</file>

<file path=ppt/tags/tag1744.xml><?xml version="1.0" encoding="utf-8"?>
<p:tagLst xmlns:a="http://schemas.openxmlformats.org/drawingml/2006/main" xmlns:r="http://schemas.openxmlformats.org/officeDocument/2006/relationships" xmlns:p="http://schemas.openxmlformats.org/presentationml/2006/main">
  <p:tag name="ISLEGEND" val="true"/>
</p:tagLst>
</file>

<file path=ppt/tags/tag17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47.xml><?xml version="1.0" encoding="utf-8"?>
<p:tagLst xmlns:a="http://schemas.openxmlformats.org/drawingml/2006/main" xmlns:r="http://schemas.openxmlformats.org/officeDocument/2006/relationships" xmlns:p="http://schemas.openxmlformats.org/presentationml/2006/main">
  <p:tag name="NAME" val="Logo"/>
</p:tagLst>
</file>

<file path=ppt/tags/tag17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49.xml><?xml version="1.0" encoding="utf-8"?>
<p:tagLst xmlns:a="http://schemas.openxmlformats.org/drawingml/2006/main" xmlns:r="http://schemas.openxmlformats.org/officeDocument/2006/relationships" xmlns:p="http://schemas.openxmlformats.org/presentationml/2006/main">
  <p:tag name="NAME" val="Logo"/>
</p:tagLst>
</file>

<file path=ppt/tags/tag175.xml><?xml version="1.0" encoding="utf-8"?>
<p:tagLst xmlns:a="http://schemas.openxmlformats.org/drawingml/2006/main" xmlns:r="http://schemas.openxmlformats.org/officeDocument/2006/relationships" xmlns:p="http://schemas.openxmlformats.org/presentationml/2006/main">
  <p:tag name="NAME" val="Logo"/>
</p:tagLst>
</file>

<file path=ppt/tags/tag17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52.xml><?xml version="1.0" encoding="utf-8"?>
<p:tagLst xmlns:a="http://schemas.openxmlformats.org/drawingml/2006/main" xmlns:r="http://schemas.openxmlformats.org/officeDocument/2006/relationships" xmlns:p="http://schemas.openxmlformats.org/presentationml/2006/main">
  <p:tag name="THINKCELLSHAPEDONOTDELETE" val="tdUVaNioeQEy1srSxzx_jYw"/>
</p:tagLst>
</file>

<file path=ppt/tags/tag1753.xml><?xml version="1.0" encoding="utf-8"?>
<p:tagLst xmlns:a="http://schemas.openxmlformats.org/drawingml/2006/main" xmlns:r="http://schemas.openxmlformats.org/officeDocument/2006/relationships" xmlns:p="http://schemas.openxmlformats.org/presentationml/2006/main">
  <p:tag name="NAME" val="Moon"/>
</p:tagLst>
</file>

<file path=ppt/tags/tag1754.xml><?xml version="1.0" encoding="utf-8"?>
<p:tagLst xmlns:a="http://schemas.openxmlformats.org/drawingml/2006/main" xmlns:r="http://schemas.openxmlformats.org/officeDocument/2006/relationships" xmlns:p="http://schemas.openxmlformats.org/presentationml/2006/main">
  <p:tag name="NAME" val="Moon"/>
</p:tagLst>
</file>

<file path=ppt/tags/tag1755.xml><?xml version="1.0" encoding="utf-8"?>
<p:tagLst xmlns:a="http://schemas.openxmlformats.org/drawingml/2006/main" xmlns:r="http://schemas.openxmlformats.org/officeDocument/2006/relationships" xmlns:p="http://schemas.openxmlformats.org/presentationml/2006/main">
  <p:tag name="NAME" val="Moon"/>
</p:tagLst>
</file>

<file path=ppt/tags/tag1756.xml><?xml version="1.0" encoding="utf-8"?>
<p:tagLst xmlns:a="http://schemas.openxmlformats.org/drawingml/2006/main" xmlns:r="http://schemas.openxmlformats.org/officeDocument/2006/relationships" xmlns:p="http://schemas.openxmlformats.org/presentationml/2006/main">
  <p:tag name="NAME" val="Moon"/>
</p:tagLst>
</file>

<file path=ppt/tags/tag1757.xml><?xml version="1.0" encoding="utf-8"?>
<p:tagLst xmlns:a="http://schemas.openxmlformats.org/drawingml/2006/main" xmlns:r="http://schemas.openxmlformats.org/officeDocument/2006/relationships" xmlns:p="http://schemas.openxmlformats.org/presentationml/2006/main">
  <p:tag name="NAME" val="Moon"/>
</p:tagLst>
</file>

<file path=ppt/tags/tag1758.xml><?xml version="1.0" encoding="utf-8"?>
<p:tagLst xmlns:a="http://schemas.openxmlformats.org/drawingml/2006/main" xmlns:r="http://schemas.openxmlformats.org/officeDocument/2006/relationships" xmlns:p="http://schemas.openxmlformats.org/presentationml/2006/main">
  <p:tag name="ISLEGEND" val="true"/>
</p:tagLst>
</file>

<file path=ppt/tags/tag1759.xml><?xml version="1.0" encoding="utf-8"?>
<p:tagLst xmlns:a="http://schemas.openxmlformats.org/drawingml/2006/main" xmlns:r="http://schemas.openxmlformats.org/officeDocument/2006/relationships" xmlns:p="http://schemas.openxmlformats.org/presentationml/2006/main">
  <p:tag name="ISLEGEND" val="true"/>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60.xml><?xml version="1.0" encoding="utf-8"?>
<p:tagLst xmlns:a="http://schemas.openxmlformats.org/drawingml/2006/main" xmlns:r="http://schemas.openxmlformats.org/officeDocument/2006/relationships" xmlns:p="http://schemas.openxmlformats.org/presentationml/2006/main">
  <p:tag name="ISLEGEND" val="true"/>
</p:tagLst>
</file>

<file path=ppt/tags/tag1761.xml><?xml version="1.0" encoding="utf-8"?>
<p:tagLst xmlns:a="http://schemas.openxmlformats.org/drawingml/2006/main" xmlns:r="http://schemas.openxmlformats.org/officeDocument/2006/relationships" xmlns:p="http://schemas.openxmlformats.org/presentationml/2006/main">
  <p:tag name="ISLEGEND" val="true"/>
</p:tagLst>
</file>

<file path=ppt/tags/tag1762.xml><?xml version="1.0" encoding="utf-8"?>
<p:tagLst xmlns:a="http://schemas.openxmlformats.org/drawingml/2006/main" xmlns:r="http://schemas.openxmlformats.org/officeDocument/2006/relationships" xmlns:p="http://schemas.openxmlformats.org/presentationml/2006/main">
  <p:tag name="ISLEGEND" val="true"/>
</p:tagLst>
</file>

<file path=ppt/tags/tag1763.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1764.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765.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766.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767.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768.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769.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70.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771.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772.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1773.xml><?xml version="1.0" encoding="utf-8"?>
<p:tagLst xmlns:a="http://schemas.openxmlformats.org/drawingml/2006/main" xmlns:r="http://schemas.openxmlformats.org/officeDocument/2006/relationships" xmlns:p="http://schemas.openxmlformats.org/presentationml/2006/main">
  <p:tag name="ISLEGEND" val="true"/>
</p:tagLst>
</file>

<file path=ppt/tags/tag1774.xml><?xml version="1.0" encoding="utf-8"?>
<p:tagLst xmlns:a="http://schemas.openxmlformats.org/drawingml/2006/main" xmlns:r="http://schemas.openxmlformats.org/officeDocument/2006/relationships" xmlns:p="http://schemas.openxmlformats.org/presentationml/2006/main">
  <p:tag name="ISLEGEND" val="true"/>
</p:tagLst>
</file>

<file path=ppt/tags/tag1775.xml><?xml version="1.0" encoding="utf-8"?>
<p:tagLst xmlns:a="http://schemas.openxmlformats.org/drawingml/2006/main" xmlns:r="http://schemas.openxmlformats.org/officeDocument/2006/relationships" xmlns:p="http://schemas.openxmlformats.org/presentationml/2006/main">
  <p:tag name="ISLEGEND" val="true"/>
</p:tagLst>
</file>

<file path=ppt/tags/tag1776.xml><?xml version="1.0" encoding="utf-8"?>
<p:tagLst xmlns:a="http://schemas.openxmlformats.org/drawingml/2006/main" xmlns:r="http://schemas.openxmlformats.org/officeDocument/2006/relationships" xmlns:p="http://schemas.openxmlformats.org/presentationml/2006/main">
  <p:tag name="ISLEGEND" val="true"/>
</p:tagLst>
</file>

<file path=ppt/tags/tag1777.xml><?xml version="1.0" encoding="utf-8"?>
<p:tagLst xmlns:a="http://schemas.openxmlformats.org/drawingml/2006/main" xmlns:r="http://schemas.openxmlformats.org/officeDocument/2006/relationships" xmlns:p="http://schemas.openxmlformats.org/presentationml/2006/main">
  <p:tag name="ISLEGEND" val="true"/>
</p:tagLst>
</file>

<file path=ppt/tags/tag1778.xml><?xml version="1.0" encoding="utf-8"?>
<p:tagLst xmlns:a="http://schemas.openxmlformats.org/drawingml/2006/main" xmlns:r="http://schemas.openxmlformats.org/officeDocument/2006/relationships" xmlns:p="http://schemas.openxmlformats.org/presentationml/2006/main">
  <p:tag name="ISLEGEND" val="true"/>
</p:tagLst>
</file>

<file path=ppt/tags/tag1779.xml><?xml version="1.0" encoding="utf-8"?>
<p:tagLst xmlns:a="http://schemas.openxmlformats.org/drawingml/2006/main" xmlns:r="http://schemas.openxmlformats.org/officeDocument/2006/relationships" xmlns:p="http://schemas.openxmlformats.org/presentationml/2006/main">
  <p:tag name="ISLEGEND" val="true"/>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dUVaNioeQEy1srSxzx_jYw"/>
</p:tagLst>
</file>

<file path=ppt/tags/tag17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82.xml><?xml version="1.0" encoding="utf-8"?>
<p:tagLst xmlns:a="http://schemas.openxmlformats.org/drawingml/2006/main" xmlns:r="http://schemas.openxmlformats.org/officeDocument/2006/relationships" xmlns:p="http://schemas.openxmlformats.org/presentationml/2006/main">
  <p:tag name="NAME" val="Logo"/>
</p:tagLst>
</file>

<file path=ppt/tags/tag17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84.xml><?xml version="1.0" encoding="utf-8"?>
<p:tagLst xmlns:a="http://schemas.openxmlformats.org/drawingml/2006/main" xmlns:r="http://schemas.openxmlformats.org/officeDocument/2006/relationships" xmlns:p="http://schemas.openxmlformats.org/presentationml/2006/main">
  <p:tag name="NAME" val="Logo"/>
</p:tagLst>
</file>

<file path=ppt/tags/tag17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86.xml><?xml version="1.0" encoding="utf-8"?>
<p:tagLst xmlns:a="http://schemas.openxmlformats.org/drawingml/2006/main" xmlns:r="http://schemas.openxmlformats.org/officeDocument/2006/relationships" xmlns:p="http://schemas.openxmlformats.org/presentationml/2006/main">
  <p:tag name="THINKCELLSHAPEDONOTDELETE" val="tdUVaNioeQEy1srSxzx_jYw"/>
</p:tagLst>
</file>

<file path=ppt/tags/tag1787.xml><?xml version="1.0" encoding="utf-8"?>
<p:tagLst xmlns:a="http://schemas.openxmlformats.org/drawingml/2006/main" xmlns:r="http://schemas.openxmlformats.org/officeDocument/2006/relationships" xmlns:p="http://schemas.openxmlformats.org/presentationml/2006/main">
  <p:tag name="NAME" val="Moon"/>
</p:tagLst>
</file>

<file path=ppt/tags/tag1788.xml><?xml version="1.0" encoding="utf-8"?>
<p:tagLst xmlns:a="http://schemas.openxmlformats.org/drawingml/2006/main" xmlns:r="http://schemas.openxmlformats.org/officeDocument/2006/relationships" xmlns:p="http://schemas.openxmlformats.org/presentationml/2006/main">
  <p:tag name="NAME" val="Moon"/>
</p:tagLst>
</file>

<file path=ppt/tags/tag1789.xml><?xml version="1.0" encoding="utf-8"?>
<p:tagLst xmlns:a="http://schemas.openxmlformats.org/drawingml/2006/main" xmlns:r="http://schemas.openxmlformats.org/officeDocument/2006/relationships" xmlns:p="http://schemas.openxmlformats.org/presentationml/2006/main">
  <p:tag name="NAME" val="Moon"/>
</p:tagLst>
</file>

<file path=ppt/tags/tag179.xml><?xml version="1.0" encoding="utf-8"?>
<p:tagLst xmlns:a="http://schemas.openxmlformats.org/drawingml/2006/main" xmlns:r="http://schemas.openxmlformats.org/officeDocument/2006/relationships" xmlns:p="http://schemas.openxmlformats.org/presentationml/2006/main">
  <p:tag name="NAME" val="Moon"/>
</p:tagLst>
</file>

<file path=ppt/tags/tag1790.xml><?xml version="1.0" encoding="utf-8"?>
<p:tagLst xmlns:a="http://schemas.openxmlformats.org/drawingml/2006/main" xmlns:r="http://schemas.openxmlformats.org/officeDocument/2006/relationships" xmlns:p="http://schemas.openxmlformats.org/presentationml/2006/main">
  <p:tag name="NAME" val="Moon"/>
</p:tagLst>
</file>

<file path=ppt/tags/tag1791.xml><?xml version="1.0" encoding="utf-8"?>
<p:tagLst xmlns:a="http://schemas.openxmlformats.org/drawingml/2006/main" xmlns:r="http://schemas.openxmlformats.org/officeDocument/2006/relationships" xmlns:p="http://schemas.openxmlformats.org/presentationml/2006/main">
  <p:tag name="NAME" val="Moon"/>
</p:tagLst>
</file>

<file path=ppt/tags/tag1792.xml><?xml version="1.0" encoding="utf-8"?>
<p:tagLst xmlns:a="http://schemas.openxmlformats.org/drawingml/2006/main" xmlns:r="http://schemas.openxmlformats.org/officeDocument/2006/relationships" xmlns:p="http://schemas.openxmlformats.org/presentationml/2006/main">
  <p:tag name="ISLEGEND" val="true"/>
</p:tagLst>
</file>

<file path=ppt/tags/tag1793.xml><?xml version="1.0" encoding="utf-8"?>
<p:tagLst xmlns:a="http://schemas.openxmlformats.org/drawingml/2006/main" xmlns:r="http://schemas.openxmlformats.org/officeDocument/2006/relationships" xmlns:p="http://schemas.openxmlformats.org/presentationml/2006/main">
  <p:tag name="ISLEGEND" val="true"/>
</p:tagLst>
</file>

<file path=ppt/tags/tag1794.xml><?xml version="1.0" encoding="utf-8"?>
<p:tagLst xmlns:a="http://schemas.openxmlformats.org/drawingml/2006/main" xmlns:r="http://schemas.openxmlformats.org/officeDocument/2006/relationships" xmlns:p="http://schemas.openxmlformats.org/presentationml/2006/main">
  <p:tag name="ISLEGEND" val="true"/>
</p:tagLst>
</file>

<file path=ppt/tags/tag1795.xml><?xml version="1.0" encoding="utf-8"?>
<p:tagLst xmlns:a="http://schemas.openxmlformats.org/drawingml/2006/main" xmlns:r="http://schemas.openxmlformats.org/officeDocument/2006/relationships" xmlns:p="http://schemas.openxmlformats.org/presentationml/2006/main">
  <p:tag name="ISLEGEND" val="true"/>
</p:tagLst>
</file>

<file path=ppt/tags/tag1796.xml><?xml version="1.0" encoding="utf-8"?>
<p:tagLst xmlns:a="http://schemas.openxmlformats.org/drawingml/2006/main" xmlns:r="http://schemas.openxmlformats.org/officeDocument/2006/relationships" xmlns:p="http://schemas.openxmlformats.org/presentationml/2006/main">
  <p:tag name="ISLEGEND" val="true"/>
</p:tagLst>
</file>

<file path=ppt/tags/tag1797.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1798.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799.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8.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80.xml><?xml version="1.0" encoding="utf-8"?>
<p:tagLst xmlns:a="http://schemas.openxmlformats.org/drawingml/2006/main" xmlns:r="http://schemas.openxmlformats.org/officeDocument/2006/relationships" xmlns:p="http://schemas.openxmlformats.org/presentationml/2006/main">
  <p:tag name="NAME" val="Moon"/>
</p:tagLst>
</file>

<file path=ppt/tags/tag1800.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801.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802.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803.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804.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805.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806.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1807.xml><?xml version="1.0" encoding="utf-8"?>
<p:tagLst xmlns:a="http://schemas.openxmlformats.org/drawingml/2006/main" xmlns:r="http://schemas.openxmlformats.org/officeDocument/2006/relationships" xmlns:p="http://schemas.openxmlformats.org/presentationml/2006/main">
  <p:tag name="ISLEGEND" val="true"/>
</p:tagLst>
</file>

<file path=ppt/tags/tag1808.xml><?xml version="1.0" encoding="utf-8"?>
<p:tagLst xmlns:a="http://schemas.openxmlformats.org/drawingml/2006/main" xmlns:r="http://schemas.openxmlformats.org/officeDocument/2006/relationships" xmlns:p="http://schemas.openxmlformats.org/presentationml/2006/main">
  <p:tag name="ISLEGEND" val="true"/>
</p:tagLst>
</file>

<file path=ppt/tags/tag1809.xml><?xml version="1.0" encoding="utf-8"?>
<p:tagLst xmlns:a="http://schemas.openxmlformats.org/drawingml/2006/main" xmlns:r="http://schemas.openxmlformats.org/officeDocument/2006/relationships" xmlns:p="http://schemas.openxmlformats.org/presentationml/2006/main">
  <p:tag name="ISLEGEND" val="true"/>
</p:tagLst>
</file>

<file path=ppt/tags/tag181.xml><?xml version="1.0" encoding="utf-8"?>
<p:tagLst xmlns:a="http://schemas.openxmlformats.org/drawingml/2006/main" xmlns:r="http://schemas.openxmlformats.org/officeDocument/2006/relationships" xmlns:p="http://schemas.openxmlformats.org/presentationml/2006/main">
  <p:tag name="NAME" val="Moon"/>
</p:tagLst>
</file>

<file path=ppt/tags/tag1810.xml><?xml version="1.0" encoding="utf-8"?>
<p:tagLst xmlns:a="http://schemas.openxmlformats.org/drawingml/2006/main" xmlns:r="http://schemas.openxmlformats.org/officeDocument/2006/relationships" xmlns:p="http://schemas.openxmlformats.org/presentationml/2006/main">
  <p:tag name="ISLEGEND" val="true"/>
</p:tagLst>
</file>

<file path=ppt/tags/tag1811.xml><?xml version="1.0" encoding="utf-8"?>
<p:tagLst xmlns:a="http://schemas.openxmlformats.org/drawingml/2006/main" xmlns:r="http://schemas.openxmlformats.org/officeDocument/2006/relationships" xmlns:p="http://schemas.openxmlformats.org/presentationml/2006/main">
  <p:tag name="ISLEGEND" val="true"/>
</p:tagLst>
</file>

<file path=ppt/tags/tag1812.xml><?xml version="1.0" encoding="utf-8"?>
<p:tagLst xmlns:a="http://schemas.openxmlformats.org/drawingml/2006/main" xmlns:r="http://schemas.openxmlformats.org/officeDocument/2006/relationships" xmlns:p="http://schemas.openxmlformats.org/presentationml/2006/main">
  <p:tag name="ISLEGEND" val="true"/>
</p:tagLst>
</file>

<file path=ppt/tags/tag1813.xml><?xml version="1.0" encoding="utf-8"?>
<p:tagLst xmlns:a="http://schemas.openxmlformats.org/drawingml/2006/main" xmlns:r="http://schemas.openxmlformats.org/officeDocument/2006/relationships" xmlns:p="http://schemas.openxmlformats.org/presentationml/2006/main">
  <p:tag name="ISLEGEND" val="true"/>
</p:tagLst>
</file>

<file path=ppt/tags/tag18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16.xml><?xml version="1.0" encoding="utf-8"?>
<p:tagLst xmlns:a="http://schemas.openxmlformats.org/drawingml/2006/main" xmlns:r="http://schemas.openxmlformats.org/officeDocument/2006/relationships" xmlns:p="http://schemas.openxmlformats.org/presentationml/2006/main">
  <p:tag name="NAME" val="Logo"/>
</p:tagLst>
</file>

<file path=ppt/tags/tag18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18.xml><?xml version="1.0" encoding="utf-8"?>
<p:tagLst xmlns:a="http://schemas.openxmlformats.org/drawingml/2006/main" xmlns:r="http://schemas.openxmlformats.org/officeDocument/2006/relationships" xmlns:p="http://schemas.openxmlformats.org/presentationml/2006/main">
  <p:tag name="NAME" val="Logo"/>
</p:tagLst>
</file>

<file path=ppt/tags/tag18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2.xml><?xml version="1.0" encoding="utf-8"?>
<p:tagLst xmlns:a="http://schemas.openxmlformats.org/drawingml/2006/main" xmlns:r="http://schemas.openxmlformats.org/officeDocument/2006/relationships" xmlns:p="http://schemas.openxmlformats.org/presentationml/2006/main">
  <p:tag name="NAME" val="Moon"/>
</p:tagLst>
</file>

<file path=ppt/tags/tag18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22.xml><?xml version="1.0" encoding="utf-8"?>
<p:tagLst xmlns:a="http://schemas.openxmlformats.org/drawingml/2006/main" xmlns:r="http://schemas.openxmlformats.org/officeDocument/2006/relationships" xmlns:p="http://schemas.openxmlformats.org/presentationml/2006/main">
  <p:tag name="NOPREFERENCE" val="False"/>
  <p:tag name="DELIMITERS" val="3.1"/>
</p:tagLst>
</file>

<file path=ppt/tags/tag18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24.xml><?xml version="1.0" encoding="utf-8"?>
<p:tagLst xmlns:a="http://schemas.openxmlformats.org/drawingml/2006/main" xmlns:r="http://schemas.openxmlformats.org/officeDocument/2006/relationships" xmlns:p="http://schemas.openxmlformats.org/presentationml/2006/main">
  <p:tag name="THINKCELLSHAPEDONOTDELETE" val="tqkaNmZ2b0Ee.EzWyW0sQng"/>
</p:tagLst>
</file>

<file path=ppt/tags/tag1825.xml><?xml version="1.0" encoding="utf-8"?>
<p:tagLst xmlns:a="http://schemas.openxmlformats.org/drawingml/2006/main" xmlns:r="http://schemas.openxmlformats.org/officeDocument/2006/relationships" xmlns:p="http://schemas.openxmlformats.org/presentationml/2006/main">
  <p:tag name="THINKCELLSHAPEDONOTDELETE" val="tVnAm.jbykkaKBtRkwXIxNw"/>
</p:tagLst>
</file>

<file path=ppt/tags/tag1826.xml><?xml version="1.0" encoding="utf-8"?>
<p:tagLst xmlns:a="http://schemas.openxmlformats.org/drawingml/2006/main" xmlns:r="http://schemas.openxmlformats.org/officeDocument/2006/relationships" xmlns:p="http://schemas.openxmlformats.org/presentationml/2006/main">
  <p:tag name="THINKCELLSHAPEDONOTDELETE" val="tJ0IaY9olc0GNP8yoVoo0sA"/>
</p:tagLst>
</file>

<file path=ppt/tags/tag1827.xml><?xml version="1.0" encoding="utf-8"?>
<p:tagLst xmlns:a="http://schemas.openxmlformats.org/drawingml/2006/main" xmlns:r="http://schemas.openxmlformats.org/officeDocument/2006/relationships" xmlns:p="http://schemas.openxmlformats.org/presentationml/2006/main">
  <p:tag name="THINKCELLSHAPEDONOTDELETE" val="tQ1jYWUU3vUmxhe.uN.xUFQ"/>
</p:tagLst>
</file>

<file path=ppt/tags/tag1828.xml><?xml version="1.0" encoding="utf-8"?>
<p:tagLst xmlns:a="http://schemas.openxmlformats.org/drawingml/2006/main" xmlns:r="http://schemas.openxmlformats.org/officeDocument/2006/relationships" xmlns:p="http://schemas.openxmlformats.org/presentationml/2006/main">
  <p:tag name="THINKCELLSHAPEDONOTDELETE" val="t.p5BX_p6gkOgQgtwQo8Hsw"/>
</p:tagLst>
</file>

<file path=ppt/tags/tag1829.xml><?xml version="1.0" encoding="utf-8"?>
<p:tagLst xmlns:a="http://schemas.openxmlformats.org/drawingml/2006/main" xmlns:r="http://schemas.openxmlformats.org/officeDocument/2006/relationships" xmlns:p="http://schemas.openxmlformats.org/presentationml/2006/main">
  <p:tag name="THINKCELLSHAPEDONOTDELETE" val="tusxH0epfyEqujq4Gubn5yg"/>
</p:tagLst>
</file>

<file path=ppt/tags/tag183.xml><?xml version="1.0" encoding="utf-8"?>
<p:tagLst xmlns:a="http://schemas.openxmlformats.org/drawingml/2006/main" xmlns:r="http://schemas.openxmlformats.org/officeDocument/2006/relationships" xmlns:p="http://schemas.openxmlformats.org/presentationml/2006/main">
  <p:tag name="NAME" val="Moon"/>
</p:tagLst>
</file>

<file path=ppt/tags/tag1830.xml><?xml version="1.0" encoding="utf-8"?>
<p:tagLst xmlns:a="http://schemas.openxmlformats.org/drawingml/2006/main" xmlns:r="http://schemas.openxmlformats.org/officeDocument/2006/relationships" xmlns:p="http://schemas.openxmlformats.org/presentationml/2006/main">
  <p:tag name="THINKCELLSHAPEDONOTDELETE" val="tP_YfEOkaMkK0cYXHuJJn3A"/>
</p:tagLst>
</file>

<file path=ppt/tags/tag1831.xml><?xml version="1.0" encoding="utf-8"?>
<p:tagLst xmlns:a="http://schemas.openxmlformats.org/drawingml/2006/main" xmlns:r="http://schemas.openxmlformats.org/officeDocument/2006/relationships" xmlns:p="http://schemas.openxmlformats.org/presentationml/2006/main">
  <p:tag name="THINKCELLSHAPEDONOTDELETE" val="tr0wOs5URckW_6UexEmneDQ"/>
</p:tagLst>
</file>

<file path=ppt/tags/tag1832.xml><?xml version="1.0" encoding="utf-8"?>
<p:tagLst xmlns:a="http://schemas.openxmlformats.org/drawingml/2006/main" xmlns:r="http://schemas.openxmlformats.org/officeDocument/2006/relationships" xmlns:p="http://schemas.openxmlformats.org/presentationml/2006/main">
  <p:tag name="THINKCELLSHAPEDONOTDELETE" val="tIA7Wru4Jj0mO8VHJFDKKuQ"/>
</p:tagLst>
</file>

<file path=ppt/tags/tag1833.xml><?xml version="1.0" encoding="utf-8"?>
<p:tagLst xmlns:a="http://schemas.openxmlformats.org/drawingml/2006/main" xmlns:r="http://schemas.openxmlformats.org/officeDocument/2006/relationships" xmlns:p="http://schemas.openxmlformats.org/presentationml/2006/main">
  <p:tag name="THINKCELLSHAPEDONOTDELETE" val="tQpZ7C5ztDUaxnU4pF2Ot0Q"/>
</p:tagLst>
</file>

<file path=ppt/tags/tag1834.xml><?xml version="1.0" encoding="utf-8"?>
<p:tagLst xmlns:a="http://schemas.openxmlformats.org/drawingml/2006/main" xmlns:r="http://schemas.openxmlformats.org/officeDocument/2006/relationships" xmlns:p="http://schemas.openxmlformats.org/presentationml/2006/main">
  <p:tag name="NOPREFERENCE" val="False"/>
  <p:tag name="DELIMITERS" val="3.1"/>
</p:tagLst>
</file>

<file path=ppt/tags/tag18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36.xml><?xml version="1.0" encoding="utf-8"?>
<p:tagLst xmlns:a="http://schemas.openxmlformats.org/drawingml/2006/main" xmlns:r="http://schemas.openxmlformats.org/officeDocument/2006/relationships" xmlns:p="http://schemas.openxmlformats.org/presentationml/2006/main">
  <p:tag name="THINKCELLSHAPEDONOTDELETE" val="tqkaNmZ2b0Ee.EzWyW0sQng"/>
</p:tagLst>
</file>

<file path=ppt/tags/tag1837.xml><?xml version="1.0" encoding="utf-8"?>
<p:tagLst xmlns:a="http://schemas.openxmlformats.org/drawingml/2006/main" xmlns:r="http://schemas.openxmlformats.org/officeDocument/2006/relationships" xmlns:p="http://schemas.openxmlformats.org/presentationml/2006/main">
  <p:tag name="NAME" val="Rectangle"/>
</p:tagLst>
</file>

<file path=ppt/tags/tag1838.xml><?xml version="1.0" encoding="utf-8"?>
<p:tagLst xmlns:a="http://schemas.openxmlformats.org/drawingml/2006/main" xmlns:r="http://schemas.openxmlformats.org/officeDocument/2006/relationships" xmlns:p="http://schemas.openxmlformats.org/presentationml/2006/main">
  <p:tag name="NOPREFERENCE" val="False"/>
</p:tagLst>
</file>

<file path=ppt/tags/tag18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4.xml><?xml version="1.0" encoding="utf-8"?>
<p:tagLst xmlns:a="http://schemas.openxmlformats.org/drawingml/2006/main" xmlns:r="http://schemas.openxmlformats.org/officeDocument/2006/relationships" xmlns:p="http://schemas.openxmlformats.org/presentationml/2006/main">
  <p:tag name="ISLEGEND" val="true"/>
</p:tagLst>
</file>

<file path=ppt/tags/tag1840.xml><?xml version="1.0" encoding="utf-8"?>
<p:tagLst xmlns:a="http://schemas.openxmlformats.org/drawingml/2006/main" xmlns:r="http://schemas.openxmlformats.org/officeDocument/2006/relationships" xmlns:p="http://schemas.openxmlformats.org/presentationml/2006/main">
  <p:tag name="RESIZE" val="Yes"/>
</p:tagLst>
</file>

<file path=ppt/tags/tag1841.xml><?xml version="1.0" encoding="utf-8"?>
<p:tagLst xmlns:a="http://schemas.openxmlformats.org/drawingml/2006/main" xmlns:r="http://schemas.openxmlformats.org/officeDocument/2006/relationships" xmlns:p="http://schemas.openxmlformats.org/presentationml/2006/main">
  <p:tag name="RESIZE" val="Yes"/>
</p:tagLst>
</file>

<file path=ppt/tags/tag1842.xml><?xml version="1.0" encoding="utf-8"?>
<p:tagLst xmlns:a="http://schemas.openxmlformats.org/drawingml/2006/main" xmlns:r="http://schemas.openxmlformats.org/officeDocument/2006/relationships" xmlns:p="http://schemas.openxmlformats.org/presentationml/2006/main">
  <p:tag name="NAME" val="Rectangle"/>
</p:tagLst>
</file>

<file path=ppt/tags/tag1843.xml><?xml version="1.0" encoding="utf-8"?>
<p:tagLst xmlns:a="http://schemas.openxmlformats.org/drawingml/2006/main" xmlns:r="http://schemas.openxmlformats.org/officeDocument/2006/relationships" xmlns:p="http://schemas.openxmlformats.org/presentationml/2006/main">
  <p:tag name="NAME" val="RectangleShape"/>
</p:tagLst>
</file>

<file path=ppt/tags/tag1844.xml><?xml version="1.0" encoding="utf-8"?>
<p:tagLst xmlns:a="http://schemas.openxmlformats.org/drawingml/2006/main" xmlns:r="http://schemas.openxmlformats.org/officeDocument/2006/relationships" xmlns:p="http://schemas.openxmlformats.org/presentationml/2006/main">
  <p:tag name="NAME" val="SingleBoatShape"/>
</p:tagLst>
</file>

<file path=ppt/tags/tag1845.xml><?xml version="1.0" encoding="utf-8"?>
<p:tagLst xmlns:a="http://schemas.openxmlformats.org/drawingml/2006/main" xmlns:r="http://schemas.openxmlformats.org/officeDocument/2006/relationships" xmlns:p="http://schemas.openxmlformats.org/presentationml/2006/main">
  <p:tag name="NAME" val="SingleBoatText"/>
</p:tagLst>
</file>

<file path=ppt/tags/tag1846.xml><?xml version="1.0" encoding="utf-8"?>
<p:tagLst xmlns:a="http://schemas.openxmlformats.org/drawingml/2006/main" xmlns:r="http://schemas.openxmlformats.org/officeDocument/2006/relationships" xmlns:p="http://schemas.openxmlformats.org/presentationml/2006/main">
  <p:tag name="NAME" val="SingleBoatShape"/>
</p:tagLst>
</file>

<file path=ppt/tags/tag1847.xml><?xml version="1.0" encoding="utf-8"?>
<p:tagLst xmlns:a="http://schemas.openxmlformats.org/drawingml/2006/main" xmlns:r="http://schemas.openxmlformats.org/officeDocument/2006/relationships" xmlns:p="http://schemas.openxmlformats.org/presentationml/2006/main">
  <p:tag name="NAME" val="SingleBoatText"/>
</p:tagLst>
</file>

<file path=ppt/tags/tag1848.xml><?xml version="1.0" encoding="utf-8"?>
<p:tagLst xmlns:a="http://schemas.openxmlformats.org/drawingml/2006/main" xmlns:r="http://schemas.openxmlformats.org/officeDocument/2006/relationships" xmlns:p="http://schemas.openxmlformats.org/presentationml/2006/main">
  <p:tag name="NAME" val="SingleBoatShape"/>
</p:tagLst>
</file>

<file path=ppt/tags/tag1849.xml><?xml version="1.0" encoding="utf-8"?>
<p:tagLst xmlns:a="http://schemas.openxmlformats.org/drawingml/2006/main" xmlns:r="http://schemas.openxmlformats.org/officeDocument/2006/relationships" xmlns:p="http://schemas.openxmlformats.org/presentationml/2006/main">
  <p:tag name="NAME" val="SingleBoatText"/>
</p:tagLst>
</file>

<file path=ppt/tags/tag185.xml><?xml version="1.0" encoding="utf-8"?>
<p:tagLst xmlns:a="http://schemas.openxmlformats.org/drawingml/2006/main" xmlns:r="http://schemas.openxmlformats.org/officeDocument/2006/relationships" xmlns:p="http://schemas.openxmlformats.org/presentationml/2006/main">
  <p:tag name="ISLEGEND" val="true"/>
</p:tagLst>
</file>

<file path=ppt/tags/tag18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51.xml><?xml version="1.0" encoding="utf-8"?>
<p:tagLst xmlns:a="http://schemas.openxmlformats.org/drawingml/2006/main" xmlns:r="http://schemas.openxmlformats.org/officeDocument/2006/relationships" xmlns:p="http://schemas.openxmlformats.org/presentationml/2006/main">
  <p:tag name="NAME" val="Rectangle"/>
</p:tagLst>
</file>

<file path=ppt/tags/tag1852.xml><?xml version="1.0" encoding="utf-8"?>
<p:tagLst xmlns:a="http://schemas.openxmlformats.org/drawingml/2006/main" xmlns:r="http://schemas.openxmlformats.org/officeDocument/2006/relationships" xmlns:p="http://schemas.openxmlformats.org/presentationml/2006/main">
  <p:tag name="NAME" val="Oval"/>
</p:tagLst>
</file>

<file path=ppt/tags/tag1853.xml><?xml version="1.0" encoding="utf-8"?>
<p:tagLst xmlns:a="http://schemas.openxmlformats.org/drawingml/2006/main" xmlns:r="http://schemas.openxmlformats.org/officeDocument/2006/relationships" xmlns:p="http://schemas.openxmlformats.org/presentationml/2006/main">
  <p:tag name="NAME" val="Oval"/>
</p:tagLst>
</file>

<file path=ppt/tags/tag1854.xml><?xml version="1.0" encoding="utf-8"?>
<p:tagLst xmlns:a="http://schemas.openxmlformats.org/drawingml/2006/main" xmlns:r="http://schemas.openxmlformats.org/officeDocument/2006/relationships" xmlns:p="http://schemas.openxmlformats.org/presentationml/2006/main">
  <p:tag name="NAME" val="Oval"/>
</p:tagLst>
</file>

<file path=ppt/tags/tag1855.xml><?xml version="1.0" encoding="utf-8"?>
<p:tagLst xmlns:a="http://schemas.openxmlformats.org/drawingml/2006/main" xmlns:r="http://schemas.openxmlformats.org/officeDocument/2006/relationships" xmlns:p="http://schemas.openxmlformats.org/presentationml/2006/main">
  <p:tag name="NAME" val="Oval"/>
</p:tagLst>
</file>

<file path=ppt/tags/tag1856.xml><?xml version="1.0" encoding="utf-8"?>
<p:tagLst xmlns:a="http://schemas.openxmlformats.org/drawingml/2006/main" xmlns:r="http://schemas.openxmlformats.org/officeDocument/2006/relationships" xmlns:p="http://schemas.openxmlformats.org/presentationml/2006/main">
  <p:tag name="NAME" val="Oval"/>
</p:tagLst>
</file>

<file path=ppt/tags/tag1857.xml><?xml version="1.0" encoding="utf-8"?>
<p:tagLst xmlns:a="http://schemas.openxmlformats.org/drawingml/2006/main" xmlns:r="http://schemas.openxmlformats.org/officeDocument/2006/relationships" xmlns:p="http://schemas.openxmlformats.org/presentationml/2006/main">
  <p:tag name="NAME" val="Oval"/>
</p:tagLst>
</file>

<file path=ppt/tags/tag1858.xml><?xml version="1.0" encoding="utf-8"?>
<p:tagLst xmlns:a="http://schemas.openxmlformats.org/drawingml/2006/main" xmlns:r="http://schemas.openxmlformats.org/officeDocument/2006/relationships" xmlns:p="http://schemas.openxmlformats.org/presentationml/2006/main">
  <p:tag name="NAME" val="Oval"/>
</p:tagLst>
</file>

<file path=ppt/tags/tag1859.xml><?xml version="1.0" encoding="utf-8"?>
<p:tagLst xmlns:a="http://schemas.openxmlformats.org/drawingml/2006/main" xmlns:r="http://schemas.openxmlformats.org/officeDocument/2006/relationships" xmlns:p="http://schemas.openxmlformats.org/presentationml/2006/main">
  <p:tag name="NAME" val="Oval"/>
</p:tagLst>
</file>

<file path=ppt/tags/tag186.xml><?xml version="1.0" encoding="utf-8"?>
<p:tagLst xmlns:a="http://schemas.openxmlformats.org/drawingml/2006/main" xmlns:r="http://schemas.openxmlformats.org/officeDocument/2006/relationships" xmlns:p="http://schemas.openxmlformats.org/presentationml/2006/main">
  <p:tag name="ISLEGEND" val="true"/>
</p:tagLst>
</file>

<file path=ppt/tags/tag1860.xml><?xml version="1.0" encoding="utf-8"?>
<p:tagLst xmlns:a="http://schemas.openxmlformats.org/drawingml/2006/main" xmlns:r="http://schemas.openxmlformats.org/officeDocument/2006/relationships" xmlns:p="http://schemas.openxmlformats.org/presentationml/2006/main">
  <p:tag name="ISLEGEND" val="true"/>
</p:tagLst>
</file>

<file path=ppt/tags/tag1861.xml><?xml version="1.0" encoding="utf-8"?>
<p:tagLst xmlns:a="http://schemas.openxmlformats.org/drawingml/2006/main" xmlns:r="http://schemas.openxmlformats.org/officeDocument/2006/relationships" xmlns:p="http://schemas.openxmlformats.org/presentationml/2006/main">
  <p:tag name="ISLEGEND" val="true"/>
</p:tagLst>
</file>

<file path=ppt/tags/tag18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63.xml><?xml version="1.0" encoding="utf-8"?>
<p:tagLst xmlns:a="http://schemas.openxmlformats.org/drawingml/2006/main" xmlns:r="http://schemas.openxmlformats.org/officeDocument/2006/relationships" xmlns:p="http://schemas.openxmlformats.org/presentationml/2006/main">
  <p:tag name="THINKCELLSHAPEDONOTDELETE" val="tbt3HmphmxE.Bhpi6io9T_Q"/>
</p:tagLst>
</file>

<file path=ppt/tags/tag1864.xml><?xml version="1.0" encoding="utf-8"?>
<p:tagLst xmlns:a="http://schemas.openxmlformats.org/drawingml/2006/main" xmlns:r="http://schemas.openxmlformats.org/officeDocument/2006/relationships" xmlns:p="http://schemas.openxmlformats.org/presentationml/2006/main">
  <p:tag name="NAME" val="Rectangle"/>
</p:tagLst>
</file>

<file path=ppt/tags/tag1865.xml><?xml version="1.0" encoding="utf-8"?>
<p:tagLst xmlns:a="http://schemas.openxmlformats.org/drawingml/2006/main" xmlns:r="http://schemas.openxmlformats.org/officeDocument/2006/relationships" xmlns:p="http://schemas.openxmlformats.org/presentationml/2006/main">
  <p:tag name="NAME" val="Rectangle"/>
</p:tagLst>
</file>

<file path=ppt/tags/tag1866.xml><?xml version="1.0" encoding="utf-8"?>
<p:tagLst xmlns:a="http://schemas.openxmlformats.org/drawingml/2006/main" xmlns:r="http://schemas.openxmlformats.org/officeDocument/2006/relationships" xmlns:p="http://schemas.openxmlformats.org/presentationml/2006/main">
  <p:tag name="NAME" val="Rectangle"/>
</p:tagLst>
</file>

<file path=ppt/tags/tag1867.xml><?xml version="1.0" encoding="utf-8"?>
<p:tagLst xmlns:a="http://schemas.openxmlformats.org/drawingml/2006/main" xmlns:r="http://schemas.openxmlformats.org/officeDocument/2006/relationships" xmlns:p="http://schemas.openxmlformats.org/presentationml/2006/main">
  <p:tag name="NAME" val="Rectangle"/>
</p:tagLst>
</file>

<file path=ppt/tags/tag18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69.xml><?xml version="1.0" encoding="utf-8"?>
<p:tagLst xmlns:a="http://schemas.openxmlformats.org/drawingml/2006/main" xmlns:r="http://schemas.openxmlformats.org/officeDocument/2006/relationships" xmlns:p="http://schemas.openxmlformats.org/presentationml/2006/main">
  <p:tag name="THINKCELLSHAPEDONOTDELETE" val="tGOM47572QISmZyAMxmjlgQ"/>
</p:tagLst>
</file>

<file path=ppt/tags/tag187.xml><?xml version="1.0" encoding="utf-8"?>
<p:tagLst xmlns:a="http://schemas.openxmlformats.org/drawingml/2006/main" xmlns:r="http://schemas.openxmlformats.org/officeDocument/2006/relationships" xmlns:p="http://schemas.openxmlformats.org/presentationml/2006/main">
  <p:tag name="ISLEGEND" val="true"/>
</p:tagLst>
</file>

<file path=ppt/tags/tag1870.xml><?xml version="1.0" encoding="utf-8"?>
<p:tagLst xmlns:a="http://schemas.openxmlformats.org/drawingml/2006/main" xmlns:r="http://schemas.openxmlformats.org/officeDocument/2006/relationships" xmlns:p="http://schemas.openxmlformats.org/presentationml/2006/main">
  <p:tag name="RESIZE" val="Yes"/>
</p:tagLst>
</file>

<file path=ppt/tags/tag1871.xml><?xml version="1.0" encoding="utf-8"?>
<p:tagLst xmlns:a="http://schemas.openxmlformats.org/drawingml/2006/main" xmlns:r="http://schemas.openxmlformats.org/officeDocument/2006/relationships" xmlns:p="http://schemas.openxmlformats.org/presentationml/2006/main">
  <p:tag name="THINKCELLSHAPEDONOTDELETE" val="pvzJ3imZdV0SkQKny45GPew"/>
</p:tagLst>
</file>

<file path=ppt/tags/tag1872.xml><?xml version="1.0" encoding="utf-8"?>
<p:tagLst xmlns:a="http://schemas.openxmlformats.org/drawingml/2006/main" xmlns:r="http://schemas.openxmlformats.org/officeDocument/2006/relationships" xmlns:p="http://schemas.openxmlformats.org/presentationml/2006/main">
  <p:tag name="THINKCELLSHAPEDONOTDELETE" val="pGJqmVAw7QEmC09.8tmqAYg"/>
</p:tagLst>
</file>

<file path=ppt/tags/tag1873.xml><?xml version="1.0" encoding="utf-8"?>
<p:tagLst xmlns:a="http://schemas.openxmlformats.org/drawingml/2006/main" xmlns:r="http://schemas.openxmlformats.org/officeDocument/2006/relationships" xmlns:p="http://schemas.openxmlformats.org/presentationml/2006/main">
  <p:tag name="THINKCELLSHAPEDONOTDELETE" val="pGJqmVAw7QEmC09.8tmqAYg"/>
</p:tagLst>
</file>

<file path=ppt/tags/tag1874.xml><?xml version="1.0" encoding="utf-8"?>
<p:tagLst xmlns:a="http://schemas.openxmlformats.org/drawingml/2006/main" xmlns:r="http://schemas.openxmlformats.org/officeDocument/2006/relationships" xmlns:p="http://schemas.openxmlformats.org/presentationml/2006/main">
  <p:tag name="THINKCELLSHAPEDONOTDELETE" val="pGJqmVAw7QEmC09.8tmqAYg"/>
</p:tagLst>
</file>

<file path=ppt/tags/tag1875.xml><?xml version="1.0" encoding="utf-8"?>
<p:tagLst xmlns:a="http://schemas.openxmlformats.org/drawingml/2006/main" xmlns:r="http://schemas.openxmlformats.org/officeDocument/2006/relationships" xmlns:p="http://schemas.openxmlformats.org/presentationml/2006/main">
  <p:tag name="THINKCELLSHAPEDONOTDELETE" val="pGJqmVAw7QEmC09.8tmqAYg"/>
</p:tagLst>
</file>

<file path=ppt/tags/tag1876.xml><?xml version="1.0" encoding="utf-8"?>
<p:tagLst xmlns:a="http://schemas.openxmlformats.org/drawingml/2006/main" xmlns:r="http://schemas.openxmlformats.org/officeDocument/2006/relationships" xmlns:p="http://schemas.openxmlformats.org/presentationml/2006/main">
  <p:tag name="THINKCELLSHAPEDONOTDELETE" val="pGJqmVAw7QEmC09.8tmqAYg"/>
</p:tagLst>
</file>

<file path=ppt/tags/tag1877.xml><?xml version="1.0" encoding="utf-8"?>
<p:tagLst xmlns:a="http://schemas.openxmlformats.org/drawingml/2006/main" xmlns:r="http://schemas.openxmlformats.org/officeDocument/2006/relationships" xmlns:p="http://schemas.openxmlformats.org/presentationml/2006/main">
  <p:tag name="THINKCELLSHAPEDONOTDELETE" val="pGJqmVAw7QEmC09.8tmqAYg"/>
</p:tagLst>
</file>

<file path=ppt/tags/tag18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79.xml><?xml version="1.0" encoding="utf-8"?>
<p:tagLst xmlns:a="http://schemas.openxmlformats.org/drawingml/2006/main" xmlns:r="http://schemas.openxmlformats.org/officeDocument/2006/relationships" xmlns:p="http://schemas.openxmlformats.org/presentationml/2006/main">
  <p:tag name="THINKCELLSHAPEDONOTDELETE" val="tcFSj9kaD.U6rNegH7rREeQ"/>
</p:tagLst>
</file>

<file path=ppt/tags/tag188.xml><?xml version="1.0" encoding="utf-8"?>
<p:tagLst xmlns:a="http://schemas.openxmlformats.org/drawingml/2006/main" xmlns:r="http://schemas.openxmlformats.org/officeDocument/2006/relationships" xmlns:p="http://schemas.openxmlformats.org/presentationml/2006/main">
  <p:tag name="ISLEGEND" val="true"/>
</p:tagLst>
</file>

<file path=ppt/tags/tag1880.xml><?xml version="1.0" encoding="utf-8"?>
<p:tagLst xmlns:a="http://schemas.openxmlformats.org/drawingml/2006/main" xmlns:r="http://schemas.openxmlformats.org/officeDocument/2006/relationships" xmlns:p="http://schemas.openxmlformats.org/presentationml/2006/main">
  <p:tag name="THINKCELLSHAPEDONOTDELETE" val="tXBTr9LQ7QkqFx7pV1uIlsA"/>
</p:tagLst>
</file>

<file path=ppt/tags/tag1881.xml><?xml version="1.0" encoding="utf-8"?>
<p:tagLst xmlns:a="http://schemas.openxmlformats.org/drawingml/2006/main" xmlns:r="http://schemas.openxmlformats.org/officeDocument/2006/relationships" xmlns:p="http://schemas.openxmlformats.org/presentationml/2006/main">
  <p:tag name="THINKCELLSHAPEDONOTDELETE" val="taF4tXtpwTFKOV4HIaHL.7w"/>
</p:tagLst>
</file>

<file path=ppt/tags/tag1882.xml><?xml version="1.0" encoding="utf-8"?>
<p:tagLst xmlns:a="http://schemas.openxmlformats.org/drawingml/2006/main" xmlns:r="http://schemas.openxmlformats.org/officeDocument/2006/relationships" xmlns:p="http://schemas.openxmlformats.org/presentationml/2006/main">
  <p:tag name="THINKCELLSHAPEDONOTDELETE" val="tOt9SXvWuSAqLdzXhFktkjw"/>
</p:tagLst>
</file>

<file path=ppt/tags/tag1883.xml><?xml version="1.0" encoding="utf-8"?>
<p:tagLst xmlns:a="http://schemas.openxmlformats.org/drawingml/2006/main" xmlns:r="http://schemas.openxmlformats.org/officeDocument/2006/relationships" xmlns:p="http://schemas.openxmlformats.org/presentationml/2006/main">
  <p:tag name="THINKCELLSHAPEDONOTDELETE" val="tHdix4tsJQTK_4JgnXfIYJw"/>
</p:tagLst>
</file>

<file path=ppt/tags/tag1884.xml><?xml version="1.0" encoding="utf-8"?>
<p:tagLst xmlns:a="http://schemas.openxmlformats.org/drawingml/2006/main" xmlns:r="http://schemas.openxmlformats.org/officeDocument/2006/relationships" xmlns:p="http://schemas.openxmlformats.org/presentationml/2006/main">
  <p:tag name="THINKCELLSHAPEDONOTDELETE" val="tkua10v9HSCapZdd1WselYg"/>
</p:tagLst>
</file>

<file path=ppt/tags/tag1885.xml><?xml version="1.0" encoding="utf-8"?>
<p:tagLst xmlns:a="http://schemas.openxmlformats.org/drawingml/2006/main" xmlns:r="http://schemas.openxmlformats.org/officeDocument/2006/relationships" xmlns:p="http://schemas.openxmlformats.org/presentationml/2006/main">
  <p:tag name="THINKCELLSHAPEDONOTDELETE" val="tQ2LfgElwSpCF.G6i8Z_beg"/>
</p:tagLst>
</file>

<file path=ppt/tags/tag1886.xml><?xml version="1.0" encoding="utf-8"?>
<p:tagLst xmlns:a="http://schemas.openxmlformats.org/drawingml/2006/main" xmlns:r="http://schemas.openxmlformats.org/officeDocument/2006/relationships" xmlns:p="http://schemas.openxmlformats.org/presentationml/2006/main">
  <p:tag name="RESIZE" val="Yes"/>
</p:tagLst>
</file>

<file path=ppt/tags/tag1887.xml><?xml version="1.0" encoding="utf-8"?>
<p:tagLst xmlns:a="http://schemas.openxmlformats.org/drawingml/2006/main" xmlns:r="http://schemas.openxmlformats.org/officeDocument/2006/relationships" xmlns:p="http://schemas.openxmlformats.org/presentationml/2006/main">
  <p:tag name="NOPREFERENCE" val="False"/>
  <p:tag name="DELIMITERS" val="3.1"/>
</p:tagLst>
</file>

<file path=ppt/tags/tag18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89.xml><?xml version="1.0" encoding="utf-8"?>
<p:tagLst xmlns:a="http://schemas.openxmlformats.org/drawingml/2006/main" xmlns:r="http://schemas.openxmlformats.org/officeDocument/2006/relationships" xmlns:p="http://schemas.openxmlformats.org/presentationml/2006/main">
  <p:tag name="RESIZE" val="Yes"/>
</p:tagLst>
</file>

<file path=ppt/tags/tag189.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1890.xml><?xml version="1.0" encoding="utf-8"?>
<p:tagLst xmlns:a="http://schemas.openxmlformats.org/drawingml/2006/main" xmlns:r="http://schemas.openxmlformats.org/officeDocument/2006/relationships" xmlns:p="http://schemas.openxmlformats.org/presentationml/2006/main">
  <p:tag name="NAME" val="Rectangle"/>
</p:tagLst>
</file>

<file path=ppt/tags/tag18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92.xml><?xml version="1.0" encoding="utf-8"?>
<p:tagLst xmlns:a="http://schemas.openxmlformats.org/drawingml/2006/main" xmlns:r="http://schemas.openxmlformats.org/officeDocument/2006/relationships" xmlns:p="http://schemas.openxmlformats.org/presentationml/2006/main">
  <p:tag name="THINKCELLSHAPEDONOTDELETE" val="tqkaNmZ2b0Ee.EzWyW0sQng"/>
</p:tagLst>
</file>

<file path=ppt/tags/tag1893.xml><?xml version="1.0" encoding="utf-8"?>
<p:tagLst xmlns:a="http://schemas.openxmlformats.org/drawingml/2006/main" xmlns:r="http://schemas.openxmlformats.org/officeDocument/2006/relationships" xmlns:p="http://schemas.openxmlformats.org/presentationml/2006/main">
  <p:tag name="RESIZE" val="Yes"/>
</p:tagLst>
</file>

<file path=ppt/tags/tag1894.xml><?xml version="1.0" encoding="utf-8"?>
<p:tagLst xmlns:a="http://schemas.openxmlformats.org/drawingml/2006/main" xmlns:r="http://schemas.openxmlformats.org/officeDocument/2006/relationships" xmlns:p="http://schemas.openxmlformats.org/presentationml/2006/main">
  <p:tag name="THINKCELLSHAPEDONOTDELETE" val="t6Gebv9nuq0mxgdDsB1iCdQ"/>
</p:tagLst>
</file>

<file path=ppt/tags/tag1895.xml><?xml version="1.0" encoding="utf-8"?>
<p:tagLst xmlns:a="http://schemas.openxmlformats.org/drawingml/2006/main" xmlns:r="http://schemas.openxmlformats.org/officeDocument/2006/relationships" xmlns:p="http://schemas.openxmlformats.org/presentationml/2006/main">
  <p:tag name="THINKCELLSHAPEDONOTDELETE" val="teBqy0LpjJ0u5KpaUys6SRg"/>
</p:tagLst>
</file>

<file path=ppt/tags/tag1896.xml><?xml version="1.0" encoding="utf-8"?>
<p:tagLst xmlns:a="http://schemas.openxmlformats.org/drawingml/2006/main" xmlns:r="http://schemas.openxmlformats.org/officeDocument/2006/relationships" xmlns:p="http://schemas.openxmlformats.org/presentationml/2006/main">
  <p:tag name="THINKCELLSHAPEDONOTDELETE" val="t1_VJEO1OQ0aqXo7uPgoRrA"/>
</p:tagLst>
</file>

<file path=ppt/tags/tag1897.xml><?xml version="1.0" encoding="utf-8"?>
<p:tagLst xmlns:a="http://schemas.openxmlformats.org/drawingml/2006/main" xmlns:r="http://schemas.openxmlformats.org/officeDocument/2006/relationships" xmlns:p="http://schemas.openxmlformats.org/presentationml/2006/main">
  <p:tag name="THINKCELLSHAPEDONOTDELETE" val="tB58dFJ83SOOXji47KojDYA"/>
</p:tagLst>
</file>

<file path=ppt/tags/tag1898.xml><?xml version="1.0" encoding="utf-8"?>
<p:tagLst xmlns:a="http://schemas.openxmlformats.org/drawingml/2006/main" xmlns:r="http://schemas.openxmlformats.org/officeDocument/2006/relationships" xmlns:p="http://schemas.openxmlformats.org/presentationml/2006/main">
  <p:tag name="THINKCELLSHAPEDONOTDELETE" val="tGyrKs1KDQuC03hzuJKWudw"/>
</p:tagLst>
</file>

<file path=ppt/tags/tag1899.xml><?xml version="1.0" encoding="utf-8"?>
<p:tagLst xmlns:a="http://schemas.openxmlformats.org/drawingml/2006/main" xmlns:r="http://schemas.openxmlformats.org/officeDocument/2006/relationships" xmlns:p="http://schemas.openxmlformats.org/presentationml/2006/main">
  <p:tag name="THINKCELLSHAPEDONOTDELETE" val="t5bRbHuN1Q42ToxVMZfgw3A"/>
</p:tagLst>
</file>

<file path=ppt/tags/tag19.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90.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900.xml><?xml version="1.0" encoding="utf-8"?>
<p:tagLst xmlns:a="http://schemas.openxmlformats.org/drawingml/2006/main" xmlns:r="http://schemas.openxmlformats.org/officeDocument/2006/relationships" xmlns:p="http://schemas.openxmlformats.org/presentationml/2006/main">
  <p:tag name="THINKCELLSHAPEDONOTDELETE" val="t7DN8.jF2SV2ojIHxYnXEEw"/>
</p:tagLst>
</file>

<file path=ppt/tags/tag1901.xml><?xml version="1.0" encoding="utf-8"?>
<p:tagLst xmlns:a="http://schemas.openxmlformats.org/drawingml/2006/main" xmlns:r="http://schemas.openxmlformats.org/officeDocument/2006/relationships" xmlns:p="http://schemas.openxmlformats.org/presentationml/2006/main">
  <p:tag name="THINKCELLSHAPEDONOTDELETE" val="t4cliAFYZRFm2KO3FKuaHLw"/>
</p:tagLst>
</file>

<file path=ppt/tags/tag1902.xml><?xml version="1.0" encoding="utf-8"?>
<p:tagLst xmlns:a="http://schemas.openxmlformats.org/drawingml/2006/main" xmlns:r="http://schemas.openxmlformats.org/officeDocument/2006/relationships" xmlns:p="http://schemas.openxmlformats.org/presentationml/2006/main">
  <p:tag name="THINKCELLSHAPEDONOTDELETE" val="tH9Xj3gSbTkiHwuhvn7EHVg"/>
</p:tagLst>
</file>

<file path=ppt/tags/tag1903.xml><?xml version="1.0" encoding="utf-8"?>
<p:tagLst xmlns:a="http://schemas.openxmlformats.org/drawingml/2006/main" xmlns:r="http://schemas.openxmlformats.org/officeDocument/2006/relationships" xmlns:p="http://schemas.openxmlformats.org/presentationml/2006/main">
  <p:tag name="THINKCELLSHAPEDONOTDELETE" val="t0Fzbx8_gTUydsajoYOQIrQ"/>
</p:tagLst>
</file>

<file path=ppt/tags/tag1904.xml><?xml version="1.0" encoding="utf-8"?>
<p:tagLst xmlns:a="http://schemas.openxmlformats.org/drawingml/2006/main" xmlns:r="http://schemas.openxmlformats.org/officeDocument/2006/relationships" xmlns:p="http://schemas.openxmlformats.org/presentationml/2006/main">
  <p:tag name="THINKCELLSHAPEDONOTDELETE" val="tmF_sVRgNS76_wXnF0sCr2Q"/>
</p:tagLst>
</file>

<file path=ppt/tags/tag1905.xml><?xml version="1.0" encoding="utf-8"?>
<p:tagLst xmlns:a="http://schemas.openxmlformats.org/drawingml/2006/main" xmlns:r="http://schemas.openxmlformats.org/officeDocument/2006/relationships" xmlns:p="http://schemas.openxmlformats.org/presentationml/2006/main">
  <p:tag name="THINKCELLSHAPEDONOTDELETE" val="t1xJ4T97hQFmUUYIOZwR_PA"/>
</p:tagLst>
</file>

<file path=ppt/tags/tag1906.xml><?xml version="1.0" encoding="utf-8"?>
<p:tagLst xmlns:a="http://schemas.openxmlformats.org/drawingml/2006/main" xmlns:r="http://schemas.openxmlformats.org/officeDocument/2006/relationships" xmlns:p="http://schemas.openxmlformats.org/presentationml/2006/main">
  <p:tag name="THINKCELLSHAPEDONOTDELETE" val="tgSj4VaYaQQydymgbV6_Axw"/>
</p:tagLst>
</file>

<file path=ppt/tags/tag1907.xml><?xml version="1.0" encoding="utf-8"?>
<p:tagLst xmlns:a="http://schemas.openxmlformats.org/drawingml/2006/main" xmlns:r="http://schemas.openxmlformats.org/officeDocument/2006/relationships" xmlns:p="http://schemas.openxmlformats.org/presentationml/2006/main">
  <p:tag name="THINKCELLSHAPEDONOTDELETE" val="t5oQhZVGsT7SICg.bDWyYcg"/>
</p:tagLst>
</file>

<file path=ppt/tags/tag1908.xml><?xml version="1.0" encoding="utf-8"?>
<p:tagLst xmlns:a="http://schemas.openxmlformats.org/drawingml/2006/main" xmlns:r="http://schemas.openxmlformats.org/officeDocument/2006/relationships" xmlns:p="http://schemas.openxmlformats.org/presentationml/2006/main">
  <p:tag name="THINKCELLSHAPEDONOTDELETE" val="tqlQElj.fQxO2ToC9hUC1Sw"/>
</p:tagLst>
</file>

<file path=ppt/tags/tag1909.xml><?xml version="1.0" encoding="utf-8"?>
<p:tagLst xmlns:a="http://schemas.openxmlformats.org/drawingml/2006/main" xmlns:r="http://schemas.openxmlformats.org/officeDocument/2006/relationships" xmlns:p="http://schemas.openxmlformats.org/presentationml/2006/main">
  <p:tag name="THINKCELLSHAPEDONOTDELETE" val="tISTXlTy5SZaAA18u6HPvqQ"/>
</p:tagLst>
</file>

<file path=ppt/tags/tag191.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910.xml><?xml version="1.0" encoding="utf-8"?>
<p:tagLst xmlns:a="http://schemas.openxmlformats.org/drawingml/2006/main" xmlns:r="http://schemas.openxmlformats.org/officeDocument/2006/relationships" xmlns:p="http://schemas.openxmlformats.org/presentationml/2006/main">
  <p:tag name="THINKCELLSHAPEDONOTDELETE" val="tLCdtzhnVQ5GRQlIp5lP57g"/>
</p:tagLst>
</file>

<file path=ppt/tags/tag1911.xml><?xml version="1.0" encoding="utf-8"?>
<p:tagLst xmlns:a="http://schemas.openxmlformats.org/drawingml/2006/main" xmlns:r="http://schemas.openxmlformats.org/officeDocument/2006/relationships" xmlns:p="http://schemas.openxmlformats.org/presentationml/2006/main">
  <p:tag name="THINKCELLSHAPEDONOTDELETE" val="t9TKVPsooRi6MSQHg2hxnSA"/>
</p:tagLst>
</file>

<file path=ppt/tags/tag1912.xml><?xml version="1.0" encoding="utf-8"?>
<p:tagLst xmlns:a="http://schemas.openxmlformats.org/drawingml/2006/main" xmlns:r="http://schemas.openxmlformats.org/officeDocument/2006/relationships" xmlns:p="http://schemas.openxmlformats.org/presentationml/2006/main">
  <p:tag name="THINKCELLSHAPEDONOTDELETE" val="tVOGTo9iPTRe04lFO5McEOg"/>
</p:tagLst>
</file>

<file path=ppt/tags/tag1913.xml><?xml version="1.0" encoding="utf-8"?>
<p:tagLst xmlns:a="http://schemas.openxmlformats.org/drawingml/2006/main" xmlns:r="http://schemas.openxmlformats.org/officeDocument/2006/relationships" xmlns:p="http://schemas.openxmlformats.org/presentationml/2006/main">
  <p:tag name="THINKCELLSHAPEDONOTDELETE" val="ty1rGRyuhSymTSP5._4vHiA"/>
</p:tagLst>
</file>

<file path=ppt/tags/tag1914.xml><?xml version="1.0" encoding="utf-8"?>
<p:tagLst xmlns:a="http://schemas.openxmlformats.org/drawingml/2006/main" xmlns:r="http://schemas.openxmlformats.org/officeDocument/2006/relationships" xmlns:p="http://schemas.openxmlformats.org/presentationml/2006/main">
  <p:tag name="THINKCELLSHAPEDONOTDELETE" val="tbgFYtSjhSSiPVXn3Rg3ZMw"/>
</p:tagLst>
</file>

<file path=ppt/tags/tag1915.xml><?xml version="1.0" encoding="utf-8"?>
<p:tagLst xmlns:a="http://schemas.openxmlformats.org/drawingml/2006/main" xmlns:r="http://schemas.openxmlformats.org/officeDocument/2006/relationships" xmlns:p="http://schemas.openxmlformats.org/presentationml/2006/main">
  <p:tag name="THINKCELLSHAPEDONOTDELETE" val="tUaH8jg3NSbmh_C2MaUTZvw"/>
</p:tagLst>
</file>

<file path=ppt/tags/tag1916.xml><?xml version="1.0" encoding="utf-8"?>
<p:tagLst xmlns:a="http://schemas.openxmlformats.org/drawingml/2006/main" xmlns:r="http://schemas.openxmlformats.org/officeDocument/2006/relationships" xmlns:p="http://schemas.openxmlformats.org/presentationml/2006/main">
  <p:tag name="THINKCELLSHAPEDONOTDELETE" val="tk9g4zMOGR8WMXWzeaWnqKg"/>
</p:tagLst>
</file>

<file path=ppt/tags/tag1917.xml><?xml version="1.0" encoding="utf-8"?>
<p:tagLst xmlns:a="http://schemas.openxmlformats.org/drawingml/2006/main" xmlns:r="http://schemas.openxmlformats.org/officeDocument/2006/relationships" xmlns:p="http://schemas.openxmlformats.org/presentationml/2006/main">
  <p:tag name="THINKCELLSHAPEDONOTDELETE" val="tL5mCWtJCS4aEIbmr15o7eA"/>
</p:tagLst>
</file>

<file path=ppt/tags/tag1918.xml><?xml version="1.0" encoding="utf-8"?>
<p:tagLst xmlns:a="http://schemas.openxmlformats.org/drawingml/2006/main" xmlns:r="http://schemas.openxmlformats.org/officeDocument/2006/relationships" xmlns:p="http://schemas.openxmlformats.org/presentationml/2006/main">
  <p:tag name="THINKCELLSHAPEDONOTDELETE" val="tDHKaGkEqRlePx7uDZwOFMQ"/>
</p:tagLst>
</file>

<file path=ppt/tags/tag1919.xml><?xml version="1.0" encoding="utf-8"?>
<p:tagLst xmlns:a="http://schemas.openxmlformats.org/drawingml/2006/main" xmlns:r="http://schemas.openxmlformats.org/officeDocument/2006/relationships" xmlns:p="http://schemas.openxmlformats.org/presentationml/2006/main">
  <p:tag name="THINKCELLSHAPEDONOTDELETE" val="tpH9q4nMQQKa74BGeOyvy7A"/>
</p:tagLst>
</file>

<file path=ppt/tags/tag192.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920.xml><?xml version="1.0" encoding="utf-8"?>
<p:tagLst xmlns:a="http://schemas.openxmlformats.org/drawingml/2006/main" xmlns:r="http://schemas.openxmlformats.org/officeDocument/2006/relationships" xmlns:p="http://schemas.openxmlformats.org/presentationml/2006/main">
  <p:tag name="THINKCELLSHAPEDONOTDELETE" val="tI4F.NqTzTseQIzotS6Jeuw"/>
</p:tagLst>
</file>

<file path=ppt/tags/tag1921.xml><?xml version="1.0" encoding="utf-8"?>
<p:tagLst xmlns:a="http://schemas.openxmlformats.org/drawingml/2006/main" xmlns:r="http://schemas.openxmlformats.org/officeDocument/2006/relationships" xmlns:p="http://schemas.openxmlformats.org/presentationml/2006/main">
  <p:tag name="THINKCELLSHAPEDONOTDELETE" val="tbd8Qz9mGQ16E4GzuTV7kwA"/>
</p:tagLst>
</file>

<file path=ppt/tags/tag1922.xml><?xml version="1.0" encoding="utf-8"?>
<p:tagLst xmlns:a="http://schemas.openxmlformats.org/drawingml/2006/main" xmlns:r="http://schemas.openxmlformats.org/officeDocument/2006/relationships" xmlns:p="http://schemas.openxmlformats.org/presentationml/2006/main">
  <p:tag name="THINKCELLSHAPEDONOTDELETE" val="tSPFHHWRsQM.4lvX3CEbd7Q"/>
</p:tagLst>
</file>

<file path=ppt/tags/tag1923.xml><?xml version="1.0" encoding="utf-8"?>
<p:tagLst xmlns:a="http://schemas.openxmlformats.org/drawingml/2006/main" xmlns:r="http://schemas.openxmlformats.org/officeDocument/2006/relationships" xmlns:p="http://schemas.openxmlformats.org/presentationml/2006/main">
  <p:tag name="THINKCELLSHAPEDONOTDELETE" val="tWjMJJia0Tw.03zF6RRPkbw"/>
</p:tagLst>
</file>

<file path=ppt/tags/tag1924.xml><?xml version="1.0" encoding="utf-8"?>
<p:tagLst xmlns:a="http://schemas.openxmlformats.org/drawingml/2006/main" xmlns:r="http://schemas.openxmlformats.org/officeDocument/2006/relationships" xmlns:p="http://schemas.openxmlformats.org/presentationml/2006/main">
  <p:tag name="THINKCELLSHAPEDONOTDELETE" val="tQ.jjDH.yTMW7pkYgqyJI1g"/>
</p:tagLst>
</file>

<file path=ppt/tags/tag1925.xml><?xml version="1.0" encoding="utf-8"?>
<p:tagLst xmlns:a="http://schemas.openxmlformats.org/drawingml/2006/main" xmlns:r="http://schemas.openxmlformats.org/officeDocument/2006/relationships" xmlns:p="http://schemas.openxmlformats.org/presentationml/2006/main">
  <p:tag name="THINKCELLSHAPEDONOTDELETE" val="t5Kk_vBm.TxiWOV8KfC3opg"/>
</p:tagLst>
</file>

<file path=ppt/tags/tag1926.xml><?xml version="1.0" encoding="utf-8"?>
<p:tagLst xmlns:a="http://schemas.openxmlformats.org/drawingml/2006/main" xmlns:r="http://schemas.openxmlformats.org/officeDocument/2006/relationships" xmlns:p="http://schemas.openxmlformats.org/presentationml/2006/main">
  <p:tag name="THINKCELLSHAPEDONOTDELETE" val="tdBj.R5qSRTOvT5294gYN0w"/>
</p:tagLst>
</file>

<file path=ppt/tags/tag1927.xml><?xml version="1.0" encoding="utf-8"?>
<p:tagLst xmlns:a="http://schemas.openxmlformats.org/drawingml/2006/main" xmlns:r="http://schemas.openxmlformats.org/officeDocument/2006/relationships" xmlns:p="http://schemas.openxmlformats.org/presentationml/2006/main">
  <p:tag name="RESIZE" val="Yes"/>
</p:tagLst>
</file>

<file path=ppt/tags/tag1928.xml><?xml version="1.0" encoding="utf-8"?>
<p:tagLst xmlns:a="http://schemas.openxmlformats.org/drawingml/2006/main" xmlns:r="http://schemas.openxmlformats.org/officeDocument/2006/relationships" xmlns:p="http://schemas.openxmlformats.org/presentationml/2006/main">
  <p:tag name="THINKCELLSHAPEDONOTDELETE" val="tdrXq0UxhQs.5GqnTnfUzAQ"/>
</p:tagLst>
</file>

<file path=ppt/tags/tag1929.xml><?xml version="1.0" encoding="utf-8"?>
<p:tagLst xmlns:a="http://schemas.openxmlformats.org/drawingml/2006/main" xmlns:r="http://schemas.openxmlformats.org/officeDocument/2006/relationships" xmlns:p="http://schemas.openxmlformats.org/presentationml/2006/main">
  <p:tag name="THINKCELLSHAPEDONOTDELETE" val="tZ0.7xnRVTjiJACivMuEP2Q"/>
</p:tagLst>
</file>

<file path=ppt/tags/tag193.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930.xml><?xml version="1.0" encoding="utf-8"?>
<p:tagLst xmlns:a="http://schemas.openxmlformats.org/drawingml/2006/main" xmlns:r="http://schemas.openxmlformats.org/officeDocument/2006/relationships" xmlns:p="http://schemas.openxmlformats.org/presentationml/2006/main">
  <p:tag name="THINKCELLSHAPEDONOTDELETE" val="trnGDYCtqQCWjHjButJEkkw"/>
</p:tagLst>
</file>

<file path=ppt/tags/tag1931.xml><?xml version="1.0" encoding="utf-8"?>
<p:tagLst xmlns:a="http://schemas.openxmlformats.org/drawingml/2006/main" xmlns:r="http://schemas.openxmlformats.org/officeDocument/2006/relationships" xmlns:p="http://schemas.openxmlformats.org/presentationml/2006/main">
  <p:tag name="THINKCELLSHAPEDONOTDELETE" val="tU2FkAONZR7ifsHlNs.s15A"/>
</p:tagLst>
</file>

<file path=ppt/tags/tag1932.xml><?xml version="1.0" encoding="utf-8"?>
<p:tagLst xmlns:a="http://schemas.openxmlformats.org/drawingml/2006/main" xmlns:r="http://schemas.openxmlformats.org/officeDocument/2006/relationships" xmlns:p="http://schemas.openxmlformats.org/presentationml/2006/main">
  <p:tag name="THINKCELLSHAPEDONOTDELETE" val="tf.bODb0NQf.MUBpzQeFNrg"/>
</p:tagLst>
</file>

<file path=ppt/tags/tag1933.xml><?xml version="1.0" encoding="utf-8"?>
<p:tagLst xmlns:a="http://schemas.openxmlformats.org/drawingml/2006/main" xmlns:r="http://schemas.openxmlformats.org/officeDocument/2006/relationships" xmlns:p="http://schemas.openxmlformats.org/presentationml/2006/main">
  <p:tag name="THINKCELLSHAPEDONOTDELETE" val="tr.yhI9IjRdG5EccshC.a.Q"/>
</p:tagLst>
</file>

<file path=ppt/tags/tag1934.xml><?xml version="1.0" encoding="utf-8"?>
<p:tagLst xmlns:a="http://schemas.openxmlformats.org/drawingml/2006/main" xmlns:r="http://schemas.openxmlformats.org/officeDocument/2006/relationships" xmlns:p="http://schemas.openxmlformats.org/presentationml/2006/main">
  <p:tag name="THINKCELLSHAPEDONOTDELETE" val="tg5A1m9O8SUe5PDyXrFhxVw"/>
</p:tagLst>
</file>

<file path=ppt/tags/tag1935.xml><?xml version="1.0" encoding="utf-8"?>
<p:tagLst xmlns:a="http://schemas.openxmlformats.org/drawingml/2006/main" xmlns:r="http://schemas.openxmlformats.org/officeDocument/2006/relationships" xmlns:p="http://schemas.openxmlformats.org/presentationml/2006/main">
  <p:tag name="THINKCELLSHAPEDONOTDELETE" val="teTj1ABFxQwqqtRNtP4aEbQ"/>
</p:tagLst>
</file>

<file path=ppt/tags/tag1936.xml><?xml version="1.0" encoding="utf-8"?>
<p:tagLst xmlns:a="http://schemas.openxmlformats.org/drawingml/2006/main" xmlns:r="http://schemas.openxmlformats.org/officeDocument/2006/relationships" xmlns:p="http://schemas.openxmlformats.org/presentationml/2006/main">
  <p:tag name="THINKCELLSHAPEDONOTDELETE" val="tdVk6ToTnSCO4lwpOV_dorA"/>
</p:tagLst>
</file>

<file path=ppt/tags/tag19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38.xml><?xml version="1.0" encoding="utf-8"?>
<p:tagLst xmlns:a="http://schemas.openxmlformats.org/drawingml/2006/main" xmlns:r="http://schemas.openxmlformats.org/officeDocument/2006/relationships" xmlns:p="http://schemas.openxmlformats.org/presentationml/2006/main">
  <p:tag name="NAME" val="Marvintrackercircle"/>
</p:tagLst>
</file>

<file path=ppt/tags/tag1939.xml><?xml version="1.0" encoding="utf-8"?>
<p:tagLst xmlns:a="http://schemas.openxmlformats.org/drawingml/2006/main" xmlns:r="http://schemas.openxmlformats.org/officeDocument/2006/relationships" xmlns:p="http://schemas.openxmlformats.org/presentationml/2006/main">
  <p:tag name="NAME" val="Marvintrackercircle"/>
</p:tagLst>
</file>

<file path=ppt/tags/tag194.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940.xml><?xml version="1.0" encoding="utf-8"?>
<p:tagLst xmlns:a="http://schemas.openxmlformats.org/drawingml/2006/main" xmlns:r="http://schemas.openxmlformats.org/officeDocument/2006/relationships" xmlns:p="http://schemas.openxmlformats.org/presentationml/2006/main">
  <p:tag name="NAME" val="Marvintrackercircle"/>
</p:tagLst>
</file>

<file path=ppt/tags/tag1941.xml><?xml version="1.0" encoding="utf-8"?>
<p:tagLst xmlns:a="http://schemas.openxmlformats.org/drawingml/2006/main" xmlns:r="http://schemas.openxmlformats.org/officeDocument/2006/relationships" xmlns:p="http://schemas.openxmlformats.org/presentationml/2006/main">
  <p:tag name="NAME" val="Marvintrackercircle"/>
</p:tagLst>
</file>

<file path=ppt/tags/tag1942.xml><?xml version="1.0" encoding="utf-8"?>
<p:tagLst xmlns:a="http://schemas.openxmlformats.org/drawingml/2006/main" xmlns:r="http://schemas.openxmlformats.org/officeDocument/2006/relationships" xmlns:p="http://schemas.openxmlformats.org/presentationml/2006/main">
  <p:tag name="NAME" val="Marvintrackercircle"/>
</p:tagLst>
</file>

<file path=ppt/tags/tag1943.xml><?xml version="1.0" encoding="utf-8"?>
<p:tagLst xmlns:a="http://schemas.openxmlformats.org/drawingml/2006/main" xmlns:r="http://schemas.openxmlformats.org/officeDocument/2006/relationships" xmlns:p="http://schemas.openxmlformats.org/presentationml/2006/main">
  <p:tag name="NAME" val="Marvintrackercircle"/>
</p:tagLst>
</file>

<file path=ppt/tags/tag1944.xml><?xml version="1.0" encoding="utf-8"?>
<p:tagLst xmlns:a="http://schemas.openxmlformats.org/drawingml/2006/main" xmlns:r="http://schemas.openxmlformats.org/officeDocument/2006/relationships" xmlns:p="http://schemas.openxmlformats.org/presentationml/2006/main">
  <p:tag name="RESIZE" val="Yes"/>
</p:tagLst>
</file>

<file path=ppt/tags/tag1945.xml><?xml version="1.0" encoding="utf-8"?>
<p:tagLst xmlns:a="http://schemas.openxmlformats.org/drawingml/2006/main" xmlns:r="http://schemas.openxmlformats.org/officeDocument/2006/relationships" xmlns:p="http://schemas.openxmlformats.org/presentationml/2006/main">
  <p:tag name="NOPREFERENCE" val="False"/>
</p:tagLst>
</file>

<file path=ppt/tags/tag19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47.xml><?xml version="1.0" encoding="utf-8"?>
<p:tagLst xmlns:a="http://schemas.openxmlformats.org/drawingml/2006/main" xmlns:r="http://schemas.openxmlformats.org/officeDocument/2006/relationships" xmlns:p="http://schemas.openxmlformats.org/presentationml/2006/main">
  <p:tag name="RESIZE" val="Yes"/>
</p:tagLst>
</file>

<file path=ppt/tags/tag1948.xml><?xml version="1.0" encoding="utf-8"?>
<p:tagLst xmlns:a="http://schemas.openxmlformats.org/drawingml/2006/main" xmlns:r="http://schemas.openxmlformats.org/officeDocument/2006/relationships" xmlns:p="http://schemas.openxmlformats.org/presentationml/2006/main">
  <p:tag name="RESIZE" val="Yes"/>
</p:tagLst>
</file>

<file path=ppt/tags/tag1949.xml><?xml version="1.0" encoding="utf-8"?>
<p:tagLst xmlns:a="http://schemas.openxmlformats.org/drawingml/2006/main" xmlns:r="http://schemas.openxmlformats.org/officeDocument/2006/relationships" xmlns:p="http://schemas.openxmlformats.org/presentationml/2006/main">
  <p:tag name="NOPREFERENCE" val="False"/>
</p:tagLst>
</file>

<file path=ppt/tags/tag195.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9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51.xml><?xml version="1.0" encoding="utf-8"?>
<p:tagLst xmlns:a="http://schemas.openxmlformats.org/drawingml/2006/main" xmlns:r="http://schemas.openxmlformats.org/officeDocument/2006/relationships" xmlns:p="http://schemas.openxmlformats.org/presentationml/2006/main">
  <p:tag name="RESIZE" val="Yes"/>
</p:tagLst>
</file>

<file path=ppt/tags/tag1952.xml><?xml version="1.0" encoding="utf-8"?>
<p:tagLst xmlns:a="http://schemas.openxmlformats.org/drawingml/2006/main" xmlns:r="http://schemas.openxmlformats.org/officeDocument/2006/relationships" xmlns:p="http://schemas.openxmlformats.org/presentationml/2006/main">
  <p:tag name="RESIZE" val="Yes"/>
</p:tagLst>
</file>

<file path=ppt/tags/tag1953.xml><?xml version="1.0" encoding="utf-8"?>
<p:tagLst xmlns:a="http://schemas.openxmlformats.org/drawingml/2006/main" xmlns:r="http://schemas.openxmlformats.org/officeDocument/2006/relationships" xmlns:p="http://schemas.openxmlformats.org/presentationml/2006/main">
  <p:tag name="NOPREFERENCE" val="False"/>
</p:tagLst>
</file>

<file path=ppt/tags/tag19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55.xml><?xml version="1.0" encoding="utf-8"?>
<p:tagLst xmlns:a="http://schemas.openxmlformats.org/drawingml/2006/main" xmlns:r="http://schemas.openxmlformats.org/officeDocument/2006/relationships" xmlns:p="http://schemas.openxmlformats.org/presentationml/2006/main">
  <p:tag name="RESIZE" val="Yes"/>
</p:tagLst>
</file>

<file path=ppt/tags/tag1956.xml><?xml version="1.0" encoding="utf-8"?>
<p:tagLst xmlns:a="http://schemas.openxmlformats.org/drawingml/2006/main" xmlns:r="http://schemas.openxmlformats.org/officeDocument/2006/relationships" xmlns:p="http://schemas.openxmlformats.org/presentationml/2006/main">
  <p:tag name="RESIZE" val="Yes"/>
</p:tagLst>
</file>

<file path=ppt/tags/tag1957.xml><?xml version="1.0" encoding="utf-8"?>
<p:tagLst xmlns:a="http://schemas.openxmlformats.org/drawingml/2006/main" xmlns:r="http://schemas.openxmlformats.org/officeDocument/2006/relationships" xmlns:p="http://schemas.openxmlformats.org/presentationml/2006/main">
  <p:tag name="NAME" val="OvalText"/>
</p:tagLst>
</file>

<file path=ppt/tags/tag1958.xml><?xml version="1.0" encoding="utf-8"?>
<p:tagLst xmlns:a="http://schemas.openxmlformats.org/drawingml/2006/main" xmlns:r="http://schemas.openxmlformats.org/officeDocument/2006/relationships" xmlns:p="http://schemas.openxmlformats.org/presentationml/2006/main">
  <p:tag name="NAME" val="OvalText"/>
</p:tagLst>
</file>

<file path=ppt/tags/tag1959.xml><?xml version="1.0" encoding="utf-8"?>
<p:tagLst xmlns:a="http://schemas.openxmlformats.org/drawingml/2006/main" xmlns:r="http://schemas.openxmlformats.org/officeDocument/2006/relationships" xmlns:p="http://schemas.openxmlformats.org/presentationml/2006/main">
  <p:tag name="NAME" val="OvalText"/>
</p:tagLst>
</file>

<file path=ppt/tags/tag196.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960.xml><?xml version="1.0" encoding="utf-8"?>
<p:tagLst xmlns:a="http://schemas.openxmlformats.org/drawingml/2006/main" xmlns:r="http://schemas.openxmlformats.org/officeDocument/2006/relationships" xmlns:p="http://schemas.openxmlformats.org/presentationml/2006/main">
  <p:tag name="NAME" val="OvalText"/>
</p:tagLst>
</file>

<file path=ppt/tags/tag1961.xml><?xml version="1.0" encoding="utf-8"?>
<p:tagLst xmlns:a="http://schemas.openxmlformats.org/drawingml/2006/main" xmlns:r="http://schemas.openxmlformats.org/officeDocument/2006/relationships" xmlns:p="http://schemas.openxmlformats.org/presentationml/2006/main">
  <p:tag name="NAME" val="OvalText"/>
</p:tagLst>
</file>

<file path=ppt/tags/tag19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63.xml><?xml version="1.0" encoding="utf-8"?>
<p:tagLst xmlns:a="http://schemas.openxmlformats.org/drawingml/2006/main" xmlns:r="http://schemas.openxmlformats.org/officeDocument/2006/relationships" xmlns:p="http://schemas.openxmlformats.org/presentationml/2006/main">
  <p:tag name="NAME" val="SingleBoatShape"/>
</p:tagLst>
</file>

<file path=ppt/tags/tag1964.xml><?xml version="1.0" encoding="utf-8"?>
<p:tagLst xmlns:a="http://schemas.openxmlformats.org/drawingml/2006/main" xmlns:r="http://schemas.openxmlformats.org/officeDocument/2006/relationships" xmlns:p="http://schemas.openxmlformats.org/presentationml/2006/main">
  <p:tag name="NAME" val="SingleBoatText"/>
</p:tagLst>
</file>

<file path=ppt/tags/tag1965.xml><?xml version="1.0" encoding="utf-8"?>
<p:tagLst xmlns:a="http://schemas.openxmlformats.org/drawingml/2006/main" xmlns:r="http://schemas.openxmlformats.org/officeDocument/2006/relationships" xmlns:p="http://schemas.openxmlformats.org/presentationml/2006/main">
  <p:tag name="NAME" val="SingleBoatShape"/>
</p:tagLst>
</file>

<file path=ppt/tags/tag1966.xml><?xml version="1.0" encoding="utf-8"?>
<p:tagLst xmlns:a="http://schemas.openxmlformats.org/drawingml/2006/main" xmlns:r="http://schemas.openxmlformats.org/officeDocument/2006/relationships" xmlns:p="http://schemas.openxmlformats.org/presentationml/2006/main">
  <p:tag name="NAME" val="SingleBoatText"/>
</p:tagLst>
</file>

<file path=ppt/tags/tag1967.xml><?xml version="1.0" encoding="utf-8"?>
<p:tagLst xmlns:a="http://schemas.openxmlformats.org/drawingml/2006/main" xmlns:r="http://schemas.openxmlformats.org/officeDocument/2006/relationships" xmlns:p="http://schemas.openxmlformats.org/presentationml/2006/main">
  <p:tag name="NAME" val="SingleBoatShape"/>
</p:tagLst>
</file>

<file path=ppt/tags/tag1968.xml><?xml version="1.0" encoding="utf-8"?>
<p:tagLst xmlns:a="http://schemas.openxmlformats.org/drawingml/2006/main" xmlns:r="http://schemas.openxmlformats.org/officeDocument/2006/relationships" xmlns:p="http://schemas.openxmlformats.org/presentationml/2006/main">
  <p:tag name="NAME" val="SingleBoatText"/>
</p:tagLst>
</file>

<file path=ppt/tags/tag1969.xml><?xml version="1.0" encoding="utf-8"?>
<p:tagLst xmlns:a="http://schemas.openxmlformats.org/drawingml/2006/main" xmlns:r="http://schemas.openxmlformats.org/officeDocument/2006/relationships" xmlns:p="http://schemas.openxmlformats.org/presentationml/2006/main">
  <p:tag name="RESIZE" val="Yes"/>
</p:tagLst>
</file>

<file path=ppt/tags/tag197.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9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71.xml><?xml version="1.0" encoding="utf-8"?>
<p:tagLst xmlns:a="http://schemas.openxmlformats.org/drawingml/2006/main" xmlns:r="http://schemas.openxmlformats.org/officeDocument/2006/relationships" xmlns:p="http://schemas.openxmlformats.org/presentationml/2006/main">
  <p:tag name="THINKCELLSHAPEDONOTDELETE" val="tcFSj9kaD.U6rNegH7rREeQ"/>
</p:tagLst>
</file>

<file path=ppt/tags/tag1972.xml><?xml version="1.0" encoding="utf-8"?>
<p:tagLst xmlns:a="http://schemas.openxmlformats.org/drawingml/2006/main" xmlns:r="http://schemas.openxmlformats.org/officeDocument/2006/relationships" xmlns:p="http://schemas.openxmlformats.org/presentationml/2006/main">
  <p:tag name="THINKCELLSHAPEDONOTDELETE" val="tiaXMp3TRReOouJkv2uOKdw"/>
</p:tagLst>
</file>

<file path=ppt/tags/tag1973.xml><?xml version="1.0" encoding="utf-8"?>
<p:tagLst xmlns:a="http://schemas.openxmlformats.org/drawingml/2006/main" xmlns:r="http://schemas.openxmlformats.org/officeDocument/2006/relationships" xmlns:p="http://schemas.openxmlformats.org/presentationml/2006/main">
  <p:tag name="THINKCELLSHAPEDONOTDELETE" val="tTA0Gx_qiStqv6tKtmDe_7g"/>
</p:tagLst>
</file>

<file path=ppt/tags/tag1974.xml><?xml version="1.0" encoding="utf-8"?>
<p:tagLst xmlns:a="http://schemas.openxmlformats.org/drawingml/2006/main" xmlns:r="http://schemas.openxmlformats.org/officeDocument/2006/relationships" xmlns:p="http://schemas.openxmlformats.org/presentationml/2006/main">
  <p:tag name="THINKCELLSHAPEDONOTDELETE" val="tcXKCUtuiSrCUOA41YXfSfg"/>
</p:tagLst>
</file>

<file path=ppt/tags/tag1975.xml><?xml version="1.0" encoding="utf-8"?>
<p:tagLst xmlns:a="http://schemas.openxmlformats.org/drawingml/2006/main" xmlns:r="http://schemas.openxmlformats.org/officeDocument/2006/relationships" xmlns:p="http://schemas.openxmlformats.org/presentationml/2006/main">
  <p:tag name="THINKCELLSHAPEDONOTDELETE" val="taxaC3ndLSKO20ExZ747I_A"/>
</p:tagLst>
</file>

<file path=ppt/tags/tag1976.xml><?xml version="1.0" encoding="utf-8"?>
<p:tagLst xmlns:a="http://schemas.openxmlformats.org/drawingml/2006/main" xmlns:r="http://schemas.openxmlformats.org/officeDocument/2006/relationships" xmlns:p="http://schemas.openxmlformats.org/presentationml/2006/main">
  <p:tag name="THINKCELLSHAPEDONOTDELETE" val="tVNPHPCF6TayxI5lH_vR6bQ"/>
</p:tagLst>
</file>

<file path=ppt/tags/tag1977.xml><?xml version="1.0" encoding="utf-8"?>
<p:tagLst xmlns:a="http://schemas.openxmlformats.org/drawingml/2006/main" xmlns:r="http://schemas.openxmlformats.org/officeDocument/2006/relationships" xmlns:p="http://schemas.openxmlformats.org/presentationml/2006/main">
  <p:tag name="THINKCELLSHAPEDONOTDELETE" val="tvfNnm7MzSRa8u0BvHx2jhQ"/>
</p:tagLst>
</file>

<file path=ppt/tags/tag19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79.xml><?xml version="1.0" encoding="utf-8"?>
<p:tagLst xmlns:a="http://schemas.openxmlformats.org/drawingml/2006/main" xmlns:r="http://schemas.openxmlformats.org/officeDocument/2006/relationships" xmlns:p="http://schemas.openxmlformats.org/presentationml/2006/main">
  <p:tag name="RESIZE" val="Yes"/>
</p:tagLst>
</file>

<file path=ppt/tags/tag198.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1980.xml><?xml version="1.0" encoding="utf-8"?>
<p:tagLst xmlns:a="http://schemas.openxmlformats.org/drawingml/2006/main" xmlns:r="http://schemas.openxmlformats.org/officeDocument/2006/relationships" xmlns:p="http://schemas.openxmlformats.org/presentationml/2006/main">
  <p:tag name="RESIZE" val="Yes"/>
</p:tagLst>
</file>

<file path=ppt/tags/tag1981.xml><?xml version="1.0" encoding="utf-8"?>
<p:tagLst xmlns:a="http://schemas.openxmlformats.org/drawingml/2006/main" xmlns:r="http://schemas.openxmlformats.org/officeDocument/2006/relationships" xmlns:p="http://schemas.openxmlformats.org/presentationml/2006/main">
  <p:tag name="NOPREFERENCE" val="False"/>
  <p:tag name="DELIMITERS" val="3.1"/>
</p:tagLst>
</file>

<file path=ppt/tags/tag1982.xml><?xml version="1.0" encoding="utf-8"?>
<p:tagLst xmlns:a="http://schemas.openxmlformats.org/drawingml/2006/main" xmlns:r="http://schemas.openxmlformats.org/officeDocument/2006/relationships" xmlns:p="http://schemas.openxmlformats.org/presentationml/2006/main">
  <p:tag name="RESIZE" val="Yes"/>
</p:tagLst>
</file>

<file path=ppt/tags/tag1983.xml><?xml version="1.0" encoding="utf-8"?>
<p:tagLst xmlns:a="http://schemas.openxmlformats.org/drawingml/2006/main" xmlns:r="http://schemas.openxmlformats.org/officeDocument/2006/relationships" xmlns:p="http://schemas.openxmlformats.org/presentationml/2006/main">
  <p:tag name="THINKCELLSHAPEDONOTDELETE" val="pz3chdt7TvUCpVKzgfOQcWQ"/>
</p:tagLst>
</file>

<file path=ppt/tags/tag1984.xml><?xml version="1.0" encoding="utf-8"?>
<p:tagLst xmlns:a="http://schemas.openxmlformats.org/drawingml/2006/main" xmlns:r="http://schemas.openxmlformats.org/officeDocument/2006/relationships" xmlns:p="http://schemas.openxmlformats.org/presentationml/2006/main">
  <p:tag name="THINKCELLSHAPEDONOTDELETE" val="pDnDOVoXfLESvWUEjadrKNw"/>
</p:tagLst>
</file>

<file path=ppt/tags/tag1985.xml><?xml version="1.0" encoding="utf-8"?>
<p:tagLst xmlns:a="http://schemas.openxmlformats.org/drawingml/2006/main" xmlns:r="http://schemas.openxmlformats.org/officeDocument/2006/relationships" xmlns:p="http://schemas.openxmlformats.org/presentationml/2006/main">
  <p:tag name="THINKCELLSHAPEDONOTDELETE" val="pkJVDfERAVkCzKxOgH9XvCA"/>
</p:tagLst>
</file>

<file path=ppt/tags/tag1986.xml><?xml version="1.0" encoding="utf-8"?>
<p:tagLst xmlns:a="http://schemas.openxmlformats.org/drawingml/2006/main" xmlns:r="http://schemas.openxmlformats.org/officeDocument/2006/relationships" xmlns:p="http://schemas.openxmlformats.org/presentationml/2006/main">
  <p:tag name="THINKCELLSHAPEDONOTDELETE" val="pvRjtYM5WHku1KNT4UaI_qQ"/>
</p:tagLst>
</file>

<file path=ppt/tags/tag19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89.xml><?xml version="1.0" encoding="utf-8"?>
<p:tagLst xmlns:a="http://schemas.openxmlformats.org/drawingml/2006/main" xmlns:r="http://schemas.openxmlformats.org/officeDocument/2006/relationships" xmlns:p="http://schemas.openxmlformats.org/presentationml/2006/main">
  <p:tag name="NOPREFERENCE" val="False"/>
  <p:tag name="DELIMITERS" val="3.1"/>
</p:tagLst>
</file>

<file path=ppt/tags/tag199.xml><?xml version="1.0" encoding="utf-8"?>
<p:tagLst xmlns:a="http://schemas.openxmlformats.org/drawingml/2006/main" xmlns:r="http://schemas.openxmlformats.org/officeDocument/2006/relationships" xmlns:p="http://schemas.openxmlformats.org/presentationml/2006/main">
  <p:tag name="ISLEGEND" val="true"/>
</p:tagLst>
</file>

<file path=ppt/tags/tag19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91.xml><?xml version="1.0" encoding="utf-8"?>
<p:tagLst xmlns:a="http://schemas.openxmlformats.org/drawingml/2006/main" xmlns:r="http://schemas.openxmlformats.org/officeDocument/2006/relationships" xmlns:p="http://schemas.openxmlformats.org/presentationml/2006/main">
  <p:tag name="THINKCELLSHAPEDONOTDELETE" val="tZ_l..Ro2DECYaNs5Du38UQ"/>
</p:tagLst>
</file>

<file path=ppt/tags/tag1992.xml><?xml version="1.0" encoding="utf-8"?>
<p:tagLst xmlns:a="http://schemas.openxmlformats.org/drawingml/2006/main" xmlns:r="http://schemas.openxmlformats.org/officeDocument/2006/relationships" xmlns:p="http://schemas.openxmlformats.org/presentationml/2006/main">
  <p:tag name="THINKCELLSHAPEDONOTDELETE" val="truFGj9ppSyGZL20EdIebVQ"/>
</p:tagLst>
</file>

<file path=ppt/tags/tag1993.xml><?xml version="1.0" encoding="utf-8"?>
<p:tagLst xmlns:a="http://schemas.openxmlformats.org/drawingml/2006/main" xmlns:r="http://schemas.openxmlformats.org/officeDocument/2006/relationships" xmlns:p="http://schemas.openxmlformats.org/presentationml/2006/main">
  <p:tag name="THINKCELLSHAPEDONOTDELETE" val="t2B9UynfxRmy7N.ZosR8dZw"/>
</p:tagLst>
</file>

<file path=ppt/tags/tag1994.xml><?xml version="1.0" encoding="utf-8"?>
<p:tagLst xmlns:a="http://schemas.openxmlformats.org/drawingml/2006/main" xmlns:r="http://schemas.openxmlformats.org/officeDocument/2006/relationships" xmlns:p="http://schemas.openxmlformats.org/presentationml/2006/main">
  <p:tag name="THINKCELLSHAPEDONOTDELETE" val="tuEPNUvuDRvuDSLE.49XuXg"/>
</p:tagLst>
</file>

<file path=ppt/tags/tag1995.xml><?xml version="1.0" encoding="utf-8"?>
<p:tagLst xmlns:a="http://schemas.openxmlformats.org/drawingml/2006/main" xmlns:r="http://schemas.openxmlformats.org/officeDocument/2006/relationships" xmlns:p="http://schemas.openxmlformats.org/presentationml/2006/main">
  <p:tag name="THINKCELLSHAPEDONOTDELETE" val="t2b8vpj4nQSy6l_HL4mFiFA"/>
</p:tagLst>
</file>

<file path=ppt/tags/tag1996.xml><?xml version="1.0" encoding="utf-8"?>
<p:tagLst xmlns:a="http://schemas.openxmlformats.org/drawingml/2006/main" xmlns:r="http://schemas.openxmlformats.org/officeDocument/2006/relationships" xmlns:p="http://schemas.openxmlformats.org/presentationml/2006/main">
  <p:tag name="THINKCELLSHAPEDONOTDELETE" val="t7qYqtXCbTv2pR6vq3i.Z_w"/>
</p:tagLst>
</file>

<file path=ppt/tags/tag1997.xml><?xml version="1.0" encoding="utf-8"?>
<p:tagLst xmlns:a="http://schemas.openxmlformats.org/drawingml/2006/main" xmlns:r="http://schemas.openxmlformats.org/officeDocument/2006/relationships" xmlns:p="http://schemas.openxmlformats.org/presentationml/2006/main">
  <p:tag name="THINKCELLSHAPEDONOTDELETE" val="tjK6zkDx7TUGqZ74AtwJ2UQ"/>
</p:tagLst>
</file>

<file path=ppt/tags/tag1998.xml><?xml version="1.0" encoding="utf-8"?>
<p:tagLst xmlns:a="http://schemas.openxmlformats.org/drawingml/2006/main" xmlns:r="http://schemas.openxmlformats.org/officeDocument/2006/relationships" xmlns:p="http://schemas.openxmlformats.org/presentationml/2006/main">
  <p:tag name="THINKCELLSHAPEDONOTDELETE" val="tO2VUV8CRS8KJJrxn1mTh_A"/>
</p:tagLst>
</file>

<file path=ppt/tags/tag1999.xml><?xml version="1.0" encoding="utf-8"?>
<p:tagLst xmlns:a="http://schemas.openxmlformats.org/drawingml/2006/main" xmlns:r="http://schemas.openxmlformats.org/officeDocument/2006/relationships" xmlns:p="http://schemas.openxmlformats.org/presentationml/2006/main">
  <p:tag name="THINKCELLSHAPEDONOTDELETE" val="tQUVWX0SiQmGCnWbgvo38c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200.xml><?xml version="1.0" encoding="utf-8"?>
<p:tagLst xmlns:a="http://schemas.openxmlformats.org/drawingml/2006/main" xmlns:r="http://schemas.openxmlformats.org/officeDocument/2006/relationships" xmlns:p="http://schemas.openxmlformats.org/presentationml/2006/main">
  <p:tag name="ISLEGEND" val="true"/>
</p:tagLst>
</file>

<file path=ppt/tags/tag2000.xml><?xml version="1.0" encoding="utf-8"?>
<p:tagLst xmlns:a="http://schemas.openxmlformats.org/drawingml/2006/main" xmlns:r="http://schemas.openxmlformats.org/officeDocument/2006/relationships" xmlns:p="http://schemas.openxmlformats.org/presentationml/2006/main">
  <p:tag name="THINKCELLSHAPEDONOTDELETE" val="ts0w8oXwbSKC7Gw1y0OJL8w"/>
</p:tagLst>
</file>

<file path=ppt/tags/tag2001.xml><?xml version="1.0" encoding="utf-8"?>
<p:tagLst xmlns:a="http://schemas.openxmlformats.org/drawingml/2006/main" xmlns:r="http://schemas.openxmlformats.org/officeDocument/2006/relationships" xmlns:p="http://schemas.openxmlformats.org/presentationml/2006/main">
  <p:tag name="THINKCELLSHAPEDONOTDELETE" val="tyIOCtQdrRrqFzahwKbxAeQ"/>
</p:tagLst>
</file>

<file path=ppt/tags/tag2002.xml><?xml version="1.0" encoding="utf-8"?>
<p:tagLst xmlns:a="http://schemas.openxmlformats.org/drawingml/2006/main" xmlns:r="http://schemas.openxmlformats.org/officeDocument/2006/relationships" xmlns:p="http://schemas.openxmlformats.org/presentationml/2006/main">
  <p:tag name="THINKCELLSHAPEDONOTDELETE" val="tB9NJywSrRTqgZ1wbNwVzGw"/>
</p:tagLst>
</file>

<file path=ppt/tags/tag2003.xml><?xml version="1.0" encoding="utf-8"?>
<p:tagLst xmlns:a="http://schemas.openxmlformats.org/drawingml/2006/main" xmlns:r="http://schemas.openxmlformats.org/officeDocument/2006/relationships" xmlns:p="http://schemas.openxmlformats.org/presentationml/2006/main">
  <p:tag name="THINKCELLSHAPEDONOTDELETE" val="tB4QntgN5Q9eCqZrKS_WVDQ"/>
</p:tagLst>
</file>

<file path=ppt/tags/tag2004.xml><?xml version="1.0" encoding="utf-8"?>
<p:tagLst xmlns:a="http://schemas.openxmlformats.org/drawingml/2006/main" xmlns:r="http://schemas.openxmlformats.org/officeDocument/2006/relationships" xmlns:p="http://schemas.openxmlformats.org/presentationml/2006/main">
  <p:tag name="THINKCELLSHAPEDONOTDELETE" val="tczpOzfPYSiqVKBpWykLsug"/>
</p:tagLst>
</file>

<file path=ppt/tags/tag2005.xml><?xml version="1.0" encoding="utf-8"?>
<p:tagLst xmlns:a="http://schemas.openxmlformats.org/drawingml/2006/main" xmlns:r="http://schemas.openxmlformats.org/officeDocument/2006/relationships" xmlns:p="http://schemas.openxmlformats.org/presentationml/2006/main">
  <p:tag name="THINKCELLSHAPEDONOTDELETE" val="tCyEqzREBQXaTfArshZR6Ew"/>
</p:tagLst>
</file>

<file path=ppt/tags/tag2006.xml><?xml version="1.0" encoding="utf-8"?>
<p:tagLst xmlns:a="http://schemas.openxmlformats.org/drawingml/2006/main" xmlns:r="http://schemas.openxmlformats.org/officeDocument/2006/relationships" xmlns:p="http://schemas.openxmlformats.org/presentationml/2006/main">
  <p:tag name="THINKCELLSHAPEDONOTDELETE" val="ts2NWZXsvQ5GvhDdcMf6WgQ"/>
</p:tagLst>
</file>

<file path=ppt/tags/tag2007.xml><?xml version="1.0" encoding="utf-8"?>
<p:tagLst xmlns:a="http://schemas.openxmlformats.org/drawingml/2006/main" xmlns:r="http://schemas.openxmlformats.org/officeDocument/2006/relationships" xmlns:p="http://schemas.openxmlformats.org/presentationml/2006/main">
  <p:tag name="THINKCELLSHAPEDONOTDELETE" val="tMs7kzPV5Rae4SMmiIqUDmw"/>
</p:tagLst>
</file>

<file path=ppt/tags/tag2008.xml><?xml version="1.0" encoding="utf-8"?>
<p:tagLst xmlns:a="http://schemas.openxmlformats.org/drawingml/2006/main" xmlns:r="http://schemas.openxmlformats.org/officeDocument/2006/relationships" xmlns:p="http://schemas.openxmlformats.org/presentationml/2006/main">
  <p:tag name="THINKCELLSHAPEDONOTDELETE" val="tmgEI8rvvQT.t0ZSpzwfLiQ"/>
</p:tagLst>
</file>

<file path=ppt/tags/tag2009.xml><?xml version="1.0" encoding="utf-8"?>
<p:tagLst xmlns:a="http://schemas.openxmlformats.org/drawingml/2006/main" xmlns:r="http://schemas.openxmlformats.org/officeDocument/2006/relationships" xmlns:p="http://schemas.openxmlformats.org/presentationml/2006/main">
  <p:tag name="THINKCELLSHAPEDONOTDELETE" val="tovwMyXftQJysPVbdEMfh5Q"/>
</p:tagLst>
</file>

<file path=ppt/tags/tag201.xml><?xml version="1.0" encoding="utf-8"?>
<p:tagLst xmlns:a="http://schemas.openxmlformats.org/drawingml/2006/main" xmlns:r="http://schemas.openxmlformats.org/officeDocument/2006/relationships" xmlns:p="http://schemas.openxmlformats.org/presentationml/2006/main">
  <p:tag name="ISLEGEND" val="true"/>
</p:tagLst>
</file>

<file path=ppt/tags/tag2010.xml><?xml version="1.0" encoding="utf-8"?>
<p:tagLst xmlns:a="http://schemas.openxmlformats.org/drawingml/2006/main" xmlns:r="http://schemas.openxmlformats.org/officeDocument/2006/relationships" xmlns:p="http://schemas.openxmlformats.org/presentationml/2006/main">
  <p:tag name="THINKCELLSHAPEDONOTDELETE" val="tg3WrsiFBT3qZrkOPu69Dvw"/>
</p:tagLst>
</file>

<file path=ppt/tags/tag2011.xml><?xml version="1.0" encoding="utf-8"?>
<p:tagLst xmlns:a="http://schemas.openxmlformats.org/drawingml/2006/main" xmlns:r="http://schemas.openxmlformats.org/officeDocument/2006/relationships" xmlns:p="http://schemas.openxmlformats.org/presentationml/2006/main">
  <p:tag name="THINKCELLSHAPEDONOTDELETE" val="tf4bQYMxhTM.9_2S3GKayIA"/>
</p:tagLst>
</file>

<file path=ppt/tags/tag2012.xml><?xml version="1.0" encoding="utf-8"?>
<p:tagLst xmlns:a="http://schemas.openxmlformats.org/drawingml/2006/main" xmlns:r="http://schemas.openxmlformats.org/officeDocument/2006/relationships" xmlns:p="http://schemas.openxmlformats.org/presentationml/2006/main">
  <p:tag name="THINKCELLSHAPEDONOTDELETE" val="tfZ7ZeDR9RLq0oPrDck.HZw"/>
</p:tagLst>
</file>

<file path=ppt/tags/tag2013.xml><?xml version="1.0" encoding="utf-8"?>
<p:tagLst xmlns:a="http://schemas.openxmlformats.org/drawingml/2006/main" xmlns:r="http://schemas.openxmlformats.org/officeDocument/2006/relationships" xmlns:p="http://schemas.openxmlformats.org/presentationml/2006/main">
  <p:tag name="THINKCELLSHAPEDONOTDELETE" val="tPHjTnDdwQXur87RfNnbv9w"/>
</p:tagLst>
</file>

<file path=ppt/tags/tag2014.xml><?xml version="1.0" encoding="utf-8"?>
<p:tagLst xmlns:a="http://schemas.openxmlformats.org/drawingml/2006/main" xmlns:r="http://schemas.openxmlformats.org/officeDocument/2006/relationships" xmlns:p="http://schemas.openxmlformats.org/presentationml/2006/main">
  <p:tag name="THINKCELLSHAPEDONOTDELETE" val="tCgp2wIAMTzerNph3OrjMTg"/>
</p:tagLst>
</file>

<file path=ppt/tags/tag2015.xml><?xml version="1.0" encoding="utf-8"?>
<p:tagLst xmlns:a="http://schemas.openxmlformats.org/drawingml/2006/main" xmlns:r="http://schemas.openxmlformats.org/officeDocument/2006/relationships" xmlns:p="http://schemas.openxmlformats.org/presentationml/2006/main">
  <p:tag name="THINKCELLSHAPEDONOTDELETE" val="tuBWEgJ_qR.qi9_d5SW8oVA"/>
</p:tagLst>
</file>

<file path=ppt/tags/tag2016.xml><?xml version="1.0" encoding="utf-8"?>
<p:tagLst xmlns:a="http://schemas.openxmlformats.org/drawingml/2006/main" xmlns:r="http://schemas.openxmlformats.org/officeDocument/2006/relationships" xmlns:p="http://schemas.openxmlformats.org/presentationml/2006/main">
  <p:tag name="THINKCELLSHAPEDONOTDELETE" val="tFkwDE8tST0Wmud4T.9gqFw"/>
</p:tagLst>
</file>

<file path=ppt/tags/tag2017.xml><?xml version="1.0" encoding="utf-8"?>
<p:tagLst xmlns:a="http://schemas.openxmlformats.org/drawingml/2006/main" xmlns:r="http://schemas.openxmlformats.org/officeDocument/2006/relationships" xmlns:p="http://schemas.openxmlformats.org/presentationml/2006/main">
  <p:tag name="THINKCELLSHAPEDONOTDELETE" val="tElRY0wLIQWyTON.Ie7SUdg"/>
</p:tagLst>
</file>

<file path=ppt/tags/tag2018.xml><?xml version="1.0" encoding="utf-8"?>
<p:tagLst xmlns:a="http://schemas.openxmlformats.org/drawingml/2006/main" xmlns:r="http://schemas.openxmlformats.org/officeDocument/2006/relationships" xmlns:p="http://schemas.openxmlformats.org/presentationml/2006/main">
  <p:tag name="THINKCELLSHAPEDONOTDELETE" val="t3KgEpGUFSoyUVwvNAk2HTA"/>
</p:tagLst>
</file>

<file path=ppt/tags/tag2019.xml><?xml version="1.0" encoding="utf-8"?>
<p:tagLst xmlns:a="http://schemas.openxmlformats.org/drawingml/2006/main" xmlns:r="http://schemas.openxmlformats.org/officeDocument/2006/relationships" xmlns:p="http://schemas.openxmlformats.org/presentationml/2006/main">
  <p:tag name="THINKCELLSHAPEDONOTDELETE" val="tk14UzPFyT3uVQ9PvxS5ztQ"/>
</p:tagLst>
</file>

<file path=ppt/tags/tag202.xml><?xml version="1.0" encoding="utf-8"?>
<p:tagLst xmlns:a="http://schemas.openxmlformats.org/drawingml/2006/main" xmlns:r="http://schemas.openxmlformats.org/officeDocument/2006/relationships" xmlns:p="http://schemas.openxmlformats.org/presentationml/2006/main">
  <p:tag name="ISLEGEND" val="true"/>
</p:tagLst>
</file>

<file path=ppt/tags/tag2020.xml><?xml version="1.0" encoding="utf-8"?>
<p:tagLst xmlns:a="http://schemas.openxmlformats.org/drawingml/2006/main" xmlns:r="http://schemas.openxmlformats.org/officeDocument/2006/relationships" xmlns:p="http://schemas.openxmlformats.org/presentationml/2006/main">
  <p:tag name="THINKCELLSHAPEDONOTDELETE" val="tNVQV8HIoRDuF6.cYp_mQEw"/>
</p:tagLst>
</file>

<file path=ppt/tags/tag2021.xml><?xml version="1.0" encoding="utf-8"?>
<p:tagLst xmlns:a="http://schemas.openxmlformats.org/drawingml/2006/main" xmlns:r="http://schemas.openxmlformats.org/officeDocument/2006/relationships" xmlns:p="http://schemas.openxmlformats.org/presentationml/2006/main">
  <p:tag name="THINKCELLSHAPEDONOTDELETE" val="teijTUxSfQ5CfeYYRYB_DDg"/>
</p:tagLst>
</file>

<file path=ppt/tags/tag2022.xml><?xml version="1.0" encoding="utf-8"?>
<p:tagLst xmlns:a="http://schemas.openxmlformats.org/drawingml/2006/main" xmlns:r="http://schemas.openxmlformats.org/officeDocument/2006/relationships" xmlns:p="http://schemas.openxmlformats.org/presentationml/2006/main">
  <p:tag name="THINKCELLSHAPEDONOTDELETE" val="tS8XF14ZSSw60ovRa.JsvKg"/>
</p:tagLst>
</file>

<file path=ppt/tags/tag2023.xml><?xml version="1.0" encoding="utf-8"?>
<p:tagLst xmlns:a="http://schemas.openxmlformats.org/drawingml/2006/main" xmlns:r="http://schemas.openxmlformats.org/officeDocument/2006/relationships" xmlns:p="http://schemas.openxmlformats.org/presentationml/2006/main">
  <p:tag name="RESIZE" val="Yes"/>
</p:tagLst>
</file>

<file path=ppt/tags/tag2024.xml><?xml version="1.0" encoding="utf-8"?>
<p:tagLst xmlns:a="http://schemas.openxmlformats.org/drawingml/2006/main" xmlns:r="http://schemas.openxmlformats.org/officeDocument/2006/relationships" xmlns:p="http://schemas.openxmlformats.org/presentationml/2006/main">
  <p:tag name="THINKCELLSHAPEDONOTDELETE" val="tkTlHIXMMS8qslwRQgFH17A"/>
</p:tagLst>
</file>

<file path=ppt/tags/tag2025.xml><?xml version="1.0" encoding="utf-8"?>
<p:tagLst xmlns:a="http://schemas.openxmlformats.org/drawingml/2006/main" xmlns:r="http://schemas.openxmlformats.org/officeDocument/2006/relationships" xmlns:p="http://schemas.openxmlformats.org/presentationml/2006/main">
  <p:tag name="THINKCELLSHAPEDONOTDELETE" val="tJMBJrRbKRrKdEoPweyY5Lg"/>
</p:tagLst>
</file>

<file path=ppt/tags/tag2026.xml><?xml version="1.0" encoding="utf-8"?>
<p:tagLst xmlns:a="http://schemas.openxmlformats.org/drawingml/2006/main" xmlns:r="http://schemas.openxmlformats.org/officeDocument/2006/relationships" xmlns:p="http://schemas.openxmlformats.org/presentationml/2006/main">
  <p:tag name="THINKCELLSHAPEDONOTDELETE" val="t94UzMJ2sTIq3akGMNjaPCw"/>
</p:tagLst>
</file>

<file path=ppt/tags/tag2027.xml><?xml version="1.0" encoding="utf-8"?>
<p:tagLst xmlns:a="http://schemas.openxmlformats.org/drawingml/2006/main" xmlns:r="http://schemas.openxmlformats.org/officeDocument/2006/relationships" xmlns:p="http://schemas.openxmlformats.org/presentationml/2006/main">
  <p:tag name="THINKCELLSHAPEDONOTDELETE" val="tCjQkkwEDSnCZxNNLaQCdJg"/>
</p:tagLst>
</file>

<file path=ppt/tags/tag2028.xml><?xml version="1.0" encoding="utf-8"?>
<p:tagLst xmlns:a="http://schemas.openxmlformats.org/drawingml/2006/main" xmlns:r="http://schemas.openxmlformats.org/officeDocument/2006/relationships" xmlns:p="http://schemas.openxmlformats.org/presentationml/2006/main">
  <p:tag name="THINKCELLSHAPEDONOTDELETE" val="tFQd3VubZS2yBPEIhsLRvrg"/>
</p:tagLst>
</file>

<file path=ppt/tags/tag2029.xml><?xml version="1.0" encoding="utf-8"?>
<p:tagLst xmlns:a="http://schemas.openxmlformats.org/drawingml/2006/main" xmlns:r="http://schemas.openxmlformats.org/officeDocument/2006/relationships" xmlns:p="http://schemas.openxmlformats.org/presentationml/2006/main">
  <p:tag name="THINKCELLSHAPEDONOTDELETE" val="tJo38EZg9TfOCkKh8g3sDfA"/>
</p:tagLst>
</file>

<file path=ppt/tags/tag203.xml><?xml version="1.0" encoding="utf-8"?>
<p:tagLst xmlns:a="http://schemas.openxmlformats.org/drawingml/2006/main" xmlns:r="http://schemas.openxmlformats.org/officeDocument/2006/relationships" xmlns:p="http://schemas.openxmlformats.org/presentationml/2006/main">
  <p:tag name="ISLEGEND" val="true"/>
</p:tagLst>
</file>

<file path=ppt/tags/tag2030.xml><?xml version="1.0" encoding="utf-8"?>
<p:tagLst xmlns:a="http://schemas.openxmlformats.org/drawingml/2006/main" xmlns:r="http://schemas.openxmlformats.org/officeDocument/2006/relationships" xmlns:p="http://schemas.openxmlformats.org/presentationml/2006/main">
  <p:tag name="THINKCELLSHAPEDONOTDELETE" val="t9KHPX1OIS22YdBKYHPetUg"/>
</p:tagLst>
</file>

<file path=ppt/tags/tag2031.xml><?xml version="1.0" encoding="utf-8"?>
<p:tagLst xmlns:a="http://schemas.openxmlformats.org/drawingml/2006/main" xmlns:r="http://schemas.openxmlformats.org/officeDocument/2006/relationships" xmlns:p="http://schemas.openxmlformats.org/presentationml/2006/main">
  <p:tag name="THINKCELLSHAPEDONOTDELETE" val="tPWBkrvAoROyx4UB8BrxnUg"/>
</p:tagLst>
</file>

<file path=ppt/tags/tag2032.xml><?xml version="1.0" encoding="utf-8"?>
<p:tagLst xmlns:a="http://schemas.openxmlformats.org/drawingml/2006/main" xmlns:r="http://schemas.openxmlformats.org/officeDocument/2006/relationships" xmlns:p="http://schemas.openxmlformats.org/presentationml/2006/main">
  <p:tag name="NOPREFERENCE" val="False"/>
</p:tagLst>
</file>

<file path=ppt/tags/tag20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34.xml><?xml version="1.0" encoding="utf-8"?>
<p:tagLst xmlns:a="http://schemas.openxmlformats.org/drawingml/2006/main" xmlns:r="http://schemas.openxmlformats.org/officeDocument/2006/relationships" xmlns:p="http://schemas.openxmlformats.org/presentationml/2006/main">
  <p:tag name="THINKCELLSHAPEDONOTDELETE" val="tDdDHhivvfUKTEV2z9e0JjA"/>
</p:tagLst>
</file>

<file path=ppt/tags/tag2035.xml><?xml version="1.0" encoding="utf-8"?>
<p:tagLst xmlns:a="http://schemas.openxmlformats.org/drawingml/2006/main" xmlns:r="http://schemas.openxmlformats.org/officeDocument/2006/relationships" xmlns:p="http://schemas.openxmlformats.org/presentationml/2006/main">
  <p:tag name="RESIZE" val="Yes"/>
</p:tagLst>
</file>

<file path=ppt/tags/tag2036.xml><?xml version="1.0" encoding="utf-8"?>
<p:tagLst xmlns:a="http://schemas.openxmlformats.org/drawingml/2006/main" xmlns:r="http://schemas.openxmlformats.org/officeDocument/2006/relationships" xmlns:p="http://schemas.openxmlformats.org/presentationml/2006/main">
  <p:tag name="NOPREFERENCE" val="False"/>
</p:tagLst>
</file>

<file path=ppt/tags/tag20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38.xml><?xml version="1.0" encoding="utf-8"?>
<p:tagLst xmlns:a="http://schemas.openxmlformats.org/drawingml/2006/main" xmlns:r="http://schemas.openxmlformats.org/officeDocument/2006/relationships" xmlns:p="http://schemas.openxmlformats.org/presentationml/2006/main">
  <p:tag name="RESIZE" val="Yes"/>
</p:tagLst>
</file>

<file path=ppt/tags/tag2039.xml><?xml version="1.0" encoding="utf-8"?>
<p:tagLst xmlns:a="http://schemas.openxmlformats.org/drawingml/2006/main" xmlns:r="http://schemas.openxmlformats.org/officeDocument/2006/relationships" xmlns:p="http://schemas.openxmlformats.org/presentationml/2006/main">
  <p:tag name="NAME" val="Oval"/>
</p:tagLst>
</file>

<file path=ppt/tags/tag204.xml><?xml version="1.0" encoding="utf-8"?>
<p:tagLst xmlns:a="http://schemas.openxmlformats.org/drawingml/2006/main" xmlns:r="http://schemas.openxmlformats.org/officeDocument/2006/relationships" xmlns:p="http://schemas.openxmlformats.org/presentationml/2006/main">
  <p:tag name="ISLEGEND" val="true"/>
</p:tagLst>
</file>

<file path=ppt/tags/tag2040.xml><?xml version="1.0" encoding="utf-8"?>
<p:tagLst xmlns:a="http://schemas.openxmlformats.org/drawingml/2006/main" xmlns:r="http://schemas.openxmlformats.org/officeDocument/2006/relationships" xmlns:p="http://schemas.openxmlformats.org/presentationml/2006/main">
  <p:tag name="NAME" val="Oval"/>
</p:tagLst>
</file>

<file path=ppt/tags/tag2041.xml><?xml version="1.0" encoding="utf-8"?>
<p:tagLst xmlns:a="http://schemas.openxmlformats.org/drawingml/2006/main" xmlns:r="http://schemas.openxmlformats.org/officeDocument/2006/relationships" xmlns:p="http://schemas.openxmlformats.org/presentationml/2006/main">
  <p:tag name="NAME" val="Oval"/>
</p:tagLst>
</file>

<file path=ppt/tags/tag2042.xml><?xml version="1.0" encoding="utf-8"?>
<p:tagLst xmlns:a="http://schemas.openxmlformats.org/drawingml/2006/main" xmlns:r="http://schemas.openxmlformats.org/officeDocument/2006/relationships" xmlns:p="http://schemas.openxmlformats.org/presentationml/2006/main">
  <p:tag name="NAME" val="Oval"/>
</p:tagLst>
</file>

<file path=ppt/tags/tag2043.xml><?xml version="1.0" encoding="utf-8"?>
<p:tagLst xmlns:a="http://schemas.openxmlformats.org/drawingml/2006/main" xmlns:r="http://schemas.openxmlformats.org/officeDocument/2006/relationships" xmlns:p="http://schemas.openxmlformats.org/presentationml/2006/main">
  <p:tag name="NAME" val="Oval"/>
</p:tagLst>
</file>

<file path=ppt/tags/tag2044.xml><?xml version="1.0" encoding="utf-8"?>
<p:tagLst xmlns:a="http://schemas.openxmlformats.org/drawingml/2006/main" xmlns:r="http://schemas.openxmlformats.org/officeDocument/2006/relationships" xmlns:p="http://schemas.openxmlformats.org/presentationml/2006/main">
  <p:tag name="NAME" val="Oval"/>
</p:tagLst>
</file>

<file path=ppt/tags/tag2045.xml><?xml version="1.0" encoding="utf-8"?>
<p:tagLst xmlns:a="http://schemas.openxmlformats.org/drawingml/2006/main" xmlns:r="http://schemas.openxmlformats.org/officeDocument/2006/relationships" xmlns:p="http://schemas.openxmlformats.org/presentationml/2006/main">
  <p:tag name="NAME" val="Oval"/>
</p:tagLst>
</file>

<file path=ppt/tags/tag2046.xml><?xml version="1.0" encoding="utf-8"?>
<p:tagLst xmlns:a="http://schemas.openxmlformats.org/drawingml/2006/main" xmlns:r="http://schemas.openxmlformats.org/officeDocument/2006/relationships" xmlns:p="http://schemas.openxmlformats.org/presentationml/2006/main">
  <p:tag name="NAME" val="Oval"/>
</p:tagLst>
</file>

<file path=ppt/tags/tag2047.xml><?xml version="1.0" encoding="utf-8"?>
<p:tagLst xmlns:a="http://schemas.openxmlformats.org/drawingml/2006/main" xmlns:r="http://schemas.openxmlformats.org/officeDocument/2006/relationships" xmlns:p="http://schemas.openxmlformats.org/presentationml/2006/main">
  <p:tag name="NOPREFERENCE" val="False"/>
</p:tagLst>
</file>

<file path=ppt/tags/tag2048.xml><?xml version="1.0" encoding="utf-8"?>
<p:tagLst xmlns:a="http://schemas.openxmlformats.org/drawingml/2006/main" xmlns:r="http://schemas.openxmlformats.org/officeDocument/2006/relationships" xmlns:p="http://schemas.openxmlformats.org/presentationml/2006/main">
  <p:tag name="THINKCELLSHAPEDONOTDELETE" val="prbtPRvoWl0WZZpKakWBX6A"/>
</p:tagLst>
</file>

<file path=ppt/tags/tag2049.xml><?xml version="1.0" encoding="utf-8"?>
<p:tagLst xmlns:a="http://schemas.openxmlformats.org/drawingml/2006/main" xmlns:r="http://schemas.openxmlformats.org/officeDocument/2006/relationships" xmlns:p="http://schemas.openxmlformats.org/presentationml/2006/main">
  <p:tag name="THINKCELLSHAPEDONOTDELETE" val="p3y7uic8a50.f1sMTmr73jw"/>
</p:tagLst>
</file>

<file path=ppt/tags/tag205.xml><?xml version="1.0" encoding="utf-8"?>
<p:tagLst xmlns:a="http://schemas.openxmlformats.org/drawingml/2006/main" xmlns:r="http://schemas.openxmlformats.org/officeDocument/2006/relationships" xmlns:p="http://schemas.openxmlformats.org/presentationml/2006/main">
  <p:tag name="ISLEGEND" val="true"/>
</p:tagLst>
</file>

<file path=ppt/tags/tag2050.xml><?xml version="1.0" encoding="utf-8"?>
<p:tagLst xmlns:a="http://schemas.openxmlformats.org/drawingml/2006/main" xmlns:r="http://schemas.openxmlformats.org/officeDocument/2006/relationships" xmlns:p="http://schemas.openxmlformats.org/presentationml/2006/main">
  <p:tag name="THINKCELLSHAPEDONOTDELETE" val="pqOTrBLmJTEy3xdPoDAAYkw"/>
</p:tagLst>
</file>

<file path=ppt/tags/tag2051.xml><?xml version="1.0" encoding="utf-8"?>
<p:tagLst xmlns:a="http://schemas.openxmlformats.org/drawingml/2006/main" xmlns:r="http://schemas.openxmlformats.org/officeDocument/2006/relationships" xmlns:p="http://schemas.openxmlformats.org/presentationml/2006/main">
  <p:tag name="THINKCELLSHAPEDONOTDELETE" val="pOBEKj6tW00WPMdIzZ9Bg6A"/>
</p:tagLst>
</file>

<file path=ppt/tags/tag2052.xml><?xml version="1.0" encoding="utf-8"?>
<p:tagLst xmlns:a="http://schemas.openxmlformats.org/drawingml/2006/main" xmlns:r="http://schemas.openxmlformats.org/officeDocument/2006/relationships" xmlns:p="http://schemas.openxmlformats.org/presentationml/2006/main">
  <p:tag name="THINKCELLSHAPEDONOTDELETE" val="pLeGD2tMMAU2xJYiHcHDtiQ"/>
</p:tagLst>
</file>

<file path=ppt/tags/tag2053.xml><?xml version="1.0" encoding="utf-8"?>
<p:tagLst xmlns:a="http://schemas.openxmlformats.org/drawingml/2006/main" xmlns:r="http://schemas.openxmlformats.org/officeDocument/2006/relationships" xmlns:p="http://schemas.openxmlformats.org/presentationml/2006/main">
  <p:tag name="THINKCELLSHAPEDONOTDELETE" val="pMH5WwslYu0ufMfCYq9UyyA"/>
</p:tagLst>
</file>

<file path=ppt/tags/tag2054.xml><?xml version="1.0" encoding="utf-8"?>
<p:tagLst xmlns:a="http://schemas.openxmlformats.org/drawingml/2006/main" xmlns:r="http://schemas.openxmlformats.org/officeDocument/2006/relationships" xmlns:p="http://schemas.openxmlformats.org/presentationml/2006/main">
  <p:tag name="THINKCELLSHAPEDONOTDELETE" val="pRwIwmsMsHUqD8ZNNqnz5EA"/>
</p:tagLst>
</file>

<file path=ppt/tags/tag2055.xml><?xml version="1.0" encoding="utf-8"?>
<p:tagLst xmlns:a="http://schemas.openxmlformats.org/drawingml/2006/main" xmlns:r="http://schemas.openxmlformats.org/officeDocument/2006/relationships" xmlns:p="http://schemas.openxmlformats.org/presentationml/2006/main">
  <p:tag name="THINKCELLSHAPEDONOTDELETE" val="pUGyiwF7VnESAZvJ3Sl4wvw"/>
</p:tagLst>
</file>

<file path=ppt/tags/tag2056.xml><?xml version="1.0" encoding="utf-8"?>
<p:tagLst xmlns:a="http://schemas.openxmlformats.org/drawingml/2006/main" xmlns:r="http://schemas.openxmlformats.org/officeDocument/2006/relationships" xmlns:p="http://schemas.openxmlformats.org/presentationml/2006/main">
  <p:tag name="THINKCELLSHAPEDONOTDELETE" val="pPiIzzcWMtkeHMzhUxFPR9g"/>
</p:tagLst>
</file>

<file path=ppt/tags/tag2057.xml><?xml version="1.0" encoding="utf-8"?>
<p:tagLst xmlns:a="http://schemas.openxmlformats.org/drawingml/2006/main" xmlns:r="http://schemas.openxmlformats.org/officeDocument/2006/relationships" xmlns:p="http://schemas.openxmlformats.org/presentationml/2006/main">
  <p:tag name="THINKCELLSHAPEDONOTDELETE" val="pyjD_E9MW30SxEj4_ThFyvg"/>
</p:tagLst>
</file>

<file path=ppt/tags/tag2058.xml><?xml version="1.0" encoding="utf-8"?>
<p:tagLst xmlns:a="http://schemas.openxmlformats.org/drawingml/2006/main" xmlns:r="http://schemas.openxmlformats.org/officeDocument/2006/relationships" xmlns:p="http://schemas.openxmlformats.org/presentationml/2006/main">
  <p:tag name="THINKCELLSHAPEDONOTDELETE" val="pDIzniaT9ykOikxc5RfJiTQ"/>
</p:tagLst>
</file>

<file path=ppt/tags/tag2059.xml><?xml version="1.0" encoding="utf-8"?>
<p:tagLst xmlns:a="http://schemas.openxmlformats.org/drawingml/2006/main" xmlns:r="http://schemas.openxmlformats.org/officeDocument/2006/relationships" xmlns:p="http://schemas.openxmlformats.org/presentationml/2006/main">
  <p:tag name="THINKCELLSHAPEDONOTDELETE" val="p7IwPWASPHE6y_GoxBD7xmw"/>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60.xml><?xml version="1.0" encoding="utf-8"?>
<p:tagLst xmlns:a="http://schemas.openxmlformats.org/drawingml/2006/main" xmlns:r="http://schemas.openxmlformats.org/officeDocument/2006/relationships" xmlns:p="http://schemas.openxmlformats.org/presentationml/2006/main">
  <p:tag name="THINKCELLSHAPEDONOTDELETE" val="p1hMQE3TSCE6F7fSPJmgsdg"/>
</p:tagLst>
</file>

<file path=ppt/tags/tag2061.xml><?xml version="1.0" encoding="utf-8"?>
<p:tagLst xmlns:a="http://schemas.openxmlformats.org/drawingml/2006/main" xmlns:r="http://schemas.openxmlformats.org/officeDocument/2006/relationships" xmlns:p="http://schemas.openxmlformats.org/presentationml/2006/main">
  <p:tag name="THINKCELLSHAPEDONOTDELETE" val="poiblhl8ZqEiLgnq3Vh9ciA"/>
</p:tagLst>
</file>

<file path=ppt/tags/tag2062.xml><?xml version="1.0" encoding="utf-8"?>
<p:tagLst xmlns:a="http://schemas.openxmlformats.org/drawingml/2006/main" xmlns:r="http://schemas.openxmlformats.org/officeDocument/2006/relationships" xmlns:p="http://schemas.openxmlformats.org/presentationml/2006/main">
  <p:tag name="THINKCELLSHAPEDONOTDELETE" val="pAfBBts13Z0OQ4iWtDJwLNQ"/>
</p:tagLst>
</file>

<file path=ppt/tags/tag2063.xml><?xml version="1.0" encoding="utf-8"?>
<p:tagLst xmlns:a="http://schemas.openxmlformats.org/drawingml/2006/main" xmlns:r="http://schemas.openxmlformats.org/officeDocument/2006/relationships" xmlns:p="http://schemas.openxmlformats.org/presentationml/2006/main">
  <p:tag name="THINKCELLSHAPEDONOTDELETE" val="prbtPRvoWl0WZZpKakWBX6A"/>
</p:tagLst>
</file>

<file path=ppt/tags/tag2064.xml><?xml version="1.0" encoding="utf-8"?>
<p:tagLst xmlns:a="http://schemas.openxmlformats.org/drawingml/2006/main" xmlns:r="http://schemas.openxmlformats.org/officeDocument/2006/relationships" xmlns:p="http://schemas.openxmlformats.org/presentationml/2006/main">
  <p:tag name="THINKCELLSHAPEDONOTDELETE" val="p3y7uic8a50.f1sMTmr73jw"/>
</p:tagLst>
</file>

<file path=ppt/tags/tag2065.xml><?xml version="1.0" encoding="utf-8"?>
<p:tagLst xmlns:a="http://schemas.openxmlformats.org/drawingml/2006/main" xmlns:r="http://schemas.openxmlformats.org/officeDocument/2006/relationships" xmlns:p="http://schemas.openxmlformats.org/presentationml/2006/main">
  <p:tag name="THINKCELLSHAPEDONOTDELETE" val="pqOTrBLmJTEy3xdPoDAAYkw"/>
</p:tagLst>
</file>

<file path=ppt/tags/tag2066.xml><?xml version="1.0" encoding="utf-8"?>
<p:tagLst xmlns:a="http://schemas.openxmlformats.org/drawingml/2006/main" xmlns:r="http://schemas.openxmlformats.org/officeDocument/2006/relationships" xmlns:p="http://schemas.openxmlformats.org/presentationml/2006/main">
  <p:tag name="THINKCELLSHAPEDONOTDELETE" val="pOBEKj6tW00WPMdIzZ9Bg6A"/>
</p:tagLst>
</file>

<file path=ppt/tags/tag2067.xml><?xml version="1.0" encoding="utf-8"?>
<p:tagLst xmlns:a="http://schemas.openxmlformats.org/drawingml/2006/main" xmlns:r="http://schemas.openxmlformats.org/officeDocument/2006/relationships" xmlns:p="http://schemas.openxmlformats.org/presentationml/2006/main">
  <p:tag name="RESIZE" val="Yes"/>
</p:tagLst>
</file>

<file path=ppt/tags/tag2068.xml><?xml version="1.0" encoding="utf-8"?>
<p:tagLst xmlns:a="http://schemas.openxmlformats.org/drawingml/2006/main" xmlns:r="http://schemas.openxmlformats.org/officeDocument/2006/relationships" xmlns:p="http://schemas.openxmlformats.org/presentationml/2006/main">
  <p:tag name="THINKCELLSHAPEDONOTDELETE" val="pDySO3EJGlkO36UCGKKNysw"/>
</p:tagLst>
</file>

<file path=ppt/tags/tag2069.xml><?xml version="1.0" encoding="utf-8"?>
<p:tagLst xmlns:a="http://schemas.openxmlformats.org/drawingml/2006/main" xmlns:r="http://schemas.openxmlformats.org/officeDocument/2006/relationships" xmlns:p="http://schemas.openxmlformats.org/presentationml/2006/main">
  <p:tag name="THINKCELLSHAPEDONOTDELETE" val="pK9.kgP0WwUWaz_zSv_45EQ"/>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70.xml><?xml version="1.0" encoding="utf-8"?>
<p:tagLst xmlns:a="http://schemas.openxmlformats.org/drawingml/2006/main" xmlns:r="http://schemas.openxmlformats.org/officeDocument/2006/relationships" xmlns:p="http://schemas.openxmlformats.org/presentationml/2006/main">
  <p:tag name="THINKCELLSHAPEDONOTDELETE" val="pNIT35W1uZEC210TJnNPSew"/>
</p:tagLst>
</file>

<file path=ppt/tags/tag2071.xml><?xml version="1.0" encoding="utf-8"?>
<p:tagLst xmlns:a="http://schemas.openxmlformats.org/drawingml/2006/main" xmlns:r="http://schemas.openxmlformats.org/officeDocument/2006/relationships" xmlns:p="http://schemas.openxmlformats.org/presentationml/2006/main">
  <p:tag name="THINKCELLSHAPEDONOTDELETE" val="pqgsdQ5QAfUCV1Ks8yDpI0A"/>
</p:tagLst>
</file>

<file path=ppt/tags/tag2072.xml><?xml version="1.0" encoding="utf-8"?>
<p:tagLst xmlns:a="http://schemas.openxmlformats.org/drawingml/2006/main" xmlns:r="http://schemas.openxmlformats.org/officeDocument/2006/relationships" xmlns:p="http://schemas.openxmlformats.org/presentationml/2006/main">
  <p:tag name="THINKCELLSHAPEDONOTDELETE" val="ph3fnrRiIzEuRcTfqHlQaVg"/>
</p:tagLst>
</file>

<file path=ppt/tags/tag2073.xml><?xml version="1.0" encoding="utf-8"?>
<p:tagLst xmlns:a="http://schemas.openxmlformats.org/drawingml/2006/main" xmlns:r="http://schemas.openxmlformats.org/officeDocument/2006/relationships" xmlns:p="http://schemas.openxmlformats.org/presentationml/2006/main">
  <p:tag name="THINKCELLSHAPEDONOTDELETE" val="pffosmz.Fv0Sgbh__L.J.zw"/>
</p:tagLst>
</file>

<file path=ppt/tags/tag2074.xml><?xml version="1.0" encoding="utf-8"?>
<p:tagLst xmlns:a="http://schemas.openxmlformats.org/drawingml/2006/main" xmlns:r="http://schemas.openxmlformats.org/officeDocument/2006/relationships" xmlns:p="http://schemas.openxmlformats.org/presentationml/2006/main">
  <p:tag name="THINKCELLSHAPEDONOTDELETE" val="pBwm7iPaqyUqYbTiSfPDSzA"/>
</p:tagLst>
</file>

<file path=ppt/tags/tag2075.xml><?xml version="1.0" encoding="utf-8"?>
<p:tagLst xmlns:a="http://schemas.openxmlformats.org/drawingml/2006/main" xmlns:r="http://schemas.openxmlformats.org/officeDocument/2006/relationships" xmlns:p="http://schemas.openxmlformats.org/presentationml/2006/main">
  <p:tag name="THINKCELLSHAPEDONOTDELETE" val="p42QwP4xRD02kkLnACOsn1g"/>
</p:tagLst>
</file>

<file path=ppt/tags/tag2076.xml><?xml version="1.0" encoding="utf-8"?>
<p:tagLst xmlns:a="http://schemas.openxmlformats.org/drawingml/2006/main" xmlns:r="http://schemas.openxmlformats.org/officeDocument/2006/relationships" xmlns:p="http://schemas.openxmlformats.org/presentationml/2006/main">
  <p:tag name="THINKCELLSHAPEDONOTDELETE" val="poeyMRv8rQ0mZ.Mo7_Y9U2g"/>
</p:tagLst>
</file>

<file path=ppt/tags/tag2077.xml><?xml version="1.0" encoding="utf-8"?>
<p:tagLst xmlns:a="http://schemas.openxmlformats.org/drawingml/2006/main" xmlns:r="http://schemas.openxmlformats.org/officeDocument/2006/relationships" xmlns:p="http://schemas.openxmlformats.org/presentationml/2006/main">
  <p:tag name="THINKCELLSHAPEDONOTDELETE" val="p5dO4wA39p0ion8tGg7ilgw"/>
</p:tagLst>
</file>

<file path=ppt/tags/tag2078.xml><?xml version="1.0" encoding="utf-8"?>
<p:tagLst xmlns:a="http://schemas.openxmlformats.org/drawingml/2006/main" xmlns:r="http://schemas.openxmlformats.org/officeDocument/2006/relationships" xmlns:p="http://schemas.openxmlformats.org/presentationml/2006/main">
  <p:tag name="THINKCELLSHAPEDONOTDELETE" val="pR6SsvNT2VUSDJdarybmkBQ"/>
</p:tagLst>
</file>

<file path=ppt/tags/tag2079.xml><?xml version="1.0" encoding="utf-8"?>
<p:tagLst xmlns:a="http://schemas.openxmlformats.org/drawingml/2006/main" xmlns:r="http://schemas.openxmlformats.org/officeDocument/2006/relationships" xmlns:p="http://schemas.openxmlformats.org/presentationml/2006/main">
  <p:tag name="THINKCELLSHAPEDONOTDELETE" val="pvF5SLFJlCkyXWFmlOCOdMQ"/>
</p:tagLst>
</file>

<file path=ppt/tags/tag208.xml><?xml version="1.0" encoding="utf-8"?>
<p:tagLst xmlns:a="http://schemas.openxmlformats.org/drawingml/2006/main" xmlns:r="http://schemas.openxmlformats.org/officeDocument/2006/relationships" xmlns:p="http://schemas.openxmlformats.org/presentationml/2006/main">
  <p:tag name="NAME" val="Logo"/>
</p:tagLst>
</file>

<file path=ppt/tags/tag2080.xml><?xml version="1.0" encoding="utf-8"?>
<p:tagLst xmlns:a="http://schemas.openxmlformats.org/drawingml/2006/main" xmlns:r="http://schemas.openxmlformats.org/officeDocument/2006/relationships" xmlns:p="http://schemas.openxmlformats.org/presentationml/2006/main">
  <p:tag name="THINKCELLSHAPEDONOTDELETE" val="pIyYnoasFYE2qNCuuHpmM5Q"/>
</p:tagLst>
</file>

<file path=ppt/tags/tag2081.xml><?xml version="1.0" encoding="utf-8"?>
<p:tagLst xmlns:a="http://schemas.openxmlformats.org/drawingml/2006/main" xmlns:r="http://schemas.openxmlformats.org/officeDocument/2006/relationships" xmlns:p="http://schemas.openxmlformats.org/presentationml/2006/main">
  <p:tag name="THINKCELLSHAPEDONOTDELETE" val="pacNfYCQL2EOAeCY3dZ6_zQ"/>
</p:tagLst>
</file>

<file path=ppt/tags/tag2082.xml><?xml version="1.0" encoding="utf-8"?>
<p:tagLst xmlns:a="http://schemas.openxmlformats.org/drawingml/2006/main" xmlns:r="http://schemas.openxmlformats.org/officeDocument/2006/relationships" xmlns:p="http://schemas.openxmlformats.org/presentationml/2006/main">
  <p:tag name="THINKCELLSHAPEDONOTDELETE" val="pwSqyKcUJO0SaPzB.uKlTwg"/>
</p:tagLst>
</file>

<file path=ppt/tags/tag2083.xml><?xml version="1.0" encoding="utf-8"?>
<p:tagLst xmlns:a="http://schemas.openxmlformats.org/drawingml/2006/main" xmlns:r="http://schemas.openxmlformats.org/officeDocument/2006/relationships" xmlns:p="http://schemas.openxmlformats.org/presentationml/2006/main">
  <p:tag name="THINKCELLSHAPEDONOTDELETE" val="pHreJypXitkyjmT8Q.XubIA"/>
</p:tagLst>
</file>

<file path=ppt/tags/tag2084.xml><?xml version="1.0" encoding="utf-8"?>
<p:tagLst xmlns:a="http://schemas.openxmlformats.org/drawingml/2006/main" xmlns:r="http://schemas.openxmlformats.org/officeDocument/2006/relationships" xmlns:p="http://schemas.openxmlformats.org/presentationml/2006/main">
  <p:tag name="THINKCELLSHAPEDONOTDELETE" val="pSaPgKRMgV0CY6JybKRn4AA"/>
</p:tagLst>
</file>

<file path=ppt/tags/tag2085.xml><?xml version="1.0" encoding="utf-8"?>
<p:tagLst xmlns:a="http://schemas.openxmlformats.org/drawingml/2006/main" xmlns:r="http://schemas.openxmlformats.org/officeDocument/2006/relationships" xmlns:p="http://schemas.openxmlformats.org/presentationml/2006/main">
  <p:tag name="THINKCELLSHAPEDONOTDELETE" val="p77ULT4henk2SYPQXZrp0EA"/>
</p:tagLst>
</file>

<file path=ppt/tags/tag2086.xml><?xml version="1.0" encoding="utf-8"?>
<p:tagLst xmlns:a="http://schemas.openxmlformats.org/drawingml/2006/main" xmlns:r="http://schemas.openxmlformats.org/officeDocument/2006/relationships" xmlns:p="http://schemas.openxmlformats.org/presentationml/2006/main">
  <p:tag name="THINKCELLSHAPEDONOTDELETE" val="pOSJ25wyXn06F4KTY6lHPgA"/>
</p:tagLst>
</file>

<file path=ppt/tags/tag2087.xml><?xml version="1.0" encoding="utf-8"?>
<p:tagLst xmlns:a="http://schemas.openxmlformats.org/drawingml/2006/main" xmlns:r="http://schemas.openxmlformats.org/officeDocument/2006/relationships" xmlns:p="http://schemas.openxmlformats.org/presentationml/2006/main">
  <p:tag name="THINKCELLSHAPEDONOTDELETE" val="pCSFihBIl20at1XdNKdee8g"/>
</p:tagLst>
</file>

<file path=ppt/tags/tag2088.xml><?xml version="1.0" encoding="utf-8"?>
<p:tagLst xmlns:a="http://schemas.openxmlformats.org/drawingml/2006/main" xmlns:r="http://schemas.openxmlformats.org/officeDocument/2006/relationships" xmlns:p="http://schemas.openxmlformats.org/presentationml/2006/main">
  <p:tag name="THINKCELLSHAPEDONOTDELETE" val="pF14.jf3cnUiDwD_u5OrmaA"/>
</p:tagLst>
</file>

<file path=ppt/tags/tag2089.xml><?xml version="1.0" encoding="utf-8"?>
<p:tagLst xmlns:a="http://schemas.openxmlformats.org/drawingml/2006/main" xmlns:r="http://schemas.openxmlformats.org/officeDocument/2006/relationships" xmlns:p="http://schemas.openxmlformats.org/presentationml/2006/main">
  <p:tag name="THINKCELLSHAPEDONOTDELETE" val="p8vXiEZTQ5kGaRjSQY.IzTg"/>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90.xml><?xml version="1.0" encoding="utf-8"?>
<p:tagLst xmlns:a="http://schemas.openxmlformats.org/drawingml/2006/main" xmlns:r="http://schemas.openxmlformats.org/officeDocument/2006/relationships" xmlns:p="http://schemas.openxmlformats.org/presentationml/2006/main">
  <p:tag name="THINKCELLSHAPEDONOTDELETE" val="pO04qO3UQ0kiX8ax7U9iz6Q"/>
</p:tagLst>
</file>

<file path=ppt/tags/tag2091.xml><?xml version="1.0" encoding="utf-8"?>
<p:tagLst xmlns:a="http://schemas.openxmlformats.org/drawingml/2006/main" xmlns:r="http://schemas.openxmlformats.org/officeDocument/2006/relationships" xmlns:p="http://schemas.openxmlformats.org/presentationml/2006/main">
  <p:tag name="THINKCELLSHAPEDONOTDELETE" val="pTjNCk4lmMEGu0Eu0EjoQ3w"/>
</p:tagLst>
</file>

<file path=ppt/tags/tag2092.xml><?xml version="1.0" encoding="utf-8"?>
<p:tagLst xmlns:a="http://schemas.openxmlformats.org/drawingml/2006/main" xmlns:r="http://schemas.openxmlformats.org/officeDocument/2006/relationships" xmlns:p="http://schemas.openxmlformats.org/presentationml/2006/main">
  <p:tag name="THINKCELLSHAPEDONOTDELETE" val="pzTP8EecgEEmZO3qTJn8xrw"/>
</p:tagLst>
</file>

<file path=ppt/tags/tag2093.xml><?xml version="1.0" encoding="utf-8"?>
<p:tagLst xmlns:a="http://schemas.openxmlformats.org/drawingml/2006/main" xmlns:r="http://schemas.openxmlformats.org/officeDocument/2006/relationships" xmlns:p="http://schemas.openxmlformats.org/presentationml/2006/main">
  <p:tag name="THINKCELLSHAPEDONOTDELETE" val="pCHKU7553AE6aH.3Ejoa__g"/>
</p:tagLst>
</file>

<file path=ppt/tags/tag2094.xml><?xml version="1.0" encoding="utf-8"?>
<p:tagLst xmlns:a="http://schemas.openxmlformats.org/drawingml/2006/main" xmlns:r="http://schemas.openxmlformats.org/officeDocument/2006/relationships" xmlns:p="http://schemas.openxmlformats.org/presentationml/2006/main">
  <p:tag name="THINKCELLSHAPEDONOTDELETE" val="pGsgSnh.jZkih63YEsWU6QQ"/>
</p:tagLst>
</file>

<file path=ppt/tags/tag2095.xml><?xml version="1.0" encoding="utf-8"?>
<p:tagLst xmlns:a="http://schemas.openxmlformats.org/drawingml/2006/main" xmlns:r="http://schemas.openxmlformats.org/officeDocument/2006/relationships" xmlns:p="http://schemas.openxmlformats.org/presentationml/2006/main">
  <p:tag name="THINKCELLSHAPEDONOTDELETE" val="pTVilZ5zoEESKOHHdfgmAnw"/>
</p:tagLst>
</file>

<file path=ppt/tags/tag2096.xml><?xml version="1.0" encoding="utf-8"?>
<p:tagLst xmlns:a="http://schemas.openxmlformats.org/drawingml/2006/main" xmlns:r="http://schemas.openxmlformats.org/officeDocument/2006/relationships" xmlns:p="http://schemas.openxmlformats.org/presentationml/2006/main">
  <p:tag name="NOPREFERENCE" val="False"/>
</p:tagLst>
</file>

<file path=ppt/tags/tag20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98.xml><?xml version="1.0" encoding="utf-8"?>
<p:tagLst xmlns:a="http://schemas.openxmlformats.org/drawingml/2006/main" xmlns:r="http://schemas.openxmlformats.org/officeDocument/2006/relationships" xmlns:p="http://schemas.openxmlformats.org/presentationml/2006/main">
  <p:tag name="RESIZE" val="Yes"/>
</p:tagLst>
</file>

<file path=ppt/tags/tag2099.xml><?xml version="1.0" encoding="utf-8"?>
<p:tagLst xmlns:a="http://schemas.openxmlformats.org/drawingml/2006/main" xmlns:r="http://schemas.openxmlformats.org/officeDocument/2006/relationships" xmlns:p="http://schemas.openxmlformats.org/presentationml/2006/main">
  <p:tag name="RESIZE" val="Yes"/>
</p:tagLst>
</file>

<file path=ppt/tags/tag21.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210.xml><?xml version="1.0" encoding="utf-8"?>
<p:tagLst xmlns:a="http://schemas.openxmlformats.org/drawingml/2006/main" xmlns:r="http://schemas.openxmlformats.org/officeDocument/2006/relationships" xmlns:p="http://schemas.openxmlformats.org/presentationml/2006/main">
  <p:tag name="NAME" val="Logo"/>
</p:tagLst>
</file>

<file path=ppt/tags/tag2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01.xml><?xml version="1.0" encoding="utf-8"?>
<p:tagLst xmlns:a="http://schemas.openxmlformats.org/drawingml/2006/main" xmlns:r="http://schemas.openxmlformats.org/officeDocument/2006/relationships" xmlns:p="http://schemas.openxmlformats.org/presentationml/2006/main">
  <p:tag name="RESIZE" val="Yes"/>
</p:tagLst>
</file>

<file path=ppt/tags/tag2102.xml><?xml version="1.0" encoding="utf-8"?>
<p:tagLst xmlns:a="http://schemas.openxmlformats.org/drawingml/2006/main" xmlns:r="http://schemas.openxmlformats.org/officeDocument/2006/relationships" xmlns:p="http://schemas.openxmlformats.org/presentationml/2006/main">
  <p:tag name="THINKCELLSHAPEDONOTDELETE" val="pXpf3kWnOkU2cBwqPlIbRkg"/>
</p:tagLst>
</file>

<file path=ppt/tags/tag2103.xml><?xml version="1.0" encoding="utf-8"?>
<p:tagLst xmlns:a="http://schemas.openxmlformats.org/drawingml/2006/main" xmlns:r="http://schemas.openxmlformats.org/officeDocument/2006/relationships" xmlns:p="http://schemas.openxmlformats.org/presentationml/2006/main">
  <p:tag name="THINKCELLSHAPEDONOTDELETE" val="pXpf3kWnOkU2cBwqPlIbRkg"/>
</p:tagLst>
</file>

<file path=ppt/tags/tag2104.xml><?xml version="1.0" encoding="utf-8"?>
<p:tagLst xmlns:a="http://schemas.openxmlformats.org/drawingml/2006/main" xmlns:r="http://schemas.openxmlformats.org/officeDocument/2006/relationships" xmlns:p="http://schemas.openxmlformats.org/presentationml/2006/main">
  <p:tag name="NAME" val="SingleBoat"/>
</p:tagLst>
</file>

<file path=ppt/tags/tag2105.xml><?xml version="1.0" encoding="utf-8"?>
<p:tagLst xmlns:a="http://schemas.openxmlformats.org/drawingml/2006/main" xmlns:r="http://schemas.openxmlformats.org/officeDocument/2006/relationships" xmlns:p="http://schemas.openxmlformats.org/presentationml/2006/main">
  <p:tag name="NAME" val="SingleBoat"/>
</p:tagLst>
</file>

<file path=ppt/tags/tag2106.xml><?xml version="1.0" encoding="utf-8"?>
<p:tagLst xmlns:a="http://schemas.openxmlformats.org/drawingml/2006/main" xmlns:r="http://schemas.openxmlformats.org/officeDocument/2006/relationships" xmlns:p="http://schemas.openxmlformats.org/presentationml/2006/main">
  <p:tag name="NAME" val="SingleBoat"/>
</p:tagLst>
</file>

<file path=ppt/tags/tag2107.xml><?xml version="1.0" encoding="utf-8"?>
<p:tagLst xmlns:a="http://schemas.openxmlformats.org/drawingml/2006/main" xmlns:r="http://schemas.openxmlformats.org/officeDocument/2006/relationships" xmlns:p="http://schemas.openxmlformats.org/presentationml/2006/main">
  <p:tag name="THINKCELLSHAPEDONOTDELETE" val="pXpf3kWnOkU2cBwqPlIbRkg"/>
</p:tagLst>
</file>

<file path=ppt/tags/tag2108.xml><?xml version="1.0" encoding="utf-8"?>
<p:tagLst xmlns:a="http://schemas.openxmlformats.org/drawingml/2006/main" xmlns:r="http://schemas.openxmlformats.org/officeDocument/2006/relationships" xmlns:p="http://schemas.openxmlformats.org/presentationml/2006/main">
  <p:tag name="NAME" val="SingleBoatShape"/>
</p:tagLst>
</file>

<file path=ppt/tags/tag2109.xml><?xml version="1.0" encoding="utf-8"?>
<p:tagLst xmlns:a="http://schemas.openxmlformats.org/drawingml/2006/main" xmlns:r="http://schemas.openxmlformats.org/officeDocument/2006/relationships" xmlns:p="http://schemas.openxmlformats.org/presentationml/2006/main">
  <p:tag name="NAME" val="SingleBoatText"/>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10.xml><?xml version="1.0" encoding="utf-8"?>
<p:tagLst xmlns:a="http://schemas.openxmlformats.org/drawingml/2006/main" xmlns:r="http://schemas.openxmlformats.org/officeDocument/2006/relationships" xmlns:p="http://schemas.openxmlformats.org/presentationml/2006/main">
  <p:tag name="NAME" val="SingleBoatShape"/>
</p:tagLst>
</file>

<file path=ppt/tags/tag2111.xml><?xml version="1.0" encoding="utf-8"?>
<p:tagLst xmlns:a="http://schemas.openxmlformats.org/drawingml/2006/main" xmlns:r="http://schemas.openxmlformats.org/officeDocument/2006/relationships" xmlns:p="http://schemas.openxmlformats.org/presentationml/2006/main">
  <p:tag name="NAME" val="SingleBoatText"/>
</p:tagLst>
</file>

<file path=ppt/tags/tag2112.xml><?xml version="1.0" encoding="utf-8"?>
<p:tagLst xmlns:a="http://schemas.openxmlformats.org/drawingml/2006/main" xmlns:r="http://schemas.openxmlformats.org/officeDocument/2006/relationships" xmlns:p="http://schemas.openxmlformats.org/presentationml/2006/main">
  <p:tag name="NAME" val="SingleBoatShape"/>
</p:tagLst>
</file>

<file path=ppt/tags/tag2113.xml><?xml version="1.0" encoding="utf-8"?>
<p:tagLst xmlns:a="http://schemas.openxmlformats.org/drawingml/2006/main" xmlns:r="http://schemas.openxmlformats.org/officeDocument/2006/relationships" xmlns:p="http://schemas.openxmlformats.org/presentationml/2006/main">
  <p:tag name="NAME" val="SingleBoatText"/>
</p:tagLst>
</file>

<file path=ppt/tags/tag2114.xml><?xml version="1.0" encoding="utf-8"?>
<p:tagLst xmlns:a="http://schemas.openxmlformats.org/drawingml/2006/main" xmlns:r="http://schemas.openxmlformats.org/officeDocument/2006/relationships" xmlns:p="http://schemas.openxmlformats.org/presentationml/2006/main">
  <p:tag name="NOPREFERENCE" val="False"/>
  <p:tag name="DELIMITERS" val="3.1"/>
</p:tagLst>
</file>

<file path=ppt/tags/tag2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16.xml><?xml version="1.0" encoding="utf-8"?>
<p:tagLst xmlns:a="http://schemas.openxmlformats.org/drawingml/2006/main" xmlns:r="http://schemas.openxmlformats.org/officeDocument/2006/relationships" xmlns:p="http://schemas.openxmlformats.org/presentationml/2006/main">
  <p:tag name="RESIZE" val="Yes"/>
</p:tagLst>
</file>

<file path=ppt/tags/tag2117.xml><?xml version="1.0" encoding="utf-8"?>
<p:tagLst xmlns:a="http://schemas.openxmlformats.org/drawingml/2006/main" xmlns:r="http://schemas.openxmlformats.org/officeDocument/2006/relationships" xmlns:p="http://schemas.openxmlformats.org/presentationml/2006/main">
  <p:tag name="RESIZE" val="Yes"/>
</p:tagLst>
</file>

<file path=ppt/tags/tag2118.xml><?xml version="1.0" encoding="utf-8"?>
<p:tagLst xmlns:a="http://schemas.openxmlformats.org/drawingml/2006/main" xmlns:r="http://schemas.openxmlformats.org/officeDocument/2006/relationships" xmlns:p="http://schemas.openxmlformats.org/presentationml/2006/main">
  <p:tag name="NOPREFERENCE" val="False"/>
</p:tagLst>
</file>

<file path=ppt/tags/tag2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20.xml><?xml version="1.0" encoding="utf-8"?>
<p:tagLst xmlns:a="http://schemas.openxmlformats.org/drawingml/2006/main" xmlns:r="http://schemas.openxmlformats.org/officeDocument/2006/relationships" xmlns:p="http://schemas.openxmlformats.org/presentationml/2006/main">
  <p:tag name="THINKCELLSHAPEDONOTDELETE" val="t_ntHe1ljBkqYsnuEsI98Fg"/>
</p:tagLst>
</file>

<file path=ppt/tags/tag2121.xml><?xml version="1.0" encoding="utf-8"?>
<p:tagLst xmlns:a="http://schemas.openxmlformats.org/drawingml/2006/main" xmlns:r="http://schemas.openxmlformats.org/officeDocument/2006/relationships" xmlns:p="http://schemas.openxmlformats.org/presentationml/2006/main">
  <p:tag name="THINKCELLSHAPEDONOTDELETE" val="t7KLI4TriI0yJCXNpLXT4Ug"/>
</p:tagLst>
</file>

<file path=ppt/tags/tag2122.xml><?xml version="1.0" encoding="utf-8"?>
<p:tagLst xmlns:a="http://schemas.openxmlformats.org/drawingml/2006/main" xmlns:r="http://schemas.openxmlformats.org/officeDocument/2006/relationships" xmlns:p="http://schemas.openxmlformats.org/presentationml/2006/main">
  <p:tag name="RESIZE" val="Yes"/>
</p:tagLst>
</file>

<file path=ppt/tags/tag2123.xml><?xml version="1.0" encoding="utf-8"?>
<p:tagLst xmlns:a="http://schemas.openxmlformats.org/drawingml/2006/main" xmlns:r="http://schemas.openxmlformats.org/officeDocument/2006/relationships" xmlns:p="http://schemas.openxmlformats.org/presentationml/2006/main">
  <p:tag name="NAME" val="MoonShape"/>
</p:tagLst>
</file>

<file path=ppt/tags/tag2124.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2125.xml><?xml version="1.0" encoding="utf-8"?>
<p:tagLst xmlns:a="http://schemas.openxmlformats.org/drawingml/2006/main" xmlns:r="http://schemas.openxmlformats.org/officeDocument/2006/relationships" xmlns:p="http://schemas.openxmlformats.org/presentationml/2006/main">
  <p:tag name="NOPREFERENCE" val="False"/>
</p:tagLst>
</file>

<file path=ppt/tags/tag2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27.xml><?xml version="1.0" encoding="utf-8"?>
<p:tagLst xmlns:a="http://schemas.openxmlformats.org/drawingml/2006/main" xmlns:r="http://schemas.openxmlformats.org/officeDocument/2006/relationships" xmlns:p="http://schemas.openxmlformats.org/presentationml/2006/main">
  <p:tag name="RESIZE" val="Yes"/>
</p:tagLst>
</file>

<file path=ppt/tags/tag2128.xml><?xml version="1.0" encoding="utf-8"?>
<p:tagLst xmlns:a="http://schemas.openxmlformats.org/drawingml/2006/main" xmlns:r="http://schemas.openxmlformats.org/officeDocument/2006/relationships" xmlns:p="http://schemas.openxmlformats.org/presentationml/2006/main">
  <p:tag name="RESIZE" val="Yes"/>
</p:tagLst>
</file>

<file path=ppt/tags/tag2129.xml><?xml version="1.0" encoding="utf-8"?>
<p:tagLst xmlns:a="http://schemas.openxmlformats.org/drawingml/2006/main" xmlns:r="http://schemas.openxmlformats.org/officeDocument/2006/relationships" xmlns:p="http://schemas.openxmlformats.org/presentationml/2006/main">
  <p:tag name="NOPREFERENCE" val="False"/>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dUVaNioeQEy1srSxzx_jYw"/>
</p:tagLst>
</file>

<file path=ppt/tags/tag2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31.xml><?xml version="1.0" encoding="utf-8"?>
<p:tagLst xmlns:a="http://schemas.openxmlformats.org/drawingml/2006/main" xmlns:r="http://schemas.openxmlformats.org/officeDocument/2006/relationships" xmlns:p="http://schemas.openxmlformats.org/presentationml/2006/main">
  <p:tag name="RESIZE" val="Yes"/>
</p:tagLst>
</file>

<file path=ppt/tags/tag2132.xml><?xml version="1.0" encoding="utf-8"?>
<p:tagLst xmlns:a="http://schemas.openxmlformats.org/drawingml/2006/main" xmlns:r="http://schemas.openxmlformats.org/officeDocument/2006/relationships" xmlns:p="http://schemas.openxmlformats.org/presentationml/2006/main">
  <p:tag name="NAME" val="Oval"/>
</p:tagLst>
</file>

<file path=ppt/tags/tag2133.xml><?xml version="1.0" encoding="utf-8"?>
<p:tagLst xmlns:a="http://schemas.openxmlformats.org/drawingml/2006/main" xmlns:r="http://schemas.openxmlformats.org/officeDocument/2006/relationships" xmlns:p="http://schemas.openxmlformats.org/presentationml/2006/main">
  <p:tag name="NAME" val="Oval"/>
</p:tagLst>
</file>

<file path=ppt/tags/tag2134.xml><?xml version="1.0" encoding="utf-8"?>
<p:tagLst xmlns:a="http://schemas.openxmlformats.org/drawingml/2006/main" xmlns:r="http://schemas.openxmlformats.org/officeDocument/2006/relationships" xmlns:p="http://schemas.openxmlformats.org/presentationml/2006/main">
  <p:tag name="NAME" val="Oval"/>
</p:tagLst>
</file>

<file path=ppt/tags/tag2135.xml><?xml version="1.0" encoding="utf-8"?>
<p:tagLst xmlns:a="http://schemas.openxmlformats.org/drawingml/2006/main" xmlns:r="http://schemas.openxmlformats.org/officeDocument/2006/relationships" xmlns:p="http://schemas.openxmlformats.org/presentationml/2006/main">
  <p:tag name="NAME" val="Oval"/>
</p:tagLst>
</file>

<file path=ppt/tags/tag2136.xml><?xml version="1.0" encoding="utf-8"?>
<p:tagLst xmlns:a="http://schemas.openxmlformats.org/drawingml/2006/main" xmlns:r="http://schemas.openxmlformats.org/officeDocument/2006/relationships" xmlns:p="http://schemas.openxmlformats.org/presentationml/2006/main">
  <p:tag name="NOPREFERENCE" val="False"/>
</p:tagLst>
</file>

<file path=ppt/tags/tag21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38.xml><?xml version="1.0" encoding="utf-8"?>
<p:tagLst xmlns:a="http://schemas.openxmlformats.org/drawingml/2006/main" xmlns:r="http://schemas.openxmlformats.org/officeDocument/2006/relationships" xmlns:p="http://schemas.openxmlformats.org/presentationml/2006/main">
  <p:tag name="THINKCELLSHAPEDONOTDELETE" val="tDdDHhivvfUKTEV2z9e0JjA"/>
</p:tagLst>
</file>

<file path=ppt/tags/tag2139.xml><?xml version="1.0" encoding="utf-8"?>
<p:tagLst xmlns:a="http://schemas.openxmlformats.org/drawingml/2006/main" xmlns:r="http://schemas.openxmlformats.org/officeDocument/2006/relationships" xmlns:p="http://schemas.openxmlformats.org/presentationml/2006/main">
  <p:tag name="RESIZE" val="Yes"/>
</p:tagLst>
</file>

<file path=ppt/tags/tag214.xml><?xml version="1.0" encoding="utf-8"?>
<p:tagLst xmlns:a="http://schemas.openxmlformats.org/drawingml/2006/main" xmlns:r="http://schemas.openxmlformats.org/officeDocument/2006/relationships" xmlns:p="http://schemas.openxmlformats.org/presentationml/2006/main">
  <p:tag name="NAME" val="Moon"/>
</p:tagLst>
</file>

<file path=ppt/tags/tag2140.xml><?xml version="1.0" encoding="utf-8"?>
<p:tagLst xmlns:a="http://schemas.openxmlformats.org/drawingml/2006/main" xmlns:r="http://schemas.openxmlformats.org/officeDocument/2006/relationships" xmlns:p="http://schemas.openxmlformats.org/presentationml/2006/main">
  <p:tag name="NOPREFERENCE" val="False"/>
</p:tagLst>
</file>

<file path=ppt/tags/tag21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42.xml><?xml version="1.0" encoding="utf-8"?>
<p:tagLst xmlns:a="http://schemas.openxmlformats.org/drawingml/2006/main" xmlns:r="http://schemas.openxmlformats.org/officeDocument/2006/relationships" xmlns:p="http://schemas.openxmlformats.org/presentationml/2006/main">
  <p:tag name="RESIZE" val="Yes"/>
</p:tagLst>
</file>

<file path=ppt/tags/tag2143.xml><?xml version="1.0" encoding="utf-8"?>
<p:tagLst xmlns:a="http://schemas.openxmlformats.org/drawingml/2006/main" xmlns:r="http://schemas.openxmlformats.org/officeDocument/2006/relationships" xmlns:p="http://schemas.openxmlformats.org/presentationml/2006/main">
  <p:tag name="NAME" val="SingleBoatText"/>
</p:tagLst>
</file>

<file path=ppt/tags/tag2144.xml><?xml version="1.0" encoding="utf-8"?>
<p:tagLst xmlns:a="http://schemas.openxmlformats.org/drawingml/2006/main" xmlns:r="http://schemas.openxmlformats.org/officeDocument/2006/relationships" xmlns:p="http://schemas.openxmlformats.org/presentationml/2006/main">
  <p:tag name="NAME" val="OvalShape"/>
</p:tagLst>
</file>

<file path=ppt/tags/tag2145.xml><?xml version="1.0" encoding="utf-8"?>
<p:tagLst xmlns:a="http://schemas.openxmlformats.org/drawingml/2006/main" xmlns:r="http://schemas.openxmlformats.org/officeDocument/2006/relationships" xmlns:p="http://schemas.openxmlformats.org/presentationml/2006/main">
  <p:tag name="NAME" val="OvalText"/>
</p:tagLst>
</file>

<file path=ppt/tags/tag2146.xml><?xml version="1.0" encoding="utf-8"?>
<p:tagLst xmlns:a="http://schemas.openxmlformats.org/drawingml/2006/main" xmlns:r="http://schemas.openxmlformats.org/officeDocument/2006/relationships" xmlns:p="http://schemas.openxmlformats.org/presentationml/2006/main">
  <p:tag name="NAME" val="SingleBoat"/>
</p:tagLst>
</file>

<file path=ppt/tags/tag2147.xml><?xml version="1.0" encoding="utf-8"?>
<p:tagLst xmlns:a="http://schemas.openxmlformats.org/drawingml/2006/main" xmlns:r="http://schemas.openxmlformats.org/officeDocument/2006/relationships" xmlns:p="http://schemas.openxmlformats.org/presentationml/2006/main">
  <p:tag name="NAME" val="SingleBoat"/>
</p:tagLst>
</file>

<file path=ppt/tags/tag2148.xml><?xml version="1.0" encoding="utf-8"?>
<p:tagLst xmlns:a="http://schemas.openxmlformats.org/drawingml/2006/main" xmlns:r="http://schemas.openxmlformats.org/officeDocument/2006/relationships" xmlns:p="http://schemas.openxmlformats.org/presentationml/2006/main">
  <p:tag name="NAME" val="SingleBoat"/>
</p:tagLst>
</file>

<file path=ppt/tags/tag2149.xml><?xml version="1.0" encoding="utf-8"?>
<p:tagLst xmlns:a="http://schemas.openxmlformats.org/drawingml/2006/main" xmlns:r="http://schemas.openxmlformats.org/officeDocument/2006/relationships" xmlns:p="http://schemas.openxmlformats.org/presentationml/2006/main">
  <p:tag name="NAME" val="SingleBoat"/>
</p:tagLst>
</file>

<file path=ppt/tags/tag215.xml><?xml version="1.0" encoding="utf-8"?>
<p:tagLst xmlns:a="http://schemas.openxmlformats.org/drawingml/2006/main" xmlns:r="http://schemas.openxmlformats.org/officeDocument/2006/relationships" xmlns:p="http://schemas.openxmlformats.org/presentationml/2006/main">
  <p:tag name="NAME" val="Moon"/>
</p:tagLst>
</file>

<file path=ppt/tags/tag2150.xml><?xml version="1.0" encoding="utf-8"?>
<p:tagLst xmlns:a="http://schemas.openxmlformats.org/drawingml/2006/main" xmlns:r="http://schemas.openxmlformats.org/officeDocument/2006/relationships" xmlns:p="http://schemas.openxmlformats.org/presentationml/2006/main">
  <p:tag name="NAME" val="SingleBoatShape"/>
</p:tagLst>
</file>

<file path=ppt/tags/tag2151.xml><?xml version="1.0" encoding="utf-8"?>
<p:tagLst xmlns:a="http://schemas.openxmlformats.org/drawingml/2006/main" xmlns:r="http://schemas.openxmlformats.org/officeDocument/2006/relationships" xmlns:p="http://schemas.openxmlformats.org/presentationml/2006/main">
  <p:tag name="NAME" val="SingleBoatText"/>
</p:tagLst>
</file>

<file path=ppt/tags/tag2152.xml><?xml version="1.0" encoding="utf-8"?>
<p:tagLst xmlns:a="http://schemas.openxmlformats.org/drawingml/2006/main" xmlns:r="http://schemas.openxmlformats.org/officeDocument/2006/relationships" xmlns:p="http://schemas.openxmlformats.org/presentationml/2006/main">
  <p:tag name="NAME" val="SingleBoatShape"/>
</p:tagLst>
</file>

<file path=ppt/tags/tag2153.xml><?xml version="1.0" encoding="utf-8"?>
<p:tagLst xmlns:a="http://schemas.openxmlformats.org/drawingml/2006/main" xmlns:r="http://schemas.openxmlformats.org/officeDocument/2006/relationships" xmlns:p="http://schemas.openxmlformats.org/presentationml/2006/main">
  <p:tag name="NAME" val="SingleBoatText"/>
</p:tagLst>
</file>

<file path=ppt/tags/tag2154.xml><?xml version="1.0" encoding="utf-8"?>
<p:tagLst xmlns:a="http://schemas.openxmlformats.org/drawingml/2006/main" xmlns:r="http://schemas.openxmlformats.org/officeDocument/2006/relationships" xmlns:p="http://schemas.openxmlformats.org/presentationml/2006/main">
  <p:tag name="NAME" val="SingleBoatShape"/>
</p:tagLst>
</file>

<file path=ppt/tags/tag2155.xml><?xml version="1.0" encoding="utf-8"?>
<p:tagLst xmlns:a="http://schemas.openxmlformats.org/drawingml/2006/main" xmlns:r="http://schemas.openxmlformats.org/officeDocument/2006/relationships" xmlns:p="http://schemas.openxmlformats.org/presentationml/2006/main">
  <p:tag name="NAME" val="SingleBoatText"/>
</p:tagLst>
</file>

<file path=ppt/tags/tag2156.xml><?xml version="1.0" encoding="utf-8"?>
<p:tagLst xmlns:a="http://schemas.openxmlformats.org/drawingml/2006/main" xmlns:r="http://schemas.openxmlformats.org/officeDocument/2006/relationships" xmlns:p="http://schemas.openxmlformats.org/presentationml/2006/main">
  <p:tag name="NAME" val="SingleBoatShape"/>
</p:tagLst>
</file>

<file path=ppt/tags/tag2157.xml><?xml version="1.0" encoding="utf-8"?>
<p:tagLst xmlns:a="http://schemas.openxmlformats.org/drawingml/2006/main" xmlns:r="http://schemas.openxmlformats.org/officeDocument/2006/relationships" xmlns:p="http://schemas.openxmlformats.org/presentationml/2006/main">
  <p:tag name="NAME" val="SingleBoatText"/>
</p:tagLst>
</file>

<file path=ppt/tags/tag21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59.xml><?xml version="1.0" encoding="utf-8"?>
<p:tagLst xmlns:a="http://schemas.openxmlformats.org/drawingml/2006/main" xmlns:r="http://schemas.openxmlformats.org/officeDocument/2006/relationships" xmlns:p="http://schemas.openxmlformats.org/presentationml/2006/main">
  <p:tag name="THINKCELLSHAPEDONOTDELETE" val="tcFSj9kaD.U6rNegH7rREeQ"/>
</p:tagLst>
</file>

<file path=ppt/tags/tag216.xml><?xml version="1.0" encoding="utf-8"?>
<p:tagLst xmlns:a="http://schemas.openxmlformats.org/drawingml/2006/main" xmlns:r="http://schemas.openxmlformats.org/officeDocument/2006/relationships" xmlns:p="http://schemas.openxmlformats.org/presentationml/2006/main">
  <p:tag name="NAME" val="Moon"/>
</p:tagLst>
</file>

<file path=ppt/tags/tag2160.xml><?xml version="1.0" encoding="utf-8"?>
<p:tagLst xmlns:a="http://schemas.openxmlformats.org/drawingml/2006/main" xmlns:r="http://schemas.openxmlformats.org/officeDocument/2006/relationships" xmlns:p="http://schemas.openxmlformats.org/presentationml/2006/main">
  <p:tag name="THINKCELLSHAPEDONOTDELETE" val="tijDQWFxJRxWBQ1oHsPgfyw"/>
</p:tagLst>
</file>

<file path=ppt/tags/tag2161.xml><?xml version="1.0" encoding="utf-8"?>
<p:tagLst xmlns:a="http://schemas.openxmlformats.org/drawingml/2006/main" xmlns:r="http://schemas.openxmlformats.org/officeDocument/2006/relationships" xmlns:p="http://schemas.openxmlformats.org/presentationml/2006/main">
  <p:tag name="THINKCELLSHAPEDONOTDELETE" val="t9C42Bpd2SRO7Olf75A_Mzg"/>
</p:tagLst>
</file>

<file path=ppt/tags/tag2162.xml><?xml version="1.0" encoding="utf-8"?>
<p:tagLst xmlns:a="http://schemas.openxmlformats.org/drawingml/2006/main" xmlns:r="http://schemas.openxmlformats.org/officeDocument/2006/relationships" xmlns:p="http://schemas.openxmlformats.org/presentationml/2006/main">
  <p:tag name="THINKCELLSHAPEDONOTDELETE" val="tWzI1KpOHQRq8d05MuwWwfQ"/>
</p:tagLst>
</file>

<file path=ppt/tags/tag2163.xml><?xml version="1.0" encoding="utf-8"?>
<p:tagLst xmlns:a="http://schemas.openxmlformats.org/drawingml/2006/main" xmlns:r="http://schemas.openxmlformats.org/officeDocument/2006/relationships" xmlns:p="http://schemas.openxmlformats.org/presentationml/2006/main">
  <p:tag name="THINKCELLSHAPEDONOTDELETE" val="twz7PFCy4QjKZlV0hdbRbzA"/>
</p:tagLst>
</file>

<file path=ppt/tags/tag2164.xml><?xml version="1.0" encoding="utf-8"?>
<p:tagLst xmlns:a="http://schemas.openxmlformats.org/drawingml/2006/main" xmlns:r="http://schemas.openxmlformats.org/officeDocument/2006/relationships" xmlns:p="http://schemas.openxmlformats.org/presentationml/2006/main">
  <p:tag name="THINKCELLSHAPEDONOTDELETE" val="tIGONuQQ0TnatTD2vi_DRMg"/>
</p:tagLst>
</file>

<file path=ppt/tags/tag2165.xml><?xml version="1.0" encoding="utf-8"?>
<p:tagLst xmlns:a="http://schemas.openxmlformats.org/drawingml/2006/main" xmlns:r="http://schemas.openxmlformats.org/officeDocument/2006/relationships" xmlns:p="http://schemas.openxmlformats.org/presentationml/2006/main">
  <p:tag name="THINKCELLSHAPEDONOTDELETE" val="t4R08nhf_SaeFQYxesb4wAg"/>
</p:tagLst>
</file>

<file path=ppt/tags/tag21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67.xml><?xml version="1.0" encoding="utf-8"?>
<p:tagLst xmlns:a="http://schemas.openxmlformats.org/drawingml/2006/main" xmlns:r="http://schemas.openxmlformats.org/officeDocument/2006/relationships" xmlns:p="http://schemas.openxmlformats.org/presentationml/2006/main">
  <p:tag name="RESIZE" val="Yes"/>
</p:tagLst>
</file>

<file path=ppt/tags/tag2168.xml><?xml version="1.0" encoding="utf-8"?>
<p:tagLst xmlns:a="http://schemas.openxmlformats.org/drawingml/2006/main" xmlns:r="http://schemas.openxmlformats.org/officeDocument/2006/relationships" xmlns:p="http://schemas.openxmlformats.org/presentationml/2006/main">
  <p:tag name="RESIZE" val="Yes"/>
</p:tagLst>
</file>

<file path=ppt/tags/tag2169.xml><?xml version="1.0" encoding="utf-8"?>
<p:tagLst xmlns:a="http://schemas.openxmlformats.org/drawingml/2006/main" xmlns:r="http://schemas.openxmlformats.org/officeDocument/2006/relationships" xmlns:p="http://schemas.openxmlformats.org/presentationml/2006/main">
  <p:tag name="RESIZE" val="Yes"/>
</p:tagLst>
</file>

<file path=ppt/tags/tag217.xml><?xml version="1.0" encoding="utf-8"?>
<p:tagLst xmlns:a="http://schemas.openxmlformats.org/drawingml/2006/main" xmlns:r="http://schemas.openxmlformats.org/officeDocument/2006/relationships" xmlns:p="http://schemas.openxmlformats.org/presentationml/2006/main">
  <p:tag name="NAME" val="Moon"/>
</p:tagLst>
</file>

<file path=ppt/tags/tag2170.xml><?xml version="1.0" encoding="utf-8"?>
<p:tagLst xmlns:a="http://schemas.openxmlformats.org/drawingml/2006/main" xmlns:r="http://schemas.openxmlformats.org/officeDocument/2006/relationships" xmlns:p="http://schemas.openxmlformats.org/presentationml/2006/main">
  <p:tag name="RESIZE" val="Yes"/>
</p:tagLst>
</file>

<file path=ppt/tags/tag2171.xml><?xml version="1.0" encoding="utf-8"?>
<p:tagLst xmlns:a="http://schemas.openxmlformats.org/drawingml/2006/main" xmlns:r="http://schemas.openxmlformats.org/officeDocument/2006/relationships" xmlns:p="http://schemas.openxmlformats.org/presentationml/2006/main">
  <p:tag name="RESIZE" val="Yes"/>
</p:tagLst>
</file>

<file path=ppt/tags/tag2172.xml><?xml version="1.0" encoding="utf-8"?>
<p:tagLst xmlns:a="http://schemas.openxmlformats.org/drawingml/2006/main" xmlns:r="http://schemas.openxmlformats.org/officeDocument/2006/relationships" xmlns:p="http://schemas.openxmlformats.org/presentationml/2006/main">
  <p:tag name="RESIZE" val="Yes"/>
</p:tagLst>
</file>

<file path=ppt/tags/tag2173.xml><?xml version="1.0" encoding="utf-8"?>
<p:tagLst xmlns:a="http://schemas.openxmlformats.org/drawingml/2006/main" xmlns:r="http://schemas.openxmlformats.org/officeDocument/2006/relationships" xmlns:p="http://schemas.openxmlformats.org/presentationml/2006/main">
  <p:tag name="RESIZE" val="Yes"/>
</p:tagLst>
</file>

<file path=ppt/tags/tag2174.xml><?xml version="1.0" encoding="utf-8"?>
<p:tagLst xmlns:a="http://schemas.openxmlformats.org/drawingml/2006/main" xmlns:r="http://schemas.openxmlformats.org/officeDocument/2006/relationships" xmlns:p="http://schemas.openxmlformats.org/presentationml/2006/main">
  <p:tag name="RESIZE" val="Yes"/>
</p:tagLst>
</file>

<file path=ppt/tags/tag2175.xml><?xml version="1.0" encoding="utf-8"?>
<p:tagLst xmlns:a="http://schemas.openxmlformats.org/drawingml/2006/main" xmlns:r="http://schemas.openxmlformats.org/officeDocument/2006/relationships" xmlns:p="http://schemas.openxmlformats.org/presentationml/2006/main">
  <p:tag name="RESIZE" val="Yes"/>
</p:tagLst>
</file>

<file path=ppt/tags/tag2176.xml><?xml version="1.0" encoding="utf-8"?>
<p:tagLst xmlns:a="http://schemas.openxmlformats.org/drawingml/2006/main" xmlns:r="http://schemas.openxmlformats.org/officeDocument/2006/relationships" xmlns:p="http://schemas.openxmlformats.org/presentationml/2006/main">
  <p:tag name="RESIZE" val="Yes"/>
</p:tagLst>
</file>

<file path=ppt/tags/tag2177.xml><?xml version="1.0" encoding="utf-8"?>
<p:tagLst xmlns:a="http://schemas.openxmlformats.org/drawingml/2006/main" xmlns:r="http://schemas.openxmlformats.org/officeDocument/2006/relationships" xmlns:p="http://schemas.openxmlformats.org/presentationml/2006/main">
  <p:tag name="RESIZE" val="Yes"/>
</p:tagLst>
</file>

<file path=ppt/tags/tag2178.xml><?xml version="1.0" encoding="utf-8"?>
<p:tagLst xmlns:a="http://schemas.openxmlformats.org/drawingml/2006/main" xmlns:r="http://schemas.openxmlformats.org/officeDocument/2006/relationships" xmlns:p="http://schemas.openxmlformats.org/presentationml/2006/main">
  <p:tag name="RESIZE" val="Yes"/>
</p:tagLst>
</file>

<file path=ppt/tags/tag2179.xml><?xml version="1.0" encoding="utf-8"?>
<p:tagLst xmlns:a="http://schemas.openxmlformats.org/drawingml/2006/main" xmlns:r="http://schemas.openxmlformats.org/officeDocument/2006/relationships" xmlns:p="http://schemas.openxmlformats.org/presentationml/2006/main">
  <p:tag name="RESIZE" val="Yes"/>
</p:tagLst>
</file>

<file path=ppt/tags/tag218.xml><?xml version="1.0" encoding="utf-8"?>
<p:tagLst xmlns:a="http://schemas.openxmlformats.org/drawingml/2006/main" xmlns:r="http://schemas.openxmlformats.org/officeDocument/2006/relationships" xmlns:p="http://schemas.openxmlformats.org/presentationml/2006/main">
  <p:tag name="NAME" val="Moon"/>
</p:tagLst>
</file>

<file path=ppt/tags/tag2180.xml><?xml version="1.0" encoding="utf-8"?>
<p:tagLst xmlns:a="http://schemas.openxmlformats.org/drawingml/2006/main" xmlns:r="http://schemas.openxmlformats.org/officeDocument/2006/relationships" xmlns:p="http://schemas.openxmlformats.org/presentationml/2006/main">
  <p:tag name="RESIZE" val="Yes"/>
</p:tagLst>
</file>

<file path=ppt/tags/tag2181.xml><?xml version="1.0" encoding="utf-8"?>
<p:tagLst xmlns:a="http://schemas.openxmlformats.org/drawingml/2006/main" xmlns:r="http://schemas.openxmlformats.org/officeDocument/2006/relationships" xmlns:p="http://schemas.openxmlformats.org/presentationml/2006/main">
  <p:tag name="RESIZE" val="Yes"/>
</p:tagLst>
</file>

<file path=ppt/tags/tag2182.xml><?xml version="1.0" encoding="utf-8"?>
<p:tagLst xmlns:a="http://schemas.openxmlformats.org/drawingml/2006/main" xmlns:r="http://schemas.openxmlformats.org/officeDocument/2006/relationships" xmlns:p="http://schemas.openxmlformats.org/presentationml/2006/main">
  <p:tag name="RESIZE" val="Yes"/>
</p:tagLst>
</file>

<file path=ppt/tags/tag2183.xml><?xml version="1.0" encoding="utf-8"?>
<p:tagLst xmlns:a="http://schemas.openxmlformats.org/drawingml/2006/main" xmlns:r="http://schemas.openxmlformats.org/officeDocument/2006/relationships" xmlns:p="http://schemas.openxmlformats.org/presentationml/2006/main">
  <p:tag name="RESIZE" val="Yes"/>
</p:tagLst>
</file>

<file path=ppt/tags/tag21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85.xml><?xml version="1.0" encoding="utf-8"?>
<p:tagLst xmlns:a="http://schemas.openxmlformats.org/drawingml/2006/main" xmlns:r="http://schemas.openxmlformats.org/officeDocument/2006/relationships" xmlns:p="http://schemas.openxmlformats.org/presentationml/2006/main">
  <p:tag name="RESIZE" val="Yes"/>
</p:tagLst>
</file>

<file path=ppt/tags/tag2186.xml><?xml version="1.0" encoding="utf-8"?>
<p:tagLst xmlns:a="http://schemas.openxmlformats.org/drawingml/2006/main" xmlns:r="http://schemas.openxmlformats.org/officeDocument/2006/relationships" xmlns:p="http://schemas.openxmlformats.org/presentationml/2006/main">
  <p:tag name="RESIZE" val="Yes"/>
</p:tagLst>
</file>

<file path=ppt/tags/tag21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88.xml><?xml version="1.0" encoding="utf-8"?>
<p:tagLst xmlns:a="http://schemas.openxmlformats.org/drawingml/2006/main" xmlns:r="http://schemas.openxmlformats.org/officeDocument/2006/relationships" xmlns:p="http://schemas.openxmlformats.org/presentationml/2006/main">
  <p:tag name="THINKCELLSHAPEDONOTDELETE" val="tcFSj9kaD.U6rNegH7rREeQ"/>
</p:tagLst>
</file>

<file path=ppt/tags/tag2189.xml><?xml version="1.0" encoding="utf-8"?>
<p:tagLst xmlns:a="http://schemas.openxmlformats.org/drawingml/2006/main" xmlns:r="http://schemas.openxmlformats.org/officeDocument/2006/relationships" xmlns:p="http://schemas.openxmlformats.org/presentationml/2006/main">
  <p:tag name="THINKCELLSHAPEDONOTDELETE" val="tiaXMp3TRReOouJkv2uOKdw"/>
</p:tagLst>
</file>

<file path=ppt/tags/tag219.xml><?xml version="1.0" encoding="utf-8"?>
<p:tagLst xmlns:a="http://schemas.openxmlformats.org/drawingml/2006/main" xmlns:r="http://schemas.openxmlformats.org/officeDocument/2006/relationships" xmlns:p="http://schemas.openxmlformats.org/presentationml/2006/main">
  <p:tag name="ISLEGEND" val="true"/>
</p:tagLst>
</file>

<file path=ppt/tags/tag2190.xml><?xml version="1.0" encoding="utf-8"?>
<p:tagLst xmlns:a="http://schemas.openxmlformats.org/drawingml/2006/main" xmlns:r="http://schemas.openxmlformats.org/officeDocument/2006/relationships" xmlns:p="http://schemas.openxmlformats.org/presentationml/2006/main">
  <p:tag name="THINKCELLSHAPEDONOTDELETE" val="tBZjcfvZKSJOonnR9qoALsw"/>
</p:tagLst>
</file>

<file path=ppt/tags/tag2191.xml><?xml version="1.0" encoding="utf-8"?>
<p:tagLst xmlns:a="http://schemas.openxmlformats.org/drawingml/2006/main" xmlns:r="http://schemas.openxmlformats.org/officeDocument/2006/relationships" xmlns:p="http://schemas.openxmlformats.org/presentationml/2006/main">
  <p:tag name="THINKCELLSHAPEDONOTDELETE" val="t23o0oJn.RTKPGtu8GE5jQg"/>
</p:tagLst>
</file>

<file path=ppt/tags/tag2192.xml><?xml version="1.0" encoding="utf-8"?>
<p:tagLst xmlns:a="http://schemas.openxmlformats.org/drawingml/2006/main" xmlns:r="http://schemas.openxmlformats.org/officeDocument/2006/relationships" xmlns:p="http://schemas.openxmlformats.org/presentationml/2006/main">
  <p:tag name="THINKCELLSHAPEDONOTDELETE" val="tRvfsaESgSfGCMzqap0T3Pw"/>
</p:tagLst>
</file>

<file path=ppt/tags/tag2193.xml><?xml version="1.0" encoding="utf-8"?>
<p:tagLst xmlns:a="http://schemas.openxmlformats.org/drawingml/2006/main" xmlns:r="http://schemas.openxmlformats.org/officeDocument/2006/relationships" xmlns:p="http://schemas.openxmlformats.org/presentationml/2006/main">
  <p:tag name="THINKCELLSHAPEDONOTDELETE" val="tLPUCwYgxSl.YNUq5HRTP.Q"/>
</p:tagLst>
</file>

<file path=ppt/tags/tag2194.xml><?xml version="1.0" encoding="utf-8"?>
<p:tagLst xmlns:a="http://schemas.openxmlformats.org/drawingml/2006/main" xmlns:r="http://schemas.openxmlformats.org/officeDocument/2006/relationships" xmlns:p="http://schemas.openxmlformats.org/presentationml/2006/main">
  <p:tag name="THINKCELLSHAPEDONOTDELETE" val="t6M5bYyoQRdGEd5EA5e7e0A"/>
</p:tagLst>
</file>

<file path=ppt/tags/tag21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96.xml><?xml version="1.0" encoding="utf-8"?>
<p:tagLst xmlns:a="http://schemas.openxmlformats.org/drawingml/2006/main" xmlns:r="http://schemas.openxmlformats.org/officeDocument/2006/relationships" xmlns:p="http://schemas.openxmlformats.org/presentationml/2006/main">
  <p:tag name="RESIZE" val="Yes"/>
</p:tagLst>
</file>

<file path=ppt/tags/tag21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98.xml><?xml version="1.0" encoding="utf-8"?>
<p:tagLst xmlns:a="http://schemas.openxmlformats.org/drawingml/2006/main" xmlns:r="http://schemas.openxmlformats.org/officeDocument/2006/relationships" xmlns:p="http://schemas.openxmlformats.org/presentationml/2006/main">
  <p:tag name="THINKCELLSHAPEDONOTDELETE" val="tjt3VubMjukiEzKTSWwuLoA"/>
</p:tagLst>
</file>

<file path=ppt/tags/tag2199.xml><?xml version="1.0" encoding="utf-8"?>
<p:tagLst xmlns:a="http://schemas.openxmlformats.org/drawingml/2006/main" xmlns:r="http://schemas.openxmlformats.org/officeDocument/2006/relationships" xmlns:p="http://schemas.openxmlformats.org/presentationml/2006/main">
  <p:tag name="RESIZE" val="Yes"/>
</p:tagLst>
</file>

<file path=ppt/tags/tag22.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220.xml><?xml version="1.0" encoding="utf-8"?>
<p:tagLst xmlns:a="http://schemas.openxmlformats.org/drawingml/2006/main" xmlns:r="http://schemas.openxmlformats.org/officeDocument/2006/relationships" xmlns:p="http://schemas.openxmlformats.org/presentationml/2006/main">
  <p:tag name="ISLEGEND" val="true"/>
</p:tagLst>
</file>

<file path=ppt/tags/tag22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01.xml><?xml version="1.0" encoding="utf-8"?>
<p:tagLst xmlns:a="http://schemas.openxmlformats.org/drawingml/2006/main" xmlns:r="http://schemas.openxmlformats.org/officeDocument/2006/relationships" xmlns:p="http://schemas.openxmlformats.org/presentationml/2006/main">
  <p:tag name="THINKCELLSHAPEDONOTDELETE" val="tPb4Qn4FzPU24quQf004BhA"/>
</p:tagLst>
</file>

<file path=ppt/tags/tag2202.xml><?xml version="1.0" encoding="utf-8"?>
<p:tagLst xmlns:a="http://schemas.openxmlformats.org/drawingml/2006/main" xmlns:r="http://schemas.openxmlformats.org/officeDocument/2006/relationships" xmlns:p="http://schemas.openxmlformats.org/presentationml/2006/main">
  <p:tag name="THINKCELLSHAPEDONOTDELETE" val="tc2qPYQ7eGEqQb8MZjEaG_Q"/>
</p:tagLst>
</file>

<file path=ppt/tags/tag2203.xml><?xml version="1.0" encoding="utf-8"?>
<p:tagLst xmlns:a="http://schemas.openxmlformats.org/drawingml/2006/main" xmlns:r="http://schemas.openxmlformats.org/officeDocument/2006/relationships" xmlns:p="http://schemas.openxmlformats.org/presentationml/2006/main">
  <p:tag name="THINKCELLSHAPEDONOTDELETE" val="tYTXG47Td8UOSVy9t11vzkg"/>
</p:tagLst>
</file>

<file path=ppt/tags/tag2204.xml><?xml version="1.0" encoding="utf-8"?>
<p:tagLst xmlns:a="http://schemas.openxmlformats.org/drawingml/2006/main" xmlns:r="http://schemas.openxmlformats.org/officeDocument/2006/relationships" xmlns:p="http://schemas.openxmlformats.org/presentationml/2006/main">
  <p:tag name="THINKCELLSHAPEDONOTDELETE" val="todFrG8mqEUqgo_BcBQo3Mw"/>
</p:tagLst>
</file>

<file path=ppt/tags/tag2205.xml><?xml version="1.0" encoding="utf-8"?>
<p:tagLst xmlns:a="http://schemas.openxmlformats.org/drawingml/2006/main" xmlns:r="http://schemas.openxmlformats.org/officeDocument/2006/relationships" xmlns:p="http://schemas.openxmlformats.org/presentationml/2006/main">
  <p:tag name="THINKCELLSHAPEDONOTDELETE" val="tMTQ1ZtEH_ki9qUOwCnDvxg"/>
</p:tagLst>
</file>

<file path=ppt/tags/tag2206.xml><?xml version="1.0" encoding="utf-8"?>
<p:tagLst xmlns:a="http://schemas.openxmlformats.org/drawingml/2006/main" xmlns:r="http://schemas.openxmlformats.org/officeDocument/2006/relationships" xmlns:p="http://schemas.openxmlformats.org/presentationml/2006/main">
  <p:tag name="THINKCELLSHAPEDONOTDELETE" val="tJKid8MnS.E6ihy0rUkikfw"/>
</p:tagLst>
</file>

<file path=ppt/tags/tag2207.xml><?xml version="1.0" encoding="utf-8"?>
<p:tagLst xmlns:a="http://schemas.openxmlformats.org/drawingml/2006/main" xmlns:r="http://schemas.openxmlformats.org/officeDocument/2006/relationships" xmlns:p="http://schemas.openxmlformats.org/presentationml/2006/main">
  <p:tag name="THINKCELLSHAPEDONOTDELETE" val="tehIyLBx60Emq5IBdLw9kDQ"/>
</p:tagLst>
</file>

<file path=ppt/tags/tag2208.xml><?xml version="1.0" encoding="utf-8"?>
<p:tagLst xmlns:a="http://schemas.openxmlformats.org/drawingml/2006/main" xmlns:r="http://schemas.openxmlformats.org/officeDocument/2006/relationships" xmlns:p="http://schemas.openxmlformats.org/presentationml/2006/main">
  <p:tag name="THINKCELLSHAPEDONOTDELETE" val="tjL005RQCLUqxh60H9bt.sA"/>
</p:tagLst>
</file>

<file path=ppt/tags/tag2209.xml><?xml version="1.0" encoding="utf-8"?>
<p:tagLst xmlns:a="http://schemas.openxmlformats.org/drawingml/2006/main" xmlns:r="http://schemas.openxmlformats.org/officeDocument/2006/relationships" xmlns:p="http://schemas.openxmlformats.org/presentationml/2006/main">
  <p:tag name="THINKCELLSHAPEDONOTDELETE" val="thmJAXqj9O0.ssuhe7a6xmw"/>
</p:tagLst>
</file>

<file path=ppt/tags/tag221.xml><?xml version="1.0" encoding="utf-8"?>
<p:tagLst xmlns:a="http://schemas.openxmlformats.org/drawingml/2006/main" xmlns:r="http://schemas.openxmlformats.org/officeDocument/2006/relationships" xmlns:p="http://schemas.openxmlformats.org/presentationml/2006/main">
  <p:tag name="ISLEGEND" val="true"/>
</p:tagLst>
</file>

<file path=ppt/tags/tag2210.xml><?xml version="1.0" encoding="utf-8"?>
<p:tagLst xmlns:a="http://schemas.openxmlformats.org/drawingml/2006/main" xmlns:r="http://schemas.openxmlformats.org/officeDocument/2006/relationships" xmlns:p="http://schemas.openxmlformats.org/presentationml/2006/main">
  <p:tag name="THINKCELLSHAPEDONOTDELETE" val="tExJD7.2ZOUaj7Ppvqkq4BQ"/>
</p:tagLst>
</file>

<file path=ppt/tags/tag2211.xml><?xml version="1.0" encoding="utf-8"?>
<p:tagLst xmlns:a="http://schemas.openxmlformats.org/drawingml/2006/main" xmlns:r="http://schemas.openxmlformats.org/officeDocument/2006/relationships" xmlns:p="http://schemas.openxmlformats.org/presentationml/2006/main">
  <p:tag name="THINKCELLSHAPEDONOTDELETE" val="tYeWg6SI4ukiUi_6eCpyb4g"/>
</p:tagLst>
</file>

<file path=ppt/tags/tag2212.xml><?xml version="1.0" encoding="utf-8"?>
<p:tagLst xmlns:a="http://schemas.openxmlformats.org/drawingml/2006/main" xmlns:r="http://schemas.openxmlformats.org/officeDocument/2006/relationships" xmlns:p="http://schemas.openxmlformats.org/presentationml/2006/main">
  <p:tag name="THINKCELLSHAPEDONOTDELETE" val="tbuFcJFiPTUmcpUORKW924g"/>
</p:tagLst>
</file>

<file path=ppt/tags/tag2213.xml><?xml version="1.0" encoding="utf-8"?>
<p:tagLst xmlns:a="http://schemas.openxmlformats.org/drawingml/2006/main" xmlns:r="http://schemas.openxmlformats.org/officeDocument/2006/relationships" xmlns:p="http://schemas.openxmlformats.org/presentationml/2006/main">
  <p:tag name="THINKCELLSHAPEDONOTDELETE" val="txWwcb485k0O9zGkd9w6DbA"/>
</p:tagLst>
</file>

<file path=ppt/tags/tag2214.xml><?xml version="1.0" encoding="utf-8"?>
<p:tagLst xmlns:a="http://schemas.openxmlformats.org/drawingml/2006/main" xmlns:r="http://schemas.openxmlformats.org/officeDocument/2006/relationships" xmlns:p="http://schemas.openxmlformats.org/presentationml/2006/main">
  <p:tag name="THINKCELLSHAPEDONOTDELETE" val="tWGB1RKd8E0Ghcucu32zlLQ"/>
</p:tagLst>
</file>

<file path=ppt/tags/tag2215.xml><?xml version="1.0" encoding="utf-8"?>
<p:tagLst xmlns:a="http://schemas.openxmlformats.org/drawingml/2006/main" xmlns:r="http://schemas.openxmlformats.org/officeDocument/2006/relationships" xmlns:p="http://schemas.openxmlformats.org/presentationml/2006/main">
  <p:tag name="THINKCELLSHAPEDONOTDELETE" val="tZFV_sTEoKEiPmtyR4B2RAQ"/>
</p:tagLst>
</file>

<file path=ppt/tags/tag2216.xml><?xml version="1.0" encoding="utf-8"?>
<p:tagLst xmlns:a="http://schemas.openxmlformats.org/drawingml/2006/main" xmlns:r="http://schemas.openxmlformats.org/officeDocument/2006/relationships" xmlns:p="http://schemas.openxmlformats.org/presentationml/2006/main">
  <p:tag name="THINKCELLSHAPEDONOTDELETE" val="tRGyN4qBroEqMrryuHHGhTA"/>
</p:tagLst>
</file>

<file path=ppt/tags/tag2217.xml><?xml version="1.0" encoding="utf-8"?>
<p:tagLst xmlns:a="http://schemas.openxmlformats.org/drawingml/2006/main" xmlns:r="http://schemas.openxmlformats.org/officeDocument/2006/relationships" xmlns:p="http://schemas.openxmlformats.org/presentationml/2006/main">
  <p:tag name="THINKCELLSHAPEDONOTDELETE" val="tgsGgv2AsNE2ldXd761bXYg"/>
</p:tagLst>
</file>

<file path=ppt/tags/tag2218.xml><?xml version="1.0" encoding="utf-8"?>
<p:tagLst xmlns:a="http://schemas.openxmlformats.org/drawingml/2006/main" xmlns:r="http://schemas.openxmlformats.org/officeDocument/2006/relationships" xmlns:p="http://schemas.openxmlformats.org/presentationml/2006/main">
  <p:tag name="THINKCELLSHAPEDONOTDELETE" val="tuYPS4VVkh06EwpcaTGOc7Q"/>
</p:tagLst>
</file>

<file path=ppt/tags/tag2219.xml><?xml version="1.0" encoding="utf-8"?>
<p:tagLst xmlns:a="http://schemas.openxmlformats.org/drawingml/2006/main" xmlns:r="http://schemas.openxmlformats.org/officeDocument/2006/relationships" xmlns:p="http://schemas.openxmlformats.org/presentationml/2006/main">
  <p:tag name="THINKCELLSHAPEDONOTDELETE" val="t9PJCXHpL4EqApxvNJaFxfA"/>
</p:tagLst>
</file>

<file path=ppt/tags/tag222.xml><?xml version="1.0" encoding="utf-8"?>
<p:tagLst xmlns:a="http://schemas.openxmlformats.org/drawingml/2006/main" xmlns:r="http://schemas.openxmlformats.org/officeDocument/2006/relationships" xmlns:p="http://schemas.openxmlformats.org/presentationml/2006/main">
  <p:tag name="ISLEGEND" val="true"/>
</p:tagLst>
</file>

<file path=ppt/tags/tag2220.xml><?xml version="1.0" encoding="utf-8"?>
<p:tagLst xmlns:a="http://schemas.openxmlformats.org/drawingml/2006/main" xmlns:r="http://schemas.openxmlformats.org/officeDocument/2006/relationships" xmlns:p="http://schemas.openxmlformats.org/presentationml/2006/main">
  <p:tag name="THINKCELLSHAPEDONOTDELETE" val="tr1z8szuUx0yEBOnDNMMjig"/>
</p:tagLst>
</file>

<file path=ppt/tags/tag2221.xml><?xml version="1.0" encoding="utf-8"?>
<p:tagLst xmlns:a="http://schemas.openxmlformats.org/drawingml/2006/main" xmlns:r="http://schemas.openxmlformats.org/officeDocument/2006/relationships" xmlns:p="http://schemas.openxmlformats.org/presentationml/2006/main">
  <p:tag name="THINKCELLSHAPEDONOTDELETE" val="ty5MRHtRRxEWcOrWV_7d0XA"/>
</p:tagLst>
</file>

<file path=ppt/tags/tag2222.xml><?xml version="1.0" encoding="utf-8"?>
<p:tagLst xmlns:a="http://schemas.openxmlformats.org/drawingml/2006/main" xmlns:r="http://schemas.openxmlformats.org/officeDocument/2006/relationships" xmlns:p="http://schemas.openxmlformats.org/presentationml/2006/main">
  <p:tag name="THINKCELLSHAPEDONOTDELETE" val="tId5iuR2BWkiAmbF6X8AmJw"/>
</p:tagLst>
</file>

<file path=ppt/tags/tag2223.xml><?xml version="1.0" encoding="utf-8"?>
<p:tagLst xmlns:a="http://schemas.openxmlformats.org/drawingml/2006/main" xmlns:r="http://schemas.openxmlformats.org/officeDocument/2006/relationships" xmlns:p="http://schemas.openxmlformats.org/presentationml/2006/main">
  <p:tag name="THINKCELLSHAPEDONOTDELETE" val="ttLYGot9JA0q9KkRYT26tIg"/>
</p:tagLst>
</file>

<file path=ppt/tags/tag2224.xml><?xml version="1.0" encoding="utf-8"?>
<p:tagLst xmlns:a="http://schemas.openxmlformats.org/drawingml/2006/main" xmlns:r="http://schemas.openxmlformats.org/officeDocument/2006/relationships" xmlns:p="http://schemas.openxmlformats.org/presentationml/2006/main">
  <p:tag name="THINKCELLSHAPEDONOTDELETE" val="tcMscq4FKG0.N0JZ6_W4wGw"/>
</p:tagLst>
</file>

<file path=ppt/tags/tag2225.xml><?xml version="1.0" encoding="utf-8"?>
<p:tagLst xmlns:a="http://schemas.openxmlformats.org/drawingml/2006/main" xmlns:r="http://schemas.openxmlformats.org/officeDocument/2006/relationships" xmlns:p="http://schemas.openxmlformats.org/presentationml/2006/main">
  <p:tag name="THINKCELLSHAPEDONOTDELETE" val="thkXO3PAk_0mqtgZRT8AIKA"/>
</p:tagLst>
</file>

<file path=ppt/tags/tag2226.xml><?xml version="1.0" encoding="utf-8"?>
<p:tagLst xmlns:a="http://schemas.openxmlformats.org/drawingml/2006/main" xmlns:r="http://schemas.openxmlformats.org/officeDocument/2006/relationships" xmlns:p="http://schemas.openxmlformats.org/presentationml/2006/main">
  <p:tag name="THINKCELLSHAPEDONOTDELETE" val="tX99dHiwfiEGq3huLV1ZR_g"/>
</p:tagLst>
</file>

<file path=ppt/tags/tag2227.xml><?xml version="1.0" encoding="utf-8"?>
<p:tagLst xmlns:a="http://schemas.openxmlformats.org/drawingml/2006/main" xmlns:r="http://schemas.openxmlformats.org/officeDocument/2006/relationships" xmlns:p="http://schemas.openxmlformats.org/presentationml/2006/main">
  <p:tag name="THINKCELLSHAPEDONOTDELETE" val="tQKCUzqRgskyb3aZthfc3DA"/>
</p:tagLst>
</file>

<file path=ppt/tags/tag2228.xml><?xml version="1.0" encoding="utf-8"?>
<p:tagLst xmlns:a="http://schemas.openxmlformats.org/drawingml/2006/main" xmlns:r="http://schemas.openxmlformats.org/officeDocument/2006/relationships" xmlns:p="http://schemas.openxmlformats.org/presentationml/2006/main">
  <p:tag name="THINKCELLSHAPEDONOTDELETE" val="t69MT6YJqok6S1QAEnaAFKg"/>
</p:tagLst>
</file>

<file path=ppt/tags/tag2229.xml><?xml version="1.0" encoding="utf-8"?>
<p:tagLst xmlns:a="http://schemas.openxmlformats.org/drawingml/2006/main" xmlns:r="http://schemas.openxmlformats.org/officeDocument/2006/relationships" xmlns:p="http://schemas.openxmlformats.org/presentationml/2006/main">
  <p:tag name="THINKCELLSHAPEDONOTDELETE" val="tx3Dl9wcrq0.4A7U5bv.K9w"/>
</p:tagLst>
</file>

<file path=ppt/tags/tag223.xml><?xml version="1.0" encoding="utf-8"?>
<p:tagLst xmlns:a="http://schemas.openxmlformats.org/drawingml/2006/main" xmlns:r="http://schemas.openxmlformats.org/officeDocument/2006/relationships" xmlns:p="http://schemas.openxmlformats.org/presentationml/2006/main">
  <p:tag name="ISLEGEND" val="true"/>
</p:tagLst>
</file>

<file path=ppt/tags/tag2230.xml><?xml version="1.0" encoding="utf-8"?>
<p:tagLst xmlns:a="http://schemas.openxmlformats.org/drawingml/2006/main" xmlns:r="http://schemas.openxmlformats.org/officeDocument/2006/relationships" xmlns:p="http://schemas.openxmlformats.org/presentationml/2006/main">
  <p:tag name="THINKCELLSHAPEDONOTDELETE" val="t92yjXTMW9kmMNQGUL7tkcA"/>
</p:tagLst>
</file>

<file path=ppt/tags/tag2231.xml><?xml version="1.0" encoding="utf-8"?>
<p:tagLst xmlns:a="http://schemas.openxmlformats.org/drawingml/2006/main" xmlns:r="http://schemas.openxmlformats.org/officeDocument/2006/relationships" xmlns:p="http://schemas.openxmlformats.org/presentationml/2006/main">
  <p:tag name="THINKCELLSHAPEDONOTDELETE" val="txIFFvnQE50mc0GmAfhNVgQ"/>
</p:tagLst>
</file>

<file path=ppt/tags/tag2232.xml><?xml version="1.0" encoding="utf-8"?>
<p:tagLst xmlns:a="http://schemas.openxmlformats.org/drawingml/2006/main" xmlns:r="http://schemas.openxmlformats.org/officeDocument/2006/relationships" xmlns:p="http://schemas.openxmlformats.org/presentationml/2006/main">
  <p:tag name="THINKCELLSHAPEDONOTDELETE" val="tBviDLIJ.jEq5_Sm1OH1EWQ"/>
</p:tagLst>
</file>

<file path=ppt/tags/tag2233.xml><?xml version="1.0" encoding="utf-8"?>
<p:tagLst xmlns:a="http://schemas.openxmlformats.org/drawingml/2006/main" xmlns:r="http://schemas.openxmlformats.org/officeDocument/2006/relationships" xmlns:p="http://schemas.openxmlformats.org/presentationml/2006/main">
  <p:tag name="THINKCELLSHAPEDONOTDELETE" val="teLLOfHijR0mM8q8egnNv6A"/>
</p:tagLst>
</file>

<file path=ppt/tags/tag2234.xml><?xml version="1.0" encoding="utf-8"?>
<p:tagLst xmlns:a="http://schemas.openxmlformats.org/drawingml/2006/main" xmlns:r="http://schemas.openxmlformats.org/officeDocument/2006/relationships" xmlns:p="http://schemas.openxmlformats.org/presentationml/2006/main">
  <p:tag name="THINKCELLSHAPEDONOTDELETE" val="taiER4afUv02yTBFGYtJtGg"/>
</p:tagLst>
</file>

<file path=ppt/tags/tag2235.xml><?xml version="1.0" encoding="utf-8"?>
<p:tagLst xmlns:a="http://schemas.openxmlformats.org/drawingml/2006/main" xmlns:r="http://schemas.openxmlformats.org/officeDocument/2006/relationships" xmlns:p="http://schemas.openxmlformats.org/presentationml/2006/main">
  <p:tag name="THINKCELLSHAPEDONOTDELETE" val="togoMzDkO3UKEBpMP1P7CoQ"/>
</p:tagLst>
</file>

<file path=ppt/tags/tag2236.xml><?xml version="1.0" encoding="utf-8"?>
<p:tagLst xmlns:a="http://schemas.openxmlformats.org/drawingml/2006/main" xmlns:r="http://schemas.openxmlformats.org/officeDocument/2006/relationships" xmlns:p="http://schemas.openxmlformats.org/presentationml/2006/main">
  <p:tag name="THINKCELLSHAPEDONOTDELETE" val="tmGDvuojfMU.499rJPyNe6g"/>
</p:tagLst>
</file>

<file path=ppt/tags/tag2237.xml><?xml version="1.0" encoding="utf-8"?>
<p:tagLst xmlns:a="http://schemas.openxmlformats.org/drawingml/2006/main" xmlns:r="http://schemas.openxmlformats.org/officeDocument/2006/relationships" xmlns:p="http://schemas.openxmlformats.org/presentationml/2006/main">
  <p:tag name="THINKCELLSHAPEDONOTDELETE" val="tIVCyzjjy5E6ZzaSIRoWtXA"/>
</p:tagLst>
</file>

<file path=ppt/tags/tag2238.xml><?xml version="1.0" encoding="utf-8"?>
<p:tagLst xmlns:a="http://schemas.openxmlformats.org/drawingml/2006/main" xmlns:r="http://schemas.openxmlformats.org/officeDocument/2006/relationships" xmlns:p="http://schemas.openxmlformats.org/presentationml/2006/main">
  <p:tag name="RESIZE" val="Yes"/>
</p:tagLst>
</file>

<file path=ppt/tags/tag22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4.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2240.xml><?xml version="1.0" encoding="utf-8"?>
<p:tagLst xmlns:a="http://schemas.openxmlformats.org/drawingml/2006/main" xmlns:r="http://schemas.openxmlformats.org/officeDocument/2006/relationships" xmlns:p="http://schemas.openxmlformats.org/presentationml/2006/main">
  <p:tag name="NAME" val="CustomIcon"/>
</p:tagLst>
</file>

<file path=ppt/tags/tag2241.xml><?xml version="1.0" encoding="utf-8"?>
<p:tagLst xmlns:a="http://schemas.openxmlformats.org/drawingml/2006/main" xmlns:r="http://schemas.openxmlformats.org/officeDocument/2006/relationships" xmlns:p="http://schemas.openxmlformats.org/presentationml/2006/main">
  <p:tag name="NAME" val="CustomIcon"/>
</p:tagLst>
</file>

<file path=ppt/tags/tag2242.xml><?xml version="1.0" encoding="utf-8"?>
<p:tagLst xmlns:a="http://schemas.openxmlformats.org/drawingml/2006/main" xmlns:r="http://schemas.openxmlformats.org/officeDocument/2006/relationships" xmlns:p="http://schemas.openxmlformats.org/presentationml/2006/main">
  <p:tag name="NAME" val="CustomIcon"/>
</p:tagLst>
</file>

<file path=ppt/tags/tag2243.xml><?xml version="1.0" encoding="utf-8"?>
<p:tagLst xmlns:a="http://schemas.openxmlformats.org/drawingml/2006/main" xmlns:r="http://schemas.openxmlformats.org/officeDocument/2006/relationships" xmlns:p="http://schemas.openxmlformats.org/presentationml/2006/main">
  <p:tag name="NAME" val="CustomIcon"/>
</p:tagLst>
</file>

<file path=ppt/tags/tag2244.xml><?xml version="1.0" encoding="utf-8"?>
<p:tagLst xmlns:a="http://schemas.openxmlformats.org/drawingml/2006/main" xmlns:r="http://schemas.openxmlformats.org/officeDocument/2006/relationships" xmlns:p="http://schemas.openxmlformats.org/presentationml/2006/main">
  <p:tag name="NAME" val="CustomIcon"/>
</p:tagLst>
</file>

<file path=ppt/tags/tag2245.xml><?xml version="1.0" encoding="utf-8"?>
<p:tagLst xmlns:a="http://schemas.openxmlformats.org/drawingml/2006/main" xmlns:r="http://schemas.openxmlformats.org/officeDocument/2006/relationships" xmlns:p="http://schemas.openxmlformats.org/presentationml/2006/main">
  <p:tag name="NAME" val="CustomIcon"/>
</p:tagLst>
</file>

<file path=ppt/tags/tag2246.xml><?xml version="1.0" encoding="utf-8"?>
<p:tagLst xmlns:a="http://schemas.openxmlformats.org/drawingml/2006/main" xmlns:r="http://schemas.openxmlformats.org/officeDocument/2006/relationships" xmlns:p="http://schemas.openxmlformats.org/presentationml/2006/main">
  <p:tag name="NAME" val="CustomIcon"/>
</p:tagLst>
</file>

<file path=ppt/tags/tag2247.xml><?xml version="1.0" encoding="utf-8"?>
<p:tagLst xmlns:a="http://schemas.openxmlformats.org/drawingml/2006/main" xmlns:r="http://schemas.openxmlformats.org/officeDocument/2006/relationships" xmlns:p="http://schemas.openxmlformats.org/presentationml/2006/main">
  <p:tag name="NAME" val="CustomIcon"/>
</p:tagLst>
</file>

<file path=ppt/tags/tag2248.xml><?xml version="1.0" encoding="utf-8"?>
<p:tagLst xmlns:a="http://schemas.openxmlformats.org/drawingml/2006/main" xmlns:r="http://schemas.openxmlformats.org/officeDocument/2006/relationships" xmlns:p="http://schemas.openxmlformats.org/presentationml/2006/main">
  <p:tag name="NAME" val="CustomIcon"/>
</p:tagLst>
</file>

<file path=ppt/tags/tag2249.xml><?xml version="1.0" encoding="utf-8"?>
<p:tagLst xmlns:a="http://schemas.openxmlformats.org/drawingml/2006/main" xmlns:r="http://schemas.openxmlformats.org/officeDocument/2006/relationships" xmlns:p="http://schemas.openxmlformats.org/presentationml/2006/main">
  <p:tag name="NAME" val="CustomIcon"/>
</p:tagLst>
</file>

<file path=ppt/tags/tag225.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2250.xml><?xml version="1.0" encoding="utf-8"?>
<p:tagLst xmlns:a="http://schemas.openxmlformats.org/drawingml/2006/main" xmlns:r="http://schemas.openxmlformats.org/officeDocument/2006/relationships" xmlns:p="http://schemas.openxmlformats.org/presentationml/2006/main">
  <p:tag name="THINKCELLSHAPEDONOTDELETE" val="pLjuhxu4L2ESXoHARSb_5sA"/>
</p:tagLst>
</file>

<file path=ppt/tags/tag2251.xml><?xml version="1.0" encoding="utf-8"?>
<p:tagLst xmlns:a="http://schemas.openxmlformats.org/drawingml/2006/main" xmlns:r="http://schemas.openxmlformats.org/officeDocument/2006/relationships" xmlns:p="http://schemas.openxmlformats.org/presentationml/2006/main">
  <p:tag name="THINKCELLSHAPEDONOTDELETE" val="psp1lz.FqNkqk2GuejqurZg"/>
</p:tagLst>
</file>

<file path=ppt/tags/tag2252.xml><?xml version="1.0" encoding="utf-8"?>
<p:tagLst xmlns:a="http://schemas.openxmlformats.org/drawingml/2006/main" xmlns:r="http://schemas.openxmlformats.org/officeDocument/2006/relationships" xmlns:p="http://schemas.openxmlformats.org/presentationml/2006/main">
  <p:tag name="THINKCELLSHAPEDONOTDELETE" val="pv.jhr34W1UGyV9.9kTS0UQ"/>
</p:tagLst>
</file>

<file path=ppt/tags/tag2253.xml><?xml version="1.0" encoding="utf-8"?>
<p:tagLst xmlns:a="http://schemas.openxmlformats.org/drawingml/2006/main" xmlns:r="http://schemas.openxmlformats.org/officeDocument/2006/relationships" xmlns:p="http://schemas.openxmlformats.org/presentationml/2006/main">
  <p:tag name="THINKCELLSHAPEDONOTDELETE" val="p07Qq3b69ekynddmqKa69_A"/>
</p:tagLst>
</file>

<file path=ppt/tags/tag2254.xml><?xml version="1.0" encoding="utf-8"?>
<p:tagLst xmlns:a="http://schemas.openxmlformats.org/drawingml/2006/main" xmlns:r="http://schemas.openxmlformats.org/officeDocument/2006/relationships" xmlns:p="http://schemas.openxmlformats.org/presentationml/2006/main">
  <p:tag name="THINKCELLSHAPEDONOTDELETE" val="pG9Mg4riyEkS_QMCEOF3FJg"/>
</p:tagLst>
</file>

<file path=ppt/tags/tag2255.xml><?xml version="1.0" encoding="utf-8"?>
<p:tagLst xmlns:a="http://schemas.openxmlformats.org/drawingml/2006/main" xmlns:r="http://schemas.openxmlformats.org/officeDocument/2006/relationships" xmlns:p="http://schemas.openxmlformats.org/presentationml/2006/main">
  <p:tag name="THINKCELLSHAPEDONOTDELETE" val="p09UXDaGSpU.6AqdaBLD5pw"/>
</p:tagLst>
</file>

<file path=ppt/tags/tag2256.xml><?xml version="1.0" encoding="utf-8"?>
<p:tagLst xmlns:a="http://schemas.openxmlformats.org/drawingml/2006/main" xmlns:r="http://schemas.openxmlformats.org/officeDocument/2006/relationships" xmlns:p="http://schemas.openxmlformats.org/presentationml/2006/main">
  <p:tag name="THINKCELLSHAPEDONOTDELETE" val="pP.2uFxfrM06cZHM9bQnVdw"/>
</p:tagLst>
</file>

<file path=ppt/tags/tag2257.xml><?xml version="1.0" encoding="utf-8"?>
<p:tagLst xmlns:a="http://schemas.openxmlformats.org/drawingml/2006/main" xmlns:r="http://schemas.openxmlformats.org/officeDocument/2006/relationships" xmlns:p="http://schemas.openxmlformats.org/presentationml/2006/main">
  <p:tag name="THINKCELLSHAPEDONOTDELETE" val="pTtvp9t5o2kWcLX8smRvuTA"/>
</p:tagLst>
</file>

<file path=ppt/tags/tag2258.xml><?xml version="1.0" encoding="utf-8"?>
<p:tagLst xmlns:a="http://schemas.openxmlformats.org/drawingml/2006/main" xmlns:r="http://schemas.openxmlformats.org/officeDocument/2006/relationships" xmlns:p="http://schemas.openxmlformats.org/presentationml/2006/main">
  <p:tag name="THINKCELLSHAPEDONOTDELETE" val="pQXKf2.dlfk21bwSmJIuHeQ"/>
</p:tagLst>
</file>

<file path=ppt/tags/tag2259.xml><?xml version="1.0" encoding="utf-8"?>
<p:tagLst xmlns:a="http://schemas.openxmlformats.org/drawingml/2006/main" xmlns:r="http://schemas.openxmlformats.org/officeDocument/2006/relationships" xmlns:p="http://schemas.openxmlformats.org/presentationml/2006/main">
  <p:tag name="THINKCELLSHAPEDONOTDELETE" val="p55RI2YytW0GUvvslVy0_pw"/>
</p:tagLst>
</file>

<file path=ppt/tags/tag226.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2260.xml><?xml version="1.0" encoding="utf-8"?>
<p:tagLst xmlns:a="http://schemas.openxmlformats.org/drawingml/2006/main" xmlns:r="http://schemas.openxmlformats.org/officeDocument/2006/relationships" xmlns:p="http://schemas.openxmlformats.org/presentationml/2006/main">
  <p:tag name="THINKCELLSHAPEDONOTDELETE" val="pWWQhFv8yTkKII7SrkGJ_IQ"/>
</p:tagLst>
</file>

<file path=ppt/tags/tag2261.xml><?xml version="1.0" encoding="utf-8"?>
<p:tagLst xmlns:a="http://schemas.openxmlformats.org/drawingml/2006/main" xmlns:r="http://schemas.openxmlformats.org/officeDocument/2006/relationships" xmlns:p="http://schemas.openxmlformats.org/presentationml/2006/main">
  <p:tag name="THINKCELLSHAPEDONOTDELETE" val="pgepxJ1O800KEDslRldcv4Q"/>
</p:tagLst>
</file>

<file path=ppt/tags/tag2262.xml><?xml version="1.0" encoding="utf-8"?>
<p:tagLst xmlns:a="http://schemas.openxmlformats.org/drawingml/2006/main" xmlns:r="http://schemas.openxmlformats.org/officeDocument/2006/relationships" xmlns:p="http://schemas.openxmlformats.org/presentationml/2006/main">
  <p:tag name="THINKCELLSHAPEDONOTDELETE" val="pClQCTs_yxUyDfc04NxhhtA"/>
</p:tagLst>
</file>

<file path=ppt/tags/tag2263.xml><?xml version="1.0" encoding="utf-8"?>
<p:tagLst xmlns:a="http://schemas.openxmlformats.org/drawingml/2006/main" xmlns:r="http://schemas.openxmlformats.org/officeDocument/2006/relationships" xmlns:p="http://schemas.openxmlformats.org/presentationml/2006/main">
  <p:tag name="THINKCELLSHAPEDONOTDELETE" val="praHrL_pCfkWs14l_1Fnntw"/>
</p:tagLst>
</file>

<file path=ppt/tags/tag2264.xml><?xml version="1.0" encoding="utf-8"?>
<p:tagLst xmlns:a="http://schemas.openxmlformats.org/drawingml/2006/main" xmlns:r="http://schemas.openxmlformats.org/officeDocument/2006/relationships" xmlns:p="http://schemas.openxmlformats.org/presentationml/2006/main">
  <p:tag name="THINKCELLSHAPEDONOTDELETE" val="pH9MDRiumBkKdJZzLadZLSQ"/>
</p:tagLst>
</file>

<file path=ppt/tags/tag2265.xml><?xml version="1.0" encoding="utf-8"?>
<p:tagLst xmlns:a="http://schemas.openxmlformats.org/drawingml/2006/main" xmlns:r="http://schemas.openxmlformats.org/officeDocument/2006/relationships" xmlns:p="http://schemas.openxmlformats.org/presentationml/2006/main">
  <p:tag name="THINKCELLSHAPEDONOTDELETE" val="pYyUnrl3PRkW_Y6PBvSyHMw"/>
</p:tagLst>
</file>

<file path=ppt/tags/tag2266.xml><?xml version="1.0" encoding="utf-8"?>
<p:tagLst xmlns:a="http://schemas.openxmlformats.org/drawingml/2006/main" xmlns:r="http://schemas.openxmlformats.org/officeDocument/2006/relationships" xmlns:p="http://schemas.openxmlformats.org/presentationml/2006/main">
  <p:tag name="THINKCELLSHAPEDONOTDELETE" val="pZrPnl6cpWEuJokcgkOW73g"/>
</p:tagLst>
</file>

<file path=ppt/tags/tag2267.xml><?xml version="1.0" encoding="utf-8"?>
<p:tagLst xmlns:a="http://schemas.openxmlformats.org/drawingml/2006/main" xmlns:r="http://schemas.openxmlformats.org/officeDocument/2006/relationships" xmlns:p="http://schemas.openxmlformats.org/presentationml/2006/main">
  <p:tag name="THINKCELLSHAPEDONOTDELETE" val="p0WptIGWLjk2vf3ZSZ2lPwg"/>
</p:tagLst>
</file>

<file path=ppt/tags/tag2268.xml><?xml version="1.0" encoding="utf-8"?>
<p:tagLst xmlns:a="http://schemas.openxmlformats.org/drawingml/2006/main" xmlns:r="http://schemas.openxmlformats.org/officeDocument/2006/relationships" xmlns:p="http://schemas.openxmlformats.org/presentationml/2006/main">
  <p:tag name="THINKCELLSHAPEDONOTDELETE" val="pGsYjZ0sa.ES0qBNGqdq_JA"/>
</p:tagLst>
</file>

<file path=ppt/tags/tag2269.xml><?xml version="1.0" encoding="utf-8"?>
<p:tagLst xmlns:a="http://schemas.openxmlformats.org/drawingml/2006/main" xmlns:r="http://schemas.openxmlformats.org/officeDocument/2006/relationships" xmlns:p="http://schemas.openxmlformats.org/presentationml/2006/main">
  <p:tag name="THINKCELLSHAPEDONOTDELETE" val="pV3Oc4kXHdUOw2bzbmhQ9hQ"/>
</p:tagLst>
</file>

<file path=ppt/tags/tag227.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2270.xml><?xml version="1.0" encoding="utf-8"?>
<p:tagLst xmlns:a="http://schemas.openxmlformats.org/drawingml/2006/main" xmlns:r="http://schemas.openxmlformats.org/officeDocument/2006/relationships" xmlns:p="http://schemas.openxmlformats.org/presentationml/2006/main">
  <p:tag name="THINKCELLSHAPEDONOTDELETE" val="puLrLbh5Zr0OS2BXqccSJRQ"/>
</p:tagLst>
</file>

<file path=ppt/tags/tag2271.xml><?xml version="1.0" encoding="utf-8"?>
<p:tagLst xmlns:a="http://schemas.openxmlformats.org/drawingml/2006/main" xmlns:r="http://schemas.openxmlformats.org/officeDocument/2006/relationships" xmlns:p="http://schemas.openxmlformats.org/presentationml/2006/main">
  <p:tag name="THINKCELLSHAPEDONOTDELETE" val="pl5.tm3D2WUmY9U2blibVvg"/>
</p:tagLst>
</file>

<file path=ppt/tags/tag2272.xml><?xml version="1.0" encoding="utf-8"?>
<p:tagLst xmlns:a="http://schemas.openxmlformats.org/drawingml/2006/main" xmlns:r="http://schemas.openxmlformats.org/officeDocument/2006/relationships" xmlns:p="http://schemas.openxmlformats.org/presentationml/2006/main">
  <p:tag name="THINKCELLSHAPEDONOTDELETE" val="p2OLWlmKee0aGrxsgVV_UGQ"/>
</p:tagLst>
</file>

<file path=ppt/tags/tag2273.xml><?xml version="1.0" encoding="utf-8"?>
<p:tagLst xmlns:a="http://schemas.openxmlformats.org/drawingml/2006/main" xmlns:r="http://schemas.openxmlformats.org/officeDocument/2006/relationships" xmlns:p="http://schemas.openxmlformats.org/presentationml/2006/main">
  <p:tag name="THINKCELLSHAPEDONOTDELETE" val="pB5M.UvczEUSInlNmq2XYdg"/>
</p:tagLst>
</file>

<file path=ppt/tags/tag2274.xml><?xml version="1.0" encoding="utf-8"?>
<p:tagLst xmlns:a="http://schemas.openxmlformats.org/drawingml/2006/main" xmlns:r="http://schemas.openxmlformats.org/officeDocument/2006/relationships" xmlns:p="http://schemas.openxmlformats.org/presentationml/2006/main">
  <p:tag name="THINKCELLSHAPEDONOTDELETE" val="p9eLW4.5.N0.UK6WQkNGWgg"/>
</p:tagLst>
</file>

<file path=ppt/tags/tag2275.xml><?xml version="1.0" encoding="utf-8"?>
<p:tagLst xmlns:a="http://schemas.openxmlformats.org/drawingml/2006/main" xmlns:r="http://schemas.openxmlformats.org/officeDocument/2006/relationships" xmlns:p="http://schemas.openxmlformats.org/presentationml/2006/main">
  <p:tag name="THINKCELLSHAPEDONOTDELETE" val="p33f_0xYKakevL_XlPU.muA"/>
</p:tagLst>
</file>

<file path=ppt/tags/tag2276.xml><?xml version="1.0" encoding="utf-8"?>
<p:tagLst xmlns:a="http://schemas.openxmlformats.org/drawingml/2006/main" xmlns:r="http://schemas.openxmlformats.org/officeDocument/2006/relationships" xmlns:p="http://schemas.openxmlformats.org/presentationml/2006/main">
  <p:tag name="THINKCELLSHAPEDONOTDELETE" val="pQi3Yl2lIYkeh4eNXUyld0A"/>
</p:tagLst>
</file>

<file path=ppt/tags/tag2277.xml><?xml version="1.0" encoding="utf-8"?>
<p:tagLst xmlns:a="http://schemas.openxmlformats.org/drawingml/2006/main" xmlns:r="http://schemas.openxmlformats.org/officeDocument/2006/relationships" xmlns:p="http://schemas.openxmlformats.org/presentationml/2006/main">
  <p:tag name="THINKCELLSHAPEDONOTDELETE" val="pPDguLmm73k2TJzgWO8t3tw"/>
</p:tagLst>
</file>

<file path=ppt/tags/tag2278.xml><?xml version="1.0" encoding="utf-8"?>
<p:tagLst xmlns:a="http://schemas.openxmlformats.org/drawingml/2006/main" xmlns:r="http://schemas.openxmlformats.org/officeDocument/2006/relationships" xmlns:p="http://schemas.openxmlformats.org/presentationml/2006/main">
  <p:tag name="THINKCELLSHAPEDONOTDELETE" val="pMYnUS7KEy0Wy4LvVjnZZIg"/>
</p:tagLst>
</file>

<file path=ppt/tags/tag2279.xml><?xml version="1.0" encoding="utf-8"?>
<p:tagLst xmlns:a="http://schemas.openxmlformats.org/drawingml/2006/main" xmlns:r="http://schemas.openxmlformats.org/officeDocument/2006/relationships" xmlns:p="http://schemas.openxmlformats.org/presentationml/2006/main">
  <p:tag name="THINKCELLSHAPEDONOTDELETE" val="pi.6xYyJjmkmBS4TRXyVj6g"/>
</p:tagLst>
</file>

<file path=ppt/tags/tag228.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2280.xml><?xml version="1.0" encoding="utf-8"?>
<p:tagLst xmlns:a="http://schemas.openxmlformats.org/drawingml/2006/main" xmlns:r="http://schemas.openxmlformats.org/officeDocument/2006/relationships" xmlns:p="http://schemas.openxmlformats.org/presentationml/2006/main">
  <p:tag name="THINKCELLSHAPEDONOTDELETE" val="pJMJ_Qyos1UWL6Hs_Le9CIA"/>
</p:tagLst>
</file>

<file path=ppt/tags/tag2281.xml><?xml version="1.0" encoding="utf-8"?>
<p:tagLst xmlns:a="http://schemas.openxmlformats.org/drawingml/2006/main" xmlns:r="http://schemas.openxmlformats.org/officeDocument/2006/relationships" xmlns:p="http://schemas.openxmlformats.org/presentationml/2006/main">
  <p:tag name="THINKCELLSHAPEDONOTDELETE" val="p0o1AYvbXwk.ljBLwUvqv1g"/>
</p:tagLst>
</file>

<file path=ppt/tags/tag2282.xml><?xml version="1.0" encoding="utf-8"?>
<p:tagLst xmlns:a="http://schemas.openxmlformats.org/drawingml/2006/main" xmlns:r="http://schemas.openxmlformats.org/officeDocument/2006/relationships" xmlns:p="http://schemas.openxmlformats.org/presentationml/2006/main">
  <p:tag name="THINKCELLSHAPEDONOTDELETE" val="p36roabJ860W_763Br5gARg"/>
</p:tagLst>
</file>

<file path=ppt/tags/tag2283.xml><?xml version="1.0" encoding="utf-8"?>
<p:tagLst xmlns:a="http://schemas.openxmlformats.org/drawingml/2006/main" xmlns:r="http://schemas.openxmlformats.org/officeDocument/2006/relationships" xmlns:p="http://schemas.openxmlformats.org/presentationml/2006/main">
  <p:tag name="THINKCELLSHAPEDONOTDELETE" val="ps_HsEOp0Y0WvGfuFPq8upQ"/>
</p:tagLst>
</file>

<file path=ppt/tags/tag2284.xml><?xml version="1.0" encoding="utf-8"?>
<p:tagLst xmlns:a="http://schemas.openxmlformats.org/drawingml/2006/main" xmlns:r="http://schemas.openxmlformats.org/officeDocument/2006/relationships" xmlns:p="http://schemas.openxmlformats.org/presentationml/2006/main">
  <p:tag name="THINKCELLSHAPEDONOTDELETE" val="prXkqKTRzz0SRX8e7THNHbQ"/>
</p:tagLst>
</file>

<file path=ppt/tags/tag2285.xml><?xml version="1.0" encoding="utf-8"?>
<p:tagLst xmlns:a="http://schemas.openxmlformats.org/drawingml/2006/main" xmlns:r="http://schemas.openxmlformats.org/officeDocument/2006/relationships" xmlns:p="http://schemas.openxmlformats.org/presentationml/2006/main">
  <p:tag name="THINKCELLSHAPEDONOTDELETE" val="popbexrnnrEqLnspXI5q37A"/>
</p:tagLst>
</file>

<file path=ppt/tags/tag2286.xml><?xml version="1.0" encoding="utf-8"?>
<p:tagLst xmlns:a="http://schemas.openxmlformats.org/drawingml/2006/main" xmlns:r="http://schemas.openxmlformats.org/officeDocument/2006/relationships" xmlns:p="http://schemas.openxmlformats.org/presentationml/2006/main">
  <p:tag name="THINKCELLSHAPEDONOTDELETE" val="p1N9VxcrmHUaHNzE9ty2.Tg"/>
</p:tagLst>
</file>

<file path=ppt/tags/tag2287.xml><?xml version="1.0" encoding="utf-8"?>
<p:tagLst xmlns:a="http://schemas.openxmlformats.org/drawingml/2006/main" xmlns:r="http://schemas.openxmlformats.org/officeDocument/2006/relationships" xmlns:p="http://schemas.openxmlformats.org/presentationml/2006/main">
  <p:tag name="THINKCELLSHAPEDONOTDELETE" val="pl_HdtZZoIUSQO2_49fWgHQ"/>
</p:tagLst>
</file>

<file path=ppt/tags/tag2288.xml><?xml version="1.0" encoding="utf-8"?>
<p:tagLst xmlns:a="http://schemas.openxmlformats.org/drawingml/2006/main" xmlns:r="http://schemas.openxmlformats.org/officeDocument/2006/relationships" xmlns:p="http://schemas.openxmlformats.org/presentationml/2006/main">
  <p:tag name="THINKCELLSHAPEDONOTDELETE" val="pN3oG5E1Wy0y8qORDIKKTWQ"/>
</p:tagLst>
</file>

<file path=ppt/tags/tag2289.xml><?xml version="1.0" encoding="utf-8"?>
<p:tagLst xmlns:a="http://schemas.openxmlformats.org/drawingml/2006/main" xmlns:r="http://schemas.openxmlformats.org/officeDocument/2006/relationships" xmlns:p="http://schemas.openxmlformats.org/presentationml/2006/main">
  <p:tag name="THINKCELLSHAPEDONOTDELETE" val="pCSdorHcTOEO1TAFKbcGTQA"/>
</p:tagLst>
</file>

<file path=ppt/tags/tag229.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2290.xml><?xml version="1.0" encoding="utf-8"?>
<p:tagLst xmlns:a="http://schemas.openxmlformats.org/drawingml/2006/main" xmlns:r="http://schemas.openxmlformats.org/officeDocument/2006/relationships" xmlns:p="http://schemas.openxmlformats.org/presentationml/2006/main">
  <p:tag name="THINKCELLSHAPEDONOTDELETE" val="pujjZfTsGDUCAbgU1Gsmh3w"/>
</p:tagLst>
</file>

<file path=ppt/tags/tag2291.xml><?xml version="1.0" encoding="utf-8"?>
<p:tagLst xmlns:a="http://schemas.openxmlformats.org/drawingml/2006/main" xmlns:r="http://schemas.openxmlformats.org/officeDocument/2006/relationships" xmlns:p="http://schemas.openxmlformats.org/presentationml/2006/main">
  <p:tag name="THINKCELLSHAPEDONOTDELETE" val="p.MgN2AFTgUuwOEdDvFnFcQ"/>
</p:tagLst>
</file>

<file path=ppt/tags/tag2292.xml><?xml version="1.0" encoding="utf-8"?>
<p:tagLst xmlns:a="http://schemas.openxmlformats.org/drawingml/2006/main" xmlns:r="http://schemas.openxmlformats.org/officeDocument/2006/relationships" xmlns:p="http://schemas.openxmlformats.org/presentationml/2006/main">
  <p:tag name="THINKCELLSHAPEDONOTDELETE" val="pjlPuxGS7FUOHHRW1ABbM_w"/>
</p:tagLst>
</file>

<file path=ppt/tags/tag2293.xml><?xml version="1.0" encoding="utf-8"?>
<p:tagLst xmlns:a="http://schemas.openxmlformats.org/drawingml/2006/main" xmlns:r="http://schemas.openxmlformats.org/officeDocument/2006/relationships" xmlns:p="http://schemas.openxmlformats.org/presentationml/2006/main">
  <p:tag name="THINKCELLSHAPEDONOTDELETE" val="pTqDM.bQHw0yw4ecjd34vzw"/>
</p:tagLst>
</file>

<file path=ppt/tags/tag2294.xml><?xml version="1.0" encoding="utf-8"?>
<p:tagLst xmlns:a="http://schemas.openxmlformats.org/drawingml/2006/main" xmlns:r="http://schemas.openxmlformats.org/officeDocument/2006/relationships" xmlns:p="http://schemas.openxmlformats.org/presentationml/2006/main">
  <p:tag name="THINKCELLSHAPEDONOTDELETE" val="p2TYOQm51OEit0Nq.l7CKQQ"/>
</p:tagLst>
</file>

<file path=ppt/tags/tag2295.xml><?xml version="1.0" encoding="utf-8"?>
<p:tagLst xmlns:a="http://schemas.openxmlformats.org/drawingml/2006/main" xmlns:r="http://schemas.openxmlformats.org/officeDocument/2006/relationships" xmlns:p="http://schemas.openxmlformats.org/presentationml/2006/main">
  <p:tag name="THINKCELLSHAPEDONOTDELETE" val="pa4Vl63LZJUiMy0GUjoqq9g"/>
</p:tagLst>
</file>

<file path=ppt/tags/tag2296.xml><?xml version="1.0" encoding="utf-8"?>
<p:tagLst xmlns:a="http://schemas.openxmlformats.org/drawingml/2006/main" xmlns:r="http://schemas.openxmlformats.org/officeDocument/2006/relationships" xmlns:p="http://schemas.openxmlformats.org/presentationml/2006/main">
  <p:tag name="THINKCELLSHAPEDONOTDELETE" val="phz.mfczH2EOPdHbYoxaCIg"/>
</p:tagLst>
</file>

<file path=ppt/tags/tag2297.xml><?xml version="1.0" encoding="utf-8"?>
<p:tagLst xmlns:a="http://schemas.openxmlformats.org/drawingml/2006/main" xmlns:r="http://schemas.openxmlformats.org/officeDocument/2006/relationships" xmlns:p="http://schemas.openxmlformats.org/presentationml/2006/main">
  <p:tag name="THINKCELLSHAPEDONOTDELETE" val="p0yY.1whLs0mqh6FAekjPnQ"/>
</p:tagLst>
</file>

<file path=ppt/tags/tag2298.xml><?xml version="1.0" encoding="utf-8"?>
<p:tagLst xmlns:a="http://schemas.openxmlformats.org/drawingml/2006/main" xmlns:r="http://schemas.openxmlformats.org/officeDocument/2006/relationships" xmlns:p="http://schemas.openxmlformats.org/presentationml/2006/main">
  <p:tag name="THINKCELLSHAPEDONOTDELETE" val="p_7uATfKjrkyBwFNENJb5.Q"/>
</p:tagLst>
</file>

<file path=ppt/tags/tag2299.xml><?xml version="1.0" encoding="utf-8"?>
<p:tagLst xmlns:a="http://schemas.openxmlformats.org/drawingml/2006/main" xmlns:r="http://schemas.openxmlformats.org/officeDocument/2006/relationships" xmlns:p="http://schemas.openxmlformats.org/presentationml/2006/main">
  <p:tag name="THINKCELLSHAPEDONOTDELETE" val="peCfECq5ZmUe3NUi7HtBUyA"/>
</p:tagLst>
</file>

<file path=ppt/tags/tag23.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230.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2300.xml><?xml version="1.0" encoding="utf-8"?>
<p:tagLst xmlns:a="http://schemas.openxmlformats.org/drawingml/2006/main" xmlns:r="http://schemas.openxmlformats.org/officeDocument/2006/relationships" xmlns:p="http://schemas.openxmlformats.org/presentationml/2006/main">
  <p:tag name="THINKCELLSHAPEDONOTDELETE" val="p82C5My91D0C6qG8zKmDBAg"/>
</p:tagLst>
</file>

<file path=ppt/tags/tag2301.xml><?xml version="1.0" encoding="utf-8"?>
<p:tagLst xmlns:a="http://schemas.openxmlformats.org/drawingml/2006/main" xmlns:r="http://schemas.openxmlformats.org/officeDocument/2006/relationships" xmlns:p="http://schemas.openxmlformats.org/presentationml/2006/main">
  <p:tag name="THINKCELLSHAPEDONOTDELETE" val="pkwjFqF1dTk6VgUOWfkR4uw"/>
</p:tagLst>
</file>

<file path=ppt/tags/tag2302.xml><?xml version="1.0" encoding="utf-8"?>
<p:tagLst xmlns:a="http://schemas.openxmlformats.org/drawingml/2006/main" xmlns:r="http://schemas.openxmlformats.org/officeDocument/2006/relationships" xmlns:p="http://schemas.openxmlformats.org/presentationml/2006/main">
  <p:tag name="THINKCELLSHAPEDONOTDELETE" val="pV9FBRi02s0y2x_tigc7TCQ"/>
</p:tagLst>
</file>

<file path=ppt/tags/tag2303.xml><?xml version="1.0" encoding="utf-8"?>
<p:tagLst xmlns:a="http://schemas.openxmlformats.org/drawingml/2006/main" xmlns:r="http://schemas.openxmlformats.org/officeDocument/2006/relationships" xmlns:p="http://schemas.openxmlformats.org/presentationml/2006/main">
  <p:tag name="THINKCELLSHAPEDONOTDELETE" val="p1lWhivrtYUS2AzlvPFh0ug"/>
</p:tagLst>
</file>

<file path=ppt/tags/tag2304.xml><?xml version="1.0" encoding="utf-8"?>
<p:tagLst xmlns:a="http://schemas.openxmlformats.org/drawingml/2006/main" xmlns:r="http://schemas.openxmlformats.org/officeDocument/2006/relationships" xmlns:p="http://schemas.openxmlformats.org/presentationml/2006/main">
  <p:tag name="THINKCELLSHAPEDONOTDELETE" val="p6V8Xam7RkEe2ukDc50nXUw"/>
</p:tagLst>
</file>

<file path=ppt/tags/tag2305.xml><?xml version="1.0" encoding="utf-8"?>
<p:tagLst xmlns:a="http://schemas.openxmlformats.org/drawingml/2006/main" xmlns:r="http://schemas.openxmlformats.org/officeDocument/2006/relationships" xmlns:p="http://schemas.openxmlformats.org/presentationml/2006/main">
  <p:tag name="THINKCELLSHAPEDONOTDELETE" val="pm7QeAIQruEKAvri4Gaw38Q"/>
</p:tagLst>
</file>

<file path=ppt/tags/tag2306.xml><?xml version="1.0" encoding="utf-8"?>
<p:tagLst xmlns:a="http://schemas.openxmlformats.org/drawingml/2006/main" xmlns:r="http://schemas.openxmlformats.org/officeDocument/2006/relationships" xmlns:p="http://schemas.openxmlformats.org/presentationml/2006/main">
  <p:tag name="THINKCELLSHAPEDONOTDELETE" val="pJwZ8ibBfIEm6DibkEtFTHQ"/>
</p:tagLst>
</file>

<file path=ppt/tags/tag2307.xml><?xml version="1.0" encoding="utf-8"?>
<p:tagLst xmlns:a="http://schemas.openxmlformats.org/drawingml/2006/main" xmlns:r="http://schemas.openxmlformats.org/officeDocument/2006/relationships" xmlns:p="http://schemas.openxmlformats.org/presentationml/2006/main">
  <p:tag name="THINKCELLSHAPEDONOTDELETE" val="pODVhO.vKPESkGqXLJR8Olw"/>
</p:tagLst>
</file>

<file path=ppt/tags/tag2308.xml><?xml version="1.0" encoding="utf-8"?>
<p:tagLst xmlns:a="http://schemas.openxmlformats.org/drawingml/2006/main" xmlns:r="http://schemas.openxmlformats.org/officeDocument/2006/relationships" xmlns:p="http://schemas.openxmlformats.org/presentationml/2006/main">
  <p:tag name="THINKCELLSHAPEDONOTDELETE" val="p8hbnsF9j4k6gTg1oXmMwyA"/>
</p:tagLst>
</file>

<file path=ppt/tags/tag2309.xml><?xml version="1.0" encoding="utf-8"?>
<p:tagLst xmlns:a="http://schemas.openxmlformats.org/drawingml/2006/main" xmlns:r="http://schemas.openxmlformats.org/officeDocument/2006/relationships" xmlns:p="http://schemas.openxmlformats.org/presentationml/2006/main">
  <p:tag name="THINKCELLSHAPEDONOTDELETE" val="p7aHIOz2hukeezzokvQo2.g"/>
</p:tagLst>
</file>

<file path=ppt/tags/tag231.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2310.xml><?xml version="1.0" encoding="utf-8"?>
<p:tagLst xmlns:a="http://schemas.openxmlformats.org/drawingml/2006/main" xmlns:r="http://schemas.openxmlformats.org/officeDocument/2006/relationships" xmlns:p="http://schemas.openxmlformats.org/presentationml/2006/main">
  <p:tag name="THINKCELLSHAPEDONOTDELETE" val="pWDageqekY0yE2foY3LduQQ"/>
</p:tagLst>
</file>

<file path=ppt/tags/tag2311.xml><?xml version="1.0" encoding="utf-8"?>
<p:tagLst xmlns:a="http://schemas.openxmlformats.org/drawingml/2006/main" xmlns:r="http://schemas.openxmlformats.org/officeDocument/2006/relationships" xmlns:p="http://schemas.openxmlformats.org/presentationml/2006/main">
  <p:tag name="THINKCELLSHAPEDONOTDELETE" val="p0xBwKke0zEKzJzUtg8o9dw"/>
</p:tagLst>
</file>

<file path=ppt/tags/tag2312.xml><?xml version="1.0" encoding="utf-8"?>
<p:tagLst xmlns:a="http://schemas.openxmlformats.org/drawingml/2006/main" xmlns:r="http://schemas.openxmlformats.org/officeDocument/2006/relationships" xmlns:p="http://schemas.openxmlformats.org/presentationml/2006/main">
  <p:tag name="THINKCELLSHAPEDONOTDELETE" val="pcitsVrsYN0qKAUM7ctbEOA"/>
</p:tagLst>
</file>

<file path=ppt/tags/tag2313.xml><?xml version="1.0" encoding="utf-8"?>
<p:tagLst xmlns:a="http://schemas.openxmlformats.org/drawingml/2006/main" xmlns:r="http://schemas.openxmlformats.org/officeDocument/2006/relationships" xmlns:p="http://schemas.openxmlformats.org/presentationml/2006/main">
  <p:tag name="THINKCELLSHAPEDONOTDELETE" val="p47NPSuFFl0CruMzI2rslKA"/>
</p:tagLst>
</file>

<file path=ppt/tags/tag2314.xml><?xml version="1.0" encoding="utf-8"?>
<p:tagLst xmlns:a="http://schemas.openxmlformats.org/drawingml/2006/main" xmlns:r="http://schemas.openxmlformats.org/officeDocument/2006/relationships" xmlns:p="http://schemas.openxmlformats.org/presentationml/2006/main">
  <p:tag name="THINKCELLSHAPEDONOTDELETE" val="prdnGL4T8bUe68Q24MPf3_A"/>
</p:tagLst>
</file>

<file path=ppt/tags/tag2315.xml><?xml version="1.0" encoding="utf-8"?>
<p:tagLst xmlns:a="http://schemas.openxmlformats.org/drawingml/2006/main" xmlns:r="http://schemas.openxmlformats.org/officeDocument/2006/relationships" xmlns:p="http://schemas.openxmlformats.org/presentationml/2006/main">
  <p:tag name="THINKCELLSHAPEDONOTDELETE" val="pX6AQz.QZIk.eNw_iFJ81vg"/>
</p:tagLst>
</file>

<file path=ppt/tags/tag2316.xml><?xml version="1.0" encoding="utf-8"?>
<p:tagLst xmlns:a="http://schemas.openxmlformats.org/drawingml/2006/main" xmlns:r="http://schemas.openxmlformats.org/officeDocument/2006/relationships" xmlns:p="http://schemas.openxmlformats.org/presentationml/2006/main">
  <p:tag name="THINKCELLSHAPEDONOTDELETE" val="pvuvpjd4l4kaOC2g3B3xOVg"/>
</p:tagLst>
</file>

<file path=ppt/tags/tag2317.xml><?xml version="1.0" encoding="utf-8"?>
<p:tagLst xmlns:a="http://schemas.openxmlformats.org/drawingml/2006/main" xmlns:r="http://schemas.openxmlformats.org/officeDocument/2006/relationships" xmlns:p="http://schemas.openxmlformats.org/presentationml/2006/main">
  <p:tag name="THINKCELLSHAPEDONOTDELETE" val="pvnTn1K7C8UybPV5z_1fFyQ"/>
</p:tagLst>
</file>

<file path=ppt/tags/tag2318.xml><?xml version="1.0" encoding="utf-8"?>
<p:tagLst xmlns:a="http://schemas.openxmlformats.org/drawingml/2006/main" xmlns:r="http://schemas.openxmlformats.org/officeDocument/2006/relationships" xmlns:p="http://schemas.openxmlformats.org/presentationml/2006/main">
  <p:tag name="THINKCELLSHAPEDONOTDELETE" val="pgSTrMePsvU.R1gzB5iTQIw"/>
</p:tagLst>
</file>

<file path=ppt/tags/tag2319.xml><?xml version="1.0" encoding="utf-8"?>
<p:tagLst xmlns:a="http://schemas.openxmlformats.org/drawingml/2006/main" xmlns:r="http://schemas.openxmlformats.org/officeDocument/2006/relationships" xmlns:p="http://schemas.openxmlformats.org/presentationml/2006/main">
  <p:tag name="THINKCELLSHAPEDONOTDELETE" val="pcGcww7k8X0.opKYof7lxuQ"/>
</p:tagLst>
</file>

<file path=ppt/tags/tag232.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2320.xml><?xml version="1.0" encoding="utf-8"?>
<p:tagLst xmlns:a="http://schemas.openxmlformats.org/drawingml/2006/main" xmlns:r="http://schemas.openxmlformats.org/officeDocument/2006/relationships" xmlns:p="http://schemas.openxmlformats.org/presentationml/2006/main">
  <p:tag name="THINKCELLSHAPEDONOTDELETE" val="pRiqIL8yviUSaapgErZX6og"/>
</p:tagLst>
</file>

<file path=ppt/tags/tag2321.xml><?xml version="1.0" encoding="utf-8"?>
<p:tagLst xmlns:a="http://schemas.openxmlformats.org/drawingml/2006/main" xmlns:r="http://schemas.openxmlformats.org/officeDocument/2006/relationships" xmlns:p="http://schemas.openxmlformats.org/presentationml/2006/main">
  <p:tag name="THINKCELLSHAPEDONOTDELETE" val="pZK8jScy4HkmxMcbk8ebhgA"/>
</p:tagLst>
</file>

<file path=ppt/tags/tag2322.xml><?xml version="1.0" encoding="utf-8"?>
<p:tagLst xmlns:a="http://schemas.openxmlformats.org/drawingml/2006/main" xmlns:r="http://schemas.openxmlformats.org/officeDocument/2006/relationships" xmlns:p="http://schemas.openxmlformats.org/presentationml/2006/main">
  <p:tag name="THINKCELLSHAPEDONOTDELETE" val="pV6jQXrvHbk.2_AzHLJqHxg"/>
</p:tagLst>
</file>

<file path=ppt/tags/tag2323.xml><?xml version="1.0" encoding="utf-8"?>
<p:tagLst xmlns:a="http://schemas.openxmlformats.org/drawingml/2006/main" xmlns:r="http://schemas.openxmlformats.org/officeDocument/2006/relationships" xmlns:p="http://schemas.openxmlformats.org/presentationml/2006/main">
  <p:tag name="THINKCELLSHAPEDONOTDELETE" val="pDLCCd20UoUSO9pkiMbyOWQ"/>
</p:tagLst>
</file>

<file path=ppt/tags/tag2324.xml><?xml version="1.0" encoding="utf-8"?>
<p:tagLst xmlns:a="http://schemas.openxmlformats.org/drawingml/2006/main" xmlns:r="http://schemas.openxmlformats.org/officeDocument/2006/relationships" xmlns:p="http://schemas.openxmlformats.org/presentationml/2006/main">
  <p:tag name="THINKCELLSHAPEDONOTDELETE" val="pBL9q3p6i3UKqxTL7JgOjtg"/>
</p:tagLst>
</file>

<file path=ppt/tags/tag2325.xml><?xml version="1.0" encoding="utf-8"?>
<p:tagLst xmlns:a="http://schemas.openxmlformats.org/drawingml/2006/main" xmlns:r="http://schemas.openxmlformats.org/officeDocument/2006/relationships" xmlns:p="http://schemas.openxmlformats.org/presentationml/2006/main">
  <p:tag name="THINKCELLSHAPEDONOTDELETE" val="p0iQ9RonEd0al7oo0HtExAQ"/>
</p:tagLst>
</file>

<file path=ppt/tags/tag2326.xml><?xml version="1.0" encoding="utf-8"?>
<p:tagLst xmlns:a="http://schemas.openxmlformats.org/drawingml/2006/main" xmlns:r="http://schemas.openxmlformats.org/officeDocument/2006/relationships" xmlns:p="http://schemas.openxmlformats.org/presentationml/2006/main">
  <p:tag name="THINKCELLSHAPEDONOTDELETE" val="preNjOTWlRUe1iRG42PpoeA"/>
</p:tagLst>
</file>

<file path=ppt/tags/tag2327.xml><?xml version="1.0" encoding="utf-8"?>
<p:tagLst xmlns:a="http://schemas.openxmlformats.org/drawingml/2006/main" xmlns:r="http://schemas.openxmlformats.org/officeDocument/2006/relationships" xmlns:p="http://schemas.openxmlformats.org/presentationml/2006/main">
  <p:tag name="THINKCELLSHAPEDONOTDELETE" val="p.UItr6WKJUq3KvPfHg8qbg"/>
</p:tagLst>
</file>

<file path=ppt/tags/tag2328.xml><?xml version="1.0" encoding="utf-8"?>
<p:tagLst xmlns:a="http://schemas.openxmlformats.org/drawingml/2006/main" xmlns:r="http://schemas.openxmlformats.org/officeDocument/2006/relationships" xmlns:p="http://schemas.openxmlformats.org/presentationml/2006/main">
  <p:tag name="THINKCELLSHAPEDONOTDELETE" val="pS6hdn9sS9EGP7wQIzS.jAw"/>
</p:tagLst>
</file>

<file path=ppt/tags/tag2329.xml><?xml version="1.0" encoding="utf-8"?>
<p:tagLst xmlns:a="http://schemas.openxmlformats.org/drawingml/2006/main" xmlns:r="http://schemas.openxmlformats.org/officeDocument/2006/relationships" xmlns:p="http://schemas.openxmlformats.org/presentationml/2006/main">
  <p:tag name="THINKCELLSHAPEDONOTDELETE" val="p44YcVjdnI0W5VlOnR3C7YQ"/>
</p:tagLst>
</file>

<file path=ppt/tags/tag233.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2330.xml><?xml version="1.0" encoding="utf-8"?>
<p:tagLst xmlns:a="http://schemas.openxmlformats.org/drawingml/2006/main" xmlns:r="http://schemas.openxmlformats.org/officeDocument/2006/relationships" xmlns:p="http://schemas.openxmlformats.org/presentationml/2006/main">
  <p:tag name="THINKCELLSHAPEDONOTDELETE" val="p7a0A4wv8a0adMpj5eUUe4w"/>
</p:tagLst>
</file>

<file path=ppt/tags/tag2331.xml><?xml version="1.0" encoding="utf-8"?>
<p:tagLst xmlns:a="http://schemas.openxmlformats.org/drawingml/2006/main" xmlns:r="http://schemas.openxmlformats.org/officeDocument/2006/relationships" xmlns:p="http://schemas.openxmlformats.org/presentationml/2006/main">
  <p:tag name="THINKCELLSHAPEDONOTDELETE" val="pTSDzXQg8b0KWfKrEOm8MmQ"/>
</p:tagLst>
</file>

<file path=ppt/tags/tag2332.xml><?xml version="1.0" encoding="utf-8"?>
<p:tagLst xmlns:a="http://schemas.openxmlformats.org/drawingml/2006/main" xmlns:r="http://schemas.openxmlformats.org/officeDocument/2006/relationships" xmlns:p="http://schemas.openxmlformats.org/presentationml/2006/main">
  <p:tag name="THINKCELLSHAPEDONOTDELETE" val="pglbNuEM2k0.TTJNA0gxEMA"/>
</p:tagLst>
</file>

<file path=ppt/tags/tag2333.xml><?xml version="1.0" encoding="utf-8"?>
<p:tagLst xmlns:a="http://schemas.openxmlformats.org/drawingml/2006/main" xmlns:r="http://schemas.openxmlformats.org/officeDocument/2006/relationships" xmlns:p="http://schemas.openxmlformats.org/presentationml/2006/main">
  <p:tag name="THINKCELLSHAPEDONOTDELETE" val="pQQMdy1eR_0uVi6bMzdHJHw"/>
</p:tagLst>
</file>

<file path=ppt/tags/tag2334.xml><?xml version="1.0" encoding="utf-8"?>
<p:tagLst xmlns:a="http://schemas.openxmlformats.org/drawingml/2006/main" xmlns:r="http://schemas.openxmlformats.org/officeDocument/2006/relationships" xmlns:p="http://schemas.openxmlformats.org/presentationml/2006/main">
  <p:tag name="THINKCELLSHAPEDONOTDELETE" val="pNcZ4pU9PkU6FhRjz81vduA"/>
</p:tagLst>
</file>

<file path=ppt/tags/tag2335.xml><?xml version="1.0" encoding="utf-8"?>
<p:tagLst xmlns:a="http://schemas.openxmlformats.org/drawingml/2006/main" xmlns:r="http://schemas.openxmlformats.org/officeDocument/2006/relationships" xmlns:p="http://schemas.openxmlformats.org/presentationml/2006/main">
  <p:tag name="THINKCELLSHAPEDONOTDELETE" val="pcl_jKQV21ESdZGRZQFIVPg"/>
</p:tagLst>
</file>

<file path=ppt/tags/tag2336.xml><?xml version="1.0" encoding="utf-8"?>
<p:tagLst xmlns:a="http://schemas.openxmlformats.org/drawingml/2006/main" xmlns:r="http://schemas.openxmlformats.org/officeDocument/2006/relationships" xmlns:p="http://schemas.openxmlformats.org/presentationml/2006/main">
  <p:tag name="THINKCELLSHAPEDONOTDELETE" val="pcC1dWNwiZkiCyKDYKm9ZFg"/>
</p:tagLst>
</file>

<file path=ppt/tags/tag2337.xml><?xml version="1.0" encoding="utf-8"?>
<p:tagLst xmlns:a="http://schemas.openxmlformats.org/drawingml/2006/main" xmlns:r="http://schemas.openxmlformats.org/officeDocument/2006/relationships" xmlns:p="http://schemas.openxmlformats.org/presentationml/2006/main">
  <p:tag name="THINKCELLSHAPEDONOTDELETE" val="pCqfxIboXLEmNM_qQRpW1xA"/>
</p:tagLst>
</file>

<file path=ppt/tags/tag2338.xml><?xml version="1.0" encoding="utf-8"?>
<p:tagLst xmlns:a="http://schemas.openxmlformats.org/drawingml/2006/main" xmlns:r="http://schemas.openxmlformats.org/officeDocument/2006/relationships" xmlns:p="http://schemas.openxmlformats.org/presentationml/2006/main">
  <p:tag name="THINKCELLSHAPEDONOTDELETE" val="p9s07Hpj4I0y19YsdO.jfAA"/>
</p:tagLst>
</file>

<file path=ppt/tags/tag2339.xml><?xml version="1.0" encoding="utf-8"?>
<p:tagLst xmlns:a="http://schemas.openxmlformats.org/drawingml/2006/main" xmlns:r="http://schemas.openxmlformats.org/officeDocument/2006/relationships" xmlns:p="http://schemas.openxmlformats.org/presentationml/2006/main">
  <p:tag name="THINKCELLSHAPEDONOTDELETE" val="p1lskzH3KYEOG6GeEenzY_A"/>
</p:tagLst>
</file>

<file path=ppt/tags/tag234.xml><?xml version="1.0" encoding="utf-8"?>
<p:tagLst xmlns:a="http://schemas.openxmlformats.org/drawingml/2006/main" xmlns:r="http://schemas.openxmlformats.org/officeDocument/2006/relationships" xmlns:p="http://schemas.openxmlformats.org/presentationml/2006/main">
  <p:tag name="ISLEGEND" val="true"/>
</p:tagLst>
</file>

<file path=ppt/tags/tag2340.xml><?xml version="1.0" encoding="utf-8"?>
<p:tagLst xmlns:a="http://schemas.openxmlformats.org/drawingml/2006/main" xmlns:r="http://schemas.openxmlformats.org/officeDocument/2006/relationships" xmlns:p="http://schemas.openxmlformats.org/presentationml/2006/main">
  <p:tag name="THINKCELLSHAPEDONOTDELETE" val="pflLP_Kw10EiAwW.i2q1lIA"/>
</p:tagLst>
</file>

<file path=ppt/tags/tag2341.xml><?xml version="1.0" encoding="utf-8"?>
<p:tagLst xmlns:a="http://schemas.openxmlformats.org/drawingml/2006/main" xmlns:r="http://schemas.openxmlformats.org/officeDocument/2006/relationships" xmlns:p="http://schemas.openxmlformats.org/presentationml/2006/main">
  <p:tag name="THINKCELLSHAPEDONOTDELETE" val="p0Je2_KID8EK7pRf1V_X8Jw"/>
</p:tagLst>
</file>

<file path=ppt/tags/tag2342.xml><?xml version="1.0" encoding="utf-8"?>
<p:tagLst xmlns:a="http://schemas.openxmlformats.org/drawingml/2006/main" xmlns:r="http://schemas.openxmlformats.org/officeDocument/2006/relationships" xmlns:p="http://schemas.openxmlformats.org/presentationml/2006/main">
  <p:tag name="THINKCELLSHAPEDONOTDELETE" val="pz1Scw5y9U0qkDD5P70UCGA"/>
</p:tagLst>
</file>

<file path=ppt/tags/tag2343.xml><?xml version="1.0" encoding="utf-8"?>
<p:tagLst xmlns:a="http://schemas.openxmlformats.org/drawingml/2006/main" xmlns:r="http://schemas.openxmlformats.org/officeDocument/2006/relationships" xmlns:p="http://schemas.openxmlformats.org/presentationml/2006/main">
  <p:tag name="THINKCELLSHAPEDONOTDELETE" val="pqPYHU.Oo9k2Hm.5PseFsIw"/>
</p:tagLst>
</file>

<file path=ppt/tags/tag2344.xml><?xml version="1.0" encoding="utf-8"?>
<p:tagLst xmlns:a="http://schemas.openxmlformats.org/drawingml/2006/main" xmlns:r="http://schemas.openxmlformats.org/officeDocument/2006/relationships" xmlns:p="http://schemas.openxmlformats.org/presentationml/2006/main">
  <p:tag name="THINKCELLSHAPEDONOTDELETE" val="pCMApASNuQE2vq63eQVkkcw"/>
</p:tagLst>
</file>

<file path=ppt/tags/tag2345.xml><?xml version="1.0" encoding="utf-8"?>
<p:tagLst xmlns:a="http://schemas.openxmlformats.org/drawingml/2006/main" xmlns:r="http://schemas.openxmlformats.org/officeDocument/2006/relationships" xmlns:p="http://schemas.openxmlformats.org/presentationml/2006/main">
  <p:tag name="THINKCELLSHAPEDONOTDELETE" val="pIp8ouQXO.02fUXE.BulVkw"/>
</p:tagLst>
</file>

<file path=ppt/tags/tag2346.xml><?xml version="1.0" encoding="utf-8"?>
<p:tagLst xmlns:a="http://schemas.openxmlformats.org/drawingml/2006/main" xmlns:r="http://schemas.openxmlformats.org/officeDocument/2006/relationships" xmlns:p="http://schemas.openxmlformats.org/presentationml/2006/main">
  <p:tag name="THINKCELLSHAPEDONOTDELETE" val="pR8pys9L6hUiWkl1NM6WtNQ"/>
</p:tagLst>
</file>

<file path=ppt/tags/tag2347.xml><?xml version="1.0" encoding="utf-8"?>
<p:tagLst xmlns:a="http://schemas.openxmlformats.org/drawingml/2006/main" xmlns:r="http://schemas.openxmlformats.org/officeDocument/2006/relationships" xmlns:p="http://schemas.openxmlformats.org/presentationml/2006/main">
  <p:tag name="THINKCELLSHAPEDONOTDELETE" val="p4pcw6fX4_U6jrLzFy5khoA"/>
</p:tagLst>
</file>

<file path=ppt/tags/tag2348.xml><?xml version="1.0" encoding="utf-8"?>
<p:tagLst xmlns:a="http://schemas.openxmlformats.org/drawingml/2006/main" xmlns:r="http://schemas.openxmlformats.org/officeDocument/2006/relationships" xmlns:p="http://schemas.openxmlformats.org/presentationml/2006/main">
  <p:tag name="THINKCELLSHAPEDONOTDELETE" val="pLBOD_dgDrEyDB1MyJ0MeRg"/>
</p:tagLst>
</file>

<file path=ppt/tags/tag2349.xml><?xml version="1.0" encoding="utf-8"?>
<p:tagLst xmlns:a="http://schemas.openxmlformats.org/drawingml/2006/main" xmlns:r="http://schemas.openxmlformats.org/officeDocument/2006/relationships" xmlns:p="http://schemas.openxmlformats.org/presentationml/2006/main">
  <p:tag name="THINKCELLSHAPEDONOTDELETE" val="pYca54pnsDESUqvvr.JkBuQ"/>
</p:tagLst>
</file>

<file path=ppt/tags/tag235.xml><?xml version="1.0" encoding="utf-8"?>
<p:tagLst xmlns:a="http://schemas.openxmlformats.org/drawingml/2006/main" xmlns:r="http://schemas.openxmlformats.org/officeDocument/2006/relationships" xmlns:p="http://schemas.openxmlformats.org/presentationml/2006/main">
  <p:tag name="ISLEGEND" val="true"/>
</p:tagLst>
</file>

<file path=ppt/tags/tag2350.xml><?xml version="1.0" encoding="utf-8"?>
<p:tagLst xmlns:a="http://schemas.openxmlformats.org/drawingml/2006/main" xmlns:r="http://schemas.openxmlformats.org/officeDocument/2006/relationships" xmlns:p="http://schemas.openxmlformats.org/presentationml/2006/main">
  <p:tag name="THINKCELLSHAPEDONOTDELETE" val="pDdMh.s12uEuAhzXjxUQPAw"/>
</p:tagLst>
</file>

<file path=ppt/tags/tag2351.xml><?xml version="1.0" encoding="utf-8"?>
<p:tagLst xmlns:a="http://schemas.openxmlformats.org/drawingml/2006/main" xmlns:r="http://schemas.openxmlformats.org/officeDocument/2006/relationships" xmlns:p="http://schemas.openxmlformats.org/presentationml/2006/main">
  <p:tag name="THINKCELLSHAPEDONOTDELETE" val="pMBEfnkVIb0q_2d9_ygO6JA"/>
</p:tagLst>
</file>

<file path=ppt/tags/tag2352.xml><?xml version="1.0" encoding="utf-8"?>
<p:tagLst xmlns:a="http://schemas.openxmlformats.org/drawingml/2006/main" xmlns:r="http://schemas.openxmlformats.org/officeDocument/2006/relationships" xmlns:p="http://schemas.openxmlformats.org/presentationml/2006/main">
  <p:tag name="THINKCELLSHAPEDONOTDELETE" val="pR3_6pfkv.E.jv9oVj7l9TA"/>
</p:tagLst>
</file>

<file path=ppt/tags/tag2353.xml><?xml version="1.0" encoding="utf-8"?>
<p:tagLst xmlns:a="http://schemas.openxmlformats.org/drawingml/2006/main" xmlns:r="http://schemas.openxmlformats.org/officeDocument/2006/relationships" xmlns:p="http://schemas.openxmlformats.org/presentationml/2006/main">
  <p:tag name="THINKCELLSHAPEDONOTDELETE" val="p84BhIXHYiEWKxeAPzzxAmA"/>
</p:tagLst>
</file>

<file path=ppt/tags/tag2354.xml><?xml version="1.0" encoding="utf-8"?>
<p:tagLst xmlns:a="http://schemas.openxmlformats.org/drawingml/2006/main" xmlns:r="http://schemas.openxmlformats.org/officeDocument/2006/relationships" xmlns:p="http://schemas.openxmlformats.org/presentationml/2006/main">
  <p:tag name="THINKCELLSHAPEDONOTDELETE" val="pg3FTgv6weU2gXcqslcq0ZQ"/>
</p:tagLst>
</file>

<file path=ppt/tags/tag2355.xml><?xml version="1.0" encoding="utf-8"?>
<p:tagLst xmlns:a="http://schemas.openxmlformats.org/drawingml/2006/main" xmlns:r="http://schemas.openxmlformats.org/officeDocument/2006/relationships" xmlns:p="http://schemas.openxmlformats.org/presentationml/2006/main">
  <p:tag name="THINKCELLSHAPEDONOTDELETE" val="p7OXwBi98pEKMlxGnoMFx6w"/>
</p:tagLst>
</file>

<file path=ppt/tags/tag2356.xml><?xml version="1.0" encoding="utf-8"?>
<p:tagLst xmlns:a="http://schemas.openxmlformats.org/drawingml/2006/main" xmlns:r="http://schemas.openxmlformats.org/officeDocument/2006/relationships" xmlns:p="http://schemas.openxmlformats.org/presentationml/2006/main">
  <p:tag name="THINKCELLSHAPEDONOTDELETE" val="pKmynsKaT10W3cef.hdd4JQ"/>
</p:tagLst>
</file>

<file path=ppt/tags/tag2357.xml><?xml version="1.0" encoding="utf-8"?>
<p:tagLst xmlns:a="http://schemas.openxmlformats.org/drawingml/2006/main" xmlns:r="http://schemas.openxmlformats.org/officeDocument/2006/relationships" xmlns:p="http://schemas.openxmlformats.org/presentationml/2006/main">
  <p:tag name="THINKCELLSHAPEDONOTDELETE" val="pKImEYp9o10yLpZfsRHIB3w"/>
</p:tagLst>
</file>

<file path=ppt/tags/tag2358.xml><?xml version="1.0" encoding="utf-8"?>
<p:tagLst xmlns:a="http://schemas.openxmlformats.org/drawingml/2006/main" xmlns:r="http://schemas.openxmlformats.org/officeDocument/2006/relationships" xmlns:p="http://schemas.openxmlformats.org/presentationml/2006/main">
  <p:tag name="THINKCELLSHAPEDONOTDELETE" val="pQEPF2FqMKUy3PhAPuWk0xw"/>
</p:tagLst>
</file>

<file path=ppt/tags/tag2359.xml><?xml version="1.0" encoding="utf-8"?>
<p:tagLst xmlns:a="http://schemas.openxmlformats.org/drawingml/2006/main" xmlns:r="http://schemas.openxmlformats.org/officeDocument/2006/relationships" xmlns:p="http://schemas.openxmlformats.org/presentationml/2006/main">
  <p:tag name="THINKCELLSHAPEDONOTDELETE" val="pZb7I5G5WEUiz3HkyEjumfA"/>
</p:tagLst>
</file>

<file path=ppt/tags/tag236.xml><?xml version="1.0" encoding="utf-8"?>
<p:tagLst xmlns:a="http://schemas.openxmlformats.org/drawingml/2006/main" xmlns:r="http://schemas.openxmlformats.org/officeDocument/2006/relationships" xmlns:p="http://schemas.openxmlformats.org/presentationml/2006/main">
  <p:tag name="ISLEGEND" val="true"/>
</p:tagLst>
</file>

<file path=ppt/tags/tag2360.xml><?xml version="1.0" encoding="utf-8"?>
<p:tagLst xmlns:a="http://schemas.openxmlformats.org/drawingml/2006/main" xmlns:r="http://schemas.openxmlformats.org/officeDocument/2006/relationships" xmlns:p="http://schemas.openxmlformats.org/presentationml/2006/main">
  <p:tag name="THINKCELLSHAPEDONOTDELETE" val="prlet2lowxkyfGX_lF3iCMQ"/>
</p:tagLst>
</file>

<file path=ppt/tags/tag2361.xml><?xml version="1.0" encoding="utf-8"?>
<p:tagLst xmlns:a="http://schemas.openxmlformats.org/drawingml/2006/main" xmlns:r="http://schemas.openxmlformats.org/officeDocument/2006/relationships" xmlns:p="http://schemas.openxmlformats.org/presentationml/2006/main">
  <p:tag name="THINKCELLSHAPEDONOTDELETE" val="pToh5d.xMLESEW140OyfHKw"/>
</p:tagLst>
</file>

<file path=ppt/tags/tag2362.xml><?xml version="1.0" encoding="utf-8"?>
<p:tagLst xmlns:a="http://schemas.openxmlformats.org/drawingml/2006/main" xmlns:r="http://schemas.openxmlformats.org/officeDocument/2006/relationships" xmlns:p="http://schemas.openxmlformats.org/presentationml/2006/main">
  <p:tag name="THINKCELLSHAPEDONOTDELETE" val="pq6MCW.6VKUC4uUDJ5dSo9A"/>
</p:tagLst>
</file>

<file path=ppt/tags/tag2363.xml><?xml version="1.0" encoding="utf-8"?>
<p:tagLst xmlns:a="http://schemas.openxmlformats.org/drawingml/2006/main" xmlns:r="http://schemas.openxmlformats.org/officeDocument/2006/relationships" xmlns:p="http://schemas.openxmlformats.org/presentationml/2006/main">
  <p:tag name="THINKCELLSHAPEDONOTDELETE" val="pQsEeu1t.ikygWBC75BSHGw"/>
</p:tagLst>
</file>

<file path=ppt/tags/tag2364.xml><?xml version="1.0" encoding="utf-8"?>
<p:tagLst xmlns:a="http://schemas.openxmlformats.org/drawingml/2006/main" xmlns:r="http://schemas.openxmlformats.org/officeDocument/2006/relationships" xmlns:p="http://schemas.openxmlformats.org/presentationml/2006/main">
  <p:tag name="THINKCELLSHAPEDONOTDELETE" val="p7io54H_tXEacP.lGpSlAHA"/>
</p:tagLst>
</file>

<file path=ppt/tags/tag2365.xml><?xml version="1.0" encoding="utf-8"?>
<p:tagLst xmlns:a="http://schemas.openxmlformats.org/drawingml/2006/main" xmlns:r="http://schemas.openxmlformats.org/officeDocument/2006/relationships" xmlns:p="http://schemas.openxmlformats.org/presentationml/2006/main">
  <p:tag name="THINKCELLSHAPEDONOTDELETE" val="pcuYbhtNJ60SixxnASG4tSg"/>
</p:tagLst>
</file>

<file path=ppt/tags/tag2366.xml><?xml version="1.0" encoding="utf-8"?>
<p:tagLst xmlns:a="http://schemas.openxmlformats.org/drawingml/2006/main" xmlns:r="http://schemas.openxmlformats.org/officeDocument/2006/relationships" xmlns:p="http://schemas.openxmlformats.org/presentationml/2006/main">
  <p:tag name="THINKCELLSHAPEDONOTDELETE" val="p6WqCacPIHkODWpUgUB7vgA"/>
</p:tagLst>
</file>

<file path=ppt/tags/tag2367.xml><?xml version="1.0" encoding="utf-8"?>
<p:tagLst xmlns:a="http://schemas.openxmlformats.org/drawingml/2006/main" xmlns:r="http://schemas.openxmlformats.org/officeDocument/2006/relationships" xmlns:p="http://schemas.openxmlformats.org/presentationml/2006/main">
  <p:tag name="THINKCELLSHAPEDONOTDELETE" val="pU3KQm_D1.0G4C78Q8Gqn8g"/>
</p:tagLst>
</file>

<file path=ppt/tags/tag2368.xml><?xml version="1.0" encoding="utf-8"?>
<p:tagLst xmlns:a="http://schemas.openxmlformats.org/drawingml/2006/main" xmlns:r="http://schemas.openxmlformats.org/officeDocument/2006/relationships" xmlns:p="http://schemas.openxmlformats.org/presentationml/2006/main">
  <p:tag name="THINKCELLSHAPEDONOTDELETE" val="pUxMeFfF5YEqohmdJDtixsA"/>
</p:tagLst>
</file>

<file path=ppt/tags/tag2369.xml><?xml version="1.0" encoding="utf-8"?>
<p:tagLst xmlns:a="http://schemas.openxmlformats.org/drawingml/2006/main" xmlns:r="http://schemas.openxmlformats.org/officeDocument/2006/relationships" xmlns:p="http://schemas.openxmlformats.org/presentationml/2006/main">
  <p:tag name="THINKCELLSHAPEDONOTDELETE" val="p4zTAwCcPoUi03MUO8KXWtQ"/>
</p:tagLst>
</file>

<file path=ppt/tags/tag237.xml><?xml version="1.0" encoding="utf-8"?>
<p:tagLst xmlns:a="http://schemas.openxmlformats.org/drawingml/2006/main" xmlns:r="http://schemas.openxmlformats.org/officeDocument/2006/relationships" xmlns:p="http://schemas.openxmlformats.org/presentationml/2006/main">
  <p:tag name="ISLEGEND" val="true"/>
</p:tagLst>
</file>

<file path=ppt/tags/tag2370.xml><?xml version="1.0" encoding="utf-8"?>
<p:tagLst xmlns:a="http://schemas.openxmlformats.org/drawingml/2006/main" xmlns:r="http://schemas.openxmlformats.org/officeDocument/2006/relationships" xmlns:p="http://schemas.openxmlformats.org/presentationml/2006/main">
  <p:tag name="THINKCELLSHAPEDONOTDELETE" val="pZhDLRL17jUqjcyWmCXTASQ"/>
</p:tagLst>
</file>

<file path=ppt/tags/tag2371.xml><?xml version="1.0" encoding="utf-8"?>
<p:tagLst xmlns:a="http://schemas.openxmlformats.org/drawingml/2006/main" xmlns:r="http://schemas.openxmlformats.org/officeDocument/2006/relationships" xmlns:p="http://schemas.openxmlformats.org/presentationml/2006/main">
  <p:tag name="THINKCELLSHAPEDONOTDELETE" val="p59Eck4YSukq1tImpuIYpMQ"/>
</p:tagLst>
</file>

<file path=ppt/tags/tag2372.xml><?xml version="1.0" encoding="utf-8"?>
<p:tagLst xmlns:a="http://schemas.openxmlformats.org/drawingml/2006/main" xmlns:r="http://schemas.openxmlformats.org/officeDocument/2006/relationships" xmlns:p="http://schemas.openxmlformats.org/presentationml/2006/main">
  <p:tag name="THINKCELLSHAPEDONOTDELETE" val="pFPW_Qixhe0Kv1fvX_eWGUw"/>
</p:tagLst>
</file>

<file path=ppt/tags/tag2373.xml><?xml version="1.0" encoding="utf-8"?>
<p:tagLst xmlns:a="http://schemas.openxmlformats.org/drawingml/2006/main" xmlns:r="http://schemas.openxmlformats.org/officeDocument/2006/relationships" xmlns:p="http://schemas.openxmlformats.org/presentationml/2006/main">
  <p:tag name="THINKCELLSHAPEDONOTDELETE" val="pFRv6pjJrOUOBHL1Bj3XIFA"/>
</p:tagLst>
</file>

<file path=ppt/tags/tag2374.xml><?xml version="1.0" encoding="utf-8"?>
<p:tagLst xmlns:a="http://schemas.openxmlformats.org/drawingml/2006/main" xmlns:r="http://schemas.openxmlformats.org/officeDocument/2006/relationships" xmlns:p="http://schemas.openxmlformats.org/presentationml/2006/main">
  <p:tag name="THINKCELLSHAPEDONOTDELETE" val="pxi3CBAz2Jkubfj6VEhvAmg"/>
</p:tagLst>
</file>

<file path=ppt/tags/tag2375.xml><?xml version="1.0" encoding="utf-8"?>
<p:tagLst xmlns:a="http://schemas.openxmlformats.org/drawingml/2006/main" xmlns:r="http://schemas.openxmlformats.org/officeDocument/2006/relationships" xmlns:p="http://schemas.openxmlformats.org/presentationml/2006/main">
  <p:tag name="THINKCELLSHAPEDONOTDELETE" val="pKFrtKeKL4EqCRUhV.muNnw"/>
</p:tagLst>
</file>

<file path=ppt/tags/tag2376.xml><?xml version="1.0" encoding="utf-8"?>
<p:tagLst xmlns:a="http://schemas.openxmlformats.org/drawingml/2006/main" xmlns:r="http://schemas.openxmlformats.org/officeDocument/2006/relationships" xmlns:p="http://schemas.openxmlformats.org/presentationml/2006/main">
  <p:tag name="THINKCELLSHAPEDONOTDELETE" val="pyDno10EhakaVhcboSgtuSg"/>
</p:tagLst>
</file>

<file path=ppt/tags/tag2377.xml><?xml version="1.0" encoding="utf-8"?>
<p:tagLst xmlns:a="http://schemas.openxmlformats.org/drawingml/2006/main" xmlns:r="http://schemas.openxmlformats.org/officeDocument/2006/relationships" xmlns:p="http://schemas.openxmlformats.org/presentationml/2006/main">
  <p:tag name="THINKCELLSHAPEDONOTDELETE" val="pLiTokrsNv0WHcDbsn0tj3w"/>
</p:tagLst>
</file>

<file path=ppt/tags/tag2378.xml><?xml version="1.0" encoding="utf-8"?>
<p:tagLst xmlns:a="http://schemas.openxmlformats.org/drawingml/2006/main" xmlns:r="http://schemas.openxmlformats.org/officeDocument/2006/relationships" xmlns:p="http://schemas.openxmlformats.org/presentationml/2006/main">
  <p:tag name="THINKCELLSHAPEDONOTDELETE" val="pHOw8P_rN50OK8PAEoZqiZQ"/>
</p:tagLst>
</file>

<file path=ppt/tags/tag2379.xml><?xml version="1.0" encoding="utf-8"?>
<p:tagLst xmlns:a="http://schemas.openxmlformats.org/drawingml/2006/main" xmlns:r="http://schemas.openxmlformats.org/officeDocument/2006/relationships" xmlns:p="http://schemas.openxmlformats.org/presentationml/2006/main">
  <p:tag name="THINKCELLSHAPEDONOTDELETE" val="ph4fQGyaG5EW9FlbP4a.s5Q"/>
</p:tagLst>
</file>

<file path=ppt/tags/tag238.xml><?xml version="1.0" encoding="utf-8"?>
<p:tagLst xmlns:a="http://schemas.openxmlformats.org/drawingml/2006/main" xmlns:r="http://schemas.openxmlformats.org/officeDocument/2006/relationships" xmlns:p="http://schemas.openxmlformats.org/presentationml/2006/main">
  <p:tag name="ISLEGEND" val="true"/>
</p:tagLst>
</file>

<file path=ppt/tags/tag2380.xml><?xml version="1.0" encoding="utf-8"?>
<p:tagLst xmlns:a="http://schemas.openxmlformats.org/drawingml/2006/main" xmlns:r="http://schemas.openxmlformats.org/officeDocument/2006/relationships" xmlns:p="http://schemas.openxmlformats.org/presentationml/2006/main">
  <p:tag name="THINKCELLSHAPEDONOTDELETE" val="pccPsEGkc4EGMpwnK0Sxc5w"/>
</p:tagLst>
</file>

<file path=ppt/tags/tag2381.xml><?xml version="1.0" encoding="utf-8"?>
<p:tagLst xmlns:a="http://schemas.openxmlformats.org/drawingml/2006/main" xmlns:r="http://schemas.openxmlformats.org/officeDocument/2006/relationships" xmlns:p="http://schemas.openxmlformats.org/presentationml/2006/main">
  <p:tag name="THINKCELLSHAPEDONOTDELETE" val="pSui3WZEUqE6aSuodHNH_BQ"/>
</p:tagLst>
</file>

<file path=ppt/tags/tag2382.xml><?xml version="1.0" encoding="utf-8"?>
<p:tagLst xmlns:a="http://schemas.openxmlformats.org/drawingml/2006/main" xmlns:r="http://schemas.openxmlformats.org/officeDocument/2006/relationships" xmlns:p="http://schemas.openxmlformats.org/presentationml/2006/main">
  <p:tag name="THINKCELLSHAPEDONOTDELETE" val="pDKAOqpzzI0OirYZQwU1Qqg"/>
</p:tagLst>
</file>

<file path=ppt/tags/tag2383.xml><?xml version="1.0" encoding="utf-8"?>
<p:tagLst xmlns:a="http://schemas.openxmlformats.org/drawingml/2006/main" xmlns:r="http://schemas.openxmlformats.org/officeDocument/2006/relationships" xmlns:p="http://schemas.openxmlformats.org/presentationml/2006/main">
  <p:tag name="THINKCELLSHAPEDONOTDELETE" val="pdyOtxcveqEm1OI711P89yQ"/>
</p:tagLst>
</file>

<file path=ppt/tags/tag2384.xml><?xml version="1.0" encoding="utf-8"?>
<p:tagLst xmlns:a="http://schemas.openxmlformats.org/drawingml/2006/main" xmlns:r="http://schemas.openxmlformats.org/officeDocument/2006/relationships" xmlns:p="http://schemas.openxmlformats.org/presentationml/2006/main">
  <p:tag name="THINKCELLSHAPEDONOTDELETE" val="p6C1q7ZtfqUKkI3p1MmyXHA"/>
</p:tagLst>
</file>

<file path=ppt/tags/tag2385.xml><?xml version="1.0" encoding="utf-8"?>
<p:tagLst xmlns:a="http://schemas.openxmlformats.org/drawingml/2006/main" xmlns:r="http://schemas.openxmlformats.org/officeDocument/2006/relationships" xmlns:p="http://schemas.openxmlformats.org/presentationml/2006/main">
  <p:tag name="THINKCELLSHAPEDONOTDELETE" val="pjS4hqMkfaUOmpNAfVdCX0A"/>
</p:tagLst>
</file>

<file path=ppt/tags/tag2386.xml><?xml version="1.0" encoding="utf-8"?>
<p:tagLst xmlns:a="http://schemas.openxmlformats.org/drawingml/2006/main" xmlns:r="http://schemas.openxmlformats.org/officeDocument/2006/relationships" xmlns:p="http://schemas.openxmlformats.org/presentationml/2006/main">
  <p:tag name="THINKCELLSHAPEDONOTDELETE" val="pfbFU91eas0WZGndblp3WhA"/>
</p:tagLst>
</file>

<file path=ppt/tags/tag2387.xml><?xml version="1.0" encoding="utf-8"?>
<p:tagLst xmlns:a="http://schemas.openxmlformats.org/drawingml/2006/main" xmlns:r="http://schemas.openxmlformats.org/officeDocument/2006/relationships" xmlns:p="http://schemas.openxmlformats.org/presentationml/2006/main">
  <p:tag name="THINKCELLSHAPEDONOTDELETE" val="pa1TtT2nM0UClZ4bP64ucEg"/>
</p:tagLst>
</file>

<file path=ppt/tags/tag2388.xml><?xml version="1.0" encoding="utf-8"?>
<p:tagLst xmlns:a="http://schemas.openxmlformats.org/drawingml/2006/main" xmlns:r="http://schemas.openxmlformats.org/officeDocument/2006/relationships" xmlns:p="http://schemas.openxmlformats.org/presentationml/2006/main">
  <p:tag name="THINKCELLSHAPEDONOTDELETE" val="pNZ5F3Xk.1kS8_vZ5h8PPdA"/>
</p:tagLst>
</file>

<file path=ppt/tags/tag2389.xml><?xml version="1.0" encoding="utf-8"?>
<p:tagLst xmlns:a="http://schemas.openxmlformats.org/drawingml/2006/main" xmlns:r="http://schemas.openxmlformats.org/officeDocument/2006/relationships" xmlns:p="http://schemas.openxmlformats.org/presentationml/2006/main">
  <p:tag name="THINKCELLSHAPEDONOTDELETE" val="pppS.lKYRNUyXKFPGFaP5FA"/>
</p:tagLst>
</file>

<file path=ppt/tags/tag239.xml><?xml version="1.0" encoding="utf-8"?>
<p:tagLst xmlns:a="http://schemas.openxmlformats.org/drawingml/2006/main" xmlns:r="http://schemas.openxmlformats.org/officeDocument/2006/relationships" xmlns:p="http://schemas.openxmlformats.org/presentationml/2006/main">
  <p:tag name="ISLEGEND" val="true"/>
</p:tagLst>
</file>

<file path=ppt/tags/tag2390.xml><?xml version="1.0" encoding="utf-8"?>
<p:tagLst xmlns:a="http://schemas.openxmlformats.org/drawingml/2006/main" xmlns:r="http://schemas.openxmlformats.org/officeDocument/2006/relationships" xmlns:p="http://schemas.openxmlformats.org/presentationml/2006/main">
  <p:tag name="THINKCELLSHAPEDONOTDELETE" val="pOxXLqWYDekWWw1MkBZHr9g"/>
</p:tagLst>
</file>

<file path=ppt/tags/tag2391.xml><?xml version="1.0" encoding="utf-8"?>
<p:tagLst xmlns:a="http://schemas.openxmlformats.org/drawingml/2006/main" xmlns:r="http://schemas.openxmlformats.org/officeDocument/2006/relationships" xmlns:p="http://schemas.openxmlformats.org/presentationml/2006/main">
  <p:tag name="THINKCELLSHAPEDONOTDELETE" val="pA3jZcGSIeEeH2l6hJgG2dg"/>
</p:tagLst>
</file>

<file path=ppt/tags/tag2392.xml><?xml version="1.0" encoding="utf-8"?>
<p:tagLst xmlns:a="http://schemas.openxmlformats.org/drawingml/2006/main" xmlns:r="http://schemas.openxmlformats.org/officeDocument/2006/relationships" xmlns:p="http://schemas.openxmlformats.org/presentationml/2006/main">
  <p:tag name="THINKCELLSHAPEDONOTDELETE" val="pQGwBTkg_DUup8HrDyYrktw"/>
</p:tagLst>
</file>

<file path=ppt/tags/tag2393.xml><?xml version="1.0" encoding="utf-8"?>
<p:tagLst xmlns:a="http://schemas.openxmlformats.org/drawingml/2006/main" xmlns:r="http://schemas.openxmlformats.org/officeDocument/2006/relationships" xmlns:p="http://schemas.openxmlformats.org/presentationml/2006/main">
  <p:tag name="THINKCELLSHAPEDONOTDELETE" val="petjsFhM3LEKf9xvrhD_W8g"/>
</p:tagLst>
</file>

<file path=ppt/tags/tag2394.xml><?xml version="1.0" encoding="utf-8"?>
<p:tagLst xmlns:a="http://schemas.openxmlformats.org/drawingml/2006/main" xmlns:r="http://schemas.openxmlformats.org/officeDocument/2006/relationships" xmlns:p="http://schemas.openxmlformats.org/presentationml/2006/main">
  <p:tag name="THINKCELLSHAPEDONOTDELETE" val="p99MObm5i5kWfUiRRanXAhg"/>
</p:tagLst>
</file>

<file path=ppt/tags/tag2395.xml><?xml version="1.0" encoding="utf-8"?>
<p:tagLst xmlns:a="http://schemas.openxmlformats.org/drawingml/2006/main" xmlns:r="http://schemas.openxmlformats.org/officeDocument/2006/relationships" xmlns:p="http://schemas.openxmlformats.org/presentationml/2006/main">
  <p:tag name="THINKCELLSHAPEDONOTDELETE" val="pCe7SP.xSBkOoiejxgaAm0A"/>
</p:tagLst>
</file>

<file path=ppt/tags/tag2396.xml><?xml version="1.0" encoding="utf-8"?>
<p:tagLst xmlns:a="http://schemas.openxmlformats.org/drawingml/2006/main" xmlns:r="http://schemas.openxmlformats.org/officeDocument/2006/relationships" xmlns:p="http://schemas.openxmlformats.org/presentationml/2006/main">
  <p:tag name="THINKCELLSHAPEDONOTDELETE" val="plboZ5KJ04EyGKOE8HhiXIw"/>
</p:tagLst>
</file>

<file path=ppt/tags/tag2397.xml><?xml version="1.0" encoding="utf-8"?>
<p:tagLst xmlns:a="http://schemas.openxmlformats.org/drawingml/2006/main" xmlns:r="http://schemas.openxmlformats.org/officeDocument/2006/relationships" xmlns:p="http://schemas.openxmlformats.org/presentationml/2006/main">
  <p:tag name="THINKCELLSHAPEDONOTDELETE" val="pFOZm9Ekr0k6jhdSNEktFHQ"/>
</p:tagLst>
</file>

<file path=ppt/tags/tag2398.xml><?xml version="1.0" encoding="utf-8"?>
<p:tagLst xmlns:a="http://schemas.openxmlformats.org/drawingml/2006/main" xmlns:r="http://schemas.openxmlformats.org/officeDocument/2006/relationships" xmlns:p="http://schemas.openxmlformats.org/presentationml/2006/main">
  <p:tag name="THINKCELLSHAPEDONOTDELETE" val="pt4orOsEfNE6t29auzgcCsg"/>
</p:tagLst>
</file>

<file path=ppt/tags/tag2399.xml><?xml version="1.0" encoding="utf-8"?>
<p:tagLst xmlns:a="http://schemas.openxmlformats.org/drawingml/2006/main" xmlns:r="http://schemas.openxmlformats.org/officeDocument/2006/relationships" xmlns:p="http://schemas.openxmlformats.org/presentationml/2006/main">
  <p:tag name="THINKCELLSHAPEDONOTDELETE" val="pi40mEsBsiUyqbn8Cxo8Zaw"/>
</p:tagLst>
</file>

<file path=ppt/tags/tag24.xml><?xml version="1.0" encoding="utf-8"?>
<p:tagLst xmlns:a="http://schemas.openxmlformats.org/drawingml/2006/main" xmlns:r="http://schemas.openxmlformats.org/officeDocument/2006/relationships" xmlns:p="http://schemas.openxmlformats.org/presentationml/2006/main">
  <p:tag name="ISLEGEND" val="true"/>
</p:tagLst>
</file>

<file path=ppt/tags/tag240.xml><?xml version="1.0" encoding="utf-8"?>
<p:tagLst xmlns:a="http://schemas.openxmlformats.org/drawingml/2006/main" xmlns:r="http://schemas.openxmlformats.org/officeDocument/2006/relationships" xmlns:p="http://schemas.openxmlformats.org/presentationml/2006/main">
  <p:tag name="ISLEGEND" val="true"/>
</p:tagLst>
</file>

<file path=ppt/tags/tag2400.xml><?xml version="1.0" encoding="utf-8"?>
<p:tagLst xmlns:a="http://schemas.openxmlformats.org/drawingml/2006/main" xmlns:r="http://schemas.openxmlformats.org/officeDocument/2006/relationships" xmlns:p="http://schemas.openxmlformats.org/presentationml/2006/main">
  <p:tag name="THINKCELLSHAPEDONOTDELETE" val="pcNyD_qzvpk6SRMTFs6UrWA"/>
</p:tagLst>
</file>

<file path=ppt/tags/tag2401.xml><?xml version="1.0" encoding="utf-8"?>
<p:tagLst xmlns:a="http://schemas.openxmlformats.org/drawingml/2006/main" xmlns:r="http://schemas.openxmlformats.org/officeDocument/2006/relationships" xmlns:p="http://schemas.openxmlformats.org/presentationml/2006/main">
  <p:tag name="THINKCELLSHAPEDONOTDELETE" val="pDvHRAErd0EmHp8gvIcKA8Q"/>
</p:tagLst>
</file>

<file path=ppt/tags/tag2402.xml><?xml version="1.0" encoding="utf-8"?>
<p:tagLst xmlns:a="http://schemas.openxmlformats.org/drawingml/2006/main" xmlns:r="http://schemas.openxmlformats.org/officeDocument/2006/relationships" xmlns:p="http://schemas.openxmlformats.org/presentationml/2006/main">
  <p:tag name="THINKCELLSHAPEDONOTDELETE" val="pOS_4hWU0X0SF7vriqR8MHQ"/>
</p:tagLst>
</file>

<file path=ppt/tags/tag2403.xml><?xml version="1.0" encoding="utf-8"?>
<p:tagLst xmlns:a="http://schemas.openxmlformats.org/drawingml/2006/main" xmlns:r="http://schemas.openxmlformats.org/officeDocument/2006/relationships" xmlns:p="http://schemas.openxmlformats.org/presentationml/2006/main">
  <p:tag name="THINKCELLSHAPEDONOTDELETE" val="pbOiyi8wL50.Ar3AvGvBBWA"/>
</p:tagLst>
</file>

<file path=ppt/tags/tag2404.xml><?xml version="1.0" encoding="utf-8"?>
<p:tagLst xmlns:a="http://schemas.openxmlformats.org/drawingml/2006/main" xmlns:r="http://schemas.openxmlformats.org/officeDocument/2006/relationships" xmlns:p="http://schemas.openxmlformats.org/presentationml/2006/main">
  <p:tag name="THINKCELLSHAPEDONOTDELETE" val="pJpcP496rzEmONj6aqek9tw"/>
</p:tagLst>
</file>

<file path=ppt/tags/tag2405.xml><?xml version="1.0" encoding="utf-8"?>
<p:tagLst xmlns:a="http://schemas.openxmlformats.org/drawingml/2006/main" xmlns:r="http://schemas.openxmlformats.org/officeDocument/2006/relationships" xmlns:p="http://schemas.openxmlformats.org/presentationml/2006/main">
  <p:tag name="THINKCELLSHAPEDONOTDELETE" val="pSd_ueGP2ZkObX80AYfaX7g"/>
</p:tagLst>
</file>

<file path=ppt/tags/tag2406.xml><?xml version="1.0" encoding="utf-8"?>
<p:tagLst xmlns:a="http://schemas.openxmlformats.org/drawingml/2006/main" xmlns:r="http://schemas.openxmlformats.org/officeDocument/2006/relationships" xmlns:p="http://schemas.openxmlformats.org/presentationml/2006/main">
  <p:tag name="THINKCELLSHAPEDONOTDELETE" val="pKGvm0_05L0q4tf0qWxnLFw"/>
</p:tagLst>
</file>

<file path=ppt/tags/tag2407.xml><?xml version="1.0" encoding="utf-8"?>
<p:tagLst xmlns:a="http://schemas.openxmlformats.org/drawingml/2006/main" xmlns:r="http://schemas.openxmlformats.org/officeDocument/2006/relationships" xmlns:p="http://schemas.openxmlformats.org/presentationml/2006/main">
  <p:tag name="THINKCELLSHAPEDONOTDELETE" val="pvAl6hG.U9E2ItGTbVJuIIg"/>
</p:tagLst>
</file>

<file path=ppt/tags/tag2408.xml><?xml version="1.0" encoding="utf-8"?>
<p:tagLst xmlns:a="http://schemas.openxmlformats.org/drawingml/2006/main" xmlns:r="http://schemas.openxmlformats.org/officeDocument/2006/relationships" xmlns:p="http://schemas.openxmlformats.org/presentationml/2006/main">
  <p:tag name="THINKCELLSHAPEDONOTDELETE" val="p9wvK5.9R.ESyYJ5ponpb8A"/>
</p:tagLst>
</file>

<file path=ppt/tags/tag2409.xml><?xml version="1.0" encoding="utf-8"?>
<p:tagLst xmlns:a="http://schemas.openxmlformats.org/drawingml/2006/main" xmlns:r="http://schemas.openxmlformats.org/officeDocument/2006/relationships" xmlns:p="http://schemas.openxmlformats.org/presentationml/2006/main">
  <p:tag name="THINKCELLSHAPEDONOTDELETE" val="p9w4AQgzQOUOrpfB4P5WZuw"/>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10.xml><?xml version="1.0" encoding="utf-8"?>
<p:tagLst xmlns:a="http://schemas.openxmlformats.org/drawingml/2006/main" xmlns:r="http://schemas.openxmlformats.org/officeDocument/2006/relationships" xmlns:p="http://schemas.openxmlformats.org/presentationml/2006/main">
  <p:tag name="THINKCELLSHAPEDONOTDELETE" val="p5ITPNUn.cUOLAm5x.St.kg"/>
</p:tagLst>
</file>

<file path=ppt/tags/tag2411.xml><?xml version="1.0" encoding="utf-8"?>
<p:tagLst xmlns:a="http://schemas.openxmlformats.org/drawingml/2006/main" xmlns:r="http://schemas.openxmlformats.org/officeDocument/2006/relationships" xmlns:p="http://schemas.openxmlformats.org/presentationml/2006/main">
  <p:tag name="THINKCELLSHAPEDONOTDELETE" val="pOiacovmYakudFpprGIeHew"/>
</p:tagLst>
</file>

<file path=ppt/tags/tag2412.xml><?xml version="1.0" encoding="utf-8"?>
<p:tagLst xmlns:a="http://schemas.openxmlformats.org/drawingml/2006/main" xmlns:r="http://schemas.openxmlformats.org/officeDocument/2006/relationships" xmlns:p="http://schemas.openxmlformats.org/presentationml/2006/main">
  <p:tag name="THINKCELLSHAPEDONOTDELETE" val="pgn9MFREROkKQoU1kjhCMIw"/>
</p:tagLst>
</file>

<file path=ppt/tags/tag2413.xml><?xml version="1.0" encoding="utf-8"?>
<p:tagLst xmlns:a="http://schemas.openxmlformats.org/drawingml/2006/main" xmlns:r="http://schemas.openxmlformats.org/officeDocument/2006/relationships" xmlns:p="http://schemas.openxmlformats.org/presentationml/2006/main">
  <p:tag name="THINKCELLSHAPEDONOTDELETE" val="p5bEUIz6IZEC_ldfvrGDd4g"/>
</p:tagLst>
</file>

<file path=ppt/tags/tag2414.xml><?xml version="1.0" encoding="utf-8"?>
<p:tagLst xmlns:a="http://schemas.openxmlformats.org/drawingml/2006/main" xmlns:r="http://schemas.openxmlformats.org/officeDocument/2006/relationships" xmlns:p="http://schemas.openxmlformats.org/presentationml/2006/main">
  <p:tag name="THINKCELLSHAPEDONOTDELETE" val="pOHlEVHaGDkeRuu64YBKDmQ"/>
</p:tagLst>
</file>

<file path=ppt/tags/tag2415.xml><?xml version="1.0" encoding="utf-8"?>
<p:tagLst xmlns:a="http://schemas.openxmlformats.org/drawingml/2006/main" xmlns:r="http://schemas.openxmlformats.org/officeDocument/2006/relationships" xmlns:p="http://schemas.openxmlformats.org/presentationml/2006/main">
  <p:tag name="THINKCELLSHAPEDONOTDELETE" val="pWAbSwE1zj0CP_fgf9B5ntw"/>
</p:tagLst>
</file>

<file path=ppt/tags/tag2416.xml><?xml version="1.0" encoding="utf-8"?>
<p:tagLst xmlns:a="http://schemas.openxmlformats.org/drawingml/2006/main" xmlns:r="http://schemas.openxmlformats.org/officeDocument/2006/relationships" xmlns:p="http://schemas.openxmlformats.org/presentationml/2006/main">
  <p:tag name="THINKCELLSHAPEDONOTDELETE" val="p1l6PyeI3IE6S0M2eReOO_g"/>
</p:tagLst>
</file>

<file path=ppt/tags/tag2417.xml><?xml version="1.0" encoding="utf-8"?>
<p:tagLst xmlns:a="http://schemas.openxmlformats.org/drawingml/2006/main" xmlns:r="http://schemas.openxmlformats.org/officeDocument/2006/relationships" xmlns:p="http://schemas.openxmlformats.org/presentationml/2006/main">
  <p:tag name="THINKCELLSHAPEDONOTDELETE" val="pw6J6Pp6f1E6H403_CbR.qw"/>
</p:tagLst>
</file>

<file path=ppt/tags/tag2418.xml><?xml version="1.0" encoding="utf-8"?>
<p:tagLst xmlns:a="http://schemas.openxmlformats.org/drawingml/2006/main" xmlns:r="http://schemas.openxmlformats.org/officeDocument/2006/relationships" xmlns:p="http://schemas.openxmlformats.org/presentationml/2006/main">
  <p:tag name="THINKCELLSHAPEDONOTDELETE" val="pkoXNYGdI70SiqiCU.3rsfw"/>
</p:tagLst>
</file>

<file path=ppt/tags/tag2419.xml><?xml version="1.0" encoding="utf-8"?>
<p:tagLst xmlns:a="http://schemas.openxmlformats.org/drawingml/2006/main" xmlns:r="http://schemas.openxmlformats.org/officeDocument/2006/relationships" xmlns:p="http://schemas.openxmlformats.org/presentationml/2006/main">
  <p:tag name="THINKCELLSHAPEDONOTDELETE" val="pSh82K41_t0KrJE4Svx9Rdw"/>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20.xml><?xml version="1.0" encoding="utf-8"?>
<p:tagLst xmlns:a="http://schemas.openxmlformats.org/drawingml/2006/main" xmlns:r="http://schemas.openxmlformats.org/officeDocument/2006/relationships" xmlns:p="http://schemas.openxmlformats.org/presentationml/2006/main">
  <p:tag name="THINKCELLSHAPEDONOTDELETE" val="pfr4ijWU9UEmQ0tm1HnLPow"/>
</p:tagLst>
</file>

<file path=ppt/tags/tag2421.xml><?xml version="1.0" encoding="utf-8"?>
<p:tagLst xmlns:a="http://schemas.openxmlformats.org/drawingml/2006/main" xmlns:r="http://schemas.openxmlformats.org/officeDocument/2006/relationships" xmlns:p="http://schemas.openxmlformats.org/presentationml/2006/main">
  <p:tag name="THINKCELLSHAPEDONOTDELETE" val="pbliR5am2tEyq50Ks7Ss4vQ"/>
</p:tagLst>
</file>

<file path=ppt/tags/tag2422.xml><?xml version="1.0" encoding="utf-8"?>
<p:tagLst xmlns:a="http://schemas.openxmlformats.org/drawingml/2006/main" xmlns:r="http://schemas.openxmlformats.org/officeDocument/2006/relationships" xmlns:p="http://schemas.openxmlformats.org/presentationml/2006/main">
  <p:tag name="THINKCELLSHAPEDONOTDELETE" val="p9j0yUrN.LUOh3601oERdCw"/>
</p:tagLst>
</file>

<file path=ppt/tags/tag2423.xml><?xml version="1.0" encoding="utf-8"?>
<p:tagLst xmlns:a="http://schemas.openxmlformats.org/drawingml/2006/main" xmlns:r="http://schemas.openxmlformats.org/officeDocument/2006/relationships" xmlns:p="http://schemas.openxmlformats.org/presentationml/2006/main">
  <p:tag name="THINKCELLSHAPEDONOTDELETE" val="p5qFcqHAF7kut7Y8bJW.HYA"/>
</p:tagLst>
</file>

<file path=ppt/tags/tag2424.xml><?xml version="1.0" encoding="utf-8"?>
<p:tagLst xmlns:a="http://schemas.openxmlformats.org/drawingml/2006/main" xmlns:r="http://schemas.openxmlformats.org/officeDocument/2006/relationships" xmlns:p="http://schemas.openxmlformats.org/presentationml/2006/main">
  <p:tag name="THINKCELLSHAPEDONOTDELETE" val="pBG5g4QvapkSBkTiDnWGmKg"/>
</p:tagLst>
</file>

<file path=ppt/tags/tag2425.xml><?xml version="1.0" encoding="utf-8"?>
<p:tagLst xmlns:a="http://schemas.openxmlformats.org/drawingml/2006/main" xmlns:r="http://schemas.openxmlformats.org/officeDocument/2006/relationships" xmlns:p="http://schemas.openxmlformats.org/presentationml/2006/main">
  <p:tag name="THINKCELLSHAPEDONOTDELETE" val="pgT9KICvMv0eX7Lai35joGw"/>
</p:tagLst>
</file>

<file path=ppt/tags/tag2426.xml><?xml version="1.0" encoding="utf-8"?>
<p:tagLst xmlns:a="http://schemas.openxmlformats.org/drawingml/2006/main" xmlns:r="http://schemas.openxmlformats.org/officeDocument/2006/relationships" xmlns:p="http://schemas.openxmlformats.org/presentationml/2006/main">
  <p:tag name="THINKCELLSHAPEDONOTDELETE" val="pfc_u6NRWq0CCz3nlEk0XLw"/>
</p:tagLst>
</file>

<file path=ppt/tags/tag24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28.xml><?xml version="1.0" encoding="utf-8"?>
<p:tagLst xmlns:a="http://schemas.openxmlformats.org/drawingml/2006/main" xmlns:r="http://schemas.openxmlformats.org/officeDocument/2006/relationships" xmlns:p="http://schemas.openxmlformats.org/presentationml/2006/main">
  <p:tag name="NAME" val="SingleBoatText"/>
</p:tagLst>
</file>

<file path=ppt/tags/tag2429.xml><?xml version="1.0" encoding="utf-8"?>
<p:tagLst xmlns:a="http://schemas.openxmlformats.org/drawingml/2006/main" xmlns:r="http://schemas.openxmlformats.org/officeDocument/2006/relationships" xmlns:p="http://schemas.openxmlformats.org/presentationml/2006/main">
  <p:tag name="NAME" val="SingleBoatText"/>
</p:tagLst>
</file>

<file path=ppt/tags/tag243.xml><?xml version="1.0" encoding="utf-8"?>
<p:tagLst xmlns:a="http://schemas.openxmlformats.org/drawingml/2006/main" xmlns:r="http://schemas.openxmlformats.org/officeDocument/2006/relationships" xmlns:p="http://schemas.openxmlformats.org/presentationml/2006/main">
  <p:tag name="NAME" val="Logo"/>
</p:tagLst>
</file>

<file path=ppt/tags/tag2430.xml><?xml version="1.0" encoding="utf-8"?>
<p:tagLst xmlns:a="http://schemas.openxmlformats.org/drawingml/2006/main" xmlns:r="http://schemas.openxmlformats.org/officeDocument/2006/relationships" xmlns:p="http://schemas.openxmlformats.org/presentationml/2006/main">
  <p:tag name="NAME" val="SingleBoatText"/>
</p:tagLst>
</file>

<file path=ppt/tags/tag2431.xml><?xml version="1.0" encoding="utf-8"?>
<p:tagLst xmlns:a="http://schemas.openxmlformats.org/drawingml/2006/main" xmlns:r="http://schemas.openxmlformats.org/officeDocument/2006/relationships" xmlns:p="http://schemas.openxmlformats.org/presentationml/2006/main">
  <p:tag name="NAME" val="SingleBoatText"/>
</p:tagLst>
</file>

<file path=ppt/tags/tag2432.xml><?xml version="1.0" encoding="utf-8"?>
<p:tagLst xmlns:a="http://schemas.openxmlformats.org/drawingml/2006/main" xmlns:r="http://schemas.openxmlformats.org/officeDocument/2006/relationships" xmlns:p="http://schemas.openxmlformats.org/presentationml/2006/main">
  <p:tag name="NAME" val="SingleBoatText"/>
</p:tagLst>
</file>

<file path=ppt/tags/tag2433.xml><?xml version="1.0" encoding="utf-8"?>
<p:tagLst xmlns:a="http://schemas.openxmlformats.org/drawingml/2006/main" xmlns:r="http://schemas.openxmlformats.org/officeDocument/2006/relationships" xmlns:p="http://schemas.openxmlformats.org/presentationml/2006/main">
  <p:tag name="NAME" val="SingleBoatText"/>
</p:tagLst>
</file>

<file path=ppt/tags/tag2434.xml><?xml version="1.0" encoding="utf-8"?>
<p:tagLst xmlns:a="http://schemas.openxmlformats.org/drawingml/2006/main" xmlns:r="http://schemas.openxmlformats.org/officeDocument/2006/relationships" xmlns:p="http://schemas.openxmlformats.org/presentationml/2006/main">
  <p:tag name="NAME" val="SingleBoatText"/>
</p:tagLst>
</file>

<file path=ppt/tags/tag2435.xml><?xml version="1.0" encoding="utf-8"?>
<p:tagLst xmlns:a="http://schemas.openxmlformats.org/drawingml/2006/main" xmlns:r="http://schemas.openxmlformats.org/officeDocument/2006/relationships" xmlns:p="http://schemas.openxmlformats.org/presentationml/2006/main">
  <p:tag name="NAME" val="SingleBoatText"/>
</p:tagLst>
</file>

<file path=ppt/tags/tag2436.xml><?xml version="1.0" encoding="utf-8"?>
<p:tagLst xmlns:a="http://schemas.openxmlformats.org/drawingml/2006/main" xmlns:r="http://schemas.openxmlformats.org/officeDocument/2006/relationships" xmlns:p="http://schemas.openxmlformats.org/presentationml/2006/main">
  <p:tag name="NAME" val="SingleBoatText"/>
</p:tagLst>
</file>

<file path=ppt/tags/tag2437.xml><?xml version="1.0" encoding="utf-8"?>
<p:tagLst xmlns:a="http://schemas.openxmlformats.org/drawingml/2006/main" xmlns:r="http://schemas.openxmlformats.org/officeDocument/2006/relationships" xmlns:p="http://schemas.openxmlformats.org/presentationml/2006/main">
  <p:tag name="NAME" val="SingleBoatText"/>
</p:tagLst>
</file>

<file path=ppt/tags/tag2438.xml><?xml version="1.0" encoding="utf-8"?>
<p:tagLst xmlns:a="http://schemas.openxmlformats.org/drawingml/2006/main" xmlns:r="http://schemas.openxmlformats.org/officeDocument/2006/relationships" xmlns:p="http://schemas.openxmlformats.org/presentationml/2006/main">
  <p:tag name="NAME" val="SingleBoatText"/>
</p:tagLst>
</file>

<file path=ppt/tags/tag2439.xml><?xml version="1.0" encoding="utf-8"?>
<p:tagLst xmlns:a="http://schemas.openxmlformats.org/drawingml/2006/main" xmlns:r="http://schemas.openxmlformats.org/officeDocument/2006/relationships" xmlns:p="http://schemas.openxmlformats.org/presentationml/2006/main">
  <p:tag name="NAME" val="SingleBoatText"/>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40.xml><?xml version="1.0" encoding="utf-8"?>
<p:tagLst xmlns:a="http://schemas.openxmlformats.org/drawingml/2006/main" xmlns:r="http://schemas.openxmlformats.org/officeDocument/2006/relationships" xmlns:p="http://schemas.openxmlformats.org/presentationml/2006/main">
  <p:tag name="NAME" val="SingleBoatText"/>
</p:tagLst>
</file>

<file path=ppt/tags/tag2441.xml><?xml version="1.0" encoding="utf-8"?>
<p:tagLst xmlns:a="http://schemas.openxmlformats.org/drawingml/2006/main" xmlns:r="http://schemas.openxmlformats.org/officeDocument/2006/relationships" xmlns:p="http://schemas.openxmlformats.org/presentationml/2006/main">
  <p:tag name="NAME" val="SingleBoatText"/>
</p:tagLst>
</file>

<file path=ppt/tags/tag2442.xml><?xml version="1.0" encoding="utf-8"?>
<p:tagLst xmlns:a="http://schemas.openxmlformats.org/drawingml/2006/main" xmlns:r="http://schemas.openxmlformats.org/officeDocument/2006/relationships" xmlns:p="http://schemas.openxmlformats.org/presentationml/2006/main">
  <p:tag name="NOPREFERENCE" val="False"/>
</p:tagLst>
</file>

<file path=ppt/tags/tag24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44.xml><?xml version="1.0" encoding="utf-8"?>
<p:tagLst xmlns:a="http://schemas.openxmlformats.org/drawingml/2006/main" xmlns:r="http://schemas.openxmlformats.org/officeDocument/2006/relationships" xmlns:p="http://schemas.openxmlformats.org/presentationml/2006/main">
  <p:tag name="THINKCELLSHAPEDONOTDELETE" val="tAZxln9.fd0eKQf0ByG90eg"/>
</p:tagLst>
</file>

<file path=ppt/tags/tag24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46.xml><?xml version="1.0" encoding="utf-8"?>
<p:tagLst xmlns:a="http://schemas.openxmlformats.org/drawingml/2006/main" xmlns:r="http://schemas.openxmlformats.org/officeDocument/2006/relationships" xmlns:p="http://schemas.openxmlformats.org/presentationml/2006/main">
  <p:tag name="THINKCELLSHAPEDONOTDELETE" val="tF9g7zDcFBkyR4lGQyVLIfQ"/>
</p:tagLst>
</file>

<file path=ppt/tags/tag2447.xml><?xml version="1.0" encoding="utf-8"?>
<p:tagLst xmlns:a="http://schemas.openxmlformats.org/drawingml/2006/main" xmlns:r="http://schemas.openxmlformats.org/officeDocument/2006/relationships" xmlns:p="http://schemas.openxmlformats.org/presentationml/2006/main">
  <p:tag name="THINKCELLSHAPEDONOTDELETE" val="tzw2rhCHYp0W0BlpGHPmS9Q"/>
</p:tagLst>
</file>

<file path=ppt/tags/tag2448.xml><?xml version="1.0" encoding="utf-8"?>
<p:tagLst xmlns:a="http://schemas.openxmlformats.org/drawingml/2006/main" xmlns:r="http://schemas.openxmlformats.org/officeDocument/2006/relationships" xmlns:p="http://schemas.openxmlformats.org/presentationml/2006/main">
  <p:tag name="THINKCELLSHAPEDONOTDELETE" val="tnTDU8hLz40qQRRBB0Scdpw"/>
</p:tagLst>
</file>

<file path=ppt/tags/tag2449.xml><?xml version="1.0" encoding="utf-8"?>
<p:tagLst xmlns:a="http://schemas.openxmlformats.org/drawingml/2006/main" xmlns:r="http://schemas.openxmlformats.org/officeDocument/2006/relationships" xmlns:p="http://schemas.openxmlformats.org/presentationml/2006/main">
  <p:tag name="THINKCELLSHAPEDONOTDELETE" val="tOQXCXYfyA0e_eWDG0HnZbg"/>
</p:tagLst>
</file>

<file path=ppt/tags/tag245.xml><?xml version="1.0" encoding="utf-8"?>
<p:tagLst xmlns:a="http://schemas.openxmlformats.org/drawingml/2006/main" xmlns:r="http://schemas.openxmlformats.org/officeDocument/2006/relationships" xmlns:p="http://schemas.openxmlformats.org/presentationml/2006/main">
  <p:tag name="NAME" val="Logo"/>
</p:tagLst>
</file>

<file path=ppt/tags/tag2450.xml><?xml version="1.0" encoding="utf-8"?>
<p:tagLst xmlns:a="http://schemas.openxmlformats.org/drawingml/2006/main" xmlns:r="http://schemas.openxmlformats.org/officeDocument/2006/relationships" xmlns:p="http://schemas.openxmlformats.org/presentationml/2006/main">
  <p:tag name="THINKCELLSHAPEDONOTDELETE" val="tv1OFvx7dFkaTTjibskdvkQ"/>
</p:tagLst>
</file>

<file path=ppt/tags/tag2451.xml><?xml version="1.0" encoding="utf-8"?>
<p:tagLst xmlns:a="http://schemas.openxmlformats.org/drawingml/2006/main" xmlns:r="http://schemas.openxmlformats.org/officeDocument/2006/relationships" xmlns:p="http://schemas.openxmlformats.org/presentationml/2006/main">
  <p:tag name="THINKCELLSHAPEDONOTDELETE" val="tCccPQQnlskaoSGWWUblt0g"/>
</p:tagLst>
</file>

<file path=ppt/tags/tag2452.xml><?xml version="1.0" encoding="utf-8"?>
<p:tagLst xmlns:a="http://schemas.openxmlformats.org/drawingml/2006/main" xmlns:r="http://schemas.openxmlformats.org/officeDocument/2006/relationships" xmlns:p="http://schemas.openxmlformats.org/presentationml/2006/main">
  <p:tag name="THINKCELLSHAPEDONOTDELETE" val="tOEdUEb49M0.pQ6YyGNLvmg"/>
</p:tagLst>
</file>

<file path=ppt/tags/tag2453.xml><?xml version="1.0" encoding="utf-8"?>
<p:tagLst xmlns:a="http://schemas.openxmlformats.org/drawingml/2006/main" xmlns:r="http://schemas.openxmlformats.org/officeDocument/2006/relationships" xmlns:p="http://schemas.openxmlformats.org/presentationml/2006/main">
  <p:tag name="THINKCELLSHAPEDONOTDELETE" val="teMaZTIio90W6IPAstcCwPw"/>
</p:tagLst>
</file>

<file path=ppt/tags/tag2454.xml><?xml version="1.0" encoding="utf-8"?>
<p:tagLst xmlns:a="http://schemas.openxmlformats.org/drawingml/2006/main" xmlns:r="http://schemas.openxmlformats.org/officeDocument/2006/relationships" xmlns:p="http://schemas.openxmlformats.org/presentationml/2006/main">
  <p:tag name="NAME" val="Rectangle"/>
</p:tagLst>
</file>

<file path=ppt/tags/tag2455.xml><?xml version="1.0" encoding="utf-8"?>
<p:tagLst xmlns:a="http://schemas.openxmlformats.org/drawingml/2006/main" xmlns:r="http://schemas.openxmlformats.org/officeDocument/2006/relationships" xmlns:p="http://schemas.openxmlformats.org/presentationml/2006/main">
  <p:tag name="NAME" val="Rectangle"/>
</p:tagLst>
</file>

<file path=ppt/tags/tag2456.xml><?xml version="1.0" encoding="utf-8"?>
<p:tagLst xmlns:a="http://schemas.openxmlformats.org/drawingml/2006/main" xmlns:r="http://schemas.openxmlformats.org/officeDocument/2006/relationships" xmlns:p="http://schemas.openxmlformats.org/presentationml/2006/main">
  <p:tag name="NAME" val="Rectangle"/>
</p:tagLst>
</file>

<file path=ppt/tags/tag2457.xml><?xml version="1.0" encoding="utf-8"?>
<p:tagLst xmlns:a="http://schemas.openxmlformats.org/drawingml/2006/main" xmlns:r="http://schemas.openxmlformats.org/officeDocument/2006/relationships" xmlns:p="http://schemas.openxmlformats.org/presentationml/2006/main">
  <p:tag name="NAME" val="Rectangle"/>
</p:tagLst>
</file>

<file path=ppt/tags/tag2458.xml><?xml version="1.0" encoding="utf-8"?>
<p:tagLst xmlns:a="http://schemas.openxmlformats.org/drawingml/2006/main" xmlns:r="http://schemas.openxmlformats.org/officeDocument/2006/relationships" xmlns:p="http://schemas.openxmlformats.org/presentationml/2006/main">
  <p:tag name="NAME" val="Rectangle"/>
</p:tagLst>
</file>

<file path=ppt/tags/tag2459.xml><?xml version="1.0" encoding="utf-8"?>
<p:tagLst xmlns:a="http://schemas.openxmlformats.org/drawingml/2006/main" xmlns:r="http://schemas.openxmlformats.org/officeDocument/2006/relationships" xmlns:p="http://schemas.openxmlformats.org/presentationml/2006/main">
  <p:tag name="NAME" val="Rectangle"/>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61.xml><?xml version="1.0" encoding="utf-8"?>
<p:tagLst xmlns:a="http://schemas.openxmlformats.org/drawingml/2006/main" xmlns:r="http://schemas.openxmlformats.org/officeDocument/2006/relationships" xmlns:p="http://schemas.openxmlformats.org/presentationml/2006/main">
  <p:tag name="NAME" val="DirArrow"/>
  <p:tag name="TYPE" val="McK DirArrow"/>
</p:tagLst>
</file>

<file path=ppt/tags/tag2462.xml><?xml version="1.0" encoding="utf-8"?>
<p:tagLst xmlns:a="http://schemas.openxmlformats.org/drawingml/2006/main" xmlns:r="http://schemas.openxmlformats.org/officeDocument/2006/relationships" xmlns:p="http://schemas.openxmlformats.org/presentationml/2006/main">
  <p:tag name="NAME" val="DirArrow"/>
  <p:tag name="TYPE" val="McK DirArrow"/>
</p:tagLst>
</file>

<file path=ppt/tags/tag24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64.xml><?xml version="1.0" encoding="utf-8"?>
<p:tagLst xmlns:a="http://schemas.openxmlformats.org/drawingml/2006/main" xmlns:r="http://schemas.openxmlformats.org/officeDocument/2006/relationships" xmlns:p="http://schemas.openxmlformats.org/presentationml/2006/main">
  <p:tag name="THINKCELLSHAPEDONOTDELETE" val="tcFSj9kaD.U6rNegH7rREeQ"/>
</p:tagLst>
</file>

<file path=ppt/tags/tag2465.xml><?xml version="1.0" encoding="utf-8"?>
<p:tagLst xmlns:a="http://schemas.openxmlformats.org/drawingml/2006/main" xmlns:r="http://schemas.openxmlformats.org/officeDocument/2006/relationships" xmlns:p="http://schemas.openxmlformats.org/presentationml/2006/main">
  <p:tag name="THINKCELLSHAPEDONOTDELETE" val="tiaXMp3TRReOouJkv2uOKdw"/>
</p:tagLst>
</file>

<file path=ppt/tags/tag2466.xml><?xml version="1.0" encoding="utf-8"?>
<p:tagLst xmlns:a="http://schemas.openxmlformats.org/drawingml/2006/main" xmlns:r="http://schemas.openxmlformats.org/officeDocument/2006/relationships" xmlns:p="http://schemas.openxmlformats.org/presentationml/2006/main">
  <p:tag name="THINKCELLSHAPEDONOTDELETE" val="tBZjcfvZKSJOonnR9qoALsw"/>
</p:tagLst>
</file>

<file path=ppt/tags/tag2467.xml><?xml version="1.0" encoding="utf-8"?>
<p:tagLst xmlns:a="http://schemas.openxmlformats.org/drawingml/2006/main" xmlns:r="http://schemas.openxmlformats.org/officeDocument/2006/relationships" xmlns:p="http://schemas.openxmlformats.org/presentationml/2006/main">
  <p:tag name="THINKCELLSHAPEDONOTDELETE" val="t23o0oJn.RTKPGtu8GE5jQg"/>
</p:tagLst>
</file>

<file path=ppt/tags/tag2468.xml><?xml version="1.0" encoding="utf-8"?>
<p:tagLst xmlns:a="http://schemas.openxmlformats.org/drawingml/2006/main" xmlns:r="http://schemas.openxmlformats.org/officeDocument/2006/relationships" xmlns:p="http://schemas.openxmlformats.org/presentationml/2006/main">
  <p:tag name="THINKCELLSHAPEDONOTDELETE" val="tXW2ddoNyQl2at40mW7_wRQ"/>
</p:tagLst>
</file>

<file path=ppt/tags/tag2469.xml><?xml version="1.0" encoding="utf-8"?>
<p:tagLst xmlns:a="http://schemas.openxmlformats.org/drawingml/2006/main" xmlns:r="http://schemas.openxmlformats.org/officeDocument/2006/relationships" xmlns:p="http://schemas.openxmlformats.org/presentationml/2006/main">
  <p:tag name="THINKCELLSHAPEDONOTDELETE" val="takP5YVaFS8CXTv8c7hFzOA"/>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70.xml><?xml version="1.0" encoding="utf-8"?>
<p:tagLst xmlns:a="http://schemas.openxmlformats.org/drawingml/2006/main" xmlns:r="http://schemas.openxmlformats.org/officeDocument/2006/relationships" xmlns:p="http://schemas.openxmlformats.org/presentationml/2006/main">
  <p:tag name="THINKCELLSHAPEDONOTDELETE" val="tkAwjhQi4Q7imiY7XwMJQMw"/>
</p:tagLst>
</file>

<file path=ppt/tags/tag2471.xml><?xml version="1.0" encoding="utf-8"?>
<p:tagLst xmlns:a="http://schemas.openxmlformats.org/drawingml/2006/main" xmlns:r="http://schemas.openxmlformats.org/officeDocument/2006/relationships" xmlns:p="http://schemas.openxmlformats.org/presentationml/2006/main">
  <p:tag name="NOPREFERENCE" val="False"/>
</p:tagLst>
</file>

<file path=ppt/tags/tag24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73.xml><?xml version="1.0" encoding="utf-8"?>
<p:tagLst xmlns:a="http://schemas.openxmlformats.org/drawingml/2006/main" xmlns:r="http://schemas.openxmlformats.org/officeDocument/2006/relationships" xmlns:p="http://schemas.openxmlformats.org/presentationml/2006/main">
  <p:tag name="NAME" val="Rectangle"/>
</p:tagLst>
</file>

<file path=ppt/tags/tag2474.xml><?xml version="1.0" encoding="utf-8"?>
<p:tagLst xmlns:a="http://schemas.openxmlformats.org/drawingml/2006/main" xmlns:r="http://schemas.openxmlformats.org/officeDocument/2006/relationships" xmlns:p="http://schemas.openxmlformats.org/presentationml/2006/main">
  <p:tag name="NAME" val="Rectangle"/>
</p:tagLst>
</file>

<file path=ppt/tags/tag2475.xml><?xml version="1.0" encoding="utf-8"?>
<p:tagLst xmlns:a="http://schemas.openxmlformats.org/drawingml/2006/main" xmlns:r="http://schemas.openxmlformats.org/officeDocument/2006/relationships" xmlns:p="http://schemas.openxmlformats.org/presentationml/2006/main">
  <p:tag name="NAME" val="Rectangle"/>
</p:tagLst>
</file>

<file path=ppt/tags/tag2476.xml><?xml version="1.0" encoding="utf-8"?>
<p:tagLst xmlns:a="http://schemas.openxmlformats.org/drawingml/2006/main" xmlns:r="http://schemas.openxmlformats.org/officeDocument/2006/relationships" xmlns:p="http://schemas.openxmlformats.org/presentationml/2006/main">
  <p:tag name="NAME" val="Rectangle"/>
</p:tagLst>
</file>

<file path=ppt/tags/tag2477.xml><?xml version="1.0" encoding="utf-8"?>
<p:tagLst xmlns:a="http://schemas.openxmlformats.org/drawingml/2006/main" xmlns:r="http://schemas.openxmlformats.org/officeDocument/2006/relationships" xmlns:p="http://schemas.openxmlformats.org/presentationml/2006/main">
  <p:tag name="NAME" val="Rectangle"/>
</p:tagLst>
</file>

<file path=ppt/tags/tag2478.xml><?xml version="1.0" encoding="utf-8"?>
<p:tagLst xmlns:a="http://schemas.openxmlformats.org/drawingml/2006/main" xmlns:r="http://schemas.openxmlformats.org/officeDocument/2006/relationships" xmlns:p="http://schemas.openxmlformats.org/presentationml/2006/main">
  <p:tag name="NAME" val="Rectangle"/>
</p:tagLst>
</file>

<file path=ppt/tags/tag24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 name="THINKCELLSTATEDONOTDELETE" val="q0jyvG6ce0Cc03QZU7Ahaw"/>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tdUVaNioeQEy1srSxzx_jYw"/>
</p:tagLst>
</file>

<file path=ppt/tags/tag2480.xml><?xml version="1.0" encoding="utf-8"?>
<p:tagLst xmlns:a="http://schemas.openxmlformats.org/drawingml/2006/main" xmlns:r="http://schemas.openxmlformats.org/officeDocument/2006/relationships" xmlns:p="http://schemas.openxmlformats.org/presentationml/2006/main">
  <p:tag name="RESIZE" val="Yes"/>
</p:tagLst>
</file>

<file path=ppt/tags/tag24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82.xml><?xml version="1.0" encoding="utf-8"?>
<p:tagLst xmlns:a="http://schemas.openxmlformats.org/drawingml/2006/main" xmlns:r="http://schemas.openxmlformats.org/officeDocument/2006/relationships" xmlns:p="http://schemas.openxmlformats.org/presentationml/2006/main">
  <p:tag name="RESIZE" val="Yes"/>
</p:tagLst>
</file>

<file path=ppt/tags/tag2483.xml><?xml version="1.0" encoding="utf-8"?>
<p:tagLst xmlns:a="http://schemas.openxmlformats.org/drawingml/2006/main" xmlns:r="http://schemas.openxmlformats.org/officeDocument/2006/relationships" xmlns:p="http://schemas.openxmlformats.org/presentationml/2006/main">
  <p:tag name="NAME" val="Rectangle"/>
</p:tagLst>
</file>

<file path=ppt/tags/tag2484.xml><?xml version="1.0" encoding="utf-8"?>
<p:tagLst xmlns:a="http://schemas.openxmlformats.org/drawingml/2006/main" xmlns:r="http://schemas.openxmlformats.org/officeDocument/2006/relationships" xmlns:p="http://schemas.openxmlformats.org/presentationml/2006/main">
  <p:tag name="NAME" val="Rectangle"/>
</p:tagLst>
</file>

<file path=ppt/tags/tag2485.xml><?xml version="1.0" encoding="utf-8"?>
<p:tagLst xmlns:a="http://schemas.openxmlformats.org/drawingml/2006/main" xmlns:r="http://schemas.openxmlformats.org/officeDocument/2006/relationships" xmlns:p="http://schemas.openxmlformats.org/presentationml/2006/main">
  <p:tag name="NAME" val="Rectangle"/>
</p:tagLst>
</file>

<file path=ppt/tags/tag24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 name="THINKCELLSTATEDONOTDELETE" val="q0jyvG6ce0Cc03QZU7Ahaw"/>
</p:tagLst>
</file>

<file path=ppt/tags/tag2487.xml><?xml version="1.0" encoding="utf-8"?>
<p:tagLst xmlns:a="http://schemas.openxmlformats.org/drawingml/2006/main" xmlns:r="http://schemas.openxmlformats.org/officeDocument/2006/relationships" xmlns:p="http://schemas.openxmlformats.org/presentationml/2006/main">
  <p:tag name="RESIZE" val="Yes"/>
</p:tagLst>
</file>

<file path=ppt/tags/tag24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89.xml><?xml version="1.0" encoding="utf-8"?>
<p:tagLst xmlns:a="http://schemas.openxmlformats.org/drawingml/2006/main" xmlns:r="http://schemas.openxmlformats.org/officeDocument/2006/relationships" xmlns:p="http://schemas.openxmlformats.org/presentationml/2006/main">
  <p:tag name="THINKCELLSHAPEDONOTDELETE" val="tcFSj9kaD.U6rNegH7rREeQ"/>
</p:tagLst>
</file>

<file path=ppt/tags/tag249.xml><?xml version="1.0" encoding="utf-8"?>
<p:tagLst xmlns:a="http://schemas.openxmlformats.org/drawingml/2006/main" xmlns:r="http://schemas.openxmlformats.org/officeDocument/2006/relationships" xmlns:p="http://schemas.openxmlformats.org/presentationml/2006/main">
  <p:tag name="NAME" val="Moon"/>
</p:tagLst>
</file>

<file path=ppt/tags/tag2490.xml><?xml version="1.0" encoding="utf-8"?>
<p:tagLst xmlns:a="http://schemas.openxmlformats.org/drawingml/2006/main" xmlns:r="http://schemas.openxmlformats.org/officeDocument/2006/relationships" xmlns:p="http://schemas.openxmlformats.org/presentationml/2006/main">
  <p:tag name="THINKCELLSHAPEDONOTDELETE" val="t.cWiw6_5SDmyDcYL32P.zA"/>
</p:tagLst>
</file>

<file path=ppt/tags/tag2491.xml><?xml version="1.0" encoding="utf-8"?>
<p:tagLst xmlns:a="http://schemas.openxmlformats.org/drawingml/2006/main" xmlns:r="http://schemas.openxmlformats.org/officeDocument/2006/relationships" xmlns:p="http://schemas.openxmlformats.org/presentationml/2006/main">
  <p:tag name="THINKCELLSHAPEDONOTDELETE" val="t4.kxsq0rSMaMTd07lJPLyQ"/>
</p:tagLst>
</file>

<file path=ppt/tags/tag2492.xml><?xml version="1.0" encoding="utf-8"?>
<p:tagLst xmlns:a="http://schemas.openxmlformats.org/drawingml/2006/main" xmlns:r="http://schemas.openxmlformats.org/officeDocument/2006/relationships" xmlns:p="http://schemas.openxmlformats.org/presentationml/2006/main">
  <p:tag name="THINKCELLSHAPEDONOTDELETE" val="tO66YsJYIQleaymtZl7_krQ"/>
</p:tagLst>
</file>

<file path=ppt/tags/tag2493.xml><?xml version="1.0" encoding="utf-8"?>
<p:tagLst xmlns:a="http://schemas.openxmlformats.org/drawingml/2006/main" xmlns:r="http://schemas.openxmlformats.org/officeDocument/2006/relationships" xmlns:p="http://schemas.openxmlformats.org/presentationml/2006/main">
  <p:tag name="THINKCELLSHAPEDONOTDELETE" val="tN94shPugSnCXYLh0LluOmg"/>
</p:tagLst>
</file>

<file path=ppt/tags/tag2494.xml><?xml version="1.0" encoding="utf-8"?>
<p:tagLst xmlns:a="http://schemas.openxmlformats.org/drawingml/2006/main" xmlns:r="http://schemas.openxmlformats.org/officeDocument/2006/relationships" xmlns:p="http://schemas.openxmlformats.org/presentationml/2006/main">
  <p:tag name="THINKCELLSHAPEDONOTDELETE" val="tZv5cpuatTDW69XJyVL3q4A"/>
</p:tagLst>
</file>

<file path=ppt/tags/tag2495.xml><?xml version="1.0" encoding="utf-8"?>
<p:tagLst xmlns:a="http://schemas.openxmlformats.org/drawingml/2006/main" xmlns:r="http://schemas.openxmlformats.org/officeDocument/2006/relationships" xmlns:p="http://schemas.openxmlformats.org/presentationml/2006/main">
  <p:tag name="THINKCELLSHAPEDONOTDELETE" val="tlHLYN9iRTeeYbDp8_rZBtA"/>
</p:tagLst>
</file>

<file path=ppt/tags/tag24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97.xml><?xml version="1.0" encoding="utf-8"?>
<p:tagLst xmlns:a="http://schemas.openxmlformats.org/drawingml/2006/main" xmlns:r="http://schemas.openxmlformats.org/officeDocument/2006/relationships" xmlns:p="http://schemas.openxmlformats.org/presentationml/2006/main">
  <p:tag name="LLEFT" val=" 143.875"/>
  <p:tag name="LTOP" val=" 208.75"/>
</p:tagLst>
</file>

<file path=ppt/tags/tag2498.xml><?xml version="1.0" encoding="utf-8"?>
<p:tagLst xmlns:a="http://schemas.openxmlformats.org/drawingml/2006/main" xmlns:r="http://schemas.openxmlformats.org/officeDocument/2006/relationships" xmlns:p="http://schemas.openxmlformats.org/presentationml/2006/main">
  <p:tag name="LLEFT" val=" 143.875"/>
  <p:tag name="LTOP" val=" 208.75"/>
</p:tagLst>
</file>

<file path=ppt/tags/tag2499.xml><?xml version="1.0" encoding="utf-8"?>
<p:tagLst xmlns:a="http://schemas.openxmlformats.org/drawingml/2006/main" xmlns:r="http://schemas.openxmlformats.org/officeDocument/2006/relationships" xmlns:p="http://schemas.openxmlformats.org/presentationml/2006/main">
  <p:tag name="LLEFT" val=" 143.875"/>
  <p:tag name="LTOP" val=" 208.75"/>
</p:tagLst>
</file>

<file path=ppt/tags/tag25.xml><?xml version="1.0" encoding="utf-8"?>
<p:tagLst xmlns:a="http://schemas.openxmlformats.org/drawingml/2006/main" xmlns:r="http://schemas.openxmlformats.org/officeDocument/2006/relationships" xmlns:p="http://schemas.openxmlformats.org/presentationml/2006/main">
  <p:tag name="ISLEGEND" val="true"/>
</p:tagLst>
</file>

<file path=ppt/tags/tag250.xml><?xml version="1.0" encoding="utf-8"?>
<p:tagLst xmlns:a="http://schemas.openxmlformats.org/drawingml/2006/main" xmlns:r="http://schemas.openxmlformats.org/officeDocument/2006/relationships" xmlns:p="http://schemas.openxmlformats.org/presentationml/2006/main">
  <p:tag name="NAME" val="Moon"/>
</p:tagLst>
</file>

<file path=ppt/tags/tag2500.xml><?xml version="1.0" encoding="utf-8"?>
<p:tagLst xmlns:a="http://schemas.openxmlformats.org/drawingml/2006/main" xmlns:r="http://schemas.openxmlformats.org/officeDocument/2006/relationships" xmlns:p="http://schemas.openxmlformats.org/presentationml/2006/main">
  <p:tag name="NAME" val="RectangleText"/>
</p:tagLst>
</file>

<file path=ppt/tags/tag25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02.xml><?xml version="1.0" encoding="utf-8"?>
<p:tagLst xmlns:a="http://schemas.openxmlformats.org/drawingml/2006/main" xmlns:r="http://schemas.openxmlformats.org/officeDocument/2006/relationships" xmlns:p="http://schemas.openxmlformats.org/presentationml/2006/main">
  <p:tag name="NAME" val="RoundedRectangle"/>
</p:tagLst>
</file>

<file path=ppt/tags/tag2503.xml><?xml version="1.0" encoding="utf-8"?>
<p:tagLst xmlns:a="http://schemas.openxmlformats.org/drawingml/2006/main" xmlns:r="http://schemas.openxmlformats.org/officeDocument/2006/relationships" xmlns:p="http://schemas.openxmlformats.org/presentationml/2006/main">
  <p:tag name="NAME" val="Rectangle"/>
</p:tagLst>
</file>

<file path=ppt/tags/tag25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05.xml><?xml version="1.0" encoding="utf-8"?>
<p:tagLst xmlns:a="http://schemas.openxmlformats.org/drawingml/2006/main" xmlns:r="http://schemas.openxmlformats.org/officeDocument/2006/relationships" xmlns:p="http://schemas.openxmlformats.org/presentationml/2006/main">
  <p:tag name="RESIZE" val="Yes"/>
</p:tagLst>
</file>

<file path=ppt/tags/tag2506.xml><?xml version="1.0" encoding="utf-8"?>
<p:tagLst xmlns:a="http://schemas.openxmlformats.org/drawingml/2006/main" xmlns:r="http://schemas.openxmlformats.org/officeDocument/2006/relationships" xmlns:p="http://schemas.openxmlformats.org/presentationml/2006/main">
  <p:tag name="RESIZE" val="Yes"/>
</p:tagLst>
</file>

<file path=ppt/tags/tag251.xml><?xml version="1.0" encoding="utf-8"?>
<p:tagLst xmlns:a="http://schemas.openxmlformats.org/drawingml/2006/main" xmlns:r="http://schemas.openxmlformats.org/officeDocument/2006/relationships" xmlns:p="http://schemas.openxmlformats.org/presentationml/2006/main">
  <p:tag name="NAME" val="Moon"/>
</p:tagLst>
</file>

<file path=ppt/tags/tag252.xml><?xml version="1.0" encoding="utf-8"?>
<p:tagLst xmlns:a="http://schemas.openxmlformats.org/drawingml/2006/main" xmlns:r="http://schemas.openxmlformats.org/officeDocument/2006/relationships" xmlns:p="http://schemas.openxmlformats.org/presentationml/2006/main">
  <p:tag name="NAME" val="Moon"/>
</p:tagLst>
</file>

<file path=ppt/tags/tag253.xml><?xml version="1.0" encoding="utf-8"?>
<p:tagLst xmlns:a="http://schemas.openxmlformats.org/drawingml/2006/main" xmlns:r="http://schemas.openxmlformats.org/officeDocument/2006/relationships" xmlns:p="http://schemas.openxmlformats.org/presentationml/2006/main">
  <p:tag name="NAME" val="Moon"/>
</p:tagLst>
</file>

<file path=ppt/tags/tag254.xml><?xml version="1.0" encoding="utf-8"?>
<p:tagLst xmlns:a="http://schemas.openxmlformats.org/drawingml/2006/main" xmlns:r="http://schemas.openxmlformats.org/officeDocument/2006/relationships" xmlns:p="http://schemas.openxmlformats.org/presentationml/2006/main">
  <p:tag name="ISLEGEND" val="true"/>
</p:tagLst>
</file>

<file path=ppt/tags/tag255.xml><?xml version="1.0" encoding="utf-8"?>
<p:tagLst xmlns:a="http://schemas.openxmlformats.org/drawingml/2006/main" xmlns:r="http://schemas.openxmlformats.org/officeDocument/2006/relationships" xmlns:p="http://schemas.openxmlformats.org/presentationml/2006/main">
  <p:tag name="ISLEGEND" val="true"/>
</p:tagLst>
</file>

<file path=ppt/tags/tag256.xml><?xml version="1.0" encoding="utf-8"?>
<p:tagLst xmlns:a="http://schemas.openxmlformats.org/drawingml/2006/main" xmlns:r="http://schemas.openxmlformats.org/officeDocument/2006/relationships" xmlns:p="http://schemas.openxmlformats.org/presentationml/2006/main">
  <p:tag name="ISLEGEND" val="true"/>
</p:tagLst>
</file>

<file path=ppt/tags/tag257.xml><?xml version="1.0" encoding="utf-8"?>
<p:tagLst xmlns:a="http://schemas.openxmlformats.org/drawingml/2006/main" xmlns:r="http://schemas.openxmlformats.org/officeDocument/2006/relationships" xmlns:p="http://schemas.openxmlformats.org/presentationml/2006/main">
  <p:tag name="ISLEGEND" val="true"/>
</p:tagLst>
</file>

<file path=ppt/tags/tag258.xml><?xml version="1.0" encoding="utf-8"?>
<p:tagLst xmlns:a="http://schemas.openxmlformats.org/drawingml/2006/main" xmlns:r="http://schemas.openxmlformats.org/officeDocument/2006/relationships" xmlns:p="http://schemas.openxmlformats.org/presentationml/2006/main">
  <p:tag name="ISLEGEND" val="true"/>
</p:tagLst>
</file>

<file path=ppt/tags/tag259.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26.xml><?xml version="1.0" encoding="utf-8"?>
<p:tagLst xmlns:a="http://schemas.openxmlformats.org/drawingml/2006/main" xmlns:r="http://schemas.openxmlformats.org/officeDocument/2006/relationships" xmlns:p="http://schemas.openxmlformats.org/presentationml/2006/main">
  <p:tag name="ISLEGEND" val="true"/>
</p:tagLst>
</file>

<file path=ppt/tags/tag260.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261.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262.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263.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264.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265.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266.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267.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268.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269.xml><?xml version="1.0" encoding="utf-8"?>
<p:tagLst xmlns:a="http://schemas.openxmlformats.org/drawingml/2006/main" xmlns:r="http://schemas.openxmlformats.org/officeDocument/2006/relationships" xmlns:p="http://schemas.openxmlformats.org/presentationml/2006/main">
  <p:tag name="ISLEGEND" val="true"/>
</p:tagLst>
</file>

<file path=ppt/tags/tag27.xml><?xml version="1.0" encoding="utf-8"?>
<p:tagLst xmlns:a="http://schemas.openxmlformats.org/drawingml/2006/main" xmlns:r="http://schemas.openxmlformats.org/officeDocument/2006/relationships" xmlns:p="http://schemas.openxmlformats.org/presentationml/2006/main">
  <p:tag name="ISLEGEND" val="true"/>
</p:tagLst>
</file>

<file path=ppt/tags/tag270.xml><?xml version="1.0" encoding="utf-8"?>
<p:tagLst xmlns:a="http://schemas.openxmlformats.org/drawingml/2006/main" xmlns:r="http://schemas.openxmlformats.org/officeDocument/2006/relationships" xmlns:p="http://schemas.openxmlformats.org/presentationml/2006/main">
  <p:tag name="ISLEGEND" val="true"/>
</p:tagLst>
</file>

<file path=ppt/tags/tag271.xml><?xml version="1.0" encoding="utf-8"?>
<p:tagLst xmlns:a="http://schemas.openxmlformats.org/drawingml/2006/main" xmlns:r="http://schemas.openxmlformats.org/officeDocument/2006/relationships" xmlns:p="http://schemas.openxmlformats.org/presentationml/2006/main">
  <p:tag name="ISLEGEND" val="true"/>
</p:tagLst>
</file>

<file path=ppt/tags/tag272.xml><?xml version="1.0" encoding="utf-8"?>
<p:tagLst xmlns:a="http://schemas.openxmlformats.org/drawingml/2006/main" xmlns:r="http://schemas.openxmlformats.org/officeDocument/2006/relationships" xmlns:p="http://schemas.openxmlformats.org/presentationml/2006/main">
  <p:tag name="ISLEGEND" val="true"/>
</p:tagLst>
</file>

<file path=ppt/tags/tag273.xml><?xml version="1.0" encoding="utf-8"?>
<p:tagLst xmlns:a="http://schemas.openxmlformats.org/drawingml/2006/main" xmlns:r="http://schemas.openxmlformats.org/officeDocument/2006/relationships" xmlns:p="http://schemas.openxmlformats.org/presentationml/2006/main">
  <p:tag name="ISLEGEND" val="true"/>
</p:tagLst>
</file>

<file path=ppt/tags/tag274.xml><?xml version="1.0" encoding="utf-8"?>
<p:tagLst xmlns:a="http://schemas.openxmlformats.org/drawingml/2006/main" xmlns:r="http://schemas.openxmlformats.org/officeDocument/2006/relationships" xmlns:p="http://schemas.openxmlformats.org/presentationml/2006/main">
  <p:tag name="ISLEGEND" val="true"/>
</p:tagLst>
</file>

<file path=ppt/tags/tag275.xml><?xml version="1.0" encoding="utf-8"?>
<p:tagLst xmlns:a="http://schemas.openxmlformats.org/drawingml/2006/main" xmlns:r="http://schemas.openxmlformats.org/officeDocument/2006/relationships" xmlns:p="http://schemas.openxmlformats.org/presentationml/2006/main">
  <p:tag name="ISLEGEND" val="true"/>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8.xml><?xml version="1.0" encoding="utf-8"?>
<p:tagLst xmlns:a="http://schemas.openxmlformats.org/drawingml/2006/main" xmlns:r="http://schemas.openxmlformats.org/officeDocument/2006/relationships" xmlns:p="http://schemas.openxmlformats.org/presentationml/2006/main">
  <p:tag name="NAME" val="Logo"/>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ISLEGEND" val="true"/>
</p:tagLst>
</file>

<file path=ppt/tags/tag280.xml><?xml version="1.0" encoding="utf-8"?>
<p:tagLst xmlns:a="http://schemas.openxmlformats.org/drawingml/2006/main" xmlns:r="http://schemas.openxmlformats.org/officeDocument/2006/relationships" xmlns:p="http://schemas.openxmlformats.org/presentationml/2006/main">
  <p:tag name="NAME" val="Logo"/>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tdUVaNioeQEy1srSxzx_jYw"/>
</p:tagLst>
</file>

<file path=ppt/tags/tag284.xml><?xml version="1.0" encoding="utf-8"?>
<p:tagLst xmlns:a="http://schemas.openxmlformats.org/drawingml/2006/main" xmlns:r="http://schemas.openxmlformats.org/officeDocument/2006/relationships" xmlns:p="http://schemas.openxmlformats.org/presentationml/2006/main">
  <p:tag name="NAME" val="Moon"/>
</p:tagLst>
</file>

<file path=ppt/tags/tag285.xml><?xml version="1.0" encoding="utf-8"?>
<p:tagLst xmlns:a="http://schemas.openxmlformats.org/drawingml/2006/main" xmlns:r="http://schemas.openxmlformats.org/officeDocument/2006/relationships" xmlns:p="http://schemas.openxmlformats.org/presentationml/2006/main">
  <p:tag name="NAME" val="Moon"/>
</p:tagLst>
</file>

<file path=ppt/tags/tag286.xml><?xml version="1.0" encoding="utf-8"?>
<p:tagLst xmlns:a="http://schemas.openxmlformats.org/drawingml/2006/main" xmlns:r="http://schemas.openxmlformats.org/officeDocument/2006/relationships" xmlns:p="http://schemas.openxmlformats.org/presentationml/2006/main">
  <p:tag name="NAME" val="Moon"/>
</p:tagLst>
</file>

<file path=ppt/tags/tag287.xml><?xml version="1.0" encoding="utf-8"?>
<p:tagLst xmlns:a="http://schemas.openxmlformats.org/drawingml/2006/main" xmlns:r="http://schemas.openxmlformats.org/officeDocument/2006/relationships" xmlns:p="http://schemas.openxmlformats.org/presentationml/2006/main">
  <p:tag name="NAME" val="Moon"/>
</p:tagLst>
</file>

<file path=ppt/tags/tag288.xml><?xml version="1.0" encoding="utf-8"?>
<p:tagLst xmlns:a="http://schemas.openxmlformats.org/drawingml/2006/main" xmlns:r="http://schemas.openxmlformats.org/officeDocument/2006/relationships" xmlns:p="http://schemas.openxmlformats.org/presentationml/2006/main">
  <p:tag name="NAME" val="Moon"/>
</p:tagLst>
</file>

<file path=ppt/tags/tag289.xml><?xml version="1.0" encoding="utf-8"?>
<p:tagLst xmlns:a="http://schemas.openxmlformats.org/drawingml/2006/main" xmlns:r="http://schemas.openxmlformats.org/officeDocument/2006/relationships" xmlns:p="http://schemas.openxmlformats.org/presentationml/2006/main">
  <p:tag name="ISLEGEND" val="true"/>
</p:tagLst>
</file>

<file path=ppt/tags/tag29.xml><?xml version="1.0" encoding="utf-8"?>
<p:tagLst xmlns:a="http://schemas.openxmlformats.org/drawingml/2006/main" xmlns:r="http://schemas.openxmlformats.org/officeDocument/2006/relationships" xmlns:p="http://schemas.openxmlformats.org/presentationml/2006/main">
  <p:tag name="ISLEGEND" val="true"/>
</p:tagLst>
</file>

<file path=ppt/tags/tag290.xml><?xml version="1.0" encoding="utf-8"?>
<p:tagLst xmlns:a="http://schemas.openxmlformats.org/drawingml/2006/main" xmlns:r="http://schemas.openxmlformats.org/officeDocument/2006/relationships" xmlns:p="http://schemas.openxmlformats.org/presentationml/2006/main">
  <p:tag name="ISLEGEND" val="true"/>
</p:tagLst>
</file>

<file path=ppt/tags/tag291.xml><?xml version="1.0" encoding="utf-8"?>
<p:tagLst xmlns:a="http://schemas.openxmlformats.org/drawingml/2006/main" xmlns:r="http://schemas.openxmlformats.org/officeDocument/2006/relationships" xmlns:p="http://schemas.openxmlformats.org/presentationml/2006/main">
  <p:tag name="ISLEGEND" val="true"/>
</p:tagLst>
</file>

<file path=ppt/tags/tag292.xml><?xml version="1.0" encoding="utf-8"?>
<p:tagLst xmlns:a="http://schemas.openxmlformats.org/drawingml/2006/main" xmlns:r="http://schemas.openxmlformats.org/officeDocument/2006/relationships" xmlns:p="http://schemas.openxmlformats.org/presentationml/2006/main">
  <p:tag name="ISLEGEND" val="true"/>
</p:tagLst>
</file>

<file path=ppt/tags/tag293.xml><?xml version="1.0" encoding="utf-8"?>
<p:tagLst xmlns:a="http://schemas.openxmlformats.org/drawingml/2006/main" xmlns:r="http://schemas.openxmlformats.org/officeDocument/2006/relationships" xmlns:p="http://schemas.openxmlformats.org/presentationml/2006/main">
  <p:tag name="ISLEGEND" val="true"/>
</p:tagLst>
</file>

<file path=ppt/tags/tag294.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295.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296.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297.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298.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299.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dUVaNioeQEy1srSxzx_jYw"/>
</p:tagLst>
</file>

<file path=ppt/tags/tag30.xml><?xml version="1.0" encoding="utf-8"?>
<p:tagLst xmlns:a="http://schemas.openxmlformats.org/drawingml/2006/main" xmlns:r="http://schemas.openxmlformats.org/officeDocument/2006/relationships" xmlns:p="http://schemas.openxmlformats.org/presentationml/2006/main">
  <p:tag name="ISLEGEND" val="true"/>
</p:tagLst>
</file>

<file path=ppt/tags/tag300.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301.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302.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303.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304.xml><?xml version="1.0" encoding="utf-8"?>
<p:tagLst xmlns:a="http://schemas.openxmlformats.org/drawingml/2006/main" xmlns:r="http://schemas.openxmlformats.org/officeDocument/2006/relationships" xmlns:p="http://schemas.openxmlformats.org/presentationml/2006/main">
  <p:tag name="ISLEGEND" val="true"/>
</p:tagLst>
</file>

<file path=ppt/tags/tag305.xml><?xml version="1.0" encoding="utf-8"?>
<p:tagLst xmlns:a="http://schemas.openxmlformats.org/drawingml/2006/main" xmlns:r="http://schemas.openxmlformats.org/officeDocument/2006/relationships" xmlns:p="http://schemas.openxmlformats.org/presentationml/2006/main">
  <p:tag name="ISLEGEND" val="true"/>
</p:tagLst>
</file>

<file path=ppt/tags/tag306.xml><?xml version="1.0" encoding="utf-8"?>
<p:tagLst xmlns:a="http://schemas.openxmlformats.org/drawingml/2006/main" xmlns:r="http://schemas.openxmlformats.org/officeDocument/2006/relationships" xmlns:p="http://schemas.openxmlformats.org/presentationml/2006/main">
  <p:tag name="ISLEGEND" val="true"/>
</p:tagLst>
</file>

<file path=ppt/tags/tag307.xml><?xml version="1.0" encoding="utf-8"?>
<p:tagLst xmlns:a="http://schemas.openxmlformats.org/drawingml/2006/main" xmlns:r="http://schemas.openxmlformats.org/officeDocument/2006/relationships" xmlns:p="http://schemas.openxmlformats.org/presentationml/2006/main">
  <p:tag name="ISLEGEND" val="true"/>
</p:tagLst>
</file>

<file path=ppt/tags/tag308.xml><?xml version="1.0" encoding="utf-8"?>
<p:tagLst xmlns:a="http://schemas.openxmlformats.org/drawingml/2006/main" xmlns:r="http://schemas.openxmlformats.org/officeDocument/2006/relationships" xmlns:p="http://schemas.openxmlformats.org/presentationml/2006/main">
  <p:tag name="ISLEGEND" val="true"/>
</p:tagLst>
</file>

<file path=ppt/tags/tag309.xml><?xml version="1.0" encoding="utf-8"?>
<p:tagLst xmlns:a="http://schemas.openxmlformats.org/drawingml/2006/main" xmlns:r="http://schemas.openxmlformats.org/officeDocument/2006/relationships" xmlns:p="http://schemas.openxmlformats.org/presentationml/2006/main">
  <p:tag name="ISLEGEND" val="tru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0.xml><?xml version="1.0" encoding="utf-8"?>
<p:tagLst xmlns:a="http://schemas.openxmlformats.org/drawingml/2006/main" xmlns:r="http://schemas.openxmlformats.org/officeDocument/2006/relationships" xmlns:p="http://schemas.openxmlformats.org/presentationml/2006/main">
  <p:tag name="ISLEGEND" val="true"/>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3.xml><?xml version="1.0" encoding="utf-8"?>
<p:tagLst xmlns:a="http://schemas.openxmlformats.org/drawingml/2006/main" xmlns:r="http://schemas.openxmlformats.org/officeDocument/2006/relationships" xmlns:p="http://schemas.openxmlformats.org/presentationml/2006/main">
  <p:tag name="NAME" val="Logo"/>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5.xml><?xml version="1.0" encoding="utf-8"?>
<p:tagLst xmlns:a="http://schemas.openxmlformats.org/drawingml/2006/main" xmlns:r="http://schemas.openxmlformats.org/officeDocument/2006/relationships" xmlns:p="http://schemas.openxmlformats.org/presentationml/2006/main">
  <p:tag name="NAME" val="Logo"/>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tdUVaNioeQEy1srSxzx_jYw"/>
</p:tagLst>
</file>

<file path=ppt/tags/tag319.xml><?xml version="1.0" encoding="utf-8"?>
<p:tagLst xmlns:a="http://schemas.openxmlformats.org/drawingml/2006/main" xmlns:r="http://schemas.openxmlformats.org/officeDocument/2006/relationships" xmlns:p="http://schemas.openxmlformats.org/presentationml/2006/main">
  <p:tag name="NAME" val="Moon"/>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0.xml><?xml version="1.0" encoding="utf-8"?>
<p:tagLst xmlns:a="http://schemas.openxmlformats.org/drawingml/2006/main" xmlns:r="http://schemas.openxmlformats.org/officeDocument/2006/relationships" xmlns:p="http://schemas.openxmlformats.org/presentationml/2006/main">
  <p:tag name="NAME" val="Moon"/>
</p:tagLst>
</file>

<file path=ppt/tags/tag321.xml><?xml version="1.0" encoding="utf-8"?>
<p:tagLst xmlns:a="http://schemas.openxmlformats.org/drawingml/2006/main" xmlns:r="http://schemas.openxmlformats.org/officeDocument/2006/relationships" xmlns:p="http://schemas.openxmlformats.org/presentationml/2006/main">
  <p:tag name="NAME" val="Moon"/>
</p:tagLst>
</file>

<file path=ppt/tags/tag322.xml><?xml version="1.0" encoding="utf-8"?>
<p:tagLst xmlns:a="http://schemas.openxmlformats.org/drawingml/2006/main" xmlns:r="http://schemas.openxmlformats.org/officeDocument/2006/relationships" xmlns:p="http://schemas.openxmlformats.org/presentationml/2006/main">
  <p:tag name="NAME" val="Moon"/>
</p:tagLst>
</file>

<file path=ppt/tags/tag323.xml><?xml version="1.0" encoding="utf-8"?>
<p:tagLst xmlns:a="http://schemas.openxmlformats.org/drawingml/2006/main" xmlns:r="http://schemas.openxmlformats.org/officeDocument/2006/relationships" xmlns:p="http://schemas.openxmlformats.org/presentationml/2006/main">
  <p:tag name="NAME" val="Moon"/>
</p:tagLst>
</file>

<file path=ppt/tags/tag324.xml><?xml version="1.0" encoding="utf-8"?>
<p:tagLst xmlns:a="http://schemas.openxmlformats.org/drawingml/2006/main" xmlns:r="http://schemas.openxmlformats.org/officeDocument/2006/relationships" xmlns:p="http://schemas.openxmlformats.org/presentationml/2006/main">
  <p:tag name="ISLEGEND" val="true"/>
</p:tagLst>
</file>

<file path=ppt/tags/tag325.xml><?xml version="1.0" encoding="utf-8"?>
<p:tagLst xmlns:a="http://schemas.openxmlformats.org/drawingml/2006/main" xmlns:r="http://schemas.openxmlformats.org/officeDocument/2006/relationships" xmlns:p="http://schemas.openxmlformats.org/presentationml/2006/main">
  <p:tag name="ISLEGEND" val="true"/>
</p:tagLst>
</file>

<file path=ppt/tags/tag326.xml><?xml version="1.0" encoding="utf-8"?>
<p:tagLst xmlns:a="http://schemas.openxmlformats.org/drawingml/2006/main" xmlns:r="http://schemas.openxmlformats.org/officeDocument/2006/relationships" xmlns:p="http://schemas.openxmlformats.org/presentationml/2006/main">
  <p:tag name="ISLEGEND" val="true"/>
</p:tagLst>
</file>

<file path=ppt/tags/tag327.xml><?xml version="1.0" encoding="utf-8"?>
<p:tagLst xmlns:a="http://schemas.openxmlformats.org/drawingml/2006/main" xmlns:r="http://schemas.openxmlformats.org/officeDocument/2006/relationships" xmlns:p="http://schemas.openxmlformats.org/presentationml/2006/main">
  <p:tag name="ISLEGEND" val="true"/>
</p:tagLst>
</file>

<file path=ppt/tags/tag328.xml><?xml version="1.0" encoding="utf-8"?>
<p:tagLst xmlns:a="http://schemas.openxmlformats.org/drawingml/2006/main" xmlns:r="http://schemas.openxmlformats.org/officeDocument/2006/relationships" xmlns:p="http://schemas.openxmlformats.org/presentationml/2006/main">
  <p:tag name="ISLEGEND" val="true"/>
</p:tagLst>
</file>

<file path=ppt/tags/tag329.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33.xml><?xml version="1.0" encoding="utf-8"?>
<p:tagLst xmlns:a="http://schemas.openxmlformats.org/drawingml/2006/main" xmlns:r="http://schemas.openxmlformats.org/officeDocument/2006/relationships" xmlns:p="http://schemas.openxmlformats.org/presentationml/2006/main">
  <p:tag name="NAME" val="Logo"/>
</p:tagLst>
</file>

<file path=ppt/tags/tag330.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331.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332.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333.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334.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335.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336.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337.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338.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339.xml><?xml version="1.0" encoding="utf-8"?>
<p:tagLst xmlns:a="http://schemas.openxmlformats.org/drawingml/2006/main" xmlns:r="http://schemas.openxmlformats.org/officeDocument/2006/relationships" xmlns:p="http://schemas.openxmlformats.org/presentationml/2006/main">
  <p:tag name="ISLEGEND" val="tru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0.xml><?xml version="1.0" encoding="utf-8"?>
<p:tagLst xmlns:a="http://schemas.openxmlformats.org/drawingml/2006/main" xmlns:r="http://schemas.openxmlformats.org/officeDocument/2006/relationships" xmlns:p="http://schemas.openxmlformats.org/presentationml/2006/main">
  <p:tag name="ISLEGEND" val="true"/>
</p:tagLst>
</file>

<file path=ppt/tags/tag341.xml><?xml version="1.0" encoding="utf-8"?>
<p:tagLst xmlns:a="http://schemas.openxmlformats.org/drawingml/2006/main" xmlns:r="http://schemas.openxmlformats.org/officeDocument/2006/relationships" xmlns:p="http://schemas.openxmlformats.org/presentationml/2006/main">
  <p:tag name="ISLEGEND" val="true"/>
</p:tagLst>
</file>

<file path=ppt/tags/tag342.xml><?xml version="1.0" encoding="utf-8"?>
<p:tagLst xmlns:a="http://schemas.openxmlformats.org/drawingml/2006/main" xmlns:r="http://schemas.openxmlformats.org/officeDocument/2006/relationships" xmlns:p="http://schemas.openxmlformats.org/presentationml/2006/main">
  <p:tag name="ISLEGEND" val="true"/>
</p:tagLst>
</file>

<file path=ppt/tags/tag343.xml><?xml version="1.0" encoding="utf-8"?>
<p:tagLst xmlns:a="http://schemas.openxmlformats.org/drawingml/2006/main" xmlns:r="http://schemas.openxmlformats.org/officeDocument/2006/relationships" xmlns:p="http://schemas.openxmlformats.org/presentationml/2006/main">
  <p:tag name="ISLEGEND" val="true"/>
</p:tagLst>
</file>

<file path=ppt/tags/tag344.xml><?xml version="1.0" encoding="utf-8"?>
<p:tagLst xmlns:a="http://schemas.openxmlformats.org/drawingml/2006/main" xmlns:r="http://schemas.openxmlformats.org/officeDocument/2006/relationships" xmlns:p="http://schemas.openxmlformats.org/presentationml/2006/main">
  <p:tag name="ISLEGEND" val="true"/>
</p:tagLst>
</file>

<file path=ppt/tags/tag345.xml><?xml version="1.0" encoding="utf-8"?>
<p:tagLst xmlns:a="http://schemas.openxmlformats.org/drawingml/2006/main" xmlns:r="http://schemas.openxmlformats.org/officeDocument/2006/relationships" xmlns:p="http://schemas.openxmlformats.org/presentationml/2006/main">
  <p:tag name="ISLEGEND" val="true"/>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8.xml><?xml version="1.0" encoding="utf-8"?>
<p:tagLst xmlns:a="http://schemas.openxmlformats.org/drawingml/2006/main" xmlns:r="http://schemas.openxmlformats.org/officeDocument/2006/relationships" xmlns:p="http://schemas.openxmlformats.org/presentationml/2006/main">
  <p:tag name="NAME" val="Logo"/>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NAME" val="Logo"/>
</p:tagLst>
</file>

<file path=ppt/tags/tag350.xml><?xml version="1.0" encoding="utf-8"?>
<p:tagLst xmlns:a="http://schemas.openxmlformats.org/drawingml/2006/main" xmlns:r="http://schemas.openxmlformats.org/officeDocument/2006/relationships" xmlns:p="http://schemas.openxmlformats.org/presentationml/2006/main">
  <p:tag name="NAME" val="Logo"/>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tdUVaNioeQEy1srSxzx_jYw"/>
</p:tagLst>
</file>

<file path=ppt/tags/tag354.xml><?xml version="1.0" encoding="utf-8"?>
<p:tagLst xmlns:a="http://schemas.openxmlformats.org/drawingml/2006/main" xmlns:r="http://schemas.openxmlformats.org/officeDocument/2006/relationships" xmlns:p="http://schemas.openxmlformats.org/presentationml/2006/main">
  <p:tag name="NAME" val="Moon"/>
</p:tagLst>
</file>

<file path=ppt/tags/tag355.xml><?xml version="1.0" encoding="utf-8"?>
<p:tagLst xmlns:a="http://schemas.openxmlformats.org/drawingml/2006/main" xmlns:r="http://schemas.openxmlformats.org/officeDocument/2006/relationships" xmlns:p="http://schemas.openxmlformats.org/presentationml/2006/main">
  <p:tag name="NAME" val="Moon"/>
</p:tagLst>
</file>

<file path=ppt/tags/tag356.xml><?xml version="1.0" encoding="utf-8"?>
<p:tagLst xmlns:a="http://schemas.openxmlformats.org/drawingml/2006/main" xmlns:r="http://schemas.openxmlformats.org/officeDocument/2006/relationships" xmlns:p="http://schemas.openxmlformats.org/presentationml/2006/main">
  <p:tag name="NAME" val="Moon"/>
</p:tagLst>
</file>

<file path=ppt/tags/tag357.xml><?xml version="1.0" encoding="utf-8"?>
<p:tagLst xmlns:a="http://schemas.openxmlformats.org/drawingml/2006/main" xmlns:r="http://schemas.openxmlformats.org/officeDocument/2006/relationships" xmlns:p="http://schemas.openxmlformats.org/presentationml/2006/main">
  <p:tag name="NAME" val="Moon"/>
</p:tagLst>
</file>

<file path=ppt/tags/tag358.xml><?xml version="1.0" encoding="utf-8"?>
<p:tagLst xmlns:a="http://schemas.openxmlformats.org/drawingml/2006/main" xmlns:r="http://schemas.openxmlformats.org/officeDocument/2006/relationships" xmlns:p="http://schemas.openxmlformats.org/presentationml/2006/main">
  <p:tag name="NAME" val="Moon"/>
</p:tagLst>
</file>

<file path=ppt/tags/tag359.xml><?xml version="1.0" encoding="utf-8"?>
<p:tagLst xmlns:a="http://schemas.openxmlformats.org/drawingml/2006/main" xmlns:r="http://schemas.openxmlformats.org/officeDocument/2006/relationships" xmlns:p="http://schemas.openxmlformats.org/presentationml/2006/main">
  <p:tag name="ISLEGEND" val="tru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0.xml><?xml version="1.0" encoding="utf-8"?>
<p:tagLst xmlns:a="http://schemas.openxmlformats.org/drawingml/2006/main" xmlns:r="http://schemas.openxmlformats.org/officeDocument/2006/relationships" xmlns:p="http://schemas.openxmlformats.org/presentationml/2006/main">
  <p:tag name="ISLEGEND" val="true"/>
</p:tagLst>
</file>

<file path=ppt/tags/tag361.xml><?xml version="1.0" encoding="utf-8"?>
<p:tagLst xmlns:a="http://schemas.openxmlformats.org/drawingml/2006/main" xmlns:r="http://schemas.openxmlformats.org/officeDocument/2006/relationships" xmlns:p="http://schemas.openxmlformats.org/presentationml/2006/main">
  <p:tag name="ISLEGEND" val="true"/>
</p:tagLst>
</file>

<file path=ppt/tags/tag362.xml><?xml version="1.0" encoding="utf-8"?>
<p:tagLst xmlns:a="http://schemas.openxmlformats.org/drawingml/2006/main" xmlns:r="http://schemas.openxmlformats.org/officeDocument/2006/relationships" xmlns:p="http://schemas.openxmlformats.org/presentationml/2006/main">
  <p:tag name="ISLEGEND" val="true"/>
</p:tagLst>
</file>

<file path=ppt/tags/tag363.xml><?xml version="1.0" encoding="utf-8"?>
<p:tagLst xmlns:a="http://schemas.openxmlformats.org/drawingml/2006/main" xmlns:r="http://schemas.openxmlformats.org/officeDocument/2006/relationships" xmlns:p="http://schemas.openxmlformats.org/presentationml/2006/main">
  <p:tag name="ISLEGEND" val="true"/>
</p:tagLst>
</file>

<file path=ppt/tags/tag364.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365.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366.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367.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368.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369.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0.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371.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372.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373.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374.xml><?xml version="1.0" encoding="utf-8"?>
<p:tagLst xmlns:a="http://schemas.openxmlformats.org/drawingml/2006/main" xmlns:r="http://schemas.openxmlformats.org/officeDocument/2006/relationships" xmlns:p="http://schemas.openxmlformats.org/presentationml/2006/main">
  <p:tag name="ISLEGEND" val="true"/>
</p:tagLst>
</file>

<file path=ppt/tags/tag375.xml><?xml version="1.0" encoding="utf-8"?>
<p:tagLst xmlns:a="http://schemas.openxmlformats.org/drawingml/2006/main" xmlns:r="http://schemas.openxmlformats.org/officeDocument/2006/relationships" xmlns:p="http://schemas.openxmlformats.org/presentationml/2006/main">
  <p:tag name="ISLEGEND" val="true"/>
</p:tagLst>
</file>

<file path=ppt/tags/tag376.xml><?xml version="1.0" encoding="utf-8"?>
<p:tagLst xmlns:a="http://schemas.openxmlformats.org/drawingml/2006/main" xmlns:r="http://schemas.openxmlformats.org/officeDocument/2006/relationships" xmlns:p="http://schemas.openxmlformats.org/presentationml/2006/main">
  <p:tag name="ISLEGEND" val="true"/>
</p:tagLst>
</file>

<file path=ppt/tags/tag377.xml><?xml version="1.0" encoding="utf-8"?>
<p:tagLst xmlns:a="http://schemas.openxmlformats.org/drawingml/2006/main" xmlns:r="http://schemas.openxmlformats.org/officeDocument/2006/relationships" xmlns:p="http://schemas.openxmlformats.org/presentationml/2006/main">
  <p:tag name="ISLEGEND" val="true"/>
</p:tagLst>
</file>

<file path=ppt/tags/tag378.xml><?xml version="1.0" encoding="utf-8"?>
<p:tagLst xmlns:a="http://schemas.openxmlformats.org/drawingml/2006/main" xmlns:r="http://schemas.openxmlformats.org/officeDocument/2006/relationships" xmlns:p="http://schemas.openxmlformats.org/presentationml/2006/main">
  <p:tag name="ISLEGEND" val="true"/>
</p:tagLst>
</file>

<file path=ppt/tags/tag379.xml><?xml version="1.0" encoding="utf-8"?>
<p:tagLst xmlns:a="http://schemas.openxmlformats.org/drawingml/2006/main" xmlns:r="http://schemas.openxmlformats.org/officeDocument/2006/relationships" xmlns:p="http://schemas.openxmlformats.org/presentationml/2006/main">
  <p:tag name="ISLEGEND" val="tru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dUVaNioeQEy1srSxzx_jYw"/>
</p:tagLst>
</file>

<file path=ppt/tags/tag380.xml><?xml version="1.0" encoding="utf-8"?>
<p:tagLst xmlns:a="http://schemas.openxmlformats.org/drawingml/2006/main" xmlns:r="http://schemas.openxmlformats.org/officeDocument/2006/relationships" xmlns:p="http://schemas.openxmlformats.org/presentationml/2006/main">
  <p:tag name="ISLEGEND" val="true"/>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3.xml><?xml version="1.0" encoding="utf-8"?>
<p:tagLst xmlns:a="http://schemas.openxmlformats.org/drawingml/2006/main" xmlns:r="http://schemas.openxmlformats.org/officeDocument/2006/relationships" xmlns:p="http://schemas.openxmlformats.org/presentationml/2006/main">
  <p:tag name="NAME" val="Logo"/>
</p:tagLst>
</file>

<file path=ppt/tags/tag3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5.xml><?xml version="1.0" encoding="utf-8"?>
<p:tagLst xmlns:a="http://schemas.openxmlformats.org/drawingml/2006/main" xmlns:r="http://schemas.openxmlformats.org/officeDocument/2006/relationships" xmlns:p="http://schemas.openxmlformats.org/presentationml/2006/main">
  <p:tag name="NAME" val="Logo"/>
</p:tagLst>
</file>

<file path=ppt/tags/tag3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8.xml><?xml version="1.0" encoding="utf-8"?>
<p:tagLst xmlns:a="http://schemas.openxmlformats.org/drawingml/2006/main" xmlns:r="http://schemas.openxmlformats.org/officeDocument/2006/relationships" xmlns:p="http://schemas.openxmlformats.org/presentationml/2006/main">
  <p:tag name="THINKCELLSHAPEDONOTDELETE" val="tdUVaNioeQEy1srSxzx_jYw"/>
</p:tagLst>
</file>

<file path=ppt/tags/tag389.xml><?xml version="1.0" encoding="utf-8"?>
<p:tagLst xmlns:a="http://schemas.openxmlformats.org/drawingml/2006/main" xmlns:r="http://schemas.openxmlformats.org/officeDocument/2006/relationships" xmlns:p="http://schemas.openxmlformats.org/presentationml/2006/main">
  <p:tag name="NAME" val="Moon"/>
</p:tagLst>
</file>

<file path=ppt/tags/tag39.xml><?xml version="1.0" encoding="utf-8"?>
<p:tagLst xmlns:a="http://schemas.openxmlformats.org/drawingml/2006/main" xmlns:r="http://schemas.openxmlformats.org/officeDocument/2006/relationships" xmlns:p="http://schemas.openxmlformats.org/presentationml/2006/main">
  <p:tag name="NAME" val="Moon"/>
</p:tagLst>
</file>

<file path=ppt/tags/tag390.xml><?xml version="1.0" encoding="utf-8"?>
<p:tagLst xmlns:a="http://schemas.openxmlformats.org/drawingml/2006/main" xmlns:r="http://schemas.openxmlformats.org/officeDocument/2006/relationships" xmlns:p="http://schemas.openxmlformats.org/presentationml/2006/main">
  <p:tag name="NAME" val="Moon"/>
</p:tagLst>
</file>

<file path=ppt/tags/tag391.xml><?xml version="1.0" encoding="utf-8"?>
<p:tagLst xmlns:a="http://schemas.openxmlformats.org/drawingml/2006/main" xmlns:r="http://schemas.openxmlformats.org/officeDocument/2006/relationships" xmlns:p="http://schemas.openxmlformats.org/presentationml/2006/main">
  <p:tag name="NAME" val="Moon"/>
</p:tagLst>
</file>

<file path=ppt/tags/tag392.xml><?xml version="1.0" encoding="utf-8"?>
<p:tagLst xmlns:a="http://schemas.openxmlformats.org/drawingml/2006/main" xmlns:r="http://schemas.openxmlformats.org/officeDocument/2006/relationships" xmlns:p="http://schemas.openxmlformats.org/presentationml/2006/main">
  <p:tag name="NAME" val="Moon"/>
</p:tagLst>
</file>

<file path=ppt/tags/tag393.xml><?xml version="1.0" encoding="utf-8"?>
<p:tagLst xmlns:a="http://schemas.openxmlformats.org/drawingml/2006/main" xmlns:r="http://schemas.openxmlformats.org/officeDocument/2006/relationships" xmlns:p="http://schemas.openxmlformats.org/presentationml/2006/main">
  <p:tag name="NAME" val="Moon"/>
</p:tagLst>
</file>

<file path=ppt/tags/tag394.xml><?xml version="1.0" encoding="utf-8"?>
<p:tagLst xmlns:a="http://schemas.openxmlformats.org/drawingml/2006/main" xmlns:r="http://schemas.openxmlformats.org/officeDocument/2006/relationships" xmlns:p="http://schemas.openxmlformats.org/presentationml/2006/main">
  <p:tag name="ISLEGEND" val="true"/>
</p:tagLst>
</file>

<file path=ppt/tags/tag395.xml><?xml version="1.0" encoding="utf-8"?>
<p:tagLst xmlns:a="http://schemas.openxmlformats.org/drawingml/2006/main" xmlns:r="http://schemas.openxmlformats.org/officeDocument/2006/relationships" xmlns:p="http://schemas.openxmlformats.org/presentationml/2006/main">
  <p:tag name="ISLEGEND" val="true"/>
</p:tagLst>
</file>

<file path=ppt/tags/tag396.xml><?xml version="1.0" encoding="utf-8"?>
<p:tagLst xmlns:a="http://schemas.openxmlformats.org/drawingml/2006/main" xmlns:r="http://schemas.openxmlformats.org/officeDocument/2006/relationships" xmlns:p="http://schemas.openxmlformats.org/presentationml/2006/main">
  <p:tag name="ISLEGEND" val="true"/>
</p:tagLst>
</file>

<file path=ppt/tags/tag397.xml><?xml version="1.0" encoding="utf-8"?>
<p:tagLst xmlns:a="http://schemas.openxmlformats.org/drawingml/2006/main" xmlns:r="http://schemas.openxmlformats.org/officeDocument/2006/relationships" xmlns:p="http://schemas.openxmlformats.org/presentationml/2006/main">
  <p:tag name="ISLEGEND" val="true"/>
</p:tagLst>
</file>

<file path=ppt/tags/tag398.xml><?xml version="1.0" encoding="utf-8"?>
<p:tagLst xmlns:a="http://schemas.openxmlformats.org/drawingml/2006/main" xmlns:r="http://schemas.openxmlformats.org/officeDocument/2006/relationships" xmlns:p="http://schemas.openxmlformats.org/presentationml/2006/main">
  <p:tag name="ISLEGEND" val="true"/>
</p:tagLst>
</file>

<file path=ppt/tags/tag399.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4.xml><?xml version="1.0" encoding="utf-8"?>
<p:tagLst xmlns:a="http://schemas.openxmlformats.org/drawingml/2006/main" xmlns:r="http://schemas.openxmlformats.org/officeDocument/2006/relationships" xmlns:p="http://schemas.openxmlformats.org/presentationml/2006/main">
  <p:tag name="NAME" val="Moon"/>
</p:tagLst>
</file>

<file path=ppt/tags/tag40.xml><?xml version="1.0" encoding="utf-8"?>
<p:tagLst xmlns:a="http://schemas.openxmlformats.org/drawingml/2006/main" xmlns:r="http://schemas.openxmlformats.org/officeDocument/2006/relationships" xmlns:p="http://schemas.openxmlformats.org/presentationml/2006/main">
  <p:tag name="NAME" val="Moon"/>
</p:tagLst>
</file>

<file path=ppt/tags/tag400.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401.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402.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403.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404.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405.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406.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407.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408.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409.xml><?xml version="1.0" encoding="utf-8"?>
<p:tagLst xmlns:a="http://schemas.openxmlformats.org/drawingml/2006/main" xmlns:r="http://schemas.openxmlformats.org/officeDocument/2006/relationships" xmlns:p="http://schemas.openxmlformats.org/presentationml/2006/main">
  <p:tag name="ISLEGEND" val="true"/>
</p:tagLst>
</file>

<file path=ppt/tags/tag41.xml><?xml version="1.0" encoding="utf-8"?>
<p:tagLst xmlns:a="http://schemas.openxmlformats.org/drawingml/2006/main" xmlns:r="http://schemas.openxmlformats.org/officeDocument/2006/relationships" xmlns:p="http://schemas.openxmlformats.org/presentationml/2006/main">
  <p:tag name="NAME" val="Moon"/>
</p:tagLst>
</file>

<file path=ppt/tags/tag410.xml><?xml version="1.0" encoding="utf-8"?>
<p:tagLst xmlns:a="http://schemas.openxmlformats.org/drawingml/2006/main" xmlns:r="http://schemas.openxmlformats.org/officeDocument/2006/relationships" xmlns:p="http://schemas.openxmlformats.org/presentationml/2006/main">
  <p:tag name="ISLEGEND" val="true"/>
</p:tagLst>
</file>

<file path=ppt/tags/tag411.xml><?xml version="1.0" encoding="utf-8"?>
<p:tagLst xmlns:a="http://schemas.openxmlformats.org/drawingml/2006/main" xmlns:r="http://schemas.openxmlformats.org/officeDocument/2006/relationships" xmlns:p="http://schemas.openxmlformats.org/presentationml/2006/main">
  <p:tag name="ISLEGEND" val="true"/>
</p:tagLst>
</file>

<file path=ppt/tags/tag412.xml><?xml version="1.0" encoding="utf-8"?>
<p:tagLst xmlns:a="http://schemas.openxmlformats.org/drawingml/2006/main" xmlns:r="http://schemas.openxmlformats.org/officeDocument/2006/relationships" xmlns:p="http://schemas.openxmlformats.org/presentationml/2006/main">
  <p:tag name="ISLEGEND" val="true"/>
</p:tagLst>
</file>

<file path=ppt/tags/tag413.xml><?xml version="1.0" encoding="utf-8"?>
<p:tagLst xmlns:a="http://schemas.openxmlformats.org/drawingml/2006/main" xmlns:r="http://schemas.openxmlformats.org/officeDocument/2006/relationships" xmlns:p="http://schemas.openxmlformats.org/presentationml/2006/main">
  <p:tag name="ISLEGEND" val="true"/>
</p:tagLst>
</file>

<file path=ppt/tags/tag414.xml><?xml version="1.0" encoding="utf-8"?>
<p:tagLst xmlns:a="http://schemas.openxmlformats.org/drawingml/2006/main" xmlns:r="http://schemas.openxmlformats.org/officeDocument/2006/relationships" xmlns:p="http://schemas.openxmlformats.org/presentationml/2006/main">
  <p:tag name="ISLEGEND" val="true"/>
</p:tagLst>
</file>

<file path=ppt/tags/tag415.xml><?xml version="1.0" encoding="utf-8"?>
<p:tagLst xmlns:a="http://schemas.openxmlformats.org/drawingml/2006/main" xmlns:r="http://schemas.openxmlformats.org/officeDocument/2006/relationships" xmlns:p="http://schemas.openxmlformats.org/presentationml/2006/main">
  <p:tag name="ISLEGEND" val="true"/>
</p:tagLst>
</file>

<file path=ppt/tags/tag4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8.xml><?xml version="1.0" encoding="utf-8"?>
<p:tagLst xmlns:a="http://schemas.openxmlformats.org/drawingml/2006/main" xmlns:r="http://schemas.openxmlformats.org/officeDocument/2006/relationships" xmlns:p="http://schemas.openxmlformats.org/presentationml/2006/main">
  <p:tag name="NAME" val="Logo"/>
</p:tagLst>
</file>

<file path=ppt/tags/tag4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NAME" val="Moon"/>
</p:tagLst>
</file>

<file path=ppt/tags/tag420.xml><?xml version="1.0" encoding="utf-8"?>
<p:tagLst xmlns:a="http://schemas.openxmlformats.org/drawingml/2006/main" xmlns:r="http://schemas.openxmlformats.org/officeDocument/2006/relationships" xmlns:p="http://schemas.openxmlformats.org/presentationml/2006/main">
  <p:tag name="NAME" val="Logo"/>
</p:tagLst>
</file>

<file path=ppt/tags/tag4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3.xml><?xml version="1.0" encoding="utf-8"?>
<p:tagLst xmlns:a="http://schemas.openxmlformats.org/drawingml/2006/main" xmlns:r="http://schemas.openxmlformats.org/officeDocument/2006/relationships" xmlns:p="http://schemas.openxmlformats.org/presentationml/2006/main">
  <p:tag name="THINKCELLSHAPEDONOTDELETE" val="tdUVaNioeQEy1srSxzx_jYw"/>
</p:tagLst>
</file>

<file path=ppt/tags/tag424.xml><?xml version="1.0" encoding="utf-8"?>
<p:tagLst xmlns:a="http://schemas.openxmlformats.org/drawingml/2006/main" xmlns:r="http://schemas.openxmlformats.org/officeDocument/2006/relationships" xmlns:p="http://schemas.openxmlformats.org/presentationml/2006/main">
  <p:tag name="NAME" val="Moon"/>
</p:tagLst>
</file>

<file path=ppt/tags/tag425.xml><?xml version="1.0" encoding="utf-8"?>
<p:tagLst xmlns:a="http://schemas.openxmlformats.org/drawingml/2006/main" xmlns:r="http://schemas.openxmlformats.org/officeDocument/2006/relationships" xmlns:p="http://schemas.openxmlformats.org/presentationml/2006/main">
  <p:tag name="NAME" val="Moon"/>
</p:tagLst>
</file>

<file path=ppt/tags/tag426.xml><?xml version="1.0" encoding="utf-8"?>
<p:tagLst xmlns:a="http://schemas.openxmlformats.org/drawingml/2006/main" xmlns:r="http://schemas.openxmlformats.org/officeDocument/2006/relationships" xmlns:p="http://schemas.openxmlformats.org/presentationml/2006/main">
  <p:tag name="NAME" val="Moon"/>
</p:tagLst>
</file>

<file path=ppt/tags/tag427.xml><?xml version="1.0" encoding="utf-8"?>
<p:tagLst xmlns:a="http://schemas.openxmlformats.org/drawingml/2006/main" xmlns:r="http://schemas.openxmlformats.org/officeDocument/2006/relationships" xmlns:p="http://schemas.openxmlformats.org/presentationml/2006/main">
  <p:tag name="NAME" val="Moon"/>
</p:tagLst>
</file>

<file path=ppt/tags/tag428.xml><?xml version="1.0" encoding="utf-8"?>
<p:tagLst xmlns:a="http://schemas.openxmlformats.org/drawingml/2006/main" xmlns:r="http://schemas.openxmlformats.org/officeDocument/2006/relationships" xmlns:p="http://schemas.openxmlformats.org/presentationml/2006/main">
  <p:tag name="NAME" val="Moon"/>
</p:tagLst>
</file>

<file path=ppt/tags/tag429.xml><?xml version="1.0" encoding="utf-8"?>
<p:tagLst xmlns:a="http://schemas.openxmlformats.org/drawingml/2006/main" xmlns:r="http://schemas.openxmlformats.org/officeDocument/2006/relationships" xmlns:p="http://schemas.openxmlformats.org/presentationml/2006/main">
  <p:tag name="ISLEGEND" val="true"/>
</p:tagLst>
</file>

<file path=ppt/tags/tag43.xml><?xml version="1.0" encoding="utf-8"?>
<p:tagLst xmlns:a="http://schemas.openxmlformats.org/drawingml/2006/main" xmlns:r="http://schemas.openxmlformats.org/officeDocument/2006/relationships" xmlns:p="http://schemas.openxmlformats.org/presentationml/2006/main">
  <p:tag name="NAME" val="Moon"/>
</p:tagLst>
</file>

<file path=ppt/tags/tag430.xml><?xml version="1.0" encoding="utf-8"?>
<p:tagLst xmlns:a="http://schemas.openxmlformats.org/drawingml/2006/main" xmlns:r="http://schemas.openxmlformats.org/officeDocument/2006/relationships" xmlns:p="http://schemas.openxmlformats.org/presentationml/2006/main">
  <p:tag name="ISLEGEND" val="true"/>
</p:tagLst>
</file>

<file path=ppt/tags/tag431.xml><?xml version="1.0" encoding="utf-8"?>
<p:tagLst xmlns:a="http://schemas.openxmlformats.org/drawingml/2006/main" xmlns:r="http://schemas.openxmlformats.org/officeDocument/2006/relationships" xmlns:p="http://schemas.openxmlformats.org/presentationml/2006/main">
  <p:tag name="ISLEGEND" val="true"/>
</p:tagLst>
</file>

<file path=ppt/tags/tag432.xml><?xml version="1.0" encoding="utf-8"?>
<p:tagLst xmlns:a="http://schemas.openxmlformats.org/drawingml/2006/main" xmlns:r="http://schemas.openxmlformats.org/officeDocument/2006/relationships" xmlns:p="http://schemas.openxmlformats.org/presentationml/2006/main">
  <p:tag name="ISLEGEND" val="true"/>
</p:tagLst>
</file>

<file path=ppt/tags/tag433.xml><?xml version="1.0" encoding="utf-8"?>
<p:tagLst xmlns:a="http://schemas.openxmlformats.org/drawingml/2006/main" xmlns:r="http://schemas.openxmlformats.org/officeDocument/2006/relationships" xmlns:p="http://schemas.openxmlformats.org/presentationml/2006/main">
  <p:tag name="ISLEGEND" val="true"/>
</p:tagLst>
</file>

<file path=ppt/tags/tag434.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435.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436.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437.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438.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439.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44.xml><?xml version="1.0" encoding="utf-8"?>
<p:tagLst xmlns:a="http://schemas.openxmlformats.org/drawingml/2006/main" xmlns:r="http://schemas.openxmlformats.org/officeDocument/2006/relationships" xmlns:p="http://schemas.openxmlformats.org/presentationml/2006/main">
  <p:tag name="ISLEGEND" val="true"/>
</p:tagLst>
</file>

<file path=ppt/tags/tag440.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441.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442.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443.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444.xml><?xml version="1.0" encoding="utf-8"?>
<p:tagLst xmlns:a="http://schemas.openxmlformats.org/drawingml/2006/main" xmlns:r="http://schemas.openxmlformats.org/officeDocument/2006/relationships" xmlns:p="http://schemas.openxmlformats.org/presentationml/2006/main">
  <p:tag name="ISLEGEND" val="true"/>
</p:tagLst>
</file>

<file path=ppt/tags/tag445.xml><?xml version="1.0" encoding="utf-8"?>
<p:tagLst xmlns:a="http://schemas.openxmlformats.org/drawingml/2006/main" xmlns:r="http://schemas.openxmlformats.org/officeDocument/2006/relationships" xmlns:p="http://schemas.openxmlformats.org/presentationml/2006/main">
  <p:tag name="ISLEGEND" val="true"/>
</p:tagLst>
</file>

<file path=ppt/tags/tag446.xml><?xml version="1.0" encoding="utf-8"?>
<p:tagLst xmlns:a="http://schemas.openxmlformats.org/drawingml/2006/main" xmlns:r="http://schemas.openxmlformats.org/officeDocument/2006/relationships" xmlns:p="http://schemas.openxmlformats.org/presentationml/2006/main">
  <p:tag name="ISLEGEND" val="true"/>
</p:tagLst>
</file>

<file path=ppt/tags/tag447.xml><?xml version="1.0" encoding="utf-8"?>
<p:tagLst xmlns:a="http://schemas.openxmlformats.org/drawingml/2006/main" xmlns:r="http://schemas.openxmlformats.org/officeDocument/2006/relationships" xmlns:p="http://schemas.openxmlformats.org/presentationml/2006/main">
  <p:tag name="ISLEGEND" val="true"/>
</p:tagLst>
</file>

<file path=ppt/tags/tag448.xml><?xml version="1.0" encoding="utf-8"?>
<p:tagLst xmlns:a="http://schemas.openxmlformats.org/drawingml/2006/main" xmlns:r="http://schemas.openxmlformats.org/officeDocument/2006/relationships" xmlns:p="http://schemas.openxmlformats.org/presentationml/2006/main">
  <p:tag name="ISLEGEND" val="true"/>
</p:tagLst>
</file>

<file path=ppt/tags/tag449.xml><?xml version="1.0" encoding="utf-8"?>
<p:tagLst xmlns:a="http://schemas.openxmlformats.org/drawingml/2006/main" xmlns:r="http://schemas.openxmlformats.org/officeDocument/2006/relationships" xmlns:p="http://schemas.openxmlformats.org/presentationml/2006/main">
  <p:tag name="ISLEGEND" val="true"/>
</p:tagLst>
</file>

<file path=ppt/tags/tag45.xml><?xml version="1.0" encoding="utf-8"?>
<p:tagLst xmlns:a="http://schemas.openxmlformats.org/drawingml/2006/main" xmlns:r="http://schemas.openxmlformats.org/officeDocument/2006/relationships" xmlns:p="http://schemas.openxmlformats.org/presentationml/2006/main">
  <p:tag name="ISLEGEND" val="true"/>
</p:tagLst>
</file>

<file path=ppt/tags/tag450.xml><?xml version="1.0" encoding="utf-8"?>
<p:tagLst xmlns:a="http://schemas.openxmlformats.org/drawingml/2006/main" xmlns:r="http://schemas.openxmlformats.org/officeDocument/2006/relationships" xmlns:p="http://schemas.openxmlformats.org/presentationml/2006/main">
  <p:tag name="ISLEGEND" val="true"/>
</p:tagLst>
</file>

<file path=ppt/tags/tag4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3.xml><?xml version="1.0" encoding="utf-8"?>
<p:tagLst xmlns:a="http://schemas.openxmlformats.org/drawingml/2006/main" xmlns:r="http://schemas.openxmlformats.org/officeDocument/2006/relationships" xmlns:p="http://schemas.openxmlformats.org/presentationml/2006/main">
  <p:tag name="NAME" val="Logo"/>
</p:tagLst>
</file>

<file path=ppt/tags/tag4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5.xml><?xml version="1.0" encoding="utf-8"?>
<p:tagLst xmlns:a="http://schemas.openxmlformats.org/drawingml/2006/main" xmlns:r="http://schemas.openxmlformats.org/officeDocument/2006/relationships" xmlns:p="http://schemas.openxmlformats.org/presentationml/2006/main">
  <p:tag name="NAME" val="Logo"/>
</p:tagLst>
</file>

<file path=ppt/tags/tag4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8.xml><?xml version="1.0" encoding="utf-8"?>
<p:tagLst xmlns:a="http://schemas.openxmlformats.org/drawingml/2006/main" xmlns:r="http://schemas.openxmlformats.org/officeDocument/2006/relationships" xmlns:p="http://schemas.openxmlformats.org/presentationml/2006/main">
  <p:tag name="THINKCELLSHAPEDONOTDELETE" val="tdUVaNioeQEy1srSxzx_jYw"/>
</p:tagLst>
</file>

<file path=ppt/tags/tag459.xml><?xml version="1.0" encoding="utf-8"?>
<p:tagLst xmlns:a="http://schemas.openxmlformats.org/drawingml/2006/main" xmlns:r="http://schemas.openxmlformats.org/officeDocument/2006/relationships" xmlns:p="http://schemas.openxmlformats.org/presentationml/2006/main">
  <p:tag name="NAME" val="Moon"/>
</p:tagLst>
</file>

<file path=ppt/tags/tag46.xml><?xml version="1.0" encoding="utf-8"?>
<p:tagLst xmlns:a="http://schemas.openxmlformats.org/drawingml/2006/main" xmlns:r="http://schemas.openxmlformats.org/officeDocument/2006/relationships" xmlns:p="http://schemas.openxmlformats.org/presentationml/2006/main">
  <p:tag name="ISLEGEND" val="true"/>
</p:tagLst>
</file>

<file path=ppt/tags/tag460.xml><?xml version="1.0" encoding="utf-8"?>
<p:tagLst xmlns:a="http://schemas.openxmlformats.org/drawingml/2006/main" xmlns:r="http://schemas.openxmlformats.org/officeDocument/2006/relationships" xmlns:p="http://schemas.openxmlformats.org/presentationml/2006/main">
  <p:tag name="NAME" val="Moon"/>
</p:tagLst>
</file>

<file path=ppt/tags/tag461.xml><?xml version="1.0" encoding="utf-8"?>
<p:tagLst xmlns:a="http://schemas.openxmlformats.org/drawingml/2006/main" xmlns:r="http://schemas.openxmlformats.org/officeDocument/2006/relationships" xmlns:p="http://schemas.openxmlformats.org/presentationml/2006/main">
  <p:tag name="NAME" val="Moon"/>
</p:tagLst>
</file>

<file path=ppt/tags/tag462.xml><?xml version="1.0" encoding="utf-8"?>
<p:tagLst xmlns:a="http://schemas.openxmlformats.org/drawingml/2006/main" xmlns:r="http://schemas.openxmlformats.org/officeDocument/2006/relationships" xmlns:p="http://schemas.openxmlformats.org/presentationml/2006/main">
  <p:tag name="NAME" val="Moon"/>
</p:tagLst>
</file>

<file path=ppt/tags/tag463.xml><?xml version="1.0" encoding="utf-8"?>
<p:tagLst xmlns:a="http://schemas.openxmlformats.org/drawingml/2006/main" xmlns:r="http://schemas.openxmlformats.org/officeDocument/2006/relationships" xmlns:p="http://schemas.openxmlformats.org/presentationml/2006/main">
  <p:tag name="NAME" val="Moon"/>
</p:tagLst>
</file>

<file path=ppt/tags/tag464.xml><?xml version="1.0" encoding="utf-8"?>
<p:tagLst xmlns:a="http://schemas.openxmlformats.org/drawingml/2006/main" xmlns:r="http://schemas.openxmlformats.org/officeDocument/2006/relationships" xmlns:p="http://schemas.openxmlformats.org/presentationml/2006/main">
  <p:tag name="ISLEGEND" val="true"/>
</p:tagLst>
</file>

<file path=ppt/tags/tag465.xml><?xml version="1.0" encoding="utf-8"?>
<p:tagLst xmlns:a="http://schemas.openxmlformats.org/drawingml/2006/main" xmlns:r="http://schemas.openxmlformats.org/officeDocument/2006/relationships" xmlns:p="http://schemas.openxmlformats.org/presentationml/2006/main">
  <p:tag name="ISLEGEND" val="true"/>
</p:tagLst>
</file>

<file path=ppt/tags/tag466.xml><?xml version="1.0" encoding="utf-8"?>
<p:tagLst xmlns:a="http://schemas.openxmlformats.org/drawingml/2006/main" xmlns:r="http://schemas.openxmlformats.org/officeDocument/2006/relationships" xmlns:p="http://schemas.openxmlformats.org/presentationml/2006/main">
  <p:tag name="ISLEGEND" val="true"/>
</p:tagLst>
</file>

<file path=ppt/tags/tag467.xml><?xml version="1.0" encoding="utf-8"?>
<p:tagLst xmlns:a="http://schemas.openxmlformats.org/drawingml/2006/main" xmlns:r="http://schemas.openxmlformats.org/officeDocument/2006/relationships" xmlns:p="http://schemas.openxmlformats.org/presentationml/2006/main">
  <p:tag name="ISLEGEND" val="true"/>
</p:tagLst>
</file>

<file path=ppt/tags/tag468.xml><?xml version="1.0" encoding="utf-8"?>
<p:tagLst xmlns:a="http://schemas.openxmlformats.org/drawingml/2006/main" xmlns:r="http://schemas.openxmlformats.org/officeDocument/2006/relationships" xmlns:p="http://schemas.openxmlformats.org/presentationml/2006/main">
  <p:tag name="ISLEGEND" val="true"/>
</p:tagLst>
</file>

<file path=ppt/tags/tag469.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47.xml><?xml version="1.0" encoding="utf-8"?>
<p:tagLst xmlns:a="http://schemas.openxmlformats.org/drawingml/2006/main" xmlns:r="http://schemas.openxmlformats.org/officeDocument/2006/relationships" xmlns:p="http://schemas.openxmlformats.org/presentationml/2006/main">
  <p:tag name="ISLEGEND" val="true"/>
</p:tagLst>
</file>

<file path=ppt/tags/tag470.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471.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472.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473.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474.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475.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476.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477.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478.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479.xml><?xml version="1.0" encoding="utf-8"?>
<p:tagLst xmlns:a="http://schemas.openxmlformats.org/drawingml/2006/main" xmlns:r="http://schemas.openxmlformats.org/officeDocument/2006/relationships" xmlns:p="http://schemas.openxmlformats.org/presentationml/2006/main">
  <p:tag name="ISLEGEND" val="true"/>
</p:tagLst>
</file>

<file path=ppt/tags/tag48.xml><?xml version="1.0" encoding="utf-8"?>
<p:tagLst xmlns:a="http://schemas.openxmlformats.org/drawingml/2006/main" xmlns:r="http://schemas.openxmlformats.org/officeDocument/2006/relationships" xmlns:p="http://schemas.openxmlformats.org/presentationml/2006/main">
  <p:tag name="ISLEGEND" val="true"/>
</p:tagLst>
</file>

<file path=ppt/tags/tag480.xml><?xml version="1.0" encoding="utf-8"?>
<p:tagLst xmlns:a="http://schemas.openxmlformats.org/drawingml/2006/main" xmlns:r="http://schemas.openxmlformats.org/officeDocument/2006/relationships" xmlns:p="http://schemas.openxmlformats.org/presentationml/2006/main">
  <p:tag name="ISLEGEND" val="true"/>
</p:tagLst>
</file>

<file path=ppt/tags/tag481.xml><?xml version="1.0" encoding="utf-8"?>
<p:tagLst xmlns:a="http://schemas.openxmlformats.org/drawingml/2006/main" xmlns:r="http://schemas.openxmlformats.org/officeDocument/2006/relationships" xmlns:p="http://schemas.openxmlformats.org/presentationml/2006/main">
  <p:tag name="ISLEGEND" val="true"/>
</p:tagLst>
</file>

<file path=ppt/tags/tag482.xml><?xml version="1.0" encoding="utf-8"?>
<p:tagLst xmlns:a="http://schemas.openxmlformats.org/drawingml/2006/main" xmlns:r="http://schemas.openxmlformats.org/officeDocument/2006/relationships" xmlns:p="http://schemas.openxmlformats.org/presentationml/2006/main">
  <p:tag name="ISLEGEND" val="true"/>
</p:tagLst>
</file>

<file path=ppt/tags/tag483.xml><?xml version="1.0" encoding="utf-8"?>
<p:tagLst xmlns:a="http://schemas.openxmlformats.org/drawingml/2006/main" xmlns:r="http://schemas.openxmlformats.org/officeDocument/2006/relationships" xmlns:p="http://schemas.openxmlformats.org/presentationml/2006/main">
  <p:tag name="ISLEGEND" val="true"/>
</p:tagLst>
</file>

<file path=ppt/tags/tag484.xml><?xml version="1.0" encoding="utf-8"?>
<p:tagLst xmlns:a="http://schemas.openxmlformats.org/drawingml/2006/main" xmlns:r="http://schemas.openxmlformats.org/officeDocument/2006/relationships" xmlns:p="http://schemas.openxmlformats.org/presentationml/2006/main">
  <p:tag name="ISLEGEND" val="true"/>
</p:tagLst>
</file>

<file path=ppt/tags/tag485.xml><?xml version="1.0" encoding="utf-8"?>
<p:tagLst xmlns:a="http://schemas.openxmlformats.org/drawingml/2006/main" xmlns:r="http://schemas.openxmlformats.org/officeDocument/2006/relationships" xmlns:p="http://schemas.openxmlformats.org/presentationml/2006/main">
  <p:tag name="ISLEGEND" val="true"/>
</p:tagLst>
</file>

<file path=ppt/tags/tag4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8.xml><?xml version="1.0" encoding="utf-8"?>
<p:tagLst xmlns:a="http://schemas.openxmlformats.org/drawingml/2006/main" xmlns:r="http://schemas.openxmlformats.org/officeDocument/2006/relationships" xmlns:p="http://schemas.openxmlformats.org/presentationml/2006/main">
  <p:tag name="NAME" val="Logo"/>
</p:tagLst>
</file>

<file path=ppt/tags/tag4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490.xml><?xml version="1.0" encoding="utf-8"?>
<p:tagLst xmlns:a="http://schemas.openxmlformats.org/drawingml/2006/main" xmlns:r="http://schemas.openxmlformats.org/officeDocument/2006/relationships" xmlns:p="http://schemas.openxmlformats.org/presentationml/2006/main">
  <p:tag name="NAME" val="Logo"/>
</p:tagLst>
</file>

<file path=ppt/tags/tag4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3.xml><?xml version="1.0" encoding="utf-8"?>
<p:tagLst xmlns:a="http://schemas.openxmlformats.org/drawingml/2006/main" xmlns:r="http://schemas.openxmlformats.org/officeDocument/2006/relationships" xmlns:p="http://schemas.openxmlformats.org/presentationml/2006/main">
  <p:tag name="THINKCELLSHAPEDONOTDELETE" val="tdUVaNioeQEy1srSxzx_jYw"/>
</p:tagLst>
</file>

<file path=ppt/tags/tag494.xml><?xml version="1.0" encoding="utf-8"?>
<p:tagLst xmlns:a="http://schemas.openxmlformats.org/drawingml/2006/main" xmlns:r="http://schemas.openxmlformats.org/officeDocument/2006/relationships" xmlns:p="http://schemas.openxmlformats.org/presentationml/2006/main">
  <p:tag name="NAME" val="Moon"/>
</p:tagLst>
</file>

<file path=ppt/tags/tag495.xml><?xml version="1.0" encoding="utf-8"?>
<p:tagLst xmlns:a="http://schemas.openxmlformats.org/drawingml/2006/main" xmlns:r="http://schemas.openxmlformats.org/officeDocument/2006/relationships" xmlns:p="http://schemas.openxmlformats.org/presentationml/2006/main">
  <p:tag name="NAME" val="Moon"/>
</p:tagLst>
</file>

<file path=ppt/tags/tag496.xml><?xml version="1.0" encoding="utf-8"?>
<p:tagLst xmlns:a="http://schemas.openxmlformats.org/drawingml/2006/main" xmlns:r="http://schemas.openxmlformats.org/officeDocument/2006/relationships" xmlns:p="http://schemas.openxmlformats.org/presentationml/2006/main">
  <p:tag name="NAME" val="Moon"/>
</p:tagLst>
</file>

<file path=ppt/tags/tag497.xml><?xml version="1.0" encoding="utf-8"?>
<p:tagLst xmlns:a="http://schemas.openxmlformats.org/drawingml/2006/main" xmlns:r="http://schemas.openxmlformats.org/officeDocument/2006/relationships" xmlns:p="http://schemas.openxmlformats.org/presentationml/2006/main">
  <p:tag name="NAME" val="Moon"/>
</p:tagLst>
</file>

<file path=ppt/tags/tag498.xml><?xml version="1.0" encoding="utf-8"?>
<p:tagLst xmlns:a="http://schemas.openxmlformats.org/drawingml/2006/main" xmlns:r="http://schemas.openxmlformats.org/officeDocument/2006/relationships" xmlns:p="http://schemas.openxmlformats.org/presentationml/2006/main">
  <p:tag name="NAME" val="Moon"/>
</p:tagLst>
</file>

<file path=ppt/tags/tag499.xml><?xml version="1.0" encoding="utf-8"?>
<p:tagLst xmlns:a="http://schemas.openxmlformats.org/drawingml/2006/main" xmlns:r="http://schemas.openxmlformats.org/officeDocument/2006/relationships" xmlns:p="http://schemas.openxmlformats.org/presentationml/2006/main">
  <p:tag name="ISLEGEND" val="true"/>
</p:tagLst>
</file>

<file path=ppt/tags/tag5.xml><?xml version="1.0" encoding="utf-8"?>
<p:tagLst xmlns:a="http://schemas.openxmlformats.org/drawingml/2006/main" xmlns:r="http://schemas.openxmlformats.org/officeDocument/2006/relationships" xmlns:p="http://schemas.openxmlformats.org/presentationml/2006/main">
  <p:tag name="NAME" val="Moon"/>
</p:tagLst>
</file>

<file path=ppt/tags/tag50.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500.xml><?xml version="1.0" encoding="utf-8"?>
<p:tagLst xmlns:a="http://schemas.openxmlformats.org/drawingml/2006/main" xmlns:r="http://schemas.openxmlformats.org/officeDocument/2006/relationships" xmlns:p="http://schemas.openxmlformats.org/presentationml/2006/main">
  <p:tag name="ISLEGEND" val="true"/>
</p:tagLst>
</file>

<file path=ppt/tags/tag501.xml><?xml version="1.0" encoding="utf-8"?>
<p:tagLst xmlns:a="http://schemas.openxmlformats.org/drawingml/2006/main" xmlns:r="http://schemas.openxmlformats.org/officeDocument/2006/relationships" xmlns:p="http://schemas.openxmlformats.org/presentationml/2006/main">
  <p:tag name="ISLEGEND" val="true"/>
</p:tagLst>
</file>

<file path=ppt/tags/tag502.xml><?xml version="1.0" encoding="utf-8"?>
<p:tagLst xmlns:a="http://schemas.openxmlformats.org/drawingml/2006/main" xmlns:r="http://schemas.openxmlformats.org/officeDocument/2006/relationships" xmlns:p="http://schemas.openxmlformats.org/presentationml/2006/main">
  <p:tag name="ISLEGEND" val="true"/>
</p:tagLst>
</file>

<file path=ppt/tags/tag503.xml><?xml version="1.0" encoding="utf-8"?>
<p:tagLst xmlns:a="http://schemas.openxmlformats.org/drawingml/2006/main" xmlns:r="http://schemas.openxmlformats.org/officeDocument/2006/relationships" xmlns:p="http://schemas.openxmlformats.org/presentationml/2006/main">
  <p:tag name="ISLEGEND" val="true"/>
</p:tagLst>
</file>

<file path=ppt/tags/tag504.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505.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506.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507.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508.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509.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51.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510.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511.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512.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513.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514.xml><?xml version="1.0" encoding="utf-8"?>
<p:tagLst xmlns:a="http://schemas.openxmlformats.org/drawingml/2006/main" xmlns:r="http://schemas.openxmlformats.org/officeDocument/2006/relationships" xmlns:p="http://schemas.openxmlformats.org/presentationml/2006/main">
  <p:tag name="ISLEGEND" val="true"/>
</p:tagLst>
</file>

<file path=ppt/tags/tag515.xml><?xml version="1.0" encoding="utf-8"?>
<p:tagLst xmlns:a="http://schemas.openxmlformats.org/drawingml/2006/main" xmlns:r="http://schemas.openxmlformats.org/officeDocument/2006/relationships" xmlns:p="http://schemas.openxmlformats.org/presentationml/2006/main">
  <p:tag name="ISLEGEND" val="true"/>
</p:tagLst>
</file>

<file path=ppt/tags/tag516.xml><?xml version="1.0" encoding="utf-8"?>
<p:tagLst xmlns:a="http://schemas.openxmlformats.org/drawingml/2006/main" xmlns:r="http://schemas.openxmlformats.org/officeDocument/2006/relationships" xmlns:p="http://schemas.openxmlformats.org/presentationml/2006/main">
  <p:tag name="ISLEGEND" val="true"/>
</p:tagLst>
</file>

<file path=ppt/tags/tag517.xml><?xml version="1.0" encoding="utf-8"?>
<p:tagLst xmlns:a="http://schemas.openxmlformats.org/drawingml/2006/main" xmlns:r="http://schemas.openxmlformats.org/officeDocument/2006/relationships" xmlns:p="http://schemas.openxmlformats.org/presentationml/2006/main">
  <p:tag name="ISLEGEND" val="true"/>
</p:tagLst>
</file>

<file path=ppt/tags/tag518.xml><?xml version="1.0" encoding="utf-8"?>
<p:tagLst xmlns:a="http://schemas.openxmlformats.org/drawingml/2006/main" xmlns:r="http://schemas.openxmlformats.org/officeDocument/2006/relationships" xmlns:p="http://schemas.openxmlformats.org/presentationml/2006/main">
  <p:tag name="ISLEGEND" val="true"/>
</p:tagLst>
</file>

<file path=ppt/tags/tag519.xml><?xml version="1.0" encoding="utf-8"?>
<p:tagLst xmlns:a="http://schemas.openxmlformats.org/drawingml/2006/main" xmlns:r="http://schemas.openxmlformats.org/officeDocument/2006/relationships" xmlns:p="http://schemas.openxmlformats.org/presentationml/2006/main">
  <p:tag name="ISLEGEND" val="true"/>
</p:tagLst>
</file>

<file path=ppt/tags/tag52.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520.xml><?xml version="1.0" encoding="utf-8"?>
<p:tagLst xmlns:a="http://schemas.openxmlformats.org/drawingml/2006/main" xmlns:r="http://schemas.openxmlformats.org/officeDocument/2006/relationships" xmlns:p="http://schemas.openxmlformats.org/presentationml/2006/main">
  <p:tag name="ISLEGEND" val="true"/>
</p:tagLst>
</file>

<file path=ppt/tags/tag5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3.xml><?xml version="1.0" encoding="utf-8"?>
<p:tagLst xmlns:a="http://schemas.openxmlformats.org/drawingml/2006/main" xmlns:r="http://schemas.openxmlformats.org/officeDocument/2006/relationships" xmlns:p="http://schemas.openxmlformats.org/presentationml/2006/main">
  <p:tag name="NAME" val="Logo"/>
</p:tagLst>
</file>

<file path=ppt/tags/tag5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5.xml><?xml version="1.0" encoding="utf-8"?>
<p:tagLst xmlns:a="http://schemas.openxmlformats.org/drawingml/2006/main" xmlns:r="http://schemas.openxmlformats.org/officeDocument/2006/relationships" xmlns:p="http://schemas.openxmlformats.org/presentationml/2006/main">
  <p:tag name="NAME" val="Logo"/>
</p:tagLst>
</file>

<file path=ppt/tags/tag5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8.xml><?xml version="1.0" encoding="utf-8"?>
<p:tagLst xmlns:a="http://schemas.openxmlformats.org/drawingml/2006/main" xmlns:r="http://schemas.openxmlformats.org/officeDocument/2006/relationships" xmlns:p="http://schemas.openxmlformats.org/presentationml/2006/main">
  <p:tag name="THINKCELLSHAPEDONOTDELETE" val="tdUVaNioeQEy1srSxzx_jYw"/>
</p:tagLst>
</file>

<file path=ppt/tags/tag529.xml><?xml version="1.0" encoding="utf-8"?>
<p:tagLst xmlns:a="http://schemas.openxmlformats.org/drawingml/2006/main" xmlns:r="http://schemas.openxmlformats.org/officeDocument/2006/relationships" xmlns:p="http://schemas.openxmlformats.org/presentationml/2006/main">
  <p:tag name="NAME" val="Moon"/>
</p:tagLst>
</file>

<file path=ppt/tags/tag53.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530.xml><?xml version="1.0" encoding="utf-8"?>
<p:tagLst xmlns:a="http://schemas.openxmlformats.org/drawingml/2006/main" xmlns:r="http://schemas.openxmlformats.org/officeDocument/2006/relationships" xmlns:p="http://schemas.openxmlformats.org/presentationml/2006/main">
  <p:tag name="NAME" val="Moon"/>
</p:tagLst>
</file>

<file path=ppt/tags/tag531.xml><?xml version="1.0" encoding="utf-8"?>
<p:tagLst xmlns:a="http://schemas.openxmlformats.org/drawingml/2006/main" xmlns:r="http://schemas.openxmlformats.org/officeDocument/2006/relationships" xmlns:p="http://schemas.openxmlformats.org/presentationml/2006/main">
  <p:tag name="NAME" val="Moon"/>
</p:tagLst>
</file>

<file path=ppt/tags/tag532.xml><?xml version="1.0" encoding="utf-8"?>
<p:tagLst xmlns:a="http://schemas.openxmlformats.org/drawingml/2006/main" xmlns:r="http://schemas.openxmlformats.org/officeDocument/2006/relationships" xmlns:p="http://schemas.openxmlformats.org/presentationml/2006/main">
  <p:tag name="NAME" val="Moon"/>
</p:tagLst>
</file>

<file path=ppt/tags/tag533.xml><?xml version="1.0" encoding="utf-8"?>
<p:tagLst xmlns:a="http://schemas.openxmlformats.org/drawingml/2006/main" xmlns:r="http://schemas.openxmlformats.org/officeDocument/2006/relationships" xmlns:p="http://schemas.openxmlformats.org/presentationml/2006/main">
  <p:tag name="NAME" val="Moon"/>
</p:tagLst>
</file>

<file path=ppt/tags/tag534.xml><?xml version="1.0" encoding="utf-8"?>
<p:tagLst xmlns:a="http://schemas.openxmlformats.org/drawingml/2006/main" xmlns:r="http://schemas.openxmlformats.org/officeDocument/2006/relationships" xmlns:p="http://schemas.openxmlformats.org/presentationml/2006/main">
  <p:tag name="ISLEGEND" val="true"/>
</p:tagLst>
</file>

<file path=ppt/tags/tag535.xml><?xml version="1.0" encoding="utf-8"?>
<p:tagLst xmlns:a="http://schemas.openxmlformats.org/drawingml/2006/main" xmlns:r="http://schemas.openxmlformats.org/officeDocument/2006/relationships" xmlns:p="http://schemas.openxmlformats.org/presentationml/2006/main">
  <p:tag name="ISLEGEND" val="true"/>
</p:tagLst>
</file>

<file path=ppt/tags/tag536.xml><?xml version="1.0" encoding="utf-8"?>
<p:tagLst xmlns:a="http://schemas.openxmlformats.org/drawingml/2006/main" xmlns:r="http://schemas.openxmlformats.org/officeDocument/2006/relationships" xmlns:p="http://schemas.openxmlformats.org/presentationml/2006/main">
  <p:tag name="ISLEGEND" val="true"/>
</p:tagLst>
</file>

<file path=ppt/tags/tag537.xml><?xml version="1.0" encoding="utf-8"?>
<p:tagLst xmlns:a="http://schemas.openxmlformats.org/drawingml/2006/main" xmlns:r="http://schemas.openxmlformats.org/officeDocument/2006/relationships" xmlns:p="http://schemas.openxmlformats.org/presentationml/2006/main">
  <p:tag name="ISLEGEND" val="true"/>
</p:tagLst>
</file>

<file path=ppt/tags/tag538.xml><?xml version="1.0" encoding="utf-8"?>
<p:tagLst xmlns:a="http://schemas.openxmlformats.org/drawingml/2006/main" xmlns:r="http://schemas.openxmlformats.org/officeDocument/2006/relationships" xmlns:p="http://schemas.openxmlformats.org/presentationml/2006/main">
  <p:tag name="ISLEGEND" val="true"/>
</p:tagLst>
</file>

<file path=ppt/tags/tag539.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54.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540.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541.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542.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543.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544.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545.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546.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547.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548.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549.xml><?xml version="1.0" encoding="utf-8"?>
<p:tagLst xmlns:a="http://schemas.openxmlformats.org/drawingml/2006/main" xmlns:r="http://schemas.openxmlformats.org/officeDocument/2006/relationships" xmlns:p="http://schemas.openxmlformats.org/presentationml/2006/main">
  <p:tag name="ISLEGEND" val="true"/>
</p:tagLst>
</file>

<file path=ppt/tags/tag55.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550.xml><?xml version="1.0" encoding="utf-8"?>
<p:tagLst xmlns:a="http://schemas.openxmlformats.org/drawingml/2006/main" xmlns:r="http://schemas.openxmlformats.org/officeDocument/2006/relationships" xmlns:p="http://schemas.openxmlformats.org/presentationml/2006/main">
  <p:tag name="ISLEGEND" val="true"/>
</p:tagLst>
</file>

<file path=ppt/tags/tag551.xml><?xml version="1.0" encoding="utf-8"?>
<p:tagLst xmlns:a="http://schemas.openxmlformats.org/drawingml/2006/main" xmlns:r="http://schemas.openxmlformats.org/officeDocument/2006/relationships" xmlns:p="http://schemas.openxmlformats.org/presentationml/2006/main">
  <p:tag name="ISLEGEND" val="true"/>
</p:tagLst>
</file>

<file path=ppt/tags/tag552.xml><?xml version="1.0" encoding="utf-8"?>
<p:tagLst xmlns:a="http://schemas.openxmlformats.org/drawingml/2006/main" xmlns:r="http://schemas.openxmlformats.org/officeDocument/2006/relationships" xmlns:p="http://schemas.openxmlformats.org/presentationml/2006/main">
  <p:tag name="ISLEGEND" val="true"/>
</p:tagLst>
</file>

<file path=ppt/tags/tag553.xml><?xml version="1.0" encoding="utf-8"?>
<p:tagLst xmlns:a="http://schemas.openxmlformats.org/drawingml/2006/main" xmlns:r="http://schemas.openxmlformats.org/officeDocument/2006/relationships" xmlns:p="http://schemas.openxmlformats.org/presentationml/2006/main">
  <p:tag name="ISLEGEND" val="true"/>
</p:tagLst>
</file>

<file path=ppt/tags/tag554.xml><?xml version="1.0" encoding="utf-8"?>
<p:tagLst xmlns:a="http://schemas.openxmlformats.org/drawingml/2006/main" xmlns:r="http://schemas.openxmlformats.org/officeDocument/2006/relationships" xmlns:p="http://schemas.openxmlformats.org/presentationml/2006/main">
  <p:tag name="ISLEGEND" val="true"/>
</p:tagLst>
</file>

<file path=ppt/tags/tag555.xml><?xml version="1.0" encoding="utf-8"?>
<p:tagLst xmlns:a="http://schemas.openxmlformats.org/drawingml/2006/main" xmlns:r="http://schemas.openxmlformats.org/officeDocument/2006/relationships" xmlns:p="http://schemas.openxmlformats.org/presentationml/2006/main">
  <p:tag name="ISLEGEND" val="true"/>
</p:tagLst>
</file>

<file path=ppt/tags/tag5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8.xml><?xml version="1.0" encoding="utf-8"?>
<p:tagLst xmlns:a="http://schemas.openxmlformats.org/drawingml/2006/main" xmlns:r="http://schemas.openxmlformats.org/officeDocument/2006/relationships" xmlns:p="http://schemas.openxmlformats.org/presentationml/2006/main">
  <p:tag name="NAME" val="Logo"/>
</p:tagLst>
</file>

<file path=ppt/tags/tag5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560.xml><?xml version="1.0" encoding="utf-8"?>
<p:tagLst xmlns:a="http://schemas.openxmlformats.org/drawingml/2006/main" xmlns:r="http://schemas.openxmlformats.org/officeDocument/2006/relationships" xmlns:p="http://schemas.openxmlformats.org/presentationml/2006/main">
  <p:tag name="NAME" val="Logo"/>
</p:tagLst>
</file>

<file path=ppt/tags/tag5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3.xml><?xml version="1.0" encoding="utf-8"?>
<p:tagLst xmlns:a="http://schemas.openxmlformats.org/drawingml/2006/main" xmlns:r="http://schemas.openxmlformats.org/officeDocument/2006/relationships" xmlns:p="http://schemas.openxmlformats.org/presentationml/2006/main">
  <p:tag name="THINKCELLSHAPEDONOTDELETE" val="tdUVaNioeQEy1srSxzx_jYw"/>
</p:tagLst>
</file>

<file path=ppt/tags/tag564.xml><?xml version="1.0" encoding="utf-8"?>
<p:tagLst xmlns:a="http://schemas.openxmlformats.org/drawingml/2006/main" xmlns:r="http://schemas.openxmlformats.org/officeDocument/2006/relationships" xmlns:p="http://schemas.openxmlformats.org/presentationml/2006/main">
  <p:tag name="NAME" val="Moon"/>
</p:tagLst>
</file>

<file path=ppt/tags/tag565.xml><?xml version="1.0" encoding="utf-8"?>
<p:tagLst xmlns:a="http://schemas.openxmlformats.org/drawingml/2006/main" xmlns:r="http://schemas.openxmlformats.org/officeDocument/2006/relationships" xmlns:p="http://schemas.openxmlformats.org/presentationml/2006/main">
  <p:tag name="NAME" val="Moon"/>
</p:tagLst>
</file>

<file path=ppt/tags/tag566.xml><?xml version="1.0" encoding="utf-8"?>
<p:tagLst xmlns:a="http://schemas.openxmlformats.org/drawingml/2006/main" xmlns:r="http://schemas.openxmlformats.org/officeDocument/2006/relationships" xmlns:p="http://schemas.openxmlformats.org/presentationml/2006/main">
  <p:tag name="NAME" val="Moon"/>
</p:tagLst>
</file>

<file path=ppt/tags/tag567.xml><?xml version="1.0" encoding="utf-8"?>
<p:tagLst xmlns:a="http://schemas.openxmlformats.org/drawingml/2006/main" xmlns:r="http://schemas.openxmlformats.org/officeDocument/2006/relationships" xmlns:p="http://schemas.openxmlformats.org/presentationml/2006/main">
  <p:tag name="NAME" val="Moon"/>
</p:tagLst>
</file>

<file path=ppt/tags/tag568.xml><?xml version="1.0" encoding="utf-8"?>
<p:tagLst xmlns:a="http://schemas.openxmlformats.org/drawingml/2006/main" xmlns:r="http://schemas.openxmlformats.org/officeDocument/2006/relationships" xmlns:p="http://schemas.openxmlformats.org/presentationml/2006/main">
  <p:tag name="NAME" val="Moon"/>
</p:tagLst>
</file>

<file path=ppt/tags/tag569.xml><?xml version="1.0" encoding="utf-8"?>
<p:tagLst xmlns:a="http://schemas.openxmlformats.org/drawingml/2006/main" xmlns:r="http://schemas.openxmlformats.org/officeDocument/2006/relationships" xmlns:p="http://schemas.openxmlformats.org/presentationml/2006/main">
  <p:tag name="ISLEGEND" val="true"/>
</p:tagLst>
</file>

<file path=ppt/tags/tag57.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570.xml><?xml version="1.0" encoding="utf-8"?>
<p:tagLst xmlns:a="http://schemas.openxmlformats.org/drawingml/2006/main" xmlns:r="http://schemas.openxmlformats.org/officeDocument/2006/relationships" xmlns:p="http://schemas.openxmlformats.org/presentationml/2006/main">
  <p:tag name="ISLEGEND" val="true"/>
</p:tagLst>
</file>

<file path=ppt/tags/tag571.xml><?xml version="1.0" encoding="utf-8"?>
<p:tagLst xmlns:a="http://schemas.openxmlformats.org/drawingml/2006/main" xmlns:r="http://schemas.openxmlformats.org/officeDocument/2006/relationships" xmlns:p="http://schemas.openxmlformats.org/presentationml/2006/main">
  <p:tag name="ISLEGEND" val="true"/>
</p:tagLst>
</file>

<file path=ppt/tags/tag572.xml><?xml version="1.0" encoding="utf-8"?>
<p:tagLst xmlns:a="http://schemas.openxmlformats.org/drawingml/2006/main" xmlns:r="http://schemas.openxmlformats.org/officeDocument/2006/relationships" xmlns:p="http://schemas.openxmlformats.org/presentationml/2006/main">
  <p:tag name="ISLEGEND" val="true"/>
</p:tagLst>
</file>

<file path=ppt/tags/tag573.xml><?xml version="1.0" encoding="utf-8"?>
<p:tagLst xmlns:a="http://schemas.openxmlformats.org/drawingml/2006/main" xmlns:r="http://schemas.openxmlformats.org/officeDocument/2006/relationships" xmlns:p="http://schemas.openxmlformats.org/presentationml/2006/main">
  <p:tag name="ISLEGEND" val="true"/>
</p:tagLst>
</file>

<file path=ppt/tags/tag574.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575.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576.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577.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578.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579.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58.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580.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581.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582.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583.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584.xml><?xml version="1.0" encoding="utf-8"?>
<p:tagLst xmlns:a="http://schemas.openxmlformats.org/drawingml/2006/main" xmlns:r="http://schemas.openxmlformats.org/officeDocument/2006/relationships" xmlns:p="http://schemas.openxmlformats.org/presentationml/2006/main">
  <p:tag name="ISLEGEND" val="true"/>
</p:tagLst>
</file>

<file path=ppt/tags/tag585.xml><?xml version="1.0" encoding="utf-8"?>
<p:tagLst xmlns:a="http://schemas.openxmlformats.org/drawingml/2006/main" xmlns:r="http://schemas.openxmlformats.org/officeDocument/2006/relationships" xmlns:p="http://schemas.openxmlformats.org/presentationml/2006/main">
  <p:tag name="ISLEGEND" val="true"/>
</p:tagLst>
</file>

<file path=ppt/tags/tag586.xml><?xml version="1.0" encoding="utf-8"?>
<p:tagLst xmlns:a="http://schemas.openxmlformats.org/drawingml/2006/main" xmlns:r="http://schemas.openxmlformats.org/officeDocument/2006/relationships" xmlns:p="http://schemas.openxmlformats.org/presentationml/2006/main">
  <p:tag name="ISLEGEND" val="true"/>
</p:tagLst>
</file>

<file path=ppt/tags/tag587.xml><?xml version="1.0" encoding="utf-8"?>
<p:tagLst xmlns:a="http://schemas.openxmlformats.org/drawingml/2006/main" xmlns:r="http://schemas.openxmlformats.org/officeDocument/2006/relationships" xmlns:p="http://schemas.openxmlformats.org/presentationml/2006/main">
  <p:tag name="ISLEGEND" val="true"/>
</p:tagLst>
</file>

<file path=ppt/tags/tag588.xml><?xml version="1.0" encoding="utf-8"?>
<p:tagLst xmlns:a="http://schemas.openxmlformats.org/drawingml/2006/main" xmlns:r="http://schemas.openxmlformats.org/officeDocument/2006/relationships" xmlns:p="http://schemas.openxmlformats.org/presentationml/2006/main">
  <p:tag name="ISLEGEND" val="true"/>
</p:tagLst>
</file>

<file path=ppt/tags/tag589.xml><?xml version="1.0" encoding="utf-8"?>
<p:tagLst xmlns:a="http://schemas.openxmlformats.org/drawingml/2006/main" xmlns:r="http://schemas.openxmlformats.org/officeDocument/2006/relationships" xmlns:p="http://schemas.openxmlformats.org/presentationml/2006/main">
  <p:tag name="ISLEGEND" val="true"/>
</p:tagLst>
</file>

<file path=ppt/tags/tag59.xml><?xml version="1.0" encoding="utf-8"?>
<p:tagLst xmlns:a="http://schemas.openxmlformats.org/drawingml/2006/main" xmlns:r="http://schemas.openxmlformats.org/officeDocument/2006/relationships" xmlns:p="http://schemas.openxmlformats.org/presentationml/2006/main">
  <p:tag name="ISLEGEND" val="true"/>
</p:tagLst>
</file>

<file path=ppt/tags/tag590.xml><?xml version="1.0" encoding="utf-8"?>
<p:tagLst xmlns:a="http://schemas.openxmlformats.org/drawingml/2006/main" xmlns:r="http://schemas.openxmlformats.org/officeDocument/2006/relationships" xmlns:p="http://schemas.openxmlformats.org/presentationml/2006/main">
  <p:tag name="ISLEGEND" val="true"/>
</p:tagLst>
</file>

<file path=ppt/tags/tag5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3.xml><?xml version="1.0" encoding="utf-8"?>
<p:tagLst xmlns:a="http://schemas.openxmlformats.org/drawingml/2006/main" xmlns:r="http://schemas.openxmlformats.org/officeDocument/2006/relationships" xmlns:p="http://schemas.openxmlformats.org/presentationml/2006/main">
  <p:tag name="NAME" val="Logo"/>
</p:tagLst>
</file>

<file path=ppt/tags/tag5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5.xml><?xml version="1.0" encoding="utf-8"?>
<p:tagLst xmlns:a="http://schemas.openxmlformats.org/drawingml/2006/main" xmlns:r="http://schemas.openxmlformats.org/officeDocument/2006/relationships" xmlns:p="http://schemas.openxmlformats.org/presentationml/2006/main">
  <p:tag name="NAME" val="Logo"/>
</p:tagLst>
</file>

<file path=ppt/tags/tag5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8.xml><?xml version="1.0" encoding="utf-8"?>
<p:tagLst xmlns:a="http://schemas.openxmlformats.org/drawingml/2006/main" xmlns:r="http://schemas.openxmlformats.org/officeDocument/2006/relationships" xmlns:p="http://schemas.openxmlformats.org/presentationml/2006/main">
  <p:tag name="THINKCELLSHAPEDONOTDELETE" val="tdUVaNioeQEy1srSxzx_jYw"/>
</p:tagLst>
</file>

<file path=ppt/tags/tag599.xml><?xml version="1.0" encoding="utf-8"?>
<p:tagLst xmlns:a="http://schemas.openxmlformats.org/drawingml/2006/main" xmlns:r="http://schemas.openxmlformats.org/officeDocument/2006/relationships" xmlns:p="http://schemas.openxmlformats.org/presentationml/2006/main">
  <p:tag name="NAME" val="Moon"/>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60.xml><?xml version="1.0" encoding="utf-8"?>
<p:tagLst xmlns:a="http://schemas.openxmlformats.org/drawingml/2006/main" xmlns:r="http://schemas.openxmlformats.org/officeDocument/2006/relationships" xmlns:p="http://schemas.openxmlformats.org/presentationml/2006/main">
  <p:tag name="ISLEGEND" val="true"/>
</p:tagLst>
</file>

<file path=ppt/tags/tag600.xml><?xml version="1.0" encoding="utf-8"?>
<p:tagLst xmlns:a="http://schemas.openxmlformats.org/drawingml/2006/main" xmlns:r="http://schemas.openxmlformats.org/officeDocument/2006/relationships" xmlns:p="http://schemas.openxmlformats.org/presentationml/2006/main">
  <p:tag name="NAME" val="Moon"/>
</p:tagLst>
</file>

<file path=ppt/tags/tag601.xml><?xml version="1.0" encoding="utf-8"?>
<p:tagLst xmlns:a="http://schemas.openxmlformats.org/drawingml/2006/main" xmlns:r="http://schemas.openxmlformats.org/officeDocument/2006/relationships" xmlns:p="http://schemas.openxmlformats.org/presentationml/2006/main">
  <p:tag name="NAME" val="Moon"/>
</p:tagLst>
</file>

<file path=ppt/tags/tag602.xml><?xml version="1.0" encoding="utf-8"?>
<p:tagLst xmlns:a="http://schemas.openxmlformats.org/drawingml/2006/main" xmlns:r="http://schemas.openxmlformats.org/officeDocument/2006/relationships" xmlns:p="http://schemas.openxmlformats.org/presentationml/2006/main">
  <p:tag name="NAME" val="Moon"/>
</p:tagLst>
</file>

<file path=ppt/tags/tag603.xml><?xml version="1.0" encoding="utf-8"?>
<p:tagLst xmlns:a="http://schemas.openxmlformats.org/drawingml/2006/main" xmlns:r="http://schemas.openxmlformats.org/officeDocument/2006/relationships" xmlns:p="http://schemas.openxmlformats.org/presentationml/2006/main">
  <p:tag name="NAME" val="Moon"/>
</p:tagLst>
</file>

<file path=ppt/tags/tag604.xml><?xml version="1.0" encoding="utf-8"?>
<p:tagLst xmlns:a="http://schemas.openxmlformats.org/drawingml/2006/main" xmlns:r="http://schemas.openxmlformats.org/officeDocument/2006/relationships" xmlns:p="http://schemas.openxmlformats.org/presentationml/2006/main">
  <p:tag name="ISLEGEND" val="true"/>
</p:tagLst>
</file>

<file path=ppt/tags/tag605.xml><?xml version="1.0" encoding="utf-8"?>
<p:tagLst xmlns:a="http://schemas.openxmlformats.org/drawingml/2006/main" xmlns:r="http://schemas.openxmlformats.org/officeDocument/2006/relationships" xmlns:p="http://schemas.openxmlformats.org/presentationml/2006/main">
  <p:tag name="ISLEGEND" val="true"/>
</p:tagLst>
</file>

<file path=ppt/tags/tag606.xml><?xml version="1.0" encoding="utf-8"?>
<p:tagLst xmlns:a="http://schemas.openxmlformats.org/drawingml/2006/main" xmlns:r="http://schemas.openxmlformats.org/officeDocument/2006/relationships" xmlns:p="http://schemas.openxmlformats.org/presentationml/2006/main">
  <p:tag name="ISLEGEND" val="true"/>
</p:tagLst>
</file>

<file path=ppt/tags/tag607.xml><?xml version="1.0" encoding="utf-8"?>
<p:tagLst xmlns:a="http://schemas.openxmlformats.org/drawingml/2006/main" xmlns:r="http://schemas.openxmlformats.org/officeDocument/2006/relationships" xmlns:p="http://schemas.openxmlformats.org/presentationml/2006/main">
  <p:tag name="ISLEGEND" val="true"/>
</p:tagLst>
</file>

<file path=ppt/tags/tag608.xml><?xml version="1.0" encoding="utf-8"?>
<p:tagLst xmlns:a="http://schemas.openxmlformats.org/drawingml/2006/main" xmlns:r="http://schemas.openxmlformats.org/officeDocument/2006/relationships" xmlns:p="http://schemas.openxmlformats.org/presentationml/2006/main">
  <p:tag name="ISLEGEND" val="true"/>
</p:tagLst>
</file>

<file path=ppt/tags/tag609.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61.xml><?xml version="1.0" encoding="utf-8"?>
<p:tagLst xmlns:a="http://schemas.openxmlformats.org/drawingml/2006/main" xmlns:r="http://schemas.openxmlformats.org/officeDocument/2006/relationships" xmlns:p="http://schemas.openxmlformats.org/presentationml/2006/main">
  <p:tag name="ISLEGEND" val="true"/>
</p:tagLst>
</file>

<file path=ppt/tags/tag610.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611.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612.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613.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614.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615.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616.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617.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618.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619.xml><?xml version="1.0" encoding="utf-8"?>
<p:tagLst xmlns:a="http://schemas.openxmlformats.org/drawingml/2006/main" xmlns:r="http://schemas.openxmlformats.org/officeDocument/2006/relationships" xmlns:p="http://schemas.openxmlformats.org/presentationml/2006/main">
  <p:tag name="ISLEGEND" val="true"/>
</p:tagLst>
</file>

<file path=ppt/tags/tag62.xml><?xml version="1.0" encoding="utf-8"?>
<p:tagLst xmlns:a="http://schemas.openxmlformats.org/drawingml/2006/main" xmlns:r="http://schemas.openxmlformats.org/officeDocument/2006/relationships" xmlns:p="http://schemas.openxmlformats.org/presentationml/2006/main">
  <p:tag name="ISLEGEND" val="true"/>
</p:tagLst>
</file>

<file path=ppt/tags/tag620.xml><?xml version="1.0" encoding="utf-8"?>
<p:tagLst xmlns:a="http://schemas.openxmlformats.org/drawingml/2006/main" xmlns:r="http://schemas.openxmlformats.org/officeDocument/2006/relationships" xmlns:p="http://schemas.openxmlformats.org/presentationml/2006/main">
  <p:tag name="ISLEGEND" val="true"/>
</p:tagLst>
</file>

<file path=ppt/tags/tag621.xml><?xml version="1.0" encoding="utf-8"?>
<p:tagLst xmlns:a="http://schemas.openxmlformats.org/drawingml/2006/main" xmlns:r="http://schemas.openxmlformats.org/officeDocument/2006/relationships" xmlns:p="http://schemas.openxmlformats.org/presentationml/2006/main">
  <p:tag name="ISLEGEND" val="true"/>
</p:tagLst>
</file>

<file path=ppt/tags/tag622.xml><?xml version="1.0" encoding="utf-8"?>
<p:tagLst xmlns:a="http://schemas.openxmlformats.org/drawingml/2006/main" xmlns:r="http://schemas.openxmlformats.org/officeDocument/2006/relationships" xmlns:p="http://schemas.openxmlformats.org/presentationml/2006/main">
  <p:tag name="ISLEGEND" val="true"/>
</p:tagLst>
</file>

<file path=ppt/tags/tag623.xml><?xml version="1.0" encoding="utf-8"?>
<p:tagLst xmlns:a="http://schemas.openxmlformats.org/drawingml/2006/main" xmlns:r="http://schemas.openxmlformats.org/officeDocument/2006/relationships" xmlns:p="http://schemas.openxmlformats.org/presentationml/2006/main">
  <p:tag name="ISLEGEND" val="true"/>
</p:tagLst>
</file>

<file path=ppt/tags/tag624.xml><?xml version="1.0" encoding="utf-8"?>
<p:tagLst xmlns:a="http://schemas.openxmlformats.org/drawingml/2006/main" xmlns:r="http://schemas.openxmlformats.org/officeDocument/2006/relationships" xmlns:p="http://schemas.openxmlformats.org/presentationml/2006/main">
  <p:tag name="ISLEGEND" val="true"/>
</p:tagLst>
</file>

<file path=ppt/tags/tag625.xml><?xml version="1.0" encoding="utf-8"?>
<p:tagLst xmlns:a="http://schemas.openxmlformats.org/drawingml/2006/main" xmlns:r="http://schemas.openxmlformats.org/officeDocument/2006/relationships" xmlns:p="http://schemas.openxmlformats.org/presentationml/2006/main">
  <p:tag name="ISLEGEND" val="true"/>
</p:tagLst>
</file>

<file path=ppt/tags/tag6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8.xml><?xml version="1.0" encoding="utf-8"?>
<p:tagLst xmlns:a="http://schemas.openxmlformats.org/drawingml/2006/main" xmlns:r="http://schemas.openxmlformats.org/officeDocument/2006/relationships" xmlns:p="http://schemas.openxmlformats.org/presentationml/2006/main">
  <p:tag name="NAME" val="Logo"/>
</p:tagLst>
</file>

<file path=ppt/tags/tag6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ISLEGEND" val="true"/>
</p:tagLst>
</file>

<file path=ppt/tags/tag630.xml><?xml version="1.0" encoding="utf-8"?>
<p:tagLst xmlns:a="http://schemas.openxmlformats.org/drawingml/2006/main" xmlns:r="http://schemas.openxmlformats.org/officeDocument/2006/relationships" xmlns:p="http://schemas.openxmlformats.org/presentationml/2006/main">
  <p:tag name="NAME" val="Logo"/>
</p:tagLst>
</file>

<file path=ppt/tags/tag6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3.xml><?xml version="1.0" encoding="utf-8"?>
<p:tagLst xmlns:a="http://schemas.openxmlformats.org/drawingml/2006/main" xmlns:r="http://schemas.openxmlformats.org/officeDocument/2006/relationships" xmlns:p="http://schemas.openxmlformats.org/presentationml/2006/main">
  <p:tag name="THINKCELLSHAPEDONOTDELETE" val="tdUVaNioeQEy1srSxzx_jYw"/>
</p:tagLst>
</file>

<file path=ppt/tags/tag634.xml><?xml version="1.0" encoding="utf-8"?>
<p:tagLst xmlns:a="http://schemas.openxmlformats.org/drawingml/2006/main" xmlns:r="http://schemas.openxmlformats.org/officeDocument/2006/relationships" xmlns:p="http://schemas.openxmlformats.org/presentationml/2006/main">
  <p:tag name="NAME" val="Moon"/>
</p:tagLst>
</file>

<file path=ppt/tags/tag635.xml><?xml version="1.0" encoding="utf-8"?>
<p:tagLst xmlns:a="http://schemas.openxmlformats.org/drawingml/2006/main" xmlns:r="http://schemas.openxmlformats.org/officeDocument/2006/relationships" xmlns:p="http://schemas.openxmlformats.org/presentationml/2006/main">
  <p:tag name="NAME" val="Moon"/>
</p:tagLst>
</file>

<file path=ppt/tags/tag636.xml><?xml version="1.0" encoding="utf-8"?>
<p:tagLst xmlns:a="http://schemas.openxmlformats.org/drawingml/2006/main" xmlns:r="http://schemas.openxmlformats.org/officeDocument/2006/relationships" xmlns:p="http://schemas.openxmlformats.org/presentationml/2006/main">
  <p:tag name="NAME" val="Moon"/>
</p:tagLst>
</file>

<file path=ppt/tags/tag637.xml><?xml version="1.0" encoding="utf-8"?>
<p:tagLst xmlns:a="http://schemas.openxmlformats.org/drawingml/2006/main" xmlns:r="http://schemas.openxmlformats.org/officeDocument/2006/relationships" xmlns:p="http://schemas.openxmlformats.org/presentationml/2006/main">
  <p:tag name="NAME" val="Moon"/>
</p:tagLst>
</file>

<file path=ppt/tags/tag638.xml><?xml version="1.0" encoding="utf-8"?>
<p:tagLst xmlns:a="http://schemas.openxmlformats.org/drawingml/2006/main" xmlns:r="http://schemas.openxmlformats.org/officeDocument/2006/relationships" xmlns:p="http://schemas.openxmlformats.org/presentationml/2006/main">
  <p:tag name="NAME" val="Moon"/>
</p:tagLst>
</file>

<file path=ppt/tags/tag639.xml><?xml version="1.0" encoding="utf-8"?>
<p:tagLst xmlns:a="http://schemas.openxmlformats.org/drawingml/2006/main" xmlns:r="http://schemas.openxmlformats.org/officeDocument/2006/relationships" xmlns:p="http://schemas.openxmlformats.org/presentationml/2006/main">
  <p:tag name="ISLEGEND" val="true"/>
</p:tagLst>
</file>

<file path=ppt/tags/tag64.xml><?xml version="1.0" encoding="utf-8"?>
<p:tagLst xmlns:a="http://schemas.openxmlformats.org/drawingml/2006/main" xmlns:r="http://schemas.openxmlformats.org/officeDocument/2006/relationships" xmlns:p="http://schemas.openxmlformats.org/presentationml/2006/main">
  <p:tag name="ISLEGEND" val="true"/>
</p:tagLst>
</file>

<file path=ppt/tags/tag640.xml><?xml version="1.0" encoding="utf-8"?>
<p:tagLst xmlns:a="http://schemas.openxmlformats.org/drawingml/2006/main" xmlns:r="http://schemas.openxmlformats.org/officeDocument/2006/relationships" xmlns:p="http://schemas.openxmlformats.org/presentationml/2006/main">
  <p:tag name="ISLEGEND" val="true"/>
</p:tagLst>
</file>

<file path=ppt/tags/tag641.xml><?xml version="1.0" encoding="utf-8"?>
<p:tagLst xmlns:a="http://schemas.openxmlformats.org/drawingml/2006/main" xmlns:r="http://schemas.openxmlformats.org/officeDocument/2006/relationships" xmlns:p="http://schemas.openxmlformats.org/presentationml/2006/main">
  <p:tag name="ISLEGEND" val="true"/>
</p:tagLst>
</file>

<file path=ppt/tags/tag642.xml><?xml version="1.0" encoding="utf-8"?>
<p:tagLst xmlns:a="http://schemas.openxmlformats.org/drawingml/2006/main" xmlns:r="http://schemas.openxmlformats.org/officeDocument/2006/relationships" xmlns:p="http://schemas.openxmlformats.org/presentationml/2006/main">
  <p:tag name="ISLEGEND" val="true"/>
</p:tagLst>
</file>

<file path=ppt/tags/tag643.xml><?xml version="1.0" encoding="utf-8"?>
<p:tagLst xmlns:a="http://schemas.openxmlformats.org/drawingml/2006/main" xmlns:r="http://schemas.openxmlformats.org/officeDocument/2006/relationships" xmlns:p="http://schemas.openxmlformats.org/presentationml/2006/main">
  <p:tag name="ISLEGEND" val="true"/>
</p:tagLst>
</file>

<file path=ppt/tags/tag644.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645.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646.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647.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648.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649.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65.xml><?xml version="1.0" encoding="utf-8"?>
<p:tagLst xmlns:a="http://schemas.openxmlformats.org/drawingml/2006/main" xmlns:r="http://schemas.openxmlformats.org/officeDocument/2006/relationships" xmlns:p="http://schemas.openxmlformats.org/presentationml/2006/main">
  <p:tag name="ISLEGEND" val="true"/>
</p:tagLst>
</file>

<file path=ppt/tags/tag650.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651.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652.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653.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654.xml><?xml version="1.0" encoding="utf-8"?>
<p:tagLst xmlns:a="http://schemas.openxmlformats.org/drawingml/2006/main" xmlns:r="http://schemas.openxmlformats.org/officeDocument/2006/relationships" xmlns:p="http://schemas.openxmlformats.org/presentationml/2006/main">
  <p:tag name="ISLEGEND" val="true"/>
</p:tagLst>
</file>

<file path=ppt/tags/tag655.xml><?xml version="1.0" encoding="utf-8"?>
<p:tagLst xmlns:a="http://schemas.openxmlformats.org/drawingml/2006/main" xmlns:r="http://schemas.openxmlformats.org/officeDocument/2006/relationships" xmlns:p="http://schemas.openxmlformats.org/presentationml/2006/main">
  <p:tag name="ISLEGEND" val="true"/>
</p:tagLst>
</file>

<file path=ppt/tags/tag656.xml><?xml version="1.0" encoding="utf-8"?>
<p:tagLst xmlns:a="http://schemas.openxmlformats.org/drawingml/2006/main" xmlns:r="http://schemas.openxmlformats.org/officeDocument/2006/relationships" xmlns:p="http://schemas.openxmlformats.org/presentationml/2006/main">
  <p:tag name="ISLEGEND" val="true"/>
</p:tagLst>
</file>

<file path=ppt/tags/tag657.xml><?xml version="1.0" encoding="utf-8"?>
<p:tagLst xmlns:a="http://schemas.openxmlformats.org/drawingml/2006/main" xmlns:r="http://schemas.openxmlformats.org/officeDocument/2006/relationships" xmlns:p="http://schemas.openxmlformats.org/presentationml/2006/main">
  <p:tag name="ISLEGEND" val="true"/>
</p:tagLst>
</file>

<file path=ppt/tags/tag658.xml><?xml version="1.0" encoding="utf-8"?>
<p:tagLst xmlns:a="http://schemas.openxmlformats.org/drawingml/2006/main" xmlns:r="http://schemas.openxmlformats.org/officeDocument/2006/relationships" xmlns:p="http://schemas.openxmlformats.org/presentationml/2006/main">
  <p:tag name="ISLEGEND" val="true"/>
</p:tagLst>
</file>

<file path=ppt/tags/tag659.xml><?xml version="1.0" encoding="utf-8"?>
<p:tagLst xmlns:a="http://schemas.openxmlformats.org/drawingml/2006/main" xmlns:r="http://schemas.openxmlformats.org/officeDocument/2006/relationships" xmlns:p="http://schemas.openxmlformats.org/presentationml/2006/main">
  <p:tag name="ISLEGEND" val="tru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0.xml><?xml version="1.0" encoding="utf-8"?>
<p:tagLst xmlns:a="http://schemas.openxmlformats.org/drawingml/2006/main" xmlns:r="http://schemas.openxmlformats.org/officeDocument/2006/relationships" xmlns:p="http://schemas.openxmlformats.org/presentationml/2006/main">
  <p:tag name="ISLEGEND" val="true"/>
</p:tagLst>
</file>

<file path=ppt/tags/tag6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3.xml><?xml version="1.0" encoding="utf-8"?>
<p:tagLst xmlns:a="http://schemas.openxmlformats.org/drawingml/2006/main" xmlns:r="http://schemas.openxmlformats.org/officeDocument/2006/relationships" xmlns:p="http://schemas.openxmlformats.org/presentationml/2006/main">
  <p:tag name="NAME" val="Logo"/>
</p:tagLst>
</file>

<file path=ppt/tags/tag6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5.xml><?xml version="1.0" encoding="utf-8"?>
<p:tagLst xmlns:a="http://schemas.openxmlformats.org/drawingml/2006/main" xmlns:r="http://schemas.openxmlformats.org/officeDocument/2006/relationships" xmlns:p="http://schemas.openxmlformats.org/presentationml/2006/main">
  <p:tag name="NAME" val="Logo"/>
</p:tagLst>
</file>

<file path=ppt/tags/tag6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8.xml><?xml version="1.0" encoding="utf-8"?>
<p:tagLst xmlns:a="http://schemas.openxmlformats.org/drawingml/2006/main" xmlns:r="http://schemas.openxmlformats.org/officeDocument/2006/relationships" xmlns:p="http://schemas.openxmlformats.org/presentationml/2006/main">
  <p:tag name="THINKCELLSHAPEDONOTDELETE" val="tdUVaNioeQEy1srSxzx_jYw"/>
</p:tagLst>
</file>

<file path=ppt/tags/tag669.xml><?xml version="1.0" encoding="utf-8"?>
<p:tagLst xmlns:a="http://schemas.openxmlformats.org/drawingml/2006/main" xmlns:r="http://schemas.openxmlformats.org/officeDocument/2006/relationships" xmlns:p="http://schemas.openxmlformats.org/presentationml/2006/main">
  <p:tag name="NAME" val="Moon"/>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0.xml><?xml version="1.0" encoding="utf-8"?>
<p:tagLst xmlns:a="http://schemas.openxmlformats.org/drawingml/2006/main" xmlns:r="http://schemas.openxmlformats.org/officeDocument/2006/relationships" xmlns:p="http://schemas.openxmlformats.org/presentationml/2006/main">
  <p:tag name="NAME" val="Moon"/>
</p:tagLst>
</file>

<file path=ppt/tags/tag671.xml><?xml version="1.0" encoding="utf-8"?>
<p:tagLst xmlns:a="http://schemas.openxmlformats.org/drawingml/2006/main" xmlns:r="http://schemas.openxmlformats.org/officeDocument/2006/relationships" xmlns:p="http://schemas.openxmlformats.org/presentationml/2006/main">
  <p:tag name="NAME" val="Moon"/>
</p:tagLst>
</file>

<file path=ppt/tags/tag672.xml><?xml version="1.0" encoding="utf-8"?>
<p:tagLst xmlns:a="http://schemas.openxmlformats.org/drawingml/2006/main" xmlns:r="http://schemas.openxmlformats.org/officeDocument/2006/relationships" xmlns:p="http://schemas.openxmlformats.org/presentationml/2006/main">
  <p:tag name="NAME" val="Moon"/>
</p:tagLst>
</file>

<file path=ppt/tags/tag673.xml><?xml version="1.0" encoding="utf-8"?>
<p:tagLst xmlns:a="http://schemas.openxmlformats.org/drawingml/2006/main" xmlns:r="http://schemas.openxmlformats.org/officeDocument/2006/relationships" xmlns:p="http://schemas.openxmlformats.org/presentationml/2006/main">
  <p:tag name="NAME" val="Moon"/>
</p:tagLst>
</file>

<file path=ppt/tags/tag674.xml><?xml version="1.0" encoding="utf-8"?>
<p:tagLst xmlns:a="http://schemas.openxmlformats.org/drawingml/2006/main" xmlns:r="http://schemas.openxmlformats.org/officeDocument/2006/relationships" xmlns:p="http://schemas.openxmlformats.org/presentationml/2006/main">
  <p:tag name="ISLEGEND" val="true"/>
</p:tagLst>
</file>

<file path=ppt/tags/tag675.xml><?xml version="1.0" encoding="utf-8"?>
<p:tagLst xmlns:a="http://schemas.openxmlformats.org/drawingml/2006/main" xmlns:r="http://schemas.openxmlformats.org/officeDocument/2006/relationships" xmlns:p="http://schemas.openxmlformats.org/presentationml/2006/main">
  <p:tag name="ISLEGEND" val="true"/>
</p:tagLst>
</file>

<file path=ppt/tags/tag676.xml><?xml version="1.0" encoding="utf-8"?>
<p:tagLst xmlns:a="http://schemas.openxmlformats.org/drawingml/2006/main" xmlns:r="http://schemas.openxmlformats.org/officeDocument/2006/relationships" xmlns:p="http://schemas.openxmlformats.org/presentationml/2006/main">
  <p:tag name="ISLEGEND" val="true"/>
</p:tagLst>
</file>

<file path=ppt/tags/tag677.xml><?xml version="1.0" encoding="utf-8"?>
<p:tagLst xmlns:a="http://schemas.openxmlformats.org/drawingml/2006/main" xmlns:r="http://schemas.openxmlformats.org/officeDocument/2006/relationships" xmlns:p="http://schemas.openxmlformats.org/presentationml/2006/main">
  <p:tag name="ISLEGEND" val="true"/>
</p:tagLst>
</file>

<file path=ppt/tags/tag678.xml><?xml version="1.0" encoding="utf-8"?>
<p:tagLst xmlns:a="http://schemas.openxmlformats.org/drawingml/2006/main" xmlns:r="http://schemas.openxmlformats.org/officeDocument/2006/relationships" xmlns:p="http://schemas.openxmlformats.org/presentationml/2006/main">
  <p:tag name="ISLEGEND" val="true"/>
</p:tagLst>
</file>

<file path=ppt/tags/tag679.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68.xml><?xml version="1.0" encoding="utf-8"?>
<p:tagLst xmlns:a="http://schemas.openxmlformats.org/drawingml/2006/main" xmlns:r="http://schemas.openxmlformats.org/officeDocument/2006/relationships" xmlns:p="http://schemas.openxmlformats.org/presentationml/2006/main">
  <p:tag name="NAME" val="Logo"/>
</p:tagLst>
</file>

<file path=ppt/tags/tag680.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681.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682.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683.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684.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685.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686.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687.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688.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689.xml><?xml version="1.0" encoding="utf-8"?>
<p:tagLst xmlns:a="http://schemas.openxmlformats.org/drawingml/2006/main" xmlns:r="http://schemas.openxmlformats.org/officeDocument/2006/relationships" xmlns:p="http://schemas.openxmlformats.org/presentationml/2006/main">
  <p:tag name="ISLEGEND" val="tru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0.xml><?xml version="1.0" encoding="utf-8"?>
<p:tagLst xmlns:a="http://schemas.openxmlformats.org/drawingml/2006/main" xmlns:r="http://schemas.openxmlformats.org/officeDocument/2006/relationships" xmlns:p="http://schemas.openxmlformats.org/presentationml/2006/main">
  <p:tag name="ISLEGEND" val="true"/>
</p:tagLst>
</file>

<file path=ppt/tags/tag691.xml><?xml version="1.0" encoding="utf-8"?>
<p:tagLst xmlns:a="http://schemas.openxmlformats.org/drawingml/2006/main" xmlns:r="http://schemas.openxmlformats.org/officeDocument/2006/relationships" xmlns:p="http://schemas.openxmlformats.org/presentationml/2006/main">
  <p:tag name="ISLEGEND" val="true"/>
</p:tagLst>
</file>

<file path=ppt/tags/tag692.xml><?xml version="1.0" encoding="utf-8"?>
<p:tagLst xmlns:a="http://schemas.openxmlformats.org/drawingml/2006/main" xmlns:r="http://schemas.openxmlformats.org/officeDocument/2006/relationships" xmlns:p="http://schemas.openxmlformats.org/presentationml/2006/main">
  <p:tag name="ISLEGEND" val="true"/>
</p:tagLst>
</file>

<file path=ppt/tags/tag693.xml><?xml version="1.0" encoding="utf-8"?>
<p:tagLst xmlns:a="http://schemas.openxmlformats.org/drawingml/2006/main" xmlns:r="http://schemas.openxmlformats.org/officeDocument/2006/relationships" xmlns:p="http://schemas.openxmlformats.org/presentationml/2006/main">
  <p:tag name="ISLEGEND" val="true"/>
</p:tagLst>
</file>

<file path=ppt/tags/tag694.xml><?xml version="1.0" encoding="utf-8"?>
<p:tagLst xmlns:a="http://schemas.openxmlformats.org/drawingml/2006/main" xmlns:r="http://schemas.openxmlformats.org/officeDocument/2006/relationships" xmlns:p="http://schemas.openxmlformats.org/presentationml/2006/main">
  <p:tag name="ISLEGEND" val="true"/>
</p:tagLst>
</file>

<file path=ppt/tags/tag695.xml><?xml version="1.0" encoding="utf-8"?>
<p:tagLst xmlns:a="http://schemas.openxmlformats.org/drawingml/2006/main" xmlns:r="http://schemas.openxmlformats.org/officeDocument/2006/relationships" xmlns:p="http://schemas.openxmlformats.org/presentationml/2006/main">
  <p:tag name="ISLEGEND" val="true"/>
</p:tagLst>
</file>

<file path=ppt/tags/tag6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8.xml><?xml version="1.0" encoding="utf-8"?>
<p:tagLst xmlns:a="http://schemas.openxmlformats.org/drawingml/2006/main" xmlns:r="http://schemas.openxmlformats.org/officeDocument/2006/relationships" xmlns:p="http://schemas.openxmlformats.org/presentationml/2006/main">
  <p:tag name="NAME" val="Logo"/>
</p:tagLst>
</file>

<file path=ppt/tags/tag6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70.xml><?xml version="1.0" encoding="utf-8"?>
<p:tagLst xmlns:a="http://schemas.openxmlformats.org/drawingml/2006/main" xmlns:r="http://schemas.openxmlformats.org/officeDocument/2006/relationships" xmlns:p="http://schemas.openxmlformats.org/presentationml/2006/main">
  <p:tag name="NAME" val="Logo"/>
</p:tagLst>
</file>

<file path=ppt/tags/tag700.xml><?xml version="1.0" encoding="utf-8"?>
<p:tagLst xmlns:a="http://schemas.openxmlformats.org/drawingml/2006/main" xmlns:r="http://schemas.openxmlformats.org/officeDocument/2006/relationships" xmlns:p="http://schemas.openxmlformats.org/presentationml/2006/main">
  <p:tag name="NAME" val="Logo"/>
</p:tagLst>
</file>

<file path=ppt/tags/tag7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3.xml><?xml version="1.0" encoding="utf-8"?>
<p:tagLst xmlns:a="http://schemas.openxmlformats.org/drawingml/2006/main" xmlns:r="http://schemas.openxmlformats.org/officeDocument/2006/relationships" xmlns:p="http://schemas.openxmlformats.org/presentationml/2006/main">
  <p:tag name="THINKCELLSHAPEDONOTDELETE" val="tdUVaNioeQEy1srSxzx_jYw"/>
</p:tagLst>
</file>

<file path=ppt/tags/tag704.xml><?xml version="1.0" encoding="utf-8"?>
<p:tagLst xmlns:a="http://schemas.openxmlformats.org/drawingml/2006/main" xmlns:r="http://schemas.openxmlformats.org/officeDocument/2006/relationships" xmlns:p="http://schemas.openxmlformats.org/presentationml/2006/main">
  <p:tag name="NAME" val="Moon"/>
</p:tagLst>
</file>

<file path=ppt/tags/tag705.xml><?xml version="1.0" encoding="utf-8"?>
<p:tagLst xmlns:a="http://schemas.openxmlformats.org/drawingml/2006/main" xmlns:r="http://schemas.openxmlformats.org/officeDocument/2006/relationships" xmlns:p="http://schemas.openxmlformats.org/presentationml/2006/main">
  <p:tag name="NAME" val="Moon"/>
</p:tagLst>
</file>

<file path=ppt/tags/tag706.xml><?xml version="1.0" encoding="utf-8"?>
<p:tagLst xmlns:a="http://schemas.openxmlformats.org/drawingml/2006/main" xmlns:r="http://schemas.openxmlformats.org/officeDocument/2006/relationships" xmlns:p="http://schemas.openxmlformats.org/presentationml/2006/main">
  <p:tag name="NAME" val="Moon"/>
</p:tagLst>
</file>

<file path=ppt/tags/tag707.xml><?xml version="1.0" encoding="utf-8"?>
<p:tagLst xmlns:a="http://schemas.openxmlformats.org/drawingml/2006/main" xmlns:r="http://schemas.openxmlformats.org/officeDocument/2006/relationships" xmlns:p="http://schemas.openxmlformats.org/presentationml/2006/main">
  <p:tag name="NAME" val="Moon"/>
</p:tagLst>
</file>

<file path=ppt/tags/tag708.xml><?xml version="1.0" encoding="utf-8"?>
<p:tagLst xmlns:a="http://schemas.openxmlformats.org/drawingml/2006/main" xmlns:r="http://schemas.openxmlformats.org/officeDocument/2006/relationships" xmlns:p="http://schemas.openxmlformats.org/presentationml/2006/main">
  <p:tag name="NAME" val="Moon"/>
</p:tagLst>
</file>

<file path=ppt/tags/tag709.xml><?xml version="1.0" encoding="utf-8"?>
<p:tagLst xmlns:a="http://schemas.openxmlformats.org/drawingml/2006/main" xmlns:r="http://schemas.openxmlformats.org/officeDocument/2006/relationships" xmlns:p="http://schemas.openxmlformats.org/presentationml/2006/main">
  <p:tag name="ISLEGEND" val="tru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0.xml><?xml version="1.0" encoding="utf-8"?>
<p:tagLst xmlns:a="http://schemas.openxmlformats.org/drawingml/2006/main" xmlns:r="http://schemas.openxmlformats.org/officeDocument/2006/relationships" xmlns:p="http://schemas.openxmlformats.org/presentationml/2006/main">
  <p:tag name="ISLEGEND" val="true"/>
</p:tagLst>
</file>

<file path=ppt/tags/tag711.xml><?xml version="1.0" encoding="utf-8"?>
<p:tagLst xmlns:a="http://schemas.openxmlformats.org/drawingml/2006/main" xmlns:r="http://schemas.openxmlformats.org/officeDocument/2006/relationships" xmlns:p="http://schemas.openxmlformats.org/presentationml/2006/main">
  <p:tag name="ISLEGEND" val="true"/>
</p:tagLst>
</file>

<file path=ppt/tags/tag712.xml><?xml version="1.0" encoding="utf-8"?>
<p:tagLst xmlns:a="http://schemas.openxmlformats.org/drawingml/2006/main" xmlns:r="http://schemas.openxmlformats.org/officeDocument/2006/relationships" xmlns:p="http://schemas.openxmlformats.org/presentationml/2006/main">
  <p:tag name="ISLEGEND" val="true"/>
</p:tagLst>
</file>

<file path=ppt/tags/tag713.xml><?xml version="1.0" encoding="utf-8"?>
<p:tagLst xmlns:a="http://schemas.openxmlformats.org/drawingml/2006/main" xmlns:r="http://schemas.openxmlformats.org/officeDocument/2006/relationships" xmlns:p="http://schemas.openxmlformats.org/presentationml/2006/main">
  <p:tag name="ISLEGEND" val="true"/>
</p:tagLst>
</file>

<file path=ppt/tags/tag714.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715.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716.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717.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718.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719.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0.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721.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722.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723.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724.xml><?xml version="1.0" encoding="utf-8"?>
<p:tagLst xmlns:a="http://schemas.openxmlformats.org/drawingml/2006/main" xmlns:r="http://schemas.openxmlformats.org/officeDocument/2006/relationships" xmlns:p="http://schemas.openxmlformats.org/presentationml/2006/main">
  <p:tag name="ISLEGEND" val="true"/>
</p:tagLst>
</file>

<file path=ppt/tags/tag725.xml><?xml version="1.0" encoding="utf-8"?>
<p:tagLst xmlns:a="http://schemas.openxmlformats.org/drawingml/2006/main" xmlns:r="http://schemas.openxmlformats.org/officeDocument/2006/relationships" xmlns:p="http://schemas.openxmlformats.org/presentationml/2006/main">
  <p:tag name="ISLEGEND" val="true"/>
</p:tagLst>
</file>

<file path=ppt/tags/tag726.xml><?xml version="1.0" encoding="utf-8"?>
<p:tagLst xmlns:a="http://schemas.openxmlformats.org/drawingml/2006/main" xmlns:r="http://schemas.openxmlformats.org/officeDocument/2006/relationships" xmlns:p="http://schemas.openxmlformats.org/presentationml/2006/main">
  <p:tag name="ISLEGEND" val="true"/>
</p:tagLst>
</file>

<file path=ppt/tags/tag727.xml><?xml version="1.0" encoding="utf-8"?>
<p:tagLst xmlns:a="http://schemas.openxmlformats.org/drawingml/2006/main" xmlns:r="http://schemas.openxmlformats.org/officeDocument/2006/relationships" xmlns:p="http://schemas.openxmlformats.org/presentationml/2006/main">
  <p:tag name="ISLEGEND" val="true"/>
</p:tagLst>
</file>

<file path=ppt/tags/tag728.xml><?xml version="1.0" encoding="utf-8"?>
<p:tagLst xmlns:a="http://schemas.openxmlformats.org/drawingml/2006/main" xmlns:r="http://schemas.openxmlformats.org/officeDocument/2006/relationships" xmlns:p="http://schemas.openxmlformats.org/presentationml/2006/main">
  <p:tag name="ISLEGEND" val="true"/>
</p:tagLst>
</file>

<file path=ppt/tags/tag729.xml><?xml version="1.0" encoding="utf-8"?>
<p:tagLst xmlns:a="http://schemas.openxmlformats.org/drawingml/2006/main" xmlns:r="http://schemas.openxmlformats.org/officeDocument/2006/relationships" xmlns:p="http://schemas.openxmlformats.org/presentationml/2006/main">
  <p:tag name="ISLEGEND" val="tru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dUVaNioeQEy1srSxzx_jYw"/>
</p:tagLst>
</file>

<file path=ppt/tags/tag730.xml><?xml version="1.0" encoding="utf-8"?>
<p:tagLst xmlns:a="http://schemas.openxmlformats.org/drawingml/2006/main" xmlns:r="http://schemas.openxmlformats.org/officeDocument/2006/relationships" xmlns:p="http://schemas.openxmlformats.org/presentationml/2006/main">
  <p:tag name="ISLEGEND" val="true"/>
</p:tagLst>
</file>

<file path=ppt/tags/tag7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3.xml><?xml version="1.0" encoding="utf-8"?>
<p:tagLst xmlns:a="http://schemas.openxmlformats.org/drawingml/2006/main" xmlns:r="http://schemas.openxmlformats.org/officeDocument/2006/relationships" xmlns:p="http://schemas.openxmlformats.org/presentationml/2006/main">
  <p:tag name="NAME" val="Logo"/>
</p:tagLst>
</file>

<file path=ppt/tags/tag7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5.xml><?xml version="1.0" encoding="utf-8"?>
<p:tagLst xmlns:a="http://schemas.openxmlformats.org/drawingml/2006/main" xmlns:r="http://schemas.openxmlformats.org/officeDocument/2006/relationships" xmlns:p="http://schemas.openxmlformats.org/presentationml/2006/main">
  <p:tag name="NAME" val="Logo"/>
</p:tagLst>
</file>

<file path=ppt/tags/tag7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8.xml><?xml version="1.0" encoding="utf-8"?>
<p:tagLst xmlns:a="http://schemas.openxmlformats.org/drawingml/2006/main" xmlns:r="http://schemas.openxmlformats.org/officeDocument/2006/relationships" xmlns:p="http://schemas.openxmlformats.org/presentationml/2006/main">
  <p:tag name="THINKCELLSHAPEDONOTDELETE" val="tdUVaNioeQEy1srSxzx_jYw"/>
</p:tagLst>
</file>

<file path=ppt/tags/tag739.xml><?xml version="1.0" encoding="utf-8"?>
<p:tagLst xmlns:a="http://schemas.openxmlformats.org/drawingml/2006/main" xmlns:r="http://schemas.openxmlformats.org/officeDocument/2006/relationships" xmlns:p="http://schemas.openxmlformats.org/presentationml/2006/main">
  <p:tag name="NAME" val="Moon"/>
</p:tagLst>
</file>

<file path=ppt/tags/tag74.xml><?xml version="1.0" encoding="utf-8"?>
<p:tagLst xmlns:a="http://schemas.openxmlformats.org/drawingml/2006/main" xmlns:r="http://schemas.openxmlformats.org/officeDocument/2006/relationships" xmlns:p="http://schemas.openxmlformats.org/presentationml/2006/main">
  <p:tag name="NAME" val="Moon"/>
</p:tagLst>
</file>

<file path=ppt/tags/tag740.xml><?xml version="1.0" encoding="utf-8"?>
<p:tagLst xmlns:a="http://schemas.openxmlformats.org/drawingml/2006/main" xmlns:r="http://schemas.openxmlformats.org/officeDocument/2006/relationships" xmlns:p="http://schemas.openxmlformats.org/presentationml/2006/main">
  <p:tag name="NAME" val="Moon"/>
</p:tagLst>
</file>

<file path=ppt/tags/tag741.xml><?xml version="1.0" encoding="utf-8"?>
<p:tagLst xmlns:a="http://schemas.openxmlformats.org/drawingml/2006/main" xmlns:r="http://schemas.openxmlformats.org/officeDocument/2006/relationships" xmlns:p="http://schemas.openxmlformats.org/presentationml/2006/main">
  <p:tag name="NAME" val="Moon"/>
</p:tagLst>
</file>

<file path=ppt/tags/tag742.xml><?xml version="1.0" encoding="utf-8"?>
<p:tagLst xmlns:a="http://schemas.openxmlformats.org/drawingml/2006/main" xmlns:r="http://schemas.openxmlformats.org/officeDocument/2006/relationships" xmlns:p="http://schemas.openxmlformats.org/presentationml/2006/main">
  <p:tag name="NAME" val="Moon"/>
</p:tagLst>
</file>

<file path=ppt/tags/tag743.xml><?xml version="1.0" encoding="utf-8"?>
<p:tagLst xmlns:a="http://schemas.openxmlformats.org/drawingml/2006/main" xmlns:r="http://schemas.openxmlformats.org/officeDocument/2006/relationships" xmlns:p="http://schemas.openxmlformats.org/presentationml/2006/main">
  <p:tag name="NAME" val="Moon"/>
</p:tagLst>
</file>

<file path=ppt/tags/tag744.xml><?xml version="1.0" encoding="utf-8"?>
<p:tagLst xmlns:a="http://schemas.openxmlformats.org/drawingml/2006/main" xmlns:r="http://schemas.openxmlformats.org/officeDocument/2006/relationships" xmlns:p="http://schemas.openxmlformats.org/presentationml/2006/main">
  <p:tag name="ISLEGEND" val="true"/>
</p:tagLst>
</file>

<file path=ppt/tags/tag745.xml><?xml version="1.0" encoding="utf-8"?>
<p:tagLst xmlns:a="http://schemas.openxmlformats.org/drawingml/2006/main" xmlns:r="http://schemas.openxmlformats.org/officeDocument/2006/relationships" xmlns:p="http://schemas.openxmlformats.org/presentationml/2006/main">
  <p:tag name="ISLEGEND" val="true"/>
</p:tagLst>
</file>

<file path=ppt/tags/tag746.xml><?xml version="1.0" encoding="utf-8"?>
<p:tagLst xmlns:a="http://schemas.openxmlformats.org/drawingml/2006/main" xmlns:r="http://schemas.openxmlformats.org/officeDocument/2006/relationships" xmlns:p="http://schemas.openxmlformats.org/presentationml/2006/main">
  <p:tag name="ISLEGEND" val="true"/>
</p:tagLst>
</file>

<file path=ppt/tags/tag747.xml><?xml version="1.0" encoding="utf-8"?>
<p:tagLst xmlns:a="http://schemas.openxmlformats.org/drawingml/2006/main" xmlns:r="http://schemas.openxmlformats.org/officeDocument/2006/relationships" xmlns:p="http://schemas.openxmlformats.org/presentationml/2006/main">
  <p:tag name="ISLEGEND" val="true"/>
</p:tagLst>
</file>

<file path=ppt/tags/tag748.xml><?xml version="1.0" encoding="utf-8"?>
<p:tagLst xmlns:a="http://schemas.openxmlformats.org/drawingml/2006/main" xmlns:r="http://schemas.openxmlformats.org/officeDocument/2006/relationships" xmlns:p="http://schemas.openxmlformats.org/presentationml/2006/main">
  <p:tag name="ISLEGEND" val="true"/>
</p:tagLst>
</file>

<file path=ppt/tags/tag749.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75.xml><?xml version="1.0" encoding="utf-8"?>
<p:tagLst xmlns:a="http://schemas.openxmlformats.org/drawingml/2006/main" xmlns:r="http://schemas.openxmlformats.org/officeDocument/2006/relationships" xmlns:p="http://schemas.openxmlformats.org/presentationml/2006/main">
  <p:tag name="NAME" val="Moon"/>
</p:tagLst>
</file>

<file path=ppt/tags/tag750.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751.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752.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753.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754.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755.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756.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757.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758.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759.xml><?xml version="1.0" encoding="utf-8"?>
<p:tagLst xmlns:a="http://schemas.openxmlformats.org/drawingml/2006/main" xmlns:r="http://schemas.openxmlformats.org/officeDocument/2006/relationships" xmlns:p="http://schemas.openxmlformats.org/presentationml/2006/main">
  <p:tag name="ISLEGEND" val="true"/>
</p:tagLst>
</file>

<file path=ppt/tags/tag76.xml><?xml version="1.0" encoding="utf-8"?>
<p:tagLst xmlns:a="http://schemas.openxmlformats.org/drawingml/2006/main" xmlns:r="http://schemas.openxmlformats.org/officeDocument/2006/relationships" xmlns:p="http://schemas.openxmlformats.org/presentationml/2006/main">
  <p:tag name="NAME" val="Moon"/>
</p:tagLst>
</file>

<file path=ppt/tags/tag760.xml><?xml version="1.0" encoding="utf-8"?>
<p:tagLst xmlns:a="http://schemas.openxmlformats.org/drawingml/2006/main" xmlns:r="http://schemas.openxmlformats.org/officeDocument/2006/relationships" xmlns:p="http://schemas.openxmlformats.org/presentationml/2006/main">
  <p:tag name="ISLEGEND" val="true"/>
</p:tagLst>
</file>

<file path=ppt/tags/tag761.xml><?xml version="1.0" encoding="utf-8"?>
<p:tagLst xmlns:a="http://schemas.openxmlformats.org/drawingml/2006/main" xmlns:r="http://schemas.openxmlformats.org/officeDocument/2006/relationships" xmlns:p="http://schemas.openxmlformats.org/presentationml/2006/main">
  <p:tag name="ISLEGEND" val="true"/>
</p:tagLst>
</file>

<file path=ppt/tags/tag762.xml><?xml version="1.0" encoding="utf-8"?>
<p:tagLst xmlns:a="http://schemas.openxmlformats.org/drawingml/2006/main" xmlns:r="http://schemas.openxmlformats.org/officeDocument/2006/relationships" xmlns:p="http://schemas.openxmlformats.org/presentationml/2006/main">
  <p:tag name="ISLEGEND" val="true"/>
</p:tagLst>
</file>

<file path=ppt/tags/tag763.xml><?xml version="1.0" encoding="utf-8"?>
<p:tagLst xmlns:a="http://schemas.openxmlformats.org/drawingml/2006/main" xmlns:r="http://schemas.openxmlformats.org/officeDocument/2006/relationships" xmlns:p="http://schemas.openxmlformats.org/presentationml/2006/main">
  <p:tag name="ISLEGEND" val="true"/>
</p:tagLst>
</file>

<file path=ppt/tags/tag764.xml><?xml version="1.0" encoding="utf-8"?>
<p:tagLst xmlns:a="http://schemas.openxmlformats.org/drawingml/2006/main" xmlns:r="http://schemas.openxmlformats.org/officeDocument/2006/relationships" xmlns:p="http://schemas.openxmlformats.org/presentationml/2006/main">
  <p:tag name="ISLEGEND" val="true"/>
</p:tagLst>
</file>

<file path=ppt/tags/tag765.xml><?xml version="1.0" encoding="utf-8"?>
<p:tagLst xmlns:a="http://schemas.openxmlformats.org/drawingml/2006/main" xmlns:r="http://schemas.openxmlformats.org/officeDocument/2006/relationships" xmlns:p="http://schemas.openxmlformats.org/presentationml/2006/main">
  <p:tag name="ISLEGEND" val="true"/>
</p:tagLst>
</file>

<file path=ppt/tags/tag7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8.xml><?xml version="1.0" encoding="utf-8"?>
<p:tagLst xmlns:a="http://schemas.openxmlformats.org/drawingml/2006/main" xmlns:r="http://schemas.openxmlformats.org/officeDocument/2006/relationships" xmlns:p="http://schemas.openxmlformats.org/presentationml/2006/main">
  <p:tag name="NAME" val="Logo"/>
</p:tagLst>
</file>

<file path=ppt/tags/tag7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NAME" val="Moon"/>
</p:tagLst>
</file>

<file path=ppt/tags/tag770.xml><?xml version="1.0" encoding="utf-8"?>
<p:tagLst xmlns:a="http://schemas.openxmlformats.org/drawingml/2006/main" xmlns:r="http://schemas.openxmlformats.org/officeDocument/2006/relationships" xmlns:p="http://schemas.openxmlformats.org/presentationml/2006/main">
  <p:tag name="NAME" val="Logo"/>
</p:tagLst>
</file>

<file path=ppt/tags/tag7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3.xml><?xml version="1.0" encoding="utf-8"?>
<p:tagLst xmlns:a="http://schemas.openxmlformats.org/drawingml/2006/main" xmlns:r="http://schemas.openxmlformats.org/officeDocument/2006/relationships" xmlns:p="http://schemas.openxmlformats.org/presentationml/2006/main">
  <p:tag name="THINKCELLSHAPEDONOTDELETE" val="tdUVaNioeQEy1srSxzx_jYw"/>
</p:tagLst>
</file>

<file path=ppt/tags/tag774.xml><?xml version="1.0" encoding="utf-8"?>
<p:tagLst xmlns:a="http://schemas.openxmlformats.org/drawingml/2006/main" xmlns:r="http://schemas.openxmlformats.org/officeDocument/2006/relationships" xmlns:p="http://schemas.openxmlformats.org/presentationml/2006/main">
  <p:tag name="NAME" val="Moon"/>
</p:tagLst>
</file>

<file path=ppt/tags/tag775.xml><?xml version="1.0" encoding="utf-8"?>
<p:tagLst xmlns:a="http://schemas.openxmlformats.org/drawingml/2006/main" xmlns:r="http://schemas.openxmlformats.org/officeDocument/2006/relationships" xmlns:p="http://schemas.openxmlformats.org/presentationml/2006/main">
  <p:tag name="NAME" val="Moon"/>
</p:tagLst>
</file>

<file path=ppt/tags/tag776.xml><?xml version="1.0" encoding="utf-8"?>
<p:tagLst xmlns:a="http://schemas.openxmlformats.org/drawingml/2006/main" xmlns:r="http://schemas.openxmlformats.org/officeDocument/2006/relationships" xmlns:p="http://schemas.openxmlformats.org/presentationml/2006/main">
  <p:tag name="NAME" val="Moon"/>
</p:tagLst>
</file>

<file path=ppt/tags/tag777.xml><?xml version="1.0" encoding="utf-8"?>
<p:tagLst xmlns:a="http://schemas.openxmlformats.org/drawingml/2006/main" xmlns:r="http://schemas.openxmlformats.org/officeDocument/2006/relationships" xmlns:p="http://schemas.openxmlformats.org/presentationml/2006/main">
  <p:tag name="NAME" val="Moon"/>
</p:tagLst>
</file>

<file path=ppt/tags/tag778.xml><?xml version="1.0" encoding="utf-8"?>
<p:tagLst xmlns:a="http://schemas.openxmlformats.org/drawingml/2006/main" xmlns:r="http://schemas.openxmlformats.org/officeDocument/2006/relationships" xmlns:p="http://schemas.openxmlformats.org/presentationml/2006/main">
  <p:tag name="NAME" val="Moon"/>
</p:tagLst>
</file>

<file path=ppt/tags/tag779.xml><?xml version="1.0" encoding="utf-8"?>
<p:tagLst xmlns:a="http://schemas.openxmlformats.org/drawingml/2006/main" xmlns:r="http://schemas.openxmlformats.org/officeDocument/2006/relationships" xmlns:p="http://schemas.openxmlformats.org/presentationml/2006/main">
  <p:tag name="ISLEGEND" val="true"/>
</p:tagLst>
</file>

<file path=ppt/tags/tag78.xml><?xml version="1.0" encoding="utf-8"?>
<p:tagLst xmlns:a="http://schemas.openxmlformats.org/drawingml/2006/main" xmlns:r="http://schemas.openxmlformats.org/officeDocument/2006/relationships" xmlns:p="http://schemas.openxmlformats.org/presentationml/2006/main">
  <p:tag name="NAME" val="Moon"/>
</p:tagLst>
</file>

<file path=ppt/tags/tag780.xml><?xml version="1.0" encoding="utf-8"?>
<p:tagLst xmlns:a="http://schemas.openxmlformats.org/drawingml/2006/main" xmlns:r="http://schemas.openxmlformats.org/officeDocument/2006/relationships" xmlns:p="http://schemas.openxmlformats.org/presentationml/2006/main">
  <p:tag name="ISLEGEND" val="true"/>
</p:tagLst>
</file>

<file path=ppt/tags/tag781.xml><?xml version="1.0" encoding="utf-8"?>
<p:tagLst xmlns:a="http://schemas.openxmlformats.org/drawingml/2006/main" xmlns:r="http://schemas.openxmlformats.org/officeDocument/2006/relationships" xmlns:p="http://schemas.openxmlformats.org/presentationml/2006/main">
  <p:tag name="ISLEGEND" val="true"/>
</p:tagLst>
</file>

<file path=ppt/tags/tag782.xml><?xml version="1.0" encoding="utf-8"?>
<p:tagLst xmlns:a="http://schemas.openxmlformats.org/drawingml/2006/main" xmlns:r="http://schemas.openxmlformats.org/officeDocument/2006/relationships" xmlns:p="http://schemas.openxmlformats.org/presentationml/2006/main">
  <p:tag name="ISLEGEND" val="true"/>
</p:tagLst>
</file>

<file path=ppt/tags/tag783.xml><?xml version="1.0" encoding="utf-8"?>
<p:tagLst xmlns:a="http://schemas.openxmlformats.org/drawingml/2006/main" xmlns:r="http://schemas.openxmlformats.org/officeDocument/2006/relationships" xmlns:p="http://schemas.openxmlformats.org/presentationml/2006/main">
  <p:tag name="ISLEGEND" val="true"/>
</p:tagLst>
</file>

<file path=ppt/tags/tag784.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785.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786.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787.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788.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789.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79.xml><?xml version="1.0" encoding="utf-8"?>
<p:tagLst xmlns:a="http://schemas.openxmlformats.org/drawingml/2006/main" xmlns:r="http://schemas.openxmlformats.org/officeDocument/2006/relationships" xmlns:p="http://schemas.openxmlformats.org/presentationml/2006/main">
  <p:tag name="ISLEGEND" val="true"/>
</p:tagLst>
</file>

<file path=ppt/tags/tag790.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791.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792.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793.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794.xml><?xml version="1.0" encoding="utf-8"?>
<p:tagLst xmlns:a="http://schemas.openxmlformats.org/drawingml/2006/main" xmlns:r="http://schemas.openxmlformats.org/officeDocument/2006/relationships" xmlns:p="http://schemas.openxmlformats.org/presentationml/2006/main">
  <p:tag name="ISLEGEND" val="true"/>
</p:tagLst>
</file>

<file path=ppt/tags/tag795.xml><?xml version="1.0" encoding="utf-8"?>
<p:tagLst xmlns:a="http://schemas.openxmlformats.org/drawingml/2006/main" xmlns:r="http://schemas.openxmlformats.org/officeDocument/2006/relationships" xmlns:p="http://schemas.openxmlformats.org/presentationml/2006/main">
  <p:tag name="ISLEGEND" val="true"/>
</p:tagLst>
</file>

<file path=ppt/tags/tag796.xml><?xml version="1.0" encoding="utf-8"?>
<p:tagLst xmlns:a="http://schemas.openxmlformats.org/drawingml/2006/main" xmlns:r="http://schemas.openxmlformats.org/officeDocument/2006/relationships" xmlns:p="http://schemas.openxmlformats.org/presentationml/2006/main">
  <p:tag name="ISLEGEND" val="true"/>
</p:tagLst>
</file>

<file path=ppt/tags/tag797.xml><?xml version="1.0" encoding="utf-8"?>
<p:tagLst xmlns:a="http://schemas.openxmlformats.org/drawingml/2006/main" xmlns:r="http://schemas.openxmlformats.org/officeDocument/2006/relationships" xmlns:p="http://schemas.openxmlformats.org/presentationml/2006/main">
  <p:tag name="ISLEGEND" val="true"/>
</p:tagLst>
</file>

<file path=ppt/tags/tag798.xml><?xml version="1.0" encoding="utf-8"?>
<p:tagLst xmlns:a="http://schemas.openxmlformats.org/drawingml/2006/main" xmlns:r="http://schemas.openxmlformats.org/officeDocument/2006/relationships" xmlns:p="http://schemas.openxmlformats.org/presentationml/2006/main">
  <p:tag name="ISLEGEND" val="true"/>
</p:tagLst>
</file>

<file path=ppt/tags/tag799.xml><?xml version="1.0" encoding="utf-8"?>
<p:tagLst xmlns:a="http://schemas.openxmlformats.org/drawingml/2006/main" xmlns:r="http://schemas.openxmlformats.org/officeDocument/2006/relationships" xmlns:p="http://schemas.openxmlformats.org/presentationml/2006/main">
  <p:tag name="ISLEGEND" val="true"/>
</p:tagLst>
</file>

<file path=ppt/tags/tag8.xml><?xml version="1.0" encoding="utf-8"?>
<p:tagLst xmlns:a="http://schemas.openxmlformats.org/drawingml/2006/main" xmlns:r="http://schemas.openxmlformats.org/officeDocument/2006/relationships" xmlns:p="http://schemas.openxmlformats.org/presentationml/2006/main">
  <p:tag name="NAME" val="Moon"/>
</p:tagLst>
</file>

<file path=ppt/tags/tag80.xml><?xml version="1.0" encoding="utf-8"?>
<p:tagLst xmlns:a="http://schemas.openxmlformats.org/drawingml/2006/main" xmlns:r="http://schemas.openxmlformats.org/officeDocument/2006/relationships" xmlns:p="http://schemas.openxmlformats.org/presentationml/2006/main">
  <p:tag name="ISLEGEND" val="true"/>
</p:tagLst>
</file>

<file path=ppt/tags/tag800.xml><?xml version="1.0" encoding="utf-8"?>
<p:tagLst xmlns:a="http://schemas.openxmlformats.org/drawingml/2006/main" xmlns:r="http://schemas.openxmlformats.org/officeDocument/2006/relationships" xmlns:p="http://schemas.openxmlformats.org/presentationml/2006/main">
  <p:tag name="ISLEGEND" val="true"/>
</p:tagLst>
</file>

<file path=ppt/tags/tag8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3.xml><?xml version="1.0" encoding="utf-8"?>
<p:tagLst xmlns:a="http://schemas.openxmlformats.org/drawingml/2006/main" xmlns:r="http://schemas.openxmlformats.org/officeDocument/2006/relationships" xmlns:p="http://schemas.openxmlformats.org/presentationml/2006/main">
  <p:tag name="NAME" val="Logo"/>
</p:tagLst>
</file>

<file path=ppt/tags/tag8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5.xml><?xml version="1.0" encoding="utf-8"?>
<p:tagLst xmlns:a="http://schemas.openxmlformats.org/drawingml/2006/main" xmlns:r="http://schemas.openxmlformats.org/officeDocument/2006/relationships" xmlns:p="http://schemas.openxmlformats.org/presentationml/2006/main">
  <p:tag name="NAME" val="Logo"/>
</p:tagLst>
</file>

<file path=ppt/tags/tag8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8.xml><?xml version="1.0" encoding="utf-8"?>
<p:tagLst xmlns:a="http://schemas.openxmlformats.org/drawingml/2006/main" xmlns:r="http://schemas.openxmlformats.org/officeDocument/2006/relationships" xmlns:p="http://schemas.openxmlformats.org/presentationml/2006/main">
  <p:tag name="THINKCELLSHAPEDONOTDELETE" val="tdUVaNioeQEy1srSxzx_jYw"/>
</p:tagLst>
</file>

<file path=ppt/tags/tag809.xml><?xml version="1.0" encoding="utf-8"?>
<p:tagLst xmlns:a="http://schemas.openxmlformats.org/drawingml/2006/main" xmlns:r="http://schemas.openxmlformats.org/officeDocument/2006/relationships" xmlns:p="http://schemas.openxmlformats.org/presentationml/2006/main">
  <p:tag name="NAME" val="Moon"/>
</p:tagLst>
</file>

<file path=ppt/tags/tag81.xml><?xml version="1.0" encoding="utf-8"?>
<p:tagLst xmlns:a="http://schemas.openxmlformats.org/drawingml/2006/main" xmlns:r="http://schemas.openxmlformats.org/officeDocument/2006/relationships" xmlns:p="http://schemas.openxmlformats.org/presentationml/2006/main">
  <p:tag name="ISLEGEND" val="true"/>
</p:tagLst>
</file>

<file path=ppt/tags/tag810.xml><?xml version="1.0" encoding="utf-8"?>
<p:tagLst xmlns:a="http://schemas.openxmlformats.org/drawingml/2006/main" xmlns:r="http://schemas.openxmlformats.org/officeDocument/2006/relationships" xmlns:p="http://schemas.openxmlformats.org/presentationml/2006/main">
  <p:tag name="NAME" val="Moon"/>
</p:tagLst>
</file>

<file path=ppt/tags/tag811.xml><?xml version="1.0" encoding="utf-8"?>
<p:tagLst xmlns:a="http://schemas.openxmlformats.org/drawingml/2006/main" xmlns:r="http://schemas.openxmlformats.org/officeDocument/2006/relationships" xmlns:p="http://schemas.openxmlformats.org/presentationml/2006/main">
  <p:tag name="NAME" val="Moon"/>
</p:tagLst>
</file>

<file path=ppt/tags/tag812.xml><?xml version="1.0" encoding="utf-8"?>
<p:tagLst xmlns:a="http://schemas.openxmlformats.org/drawingml/2006/main" xmlns:r="http://schemas.openxmlformats.org/officeDocument/2006/relationships" xmlns:p="http://schemas.openxmlformats.org/presentationml/2006/main">
  <p:tag name="NAME" val="Moon"/>
</p:tagLst>
</file>

<file path=ppt/tags/tag813.xml><?xml version="1.0" encoding="utf-8"?>
<p:tagLst xmlns:a="http://schemas.openxmlformats.org/drawingml/2006/main" xmlns:r="http://schemas.openxmlformats.org/officeDocument/2006/relationships" xmlns:p="http://schemas.openxmlformats.org/presentationml/2006/main">
  <p:tag name="NAME" val="Moon"/>
</p:tagLst>
</file>

<file path=ppt/tags/tag814.xml><?xml version="1.0" encoding="utf-8"?>
<p:tagLst xmlns:a="http://schemas.openxmlformats.org/drawingml/2006/main" xmlns:r="http://schemas.openxmlformats.org/officeDocument/2006/relationships" xmlns:p="http://schemas.openxmlformats.org/presentationml/2006/main">
  <p:tag name="ISLEGEND" val="true"/>
</p:tagLst>
</file>

<file path=ppt/tags/tag815.xml><?xml version="1.0" encoding="utf-8"?>
<p:tagLst xmlns:a="http://schemas.openxmlformats.org/drawingml/2006/main" xmlns:r="http://schemas.openxmlformats.org/officeDocument/2006/relationships" xmlns:p="http://schemas.openxmlformats.org/presentationml/2006/main">
  <p:tag name="ISLEGEND" val="true"/>
</p:tagLst>
</file>

<file path=ppt/tags/tag816.xml><?xml version="1.0" encoding="utf-8"?>
<p:tagLst xmlns:a="http://schemas.openxmlformats.org/drawingml/2006/main" xmlns:r="http://schemas.openxmlformats.org/officeDocument/2006/relationships" xmlns:p="http://schemas.openxmlformats.org/presentationml/2006/main">
  <p:tag name="ISLEGEND" val="true"/>
</p:tagLst>
</file>

<file path=ppt/tags/tag817.xml><?xml version="1.0" encoding="utf-8"?>
<p:tagLst xmlns:a="http://schemas.openxmlformats.org/drawingml/2006/main" xmlns:r="http://schemas.openxmlformats.org/officeDocument/2006/relationships" xmlns:p="http://schemas.openxmlformats.org/presentationml/2006/main">
  <p:tag name="ISLEGEND" val="true"/>
</p:tagLst>
</file>

<file path=ppt/tags/tag818.xml><?xml version="1.0" encoding="utf-8"?>
<p:tagLst xmlns:a="http://schemas.openxmlformats.org/drawingml/2006/main" xmlns:r="http://schemas.openxmlformats.org/officeDocument/2006/relationships" xmlns:p="http://schemas.openxmlformats.org/presentationml/2006/main">
  <p:tag name="ISLEGEND" val="true"/>
</p:tagLst>
</file>

<file path=ppt/tags/tag819.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82.xml><?xml version="1.0" encoding="utf-8"?>
<p:tagLst xmlns:a="http://schemas.openxmlformats.org/drawingml/2006/main" xmlns:r="http://schemas.openxmlformats.org/officeDocument/2006/relationships" xmlns:p="http://schemas.openxmlformats.org/presentationml/2006/main">
  <p:tag name="ISLEGEND" val="true"/>
</p:tagLst>
</file>

<file path=ppt/tags/tag820.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821.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822.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823.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824.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825.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826.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827.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828.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829.xml><?xml version="1.0" encoding="utf-8"?>
<p:tagLst xmlns:a="http://schemas.openxmlformats.org/drawingml/2006/main" xmlns:r="http://schemas.openxmlformats.org/officeDocument/2006/relationships" xmlns:p="http://schemas.openxmlformats.org/presentationml/2006/main">
  <p:tag name="ISLEGEND" val="true"/>
</p:tagLst>
</file>

<file path=ppt/tags/tag83.xml><?xml version="1.0" encoding="utf-8"?>
<p:tagLst xmlns:a="http://schemas.openxmlformats.org/drawingml/2006/main" xmlns:r="http://schemas.openxmlformats.org/officeDocument/2006/relationships" xmlns:p="http://schemas.openxmlformats.org/presentationml/2006/main">
  <p:tag name="ISLEGEND" val="true"/>
</p:tagLst>
</file>

<file path=ppt/tags/tag830.xml><?xml version="1.0" encoding="utf-8"?>
<p:tagLst xmlns:a="http://schemas.openxmlformats.org/drawingml/2006/main" xmlns:r="http://schemas.openxmlformats.org/officeDocument/2006/relationships" xmlns:p="http://schemas.openxmlformats.org/presentationml/2006/main">
  <p:tag name="ISLEGEND" val="true"/>
</p:tagLst>
</file>

<file path=ppt/tags/tag831.xml><?xml version="1.0" encoding="utf-8"?>
<p:tagLst xmlns:a="http://schemas.openxmlformats.org/drawingml/2006/main" xmlns:r="http://schemas.openxmlformats.org/officeDocument/2006/relationships" xmlns:p="http://schemas.openxmlformats.org/presentationml/2006/main">
  <p:tag name="ISLEGEND" val="true"/>
</p:tagLst>
</file>

<file path=ppt/tags/tag832.xml><?xml version="1.0" encoding="utf-8"?>
<p:tagLst xmlns:a="http://schemas.openxmlformats.org/drawingml/2006/main" xmlns:r="http://schemas.openxmlformats.org/officeDocument/2006/relationships" xmlns:p="http://schemas.openxmlformats.org/presentationml/2006/main">
  <p:tag name="ISLEGEND" val="true"/>
</p:tagLst>
</file>

<file path=ppt/tags/tag833.xml><?xml version="1.0" encoding="utf-8"?>
<p:tagLst xmlns:a="http://schemas.openxmlformats.org/drawingml/2006/main" xmlns:r="http://schemas.openxmlformats.org/officeDocument/2006/relationships" xmlns:p="http://schemas.openxmlformats.org/presentationml/2006/main">
  <p:tag name="ISLEGEND" val="true"/>
</p:tagLst>
</file>

<file path=ppt/tags/tag834.xml><?xml version="1.0" encoding="utf-8"?>
<p:tagLst xmlns:a="http://schemas.openxmlformats.org/drawingml/2006/main" xmlns:r="http://schemas.openxmlformats.org/officeDocument/2006/relationships" xmlns:p="http://schemas.openxmlformats.org/presentationml/2006/main">
  <p:tag name="ISLEGEND" val="true"/>
</p:tagLst>
</file>

<file path=ppt/tags/tag835.xml><?xml version="1.0" encoding="utf-8"?>
<p:tagLst xmlns:a="http://schemas.openxmlformats.org/drawingml/2006/main" xmlns:r="http://schemas.openxmlformats.org/officeDocument/2006/relationships" xmlns:p="http://schemas.openxmlformats.org/presentationml/2006/main">
  <p:tag name="ISLEGEND" val="true"/>
</p:tagLst>
</file>

<file path=ppt/tags/tag8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8.xml><?xml version="1.0" encoding="utf-8"?>
<p:tagLst xmlns:a="http://schemas.openxmlformats.org/drawingml/2006/main" xmlns:r="http://schemas.openxmlformats.org/officeDocument/2006/relationships" xmlns:p="http://schemas.openxmlformats.org/presentationml/2006/main">
  <p:tag name="NAME" val="Logo"/>
</p:tagLst>
</file>

<file path=ppt/tags/tag8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840.xml><?xml version="1.0" encoding="utf-8"?>
<p:tagLst xmlns:a="http://schemas.openxmlformats.org/drawingml/2006/main" xmlns:r="http://schemas.openxmlformats.org/officeDocument/2006/relationships" xmlns:p="http://schemas.openxmlformats.org/presentationml/2006/main">
  <p:tag name="NAME" val="Logo"/>
</p:tagLst>
</file>

<file path=ppt/tags/tag8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3.xml><?xml version="1.0" encoding="utf-8"?>
<p:tagLst xmlns:a="http://schemas.openxmlformats.org/drawingml/2006/main" xmlns:r="http://schemas.openxmlformats.org/officeDocument/2006/relationships" xmlns:p="http://schemas.openxmlformats.org/presentationml/2006/main">
  <p:tag name="THINKCELLSHAPEDONOTDELETE" val="tdUVaNioeQEy1srSxzx_jYw"/>
</p:tagLst>
</file>

<file path=ppt/tags/tag844.xml><?xml version="1.0" encoding="utf-8"?>
<p:tagLst xmlns:a="http://schemas.openxmlformats.org/drawingml/2006/main" xmlns:r="http://schemas.openxmlformats.org/officeDocument/2006/relationships" xmlns:p="http://schemas.openxmlformats.org/presentationml/2006/main">
  <p:tag name="NAME" val="Moon"/>
</p:tagLst>
</file>

<file path=ppt/tags/tag845.xml><?xml version="1.0" encoding="utf-8"?>
<p:tagLst xmlns:a="http://schemas.openxmlformats.org/drawingml/2006/main" xmlns:r="http://schemas.openxmlformats.org/officeDocument/2006/relationships" xmlns:p="http://schemas.openxmlformats.org/presentationml/2006/main">
  <p:tag name="NAME" val="Moon"/>
</p:tagLst>
</file>

<file path=ppt/tags/tag846.xml><?xml version="1.0" encoding="utf-8"?>
<p:tagLst xmlns:a="http://schemas.openxmlformats.org/drawingml/2006/main" xmlns:r="http://schemas.openxmlformats.org/officeDocument/2006/relationships" xmlns:p="http://schemas.openxmlformats.org/presentationml/2006/main">
  <p:tag name="NAME" val="Moon"/>
</p:tagLst>
</file>

<file path=ppt/tags/tag847.xml><?xml version="1.0" encoding="utf-8"?>
<p:tagLst xmlns:a="http://schemas.openxmlformats.org/drawingml/2006/main" xmlns:r="http://schemas.openxmlformats.org/officeDocument/2006/relationships" xmlns:p="http://schemas.openxmlformats.org/presentationml/2006/main">
  <p:tag name="NAME" val="Moon"/>
</p:tagLst>
</file>

<file path=ppt/tags/tag848.xml><?xml version="1.0" encoding="utf-8"?>
<p:tagLst xmlns:a="http://schemas.openxmlformats.org/drawingml/2006/main" xmlns:r="http://schemas.openxmlformats.org/officeDocument/2006/relationships" xmlns:p="http://schemas.openxmlformats.org/presentationml/2006/main">
  <p:tag name="NAME" val="Moon"/>
</p:tagLst>
</file>

<file path=ppt/tags/tag849.xml><?xml version="1.0" encoding="utf-8"?>
<p:tagLst xmlns:a="http://schemas.openxmlformats.org/drawingml/2006/main" xmlns:r="http://schemas.openxmlformats.org/officeDocument/2006/relationships" xmlns:p="http://schemas.openxmlformats.org/presentationml/2006/main">
  <p:tag name="ISLEGEND" val="true"/>
</p:tagLst>
</file>

<file path=ppt/tags/tag85.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850.xml><?xml version="1.0" encoding="utf-8"?>
<p:tagLst xmlns:a="http://schemas.openxmlformats.org/drawingml/2006/main" xmlns:r="http://schemas.openxmlformats.org/officeDocument/2006/relationships" xmlns:p="http://schemas.openxmlformats.org/presentationml/2006/main">
  <p:tag name="ISLEGEND" val="true"/>
</p:tagLst>
</file>

<file path=ppt/tags/tag851.xml><?xml version="1.0" encoding="utf-8"?>
<p:tagLst xmlns:a="http://schemas.openxmlformats.org/drawingml/2006/main" xmlns:r="http://schemas.openxmlformats.org/officeDocument/2006/relationships" xmlns:p="http://schemas.openxmlformats.org/presentationml/2006/main">
  <p:tag name="ISLEGEND" val="true"/>
</p:tagLst>
</file>

<file path=ppt/tags/tag852.xml><?xml version="1.0" encoding="utf-8"?>
<p:tagLst xmlns:a="http://schemas.openxmlformats.org/drawingml/2006/main" xmlns:r="http://schemas.openxmlformats.org/officeDocument/2006/relationships" xmlns:p="http://schemas.openxmlformats.org/presentationml/2006/main">
  <p:tag name="ISLEGEND" val="true"/>
</p:tagLst>
</file>

<file path=ppt/tags/tag853.xml><?xml version="1.0" encoding="utf-8"?>
<p:tagLst xmlns:a="http://schemas.openxmlformats.org/drawingml/2006/main" xmlns:r="http://schemas.openxmlformats.org/officeDocument/2006/relationships" xmlns:p="http://schemas.openxmlformats.org/presentationml/2006/main">
  <p:tag name="ISLEGEND" val="true"/>
</p:tagLst>
</file>

<file path=ppt/tags/tag854.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855.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856.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857.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858.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859.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86.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860.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861.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862.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863.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864.xml><?xml version="1.0" encoding="utf-8"?>
<p:tagLst xmlns:a="http://schemas.openxmlformats.org/drawingml/2006/main" xmlns:r="http://schemas.openxmlformats.org/officeDocument/2006/relationships" xmlns:p="http://schemas.openxmlformats.org/presentationml/2006/main">
  <p:tag name="ISLEGEND" val="true"/>
</p:tagLst>
</file>

<file path=ppt/tags/tag865.xml><?xml version="1.0" encoding="utf-8"?>
<p:tagLst xmlns:a="http://schemas.openxmlformats.org/drawingml/2006/main" xmlns:r="http://schemas.openxmlformats.org/officeDocument/2006/relationships" xmlns:p="http://schemas.openxmlformats.org/presentationml/2006/main">
  <p:tag name="ISLEGEND" val="true"/>
</p:tagLst>
</file>

<file path=ppt/tags/tag866.xml><?xml version="1.0" encoding="utf-8"?>
<p:tagLst xmlns:a="http://schemas.openxmlformats.org/drawingml/2006/main" xmlns:r="http://schemas.openxmlformats.org/officeDocument/2006/relationships" xmlns:p="http://schemas.openxmlformats.org/presentationml/2006/main">
  <p:tag name="ISLEGEND" val="true"/>
</p:tagLst>
</file>

<file path=ppt/tags/tag867.xml><?xml version="1.0" encoding="utf-8"?>
<p:tagLst xmlns:a="http://schemas.openxmlformats.org/drawingml/2006/main" xmlns:r="http://schemas.openxmlformats.org/officeDocument/2006/relationships" xmlns:p="http://schemas.openxmlformats.org/presentationml/2006/main">
  <p:tag name="ISLEGEND" val="true"/>
</p:tagLst>
</file>

<file path=ppt/tags/tag868.xml><?xml version="1.0" encoding="utf-8"?>
<p:tagLst xmlns:a="http://schemas.openxmlformats.org/drawingml/2006/main" xmlns:r="http://schemas.openxmlformats.org/officeDocument/2006/relationships" xmlns:p="http://schemas.openxmlformats.org/presentationml/2006/main">
  <p:tag name="ISLEGEND" val="true"/>
</p:tagLst>
</file>

<file path=ppt/tags/tag869.xml><?xml version="1.0" encoding="utf-8"?>
<p:tagLst xmlns:a="http://schemas.openxmlformats.org/drawingml/2006/main" xmlns:r="http://schemas.openxmlformats.org/officeDocument/2006/relationships" xmlns:p="http://schemas.openxmlformats.org/presentationml/2006/main">
  <p:tag name="ISLEGEND" val="true"/>
</p:tagLst>
</file>

<file path=ppt/tags/tag87.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870.xml><?xml version="1.0" encoding="utf-8"?>
<p:tagLst xmlns:a="http://schemas.openxmlformats.org/drawingml/2006/main" xmlns:r="http://schemas.openxmlformats.org/officeDocument/2006/relationships" xmlns:p="http://schemas.openxmlformats.org/presentationml/2006/main">
  <p:tag name="ISLEGEND" val="true"/>
</p:tagLst>
</file>

<file path=ppt/tags/tag8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3.xml><?xml version="1.0" encoding="utf-8"?>
<p:tagLst xmlns:a="http://schemas.openxmlformats.org/drawingml/2006/main" xmlns:r="http://schemas.openxmlformats.org/officeDocument/2006/relationships" xmlns:p="http://schemas.openxmlformats.org/presentationml/2006/main">
  <p:tag name="NAME" val="Logo"/>
</p:tagLst>
</file>

<file path=ppt/tags/tag8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5.xml><?xml version="1.0" encoding="utf-8"?>
<p:tagLst xmlns:a="http://schemas.openxmlformats.org/drawingml/2006/main" xmlns:r="http://schemas.openxmlformats.org/officeDocument/2006/relationships" xmlns:p="http://schemas.openxmlformats.org/presentationml/2006/main">
  <p:tag name="NAME" val="Logo"/>
</p:tagLst>
</file>

<file path=ppt/tags/tag8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8.xml><?xml version="1.0" encoding="utf-8"?>
<p:tagLst xmlns:a="http://schemas.openxmlformats.org/drawingml/2006/main" xmlns:r="http://schemas.openxmlformats.org/officeDocument/2006/relationships" xmlns:p="http://schemas.openxmlformats.org/presentationml/2006/main">
  <p:tag name="THINKCELLSHAPEDONOTDELETE" val="tdUVaNioeQEy1srSxzx_jYw"/>
</p:tagLst>
</file>

<file path=ppt/tags/tag879.xml><?xml version="1.0" encoding="utf-8"?>
<p:tagLst xmlns:a="http://schemas.openxmlformats.org/drawingml/2006/main" xmlns:r="http://schemas.openxmlformats.org/officeDocument/2006/relationships" xmlns:p="http://schemas.openxmlformats.org/presentationml/2006/main">
  <p:tag name="NAME" val="Moon"/>
</p:tagLst>
</file>

<file path=ppt/tags/tag88.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880.xml><?xml version="1.0" encoding="utf-8"?>
<p:tagLst xmlns:a="http://schemas.openxmlformats.org/drawingml/2006/main" xmlns:r="http://schemas.openxmlformats.org/officeDocument/2006/relationships" xmlns:p="http://schemas.openxmlformats.org/presentationml/2006/main">
  <p:tag name="NAME" val="Moon"/>
</p:tagLst>
</file>

<file path=ppt/tags/tag881.xml><?xml version="1.0" encoding="utf-8"?>
<p:tagLst xmlns:a="http://schemas.openxmlformats.org/drawingml/2006/main" xmlns:r="http://schemas.openxmlformats.org/officeDocument/2006/relationships" xmlns:p="http://schemas.openxmlformats.org/presentationml/2006/main">
  <p:tag name="NAME" val="Moon"/>
</p:tagLst>
</file>

<file path=ppt/tags/tag882.xml><?xml version="1.0" encoding="utf-8"?>
<p:tagLst xmlns:a="http://schemas.openxmlformats.org/drawingml/2006/main" xmlns:r="http://schemas.openxmlformats.org/officeDocument/2006/relationships" xmlns:p="http://schemas.openxmlformats.org/presentationml/2006/main">
  <p:tag name="NAME" val="Moon"/>
</p:tagLst>
</file>

<file path=ppt/tags/tag883.xml><?xml version="1.0" encoding="utf-8"?>
<p:tagLst xmlns:a="http://schemas.openxmlformats.org/drawingml/2006/main" xmlns:r="http://schemas.openxmlformats.org/officeDocument/2006/relationships" xmlns:p="http://schemas.openxmlformats.org/presentationml/2006/main">
  <p:tag name="NAME" val="Moon"/>
</p:tagLst>
</file>

<file path=ppt/tags/tag884.xml><?xml version="1.0" encoding="utf-8"?>
<p:tagLst xmlns:a="http://schemas.openxmlformats.org/drawingml/2006/main" xmlns:r="http://schemas.openxmlformats.org/officeDocument/2006/relationships" xmlns:p="http://schemas.openxmlformats.org/presentationml/2006/main">
  <p:tag name="ISLEGEND" val="true"/>
</p:tagLst>
</file>

<file path=ppt/tags/tag885.xml><?xml version="1.0" encoding="utf-8"?>
<p:tagLst xmlns:a="http://schemas.openxmlformats.org/drawingml/2006/main" xmlns:r="http://schemas.openxmlformats.org/officeDocument/2006/relationships" xmlns:p="http://schemas.openxmlformats.org/presentationml/2006/main">
  <p:tag name="ISLEGEND" val="true"/>
</p:tagLst>
</file>

<file path=ppt/tags/tag886.xml><?xml version="1.0" encoding="utf-8"?>
<p:tagLst xmlns:a="http://schemas.openxmlformats.org/drawingml/2006/main" xmlns:r="http://schemas.openxmlformats.org/officeDocument/2006/relationships" xmlns:p="http://schemas.openxmlformats.org/presentationml/2006/main">
  <p:tag name="ISLEGEND" val="true"/>
</p:tagLst>
</file>

<file path=ppt/tags/tag887.xml><?xml version="1.0" encoding="utf-8"?>
<p:tagLst xmlns:a="http://schemas.openxmlformats.org/drawingml/2006/main" xmlns:r="http://schemas.openxmlformats.org/officeDocument/2006/relationships" xmlns:p="http://schemas.openxmlformats.org/presentationml/2006/main">
  <p:tag name="ISLEGEND" val="true"/>
</p:tagLst>
</file>

<file path=ppt/tags/tag888.xml><?xml version="1.0" encoding="utf-8"?>
<p:tagLst xmlns:a="http://schemas.openxmlformats.org/drawingml/2006/main" xmlns:r="http://schemas.openxmlformats.org/officeDocument/2006/relationships" xmlns:p="http://schemas.openxmlformats.org/presentationml/2006/main">
  <p:tag name="ISLEGEND" val="true"/>
</p:tagLst>
</file>

<file path=ppt/tags/tag889.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89.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890.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891.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892.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893.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894.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895.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896.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897.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898.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899.xml><?xml version="1.0" encoding="utf-8"?>
<p:tagLst xmlns:a="http://schemas.openxmlformats.org/drawingml/2006/main" xmlns:r="http://schemas.openxmlformats.org/officeDocument/2006/relationships" xmlns:p="http://schemas.openxmlformats.org/presentationml/2006/main">
  <p:tag name="ISLEGEND" val="true"/>
</p:tagLst>
</file>

<file path=ppt/tags/tag9.xml><?xml version="1.0" encoding="utf-8"?>
<p:tagLst xmlns:a="http://schemas.openxmlformats.org/drawingml/2006/main" xmlns:r="http://schemas.openxmlformats.org/officeDocument/2006/relationships" xmlns:p="http://schemas.openxmlformats.org/presentationml/2006/main">
  <p:tag name="ISLEGEND" val="true"/>
</p:tagLst>
</file>

<file path=ppt/tags/tag90.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900.xml><?xml version="1.0" encoding="utf-8"?>
<p:tagLst xmlns:a="http://schemas.openxmlformats.org/drawingml/2006/main" xmlns:r="http://schemas.openxmlformats.org/officeDocument/2006/relationships" xmlns:p="http://schemas.openxmlformats.org/presentationml/2006/main">
  <p:tag name="ISLEGEND" val="true"/>
</p:tagLst>
</file>

<file path=ppt/tags/tag901.xml><?xml version="1.0" encoding="utf-8"?>
<p:tagLst xmlns:a="http://schemas.openxmlformats.org/drawingml/2006/main" xmlns:r="http://schemas.openxmlformats.org/officeDocument/2006/relationships" xmlns:p="http://schemas.openxmlformats.org/presentationml/2006/main">
  <p:tag name="ISLEGEND" val="true"/>
</p:tagLst>
</file>

<file path=ppt/tags/tag902.xml><?xml version="1.0" encoding="utf-8"?>
<p:tagLst xmlns:a="http://schemas.openxmlformats.org/drawingml/2006/main" xmlns:r="http://schemas.openxmlformats.org/officeDocument/2006/relationships" xmlns:p="http://schemas.openxmlformats.org/presentationml/2006/main">
  <p:tag name="ISLEGEND" val="true"/>
</p:tagLst>
</file>

<file path=ppt/tags/tag903.xml><?xml version="1.0" encoding="utf-8"?>
<p:tagLst xmlns:a="http://schemas.openxmlformats.org/drawingml/2006/main" xmlns:r="http://schemas.openxmlformats.org/officeDocument/2006/relationships" xmlns:p="http://schemas.openxmlformats.org/presentationml/2006/main">
  <p:tag name="ISLEGEND" val="true"/>
</p:tagLst>
</file>

<file path=ppt/tags/tag904.xml><?xml version="1.0" encoding="utf-8"?>
<p:tagLst xmlns:a="http://schemas.openxmlformats.org/drawingml/2006/main" xmlns:r="http://schemas.openxmlformats.org/officeDocument/2006/relationships" xmlns:p="http://schemas.openxmlformats.org/presentationml/2006/main">
  <p:tag name="ISLEGEND" val="true"/>
</p:tagLst>
</file>

<file path=ppt/tags/tag905.xml><?xml version="1.0" encoding="utf-8"?>
<p:tagLst xmlns:a="http://schemas.openxmlformats.org/drawingml/2006/main" xmlns:r="http://schemas.openxmlformats.org/officeDocument/2006/relationships" xmlns:p="http://schemas.openxmlformats.org/presentationml/2006/main">
  <p:tag name="ISLEGEND" val="true"/>
</p:tagLst>
</file>

<file path=ppt/tags/tag9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8.xml><?xml version="1.0" encoding="utf-8"?>
<p:tagLst xmlns:a="http://schemas.openxmlformats.org/drawingml/2006/main" xmlns:r="http://schemas.openxmlformats.org/officeDocument/2006/relationships" xmlns:p="http://schemas.openxmlformats.org/presentationml/2006/main">
  <p:tag name="NAME" val="Logo"/>
</p:tagLst>
</file>

<file path=ppt/tags/tag9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910.xml><?xml version="1.0" encoding="utf-8"?>
<p:tagLst xmlns:a="http://schemas.openxmlformats.org/drawingml/2006/main" xmlns:r="http://schemas.openxmlformats.org/officeDocument/2006/relationships" xmlns:p="http://schemas.openxmlformats.org/presentationml/2006/main">
  <p:tag name="NAME" val="Logo"/>
</p:tagLst>
</file>

<file path=ppt/tags/tag9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3.xml><?xml version="1.0" encoding="utf-8"?>
<p:tagLst xmlns:a="http://schemas.openxmlformats.org/drawingml/2006/main" xmlns:r="http://schemas.openxmlformats.org/officeDocument/2006/relationships" xmlns:p="http://schemas.openxmlformats.org/presentationml/2006/main">
  <p:tag name="THINKCELLSHAPEDONOTDELETE" val="tdUVaNioeQEy1srSxzx_jYw"/>
</p:tagLst>
</file>

<file path=ppt/tags/tag914.xml><?xml version="1.0" encoding="utf-8"?>
<p:tagLst xmlns:a="http://schemas.openxmlformats.org/drawingml/2006/main" xmlns:r="http://schemas.openxmlformats.org/officeDocument/2006/relationships" xmlns:p="http://schemas.openxmlformats.org/presentationml/2006/main">
  <p:tag name="NAME" val="Moon"/>
</p:tagLst>
</file>

<file path=ppt/tags/tag915.xml><?xml version="1.0" encoding="utf-8"?>
<p:tagLst xmlns:a="http://schemas.openxmlformats.org/drawingml/2006/main" xmlns:r="http://schemas.openxmlformats.org/officeDocument/2006/relationships" xmlns:p="http://schemas.openxmlformats.org/presentationml/2006/main">
  <p:tag name="NAME" val="Moon"/>
</p:tagLst>
</file>

<file path=ppt/tags/tag916.xml><?xml version="1.0" encoding="utf-8"?>
<p:tagLst xmlns:a="http://schemas.openxmlformats.org/drawingml/2006/main" xmlns:r="http://schemas.openxmlformats.org/officeDocument/2006/relationships" xmlns:p="http://schemas.openxmlformats.org/presentationml/2006/main">
  <p:tag name="NAME" val="Moon"/>
</p:tagLst>
</file>

<file path=ppt/tags/tag917.xml><?xml version="1.0" encoding="utf-8"?>
<p:tagLst xmlns:a="http://schemas.openxmlformats.org/drawingml/2006/main" xmlns:r="http://schemas.openxmlformats.org/officeDocument/2006/relationships" xmlns:p="http://schemas.openxmlformats.org/presentationml/2006/main">
  <p:tag name="NAME" val="Moon"/>
</p:tagLst>
</file>

<file path=ppt/tags/tag918.xml><?xml version="1.0" encoding="utf-8"?>
<p:tagLst xmlns:a="http://schemas.openxmlformats.org/drawingml/2006/main" xmlns:r="http://schemas.openxmlformats.org/officeDocument/2006/relationships" xmlns:p="http://schemas.openxmlformats.org/presentationml/2006/main">
  <p:tag name="NAME" val="Moon"/>
</p:tagLst>
</file>

<file path=ppt/tags/tag919.xml><?xml version="1.0" encoding="utf-8"?>
<p:tagLst xmlns:a="http://schemas.openxmlformats.org/drawingml/2006/main" xmlns:r="http://schemas.openxmlformats.org/officeDocument/2006/relationships" xmlns:p="http://schemas.openxmlformats.org/presentationml/2006/main">
  <p:tag name="ISLEGEND" val="true"/>
</p:tagLst>
</file>

<file path=ppt/tags/tag92.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920.xml><?xml version="1.0" encoding="utf-8"?>
<p:tagLst xmlns:a="http://schemas.openxmlformats.org/drawingml/2006/main" xmlns:r="http://schemas.openxmlformats.org/officeDocument/2006/relationships" xmlns:p="http://schemas.openxmlformats.org/presentationml/2006/main">
  <p:tag name="ISLEGEND" val="true"/>
</p:tagLst>
</file>

<file path=ppt/tags/tag921.xml><?xml version="1.0" encoding="utf-8"?>
<p:tagLst xmlns:a="http://schemas.openxmlformats.org/drawingml/2006/main" xmlns:r="http://schemas.openxmlformats.org/officeDocument/2006/relationships" xmlns:p="http://schemas.openxmlformats.org/presentationml/2006/main">
  <p:tag name="ISLEGEND" val="true"/>
</p:tagLst>
</file>

<file path=ppt/tags/tag922.xml><?xml version="1.0" encoding="utf-8"?>
<p:tagLst xmlns:a="http://schemas.openxmlformats.org/drawingml/2006/main" xmlns:r="http://schemas.openxmlformats.org/officeDocument/2006/relationships" xmlns:p="http://schemas.openxmlformats.org/presentationml/2006/main">
  <p:tag name="ISLEGEND" val="true"/>
</p:tagLst>
</file>

<file path=ppt/tags/tag923.xml><?xml version="1.0" encoding="utf-8"?>
<p:tagLst xmlns:a="http://schemas.openxmlformats.org/drawingml/2006/main" xmlns:r="http://schemas.openxmlformats.org/officeDocument/2006/relationships" xmlns:p="http://schemas.openxmlformats.org/presentationml/2006/main">
  <p:tag name="ISLEGEND" val="true"/>
</p:tagLst>
</file>

<file path=ppt/tags/tag924.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925.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926.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927.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928.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929.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93.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930.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931.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932.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933.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934.xml><?xml version="1.0" encoding="utf-8"?>
<p:tagLst xmlns:a="http://schemas.openxmlformats.org/drawingml/2006/main" xmlns:r="http://schemas.openxmlformats.org/officeDocument/2006/relationships" xmlns:p="http://schemas.openxmlformats.org/presentationml/2006/main">
  <p:tag name="ISLEGEND" val="true"/>
</p:tagLst>
</file>

<file path=ppt/tags/tag935.xml><?xml version="1.0" encoding="utf-8"?>
<p:tagLst xmlns:a="http://schemas.openxmlformats.org/drawingml/2006/main" xmlns:r="http://schemas.openxmlformats.org/officeDocument/2006/relationships" xmlns:p="http://schemas.openxmlformats.org/presentationml/2006/main">
  <p:tag name="ISLEGEND" val="true"/>
</p:tagLst>
</file>

<file path=ppt/tags/tag936.xml><?xml version="1.0" encoding="utf-8"?>
<p:tagLst xmlns:a="http://schemas.openxmlformats.org/drawingml/2006/main" xmlns:r="http://schemas.openxmlformats.org/officeDocument/2006/relationships" xmlns:p="http://schemas.openxmlformats.org/presentationml/2006/main">
  <p:tag name="ISLEGEND" val="true"/>
</p:tagLst>
</file>

<file path=ppt/tags/tag937.xml><?xml version="1.0" encoding="utf-8"?>
<p:tagLst xmlns:a="http://schemas.openxmlformats.org/drawingml/2006/main" xmlns:r="http://schemas.openxmlformats.org/officeDocument/2006/relationships" xmlns:p="http://schemas.openxmlformats.org/presentationml/2006/main">
  <p:tag name="ISLEGEND" val="true"/>
</p:tagLst>
</file>

<file path=ppt/tags/tag938.xml><?xml version="1.0" encoding="utf-8"?>
<p:tagLst xmlns:a="http://schemas.openxmlformats.org/drawingml/2006/main" xmlns:r="http://schemas.openxmlformats.org/officeDocument/2006/relationships" xmlns:p="http://schemas.openxmlformats.org/presentationml/2006/main">
  <p:tag name="ISLEGEND" val="true"/>
</p:tagLst>
</file>

<file path=ppt/tags/tag939.xml><?xml version="1.0" encoding="utf-8"?>
<p:tagLst xmlns:a="http://schemas.openxmlformats.org/drawingml/2006/main" xmlns:r="http://schemas.openxmlformats.org/officeDocument/2006/relationships" xmlns:p="http://schemas.openxmlformats.org/presentationml/2006/main">
  <p:tag name="ISLEGEND" val="true"/>
</p:tagLst>
</file>

<file path=ppt/tags/tag94.xml><?xml version="1.0" encoding="utf-8"?>
<p:tagLst xmlns:a="http://schemas.openxmlformats.org/drawingml/2006/main" xmlns:r="http://schemas.openxmlformats.org/officeDocument/2006/relationships" xmlns:p="http://schemas.openxmlformats.org/presentationml/2006/main">
  <p:tag name="ISLEGEND" val="true"/>
</p:tagLst>
</file>

<file path=ppt/tags/tag940.xml><?xml version="1.0" encoding="utf-8"?>
<p:tagLst xmlns:a="http://schemas.openxmlformats.org/drawingml/2006/main" xmlns:r="http://schemas.openxmlformats.org/officeDocument/2006/relationships" xmlns:p="http://schemas.openxmlformats.org/presentationml/2006/main">
  <p:tag name="ISLEGEND" val="true"/>
</p:tagLst>
</file>

<file path=ppt/tags/tag9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3.xml><?xml version="1.0" encoding="utf-8"?>
<p:tagLst xmlns:a="http://schemas.openxmlformats.org/drawingml/2006/main" xmlns:r="http://schemas.openxmlformats.org/officeDocument/2006/relationships" xmlns:p="http://schemas.openxmlformats.org/presentationml/2006/main">
  <p:tag name="NAME" val="Logo"/>
</p:tagLst>
</file>

<file path=ppt/tags/tag9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5.xml><?xml version="1.0" encoding="utf-8"?>
<p:tagLst xmlns:a="http://schemas.openxmlformats.org/drawingml/2006/main" xmlns:r="http://schemas.openxmlformats.org/officeDocument/2006/relationships" xmlns:p="http://schemas.openxmlformats.org/presentationml/2006/main">
  <p:tag name="NAME" val="Logo"/>
</p:tagLst>
</file>

<file path=ppt/tags/tag9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8.xml><?xml version="1.0" encoding="utf-8"?>
<p:tagLst xmlns:a="http://schemas.openxmlformats.org/drawingml/2006/main" xmlns:r="http://schemas.openxmlformats.org/officeDocument/2006/relationships" xmlns:p="http://schemas.openxmlformats.org/presentationml/2006/main">
  <p:tag name="THINKCELLSHAPEDONOTDELETE" val="tdUVaNioeQEy1srSxzx_jYw"/>
</p:tagLst>
</file>

<file path=ppt/tags/tag949.xml><?xml version="1.0" encoding="utf-8"?>
<p:tagLst xmlns:a="http://schemas.openxmlformats.org/drawingml/2006/main" xmlns:r="http://schemas.openxmlformats.org/officeDocument/2006/relationships" xmlns:p="http://schemas.openxmlformats.org/presentationml/2006/main">
  <p:tag name="NAME" val="Moon"/>
</p:tagLst>
</file>

<file path=ppt/tags/tag95.xml><?xml version="1.0" encoding="utf-8"?>
<p:tagLst xmlns:a="http://schemas.openxmlformats.org/drawingml/2006/main" xmlns:r="http://schemas.openxmlformats.org/officeDocument/2006/relationships" xmlns:p="http://schemas.openxmlformats.org/presentationml/2006/main">
  <p:tag name="ISLEGEND" val="true"/>
</p:tagLst>
</file>

<file path=ppt/tags/tag950.xml><?xml version="1.0" encoding="utf-8"?>
<p:tagLst xmlns:a="http://schemas.openxmlformats.org/drawingml/2006/main" xmlns:r="http://schemas.openxmlformats.org/officeDocument/2006/relationships" xmlns:p="http://schemas.openxmlformats.org/presentationml/2006/main">
  <p:tag name="NAME" val="Moon"/>
</p:tagLst>
</file>

<file path=ppt/tags/tag951.xml><?xml version="1.0" encoding="utf-8"?>
<p:tagLst xmlns:a="http://schemas.openxmlformats.org/drawingml/2006/main" xmlns:r="http://schemas.openxmlformats.org/officeDocument/2006/relationships" xmlns:p="http://schemas.openxmlformats.org/presentationml/2006/main">
  <p:tag name="NAME" val="Moon"/>
</p:tagLst>
</file>

<file path=ppt/tags/tag952.xml><?xml version="1.0" encoding="utf-8"?>
<p:tagLst xmlns:a="http://schemas.openxmlformats.org/drawingml/2006/main" xmlns:r="http://schemas.openxmlformats.org/officeDocument/2006/relationships" xmlns:p="http://schemas.openxmlformats.org/presentationml/2006/main">
  <p:tag name="NAME" val="Moon"/>
</p:tagLst>
</file>

<file path=ppt/tags/tag953.xml><?xml version="1.0" encoding="utf-8"?>
<p:tagLst xmlns:a="http://schemas.openxmlformats.org/drawingml/2006/main" xmlns:r="http://schemas.openxmlformats.org/officeDocument/2006/relationships" xmlns:p="http://schemas.openxmlformats.org/presentationml/2006/main">
  <p:tag name="NAME" val="Moon"/>
</p:tagLst>
</file>

<file path=ppt/tags/tag954.xml><?xml version="1.0" encoding="utf-8"?>
<p:tagLst xmlns:a="http://schemas.openxmlformats.org/drawingml/2006/main" xmlns:r="http://schemas.openxmlformats.org/officeDocument/2006/relationships" xmlns:p="http://schemas.openxmlformats.org/presentationml/2006/main">
  <p:tag name="ISLEGEND" val="true"/>
</p:tagLst>
</file>

<file path=ppt/tags/tag955.xml><?xml version="1.0" encoding="utf-8"?>
<p:tagLst xmlns:a="http://schemas.openxmlformats.org/drawingml/2006/main" xmlns:r="http://schemas.openxmlformats.org/officeDocument/2006/relationships" xmlns:p="http://schemas.openxmlformats.org/presentationml/2006/main">
  <p:tag name="ISLEGEND" val="true"/>
</p:tagLst>
</file>

<file path=ppt/tags/tag956.xml><?xml version="1.0" encoding="utf-8"?>
<p:tagLst xmlns:a="http://schemas.openxmlformats.org/drawingml/2006/main" xmlns:r="http://schemas.openxmlformats.org/officeDocument/2006/relationships" xmlns:p="http://schemas.openxmlformats.org/presentationml/2006/main">
  <p:tag name="ISLEGEND" val="true"/>
</p:tagLst>
</file>

<file path=ppt/tags/tag957.xml><?xml version="1.0" encoding="utf-8"?>
<p:tagLst xmlns:a="http://schemas.openxmlformats.org/drawingml/2006/main" xmlns:r="http://schemas.openxmlformats.org/officeDocument/2006/relationships" xmlns:p="http://schemas.openxmlformats.org/presentationml/2006/main">
  <p:tag name="ISLEGEND" val="true"/>
</p:tagLst>
</file>

<file path=ppt/tags/tag958.xml><?xml version="1.0" encoding="utf-8"?>
<p:tagLst xmlns:a="http://schemas.openxmlformats.org/drawingml/2006/main" xmlns:r="http://schemas.openxmlformats.org/officeDocument/2006/relationships" xmlns:p="http://schemas.openxmlformats.org/presentationml/2006/main">
  <p:tag name="ISLEGEND" val="true"/>
</p:tagLst>
</file>

<file path=ppt/tags/tag959.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96.xml><?xml version="1.0" encoding="utf-8"?>
<p:tagLst xmlns:a="http://schemas.openxmlformats.org/drawingml/2006/main" xmlns:r="http://schemas.openxmlformats.org/officeDocument/2006/relationships" xmlns:p="http://schemas.openxmlformats.org/presentationml/2006/main">
  <p:tag name="ISLEGEND" val="true"/>
</p:tagLst>
</file>

<file path=ppt/tags/tag960.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961.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962.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963.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964.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965.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966.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967.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968.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969.xml><?xml version="1.0" encoding="utf-8"?>
<p:tagLst xmlns:a="http://schemas.openxmlformats.org/drawingml/2006/main" xmlns:r="http://schemas.openxmlformats.org/officeDocument/2006/relationships" xmlns:p="http://schemas.openxmlformats.org/presentationml/2006/main">
  <p:tag name="ISLEGEND" val="true"/>
</p:tagLst>
</file>

<file path=ppt/tags/tag97.xml><?xml version="1.0" encoding="utf-8"?>
<p:tagLst xmlns:a="http://schemas.openxmlformats.org/drawingml/2006/main" xmlns:r="http://schemas.openxmlformats.org/officeDocument/2006/relationships" xmlns:p="http://schemas.openxmlformats.org/presentationml/2006/main">
  <p:tag name="ISLEGEND" val="true"/>
</p:tagLst>
</file>

<file path=ppt/tags/tag970.xml><?xml version="1.0" encoding="utf-8"?>
<p:tagLst xmlns:a="http://schemas.openxmlformats.org/drawingml/2006/main" xmlns:r="http://schemas.openxmlformats.org/officeDocument/2006/relationships" xmlns:p="http://schemas.openxmlformats.org/presentationml/2006/main">
  <p:tag name="ISLEGEND" val="true"/>
</p:tagLst>
</file>

<file path=ppt/tags/tag971.xml><?xml version="1.0" encoding="utf-8"?>
<p:tagLst xmlns:a="http://schemas.openxmlformats.org/drawingml/2006/main" xmlns:r="http://schemas.openxmlformats.org/officeDocument/2006/relationships" xmlns:p="http://schemas.openxmlformats.org/presentationml/2006/main">
  <p:tag name="ISLEGEND" val="true"/>
</p:tagLst>
</file>

<file path=ppt/tags/tag972.xml><?xml version="1.0" encoding="utf-8"?>
<p:tagLst xmlns:a="http://schemas.openxmlformats.org/drawingml/2006/main" xmlns:r="http://schemas.openxmlformats.org/officeDocument/2006/relationships" xmlns:p="http://schemas.openxmlformats.org/presentationml/2006/main">
  <p:tag name="ISLEGEND" val="true"/>
</p:tagLst>
</file>

<file path=ppt/tags/tag973.xml><?xml version="1.0" encoding="utf-8"?>
<p:tagLst xmlns:a="http://schemas.openxmlformats.org/drawingml/2006/main" xmlns:r="http://schemas.openxmlformats.org/officeDocument/2006/relationships" xmlns:p="http://schemas.openxmlformats.org/presentationml/2006/main">
  <p:tag name="ISLEGEND" val="true"/>
</p:tagLst>
</file>

<file path=ppt/tags/tag974.xml><?xml version="1.0" encoding="utf-8"?>
<p:tagLst xmlns:a="http://schemas.openxmlformats.org/drawingml/2006/main" xmlns:r="http://schemas.openxmlformats.org/officeDocument/2006/relationships" xmlns:p="http://schemas.openxmlformats.org/presentationml/2006/main">
  <p:tag name="ISLEGEND" val="true"/>
</p:tagLst>
</file>

<file path=ppt/tags/tag975.xml><?xml version="1.0" encoding="utf-8"?>
<p:tagLst xmlns:a="http://schemas.openxmlformats.org/drawingml/2006/main" xmlns:r="http://schemas.openxmlformats.org/officeDocument/2006/relationships" xmlns:p="http://schemas.openxmlformats.org/presentationml/2006/main">
  <p:tag name="ISLEGEND" val="true"/>
</p:tagLst>
</file>

<file path=ppt/tags/tag9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8.xml><?xml version="1.0" encoding="utf-8"?>
<p:tagLst xmlns:a="http://schemas.openxmlformats.org/drawingml/2006/main" xmlns:r="http://schemas.openxmlformats.org/officeDocument/2006/relationships" xmlns:p="http://schemas.openxmlformats.org/presentationml/2006/main">
  <p:tag name="NAME" val="Logo"/>
</p:tagLst>
</file>

<file path=ppt/tags/tag9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ISLEGEND" val="true"/>
</p:tagLst>
</file>

<file path=ppt/tags/tag980.xml><?xml version="1.0" encoding="utf-8"?>
<p:tagLst xmlns:a="http://schemas.openxmlformats.org/drawingml/2006/main" xmlns:r="http://schemas.openxmlformats.org/officeDocument/2006/relationships" xmlns:p="http://schemas.openxmlformats.org/presentationml/2006/main">
  <p:tag name="NAME" val="Logo"/>
</p:tagLst>
</file>

<file path=ppt/tags/tag9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3.xml><?xml version="1.0" encoding="utf-8"?>
<p:tagLst xmlns:a="http://schemas.openxmlformats.org/drawingml/2006/main" xmlns:r="http://schemas.openxmlformats.org/officeDocument/2006/relationships" xmlns:p="http://schemas.openxmlformats.org/presentationml/2006/main">
  <p:tag name="THINKCELLSHAPEDONOTDELETE" val="tdUVaNioeQEy1srSxzx_jYw"/>
</p:tagLst>
</file>

<file path=ppt/tags/tag984.xml><?xml version="1.0" encoding="utf-8"?>
<p:tagLst xmlns:a="http://schemas.openxmlformats.org/drawingml/2006/main" xmlns:r="http://schemas.openxmlformats.org/officeDocument/2006/relationships" xmlns:p="http://schemas.openxmlformats.org/presentationml/2006/main">
  <p:tag name="NAME" val="Moon"/>
</p:tagLst>
</file>

<file path=ppt/tags/tag985.xml><?xml version="1.0" encoding="utf-8"?>
<p:tagLst xmlns:a="http://schemas.openxmlformats.org/drawingml/2006/main" xmlns:r="http://schemas.openxmlformats.org/officeDocument/2006/relationships" xmlns:p="http://schemas.openxmlformats.org/presentationml/2006/main">
  <p:tag name="NAME" val="Moon"/>
</p:tagLst>
</file>

<file path=ppt/tags/tag986.xml><?xml version="1.0" encoding="utf-8"?>
<p:tagLst xmlns:a="http://schemas.openxmlformats.org/drawingml/2006/main" xmlns:r="http://schemas.openxmlformats.org/officeDocument/2006/relationships" xmlns:p="http://schemas.openxmlformats.org/presentationml/2006/main">
  <p:tag name="NAME" val="Moon"/>
</p:tagLst>
</file>

<file path=ppt/tags/tag987.xml><?xml version="1.0" encoding="utf-8"?>
<p:tagLst xmlns:a="http://schemas.openxmlformats.org/drawingml/2006/main" xmlns:r="http://schemas.openxmlformats.org/officeDocument/2006/relationships" xmlns:p="http://schemas.openxmlformats.org/presentationml/2006/main">
  <p:tag name="NAME" val="Moon"/>
</p:tagLst>
</file>

<file path=ppt/tags/tag988.xml><?xml version="1.0" encoding="utf-8"?>
<p:tagLst xmlns:a="http://schemas.openxmlformats.org/drawingml/2006/main" xmlns:r="http://schemas.openxmlformats.org/officeDocument/2006/relationships" xmlns:p="http://schemas.openxmlformats.org/presentationml/2006/main">
  <p:tag name="NAME" val="Moon"/>
</p:tagLst>
</file>

<file path=ppt/tags/tag989.xml><?xml version="1.0" encoding="utf-8"?>
<p:tagLst xmlns:a="http://schemas.openxmlformats.org/drawingml/2006/main" xmlns:r="http://schemas.openxmlformats.org/officeDocument/2006/relationships" xmlns:p="http://schemas.openxmlformats.org/presentationml/2006/main">
  <p:tag name="ISLEGEND" val="true"/>
</p:tagLst>
</file>

<file path=ppt/tags/tag99.xml><?xml version="1.0" encoding="utf-8"?>
<p:tagLst xmlns:a="http://schemas.openxmlformats.org/drawingml/2006/main" xmlns:r="http://schemas.openxmlformats.org/officeDocument/2006/relationships" xmlns:p="http://schemas.openxmlformats.org/presentationml/2006/main">
  <p:tag name="ISLEGEND" val="true"/>
</p:tagLst>
</file>

<file path=ppt/tags/tag990.xml><?xml version="1.0" encoding="utf-8"?>
<p:tagLst xmlns:a="http://schemas.openxmlformats.org/drawingml/2006/main" xmlns:r="http://schemas.openxmlformats.org/officeDocument/2006/relationships" xmlns:p="http://schemas.openxmlformats.org/presentationml/2006/main">
  <p:tag name="ISLEGEND" val="true"/>
</p:tagLst>
</file>

<file path=ppt/tags/tag991.xml><?xml version="1.0" encoding="utf-8"?>
<p:tagLst xmlns:a="http://schemas.openxmlformats.org/drawingml/2006/main" xmlns:r="http://schemas.openxmlformats.org/officeDocument/2006/relationships" xmlns:p="http://schemas.openxmlformats.org/presentationml/2006/main">
  <p:tag name="ISLEGEND" val="true"/>
</p:tagLst>
</file>

<file path=ppt/tags/tag992.xml><?xml version="1.0" encoding="utf-8"?>
<p:tagLst xmlns:a="http://schemas.openxmlformats.org/drawingml/2006/main" xmlns:r="http://schemas.openxmlformats.org/officeDocument/2006/relationships" xmlns:p="http://schemas.openxmlformats.org/presentationml/2006/main">
  <p:tag name="ISLEGEND" val="true"/>
</p:tagLst>
</file>

<file path=ppt/tags/tag993.xml><?xml version="1.0" encoding="utf-8"?>
<p:tagLst xmlns:a="http://schemas.openxmlformats.org/drawingml/2006/main" xmlns:r="http://schemas.openxmlformats.org/officeDocument/2006/relationships" xmlns:p="http://schemas.openxmlformats.org/presentationml/2006/main">
  <p:tag name="ISLEGEND" val="true"/>
</p:tagLst>
</file>

<file path=ppt/tags/tag994.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995.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996.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997.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998.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999.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heme/theme1.xml><?xml version="1.0" encoding="utf-8"?>
<a:theme xmlns:a="http://schemas.openxmlformats.org/drawingml/2006/main" name="2_Firm Format - template">
  <a:themeElements>
    <a:clrScheme name="Cyan_blue">
      <a:dk1>
        <a:srgbClr val="000000"/>
      </a:dk1>
      <a:lt1>
        <a:srgbClr val="FFFFFF"/>
      </a:lt1>
      <a:dk2>
        <a:srgbClr val="002960"/>
      </a:dk2>
      <a:lt2>
        <a:srgbClr val="FFFFFF"/>
      </a:lt2>
      <a:accent1>
        <a:srgbClr val="C5C5C5"/>
      </a:accent1>
      <a:accent2>
        <a:srgbClr val="00ADEF"/>
      </a:accent2>
      <a:accent3>
        <a:srgbClr val="0065BD"/>
      </a:accent3>
      <a:accent4>
        <a:srgbClr val="002960"/>
      </a:accent4>
      <a:accent5>
        <a:srgbClr val="F27F00"/>
      </a:accent5>
      <a:accent6>
        <a:srgbClr val="808080"/>
      </a:accent6>
      <a:hlink>
        <a:srgbClr val="0065BD"/>
      </a:hlink>
      <a:folHlink>
        <a:srgbClr val="002960"/>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McKinsey Grey-Blue">
        <a:dk1>
          <a:srgbClr val="000000"/>
        </a:dk1>
        <a:lt1>
          <a:srgbClr val="FFFFFF"/>
        </a:lt1>
        <a:dk2>
          <a:srgbClr val="002960"/>
        </a:dk2>
        <a:lt2>
          <a:srgbClr val="FFFFFF"/>
        </a:lt2>
        <a:accent1>
          <a:srgbClr val="C5C5C5"/>
        </a:accent1>
        <a:accent2>
          <a:srgbClr val="00ADEF"/>
        </a:accent2>
        <a:accent3>
          <a:srgbClr val="0065BD"/>
        </a:accent3>
        <a:accent4>
          <a:srgbClr val="002960"/>
        </a:accent4>
        <a:accent5>
          <a:srgbClr val="F27F00"/>
        </a:accent5>
        <a:accent6>
          <a:srgbClr val="808080"/>
        </a:accent6>
        <a:hlink>
          <a:srgbClr val="0065BD"/>
        </a:hlink>
        <a:folHlink>
          <a:srgbClr val="002960"/>
        </a:folHlink>
      </a:clrScheme>
      <a:clrMap bg1="lt1" tx1="dk1" bg2="lt2" tx2="dk2" accent1="accent1" accent2="accent2" accent3="accent3" accent4="accent4" accent5="accent5" accent6="accent6" hlink="hlink" folHlink="folHlink"/>
    </a:extraClrScheme>
    <a:extraClrScheme>
      <a:clrScheme name="McKinsey Cyan-Blue">
        <a:dk1>
          <a:srgbClr val="000000"/>
        </a:dk1>
        <a:lt1>
          <a:srgbClr val="FFFFFF"/>
        </a:lt1>
        <a:dk2>
          <a:srgbClr val="002960"/>
        </a:dk2>
        <a:lt2>
          <a:srgbClr val="FFFFFF"/>
        </a:lt2>
        <a:accent1>
          <a:srgbClr val="C9F0FF"/>
        </a:accent1>
        <a:accent2>
          <a:srgbClr val="00ADEF"/>
        </a:accent2>
        <a:accent3>
          <a:srgbClr val="0065BD"/>
        </a:accent3>
        <a:accent4>
          <a:srgbClr val="002960"/>
        </a:accent4>
        <a:accent5>
          <a:srgbClr val="F27F00"/>
        </a:accent5>
        <a:accent6>
          <a:srgbClr val="808080"/>
        </a:accent6>
        <a:hlink>
          <a:srgbClr val="006983"/>
        </a:hlink>
        <a:folHlink>
          <a:srgbClr val="333333"/>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Firm Format - template - LOP - normal" id="{884107A2-67B5-4728-A2AA-FBFCDAA11846}" vid="{53DAF64C-D014-47FF-AB08-CB280DF65A38}"/>
    </a:ext>
  </a:extLst>
</a:theme>
</file>

<file path=ppt/theme/theme10.xml><?xml version="1.0" encoding="utf-8"?>
<a:theme xmlns:a="http://schemas.openxmlformats.org/drawingml/2006/main" name="11_Firm Format - template">
  <a:themeElements>
    <a:clrScheme name="Cyan_blue">
      <a:dk1>
        <a:srgbClr val="000000"/>
      </a:dk1>
      <a:lt1>
        <a:srgbClr val="FFFFFF"/>
      </a:lt1>
      <a:dk2>
        <a:srgbClr val="002960"/>
      </a:dk2>
      <a:lt2>
        <a:srgbClr val="FFFFFF"/>
      </a:lt2>
      <a:accent1>
        <a:srgbClr val="C5C5C5"/>
      </a:accent1>
      <a:accent2>
        <a:srgbClr val="00ADEF"/>
      </a:accent2>
      <a:accent3>
        <a:srgbClr val="0065BD"/>
      </a:accent3>
      <a:accent4>
        <a:srgbClr val="002960"/>
      </a:accent4>
      <a:accent5>
        <a:srgbClr val="F27F00"/>
      </a:accent5>
      <a:accent6>
        <a:srgbClr val="808080"/>
      </a:accent6>
      <a:hlink>
        <a:srgbClr val="0065BD"/>
      </a:hlink>
      <a:folHlink>
        <a:srgbClr val="002960"/>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McKinsey Grey-Blue">
        <a:dk1>
          <a:srgbClr val="000000"/>
        </a:dk1>
        <a:lt1>
          <a:srgbClr val="FFFFFF"/>
        </a:lt1>
        <a:dk2>
          <a:srgbClr val="002960"/>
        </a:dk2>
        <a:lt2>
          <a:srgbClr val="FFFFFF"/>
        </a:lt2>
        <a:accent1>
          <a:srgbClr val="C5C5C5"/>
        </a:accent1>
        <a:accent2>
          <a:srgbClr val="00ADEF"/>
        </a:accent2>
        <a:accent3>
          <a:srgbClr val="0065BD"/>
        </a:accent3>
        <a:accent4>
          <a:srgbClr val="002960"/>
        </a:accent4>
        <a:accent5>
          <a:srgbClr val="F27F00"/>
        </a:accent5>
        <a:accent6>
          <a:srgbClr val="808080"/>
        </a:accent6>
        <a:hlink>
          <a:srgbClr val="0065BD"/>
        </a:hlink>
        <a:folHlink>
          <a:srgbClr val="002960"/>
        </a:folHlink>
      </a:clrScheme>
      <a:clrMap bg1="lt1" tx1="dk1" bg2="lt2" tx2="dk2" accent1="accent1" accent2="accent2" accent3="accent3" accent4="accent4" accent5="accent5" accent6="accent6" hlink="hlink" folHlink="folHlink"/>
    </a:extraClrScheme>
    <a:extraClrScheme>
      <a:clrScheme name="McKinsey Cyan-Blue">
        <a:dk1>
          <a:srgbClr val="000000"/>
        </a:dk1>
        <a:lt1>
          <a:srgbClr val="FFFFFF"/>
        </a:lt1>
        <a:dk2>
          <a:srgbClr val="002960"/>
        </a:dk2>
        <a:lt2>
          <a:srgbClr val="FFFFFF"/>
        </a:lt2>
        <a:accent1>
          <a:srgbClr val="C9F0FF"/>
        </a:accent1>
        <a:accent2>
          <a:srgbClr val="00ADEF"/>
        </a:accent2>
        <a:accent3>
          <a:srgbClr val="0065BD"/>
        </a:accent3>
        <a:accent4>
          <a:srgbClr val="002960"/>
        </a:accent4>
        <a:accent5>
          <a:srgbClr val="F27F00"/>
        </a:accent5>
        <a:accent6>
          <a:srgbClr val="808080"/>
        </a:accent6>
        <a:hlink>
          <a:srgbClr val="006983"/>
        </a:hlink>
        <a:folHlink>
          <a:srgbClr val="333333"/>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Firm Format - template - LOP - normal" id="{884107A2-67B5-4728-A2AA-FBFCDAA11846}" vid="{53DAF64C-D014-47FF-AB08-CB280DF65A38}"/>
    </a:ext>
  </a:extLst>
</a:theme>
</file>

<file path=ppt/theme/theme11.xml><?xml version="1.0" encoding="utf-8"?>
<a:theme xmlns:a="http://schemas.openxmlformats.org/drawingml/2006/main" name="12_Firm Format - template">
  <a:themeElements>
    <a:clrScheme name="Cyan_blue">
      <a:dk1>
        <a:srgbClr val="000000"/>
      </a:dk1>
      <a:lt1>
        <a:srgbClr val="FFFFFF"/>
      </a:lt1>
      <a:dk2>
        <a:srgbClr val="002960"/>
      </a:dk2>
      <a:lt2>
        <a:srgbClr val="FFFFFF"/>
      </a:lt2>
      <a:accent1>
        <a:srgbClr val="C5C5C5"/>
      </a:accent1>
      <a:accent2>
        <a:srgbClr val="00ADEF"/>
      </a:accent2>
      <a:accent3>
        <a:srgbClr val="0065BD"/>
      </a:accent3>
      <a:accent4>
        <a:srgbClr val="002960"/>
      </a:accent4>
      <a:accent5>
        <a:srgbClr val="F27F00"/>
      </a:accent5>
      <a:accent6>
        <a:srgbClr val="808080"/>
      </a:accent6>
      <a:hlink>
        <a:srgbClr val="0065BD"/>
      </a:hlink>
      <a:folHlink>
        <a:srgbClr val="002960"/>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McKinsey Grey-Blue">
        <a:dk1>
          <a:srgbClr val="000000"/>
        </a:dk1>
        <a:lt1>
          <a:srgbClr val="FFFFFF"/>
        </a:lt1>
        <a:dk2>
          <a:srgbClr val="002960"/>
        </a:dk2>
        <a:lt2>
          <a:srgbClr val="FFFFFF"/>
        </a:lt2>
        <a:accent1>
          <a:srgbClr val="C5C5C5"/>
        </a:accent1>
        <a:accent2>
          <a:srgbClr val="00ADEF"/>
        </a:accent2>
        <a:accent3>
          <a:srgbClr val="0065BD"/>
        </a:accent3>
        <a:accent4>
          <a:srgbClr val="002960"/>
        </a:accent4>
        <a:accent5>
          <a:srgbClr val="F27F00"/>
        </a:accent5>
        <a:accent6>
          <a:srgbClr val="808080"/>
        </a:accent6>
        <a:hlink>
          <a:srgbClr val="0065BD"/>
        </a:hlink>
        <a:folHlink>
          <a:srgbClr val="002960"/>
        </a:folHlink>
      </a:clrScheme>
      <a:clrMap bg1="lt1" tx1="dk1" bg2="lt2" tx2="dk2" accent1="accent1" accent2="accent2" accent3="accent3" accent4="accent4" accent5="accent5" accent6="accent6" hlink="hlink" folHlink="folHlink"/>
    </a:extraClrScheme>
    <a:extraClrScheme>
      <a:clrScheme name="McKinsey Cyan-Blue">
        <a:dk1>
          <a:srgbClr val="000000"/>
        </a:dk1>
        <a:lt1>
          <a:srgbClr val="FFFFFF"/>
        </a:lt1>
        <a:dk2>
          <a:srgbClr val="002960"/>
        </a:dk2>
        <a:lt2>
          <a:srgbClr val="FFFFFF"/>
        </a:lt2>
        <a:accent1>
          <a:srgbClr val="C9F0FF"/>
        </a:accent1>
        <a:accent2>
          <a:srgbClr val="00ADEF"/>
        </a:accent2>
        <a:accent3>
          <a:srgbClr val="0065BD"/>
        </a:accent3>
        <a:accent4>
          <a:srgbClr val="002960"/>
        </a:accent4>
        <a:accent5>
          <a:srgbClr val="F27F00"/>
        </a:accent5>
        <a:accent6>
          <a:srgbClr val="808080"/>
        </a:accent6>
        <a:hlink>
          <a:srgbClr val="006983"/>
        </a:hlink>
        <a:folHlink>
          <a:srgbClr val="333333"/>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Firm Format - template - LOP - normal" id="{884107A2-67B5-4728-A2AA-FBFCDAA11846}" vid="{53DAF64C-D014-47FF-AB08-CB280DF65A38}"/>
    </a:ext>
  </a:extLst>
</a:theme>
</file>

<file path=ppt/theme/theme12.xml><?xml version="1.0" encoding="utf-8"?>
<a:theme xmlns:a="http://schemas.openxmlformats.org/drawingml/2006/main" name="13_Firm Format - template">
  <a:themeElements>
    <a:clrScheme name="Cyan_blue">
      <a:dk1>
        <a:srgbClr val="000000"/>
      </a:dk1>
      <a:lt1>
        <a:srgbClr val="FFFFFF"/>
      </a:lt1>
      <a:dk2>
        <a:srgbClr val="002960"/>
      </a:dk2>
      <a:lt2>
        <a:srgbClr val="FFFFFF"/>
      </a:lt2>
      <a:accent1>
        <a:srgbClr val="C5C5C5"/>
      </a:accent1>
      <a:accent2>
        <a:srgbClr val="00ADEF"/>
      </a:accent2>
      <a:accent3>
        <a:srgbClr val="0065BD"/>
      </a:accent3>
      <a:accent4>
        <a:srgbClr val="002960"/>
      </a:accent4>
      <a:accent5>
        <a:srgbClr val="F27F00"/>
      </a:accent5>
      <a:accent6>
        <a:srgbClr val="808080"/>
      </a:accent6>
      <a:hlink>
        <a:srgbClr val="0065BD"/>
      </a:hlink>
      <a:folHlink>
        <a:srgbClr val="002960"/>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McKinsey Grey-Blue">
        <a:dk1>
          <a:srgbClr val="000000"/>
        </a:dk1>
        <a:lt1>
          <a:srgbClr val="FFFFFF"/>
        </a:lt1>
        <a:dk2>
          <a:srgbClr val="002960"/>
        </a:dk2>
        <a:lt2>
          <a:srgbClr val="FFFFFF"/>
        </a:lt2>
        <a:accent1>
          <a:srgbClr val="C5C5C5"/>
        </a:accent1>
        <a:accent2>
          <a:srgbClr val="00ADEF"/>
        </a:accent2>
        <a:accent3>
          <a:srgbClr val="0065BD"/>
        </a:accent3>
        <a:accent4>
          <a:srgbClr val="002960"/>
        </a:accent4>
        <a:accent5>
          <a:srgbClr val="F27F00"/>
        </a:accent5>
        <a:accent6>
          <a:srgbClr val="808080"/>
        </a:accent6>
        <a:hlink>
          <a:srgbClr val="0065BD"/>
        </a:hlink>
        <a:folHlink>
          <a:srgbClr val="002960"/>
        </a:folHlink>
      </a:clrScheme>
      <a:clrMap bg1="lt1" tx1="dk1" bg2="lt2" tx2="dk2" accent1="accent1" accent2="accent2" accent3="accent3" accent4="accent4" accent5="accent5" accent6="accent6" hlink="hlink" folHlink="folHlink"/>
    </a:extraClrScheme>
    <a:extraClrScheme>
      <a:clrScheme name="McKinsey Cyan-Blue">
        <a:dk1>
          <a:srgbClr val="000000"/>
        </a:dk1>
        <a:lt1>
          <a:srgbClr val="FFFFFF"/>
        </a:lt1>
        <a:dk2>
          <a:srgbClr val="002960"/>
        </a:dk2>
        <a:lt2>
          <a:srgbClr val="FFFFFF"/>
        </a:lt2>
        <a:accent1>
          <a:srgbClr val="C9F0FF"/>
        </a:accent1>
        <a:accent2>
          <a:srgbClr val="00ADEF"/>
        </a:accent2>
        <a:accent3>
          <a:srgbClr val="0065BD"/>
        </a:accent3>
        <a:accent4>
          <a:srgbClr val="002960"/>
        </a:accent4>
        <a:accent5>
          <a:srgbClr val="F27F00"/>
        </a:accent5>
        <a:accent6>
          <a:srgbClr val="808080"/>
        </a:accent6>
        <a:hlink>
          <a:srgbClr val="006983"/>
        </a:hlink>
        <a:folHlink>
          <a:srgbClr val="333333"/>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Firm Format - template - LOP - normal" id="{884107A2-67B5-4728-A2AA-FBFCDAA11846}" vid="{53DAF64C-D014-47FF-AB08-CB280DF65A38}"/>
    </a:ext>
  </a:extLst>
</a:theme>
</file>

<file path=ppt/theme/theme13.xml><?xml version="1.0" encoding="utf-8"?>
<a:theme xmlns:a="http://schemas.openxmlformats.org/drawingml/2006/main" name="14_Firm Format - template">
  <a:themeElements>
    <a:clrScheme name="Cyan_blue">
      <a:dk1>
        <a:srgbClr val="000000"/>
      </a:dk1>
      <a:lt1>
        <a:srgbClr val="FFFFFF"/>
      </a:lt1>
      <a:dk2>
        <a:srgbClr val="002960"/>
      </a:dk2>
      <a:lt2>
        <a:srgbClr val="FFFFFF"/>
      </a:lt2>
      <a:accent1>
        <a:srgbClr val="C5C5C5"/>
      </a:accent1>
      <a:accent2>
        <a:srgbClr val="00ADEF"/>
      </a:accent2>
      <a:accent3>
        <a:srgbClr val="0065BD"/>
      </a:accent3>
      <a:accent4>
        <a:srgbClr val="002960"/>
      </a:accent4>
      <a:accent5>
        <a:srgbClr val="F27F00"/>
      </a:accent5>
      <a:accent6>
        <a:srgbClr val="808080"/>
      </a:accent6>
      <a:hlink>
        <a:srgbClr val="0065BD"/>
      </a:hlink>
      <a:folHlink>
        <a:srgbClr val="002960"/>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McKinsey Grey-Blue">
        <a:dk1>
          <a:srgbClr val="000000"/>
        </a:dk1>
        <a:lt1>
          <a:srgbClr val="FFFFFF"/>
        </a:lt1>
        <a:dk2>
          <a:srgbClr val="002960"/>
        </a:dk2>
        <a:lt2>
          <a:srgbClr val="FFFFFF"/>
        </a:lt2>
        <a:accent1>
          <a:srgbClr val="C5C5C5"/>
        </a:accent1>
        <a:accent2>
          <a:srgbClr val="00ADEF"/>
        </a:accent2>
        <a:accent3>
          <a:srgbClr val="0065BD"/>
        </a:accent3>
        <a:accent4>
          <a:srgbClr val="002960"/>
        </a:accent4>
        <a:accent5>
          <a:srgbClr val="F27F00"/>
        </a:accent5>
        <a:accent6>
          <a:srgbClr val="808080"/>
        </a:accent6>
        <a:hlink>
          <a:srgbClr val="0065BD"/>
        </a:hlink>
        <a:folHlink>
          <a:srgbClr val="002960"/>
        </a:folHlink>
      </a:clrScheme>
      <a:clrMap bg1="lt1" tx1="dk1" bg2="lt2" tx2="dk2" accent1="accent1" accent2="accent2" accent3="accent3" accent4="accent4" accent5="accent5" accent6="accent6" hlink="hlink" folHlink="folHlink"/>
    </a:extraClrScheme>
    <a:extraClrScheme>
      <a:clrScheme name="McKinsey Cyan-Blue">
        <a:dk1>
          <a:srgbClr val="000000"/>
        </a:dk1>
        <a:lt1>
          <a:srgbClr val="FFFFFF"/>
        </a:lt1>
        <a:dk2>
          <a:srgbClr val="002960"/>
        </a:dk2>
        <a:lt2>
          <a:srgbClr val="FFFFFF"/>
        </a:lt2>
        <a:accent1>
          <a:srgbClr val="C9F0FF"/>
        </a:accent1>
        <a:accent2>
          <a:srgbClr val="00ADEF"/>
        </a:accent2>
        <a:accent3>
          <a:srgbClr val="0065BD"/>
        </a:accent3>
        <a:accent4>
          <a:srgbClr val="002960"/>
        </a:accent4>
        <a:accent5>
          <a:srgbClr val="F27F00"/>
        </a:accent5>
        <a:accent6>
          <a:srgbClr val="808080"/>
        </a:accent6>
        <a:hlink>
          <a:srgbClr val="006983"/>
        </a:hlink>
        <a:folHlink>
          <a:srgbClr val="333333"/>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Firm Format - template - LOP - normal" id="{884107A2-67B5-4728-A2AA-FBFCDAA11846}" vid="{53DAF64C-D014-47FF-AB08-CB280DF65A38}"/>
    </a:ext>
  </a:extLst>
</a:theme>
</file>

<file path=ppt/theme/theme14.xml><?xml version="1.0" encoding="utf-8"?>
<a:theme xmlns:a="http://schemas.openxmlformats.org/drawingml/2006/main" name="15_Firm Format - template">
  <a:themeElements>
    <a:clrScheme name="Cyan_blue">
      <a:dk1>
        <a:srgbClr val="000000"/>
      </a:dk1>
      <a:lt1>
        <a:srgbClr val="FFFFFF"/>
      </a:lt1>
      <a:dk2>
        <a:srgbClr val="002960"/>
      </a:dk2>
      <a:lt2>
        <a:srgbClr val="FFFFFF"/>
      </a:lt2>
      <a:accent1>
        <a:srgbClr val="C5C5C5"/>
      </a:accent1>
      <a:accent2>
        <a:srgbClr val="00ADEF"/>
      </a:accent2>
      <a:accent3>
        <a:srgbClr val="0065BD"/>
      </a:accent3>
      <a:accent4>
        <a:srgbClr val="002960"/>
      </a:accent4>
      <a:accent5>
        <a:srgbClr val="F27F00"/>
      </a:accent5>
      <a:accent6>
        <a:srgbClr val="808080"/>
      </a:accent6>
      <a:hlink>
        <a:srgbClr val="0065BD"/>
      </a:hlink>
      <a:folHlink>
        <a:srgbClr val="002960"/>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McKinsey Grey-Blue">
        <a:dk1>
          <a:srgbClr val="000000"/>
        </a:dk1>
        <a:lt1>
          <a:srgbClr val="FFFFFF"/>
        </a:lt1>
        <a:dk2>
          <a:srgbClr val="002960"/>
        </a:dk2>
        <a:lt2>
          <a:srgbClr val="FFFFFF"/>
        </a:lt2>
        <a:accent1>
          <a:srgbClr val="C5C5C5"/>
        </a:accent1>
        <a:accent2>
          <a:srgbClr val="00ADEF"/>
        </a:accent2>
        <a:accent3>
          <a:srgbClr val="0065BD"/>
        </a:accent3>
        <a:accent4>
          <a:srgbClr val="002960"/>
        </a:accent4>
        <a:accent5>
          <a:srgbClr val="F27F00"/>
        </a:accent5>
        <a:accent6>
          <a:srgbClr val="808080"/>
        </a:accent6>
        <a:hlink>
          <a:srgbClr val="0065BD"/>
        </a:hlink>
        <a:folHlink>
          <a:srgbClr val="002960"/>
        </a:folHlink>
      </a:clrScheme>
      <a:clrMap bg1="lt1" tx1="dk1" bg2="lt2" tx2="dk2" accent1="accent1" accent2="accent2" accent3="accent3" accent4="accent4" accent5="accent5" accent6="accent6" hlink="hlink" folHlink="folHlink"/>
    </a:extraClrScheme>
    <a:extraClrScheme>
      <a:clrScheme name="McKinsey Cyan-Blue">
        <a:dk1>
          <a:srgbClr val="000000"/>
        </a:dk1>
        <a:lt1>
          <a:srgbClr val="FFFFFF"/>
        </a:lt1>
        <a:dk2>
          <a:srgbClr val="002960"/>
        </a:dk2>
        <a:lt2>
          <a:srgbClr val="FFFFFF"/>
        </a:lt2>
        <a:accent1>
          <a:srgbClr val="C9F0FF"/>
        </a:accent1>
        <a:accent2>
          <a:srgbClr val="00ADEF"/>
        </a:accent2>
        <a:accent3>
          <a:srgbClr val="0065BD"/>
        </a:accent3>
        <a:accent4>
          <a:srgbClr val="002960"/>
        </a:accent4>
        <a:accent5>
          <a:srgbClr val="F27F00"/>
        </a:accent5>
        <a:accent6>
          <a:srgbClr val="808080"/>
        </a:accent6>
        <a:hlink>
          <a:srgbClr val="006983"/>
        </a:hlink>
        <a:folHlink>
          <a:srgbClr val="333333"/>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Firm Format - template - LOP - normal" id="{884107A2-67B5-4728-A2AA-FBFCDAA11846}" vid="{53DAF64C-D014-47FF-AB08-CB280DF65A38}"/>
    </a:ext>
  </a:extLst>
</a:theme>
</file>

<file path=ppt/theme/theme15.xml><?xml version="1.0" encoding="utf-8"?>
<a:theme xmlns:a="http://schemas.openxmlformats.org/drawingml/2006/main" name="16_Firm Format - template">
  <a:themeElements>
    <a:clrScheme name="Cyan_blue">
      <a:dk1>
        <a:srgbClr val="000000"/>
      </a:dk1>
      <a:lt1>
        <a:srgbClr val="FFFFFF"/>
      </a:lt1>
      <a:dk2>
        <a:srgbClr val="002960"/>
      </a:dk2>
      <a:lt2>
        <a:srgbClr val="FFFFFF"/>
      </a:lt2>
      <a:accent1>
        <a:srgbClr val="C5C5C5"/>
      </a:accent1>
      <a:accent2>
        <a:srgbClr val="00ADEF"/>
      </a:accent2>
      <a:accent3>
        <a:srgbClr val="0065BD"/>
      </a:accent3>
      <a:accent4>
        <a:srgbClr val="002960"/>
      </a:accent4>
      <a:accent5>
        <a:srgbClr val="F27F00"/>
      </a:accent5>
      <a:accent6>
        <a:srgbClr val="808080"/>
      </a:accent6>
      <a:hlink>
        <a:srgbClr val="0065BD"/>
      </a:hlink>
      <a:folHlink>
        <a:srgbClr val="002960"/>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McKinsey Grey-Blue">
        <a:dk1>
          <a:srgbClr val="000000"/>
        </a:dk1>
        <a:lt1>
          <a:srgbClr val="FFFFFF"/>
        </a:lt1>
        <a:dk2>
          <a:srgbClr val="002960"/>
        </a:dk2>
        <a:lt2>
          <a:srgbClr val="FFFFFF"/>
        </a:lt2>
        <a:accent1>
          <a:srgbClr val="C5C5C5"/>
        </a:accent1>
        <a:accent2>
          <a:srgbClr val="00ADEF"/>
        </a:accent2>
        <a:accent3>
          <a:srgbClr val="0065BD"/>
        </a:accent3>
        <a:accent4>
          <a:srgbClr val="002960"/>
        </a:accent4>
        <a:accent5>
          <a:srgbClr val="F27F00"/>
        </a:accent5>
        <a:accent6>
          <a:srgbClr val="808080"/>
        </a:accent6>
        <a:hlink>
          <a:srgbClr val="0065BD"/>
        </a:hlink>
        <a:folHlink>
          <a:srgbClr val="002960"/>
        </a:folHlink>
      </a:clrScheme>
      <a:clrMap bg1="lt1" tx1="dk1" bg2="lt2" tx2="dk2" accent1="accent1" accent2="accent2" accent3="accent3" accent4="accent4" accent5="accent5" accent6="accent6" hlink="hlink" folHlink="folHlink"/>
    </a:extraClrScheme>
    <a:extraClrScheme>
      <a:clrScheme name="McKinsey Cyan-Blue">
        <a:dk1>
          <a:srgbClr val="000000"/>
        </a:dk1>
        <a:lt1>
          <a:srgbClr val="FFFFFF"/>
        </a:lt1>
        <a:dk2>
          <a:srgbClr val="002960"/>
        </a:dk2>
        <a:lt2>
          <a:srgbClr val="FFFFFF"/>
        </a:lt2>
        <a:accent1>
          <a:srgbClr val="C9F0FF"/>
        </a:accent1>
        <a:accent2>
          <a:srgbClr val="00ADEF"/>
        </a:accent2>
        <a:accent3>
          <a:srgbClr val="0065BD"/>
        </a:accent3>
        <a:accent4>
          <a:srgbClr val="002960"/>
        </a:accent4>
        <a:accent5>
          <a:srgbClr val="F27F00"/>
        </a:accent5>
        <a:accent6>
          <a:srgbClr val="808080"/>
        </a:accent6>
        <a:hlink>
          <a:srgbClr val="006983"/>
        </a:hlink>
        <a:folHlink>
          <a:srgbClr val="333333"/>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Firm Format - template - LOP - normal" id="{884107A2-67B5-4728-A2AA-FBFCDAA11846}" vid="{53DAF64C-D014-47FF-AB08-CB280DF65A38}"/>
    </a:ext>
  </a:extLst>
</a:theme>
</file>

<file path=ppt/theme/theme16.xml><?xml version="1.0" encoding="utf-8"?>
<a:theme xmlns:a="http://schemas.openxmlformats.org/drawingml/2006/main" name="17_Firm Format - template">
  <a:themeElements>
    <a:clrScheme name="Cyan_blue">
      <a:dk1>
        <a:srgbClr val="000000"/>
      </a:dk1>
      <a:lt1>
        <a:srgbClr val="FFFFFF"/>
      </a:lt1>
      <a:dk2>
        <a:srgbClr val="002960"/>
      </a:dk2>
      <a:lt2>
        <a:srgbClr val="FFFFFF"/>
      </a:lt2>
      <a:accent1>
        <a:srgbClr val="C5C5C5"/>
      </a:accent1>
      <a:accent2>
        <a:srgbClr val="00ADEF"/>
      </a:accent2>
      <a:accent3>
        <a:srgbClr val="0065BD"/>
      </a:accent3>
      <a:accent4>
        <a:srgbClr val="002960"/>
      </a:accent4>
      <a:accent5>
        <a:srgbClr val="F27F00"/>
      </a:accent5>
      <a:accent6>
        <a:srgbClr val="808080"/>
      </a:accent6>
      <a:hlink>
        <a:srgbClr val="0065BD"/>
      </a:hlink>
      <a:folHlink>
        <a:srgbClr val="002960"/>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McKinsey Grey-Blue">
        <a:dk1>
          <a:srgbClr val="000000"/>
        </a:dk1>
        <a:lt1>
          <a:srgbClr val="FFFFFF"/>
        </a:lt1>
        <a:dk2>
          <a:srgbClr val="002960"/>
        </a:dk2>
        <a:lt2>
          <a:srgbClr val="FFFFFF"/>
        </a:lt2>
        <a:accent1>
          <a:srgbClr val="C5C5C5"/>
        </a:accent1>
        <a:accent2>
          <a:srgbClr val="00ADEF"/>
        </a:accent2>
        <a:accent3>
          <a:srgbClr val="0065BD"/>
        </a:accent3>
        <a:accent4>
          <a:srgbClr val="002960"/>
        </a:accent4>
        <a:accent5>
          <a:srgbClr val="F27F00"/>
        </a:accent5>
        <a:accent6>
          <a:srgbClr val="808080"/>
        </a:accent6>
        <a:hlink>
          <a:srgbClr val="0065BD"/>
        </a:hlink>
        <a:folHlink>
          <a:srgbClr val="002960"/>
        </a:folHlink>
      </a:clrScheme>
      <a:clrMap bg1="lt1" tx1="dk1" bg2="lt2" tx2="dk2" accent1="accent1" accent2="accent2" accent3="accent3" accent4="accent4" accent5="accent5" accent6="accent6" hlink="hlink" folHlink="folHlink"/>
    </a:extraClrScheme>
    <a:extraClrScheme>
      <a:clrScheme name="McKinsey Cyan-Blue">
        <a:dk1>
          <a:srgbClr val="000000"/>
        </a:dk1>
        <a:lt1>
          <a:srgbClr val="FFFFFF"/>
        </a:lt1>
        <a:dk2>
          <a:srgbClr val="002960"/>
        </a:dk2>
        <a:lt2>
          <a:srgbClr val="FFFFFF"/>
        </a:lt2>
        <a:accent1>
          <a:srgbClr val="C9F0FF"/>
        </a:accent1>
        <a:accent2>
          <a:srgbClr val="00ADEF"/>
        </a:accent2>
        <a:accent3>
          <a:srgbClr val="0065BD"/>
        </a:accent3>
        <a:accent4>
          <a:srgbClr val="002960"/>
        </a:accent4>
        <a:accent5>
          <a:srgbClr val="F27F00"/>
        </a:accent5>
        <a:accent6>
          <a:srgbClr val="808080"/>
        </a:accent6>
        <a:hlink>
          <a:srgbClr val="006983"/>
        </a:hlink>
        <a:folHlink>
          <a:srgbClr val="333333"/>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Firm Format - template - LOP - normal" id="{884107A2-67B5-4728-A2AA-FBFCDAA11846}" vid="{53DAF64C-D014-47FF-AB08-CB280DF65A38}"/>
    </a:ext>
  </a:extLst>
</a:theme>
</file>

<file path=ppt/theme/theme17.xml><?xml version="1.0" encoding="utf-8"?>
<a:theme xmlns:a="http://schemas.openxmlformats.org/drawingml/2006/main" name="18_Firm Format - template">
  <a:themeElements>
    <a:clrScheme name="Cyan_blue">
      <a:dk1>
        <a:srgbClr val="000000"/>
      </a:dk1>
      <a:lt1>
        <a:srgbClr val="FFFFFF"/>
      </a:lt1>
      <a:dk2>
        <a:srgbClr val="002960"/>
      </a:dk2>
      <a:lt2>
        <a:srgbClr val="FFFFFF"/>
      </a:lt2>
      <a:accent1>
        <a:srgbClr val="C5C5C5"/>
      </a:accent1>
      <a:accent2>
        <a:srgbClr val="00ADEF"/>
      </a:accent2>
      <a:accent3>
        <a:srgbClr val="0065BD"/>
      </a:accent3>
      <a:accent4>
        <a:srgbClr val="002960"/>
      </a:accent4>
      <a:accent5>
        <a:srgbClr val="F27F00"/>
      </a:accent5>
      <a:accent6>
        <a:srgbClr val="808080"/>
      </a:accent6>
      <a:hlink>
        <a:srgbClr val="0065BD"/>
      </a:hlink>
      <a:folHlink>
        <a:srgbClr val="002960"/>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McKinsey Grey-Blue">
        <a:dk1>
          <a:srgbClr val="000000"/>
        </a:dk1>
        <a:lt1>
          <a:srgbClr val="FFFFFF"/>
        </a:lt1>
        <a:dk2>
          <a:srgbClr val="002960"/>
        </a:dk2>
        <a:lt2>
          <a:srgbClr val="FFFFFF"/>
        </a:lt2>
        <a:accent1>
          <a:srgbClr val="C5C5C5"/>
        </a:accent1>
        <a:accent2>
          <a:srgbClr val="00ADEF"/>
        </a:accent2>
        <a:accent3>
          <a:srgbClr val="0065BD"/>
        </a:accent3>
        <a:accent4>
          <a:srgbClr val="002960"/>
        </a:accent4>
        <a:accent5>
          <a:srgbClr val="F27F00"/>
        </a:accent5>
        <a:accent6>
          <a:srgbClr val="808080"/>
        </a:accent6>
        <a:hlink>
          <a:srgbClr val="0065BD"/>
        </a:hlink>
        <a:folHlink>
          <a:srgbClr val="002960"/>
        </a:folHlink>
      </a:clrScheme>
      <a:clrMap bg1="lt1" tx1="dk1" bg2="lt2" tx2="dk2" accent1="accent1" accent2="accent2" accent3="accent3" accent4="accent4" accent5="accent5" accent6="accent6" hlink="hlink" folHlink="folHlink"/>
    </a:extraClrScheme>
    <a:extraClrScheme>
      <a:clrScheme name="McKinsey Cyan-Blue">
        <a:dk1>
          <a:srgbClr val="000000"/>
        </a:dk1>
        <a:lt1>
          <a:srgbClr val="FFFFFF"/>
        </a:lt1>
        <a:dk2>
          <a:srgbClr val="002960"/>
        </a:dk2>
        <a:lt2>
          <a:srgbClr val="FFFFFF"/>
        </a:lt2>
        <a:accent1>
          <a:srgbClr val="C9F0FF"/>
        </a:accent1>
        <a:accent2>
          <a:srgbClr val="00ADEF"/>
        </a:accent2>
        <a:accent3>
          <a:srgbClr val="0065BD"/>
        </a:accent3>
        <a:accent4>
          <a:srgbClr val="002960"/>
        </a:accent4>
        <a:accent5>
          <a:srgbClr val="F27F00"/>
        </a:accent5>
        <a:accent6>
          <a:srgbClr val="808080"/>
        </a:accent6>
        <a:hlink>
          <a:srgbClr val="006983"/>
        </a:hlink>
        <a:folHlink>
          <a:srgbClr val="333333"/>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Firm Format - template - LOP - normal" id="{884107A2-67B5-4728-A2AA-FBFCDAA11846}" vid="{53DAF64C-D014-47FF-AB08-CB280DF65A38}"/>
    </a:ext>
  </a:extLst>
</a:theme>
</file>

<file path=ppt/theme/theme18.xml><?xml version="1.0" encoding="utf-8"?>
<a:theme xmlns:a="http://schemas.openxmlformats.org/drawingml/2006/main" name="19_Firm Format - template">
  <a:themeElements>
    <a:clrScheme name="Cyan_blue">
      <a:dk1>
        <a:srgbClr val="000000"/>
      </a:dk1>
      <a:lt1>
        <a:srgbClr val="FFFFFF"/>
      </a:lt1>
      <a:dk2>
        <a:srgbClr val="002960"/>
      </a:dk2>
      <a:lt2>
        <a:srgbClr val="FFFFFF"/>
      </a:lt2>
      <a:accent1>
        <a:srgbClr val="C5C5C5"/>
      </a:accent1>
      <a:accent2>
        <a:srgbClr val="00ADEF"/>
      </a:accent2>
      <a:accent3>
        <a:srgbClr val="0065BD"/>
      </a:accent3>
      <a:accent4>
        <a:srgbClr val="002960"/>
      </a:accent4>
      <a:accent5>
        <a:srgbClr val="F27F00"/>
      </a:accent5>
      <a:accent6>
        <a:srgbClr val="808080"/>
      </a:accent6>
      <a:hlink>
        <a:srgbClr val="0065BD"/>
      </a:hlink>
      <a:folHlink>
        <a:srgbClr val="002960"/>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McKinsey Grey-Blue">
        <a:dk1>
          <a:srgbClr val="000000"/>
        </a:dk1>
        <a:lt1>
          <a:srgbClr val="FFFFFF"/>
        </a:lt1>
        <a:dk2>
          <a:srgbClr val="002960"/>
        </a:dk2>
        <a:lt2>
          <a:srgbClr val="FFFFFF"/>
        </a:lt2>
        <a:accent1>
          <a:srgbClr val="C5C5C5"/>
        </a:accent1>
        <a:accent2>
          <a:srgbClr val="00ADEF"/>
        </a:accent2>
        <a:accent3>
          <a:srgbClr val="0065BD"/>
        </a:accent3>
        <a:accent4>
          <a:srgbClr val="002960"/>
        </a:accent4>
        <a:accent5>
          <a:srgbClr val="F27F00"/>
        </a:accent5>
        <a:accent6>
          <a:srgbClr val="808080"/>
        </a:accent6>
        <a:hlink>
          <a:srgbClr val="0065BD"/>
        </a:hlink>
        <a:folHlink>
          <a:srgbClr val="002960"/>
        </a:folHlink>
      </a:clrScheme>
      <a:clrMap bg1="lt1" tx1="dk1" bg2="lt2" tx2="dk2" accent1="accent1" accent2="accent2" accent3="accent3" accent4="accent4" accent5="accent5" accent6="accent6" hlink="hlink" folHlink="folHlink"/>
    </a:extraClrScheme>
    <a:extraClrScheme>
      <a:clrScheme name="McKinsey Cyan-Blue">
        <a:dk1>
          <a:srgbClr val="000000"/>
        </a:dk1>
        <a:lt1>
          <a:srgbClr val="FFFFFF"/>
        </a:lt1>
        <a:dk2>
          <a:srgbClr val="002960"/>
        </a:dk2>
        <a:lt2>
          <a:srgbClr val="FFFFFF"/>
        </a:lt2>
        <a:accent1>
          <a:srgbClr val="C9F0FF"/>
        </a:accent1>
        <a:accent2>
          <a:srgbClr val="00ADEF"/>
        </a:accent2>
        <a:accent3>
          <a:srgbClr val="0065BD"/>
        </a:accent3>
        <a:accent4>
          <a:srgbClr val="002960"/>
        </a:accent4>
        <a:accent5>
          <a:srgbClr val="F27F00"/>
        </a:accent5>
        <a:accent6>
          <a:srgbClr val="808080"/>
        </a:accent6>
        <a:hlink>
          <a:srgbClr val="006983"/>
        </a:hlink>
        <a:folHlink>
          <a:srgbClr val="333333"/>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Firm Format - template - LOP - normal" id="{884107A2-67B5-4728-A2AA-FBFCDAA11846}" vid="{53DAF64C-D014-47FF-AB08-CB280DF65A38}"/>
    </a:ext>
  </a:extLst>
</a:theme>
</file>

<file path=ppt/theme/theme19.xml><?xml version="1.0" encoding="utf-8"?>
<a:theme xmlns:a="http://schemas.openxmlformats.org/drawingml/2006/main" name="20_Firm Format - template">
  <a:themeElements>
    <a:clrScheme name="Cyan_blue">
      <a:dk1>
        <a:srgbClr val="000000"/>
      </a:dk1>
      <a:lt1>
        <a:srgbClr val="FFFFFF"/>
      </a:lt1>
      <a:dk2>
        <a:srgbClr val="002960"/>
      </a:dk2>
      <a:lt2>
        <a:srgbClr val="FFFFFF"/>
      </a:lt2>
      <a:accent1>
        <a:srgbClr val="C5C5C5"/>
      </a:accent1>
      <a:accent2>
        <a:srgbClr val="00ADEF"/>
      </a:accent2>
      <a:accent3>
        <a:srgbClr val="0065BD"/>
      </a:accent3>
      <a:accent4>
        <a:srgbClr val="002960"/>
      </a:accent4>
      <a:accent5>
        <a:srgbClr val="F27F00"/>
      </a:accent5>
      <a:accent6>
        <a:srgbClr val="808080"/>
      </a:accent6>
      <a:hlink>
        <a:srgbClr val="0065BD"/>
      </a:hlink>
      <a:folHlink>
        <a:srgbClr val="002960"/>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McKinsey Grey-Blue">
        <a:dk1>
          <a:srgbClr val="000000"/>
        </a:dk1>
        <a:lt1>
          <a:srgbClr val="FFFFFF"/>
        </a:lt1>
        <a:dk2>
          <a:srgbClr val="002960"/>
        </a:dk2>
        <a:lt2>
          <a:srgbClr val="FFFFFF"/>
        </a:lt2>
        <a:accent1>
          <a:srgbClr val="C5C5C5"/>
        </a:accent1>
        <a:accent2>
          <a:srgbClr val="00ADEF"/>
        </a:accent2>
        <a:accent3>
          <a:srgbClr val="0065BD"/>
        </a:accent3>
        <a:accent4>
          <a:srgbClr val="002960"/>
        </a:accent4>
        <a:accent5>
          <a:srgbClr val="F27F00"/>
        </a:accent5>
        <a:accent6>
          <a:srgbClr val="808080"/>
        </a:accent6>
        <a:hlink>
          <a:srgbClr val="0065BD"/>
        </a:hlink>
        <a:folHlink>
          <a:srgbClr val="002960"/>
        </a:folHlink>
      </a:clrScheme>
      <a:clrMap bg1="lt1" tx1="dk1" bg2="lt2" tx2="dk2" accent1="accent1" accent2="accent2" accent3="accent3" accent4="accent4" accent5="accent5" accent6="accent6" hlink="hlink" folHlink="folHlink"/>
    </a:extraClrScheme>
    <a:extraClrScheme>
      <a:clrScheme name="McKinsey Cyan-Blue">
        <a:dk1>
          <a:srgbClr val="000000"/>
        </a:dk1>
        <a:lt1>
          <a:srgbClr val="FFFFFF"/>
        </a:lt1>
        <a:dk2>
          <a:srgbClr val="002960"/>
        </a:dk2>
        <a:lt2>
          <a:srgbClr val="FFFFFF"/>
        </a:lt2>
        <a:accent1>
          <a:srgbClr val="C9F0FF"/>
        </a:accent1>
        <a:accent2>
          <a:srgbClr val="00ADEF"/>
        </a:accent2>
        <a:accent3>
          <a:srgbClr val="0065BD"/>
        </a:accent3>
        <a:accent4>
          <a:srgbClr val="002960"/>
        </a:accent4>
        <a:accent5>
          <a:srgbClr val="F27F00"/>
        </a:accent5>
        <a:accent6>
          <a:srgbClr val="808080"/>
        </a:accent6>
        <a:hlink>
          <a:srgbClr val="006983"/>
        </a:hlink>
        <a:folHlink>
          <a:srgbClr val="333333"/>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Firm Format - template - LOP - normal" id="{884107A2-67B5-4728-A2AA-FBFCDAA11846}" vid="{53DAF64C-D014-47FF-AB08-CB280DF65A38}"/>
    </a:ext>
  </a:extLst>
</a:theme>
</file>

<file path=ppt/theme/theme2.xml><?xml version="1.0" encoding="utf-8"?>
<a:theme xmlns:a="http://schemas.openxmlformats.org/drawingml/2006/main" name="3_Firm Format - template">
  <a:themeElements>
    <a:clrScheme name="Cyan_blue">
      <a:dk1>
        <a:srgbClr val="000000"/>
      </a:dk1>
      <a:lt1>
        <a:srgbClr val="FFFFFF"/>
      </a:lt1>
      <a:dk2>
        <a:srgbClr val="002960"/>
      </a:dk2>
      <a:lt2>
        <a:srgbClr val="FFFFFF"/>
      </a:lt2>
      <a:accent1>
        <a:srgbClr val="C5C5C5"/>
      </a:accent1>
      <a:accent2>
        <a:srgbClr val="00ADEF"/>
      </a:accent2>
      <a:accent3>
        <a:srgbClr val="0065BD"/>
      </a:accent3>
      <a:accent4>
        <a:srgbClr val="002960"/>
      </a:accent4>
      <a:accent5>
        <a:srgbClr val="F27F00"/>
      </a:accent5>
      <a:accent6>
        <a:srgbClr val="808080"/>
      </a:accent6>
      <a:hlink>
        <a:srgbClr val="0065BD"/>
      </a:hlink>
      <a:folHlink>
        <a:srgbClr val="002960"/>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McKinsey Grey-Blue">
        <a:dk1>
          <a:srgbClr val="000000"/>
        </a:dk1>
        <a:lt1>
          <a:srgbClr val="FFFFFF"/>
        </a:lt1>
        <a:dk2>
          <a:srgbClr val="002960"/>
        </a:dk2>
        <a:lt2>
          <a:srgbClr val="FFFFFF"/>
        </a:lt2>
        <a:accent1>
          <a:srgbClr val="C5C5C5"/>
        </a:accent1>
        <a:accent2>
          <a:srgbClr val="00ADEF"/>
        </a:accent2>
        <a:accent3>
          <a:srgbClr val="0065BD"/>
        </a:accent3>
        <a:accent4>
          <a:srgbClr val="002960"/>
        </a:accent4>
        <a:accent5>
          <a:srgbClr val="F27F00"/>
        </a:accent5>
        <a:accent6>
          <a:srgbClr val="808080"/>
        </a:accent6>
        <a:hlink>
          <a:srgbClr val="0065BD"/>
        </a:hlink>
        <a:folHlink>
          <a:srgbClr val="002960"/>
        </a:folHlink>
      </a:clrScheme>
      <a:clrMap bg1="lt1" tx1="dk1" bg2="lt2" tx2="dk2" accent1="accent1" accent2="accent2" accent3="accent3" accent4="accent4" accent5="accent5" accent6="accent6" hlink="hlink" folHlink="folHlink"/>
    </a:extraClrScheme>
    <a:extraClrScheme>
      <a:clrScheme name="McKinsey Cyan-Blue">
        <a:dk1>
          <a:srgbClr val="000000"/>
        </a:dk1>
        <a:lt1>
          <a:srgbClr val="FFFFFF"/>
        </a:lt1>
        <a:dk2>
          <a:srgbClr val="002960"/>
        </a:dk2>
        <a:lt2>
          <a:srgbClr val="FFFFFF"/>
        </a:lt2>
        <a:accent1>
          <a:srgbClr val="C9F0FF"/>
        </a:accent1>
        <a:accent2>
          <a:srgbClr val="00ADEF"/>
        </a:accent2>
        <a:accent3>
          <a:srgbClr val="0065BD"/>
        </a:accent3>
        <a:accent4>
          <a:srgbClr val="002960"/>
        </a:accent4>
        <a:accent5>
          <a:srgbClr val="F27F00"/>
        </a:accent5>
        <a:accent6>
          <a:srgbClr val="808080"/>
        </a:accent6>
        <a:hlink>
          <a:srgbClr val="006983"/>
        </a:hlink>
        <a:folHlink>
          <a:srgbClr val="333333"/>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Firm Format - template - LOP - normal" id="{884107A2-67B5-4728-A2AA-FBFCDAA11846}" vid="{53DAF64C-D014-47FF-AB08-CB280DF65A38}"/>
    </a:ext>
  </a:extLst>
</a:theme>
</file>

<file path=ppt/theme/theme20.xml><?xml version="1.0" encoding="utf-8"?>
<a:theme xmlns:a="http://schemas.openxmlformats.org/drawingml/2006/main" name="21_Firm Format - template">
  <a:themeElements>
    <a:clrScheme name="Cyan_blue">
      <a:dk1>
        <a:srgbClr val="000000"/>
      </a:dk1>
      <a:lt1>
        <a:srgbClr val="FFFFFF"/>
      </a:lt1>
      <a:dk2>
        <a:srgbClr val="002960"/>
      </a:dk2>
      <a:lt2>
        <a:srgbClr val="FFFFFF"/>
      </a:lt2>
      <a:accent1>
        <a:srgbClr val="C5C5C5"/>
      </a:accent1>
      <a:accent2>
        <a:srgbClr val="00ADEF"/>
      </a:accent2>
      <a:accent3>
        <a:srgbClr val="0065BD"/>
      </a:accent3>
      <a:accent4>
        <a:srgbClr val="002960"/>
      </a:accent4>
      <a:accent5>
        <a:srgbClr val="F27F00"/>
      </a:accent5>
      <a:accent6>
        <a:srgbClr val="808080"/>
      </a:accent6>
      <a:hlink>
        <a:srgbClr val="0065BD"/>
      </a:hlink>
      <a:folHlink>
        <a:srgbClr val="002960"/>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McKinsey Grey-Blue">
        <a:dk1>
          <a:srgbClr val="000000"/>
        </a:dk1>
        <a:lt1>
          <a:srgbClr val="FFFFFF"/>
        </a:lt1>
        <a:dk2>
          <a:srgbClr val="002960"/>
        </a:dk2>
        <a:lt2>
          <a:srgbClr val="FFFFFF"/>
        </a:lt2>
        <a:accent1>
          <a:srgbClr val="C5C5C5"/>
        </a:accent1>
        <a:accent2>
          <a:srgbClr val="00ADEF"/>
        </a:accent2>
        <a:accent3>
          <a:srgbClr val="0065BD"/>
        </a:accent3>
        <a:accent4>
          <a:srgbClr val="002960"/>
        </a:accent4>
        <a:accent5>
          <a:srgbClr val="F27F00"/>
        </a:accent5>
        <a:accent6>
          <a:srgbClr val="808080"/>
        </a:accent6>
        <a:hlink>
          <a:srgbClr val="0065BD"/>
        </a:hlink>
        <a:folHlink>
          <a:srgbClr val="002960"/>
        </a:folHlink>
      </a:clrScheme>
      <a:clrMap bg1="lt1" tx1="dk1" bg2="lt2" tx2="dk2" accent1="accent1" accent2="accent2" accent3="accent3" accent4="accent4" accent5="accent5" accent6="accent6" hlink="hlink" folHlink="folHlink"/>
    </a:extraClrScheme>
    <a:extraClrScheme>
      <a:clrScheme name="McKinsey Cyan-Blue">
        <a:dk1>
          <a:srgbClr val="000000"/>
        </a:dk1>
        <a:lt1>
          <a:srgbClr val="FFFFFF"/>
        </a:lt1>
        <a:dk2>
          <a:srgbClr val="002960"/>
        </a:dk2>
        <a:lt2>
          <a:srgbClr val="FFFFFF"/>
        </a:lt2>
        <a:accent1>
          <a:srgbClr val="C9F0FF"/>
        </a:accent1>
        <a:accent2>
          <a:srgbClr val="00ADEF"/>
        </a:accent2>
        <a:accent3>
          <a:srgbClr val="0065BD"/>
        </a:accent3>
        <a:accent4>
          <a:srgbClr val="002960"/>
        </a:accent4>
        <a:accent5>
          <a:srgbClr val="F27F00"/>
        </a:accent5>
        <a:accent6>
          <a:srgbClr val="808080"/>
        </a:accent6>
        <a:hlink>
          <a:srgbClr val="006983"/>
        </a:hlink>
        <a:folHlink>
          <a:srgbClr val="333333"/>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Firm Format - template - LOP - normal" id="{884107A2-67B5-4728-A2AA-FBFCDAA11846}" vid="{53DAF64C-D014-47FF-AB08-CB280DF65A38}"/>
    </a:ext>
  </a:extLst>
</a:theme>
</file>

<file path=ppt/theme/theme21.xml><?xml version="1.0" encoding="utf-8"?>
<a:theme xmlns:a="http://schemas.openxmlformats.org/drawingml/2006/main" name="22_Firm Format - template">
  <a:themeElements>
    <a:clrScheme name="Cyan_blue">
      <a:dk1>
        <a:srgbClr val="000000"/>
      </a:dk1>
      <a:lt1>
        <a:srgbClr val="FFFFFF"/>
      </a:lt1>
      <a:dk2>
        <a:srgbClr val="002960"/>
      </a:dk2>
      <a:lt2>
        <a:srgbClr val="FFFFFF"/>
      </a:lt2>
      <a:accent1>
        <a:srgbClr val="C5C5C5"/>
      </a:accent1>
      <a:accent2>
        <a:srgbClr val="00ADEF"/>
      </a:accent2>
      <a:accent3>
        <a:srgbClr val="0065BD"/>
      </a:accent3>
      <a:accent4>
        <a:srgbClr val="002960"/>
      </a:accent4>
      <a:accent5>
        <a:srgbClr val="F27F00"/>
      </a:accent5>
      <a:accent6>
        <a:srgbClr val="808080"/>
      </a:accent6>
      <a:hlink>
        <a:srgbClr val="0065BD"/>
      </a:hlink>
      <a:folHlink>
        <a:srgbClr val="002960"/>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McKinsey Grey-Blue">
        <a:dk1>
          <a:srgbClr val="000000"/>
        </a:dk1>
        <a:lt1>
          <a:srgbClr val="FFFFFF"/>
        </a:lt1>
        <a:dk2>
          <a:srgbClr val="002960"/>
        </a:dk2>
        <a:lt2>
          <a:srgbClr val="FFFFFF"/>
        </a:lt2>
        <a:accent1>
          <a:srgbClr val="C5C5C5"/>
        </a:accent1>
        <a:accent2>
          <a:srgbClr val="00ADEF"/>
        </a:accent2>
        <a:accent3>
          <a:srgbClr val="0065BD"/>
        </a:accent3>
        <a:accent4>
          <a:srgbClr val="002960"/>
        </a:accent4>
        <a:accent5>
          <a:srgbClr val="F27F00"/>
        </a:accent5>
        <a:accent6>
          <a:srgbClr val="808080"/>
        </a:accent6>
        <a:hlink>
          <a:srgbClr val="0065BD"/>
        </a:hlink>
        <a:folHlink>
          <a:srgbClr val="002960"/>
        </a:folHlink>
      </a:clrScheme>
      <a:clrMap bg1="lt1" tx1="dk1" bg2="lt2" tx2="dk2" accent1="accent1" accent2="accent2" accent3="accent3" accent4="accent4" accent5="accent5" accent6="accent6" hlink="hlink" folHlink="folHlink"/>
    </a:extraClrScheme>
    <a:extraClrScheme>
      <a:clrScheme name="McKinsey Cyan-Blue">
        <a:dk1>
          <a:srgbClr val="000000"/>
        </a:dk1>
        <a:lt1>
          <a:srgbClr val="FFFFFF"/>
        </a:lt1>
        <a:dk2>
          <a:srgbClr val="002960"/>
        </a:dk2>
        <a:lt2>
          <a:srgbClr val="FFFFFF"/>
        </a:lt2>
        <a:accent1>
          <a:srgbClr val="C9F0FF"/>
        </a:accent1>
        <a:accent2>
          <a:srgbClr val="00ADEF"/>
        </a:accent2>
        <a:accent3>
          <a:srgbClr val="0065BD"/>
        </a:accent3>
        <a:accent4>
          <a:srgbClr val="002960"/>
        </a:accent4>
        <a:accent5>
          <a:srgbClr val="F27F00"/>
        </a:accent5>
        <a:accent6>
          <a:srgbClr val="808080"/>
        </a:accent6>
        <a:hlink>
          <a:srgbClr val="006983"/>
        </a:hlink>
        <a:folHlink>
          <a:srgbClr val="333333"/>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Firm Format - template - LOP - normal" id="{884107A2-67B5-4728-A2AA-FBFCDAA11846}" vid="{53DAF64C-D014-47FF-AB08-CB280DF65A38}"/>
    </a:ext>
  </a:extLst>
</a:theme>
</file>

<file path=ppt/theme/theme22.xml><?xml version="1.0" encoding="utf-8"?>
<a:theme xmlns:a="http://schemas.openxmlformats.org/drawingml/2006/main" name="23_Firm Format - template">
  <a:themeElements>
    <a:clrScheme name="Cyan_blue">
      <a:dk1>
        <a:srgbClr val="000000"/>
      </a:dk1>
      <a:lt1>
        <a:srgbClr val="FFFFFF"/>
      </a:lt1>
      <a:dk2>
        <a:srgbClr val="002960"/>
      </a:dk2>
      <a:lt2>
        <a:srgbClr val="FFFFFF"/>
      </a:lt2>
      <a:accent1>
        <a:srgbClr val="C5C5C5"/>
      </a:accent1>
      <a:accent2>
        <a:srgbClr val="00ADEF"/>
      </a:accent2>
      <a:accent3>
        <a:srgbClr val="0065BD"/>
      </a:accent3>
      <a:accent4>
        <a:srgbClr val="002960"/>
      </a:accent4>
      <a:accent5>
        <a:srgbClr val="F27F00"/>
      </a:accent5>
      <a:accent6>
        <a:srgbClr val="808080"/>
      </a:accent6>
      <a:hlink>
        <a:srgbClr val="0065BD"/>
      </a:hlink>
      <a:folHlink>
        <a:srgbClr val="002960"/>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McKinsey Grey-Blue">
        <a:dk1>
          <a:srgbClr val="000000"/>
        </a:dk1>
        <a:lt1>
          <a:srgbClr val="FFFFFF"/>
        </a:lt1>
        <a:dk2>
          <a:srgbClr val="002960"/>
        </a:dk2>
        <a:lt2>
          <a:srgbClr val="FFFFFF"/>
        </a:lt2>
        <a:accent1>
          <a:srgbClr val="C5C5C5"/>
        </a:accent1>
        <a:accent2>
          <a:srgbClr val="00ADEF"/>
        </a:accent2>
        <a:accent3>
          <a:srgbClr val="0065BD"/>
        </a:accent3>
        <a:accent4>
          <a:srgbClr val="002960"/>
        </a:accent4>
        <a:accent5>
          <a:srgbClr val="F27F00"/>
        </a:accent5>
        <a:accent6>
          <a:srgbClr val="808080"/>
        </a:accent6>
        <a:hlink>
          <a:srgbClr val="0065BD"/>
        </a:hlink>
        <a:folHlink>
          <a:srgbClr val="002960"/>
        </a:folHlink>
      </a:clrScheme>
      <a:clrMap bg1="lt1" tx1="dk1" bg2="lt2" tx2="dk2" accent1="accent1" accent2="accent2" accent3="accent3" accent4="accent4" accent5="accent5" accent6="accent6" hlink="hlink" folHlink="folHlink"/>
    </a:extraClrScheme>
    <a:extraClrScheme>
      <a:clrScheme name="McKinsey Cyan-Blue">
        <a:dk1>
          <a:srgbClr val="000000"/>
        </a:dk1>
        <a:lt1>
          <a:srgbClr val="FFFFFF"/>
        </a:lt1>
        <a:dk2>
          <a:srgbClr val="002960"/>
        </a:dk2>
        <a:lt2>
          <a:srgbClr val="FFFFFF"/>
        </a:lt2>
        <a:accent1>
          <a:srgbClr val="C9F0FF"/>
        </a:accent1>
        <a:accent2>
          <a:srgbClr val="00ADEF"/>
        </a:accent2>
        <a:accent3>
          <a:srgbClr val="0065BD"/>
        </a:accent3>
        <a:accent4>
          <a:srgbClr val="002960"/>
        </a:accent4>
        <a:accent5>
          <a:srgbClr val="F27F00"/>
        </a:accent5>
        <a:accent6>
          <a:srgbClr val="808080"/>
        </a:accent6>
        <a:hlink>
          <a:srgbClr val="006983"/>
        </a:hlink>
        <a:folHlink>
          <a:srgbClr val="333333"/>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Firm Format - template - LOP - normal" id="{884107A2-67B5-4728-A2AA-FBFCDAA11846}" vid="{53DAF64C-D014-47FF-AB08-CB280DF65A38}"/>
    </a:ext>
  </a:extLst>
</a:theme>
</file>

<file path=ppt/theme/theme23.xml><?xml version="1.0" encoding="utf-8"?>
<a:theme xmlns:a="http://schemas.openxmlformats.org/drawingml/2006/main" name="24_Firm Format - template">
  <a:themeElements>
    <a:clrScheme name="Cyan_blue">
      <a:dk1>
        <a:srgbClr val="000000"/>
      </a:dk1>
      <a:lt1>
        <a:srgbClr val="FFFFFF"/>
      </a:lt1>
      <a:dk2>
        <a:srgbClr val="002960"/>
      </a:dk2>
      <a:lt2>
        <a:srgbClr val="FFFFFF"/>
      </a:lt2>
      <a:accent1>
        <a:srgbClr val="C5C5C5"/>
      </a:accent1>
      <a:accent2>
        <a:srgbClr val="00ADEF"/>
      </a:accent2>
      <a:accent3>
        <a:srgbClr val="0065BD"/>
      </a:accent3>
      <a:accent4>
        <a:srgbClr val="002960"/>
      </a:accent4>
      <a:accent5>
        <a:srgbClr val="F27F00"/>
      </a:accent5>
      <a:accent6>
        <a:srgbClr val="808080"/>
      </a:accent6>
      <a:hlink>
        <a:srgbClr val="0065BD"/>
      </a:hlink>
      <a:folHlink>
        <a:srgbClr val="002960"/>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McKinsey Grey-Blue">
        <a:dk1>
          <a:srgbClr val="000000"/>
        </a:dk1>
        <a:lt1>
          <a:srgbClr val="FFFFFF"/>
        </a:lt1>
        <a:dk2>
          <a:srgbClr val="002960"/>
        </a:dk2>
        <a:lt2>
          <a:srgbClr val="FFFFFF"/>
        </a:lt2>
        <a:accent1>
          <a:srgbClr val="C5C5C5"/>
        </a:accent1>
        <a:accent2>
          <a:srgbClr val="00ADEF"/>
        </a:accent2>
        <a:accent3>
          <a:srgbClr val="0065BD"/>
        </a:accent3>
        <a:accent4>
          <a:srgbClr val="002960"/>
        </a:accent4>
        <a:accent5>
          <a:srgbClr val="F27F00"/>
        </a:accent5>
        <a:accent6>
          <a:srgbClr val="808080"/>
        </a:accent6>
        <a:hlink>
          <a:srgbClr val="0065BD"/>
        </a:hlink>
        <a:folHlink>
          <a:srgbClr val="002960"/>
        </a:folHlink>
      </a:clrScheme>
      <a:clrMap bg1="lt1" tx1="dk1" bg2="lt2" tx2="dk2" accent1="accent1" accent2="accent2" accent3="accent3" accent4="accent4" accent5="accent5" accent6="accent6" hlink="hlink" folHlink="folHlink"/>
    </a:extraClrScheme>
    <a:extraClrScheme>
      <a:clrScheme name="McKinsey Cyan-Blue">
        <a:dk1>
          <a:srgbClr val="000000"/>
        </a:dk1>
        <a:lt1>
          <a:srgbClr val="FFFFFF"/>
        </a:lt1>
        <a:dk2>
          <a:srgbClr val="002960"/>
        </a:dk2>
        <a:lt2>
          <a:srgbClr val="FFFFFF"/>
        </a:lt2>
        <a:accent1>
          <a:srgbClr val="C9F0FF"/>
        </a:accent1>
        <a:accent2>
          <a:srgbClr val="00ADEF"/>
        </a:accent2>
        <a:accent3>
          <a:srgbClr val="0065BD"/>
        </a:accent3>
        <a:accent4>
          <a:srgbClr val="002960"/>
        </a:accent4>
        <a:accent5>
          <a:srgbClr val="F27F00"/>
        </a:accent5>
        <a:accent6>
          <a:srgbClr val="808080"/>
        </a:accent6>
        <a:hlink>
          <a:srgbClr val="006983"/>
        </a:hlink>
        <a:folHlink>
          <a:srgbClr val="333333"/>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Firm Format - template - LOP - normal" id="{884107A2-67B5-4728-A2AA-FBFCDAA11846}" vid="{53DAF64C-D014-47FF-AB08-CB280DF65A38}"/>
    </a:ext>
  </a:extLst>
</a:theme>
</file>

<file path=ppt/theme/theme24.xml><?xml version="1.0" encoding="utf-8"?>
<a:theme xmlns:a="http://schemas.openxmlformats.org/drawingml/2006/main" name="25_Firm Format - template">
  <a:themeElements>
    <a:clrScheme name="Cyan_blue">
      <a:dk1>
        <a:srgbClr val="000000"/>
      </a:dk1>
      <a:lt1>
        <a:srgbClr val="FFFFFF"/>
      </a:lt1>
      <a:dk2>
        <a:srgbClr val="002960"/>
      </a:dk2>
      <a:lt2>
        <a:srgbClr val="FFFFFF"/>
      </a:lt2>
      <a:accent1>
        <a:srgbClr val="C5C5C5"/>
      </a:accent1>
      <a:accent2>
        <a:srgbClr val="00ADEF"/>
      </a:accent2>
      <a:accent3>
        <a:srgbClr val="0065BD"/>
      </a:accent3>
      <a:accent4>
        <a:srgbClr val="002960"/>
      </a:accent4>
      <a:accent5>
        <a:srgbClr val="F27F00"/>
      </a:accent5>
      <a:accent6>
        <a:srgbClr val="808080"/>
      </a:accent6>
      <a:hlink>
        <a:srgbClr val="0065BD"/>
      </a:hlink>
      <a:folHlink>
        <a:srgbClr val="002960"/>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McKinsey Grey-Blue">
        <a:dk1>
          <a:srgbClr val="000000"/>
        </a:dk1>
        <a:lt1>
          <a:srgbClr val="FFFFFF"/>
        </a:lt1>
        <a:dk2>
          <a:srgbClr val="002960"/>
        </a:dk2>
        <a:lt2>
          <a:srgbClr val="FFFFFF"/>
        </a:lt2>
        <a:accent1>
          <a:srgbClr val="C5C5C5"/>
        </a:accent1>
        <a:accent2>
          <a:srgbClr val="00ADEF"/>
        </a:accent2>
        <a:accent3>
          <a:srgbClr val="0065BD"/>
        </a:accent3>
        <a:accent4>
          <a:srgbClr val="002960"/>
        </a:accent4>
        <a:accent5>
          <a:srgbClr val="F27F00"/>
        </a:accent5>
        <a:accent6>
          <a:srgbClr val="808080"/>
        </a:accent6>
        <a:hlink>
          <a:srgbClr val="0065BD"/>
        </a:hlink>
        <a:folHlink>
          <a:srgbClr val="002960"/>
        </a:folHlink>
      </a:clrScheme>
      <a:clrMap bg1="lt1" tx1="dk1" bg2="lt2" tx2="dk2" accent1="accent1" accent2="accent2" accent3="accent3" accent4="accent4" accent5="accent5" accent6="accent6" hlink="hlink" folHlink="folHlink"/>
    </a:extraClrScheme>
    <a:extraClrScheme>
      <a:clrScheme name="McKinsey Cyan-Blue">
        <a:dk1>
          <a:srgbClr val="000000"/>
        </a:dk1>
        <a:lt1>
          <a:srgbClr val="FFFFFF"/>
        </a:lt1>
        <a:dk2>
          <a:srgbClr val="002960"/>
        </a:dk2>
        <a:lt2>
          <a:srgbClr val="FFFFFF"/>
        </a:lt2>
        <a:accent1>
          <a:srgbClr val="C9F0FF"/>
        </a:accent1>
        <a:accent2>
          <a:srgbClr val="00ADEF"/>
        </a:accent2>
        <a:accent3>
          <a:srgbClr val="0065BD"/>
        </a:accent3>
        <a:accent4>
          <a:srgbClr val="002960"/>
        </a:accent4>
        <a:accent5>
          <a:srgbClr val="F27F00"/>
        </a:accent5>
        <a:accent6>
          <a:srgbClr val="808080"/>
        </a:accent6>
        <a:hlink>
          <a:srgbClr val="006983"/>
        </a:hlink>
        <a:folHlink>
          <a:srgbClr val="333333"/>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Firm Format - template - LOP - normal" id="{884107A2-67B5-4728-A2AA-FBFCDAA11846}" vid="{53DAF64C-D014-47FF-AB08-CB280DF65A38}"/>
    </a:ext>
  </a:extLst>
</a:theme>
</file>

<file path=ppt/theme/theme25.xml><?xml version="1.0" encoding="utf-8"?>
<a:theme xmlns:a="http://schemas.openxmlformats.org/drawingml/2006/main" name="26_Firm Format - template">
  <a:themeElements>
    <a:clrScheme name="Cyan_blue">
      <a:dk1>
        <a:srgbClr val="000000"/>
      </a:dk1>
      <a:lt1>
        <a:srgbClr val="FFFFFF"/>
      </a:lt1>
      <a:dk2>
        <a:srgbClr val="002960"/>
      </a:dk2>
      <a:lt2>
        <a:srgbClr val="FFFFFF"/>
      </a:lt2>
      <a:accent1>
        <a:srgbClr val="C5C5C5"/>
      </a:accent1>
      <a:accent2>
        <a:srgbClr val="00ADEF"/>
      </a:accent2>
      <a:accent3>
        <a:srgbClr val="0065BD"/>
      </a:accent3>
      <a:accent4>
        <a:srgbClr val="002960"/>
      </a:accent4>
      <a:accent5>
        <a:srgbClr val="F27F00"/>
      </a:accent5>
      <a:accent6>
        <a:srgbClr val="808080"/>
      </a:accent6>
      <a:hlink>
        <a:srgbClr val="0065BD"/>
      </a:hlink>
      <a:folHlink>
        <a:srgbClr val="002960"/>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McKinsey Grey-Blue">
        <a:dk1>
          <a:srgbClr val="000000"/>
        </a:dk1>
        <a:lt1>
          <a:srgbClr val="FFFFFF"/>
        </a:lt1>
        <a:dk2>
          <a:srgbClr val="002960"/>
        </a:dk2>
        <a:lt2>
          <a:srgbClr val="FFFFFF"/>
        </a:lt2>
        <a:accent1>
          <a:srgbClr val="C5C5C5"/>
        </a:accent1>
        <a:accent2>
          <a:srgbClr val="00ADEF"/>
        </a:accent2>
        <a:accent3>
          <a:srgbClr val="0065BD"/>
        </a:accent3>
        <a:accent4>
          <a:srgbClr val="002960"/>
        </a:accent4>
        <a:accent5>
          <a:srgbClr val="F27F00"/>
        </a:accent5>
        <a:accent6>
          <a:srgbClr val="808080"/>
        </a:accent6>
        <a:hlink>
          <a:srgbClr val="0065BD"/>
        </a:hlink>
        <a:folHlink>
          <a:srgbClr val="002960"/>
        </a:folHlink>
      </a:clrScheme>
      <a:clrMap bg1="lt1" tx1="dk1" bg2="lt2" tx2="dk2" accent1="accent1" accent2="accent2" accent3="accent3" accent4="accent4" accent5="accent5" accent6="accent6" hlink="hlink" folHlink="folHlink"/>
    </a:extraClrScheme>
    <a:extraClrScheme>
      <a:clrScheme name="McKinsey Cyan-Blue">
        <a:dk1>
          <a:srgbClr val="000000"/>
        </a:dk1>
        <a:lt1>
          <a:srgbClr val="FFFFFF"/>
        </a:lt1>
        <a:dk2>
          <a:srgbClr val="002960"/>
        </a:dk2>
        <a:lt2>
          <a:srgbClr val="FFFFFF"/>
        </a:lt2>
        <a:accent1>
          <a:srgbClr val="C9F0FF"/>
        </a:accent1>
        <a:accent2>
          <a:srgbClr val="00ADEF"/>
        </a:accent2>
        <a:accent3>
          <a:srgbClr val="0065BD"/>
        </a:accent3>
        <a:accent4>
          <a:srgbClr val="002960"/>
        </a:accent4>
        <a:accent5>
          <a:srgbClr val="F27F00"/>
        </a:accent5>
        <a:accent6>
          <a:srgbClr val="808080"/>
        </a:accent6>
        <a:hlink>
          <a:srgbClr val="006983"/>
        </a:hlink>
        <a:folHlink>
          <a:srgbClr val="333333"/>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Firm Format - template - LOP - normal" id="{884107A2-67B5-4728-A2AA-FBFCDAA11846}" vid="{53DAF64C-D014-47FF-AB08-CB280DF65A38}"/>
    </a:ext>
  </a:extLst>
</a:theme>
</file>

<file path=ppt/theme/theme26.xml><?xml version="1.0" encoding="utf-8"?>
<a:theme xmlns:a="http://schemas.openxmlformats.org/drawingml/2006/main" name="27_Firm Format - template">
  <a:themeElements>
    <a:clrScheme name="Cyan_blue">
      <a:dk1>
        <a:srgbClr val="000000"/>
      </a:dk1>
      <a:lt1>
        <a:srgbClr val="FFFFFF"/>
      </a:lt1>
      <a:dk2>
        <a:srgbClr val="002960"/>
      </a:dk2>
      <a:lt2>
        <a:srgbClr val="FFFFFF"/>
      </a:lt2>
      <a:accent1>
        <a:srgbClr val="C5C5C5"/>
      </a:accent1>
      <a:accent2>
        <a:srgbClr val="00ADEF"/>
      </a:accent2>
      <a:accent3>
        <a:srgbClr val="0065BD"/>
      </a:accent3>
      <a:accent4>
        <a:srgbClr val="002960"/>
      </a:accent4>
      <a:accent5>
        <a:srgbClr val="F27F00"/>
      </a:accent5>
      <a:accent6>
        <a:srgbClr val="808080"/>
      </a:accent6>
      <a:hlink>
        <a:srgbClr val="0065BD"/>
      </a:hlink>
      <a:folHlink>
        <a:srgbClr val="002960"/>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McKinsey Grey-Blue">
        <a:dk1>
          <a:srgbClr val="000000"/>
        </a:dk1>
        <a:lt1>
          <a:srgbClr val="FFFFFF"/>
        </a:lt1>
        <a:dk2>
          <a:srgbClr val="002960"/>
        </a:dk2>
        <a:lt2>
          <a:srgbClr val="FFFFFF"/>
        </a:lt2>
        <a:accent1>
          <a:srgbClr val="C5C5C5"/>
        </a:accent1>
        <a:accent2>
          <a:srgbClr val="00ADEF"/>
        </a:accent2>
        <a:accent3>
          <a:srgbClr val="0065BD"/>
        </a:accent3>
        <a:accent4>
          <a:srgbClr val="002960"/>
        </a:accent4>
        <a:accent5>
          <a:srgbClr val="F27F00"/>
        </a:accent5>
        <a:accent6>
          <a:srgbClr val="808080"/>
        </a:accent6>
        <a:hlink>
          <a:srgbClr val="0065BD"/>
        </a:hlink>
        <a:folHlink>
          <a:srgbClr val="002960"/>
        </a:folHlink>
      </a:clrScheme>
      <a:clrMap bg1="lt1" tx1="dk1" bg2="lt2" tx2="dk2" accent1="accent1" accent2="accent2" accent3="accent3" accent4="accent4" accent5="accent5" accent6="accent6" hlink="hlink" folHlink="folHlink"/>
    </a:extraClrScheme>
    <a:extraClrScheme>
      <a:clrScheme name="McKinsey Cyan-Blue">
        <a:dk1>
          <a:srgbClr val="000000"/>
        </a:dk1>
        <a:lt1>
          <a:srgbClr val="FFFFFF"/>
        </a:lt1>
        <a:dk2>
          <a:srgbClr val="002960"/>
        </a:dk2>
        <a:lt2>
          <a:srgbClr val="FFFFFF"/>
        </a:lt2>
        <a:accent1>
          <a:srgbClr val="C9F0FF"/>
        </a:accent1>
        <a:accent2>
          <a:srgbClr val="00ADEF"/>
        </a:accent2>
        <a:accent3>
          <a:srgbClr val="0065BD"/>
        </a:accent3>
        <a:accent4>
          <a:srgbClr val="002960"/>
        </a:accent4>
        <a:accent5>
          <a:srgbClr val="F27F00"/>
        </a:accent5>
        <a:accent6>
          <a:srgbClr val="808080"/>
        </a:accent6>
        <a:hlink>
          <a:srgbClr val="006983"/>
        </a:hlink>
        <a:folHlink>
          <a:srgbClr val="333333"/>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Firm Format - template - LOP - normal" id="{884107A2-67B5-4728-A2AA-FBFCDAA11846}" vid="{53DAF64C-D014-47FF-AB08-CB280DF65A38}"/>
    </a:ext>
  </a:extLst>
</a:theme>
</file>

<file path=ppt/theme/theme27.xml><?xml version="1.0" encoding="utf-8"?>
<a:theme xmlns:a="http://schemas.openxmlformats.org/drawingml/2006/main" name="28_Firm Format - template">
  <a:themeElements>
    <a:clrScheme name="Cyan_blue">
      <a:dk1>
        <a:srgbClr val="000000"/>
      </a:dk1>
      <a:lt1>
        <a:srgbClr val="FFFFFF"/>
      </a:lt1>
      <a:dk2>
        <a:srgbClr val="002960"/>
      </a:dk2>
      <a:lt2>
        <a:srgbClr val="FFFFFF"/>
      </a:lt2>
      <a:accent1>
        <a:srgbClr val="C5C5C5"/>
      </a:accent1>
      <a:accent2>
        <a:srgbClr val="00ADEF"/>
      </a:accent2>
      <a:accent3>
        <a:srgbClr val="0065BD"/>
      </a:accent3>
      <a:accent4>
        <a:srgbClr val="002960"/>
      </a:accent4>
      <a:accent5>
        <a:srgbClr val="F27F00"/>
      </a:accent5>
      <a:accent6>
        <a:srgbClr val="808080"/>
      </a:accent6>
      <a:hlink>
        <a:srgbClr val="0065BD"/>
      </a:hlink>
      <a:folHlink>
        <a:srgbClr val="002960"/>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McKinsey Grey-Blue">
        <a:dk1>
          <a:srgbClr val="000000"/>
        </a:dk1>
        <a:lt1>
          <a:srgbClr val="FFFFFF"/>
        </a:lt1>
        <a:dk2>
          <a:srgbClr val="002960"/>
        </a:dk2>
        <a:lt2>
          <a:srgbClr val="FFFFFF"/>
        </a:lt2>
        <a:accent1>
          <a:srgbClr val="C5C5C5"/>
        </a:accent1>
        <a:accent2>
          <a:srgbClr val="00ADEF"/>
        </a:accent2>
        <a:accent3>
          <a:srgbClr val="0065BD"/>
        </a:accent3>
        <a:accent4>
          <a:srgbClr val="002960"/>
        </a:accent4>
        <a:accent5>
          <a:srgbClr val="F27F00"/>
        </a:accent5>
        <a:accent6>
          <a:srgbClr val="808080"/>
        </a:accent6>
        <a:hlink>
          <a:srgbClr val="0065BD"/>
        </a:hlink>
        <a:folHlink>
          <a:srgbClr val="002960"/>
        </a:folHlink>
      </a:clrScheme>
      <a:clrMap bg1="lt1" tx1="dk1" bg2="lt2" tx2="dk2" accent1="accent1" accent2="accent2" accent3="accent3" accent4="accent4" accent5="accent5" accent6="accent6" hlink="hlink" folHlink="folHlink"/>
    </a:extraClrScheme>
    <a:extraClrScheme>
      <a:clrScheme name="McKinsey Cyan-Blue">
        <a:dk1>
          <a:srgbClr val="000000"/>
        </a:dk1>
        <a:lt1>
          <a:srgbClr val="FFFFFF"/>
        </a:lt1>
        <a:dk2>
          <a:srgbClr val="002960"/>
        </a:dk2>
        <a:lt2>
          <a:srgbClr val="FFFFFF"/>
        </a:lt2>
        <a:accent1>
          <a:srgbClr val="C9F0FF"/>
        </a:accent1>
        <a:accent2>
          <a:srgbClr val="00ADEF"/>
        </a:accent2>
        <a:accent3>
          <a:srgbClr val="0065BD"/>
        </a:accent3>
        <a:accent4>
          <a:srgbClr val="002960"/>
        </a:accent4>
        <a:accent5>
          <a:srgbClr val="F27F00"/>
        </a:accent5>
        <a:accent6>
          <a:srgbClr val="808080"/>
        </a:accent6>
        <a:hlink>
          <a:srgbClr val="006983"/>
        </a:hlink>
        <a:folHlink>
          <a:srgbClr val="333333"/>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Firm Format - template - LOP - normal" id="{884107A2-67B5-4728-A2AA-FBFCDAA11846}" vid="{53DAF64C-D014-47FF-AB08-CB280DF65A38}"/>
    </a:ext>
  </a:extLst>
</a:theme>
</file>

<file path=ppt/theme/theme28.xml><?xml version="1.0" encoding="utf-8"?>
<a:theme xmlns:a="http://schemas.openxmlformats.org/drawingml/2006/main" name="29_Firm Format - template">
  <a:themeElements>
    <a:clrScheme name="Cyan_blue">
      <a:dk1>
        <a:srgbClr val="000000"/>
      </a:dk1>
      <a:lt1>
        <a:srgbClr val="FFFFFF"/>
      </a:lt1>
      <a:dk2>
        <a:srgbClr val="002960"/>
      </a:dk2>
      <a:lt2>
        <a:srgbClr val="FFFFFF"/>
      </a:lt2>
      <a:accent1>
        <a:srgbClr val="C5C5C5"/>
      </a:accent1>
      <a:accent2>
        <a:srgbClr val="00ADEF"/>
      </a:accent2>
      <a:accent3>
        <a:srgbClr val="0065BD"/>
      </a:accent3>
      <a:accent4>
        <a:srgbClr val="002960"/>
      </a:accent4>
      <a:accent5>
        <a:srgbClr val="F27F00"/>
      </a:accent5>
      <a:accent6>
        <a:srgbClr val="808080"/>
      </a:accent6>
      <a:hlink>
        <a:srgbClr val="0065BD"/>
      </a:hlink>
      <a:folHlink>
        <a:srgbClr val="002960"/>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McKinsey Grey-Blue">
        <a:dk1>
          <a:srgbClr val="000000"/>
        </a:dk1>
        <a:lt1>
          <a:srgbClr val="FFFFFF"/>
        </a:lt1>
        <a:dk2>
          <a:srgbClr val="002960"/>
        </a:dk2>
        <a:lt2>
          <a:srgbClr val="FFFFFF"/>
        </a:lt2>
        <a:accent1>
          <a:srgbClr val="C5C5C5"/>
        </a:accent1>
        <a:accent2>
          <a:srgbClr val="00ADEF"/>
        </a:accent2>
        <a:accent3>
          <a:srgbClr val="0065BD"/>
        </a:accent3>
        <a:accent4>
          <a:srgbClr val="002960"/>
        </a:accent4>
        <a:accent5>
          <a:srgbClr val="F27F00"/>
        </a:accent5>
        <a:accent6>
          <a:srgbClr val="808080"/>
        </a:accent6>
        <a:hlink>
          <a:srgbClr val="0065BD"/>
        </a:hlink>
        <a:folHlink>
          <a:srgbClr val="002960"/>
        </a:folHlink>
      </a:clrScheme>
      <a:clrMap bg1="lt1" tx1="dk1" bg2="lt2" tx2="dk2" accent1="accent1" accent2="accent2" accent3="accent3" accent4="accent4" accent5="accent5" accent6="accent6" hlink="hlink" folHlink="folHlink"/>
    </a:extraClrScheme>
    <a:extraClrScheme>
      <a:clrScheme name="McKinsey Cyan-Blue">
        <a:dk1>
          <a:srgbClr val="000000"/>
        </a:dk1>
        <a:lt1>
          <a:srgbClr val="FFFFFF"/>
        </a:lt1>
        <a:dk2>
          <a:srgbClr val="002960"/>
        </a:dk2>
        <a:lt2>
          <a:srgbClr val="FFFFFF"/>
        </a:lt2>
        <a:accent1>
          <a:srgbClr val="C9F0FF"/>
        </a:accent1>
        <a:accent2>
          <a:srgbClr val="00ADEF"/>
        </a:accent2>
        <a:accent3>
          <a:srgbClr val="0065BD"/>
        </a:accent3>
        <a:accent4>
          <a:srgbClr val="002960"/>
        </a:accent4>
        <a:accent5>
          <a:srgbClr val="F27F00"/>
        </a:accent5>
        <a:accent6>
          <a:srgbClr val="808080"/>
        </a:accent6>
        <a:hlink>
          <a:srgbClr val="006983"/>
        </a:hlink>
        <a:folHlink>
          <a:srgbClr val="333333"/>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Firm Format - template - LOP - normal" id="{884107A2-67B5-4728-A2AA-FBFCDAA11846}" vid="{53DAF64C-D014-47FF-AB08-CB280DF65A38}"/>
    </a:ext>
  </a:extLst>
</a:theme>
</file>

<file path=ppt/theme/theme29.xml><?xml version="1.0" encoding="utf-8"?>
<a:theme xmlns:a="http://schemas.openxmlformats.org/drawingml/2006/main" name="30_Firm Format - template">
  <a:themeElements>
    <a:clrScheme name="Cyan_blue">
      <a:dk1>
        <a:srgbClr val="000000"/>
      </a:dk1>
      <a:lt1>
        <a:srgbClr val="FFFFFF"/>
      </a:lt1>
      <a:dk2>
        <a:srgbClr val="002960"/>
      </a:dk2>
      <a:lt2>
        <a:srgbClr val="FFFFFF"/>
      </a:lt2>
      <a:accent1>
        <a:srgbClr val="C5C5C5"/>
      </a:accent1>
      <a:accent2>
        <a:srgbClr val="00ADEF"/>
      </a:accent2>
      <a:accent3>
        <a:srgbClr val="0065BD"/>
      </a:accent3>
      <a:accent4>
        <a:srgbClr val="002960"/>
      </a:accent4>
      <a:accent5>
        <a:srgbClr val="F27F00"/>
      </a:accent5>
      <a:accent6>
        <a:srgbClr val="808080"/>
      </a:accent6>
      <a:hlink>
        <a:srgbClr val="0065BD"/>
      </a:hlink>
      <a:folHlink>
        <a:srgbClr val="002960"/>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McKinsey Grey-Blue">
        <a:dk1>
          <a:srgbClr val="000000"/>
        </a:dk1>
        <a:lt1>
          <a:srgbClr val="FFFFFF"/>
        </a:lt1>
        <a:dk2>
          <a:srgbClr val="002960"/>
        </a:dk2>
        <a:lt2>
          <a:srgbClr val="FFFFFF"/>
        </a:lt2>
        <a:accent1>
          <a:srgbClr val="C5C5C5"/>
        </a:accent1>
        <a:accent2>
          <a:srgbClr val="00ADEF"/>
        </a:accent2>
        <a:accent3>
          <a:srgbClr val="0065BD"/>
        </a:accent3>
        <a:accent4>
          <a:srgbClr val="002960"/>
        </a:accent4>
        <a:accent5>
          <a:srgbClr val="F27F00"/>
        </a:accent5>
        <a:accent6>
          <a:srgbClr val="808080"/>
        </a:accent6>
        <a:hlink>
          <a:srgbClr val="0065BD"/>
        </a:hlink>
        <a:folHlink>
          <a:srgbClr val="002960"/>
        </a:folHlink>
      </a:clrScheme>
      <a:clrMap bg1="lt1" tx1="dk1" bg2="lt2" tx2="dk2" accent1="accent1" accent2="accent2" accent3="accent3" accent4="accent4" accent5="accent5" accent6="accent6" hlink="hlink" folHlink="folHlink"/>
    </a:extraClrScheme>
    <a:extraClrScheme>
      <a:clrScheme name="McKinsey Cyan-Blue">
        <a:dk1>
          <a:srgbClr val="000000"/>
        </a:dk1>
        <a:lt1>
          <a:srgbClr val="FFFFFF"/>
        </a:lt1>
        <a:dk2>
          <a:srgbClr val="002960"/>
        </a:dk2>
        <a:lt2>
          <a:srgbClr val="FFFFFF"/>
        </a:lt2>
        <a:accent1>
          <a:srgbClr val="C9F0FF"/>
        </a:accent1>
        <a:accent2>
          <a:srgbClr val="00ADEF"/>
        </a:accent2>
        <a:accent3>
          <a:srgbClr val="0065BD"/>
        </a:accent3>
        <a:accent4>
          <a:srgbClr val="002960"/>
        </a:accent4>
        <a:accent5>
          <a:srgbClr val="F27F00"/>
        </a:accent5>
        <a:accent6>
          <a:srgbClr val="808080"/>
        </a:accent6>
        <a:hlink>
          <a:srgbClr val="006983"/>
        </a:hlink>
        <a:folHlink>
          <a:srgbClr val="333333"/>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Firm Format - template - LOP - normal" id="{884107A2-67B5-4728-A2AA-FBFCDAA11846}" vid="{53DAF64C-D014-47FF-AB08-CB280DF65A38}"/>
    </a:ext>
  </a:extLst>
</a:theme>
</file>

<file path=ppt/theme/theme3.xml><?xml version="1.0" encoding="utf-8"?>
<a:theme xmlns:a="http://schemas.openxmlformats.org/drawingml/2006/main" name="4_Firm Format - template">
  <a:themeElements>
    <a:clrScheme name="Cyan_blue">
      <a:dk1>
        <a:srgbClr val="000000"/>
      </a:dk1>
      <a:lt1>
        <a:srgbClr val="FFFFFF"/>
      </a:lt1>
      <a:dk2>
        <a:srgbClr val="002960"/>
      </a:dk2>
      <a:lt2>
        <a:srgbClr val="FFFFFF"/>
      </a:lt2>
      <a:accent1>
        <a:srgbClr val="C5C5C5"/>
      </a:accent1>
      <a:accent2>
        <a:srgbClr val="00ADEF"/>
      </a:accent2>
      <a:accent3>
        <a:srgbClr val="0065BD"/>
      </a:accent3>
      <a:accent4>
        <a:srgbClr val="002960"/>
      </a:accent4>
      <a:accent5>
        <a:srgbClr val="F27F00"/>
      </a:accent5>
      <a:accent6>
        <a:srgbClr val="808080"/>
      </a:accent6>
      <a:hlink>
        <a:srgbClr val="0065BD"/>
      </a:hlink>
      <a:folHlink>
        <a:srgbClr val="002960"/>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McKinsey Grey-Blue">
        <a:dk1>
          <a:srgbClr val="000000"/>
        </a:dk1>
        <a:lt1>
          <a:srgbClr val="FFFFFF"/>
        </a:lt1>
        <a:dk2>
          <a:srgbClr val="002960"/>
        </a:dk2>
        <a:lt2>
          <a:srgbClr val="FFFFFF"/>
        </a:lt2>
        <a:accent1>
          <a:srgbClr val="C5C5C5"/>
        </a:accent1>
        <a:accent2>
          <a:srgbClr val="00ADEF"/>
        </a:accent2>
        <a:accent3>
          <a:srgbClr val="0065BD"/>
        </a:accent3>
        <a:accent4>
          <a:srgbClr val="002960"/>
        </a:accent4>
        <a:accent5>
          <a:srgbClr val="F27F00"/>
        </a:accent5>
        <a:accent6>
          <a:srgbClr val="808080"/>
        </a:accent6>
        <a:hlink>
          <a:srgbClr val="0065BD"/>
        </a:hlink>
        <a:folHlink>
          <a:srgbClr val="002960"/>
        </a:folHlink>
      </a:clrScheme>
      <a:clrMap bg1="lt1" tx1="dk1" bg2="lt2" tx2="dk2" accent1="accent1" accent2="accent2" accent3="accent3" accent4="accent4" accent5="accent5" accent6="accent6" hlink="hlink" folHlink="folHlink"/>
    </a:extraClrScheme>
    <a:extraClrScheme>
      <a:clrScheme name="McKinsey Cyan-Blue">
        <a:dk1>
          <a:srgbClr val="000000"/>
        </a:dk1>
        <a:lt1>
          <a:srgbClr val="FFFFFF"/>
        </a:lt1>
        <a:dk2>
          <a:srgbClr val="002960"/>
        </a:dk2>
        <a:lt2>
          <a:srgbClr val="FFFFFF"/>
        </a:lt2>
        <a:accent1>
          <a:srgbClr val="C9F0FF"/>
        </a:accent1>
        <a:accent2>
          <a:srgbClr val="00ADEF"/>
        </a:accent2>
        <a:accent3>
          <a:srgbClr val="0065BD"/>
        </a:accent3>
        <a:accent4>
          <a:srgbClr val="002960"/>
        </a:accent4>
        <a:accent5>
          <a:srgbClr val="F27F00"/>
        </a:accent5>
        <a:accent6>
          <a:srgbClr val="808080"/>
        </a:accent6>
        <a:hlink>
          <a:srgbClr val="006983"/>
        </a:hlink>
        <a:folHlink>
          <a:srgbClr val="333333"/>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Firm Format - template - LOP - normal" id="{884107A2-67B5-4728-A2AA-FBFCDAA11846}" vid="{53DAF64C-D014-47FF-AB08-CB280DF65A38}"/>
    </a:ext>
  </a:extLst>
</a:theme>
</file>

<file path=ppt/theme/theme30.xml><?xml version="1.0" encoding="utf-8"?>
<a:theme xmlns:a="http://schemas.openxmlformats.org/drawingml/2006/main" name="31_Firm Format - template">
  <a:themeElements>
    <a:clrScheme name="Cyan_blue">
      <a:dk1>
        <a:srgbClr val="000000"/>
      </a:dk1>
      <a:lt1>
        <a:srgbClr val="FFFFFF"/>
      </a:lt1>
      <a:dk2>
        <a:srgbClr val="002960"/>
      </a:dk2>
      <a:lt2>
        <a:srgbClr val="FFFFFF"/>
      </a:lt2>
      <a:accent1>
        <a:srgbClr val="C5C5C5"/>
      </a:accent1>
      <a:accent2>
        <a:srgbClr val="00ADEF"/>
      </a:accent2>
      <a:accent3>
        <a:srgbClr val="0065BD"/>
      </a:accent3>
      <a:accent4>
        <a:srgbClr val="002960"/>
      </a:accent4>
      <a:accent5>
        <a:srgbClr val="F27F00"/>
      </a:accent5>
      <a:accent6>
        <a:srgbClr val="808080"/>
      </a:accent6>
      <a:hlink>
        <a:srgbClr val="0065BD"/>
      </a:hlink>
      <a:folHlink>
        <a:srgbClr val="002960"/>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McKinsey Grey-Blue">
        <a:dk1>
          <a:srgbClr val="000000"/>
        </a:dk1>
        <a:lt1>
          <a:srgbClr val="FFFFFF"/>
        </a:lt1>
        <a:dk2>
          <a:srgbClr val="002960"/>
        </a:dk2>
        <a:lt2>
          <a:srgbClr val="FFFFFF"/>
        </a:lt2>
        <a:accent1>
          <a:srgbClr val="C5C5C5"/>
        </a:accent1>
        <a:accent2>
          <a:srgbClr val="00ADEF"/>
        </a:accent2>
        <a:accent3>
          <a:srgbClr val="0065BD"/>
        </a:accent3>
        <a:accent4>
          <a:srgbClr val="002960"/>
        </a:accent4>
        <a:accent5>
          <a:srgbClr val="F27F00"/>
        </a:accent5>
        <a:accent6>
          <a:srgbClr val="808080"/>
        </a:accent6>
        <a:hlink>
          <a:srgbClr val="0065BD"/>
        </a:hlink>
        <a:folHlink>
          <a:srgbClr val="002960"/>
        </a:folHlink>
      </a:clrScheme>
      <a:clrMap bg1="lt1" tx1="dk1" bg2="lt2" tx2="dk2" accent1="accent1" accent2="accent2" accent3="accent3" accent4="accent4" accent5="accent5" accent6="accent6" hlink="hlink" folHlink="folHlink"/>
    </a:extraClrScheme>
    <a:extraClrScheme>
      <a:clrScheme name="McKinsey Cyan-Blue">
        <a:dk1>
          <a:srgbClr val="000000"/>
        </a:dk1>
        <a:lt1>
          <a:srgbClr val="FFFFFF"/>
        </a:lt1>
        <a:dk2>
          <a:srgbClr val="002960"/>
        </a:dk2>
        <a:lt2>
          <a:srgbClr val="FFFFFF"/>
        </a:lt2>
        <a:accent1>
          <a:srgbClr val="C9F0FF"/>
        </a:accent1>
        <a:accent2>
          <a:srgbClr val="00ADEF"/>
        </a:accent2>
        <a:accent3>
          <a:srgbClr val="0065BD"/>
        </a:accent3>
        <a:accent4>
          <a:srgbClr val="002960"/>
        </a:accent4>
        <a:accent5>
          <a:srgbClr val="F27F00"/>
        </a:accent5>
        <a:accent6>
          <a:srgbClr val="808080"/>
        </a:accent6>
        <a:hlink>
          <a:srgbClr val="006983"/>
        </a:hlink>
        <a:folHlink>
          <a:srgbClr val="333333"/>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Firm Format - template - LOP - normal" id="{884107A2-67B5-4728-A2AA-FBFCDAA11846}" vid="{53DAF64C-D014-47FF-AB08-CB280DF65A38}"/>
    </a:ext>
  </a:extLst>
</a:theme>
</file>

<file path=ppt/theme/theme31.xml><?xml version="1.0" encoding="utf-8"?>
<a:theme xmlns:a="http://schemas.openxmlformats.org/drawingml/2006/main" name="32_Firm Format - template">
  <a:themeElements>
    <a:clrScheme name="Cyan_blue">
      <a:dk1>
        <a:srgbClr val="000000"/>
      </a:dk1>
      <a:lt1>
        <a:srgbClr val="FFFFFF"/>
      </a:lt1>
      <a:dk2>
        <a:srgbClr val="002960"/>
      </a:dk2>
      <a:lt2>
        <a:srgbClr val="FFFFFF"/>
      </a:lt2>
      <a:accent1>
        <a:srgbClr val="C5C5C5"/>
      </a:accent1>
      <a:accent2>
        <a:srgbClr val="00ADEF"/>
      </a:accent2>
      <a:accent3>
        <a:srgbClr val="0065BD"/>
      </a:accent3>
      <a:accent4>
        <a:srgbClr val="002960"/>
      </a:accent4>
      <a:accent5>
        <a:srgbClr val="F27F00"/>
      </a:accent5>
      <a:accent6>
        <a:srgbClr val="808080"/>
      </a:accent6>
      <a:hlink>
        <a:srgbClr val="0065BD"/>
      </a:hlink>
      <a:folHlink>
        <a:srgbClr val="002960"/>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McKinsey Grey-Blue">
        <a:dk1>
          <a:srgbClr val="000000"/>
        </a:dk1>
        <a:lt1>
          <a:srgbClr val="FFFFFF"/>
        </a:lt1>
        <a:dk2>
          <a:srgbClr val="002960"/>
        </a:dk2>
        <a:lt2>
          <a:srgbClr val="FFFFFF"/>
        </a:lt2>
        <a:accent1>
          <a:srgbClr val="C5C5C5"/>
        </a:accent1>
        <a:accent2>
          <a:srgbClr val="00ADEF"/>
        </a:accent2>
        <a:accent3>
          <a:srgbClr val="0065BD"/>
        </a:accent3>
        <a:accent4>
          <a:srgbClr val="002960"/>
        </a:accent4>
        <a:accent5>
          <a:srgbClr val="F27F00"/>
        </a:accent5>
        <a:accent6>
          <a:srgbClr val="808080"/>
        </a:accent6>
        <a:hlink>
          <a:srgbClr val="0065BD"/>
        </a:hlink>
        <a:folHlink>
          <a:srgbClr val="002960"/>
        </a:folHlink>
      </a:clrScheme>
      <a:clrMap bg1="lt1" tx1="dk1" bg2="lt2" tx2="dk2" accent1="accent1" accent2="accent2" accent3="accent3" accent4="accent4" accent5="accent5" accent6="accent6" hlink="hlink" folHlink="folHlink"/>
    </a:extraClrScheme>
    <a:extraClrScheme>
      <a:clrScheme name="McKinsey Cyan-Blue">
        <a:dk1>
          <a:srgbClr val="000000"/>
        </a:dk1>
        <a:lt1>
          <a:srgbClr val="FFFFFF"/>
        </a:lt1>
        <a:dk2>
          <a:srgbClr val="002960"/>
        </a:dk2>
        <a:lt2>
          <a:srgbClr val="FFFFFF"/>
        </a:lt2>
        <a:accent1>
          <a:srgbClr val="C9F0FF"/>
        </a:accent1>
        <a:accent2>
          <a:srgbClr val="00ADEF"/>
        </a:accent2>
        <a:accent3>
          <a:srgbClr val="0065BD"/>
        </a:accent3>
        <a:accent4>
          <a:srgbClr val="002960"/>
        </a:accent4>
        <a:accent5>
          <a:srgbClr val="F27F00"/>
        </a:accent5>
        <a:accent6>
          <a:srgbClr val="808080"/>
        </a:accent6>
        <a:hlink>
          <a:srgbClr val="006983"/>
        </a:hlink>
        <a:folHlink>
          <a:srgbClr val="333333"/>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Firm Format - template - LOP - normal" id="{884107A2-67B5-4728-A2AA-FBFCDAA11846}" vid="{53DAF64C-D014-47FF-AB08-CB280DF65A38}"/>
    </a:ext>
  </a:extLst>
</a:theme>
</file>

<file path=ppt/theme/theme32.xml><?xml version="1.0" encoding="utf-8"?>
<a:theme xmlns:a="http://schemas.openxmlformats.org/drawingml/2006/main" name="33_Firm Format - template">
  <a:themeElements>
    <a:clrScheme name="Cyan_blue">
      <a:dk1>
        <a:srgbClr val="000000"/>
      </a:dk1>
      <a:lt1>
        <a:srgbClr val="FFFFFF"/>
      </a:lt1>
      <a:dk2>
        <a:srgbClr val="002960"/>
      </a:dk2>
      <a:lt2>
        <a:srgbClr val="FFFFFF"/>
      </a:lt2>
      <a:accent1>
        <a:srgbClr val="C5C5C5"/>
      </a:accent1>
      <a:accent2>
        <a:srgbClr val="00ADEF"/>
      </a:accent2>
      <a:accent3>
        <a:srgbClr val="0065BD"/>
      </a:accent3>
      <a:accent4>
        <a:srgbClr val="002960"/>
      </a:accent4>
      <a:accent5>
        <a:srgbClr val="F27F00"/>
      </a:accent5>
      <a:accent6>
        <a:srgbClr val="808080"/>
      </a:accent6>
      <a:hlink>
        <a:srgbClr val="0065BD"/>
      </a:hlink>
      <a:folHlink>
        <a:srgbClr val="002960"/>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McKinsey Grey-Blue">
        <a:dk1>
          <a:srgbClr val="000000"/>
        </a:dk1>
        <a:lt1>
          <a:srgbClr val="FFFFFF"/>
        </a:lt1>
        <a:dk2>
          <a:srgbClr val="002960"/>
        </a:dk2>
        <a:lt2>
          <a:srgbClr val="FFFFFF"/>
        </a:lt2>
        <a:accent1>
          <a:srgbClr val="C5C5C5"/>
        </a:accent1>
        <a:accent2>
          <a:srgbClr val="00ADEF"/>
        </a:accent2>
        <a:accent3>
          <a:srgbClr val="0065BD"/>
        </a:accent3>
        <a:accent4>
          <a:srgbClr val="002960"/>
        </a:accent4>
        <a:accent5>
          <a:srgbClr val="F27F00"/>
        </a:accent5>
        <a:accent6>
          <a:srgbClr val="808080"/>
        </a:accent6>
        <a:hlink>
          <a:srgbClr val="0065BD"/>
        </a:hlink>
        <a:folHlink>
          <a:srgbClr val="002960"/>
        </a:folHlink>
      </a:clrScheme>
      <a:clrMap bg1="lt1" tx1="dk1" bg2="lt2" tx2="dk2" accent1="accent1" accent2="accent2" accent3="accent3" accent4="accent4" accent5="accent5" accent6="accent6" hlink="hlink" folHlink="folHlink"/>
    </a:extraClrScheme>
    <a:extraClrScheme>
      <a:clrScheme name="McKinsey Cyan-Blue">
        <a:dk1>
          <a:srgbClr val="000000"/>
        </a:dk1>
        <a:lt1>
          <a:srgbClr val="FFFFFF"/>
        </a:lt1>
        <a:dk2>
          <a:srgbClr val="002960"/>
        </a:dk2>
        <a:lt2>
          <a:srgbClr val="FFFFFF"/>
        </a:lt2>
        <a:accent1>
          <a:srgbClr val="C9F0FF"/>
        </a:accent1>
        <a:accent2>
          <a:srgbClr val="00ADEF"/>
        </a:accent2>
        <a:accent3>
          <a:srgbClr val="0065BD"/>
        </a:accent3>
        <a:accent4>
          <a:srgbClr val="002960"/>
        </a:accent4>
        <a:accent5>
          <a:srgbClr val="F27F00"/>
        </a:accent5>
        <a:accent6>
          <a:srgbClr val="808080"/>
        </a:accent6>
        <a:hlink>
          <a:srgbClr val="006983"/>
        </a:hlink>
        <a:folHlink>
          <a:srgbClr val="333333"/>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Firm Format - template - LOP - normal" id="{884107A2-67B5-4728-A2AA-FBFCDAA11846}" vid="{53DAF64C-D014-47FF-AB08-CB280DF65A38}"/>
    </a:ext>
  </a:extLst>
</a:theme>
</file>

<file path=ppt/theme/theme33.xml><?xml version="1.0" encoding="utf-8"?>
<a:theme xmlns:a="http://schemas.openxmlformats.org/drawingml/2006/main" name="34_Firm Format - template">
  <a:themeElements>
    <a:clrScheme name="Cyan_blue">
      <a:dk1>
        <a:srgbClr val="000000"/>
      </a:dk1>
      <a:lt1>
        <a:srgbClr val="FFFFFF"/>
      </a:lt1>
      <a:dk2>
        <a:srgbClr val="002960"/>
      </a:dk2>
      <a:lt2>
        <a:srgbClr val="FFFFFF"/>
      </a:lt2>
      <a:accent1>
        <a:srgbClr val="C5C5C5"/>
      </a:accent1>
      <a:accent2>
        <a:srgbClr val="00ADEF"/>
      </a:accent2>
      <a:accent3>
        <a:srgbClr val="0065BD"/>
      </a:accent3>
      <a:accent4>
        <a:srgbClr val="002960"/>
      </a:accent4>
      <a:accent5>
        <a:srgbClr val="F27F00"/>
      </a:accent5>
      <a:accent6>
        <a:srgbClr val="808080"/>
      </a:accent6>
      <a:hlink>
        <a:srgbClr val="0065BD"/>
      </a:hlink>
      <a:folHlink>
        <a:srgbClr val="002960"/>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McKinsey Grey-Blue">
        <a:dk1>
          <a:srgbClr val="000000"/>
        </a:dk1>
        <a:lt1>
          <a:srgbClr val="FFFFFF"/>
        </a:lt1>
        <a:dk2>
          <a:srgbClr val="002960"/>
        </a:dk2>
        <a:lt2>
          <a:srgbClr val="FFFFFF"/>
        </a:lt2>
        <a:accent1>
          <a:srgbClr val="C5C5C5"/>
        </a:accent1>
        <a:accent2>
          <a:srgbClr val="00ADEF"/>
        </a:accent2>
        <a:accent3>
          <a:srgbClr val="0065BD"/>
        </a:accent3>
        <a:accent4>
          <a:srgbClr val="002960"/>
        </a:accent4>
        <a:accent5>
          <a:srgbClr val="F27F00"/>
        </a:accent5>
        <a:accent6>
          <a:srgbClr val="808080"/>
        </a:accent6>
        <a:hlink>
          <a:srgbClr val="0065BD"/>
        </a:hlink>
        <a:folHlink>
          <a:srgbClr val="002960"/>
        </a:folHlink>
      </a:clrScheme>
      <a:clrMap bg1="lt1" tx1="dk1" bg2="lt2" tx2="dk2" accent1="accent1" accent2="accent2" accent3="accent3" accent4="accent4" accent5="accent5" accent6="accent6" hlink="hlink" folHlink="folHlink"/>
    </a:extraClrScheme>
    <a:extraClrScheme>
      <a:clrScheme name="McKinsey Cyan-Blue">
        <a:dk1>
          <a:srgbClr val="000000"/>
        </a:dk1>
        <a:lt1>
          <a:srgbClr val="FFFFFF"/>
        </a:lt1>
        <a:dk2>
          <a:srgbClr val="002960"/>
        </a:dk2>
        <a:lt2>
          <a:srgbClr val="FFFFFF"/>
        </a:lt2>
        <a:accent1>
          <a:srgbClr val="C9F0FF"/>
        </a:accent1>
        <a:accent2>
          <a:srgbClr val="00ADEF"/>
        </a:accent2>
        <a:accent3>
          <a:srgbClr val="0065BD"/>
        </a:accent3>
        <a:accent4>
          <a:srgbClr val="002960"/>
        </a:accent4>
        <a:accent5>
          <a:srgbClr val="F27F00"/>
        </a:accent5>
        <a:accent6>
          <a:srgbClr val="808080"/>
        </a:accent6>
        <a:hlink>
          <a:srgbClr val="006983"/>
        </a:hlink>
        <a:folHlink>
          <a:srgbClr val="333333"/>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Firm Format - template - LOP - normal" id="{884107A2-67B5-4728-A2AA-FBFCDAA11846}" vid="{53DAF64C-D014-47FF-AB08-CB280DF65A38}"/>
    </a:ext>
  </a:extLst>
</a:theme>
</file>

<file path=ppt/theme/theme34.xml><?xml version="1.0" encoding="utf-8"?>
<a:theme xmlns:a="http://schemas.openxmlformats.org/drawingml/2006/main" name="35_Firm Format - template">
  <a:themeElements>
    <a:clrScheme name="Cyan_blue">
      <a:dk1>
        <a:srgbClr val="000000"/>
      </a:dk1>
      <a:lt1>
        <a:srgbClr val="FFFFFF"/>
      </a:lt1>
      <a:dk2>
        <a:srgbClr val="002960"/>
      </a:dk2>
      <a:lt2>
        <a:srgbClr val="FFFFFF"/>
      </a:lt2>
      <a:accent1>
        <a:srgbClr val="C5C5C5"/>
      </a:accent1>
      <a:accent2>
        <a:srgbClr val="00ADEF"/>
      </a:accent2>
      <a:accent3>
        <a:srgbClr val="0065BD"/>
      </a:accent3>
      <a:accent4>
        <a:srgbClr val="002960"/>
      </a:accent4>
      <a:accent5>
        <a:srgbClr val="F27F00"/>
      </a:accent5>
      <a:accent6>
        <a:srgbClr val="808080"/>
      </a:accent6>
      <a:hlink>
        <a:srgbClr val="0065BD"/>
      </a:hlink>
      <a:folHlink>
        <a:srgbClr val="002960"/>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McKinsey Grey-Blue">
        <a:dk1>
          <a:srgbClr val="000000"/>
        </a:dk1>
        <a:lt1>
          <a:srgbClr val="FFFFFF"/>
        </a:lt1>
        <a:dk2>
          <a:srgbClr val="002960"/>
        </a:dk2>
        <a:lt2>
          <a:srgbClr val="FFFFFF"/>
        </a:lt2>
        <a:accent1>
          <a:srgbClr val="C5C5C5"/>
        </a:accent1>
        <a:accent2>
          <a:srgbClr val="00ADEF"/>
        </a:accent2>
        <a:accent3>
          <a:srgbClr val="0065BD"/>
        </a:accent3>
        <a:accent4>
          <a:srgbClr val="002960"/>
        </a:accent4>
        <a:accent5>
          <a:srgbClr val="F27F00"/>
        </a:accent5>
        <a:accent6>
          <a:srgbClr val="808080"/>
        </a:accent6>
        <a:hlink>
          <a:srgbClr val="0065BD"/>
        </a:hlink>
        <a:folHlink>
          <a:srgbClr val="002960"/>
        </a:folHlink>
      </a:clrScheme>
      <a:clrMap bg1="lt1" tx1="dk1" bg2="lt2" tx2="dk2" accent1="accent1" accent2="accent2" accent3="accent3" accent4="accent4" accent5="accent5" accent6="accent6" hlink="hlink" folHlink="folHlink"/>
    </a:extraClrScheme>
    <a:extraClrScheme>
      <a:clrScheme name="McKinsey Cyan-Blue">
        <a:dk1>
          <a:srgbClr val="000000"/>
        </a:dk1>
        <a:lt1>
          <a:srgbClr val="FFFFFF"/>
        </a:lt1>
        <a:dk2>
          <a:srgbClr val="002960"/>
        </a:dk2>
        <a:lt2>
          <a:srgbClr val="FFFFFF"/>
        </a:lt2>
        <a:accent1>
          <a:srgbClr val="C9F0FF"/>
        </a:accent1>
        <a:accent2>
          <a:srgbClr val="00ADEF"/>
        </a:accent2>
        <a:accent3>
          <a:srgbClr val="0065BD"/>
        </a:accent3>
        <a:accent4>
          <a:srgbClr val="002960"/>
        </a:accent4>
        <a:accent5>
          <a:srgbClr val="F27F00"/>
        </a:accent5>
        <a:accent6>
          <a:srgbClr val="808080"/>
        </a:accent6>
        <a:hlink>
          <a:srgbClr val="006983"/>
        </a:hlink>
        <a:folHlink>
          <a:srgbClr val="333333"/>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Firm Format - template - LOP - normal" id="{884107A2-67B5-4728-A2AA-FBFCDAA11846}" vid="{53DAF64C-D014-47FF-AB08-CB280DF65A38}"/>
    </a:ext>
  </a:extLst>
</a:theme>
</file>

<file path=ppt/theme/theme35.xml><?xml version="1.0" encoding="utf-8"?>
<a:theme xmlns:a="http://schemas.openxmlformats.org/drawingml/2006/main" name="36_Firm Format - template">
  <a:themeElements>
    <a:clrScheme name="Cyan_blue">
      <a:dk1>
        <a:srgbClr val="000000"/>
      </a:dk1>
      <a:lt1>
        <a:srgbClr val="FFFFFF"/>
      </a:lt1>
      <a:dk2>
        <a:srgbClr val="002960"/>
      </a:dk2>
      <a:lt2>
        <a:srgbClr val="FFFFFF"/>
      </a:lt2>
      <a:accent1>
        <a:srgbClr val="C5C5C5"/>
      </a:accent1>
      <a:accent2>
        <a:srgbClr val="00ADEF"/>
      </a:accent2>
      <a:accent3>
        <a:srgbClr val="0065BD"/>
      </a:accent3>
      <a:accent4>
        <a:srgbClr val="002960"/>
      </a:accent4>
      <a:accent5>
        <a:srgbClr val="F27F00"/>
      </a:accent5>
      <a:accent6>
        <a:srgbClr val="808080"/>
      </a:accent6>
      <a:hlink>
        <a:srgbClr val="0065BD"/>
      </a:hlink>
      <a:folHlink>
        <a:srgbClr val="002960"/>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McKinsey Grey-Blue">
        <a:dk1>
          <a:srgbClr val="000000"/>
        </a:dk1>
        <a:lt1>
          <a:srgbClr val="FFFFFF"/>
        </a:lt1>
        <a:dk2>
          <a:srgbClr val="002960"/>
        </a:dk2>
        <a:lt2>
          <a:srgbClr val="FFFFFF"/>
        </a:lt2>
        <a:accent1>
          <a:srgbClr val="C5C5C5"/>
        </a:accent1>
        <a:accent2>
          <a:srgbClr val="00ADEF"/>
        </a:accent2>
        <a:accent3>
          <a:srgbClr val="0065BD"/>
        </a:accent3>
        <a:accent4>
          <a:srgbClr val="002960"/>
        </a:accent4>
        <a:accent5>
          <a:srgbClr val="F27F00"/>
        </a:accent5>
        <a:accent6>
          <a:srgbClr val="808080"/>
        </a:accent6>
        <a:hlink>
          <a:srgbClr val="0065BD"/>
        </a:hlink>
        <a:folHlink>
          <a:srgbClr val="002960"/>
        </a:folHlink>
      </a:clrScheme>
      <a:clrMap bg1="lt1" tx1="dk1" bg2="lt2" tx2="dk2" accent1="accent1" accent2="accent2" accent3="accent3" accent4="accent4" accent5="accent5" accent6="accent6" hlink="hlink" folHlink="folHlink"/>
    </a:extraClrScheme>
    <a:extraClrScheme>
      <a:clrScheme name="McKinsey Cyan-Blue">
        <a:dk1>
          <a:srgbClr val="000000"/>
        </a:dk1>
        <a:lt1>
          <a:srgbClr val="FFFFFF"/>
        </a:lt1>
        <a:dk2>
          <a:srgbClr val="002960"/>
        </a:dk2>
        <a:lt2>
          <a:srgbClr val="FFFFFF"/>
        </a:lt2>
        <a:accent1>
          <a:srgbClr val="C9F0FF"/>
        </a:accent1>
        <a:accent2>
          <a:srgbClr val="00ADEF"/>
        </a:accent2>
        <a:accent3>
          <a:srgbClr val="0065BD"/>
        </a:accent3>
        <a:accent4>
          <a:srgbClr val="002960"/>
        </a:accent4>
        <a:accent5>
          <a:srgbClr val="F27F00"/>
        </a:accent5>
        <a:accent6>
          <a:srgbClr val="808080"/>
        </a:accent6>
        <a:hlink>
          <a:srgbClr val="006983"/>
        </a:hlink>
        <a:folHlink>
          <a:srgbClr val="333333"/>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Firm Format - template - LOP - normal" id="{884107A2-67B5-4728-A2AA-FBFCDAA11846}" vid="{53DAF64C-D014-47FF-AB08-CB280DF65A38}"/>
    </a:ext>
  </a:extLst>
</a:theme>
</file>

<file path=ppt/theme/theme36.xml><?xml version="1.0" encoding="utf-8"?>
<a:theme xmlns:a="http://schemas.openxmlformats.org/drawingml/2006/main" name="37_Firm Format - template">
  <a:themeElements>
    <a:clrScheme name="Cyan_blue">
      <a:dk1>
        <a:srgbClr val="000000"/>
      </a:dk1>
      <a:lt1>
        <a:srgbClr val="FFFFFF"/>
      </a:lt1>
      <a:dk2>
        <a:srgbClr val="002960"/>
      </a:dk2>
      <a:lt2>
        <a:srgbClr val="FFFFFF"/>
      </a:lt2>
      <a:accent1>
        <a:srgbClr val="C5C5C5"/>
      </a:accent1>
      <a:accent2>
        <a:srgbClr val="00ADEF"/>
      </a:accent2>
      <a:accent3>
        <a:srgbClr val="0065BD"/>
      </a:accent3>
      <a:accent4>
        <a:srgbClr val="002960"/>
      </a:accent4>
      <a:accent5>
        <a:srgbClr val="F27F00"/>
      </a:accent5>
      <a:accent6>
        <a:srgbClr val="808080"/>
      </a:accent6>
      <a:hlink>
        <a:srgbClr val="0065BD"/>
      </a:hlink>
      <a:folHlink>
        <a:srgbClr val="002960"/>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McKinsey Grey-Blue">
        <a:dk1>
          <a:srgbClr val="000000"/>
        </a:dk1>
        <a:lt1>
          <a:srgbClr val="FFFFFF"/>
        </a:lt1>
        <a:dk2>
          <a:srgbClr val="002960"/>
        </a:dk2>
        <a:lt2>
          <a:srgbClr val="FFFFFF"/>
        </a:lt2>
        <a:accent1>
          <a:srgbClr val="C5C5C5"/>
        </a:accent1>
        <a:accent2>
          <a:srgbClr val="00ADEF"/>
        </a:accent2>
        <a:accent3>
          <a:srgbClr val="0065BD"/>
        </a:accent3>
        <a:accent4>
          <a:srgbClr val="002960"/>
        </a:accent4>
        <a:accent5>
          <a:srgbClr val="F27F00"/>
        </a:accent5>
        <a:accent6>
          <a:srgbClr val="808080"/>
        </a:accent6>
        <a:hlink>
          <a:srgbClr val="0065BD"/>
        </a:hlink>
        <a:folHlink>
          <a:srgbClr val="002960"/>
        </a:folHlink>
      </a:clrScheme>
      <a:clrMap bg1="lt1" tx1="dk1" bg2="lt2" tx2="dk2" accent1="accent1" accent2="accent2" accent3="accent3" accent4="accent4" accent5="accent5" accent6="accent6" hlink="hlink" folHlink="folHlink"/>
    </a:extraClrScheme>
    <a:extraClrScheme>
      <a:clrScheme name="McKinsey Cyan-Blue">
        <a:dk1>
          <a:srgbClr val="000000"/>
        </a:dk1>
        <a:lt1>
          <a:srgbClr val="FFFFFF"/>
        </a:lt1>
        <a:dk2>
          <a:srgbClr val="002960"/>
        </a:dk2>
        <a:lt2>
          <a:srgbClr val="FFFFFF"/>
        </a:lt2>
        <a:accent1>
          <a:srgbClr val="C9F0FF"/>
        </a:accent1>
        <a:accent2>
          <a:srgbClr val="00ADEF"/>
        </a:accent2>
        <a:accent3>
          <a:srgbClr val="0065BD"/>
        </a:accent3>
        <a:accent4>
          <a:srgbClr val="002960"/>
        </a:accent4>
        <a:accent5>
          <a:srgbClr val="F27F00"/>
        </a:accent5>
        <a:accent6>
          <a:srgbClr val="808080"/>
        </a:accent6>
        <a:hlink>
          <a:srgbClr val="006983"/>
        </a:hlink>
        <a:folHlink>
          <a:srgbClr val="333333"/>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Firm Format - template - LOP - normal" id="{884107A2-67B5-4728-A2AA-FBFCDAA11846}" vid="{53DAF64C-D014-47FF-AB08-CB280DF65A38}"/>
    </a:ext>
  </a:extLst>
</a:theme>
</file>

<file path=ppt/theme/theme37.xml><?xml version="1.0" encoding="utf-8"?>
<a:theme xmlns:a="http://schemas.openxmlformats.org/drawingml/2006/main" name="38_Firm Format - template">
  <a:themeElements>
    <a:clrScheme name="Cyan_blue">
      <a:dk1>
        <a:srgbClr val="000000"/>
      </a:dk1>
      <a:lt1>
        <a:srgbClr val="FFFFFF"/>
      </a:lt1>
      <a:dk2>
        <a:srgbClr val="002960"/>
      </a:dk2>
      <a:lt2>
        <a:srgbClr val="FFFFFF"/>
      </a:lt2>
      <a:accent1>
        <a:srgbClr val="C5C5C5"/>
      </a:accent1>
      <a:accent2>
        <a:srgbClr val="00ADEF"/>
      </a:accent2>
      <a:accent3>
        <a:srgbClr val="0065BD"/>
      </a:accent3>
      <a:accent4>
        <a:srgbClr val="002960"/>
      </a:accent4>
      <a:accent5>
        <a:srgbClr val="F27F00"/>
      </a:accent5>
      <a:accent6>
        <a:srgbClr val="808080"/>
      </a:accent6>
      <a:hlink>
        <a:srgbClr val="0065BD"/>
      </a:hlink>
      <a:folHlink>
        <a:srgbClr val="002960"/>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McKinsey Grey-Blue">
        <a:dk1>
          <a:srgbClr val="000000"/>
        </a:dk1>
        <a:lt1>
          <a:srgbClr val="FFFFFF"/>
        </a:lt1>
        <a:dk2>
          <a:srgbClr val="002960"/>
        </a:dk2>
        <a:lt2>
          <a:srgbClr val="FFFFFF"/>
        </a:lt2>
        <a:accent1>
          <a:srgbClr val="C5C5C5"/>
        </a:accent1>
        <a:accent2>
          <a:srgbClr val="00ADEF"/>
        </a:accent2>
        <a:accent3>
          <a:srgbClr val="0065BD"/>
        </a:accent3>
        <a:accent4>
          <a:srgbClr val="002960"/>
        </a:accent4>
        <a:accent5>
          <a:srgbClr val="F27F00"/>
        </a:accent5>
        <a:accent6>
          <a:srgbClr val="808080"/>
        </a:accent6>
        <a:hlink>
          <a:srgbClr val="0065BD"/>
        </a:hlink>
        <a:folHlink>
          <a:srgbClr val="002960"/>
        </a:folHlink>
      </a:clrScheme>
      <a:clrMap bg1="lt1" tx1="dk1" bg2="lt2" tx2="dk2" accent1="accent1" accent2="accent2" accent3="accent3" accent4="accent4" accent5="accent5" accent6="accent6" hlink="hlink" folHlink="folHlink"/>
    </a:extraClrScheme>
    <a:extraClrScheme>
      <a:clrScheme name="McKinsey Cyan-Blue">
        <a:dk1>
          <a:srgbClr val="000000"/>
        </a:dk1>
        <a:lt1>
          <a:srgbClr val="FFFFFF"/>
        </a:lt1>
        <a:dk2>
          <a:srgbClr val="002960"/>
        </a:dk2>
        <a:lt2>
          <a:srgbClr val="FFFFFF"/>
        </a:lt2>
        <a:accent1>
          <a:srgbClr val="C9F0FF"/>
        </a:accent1>
        <a:accent2>
          <a:srgbClr val="00ADEF"/>
        </a:accent2>
        <a:accent3>
          <a:srgbClr val="0065BD"/>
        </a:accent3>
        <a:accent4>
          <a:srgbClr val="002960"/>
        </a:accent4>
        <a:accent5>
          <a:srgbClr val="F27F00"/>
        </a:accent5>
        <a:accent6>
          <a:srgbClr val="808080"/>
        </a:accent6>
        <a:hlink>
          <a:srgbClr val="006983"/>
        </a:hlink>
        <a:folHlink>
          <a:srgbClr val="333333"/>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Firm Format - template - LOP - normal" id="{884107A2-67B5-4728-A2AA-FBFCDAA11846}" vid="{53DAF64C-D014-47FF-AB08-CB280DF65A38}"/>
    </a:ext>
  </a:extLst>
</a:theme>
</file>

<file path=ppt/theme/theme38.xml><?xml version="1.0" encoding="utf-8"?>
<a:theme xmlns:a="http://schemas.openxmlformats.org/drawingml/2006/main" name="39_Firm Format - template">
  <a:themeElements>
    <a:clrScheme name="Cyan_blue">
      <a:dk1>
        <a:srgbClr val="000000"/>
      </a:dk1>
      <a:lt1>
        <a:srgbClr val="FFFFFF"/>
      </a:lt1>
      <a:dk2>
        <a:srgbClr val="002960"/>
      </a:dk2>
      <a:lt2>
        <a:srgbClr val="FFFFFF"/>
      </a:lt2>
      <a:accent1>
        <a:srgbClr val="C5C5C5"/>
      </a:accent1>
      <a:accent2>
        <a:srgbClr val="00ADEF"/>
      </a:accent2>
      <a:accent3>
        <a:srgbClr val="0065BD"/>
      </a:accent3>
      <a:accent4>
        <a:srgbClr val="002960"/>
      </a:accent4>
      <a:accent5>
        <a:srgbClr val="F27F00"/>
      </a:accent5>
      <a:accent6>
        <a:srgbClr val="808080"/>
      </a:accent6>
      <a:hlink>
        <a:srgbClr val="0065BD"/>
      </a:hlink>
      <a:folHlink>
        <a:srgbClr val="002960"/>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McKinsey Grey-Blue">
        <a:dk1>
          <a:srgbClr val="000000"/>
        </a:dk1>
        <a:lt1>
          <a:srgbClr val="FFFFFF"/>
        </a:lt1>
        <a:dk2>
          <a:srgbClr val="002960"/>
        </a:dk2>
        <a:lt2>
          <a:srgbClr val="FFFFFF"/>
        </a:lt2>
        <a:accent1>
          <a:srgbClr val="C5C5C5"/>
        </a:accent1>
        <a:accent2>
          <a:srgbClr val="00ADEF"/>
        </a:accent2>
        <a:accent3>
          <a:srgbClr val="0065BD"/>
        </a:accent3>
        <a:accent4>
          <a:srgbClr val="002960"/>
        </a:accent4>
        <a:accent5>
          <a:srgbClr val="F27F00"/>
        </a:accent5>
        <a:accent6>
          <a:srgbClr val="808080"/>
        </a:accent6>
        <a:hlink>
          <a:srgbClr val="0065BD"/>
        </a:hlink>
        <a:folHlink>
          <a:srgbClr val="002960"/>
        </a:folHlink>
      </a:clrScheme>
      <a:clrMap bg1="lt1" tx1="dk1" bg2="lt2" tx2="dk2" accent1="accent1" accent2="accent2" accent3="accent3" accent4="accent4" accent5="accent5" accent6="accent6" hlink="hlink" folHlink="folHlink"/>
    </a:extraClrScheme>
    <a:extraClrScheme>
      <a:clrScheme name="McKinsey Cyan-Blue">
        <a:dk1>
          <a:srgbClr val="000000"/>
        </a:dk1>
        <a:lt1>
          <a:srgbClr val="FFFFFF"/>
        </a:lt1>
        <a:dk2>
          <a:srgbClr val="002960"/>
        </a:dk2>
        <a:lt2>
          <a:srgbClr val="FFFFFF"/>
        </a:lt2>
        <a:accent1>
          <a:srgbClr val="C9F0FF"/>
        </a:accent1>
        <a:accent2>
          <a:srgbClr val="00ADEF"/>
        </a:accent2>
        <a:accent3>
          <a:srgbClr val="0065BD"/>
        </a:accent3>
        <a:accent4>
          <a:srgbClr val="002960"/>
        </a:accent4>
        <a:accent5>
          <a:srgbClr val="F27F00"/>
        </a:accent5>
        <a:accent6>
          <a:srgbClr val="808080"/>
        </a:accent6>
        <a:hlink>
          <a:srgbClr val="006983"/>
        </a:hlink>
        <a:folHlink>
          <a:srgbClr val="333333"/>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Firm Format - template - LOP - normal" id="{884107A2-67B5-4728-A2AA-FBFCDAA11846}" vid="{53DAF64C-D014-47FF-AB08-CB280DF65A38}"/>
    </a:ext>
  </a:extLst>
</a:theme>
</file>

<file path=ppt/theme/theme39.xml><?xml version="1.0" encoding="utf-8"?>
<a:theme xmlns:a="http://schemas.openxmlformats.org/drawingml/2006/main" name="40_Firm Format - template">
  <a:themeElements>
    <a:clrScheme name="Cyan_blue">
      <a:dk1>
        <a:srgbClr val="000000"/>
      </a:dk1>
      <a:lt1>
        <a:srgbClr val="FFFFFF"/>
      </a:lt1>
      <a:dk2>
        <a:srgbClr val="002960"/>
      </a:dk2>
      <a:lt2>
        <a:srgbClr val="FFFFFF"/>
      </a:lt2>
      <a:accent1>
        <a:srgbClr val="C5C5C5"/>
      </a:accent1>
      <a:accent2>
        <a:srgbClr val="00ADEF"/>
      </a:accent2>
      <a:accent3>
        <a:srgbClr val="0065BD"/>
      </a:accent3>
      <a:accent4>
        <a:srgbClr val="002960"/>
      </a:accent4>
      <a:accent5>
        <a:srgbClr val="F27F00"/>
      </a:accent5>
      <a:accent6>
        <a:srgbClr val="808080"/>
      </a:accent6>
      <a:hlink>
        <a:srgbClr val="0065BD"/>
      </a:hlink>
      <a:folHlink>
        <a:srgbClr val="002960"/>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McKinsey Grey-Blue">
        <a:dk1>
          <a:srgbClr val="000000"/>
        </a:dk1>
        <a:lt1>
          <a:srgbClr val="FFFFFF"/>
        </a:lt1>
        <a:dk2>
          <a:srgbClr val="002960"/>
        </a:dk2>
        <a:lt2>
          <a:srgbClr val="FFFFFF"/>
        </a:lt2>
        <a:accent1>
          <a:srgbClr val="C5C5C5"/>
        </a:accent1>
        <a:accent2>
          <a:srgbClr val="00ADEF"/>
        </a:accent2>
        <a:accent3>
          <a:srgbClr val="0065BD"/>
        </a:accent3>
        <a:accent4>
          <a:srgbClr val="002960"/>
        </a:accent4>
        <a:accent5>
          <a:srgbClr val="F27F00"/>
        </a:accent5>
        <a:accent6>
          <a:srgbClr val="808080"/>
        </a:accent6>
        <a:hlink>
          <a:srgbClr val="0065BD"/>
        </a:hlink>
        <a:folHlink>
          <a:srgbClr val="002960"/>
        </a:folHlink>
      </a:clrScheme>
      <a:clrMap bg1="lt1" tx1="dk1" bg2="lt2" tx2="dk2" accent1="accent1" accent2="accent2" accent3="accent3" accent4="accent4" accent5="accent5" accent6="accent6" hlink="hlink" folHlink="folHlink"/>
    </a:extraClrScheme>
    <a:extraClrScheme>
      <a:clrScheme name="McKinsey Cyan-Blue">
        <a:dk1>
          <a:srgbClr val="000000"/>
        </a:dk1>
        <a:lt1>
          <a:srgbClr val="FFFFFF"/>
        </a:lt1>
        <a:dk2>
          <a:srgbClr val="002960"/>
        </a:dk2>
        <a:lt2>
          <a:srgbClr val="FFFFFF"/>
        </a:lt2>
        <a:accent1>
          <a:srgbClr val="C9F0FF"/>
        </a:accent1>
        <a:accent2>
          <a:srgbClr val="00ADEF"/>
        </a:accent2>
        <a:accent3>
          <a:srgbClr val="0065BD"/>
        </a:accent3>
        <a:accent4>
          <a:srgbClr val="002960"/>
        </a:accent4>
        <a:accent5>
          <a:srgbClr val="F27F00"/>
        </a:accent5>
        <a:accent6>
          <a:srgbClr val="808080"/>
        </a:accent6>
        <a:hlink>
          <a:srgbClr val="006983"/>
        </a:hlink>
        <a:folHlink>
          <a:srgbClr val="333333"/>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Firm Format - template - LOP - normal" id="{884107A2-67B5-4728-A2AA-FBFCDAA11846}" vid="{53DAF64C-D014-47FF-AB08-CB280DF65A38}"/>
    </a:ext>
  </a:extLst>
</a:theme>
</file>

<file path=ppt/theme/theme4.xml><?xml version="1.0" encoding="utf-8"?>
<a:theme xmlns:a="http://schemas.openxmlformats.org/drawingml/2006/main" name="5_Firm Format - template">
  <a:themeElements>
    <a:clrScheme name="Cyan_blue">
      <a:dk1>
        <a:srgbClr val="000000"/>
      </a:dk1>
      <a:lt1>
        <a:srgbClr val="FFFFFF"/>
      </a:lt1>
      <a:dk2>
        <a:srgbClr val="002960"/>
      </a:dk2>
      <a:lt2>
        <a:srgbClr val="FFFFFF"/>
      </a:lt2>
      <a:accent1>
        <a:srgbClr val="C5C5C5"/>
      </a:accent1>
      <a:accent2>
        <a:srgbClr val="00ADEF"/>
      </a:accent2>
      <a:accent3>
        <a:srgbClr val="0065BD"/>
      </a:accent3>
      <a:accent4>
        <a:srgbClr val="002960"/>
      </a:accent4>
      <a:accent5>
        <a:srgbClr val="F27F00"/>
      </a:accent5>
      <a:accent6>
        <a:srgbClr val="808080"/>
      </a:accent6>
      <a:hlink>
        <a:srgbClr val="0065BD"/>
      </a:hlink>
      <a:folHlink>
        <a:srgbClr val="002960"/>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McKinsey Grey-Blue">
        <a:dk1>
          <a:srgbClr val="000000"/>
        </a:dk1>
        <a:lt1>
          <a:srgbClr val="FFFFFF"/>
        </a:lt1>
        <a:dk2>
          <a:srgbClr val="002960"/>
        </a:dk2>
        <a:lt2>
          <a:srgbClr val="FFFFFF"/>
        </a:lt2>
        <a:accent1>
          <a:srgbClr val="C5C5C5"/>
        </a:accent1>
        <a:accent2>
          <a:srgbClr val="00ADEF"/>
        </a:accent2>
        <a:accent3>
          <a:srgbClr val="0065BD"/>
        </a:accent3>
        <a:accent4>
          <a:srgbClr val="002960"/>
        </a:accent4>
        <a:accent5>
          <a:srgbClr val="F27F00"/>
        </a:accent5>
        <a:accent6>
          <a:srgbClr val="808080"/>
        </a:accent6>
        <a:hlink>
          <a:srgbClr val="0065BD"/>
        </a:hlink>
        <a:folHlink>
          <a:srgbClr val="002960"/>
        </a:folHlink>
      </a:clrScheme>
      <a:clrMap bg1="lt1" tx1="dk1" bg2="lt2" tx2="dk2" accent1="accent1" accent2="accent2" accent3="accent3" accent4="accent4" accent5="accent5" accent6="accent6" hlink="hlink" folHlink="folHlink"/>
    </a:extraClrScheme>
    <a:extraClrScheme>
      <a:clrScheme name="McKinsey Cyan-Blue">
        <a:dk1>
          <a:srgbClr val="000000"/>
        </a:dk1>
        <a:lt1>
          <a:srgbClr val="FFFFFF"/>
        </a:lt1>
        <a:dk2>
          <a:srgbClr val="002960"/>
        </a:dk2>
        <a:lt2>
          <a:srgbClr val="FFFFFF"/>
        </a:lt2>
        <a:accent1>
          <a:srgbClr val="C9F0FF"/>
        </a:accent1>
        <a:accent2>
          <a:srgbClr val="00ADEF"/>
        </a:accent2>
        <a:accent3>
          <a:srgbClr val="0065BD"/>
        </a:accent3>
        <a:accent4>
          <a:srgbClr val="002960"/>
        </a:accent4>
        <a:accent5>
          <a:srgbClr val="F27F00"/>
        </a:accent5>
        <a:accent6>
          <a:srgbClr val="808080"/>
        </a:accent6>
        <a:hlink>
          <a:srgbClr val="006983"/>
        </a:hlink>
        <a:folHlink>
          <a:srgbClr val="333333"/>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Firm Format - template - LOP - normal" id="{884107A2-67B5-4728-A2AA-FBFCDAA11846}" vid="{53DAF64C-D014-47FF-AB08-CB280DF65A38}"/>
    </a:ext>
  </a:extLst>
</a:theme>
</file>

<file path=ppt/theme/theme40.xml><?xml version="1.0" encoding="utf-8"?>
<a:theme xmlns:a="http://schemas.openxmlformats.org/drawingml/2006/main" name="41_Firm Format - template">
  <a:themeElements>
    <a:clrScheme name="Cyan_blue">
      <a:dk1>
        <a:srgbClr val="000000"/>
      </a:dk1>
      <a:lt1>
        <a:srgbClr val="FFFFFF"/>
      </a:lt1>
      <a:dk2>
        <a:srgbClr val="002960"/>
      </a:dk2>
      <a:lt2>
        <a:srgbClr val="FFFFFF"/>
      </a:lt2>
      <a:accent1>
        <a:srgbClr val="C5C5C5"/>
      </a:accent1>
      <a:accent2>
        <a:srgbClr val="00ADEF"/>
      </a:accent2>
      <a:accent3>
        <a:srgbClr val="0065BD"/>
      </a:accent3>
      <a:accent4>
        <a:srgbClr val="002960"/>
      </a:accent4>
      <a:accent5>
        <a:srgbClr val="F27F00"/>
      </a:accent5>
      <a:accent6>
        <a:srgbClr val="808080"/>
      </a:accent6>
      <a:hlink>
        <a:srgbClr val="0065BD"/>
      </a:hlink>
      <a:folHlink>
        <a:srgbClr val="002960"/>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McKinsey Grey-Blue">
        <a:dk1>
          <a:srgbClr val="000000"/>
        </a:dk1>
        <a:lt1>
          <a:srgbClr val="FFFFFF"/>
        </a:lt1>
        <a:dk2>
          <a:srgbClr val="002960"/>
        </a:dk2>
        <a:lt2>
          <a:srgbClr val="FFFFFF"/>
        </a:lt2>
        <a:accent1>
          <a:srgbClr val="C5C5C5"/>
        </a:accent1>
        <a:accent2>
          <a:srgbClr val="00ADEF"/>
        </a:accent2>
        <a:accent3>
          <a:srgbClr val="0065BD"/>
        </a:accent3>
        <a:accent4>
          <a:srgbClr val="002960"/>
        </a:accent4>
        <a:accent5>
          <a:srgbClr val="F27F00"/>
        </a:accent5>
        <a:accent6>
          <a:srgbClr val="808080"/>
        </a:accent6>
        <a:hlink>
          <a:srgbClr val="0065BD"/>
        </a:hlink>
        <a:folHlink>
          <a:srgbClr val="002960"/>
        </a:folHlink>
      </a:clrScheme>
      <a:clrMap bg1="lt1" tx1="dk1" bg2="lt2" tx2="dk2" accent1="accent1" accent2="accent2" accent3="accent3" accent4="accent4" accent5="accent5" accent6="accent6" hlink="hlink" folHlink="folHlink"/>
    </a:extraClrScheme>
    <a:extraClrScheme>
      <a:clrScheme name="McKinsey Cyan-Blue">
        <a:dk1>
          <a:srgbClr val="000000"/>
        </a:dk1>
        <a:lt1>
          <a:srgbClr val="FFFFFF"/>
        </a:lt1>
        <a:dk2>
          <a:srgbClr val="002960"/>
        </a:dk2>
        <a:lt2>
          <a:srgbClr val="FFFFFF"/>
        </a:lt2>
        <a:accent1>
          <a:srgbClr val="C9F0FF"/>
        </a:accent1>
        <a:accent2>
          <a:srgbClr val="00ADEF"/>
        </a:accent2>
        <a:accent3>
          <a:srgbClr val="0065BD"/>
        </a:accent3>
        <a:accent4>
          <a:srgbClr val="002960"/>
        </a:accent4>
        <a:accent5>
          <a:srgbClr val="F27F00"/>
        </a:accent5>
        <a:accent6>
          <a:srgbClr val="808080"/>
        </a:accent6>
        <a:hlink>
          <a:srgbClr val="006983"/>
        </a:hlink>
        <a:folHlink>
          <a:srgbClr val="333333"/>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Firm Format - template - LOP - normal" id="{884107A2-67B5-4728-A2AA-FBFCDAA11846}" vid="{53DAF64C-D014-47FF-AB08-CB280DF65A38}"/>
    </a:ext>
  </a:extLst>
</a:theme>
</file>

<file path=ppt/theme/theme41.xml><?xml version="1.0" encoding="utf-8"?>
<a:theme xmlns:a="http://schemas.openxmlformats.org/drawingml/2006/main" name="42_Firm Format - template">
  <a:themeElements>
    <a:clrScheme name="Cyan_blue">
      <a:dk1>
        <a:srgbClr val="000000"/>
      </a:dk1>
      <a:lt1>
        <a:srgbClr val="FFFFFF"/>
      </a:lt1>
      <a:dk2>
        <a:srgbClr val="002960"/>
      </a:dk2>
      <a:lt2>
        <a:srgbClr val="FFFFFF"/>
      </a:lt2>
      <a:accent1>
        <a:srgbClr val="C5C5C5"/>
      </a:accent1>
      <a:accent2>
        <a:srgbClr val="00ADEF"/>
      </a:accent2>
      <a:accent3>
        <a:srgbClr val="0065BD"/>
      </a:accent3>
      <a:accent4>
        <a:srgbClr val="002960"/>
      </a:accent4>
      <a:accent5>
        <a:srgbClr val="F27F00"/>
      </a:accent5>
      <a:accent6>
        <a:srgbClr val="808080"/>
      </a:accent6>
      <a:hlink>
        <a:srgbClr val="0065BD"/>
      </a:hlink>
      <a:folHlink>
        <a:srgbClr val="002960"/>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McKinsey Grey-Blue">
        <a:dk1>
          <a:srgbClr val="000000"/>
        </a:dk1>
        <a:lt1>
          <a:srgbClr val="FFFFFF"/>
        </a:lt1>
        <a:dk2>
          <a:srgbClr val="002960"/>
        </a:dk2>
        <a:lt2>
          <a:srgbClr val="FFFFFF"/>
        </a:lt2>
        <a:accent1>
          <a:srgbClr val="C5C5C5"/>
        </a:accent1>
        <a:accent2>
          <a:srgbClr val="00ADEF"/>
        </a:accent2>
        <a:accent3>
          <a:srgbClr val="0065BD"/>
        </a:accent3>
        <a:accent4>
          <a:srgbClr val="002960"/>
        </a:accent4>
        <a:accent5>
          <a:srgbClr val="F27F00"/>
        </a:accent5>
        <a:accent6>
          <a:srgbClr val="808080"/>
        </a:accent6>
        <a:hlink>
          <a:srgbClr val="0065BD"/>
        </a:hlink>
        <a:folHlink>
          <a:srgbClr val="002960"/>
        </a:folHlink>
      </a:clrScheme>
      <a:clrMap bg1="lt1" tx1="dk1" bg2="lt2" tx2="dk2" accent1="accent1" accent2="accent2" accent3="accent3" accent4="accent4" accent5="accent5" accent6="accent6" hlink="hlink" folHlink="folHlink"/>
    </a:extraClrScheme>
    <a:extraClrScheme>
      <a:clrScheme name="McKinsey Cyan-Blue">
        <a:dk1>
          <a:srgbClr val="000000"/>
        </a:dk1>
        <a:lt1>
          <a:srgbClr val="FFFFFF"/>
        </a:lt1>
        <a:dk2>
          <a:srgbClr val="002960"/>
        </a:dk2>
        <a:lt2>
          <a:srgbClr val="FFFFFF"/>
        </a:lt2>
        <a:accent1>
          <a:srgbClr val="C9F0FF"/>
        </a:accent1>
        <a:accent2>
          <a:srgbClr val="00ADEF"/>
        </a:accent2>
        <a:accent3>
          <a:srgbClr val="0065BD"/>
        </a:accent3>
        <a:accent4>
          <a:srgbClr val="002960"/>
        </a:accent4>
        <a:accent5>
          <a:srgbClr val="F27F00"/>
        </a:accent5>
        <a:accent6>
          <a:srgbClr val="808080"/>
        </a:accent6>
        <a:hlink>
          <a:srgbClr val="006983"/>
        </a:hlink>
        <a:folHlink>
          <a:srgbClr val="333333"/>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Firm Format - template - LOP - normal" id="{884107A2-67B5-4728-A2AA-FBFCDAA11846}" vid="{53DAF64C-D014-47FF-AB08-CB280DF65A38}"/>
    </a:ext>
  </a:extLst>
</a:theme>
</file>

<file path=ppt/theme/theme42.xml><?xml version="1.0" encoding="utf-8"?>
<a:theme xmlns:a="http://schemas.openxmlformats.org/drawingml/2006/main" name="43_Firm Format - template">
  <a:themeElements>
    <a:clrScheme name="Cyan_blue">
      <a:dk1>
        <a:srgbClr val="000000"/>
      </a:dk1>
      <a:lt1>
        <a:srgbClr val="FFFFFF"/>
      </a:lt1>
      <a:dk2>
        <a:srgbClr val="002960"/>
      </a:dk2>
      <a:lt2>
        <a:srgbClr val="FFFFFF"/>
      </a:lt2>
      <a:accent1>
        <a:srgbClr val="C5C5C5"/>
      </a:accent1>
      <a:accent2>
        <a:srgbClr val="00ADEF"/>
      </a:accent2>
      <a:accent3>
        <a:srgbClr val="0065BD"/>
      </a:accent3>
      <a:accent4>
        <a:srgbClr val="002960"/>
      </a:accent4>
      <a:accent5>
        <a:srgbClr val="F27F00"/>
      </a:accent5>
      <a:accent6>
        <a:srgbClr val="808080"/>
      </a:accent6>
      <a:hlink>
        <a:srgbClr val="0065BD"/>
      </a:hlink>
      <a:folHlink>
        <a:srgbClr val="002960"/>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McKinsey Grey-Blue">
        <a:dk1>
          <a:srgbClr val="000000"/>
        </a:dk1>
        <a:lt1>
          <a:srgbClr val="FFFFFF"/>
        </a:lt1>
        <a:dk2>
          <a:srgbClr val="002960"/>
        </a:dk2>
        <a:lt2>
          <a:srgbClr val="FFFFFF"/>
        </a:lt2>
        <a:accent1>
          <a:srgbClr val="C5C5C5"/>
        </a:accent1>
        <a:accent2>
          <a:srgbClr val="00ADEF"/>
        </a:accent2>
        <a:accent3>
          <a:srgbClr val="0065BD"/>
        </a:accent3>
        <a:accent4>
          <a:srgbClr val="002960"/>
        </a:accent4>
        <a:accent5>
          <a:srgbClr val="F27F00"/>
        </a:accent5>
        <a:accent6>
          <a:srgbClr val="808080"/>
        </a:accent6>
        <a:hlink>
          <a:srgbClr val="0065BD"/>
        </a:hlink>
        <a:folHlink>
          <a:srgbClr val="002960"/>
        </a:folHlink>
      </a:clrScheme>
      <a:clrMap bg1="lt1" tx1="dk1" bg2="lt2" tx2="dk2" accent1="accent1" accent2="accent2" accent3="accent3" accent4="accent4" accent5="accent5" accent6="accent6" hlink="hlink" folHlink="folHlink"/>
    </a:extraClrScheme>
    <a:extraClrScheme>
      <a:clrScheme name="McKinsey Cyan-Blue">
        <a:dk1>
          <a:srgbClr val="000000"/>
        </a:dk1>
        <a:lt1>
          <a:srgbClr val="FFFFFF"/>
        </a:lt1>
        <a:dk2>
          <a:srgbClr val="002960"/>
        </a:dk2>
        <a:lt2>
          <a:srgbClr val="FFFFFF"/>
        </a:lt2>
        <a:accent1>
          <a:srgbClr val="C9F0FF"/>
        </a:accent1>
        <a:accent2>
          <a:srgbClr val="00ADEF"/>
        </a:accent2>
        <a:accent3>
          <a:srgbClr val="0065BD"/>
        </a:accent3>
        <a:accent4>
          <a:srgbClr val="002960"/>
        </a:accent4>
        <a:accent5>
          <a:srgbClr val="F27F00"/>
        </a:accent5>
        <a:accent6>
          <a:srgbClr val="808080"/>
        </a:accent6>
        <a:hlink>
          <a:srgbClr val="006983"/>
        </a:hlink>
        <a:folHlink>
          <a:srgbClr val="333333"/>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Firm Format - template - LOP - normal" id="{884107A2-67B5-4728-A2AA-FBFCDAA11846}" vid="{53DAF64C-D014-47FF-AB08-CB280DF65A38}"/>
    </a:ext>
  </a:extLst>
</a:theme>
</file>

<file path=ppt/theme/theme43.xml><?xml version="1.0" encoding="utf-8"?>
<a:theme xmlns:a="http://schemas.openxmlformats.org/drawingml/2006/main" name="44_Firm Format - template">
  <a:themeElements>
    <a:clrScheme name="Cyan_blue">
      <a:dk1>
        <a:srgbClr val="000000"/>
      </a:dk1>
      <a:lt1>
        <a:srgbClr val="FFFFFF"/>
      </a:lt1>
      <a:dk2>
        <a:srgbClr val="002960"/>
      </a:dk2>
      <a:lt2>
        <a:srgbClr val="FFFFFF"/>
      </a:lt2>
      <a:accent1>
        <a:srgbClr val="C5C5C5"/>
      </a:accent1>
      <a:accent2>
        <a:srgbClr val="00ADEF"/>
      </a:accent2>
      <a:accent3>
        <a:srgbClr val="0065BD"/>
      </a:accent3>
      <a:accent4>
        <a:srgbClr val="002960"/>
      </a:accent4>
      <a:accent5>
        <a:srgbClr val="F27F00"/>
      </a:accent5>
      <a:accent6>
        <a:srgbClr val="808080"/>
      </a:accent6>
      <a:hlink>
        <a:srgbClr val="0065BD"/>
      </a:hlink>
      <a:folHlink>
        <a:srgbClr val="002960"/>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McKinsey Grey-Blue">
        <a:dk1>
          <a:srgbClr val="000000"/>
        </a:dk1>
        <a:lt1>
          <a:srgbClr val="FFFFFF"/>
        </a:lt1>
        <a:dk2>
          <a:srgbClr val="002960"/>
        </a:dk2>
        <a:lt2>
          <a:srgbClr val="FFFFFF"/>
        </a:lt2>
        <a:accent1>
          <a:srgbClr val="C5C5C5"/>
        </a:accent1>
        <a:accent2>
          <a:srgbClr val="00ADEF"/>
        </a:accent2>
        <a:accent3>
          <a:srgbClr val="0065BD"/>
        </a:accent3>
        <a:accent4>
          <a:srgbClr val="002960"/>
        </a:accent4>
        <a:accent5>
          <a:srgbClr val="F27F00"/>
        </a:accent5>
        <a:accent6>
          <a:srgbClr val="808080"/>
        </a:accent6>
        <a:hlink>
          <a:srgbClr val="0065BD"/>
        </a:hlink>
        <a:folHlink>
          <a:srgbClr val="002960"/>
        </a:folHlink>
      </a:clrScheme>
      <a:clrMap bg1="lt1" tx1="dk1" bg2="lt2" tx2="dk2" accent1="accent1" accent2="accent2" accent3="accent3" accent4="accent4" accent5="accent5" accent6="accent6" hlink="hlink" folHlink="folHlink"/>
    </a:extraClrScheme>
    <a:extraClrScheme>
      <a:clrScheme name="McKinsey Cyan-Blue">
        <a:dk1>
          <a:srgbClr val="000000"/>
        </a:dk1>
        <a:lt1>
          <a:srgbClr val="FFFFFF"/>
        </a:lt1>
        <a:dk2>
          <a:srgbClr val="002960"/>
        </a:dk2>
        <a:lt2>
          <a:srgbClr val="FFFFFF"/>
        </a:lt2>
        <a:accent1>
          <a:srgbClr val="C9F0FF"/>
        </a:accent1>
        <a:accent2>
          <a:srgbClr val="00ADEF"/>
        </a:accent2>
        <a:accent3>
          <a:srgbClr val="0065BD"/>
        </a:accent3>
        <a:accent4>
          <a:srgbClr val="002960"/>
        </a:accent4>
        <a:accent5>
          <a:srgbClr val="F27F00"/>
        </a:accent5>
        <a:accent6>
          <a:srgbClr val="808080"/>
        </a:accent6>
        <a:hlink>
          <a:srgbClr val="006983"/>
        </a:hlink>
        <a:folHlink>
          <a:srgbClr val="333333"/>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Firm Format - template - LOP - normal" id="{884107A2-67B5-4728-A2AA-FBFCDAA11846}" vid="{53DAF64C-D014-47FF-AB08-CB280DF65A38}"/>
    </a:ext>
  </a:extLst>
</a:theme>
</file>

<file path=ppt/theme/theme44.xml><?xml version="1.0" encoding="utf-8"?>
<a:theme xmlns:a="http://schemas.openxmlformats.org/drawingml/2006/main" name="45_Firm Format - template">
  <a:themeElements>
    <a:clrScheme name="Cyan_blue">
      <a:dk1>
        <a:srgbClr val="000000"/>
      </a:dk1>
      <a:lt1>
        <a:srgbClr val="FFFFFF"/>
      </a:lt1>
      <a:dk2>
        <a:srgbClr val="002960"/>
      </a:dk2>
      <a:lt2>
        <a:srgbClr val="FFFFFF"/>
      </a:lt2>
      <a:accent1>
        <a:srgbClr val="C5C5C5"/>
      </a:accent1>
      <a:accent2>
        <a:srgbClr val="00ADEF"/>
      </a:accent2>
      <a:accent3>
        <a:srgbClr val="0065BD"/>
      </a:accent3>
      <a:accent4>
        <a:srgbClr val="002960"/>
      </a:accent4>
      <a:accent5>
        <a:srgbClr val="F27F00"/>
      </a:accent5>
      <a:accent6>
        <a:srgbClr val="808080"/>
      </a:accent6>
      <a:hlink>
        <a:srgbClr val="0065BD"/>
      </a:hlink>
      <a:folHlink>
        <a:srgbClr val="002960"/>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McKinsey Grey-Blue">
        <a:dk1>
          <a:srgbClr val="000000"/>
        </a:dk1>
        <a:lt1>
          <a:srgbClr val="FFFFFF"/>
        </a:lt1>
        <a:dk2>
          <a:srgbClr val="002960"/>
        </a:dk2>
        <a:lt2>
          <a:srgbClr val="FFFFFF"/>
        </a:lt2>
        <a:accent1>
          <a:srgbClr val="C5C5C5"/>
        </a:accent1>
        <a:accent2>
          <a:srgbClr val="00ADEF"/>
        </a:accent2>
        <a:accent3>
          <a:srgbClr val="0065BD"/>
        </a:accent3>
        <a:accent4>
          <a:srgbClr val="002960"/>
        </a:accent4>
        <a:accent5>
          <a:srgbClr val="F27F00"/>
        </a:accent5>
        <a:accent6>
          <a:srgbClr val="808080"/>
        </a:accent6>
        <a:hlink>
          <a:srgbClr val="0065BD"/>
        </a:hlink>
        <a:folHlink>
          <a:srgbClr val="002960"/>
        </a:folHlink>
      </a:clrScheme>
      <a:clrMap bg1="lt1" tx1="dk1" bg2="lt2" tx2="dk2" accent1="accent1" accent2="accent2" accent3="accent3" accent4="accent4" accent5="accent5" accent6="accent6" hlink="hlink" folHlink="folHlink"/>
    </a:extraClrScheme>
    <a:extraClrScheme>
      <a:clrScheme name="McKinsey Cyan-Blue">
        <a:dk1>
          <a:srgbClr val="000000"/>
        </a:dk1>
        <a:lt1>
          <a:srgbClr val="FFFFFF"/>
        </a:lt1>
        <a:dk2>
          <a:srgbClr val="002960"/>
        </a:dk2>
        <a:lt2>
          <a:srgbClr val="FFFFFF"/>
        </a:lt2>
        <a:accent1>
          <a:srgbClr val="C9F0FF"/>
        </a:accent1>
        <a:accent2>
          <a:srgbClr val="00ADEF"/>
        </a:accent2>
        <a:accent3>
          <a:srgbClr val="0065BD"/>
        </a:accent3>
        <a:accent4>
          <a:srgbClr val="002960"/>
        </a:accent4>
        <a:accent5>
          <a:srgbClr val="F27F00"/>
        </a:accent5>
        <a:accent6>
          <a:srgbClr val="808080"/>
        </a:accent6>
        <a:hlink>
          <a:srgbClr val="006983"/>
        </a:hlink>
        <a:folHlink>
          <a:srgbClr val="333333"/>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Firm Format - template - LOP - normal" id="{884107A2-67B5-4728-A2AA-FBFCDAA11846}" vid="{53DAF64C-D014-47FF-AB08-CB280DF65A38}"/>
    </a:ext>
  </a:extLst>
</a:theme>
</file>

<file path=ppt/theme/theme45.xml><?xml version="1.0" encoding="utf-8"?>
<a:theme xmlns:a="http://schemas.openxmlformats.org/drawingml/2006/main" name="46_Firm Format - template">
  <a:themeElements>
    <a:clrScheme name="Cyan_blue">
      <a:dk1>
        <a:srgbClr val="000000"/>
      </a:dk1>
      <a:lt1>
        <a:srgbClr val="FFFFFF"/>
      </a:lt1>
      <a:dk2>
        <a:srgbClr val="002960"/>
      </a:dk2>
      <a:lt2>
        <a:srgbClr val="FFFFFF"/>
      </a:lt2>
      <a:accent1>
        <a:srgbClr val="C5C5C5"/>
      </a:accent1>
      <a:accent2>
        <a:srgbClr val="00ADEF"/>
      </a:accent2>
      <a:accent3>
        <a:srgbClr val="0065BD"/>
      </a:accent3>
      <a:accent4>
        <a:srgbClr val="002960"/>
      </a:accent4>
      <a:accent5>
        <a:srgbClr val="F27F00"/>
      </a:accent5>
      <a:accent6>
        <a:srgbClr val="808080"/>
      </a:accent6>
      <a:hlink>
        <a:srgbClr val="0065BD"/>
      </a:hlink>
      <a:folHlink>
        <a:srgbClr val="002960"/>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McKinsey Grey-Blue">
        <a:dk1>
          <a:srgbClr val="000000"/>
        </a:dk1>
        <a:lt1>
          <a:srgbClr val="FFFFFF"/>
        </a:lt1>
        <a:dk2>
          <a:srgbClr val="002960"/>
        </a:dk2>
        <a:lt2>
          <a:srgbClr val="FFFFFF"/>
        </a:lt2>
        <a:accent1>
          <a:srgbClr val="C5C5C5"/>
        </a:accent1>
        <a:accent2>
          <a:srgbClr val="00ADEF"/>
        </a:accent2>
        <a:accent3>
          <a:srgbClr val="0065BD"/>
        </a:accent3>
        <a:accent4>
          <a:srgbClr val="002960"/>
        </a:accent4>
        <a:accent5>
          <a:srgbClr val="F27F00"/>
        </a:accent5>
        <a:accent6>
          <a:srgbClr val="808080"/>
        </a:accent6>
        <a:hlink>
          <a:srgbClr val="0065BD"/>
        </a:hlink>
        <a:folHlink>
          <a:srgbClr val="002960"/>
        </a:folHlink>
      </a:clrScheme>
      <a:clrMap bg1="lt1" tx1="dk1" bg2="lt2" tx2="dk2" accent1="accent1" accent2="accent2" accent3="accent3" accent4="accent4" accent5="accent5" accent6="accent6" hlink="hlink" folHlink="folHlink"/>
    </a:extraClrScheme>
    <a:extraClrScheme>
      <a:clrScheme name="McKinsey Cyan-Blue">
        <a:dk1>
          <a:srgbClr val="000000"/>
        </a:dk1>
        <a:lt1>
          <a:srgbClr val="FFFFFF"/>
        </a:lt1>
        <a:dk2>
          <a:srgbClr val="002960"/>
        </a:dk2>
        <a:lt2>
          <a:srgbClr val="FFFFFF"/>
        </a:lt2>
        <a:accent1>
          <a:srgbClr val="C9F0FF"/>
        </a:accent1>
        <a:accent2>
          <a:srgbClr val="00ADEF"/>
        </a:accent2>
        <a:accent3>
          <a:srgbClr val="0065BD"/>
        </a:accent3>
        <a:accent4>
          <a:srgbClr val="002960"/>
        </a:accent4>
        <a:accent5>
          <a:srgbClr val="F27F00"/>
        </a:accent5>
        <a:accent6>
          <a:srgbClr val="808080"/>
        </a:accent6>
        <a:hlink>
          <a:srgbClr val="006983"/>
        </a:hlink>
        <a:folHlink>
          <a:srgbClr val="333333"/>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Firm Format - template - LOP - normal" id="{884107A2-67B5-4728-A2AA-FBFCDAA11846}" vid="{53DAF64C-D014-47FF-AB08-CB280DF65A38}"/>
    </a:ext>
  </a:extLst>
</a:theme>
</file>

<file path=ppt/theme/theme46.xml><?xml version="1.0" encoding="utf-8"?>
<a:theme xmlns:a="http://schemas.openxmlformats.org/drawingml/2006/main" name="47_Firm Format - template">
  <a:themeElements>
    <a:clrScheme name="Cyan_blue">
      <a:dk1>
        <a:srgbClr val="000000"/>
      </a:dk1>
      <a:lt1>
        <a:srgbClr val="FFFFFF"/>
      </a:lt1>
      <a:dk2>
        <a:srgbClr val="002960"/>
      </a:dk2>
      <a:lt2>
        <a:srgbClr val="FFFFFF"/>
      </a:lt2>
      <a:accent1>
        <a:srgbClr val="C5C5C5"/>
      </a:accent1>
      <a:accent2>
        <a:srgbClr val="00ADEF"/>
      </a:accent2>
      <a:accent3>
        <a:srgbClr val="0065BD"/>
      </a:accent3>
      <a:accent4>
        <a:srgbClr val="002960"/>
      </a:accent4>
      <a:accent5>
        <a:srgbClr val="F27F00"/>
      </a:accent5>
      <a:accent6>
        <a:srgbClr val="808080"/>
      </a:accent6>
      <a:hlink>
        <a:srgbClr val="0065BD"/>
      </a:hlink>
      <a:folHlink>
        <a:srgbClr val="002960"/>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McKinsey Grey-Blue">
        <a:dk1>
          <a:srgbClr val="000000"/>
        </a:dk1>
        <a:lt1>
          <a:srgbClr val="FFFFFF"/>
        </a:lt1>
        <a:dk2>
          <a:srgbClr val="002960"/>
        </a:dk2>
        <a:lt2>
          <a:srgbClr val="FFFFFF"/>
        </a:lt2>
        <a:accent1>
          <a:srgbClr val="C5C5C5"/>
        </a:accent1>
        <a:accent2>
          <a:srgbClr val="00ADEF"/>
        </a:accent2>
        <a:accent3>
          <a:srgbClr val="0065BD"/>
        </a:accent3>
        <a:accent4>
          <a:srgbClr val="002960"/>
        </a:accent4>
        <a:accent5>
          <a:srgbClr val="F27F00"/>
        </a:accent5>
        <a:accent6>
          <a:srgbClr val="808080"/>
        </a:accent6>
        <a:hlink>
          <a:srgbClr val="0065BD"/>
        </a:hlink>
        <a:folHlink>
          <a:srgbClr val="002960"/>
        </a:folHlink>
      </a:clrScheme>
      <a:clrMap bg1="lt1" tx1="dk1" bg2="lt2" tx2="dk2" accent1="accent1" accent2="accent2" accent3="accent3" accent4="accent4" accent5="accent5" accent6="accent6" hlink="hlink" folHlink="folHlink"/>
    </a:extraClrScheme>
    <a:extraClrScheme>
      <a:clrScheme name="McKinsey Cyan-Blue">
        <a:dk1>
          <a:srgbClr val="000000"/>
        </a:dk1>
        <a:lt1>
          <a:srgbClr val="FFFFFF"/>
        </a:lt1>
        <a:dk2>
          <a:srgbClr val="002960"/>
        </a:dk2>
        <a:lt2>
          <a:srgbClr val="FFFFFF"/>
        </a:lt2>
        <a:accent1>
          <a:srgbClr val="C9F0FF"/>
        </a:accent1>
        <a:accent2>
          <a:srgbClr val="00ADEF"/>
        </a:accent2>
        <a:accent3>
          <a:srgbClr val="0065BD"/>
        </a:accent3>
        <a:accent4>
          <a:srgbClr val="002960"/>
        </a:accent4>
        <a:accent5>
          <a:srgbClr val="F27F00"/>
        </a:accent5>
        <a:accent6>
          <a:srgbClr val="808080"/>
        </a:accent6>
        <a:hlink>
          <a:srgbClr val="006983"/>
        </a:hlink>
        <a:folHlink>
          <a:srgbClr val="333333"/>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Firm Format - template - LOP - normal" id="{884107A2-67B5-4728-A2AA-FBFCDAA11846}" vid="{53DAF64C-D014-47FF-AB08-CB280DF65A38}"/>
    </a:ext>
  </a:extLst>
</a:theme>
</file>

<file path=ppt/theme/theme47.xml><?xml version="1.0" encoding="utf-8"?>
<a:theme xmlns:a="http://schemas.openxmlformats.org/drawingml/2006/main" name="48_Firm Format - template">
  <a:themeElements>
    <a:clrScheme name="Cyan_blue">
      <a:dk1>
        <a:srgbClr val="000000"/>
      </a:dk1>
      <a:lt1>
        <a:srgbClr val="FFFFFF"/>
      </a:lt1>
      <a:dk2>
        <a:srgbClr val="002960"/>
      </a:dk2>
      <a:lt2>
        <a:srgbClr val="FFFFFF"/>
      </a:lt2>
      <a:accent1>
        <a:srgbClr val="C5C5C5"/>
      </a:accent1>
      <a:accent2>
        <a:srgbClr val="00ADEF"/>
      </a:accent2>
      <a:accent3>
        <a:srgbClr val="0065BD"/>
      </a:accent3>
      <a:accent4>
        <a:srgbClr val="002960"/>
      </a:accent4>
      <a:accent5>
        <a:srgbClr val="F27F00"/>
      </a:accent5>
      <a:accent6>
        <a:srgbClr val="808080"/>
      </a:accent6>
      <a:hlink>
        <a:srgbClr val="0065BD"/>
      </a:hlink>
      <a:folHlink>
        <a:srgbClr val="002960"/>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McKinsey Grey-Blue">
        <a:dk1>
          <a:srgbClr val="000000"/>
        </a:dk1>
        <a:lt1>
          <a:srgbClr val="FFFFFF"/>
        </a:lt1>
        <a:dk2>
          <a:srgbClr val="002960"/>
        </a:dk2>
        <a:lt2>
          <a:srgbClr val="FFFFFF"/>
        </a:lt2>
        <a:accent1>
          <a:srgbClr val="C5C5C5"/>
        </a:accent1>
        <a:accent2>
          <a:srgbClr val="00ADEF"/>
        </a:accent2>
        <a:accent3>
          <a:srgbClr val="0065BD"/>
        </a:accent3>
        <a:accent4>
          <a:srgbClr val="002960"/>
        </a:accent4>
        <a:accent5>
          <a:srgbClr val="F27F00"/>
        </a:accent5>
        <a:accent6>
          <a:srgbClr val="808080"/>
        </a:accent6>
        <a:hlink>
          <a:srgbClr val="0065BD"/>
        </a:hlink>
        <a:folHlink>
          <a:srgbClr val="002960"/>
        </a:folHlink>
      </a:clrScheme>
      <a:clrMap bg1="lt1" tx1="dk1" bg2="lt2" tx2="dk2" accent1="accent1" accent2="accent2" accent3="accent3" accent4="accent4" accent5="accent5" accent6="accent6" hlink="hlink" folHlink="folHlink"/>
    </a:extraClrScheme>
    <a:extraClrScheme>
      <a:clrScheme name="McKinsey Cyan-Blue">
        <a:dk1>
          <a:srgbClr val="000000"/>
        </a:dk1>
        <a:lt1>
          <a:srgbClr val="FFFFFF"/>
        </a:lt1>
        <a:dk2>
          <a:srgbClr val="002960"/>
        </a:dk2>
        <a:lt2>
          <a:srgbClr val="FFFFFF"/>
        </a:lt2>
        <a:accent1>
          <a:srgbClr val="C9F0FF"/>
        </a:accent1>
        <a:accent2>
          <a:srgbClr val="00ADEF"/>
        </a:accent2>
        <a:accent3>
          <a:srgbClr val="0065BD"/>
        </a:accent3>
        <a:accent4>
          <a:srgbClr val="002960"/>
        </a:accent4>
        <a:accent5>
          <a:srgbClr val="F27F00"/>
        </a:accent5>
        <a:accent6>
          <a:srgbClr val="808080"/>
        </a:accent6>
        <a:hlink>
          <a:srgbClr val="006983"/>
        </a:hlink>
        <a:folHlink>
          <a:srgbClr val="333333"/>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Firm Format - template - LOP - normal" id="{884107A2-67B5-4728-A2AA-FBFCDAA11846}" vid="{53DAF64C-D014-47FF-AB08-CB280DF65A38}"/>
    </a:ext>
  </a:extLst>
</a:theme>
</file>

<file path=ppt/theme/theme48.xml><?xml version="1.0" encoding="utf-8"?>
<a:theme xmlns:a="http://schemas.openxmlformats.org/drawingml/2006/main" name="49_Firm Format - template">
  <a:themeElements>
    <a:clrScheme name="Cyan_blue">
      <a:dk1>
        <a:srgbClr val="000000"/>
      </a:dk1>
      <a:lt1>
        <a:srgbClr val="FFFFFF"/>
      </a:lt1>
      <a:dk2>
        <a:srgbClr val="002960"/>
      </a:dk2>
      <a:lt2>
        <a:srgbClr val="FFFFFF"/>
      </a:lt2>
      <a:accent1>
        <a:srgbClr val="C5C5C5"/>
      </a:accent1>
      <a:accent2>
        <a:srgbClr val="00ADEF"/>
      </a:accent2>
      <a:accent3>
        <a:srgbClr val="0065BD"/>
      </a:accent3>
      <a:accent4>
        <a:srgbClr val="002960"/>
      </a:accent4>
      <a:accent5>
        <a:srgbClr val="F27F00"/>
      </a:accent5>
      <a:accent6>
        <a:srgbClr val="808080"/>
      </a:accent6>
      <a:hlink>
        <a:srgbClr val="0065BD"/>
      </a:hlink>
      <a:folHlink>
        <a:srgbClr val="002960"/>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McKinsey Grey-Blue">
        <a:dk1>
          <a:srgbClr val="000000"/>
        </a:dk1>
        <a:lt1>
          <a:srgbClr val="FFFFFF"/>
        </a:lt1>
        <a:dk2>
          <a:srgbClr val="002960"/>
        </a:dk2>
        <a:lt2>
          <a:srgbClr val="FFFFFF"/>
        </a:lt2>
        <a:accent1>
          <a:srgbClr val="C5C5C5"/>
        </a:accent1>
        <a:accent2>
          <a:srgbClr val="00ADEF"/>
        </a:accent2>
        <a:accent3>
          <a:srgbClr val="0065BD"/>
        </a:accent3>
        <a:accent4>
          <a:srgbClr val="002960"/>
        </a:accent4>
        <a:accent5>
          <a:srgbClr val="F27F00"/>
        </a:accent5>
        <a:accent6>
          <a:srgbClr val="808080"/>
        </a:accent6>
        <a:hlink>
          <a:srgbClr val="0065BD"/>
        </a:hlink>
        <a:folHlink>
          <a:srgbClr val="002960"/>
        </a:folHlink>
      </a:clrScheme>
      <a:clrMap bg1="lt1" tx1="dk1" bg2="lt2" tx2="dk2" accent1="accent1" accent2="accent2" accent3="accent3" accent4="accent4" accent5="accent5" accent6="accent6" hlink="hlink" folHlink="folHlink"/>
    </a:extraClrScheme>
    <a:extraClrScheme>
      <a:clrScheme name="McKinsey Cyan-Blue">
        <a:dk1>
          <a:srgbClr val="000000"/>
        </a:dk1>
        <a:lt1>
          <a:srgbClr val="FFFFFF"/>
        </a:lt1>
        <a:dk2>
          <a:srgbClr val="002960"/>
        </a:dk2>
        <a:lt2>
          <a:srgbClr val="FFFFFF"/>
        </a:lt2>
        <a:accent1>
          <a:srgbClr val="C9F0FF"/>
        </a:accent1>
        <a:accent2>
          <a:srgbClr val="00ADEF"/>
        </a:accent2>
        <a:accent3>
          <a:srgbClr val="0065BD"/>
        </a:accent3>
        <a:accent4>
          <a:srgbClr val="002960"/>
        </a:accent4>
        <a:accent5>
          <a:srgbClr val="F27F00"/>
        </a:accent5>
        <a:accent6>
          <a:srgbClr val="808080"/>
        </a:accent6>
        <a:hlink>
          <a:srgbClr val="006983"/>
        </a:hlink>
        <a:folHlink>
          <a:srgbClr val="333333"/>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Firm Format - template - LOP - normal" id="{884107A2-67B5-4728-A2AA-FBFCDAA11846}" vid="{53DAF64C-D014-47FF-AB08-CB280DF65A38}"/>
    </a:ext>
  </a:extLst>
</a:theme>
</file>

<file path=ppt/theme/theme49.xml><?xml version="1.0" encoding="utf-8"?>
<a:theme xmlns:a="http://schemas.openxmlformats.org/drawingml/2006/main" name="50_Firm Format - template">
  <a:themeElements>
    <a:clrScheme name="Cyan_blue">
      <a:dk1>
        <a:srgbClr val="000000"/>
      </a:dk1>
      <a:lt1>
        <a:srgbClr val="FFFFFF"/>
      </a:lt1>
      <a:dk2>
        <a:srgbClr val="002960"/>
      </a:dk2>
      <a:lt2>
        <a:srgbClr val="FFFFFF"/>
      </a:lt2>
      <a:accent1>
        <a:srgbClr val="C5C5C5"/>
      </a:accent1>
      <a:accent2>
        <a:srgbClr val="00ADEF"/>
      </a:accent2>
      <a:accent3>
        <a:srgbClr val="0065BD"/>
      </a:accent3>
      <a:accent4>
        <a:srgbClr val="002960"/>
      </a:accent4>
      <a:accent5>
        <a:srgbClr val="F27F00"/>
      </a:accent5>
      <a:accent6>
        <a:srgbClr val="808080"/>
      </a:accent6>
      <a:hlink>
        <a:srgbClr val="0065BD"/>
      </a:hlink>
      <a:folHlink>
        <a:srgbClr val="002960"/>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McKinsey Grey-Blue">
        <a:dk1>
          <a:srgbClr val="000000"/>
        </a:dk1>
        <a:lt1>
          <a:srgbClr val="FFFFFF"/>
        </a:lt1>
        <a:dk2>
          <a:srgbClr val="002960"/>
        </a:dk2>
        <a:lt2>
          <a:srgbClr val="FFFFFF"/>
        </a:lt2>
        <a:accent1>
          <a:srgbClr val="C5C5C5"/>
        </a:accent1>
        <a:accent2>
          <a:srgbClr val="00ADEF"/>
        </a:accent2>
        <a:accent3>
          <a:srgbClr val="0065BD"/>
        </a:accent3>
        <a:accent4>
          <a:srgbClr val="002960"/>
        </a:accent4>
        <a:accent5>
          <a:srgbClr val="F27F00"/>
        </a:accent5>
        <a:accent6>
          <a:srgbClr val="808080"/>
        </a:accent6>
        <a:hlink>
          <a:srgbClr val="0065BD"/>
        </a:hlink>
        <a:folHlink>
          <a:srgbClr val="002960"/>
        </a:folHlink>
      </a:clrScheme>
      <a:clrMap bg1="lt1" tx1="dk1" bg2="lt2" tx2="dk2" accent1="accent1" accent2="accent2" accent3="accent3" accent4="accent4" accent5="accent5" accent6="accent6" hlink="hlink" folHlink="folHlink"/>
    </a:extraClrScheme>
    <a:extraClrScheme>
      <a:clrScheme name="McKinsey Cyan-Blue">
        <a:dk1>
          <a:srgbClr val="000000"/>
        </a:dk1>
        <a:lt1>
          <a:srgbClr val="FFFFFF"/>
        </a:lt1>
        <a:dk2>
          <a:srgbClr val="002960"/>
        </a:dk2>
        <a:lt2>
          <a:srgbClr val="FFFFFF"/>
        </a:lt2>
        <a:accent1>
          <a:srgbClr val="C9F0FF"/>
        </a:accent1>
        <a:accent2>
          <a:srgbClr val="00ADEF"/>
        </a:accent2>
        <a:accent3>
          <a:srgbClr val="0065BD"/>
        </a:accent3>
        <a:accent4>
          <a:srgbClr val="002960"/>
        </a:accent4>
        <a:accent5>
          <a:srgbClr val="F27F00"/>
        </a:accent5>
        <a:accent6>
          <a:srgbClr val="808080"/>
        </a:accent6>
        <a:hlink>
          <a:srgbClr val="006983"/>
        </a:hlink>
        <a:folHlink>
          <a:srgbClr val="333333"/>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Firm Format - template - LOP - normal" id="{884107A2-67B5-4728-A2AA-FBFCDAA11846}" vid="{53DAF64C-D014-47FF-AB08-CB280DF65A38}"/>
    </a:ext>
  </a:extLst>
</a:theme>
</file>

<file path=ppt/theme/theme5.xml><?xml version="1.0" encoding="utf-8"?>
<a:theme xmlns:a="http://schemas.openxmlformats.org/drawingml/2006/main" name="6_Firm Format - template">
  <a:themeElements>
    <a:clrScheme name="Cyan_blue">
      <a:dk1>
        <a:srgbClr val="000000"/>
      </a:dk1>
      <a:lt1>
        <a:srgbClr val="FFFFFF"/>
      </a:lt1>
      <a:dk2>
        <a:srgbClr val="002960"/>
      </a:dk2>
      <a:lt2>
        <a:srgbClr val="FFFFFF"/>
      </a:lt2>
      <a:accent1>
        <a:srgbClr val="C5C5C5"/>
      </a:accent1>
      <a:accent2>
        <a:srgbClr val="00ADEF"/>
      </a:accent2>
      <a:accent3>
        <a:srgbClr val="0065BD"/>
      </a:accent3>
      <a:accent4>
        <a:srgbClr val="002960"/>
      </a:accent4>
      <a:accent5>
        <a:srgbClr val="F27F00"/>
      </a:accent5>
      <a:accent6>
        <a:srgbClr val="808080"/>
      </a:accent6>
      <a:hlink>
        <a:srgbClr val="0065BD"/>
      </a:hlink>
      <a:folHlink>
        <a:srgbClr val="002960"/>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McKinsey Grey-Blue">
        <a:dk1>
          <a:srgbClr val="000000"/>
        </a:dk1>
        <a:lt1>
          <a:srgbClr val="FFFFFF"/>
        </a:lt1>
        <a:dk2>
          <a:srgbClr val="002960"/>
        </a:dk2>
        <a:lt2>
          <a:srgbClr val="FFFFFF"/>
        </a:lt2>
        <a:accent1>
          <a:srgbClr val="C5C5C5"/>
        </a:accent1>
        <a:accent2>
          <a:srgbClr val="00ADEF"/>
        </a:accent2>
        <a:accent3>
          <a:srgbClr val="0065BD"/>
        </a:accent3>
        <a:accent4>
          <a:srgbClr val="002960"/>
        </a:accent4>
        <a:accent5>
          <a:srgbClr val="F27F00"/>
        </a:accent5>
        <a:accent6>
          <a:srgbClr val="808080"/>
        </a:accent6>
        <a:hlink>
          <a:srgbClr val="0065BD"/>
        </a:hlink>
        <a:folHlink>
          <a:srgbClr val="002960"/>
        </a:folHlink>
      </a:clrScheme>
      <a:clrMap bg1="lt1" tx1="dk1" bg2="lt2" tx2="dk2" accent1="accent1" accent2="accent2" accent3="accent3" accent4="accent4" accent5="accent5" accent6="accent6" hlink="hlink" folHlink="folHlink"/>
    </a:extraClrScheme>
    <a:extraClrScheme>
      <a:clrScheme name="McKinsey Cyan-Blue">
        <a:dk1>
          <a:srgbClr val="000000"/>
        </a:dk1>
        <a:lt1>
          <a:srgbClr val="FFFFFF"/>
        </a:lt1>
        <a:dk2>
          <a:srgbClr val="002960"/>
        </a:dk2>
        <a:lt2>
          <a:srgbClr val="FFFFFF"/>
        </a:lt2>
        <a:accent1>
          <a:srgbClr val="C9F0FF"/>
        </a:accent1>
        <a:accent2>
          <a:srgbClr val="00ADEF"/>
        </a:accent2>
        <a:accent3>
          <a:srgbClr val="0065BD"/>
        </a:accent3>
        <a:accent4>
          <a:srgbClr val="002960"/>
        </a:accent4>
        <a:accent5>
          <a:srgbClr val="F27F00"/>
        </a:accent5>
        <a:accent6>
          <a:srgbClr val="808080"/>
        </a:accent6>
        <a:hlink>
          <a:srgbClr val="006983"/>
        </a:hlink>
        <a:folHlink>
          <a:srgbClr val="333333"/>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Firm Format - template - LOP - normal" id="{884107A2-67B5-4728-A2AA-FBFCDAA11846}" vid="{53DAF64C-D014-47FF-AB08-CB280DF65A38}"/>
    </a:ext>
  </a:extLst>
</a:theme>
</file>

<file path=ppt/theme/theme50.xml><?xml version="1.0" encoding="utf-8"?>
<a:theme xmlns:a="http://schemas.openxmlformats.org/drawingml/2006/main" name="51_Firm Format - template">
  <a:themeElements>
    <a:clrScheme name="Cyan_blue">
      <a:dk1>
        <a:srgbClr val="000000"/>
      </a:dk1>
      <a:lt1>
        <a:srgbClr val="FFFFFF"/>
      </a:lt1>
      <a:dk2>
        <a:srgbClr val="002960"/>
      </a:dk2>
      <a:lt2>
        <a:srgbClr val="FFFFFF"/>
      </a:lt2>
      <a:accent1>
        <a:srgbClr val="C5C5C5"/>
      </a:accent1>
      <a:accent2>
        <a:srgbClr val="00ADEF"/>
      </a:accent2>
      <a:accent3>
        <a:srgbClr val="0065BD"/>
      </a:accent3>
      <a:accent4>
        <a:srgbClr val="002960"/>
      </a:accent4>
      <a:accent5>
        <a:srgbClr val="F27F00"/>
      </a:accent5>
      <a:accent6>
        <a:srgbClr val="808080"/>
      </a:accent6>
      <a:hlink>
        <a:srgbClr val="0065BD"/>
      </a:hlink>
      <a:folHlink>
        <a:srgbClr val="002960"/>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McKinsey Grey-Blue">
        <a:dk1>
          <a:srgbClr val="000000"/>
        </a:dk1>
        <a:lt1>
          <a:srgbClr val="FFFFFF"/>
        </a:lt1>
        <a:dk2>
          <a:srgbClr val="002960"/>
        </a:dk2>
        <a:lt2>
          <a:srgbClr val="FFFFFF"/>
        </a:lt2>
        <a:accent1>
          <a:srgbClr val="C5C5C5"/>
        </a:accent1>
        <a:accent2>
          <a:srgbClr val="00ADEF"/>
        </a:accent2>
        <a:accent3>
          <a:srgbClr val="0065BD"/>
        </a:accent3>
        <a:accent4>
          <a:srgbClr val="002960"/>
        </a:accent4>
        <a:accent5>
          <a:srgbClr val="F27F00"/>
        </a:accent5>
        <a:accent6>
          <a:srgbClr val="808080"/>
        </a:accent6>
        <a:hlink>
          <a:srgbClr val="0065BD"/>
        </a:hlink>
        <a:folHlink>
          <a:srgbClr val="002960"/>
        </a:folHlink>
      </a:clrScheme>
      <a:clrMap bg1="lt1" tx1="dk1" bg2="lt2" tx2="dk2" accent1="accent1" accent2="accent2" accent3="accent3" accent4="accent4" accent5="accent5" accent6="accent6" hlink="hlink" folHlink="folHlink"/>
    </a:extraClrScheme>
    <a:extraClrScheme>
      <a:clrScheme name="McKinsey Cyan-Blue">
        <a:dk1>
          <a:srgbClr val="000000"/>
        </a:dk1>
        <a:lt1>
          <a:srgbClr val="FFFFFF"/>
        </a:lt1>
        <a:dk2>
          <a:srgbClr val="002960"/>
        </a:dk2>
        <a:lt2>
          <a:srgbClr val="FFFFFF"/>
        </a:lt2>
        <a:accent1>
          <a:srgbClr val="C9F0FF"/>
        </a:accent1>
        <a:accent2>
          <a:srgbClr val="00ADEF"/>
        </a:accent2>
        <a:accent3>
          <a:srgbClr val="0065BD"/>
        </a:accent3>
        <a:accent4>
          <a:srgbClr val="002960"/>
        </a:accent4>
        <a:accent5>
          <a:srgbClr val="F27F00"/>
        </a:accent5>
        <a:accent6>
          <a:srgbClr val="808080"/>
        </a:accent6>
        <a:hlink>
          <a:srgbClr val="006983"/>
        </a:hlink>
        <a:folHlink>
          <a:srgbClr val="333333"/>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Firm Format - template - LOP - normal" id="{884107A2-67B5-4728-A2AA-FBFCDAA11846}" vid="{53DAF64C-D014-47FF-AB08-CB280DF65A38}"/>
    </a:ext>
  </a:extLst>
</a:theme>
</file>

<file path=ppt/theme/theme51.xml><?xml version="1.0" encoding="utf-8"?>
<a:theme xmlns:a="http://schemas.openxmlformats.org/drawingml/2006/main" name="52_Firm Format - template">
  <a:themeElements>
    <a:clrScheme name="Cyan_blue">
      <a:dk1>
        <a:srgbClr val="000000"/>
      </a:dk1>
      <a:lt1>
        <a:srgbClr val="FFFFFF"/>
      </a:lt1>
      <a:dk2>
        <a:srgbClr val="002960"/>
      </a:dk2>
      <a:lt2>
        <a:srgbClr val="FFFFFF"/>
      </a:lt2>
      <a:accent1>
        <a:srgbClr val="C5C5C5"/>
      </a:accent1>
      <a:accent2>
        <a:srgbClr val="00ADEF"/>
      </a:accent2>
      <a:accent3>
        <a:srgbClr val="0065BD"/>
      </a:accent3>
      <a:accent4>
        <a:srgbClr val="002960"/>
      </a:accent4>
      <a:accent5>
        <a:srgbClr val="F27F00"/>
      </a:accent5>
      <a:accent6>
        <a:srgbClr val="808080"/>
      </a:accent6>
      <a:hlink>
        <a:srgbClr val="0065BD"/>
      </a:hlink>
      <a:folHlink>
        <a:srgbClr val="002960"/>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McKinsey Grey-Blue">
        <a:dk1>
          <a:srgbClr val="000000"/>
        </a:dk1>
        <a:lt1>
          <a:srgbClr val="FFFFFF"/>
        </a:lt1>
        <a:dk2>
          <a:srgbClr val="002960"/>
        </a:dk2>
        <a:lt2>
          <a:srgbClr val="FFFFFF"/>
        </a:lt2>
        <a:accent1>
          <a:srgbClr val="C5C5C5"/>
        </a:accent1>
        <a:accent2>
          <a:srgbClr val="00ADEF"/>
        </a:accent2>
        <a:accent3>
          <a:srgbClr val="0065BD"/>
        </a:accent3>
        <a:accent4>
          <a:srgbClr val="002960"/>
        </a:accent4>
        <a:accent5>
          <a:srgbClr val="F27F00"/>
        </a:accent5>
        <a:accent6>
          <a:srgbClr val="808080"/>
        </a:accent6>
        <a:hlink>
          <a:srgbClr val="0065BD"/>
        </a:hlink>
        <a:folHlink>
          <a:srgbClr val="002960"/>
        </a:folHlink>
      </a:clrScheme>
      <a:clrMap bg1="lt1" tx1="dk1" bg2="lt2" tx2="dk2" accent1="accent1" accent2="accent2" accent3="accent3" accent4="accent4" accent5="accent5" accent6="accent6" hlink="hlink" folHlink="folHlink"/>
    </a:extraClrScheme>
    <a:extraClrScheme>
      <a:clrScheme name="McKinsey Cyan-Blue">
        <a:dk1>
          <a:srgbClr val="000000"/>
        </a:dk1>
        <a:lt1>
          <a:srgbClr val="FFFFFF"/>
        </a:lt1>
        <a:dk2>
          <a:srgbClr val="002960"/>
        </a:dk2>
        <a:lt2>
          <a:srgbClr val="FFFFFF"/>
        </a:lt2>
        <a:accent1>
          <a:srgbClr val="C9F0FF"/>
        </a:accent1>
        <a:accent2>
          <a:srgbClr val="00ADEF"/>
        </a:accent2>
        <a:accent3>
          <a:srgbClr val="0065BD"/>
        </a:accent3>
        <a:accent4>
          <a:srgbClr val="002960"/>
        </a:accent4>
        <a:accent5>
          <a:srgbClr val="F27F00"/>
        </a:accent5>
        <a:accent6>
          <a:srgbClr val="808080"/>
        </a:accent6>
        <a:hlink>
          <a:srgbClr val="006983"/>
        </a:hlink>
        <a:folHlink>
          <a:srgbClr val="333333"/>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Firm Format - template - LOP - normal" id="{884107A2-67B5-4728-A2AA-FBFCDAA11846}" vid="{53DAF64C-D014-47FF-AB08-CB280DF65A38}"/>
    </a:ext>
  </a:extLst>
</a:theme>
</file>

<file path=ppt/theme/theme52.xml><?xml version="1.0" encoding="utf-8"?>
<a:theme xmlns:a="http://schemas.openxmlformats.org/drawingml/2006/main" name="53_Firm Format - template">
  <a:themeElements>
    <a:clrScheme name="Cyan_blue">
      <a:dk1>
        <a:srgbClr val="000000"/>
      </a:dk1>
      <a:lt1>
        <a:srgbClr val="FFFFFF"/>
      </a:lt1>
      <a:dk2>
        <a:srgbClr val="002960"/>
      </a:dk2>
      <a:lt2>
        <a:srgbClr val="FFFFFF"/>
      </a:lt2>
      <a:accent1>
        <a:srgbClr val="C5C5C5"/>
      </a:accent1>
      <a:accent2>
        <a:srgbClr val="00ADEF"/>
      </a:accent2>
      <a:accent3>
        <a:srgbClr val="0065BD"/>
      </a:accent3>
      <a:accent4>
        <a:srgbClr val="002960"/>
      </a:accent4>
      <a:accent5>
        <a:srgbClr val="F27F00"/>
      </a:accent5>
      <a:accent6>
        <a:srgbClr val="808080"/>
      </a:accent6>
      <a:hlink>
        <a:srgbClr val="0065BD"/>
      </a:hlink>
      <a:folHlink>
        <a:srgbClr val="002960"/>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McKinsey Grey-Blue">
        <a:dk1>
          <a:srgbClr val="000000"/>
        </a:dk1>
        <a:lt1>
          <a:srgbClr val="FFFFFF"/>
        </a:lt1>
        <a:dk2>
          <a:srgbClr val="002960"/>
        </a:dk2>
        <a:lt2>
          <a:srgbClr val="FFFFFF"/>
        </a:lt2>
        <a:accent1>
          <a:srgbClr val="C5C5C5"/>
        </a:accent1>
        <a:accent2>
          <a:srgbClr val="00ADEF"/>
        </a:accent2>
        <a:accent3>
          <a:srgbClr val="0065BD"/>
        </a:accent3>
        <a:accent4>
          <a:srgbClr val="002960"/>
        </a:accent4>
        <a:accent5>
          <a:srgbClr val="F27F00"/>
        </a:accent5>
        <a:accent6>
          <a:srgbClr val="808080"/>
        </a:accent6>
        <a:hlink>
          <a:srgbClr val="0065BD"/>
        </a:hlink>
        <a:folHlink>
          <a:srgbClr val="002960"/>
        </a:folHlink>
      </a:clrScheme>
      <a:clrMap bg1="lt1" tx1="dk1" bg2="lt2" tx2="dk2" accent1="accent1" accent2="accent2" accent3="accent3" accent4="accent4" accent5="accent5" accent6="accent6" hlink="hlink" folHlink="folHlink"/>
    </a:extraClrScheme>
    <a:extraClrScheme>
      <a:clrScheme name="McKinsey Cyan-Blue">
        <a:dk1>
          <a:srgbClr val="000000"/>
        </a:dk1>
        <a:lt1>
          <a:srgbClr val="FFFFFF"/>
        </a:lt1>
        <a:dk2>
          <a:srgbClr val="002960"/>
        </a:dk2>
        <a:lt2>
          <a:srgbClr val="FFFFFF"/>
        </a:lt2>
        <a:accent1>
          <a:srgbClr val="C9F0FF"/>
        </a:accent1>
        <a:accent2>
          <a:srgbClr val="00ADEF"/>
        </a:accent2>
        <a:accent3>
          <a:srgbClr val="0065BD"/>
        </a:accent3>
        <a:accent4>
          <a:srgbClr val="002960"/>
        </a:accent4>
        <a:accent5>
          <a:srgbClr val="F27F00"/>
        </a:accent5>
        <a:accent6>
          <a:srgbClr val="808080"/>
        </a:accent6>
        <a:hlink>
          <a:srgbClr val="006983"/>
        </a:hlink>
        <a:folHlink>
          <a:srgbClr val="333333"/>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Firm Format - template - LOP - normal" id="{884107A2-67B5-4728-A2AA-FBFCDAA11846}" vid="{53DAF64C-D014-47FF-AB08-CB280DF65A38}"/>
    </a:ext>
  </a:extLst>
</a:theme>
</file>

<file path=ppt/theme/theme5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7_Firm Format - template">
  <a:themeElements>
    <a:clrScheme name="Cyan_blue">
      <a:dk1>
        <a:srgbClr val="000000"/>
      </a:dk1>
      <a:lt1>
        <a:srgbClr val="FFFFFF"/>
      </a:lt1>
      <a:dk2>
        <a:srgbClr val="002960"/>
      </a:dk2>
      <a:lt2>
        <a:srgbClr val="FFFFFF"/>
      </a:lt2>
      <a:accent1>
        <a:srgbClr val="C5C5C5"/>
      </a:accent1>
      <a:accent2>
        <a:srgbClr val="00ADEF"/>
      </a:accent2>
      <a:accent3>
        <a:srgbClr val="0065BD"/>
      </a:accent3>
      <a:accent4>
        <a:srgbClr val="002960"/>
      </a:accent4>
      <a:accent5>
        <a:srgbClr val="F27F00"/>
      </a:accent5>
      <a:accent6>
        <a:srgbClr val="808080"/>
      </a:accent6>
      <a:hlink>
        <a:srgbClr val="0065BD"/>
      </a:hlink>
      <a:folHlink>
        <a:srgbClr val="002960"/>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McKinsey Grey-Blue">
        <a:dk1>
          <a:srgbClr val="000000"/>
        </a:dk1>
        <a:lt1>
          <a:srgbClr val="FFFFFF"/>
        </a:lt1>
        <a:dk2>
          <a:srgbClr val="002960"/>
        </a:dk2>
        <a:lt2>
          <a:srgbClr val="FFFFFF"/>
        </a:lt2>
        <a:accent1>
          <a:srgbClr val="C5C5C5"/>
        </a:accent1>
        <a:accent2>
          <a:srgbClr val="00ADEF"/>
        </a:accent2>
        <a:accent3>
          <a:srgbClr val="0065BD"/>
        </a:accent3>
        <a:accent4>
          <a:srgbClr val="002960"/>
        </a:accent4>
        <a:accent5>
          <a:srgbClr val="F27F00"/>
        </a:accent5>
        <a:accent6>
          <a:srgbClr val="808080"/>
        </a:accent6>
        <a:hlink>
          <a:srgbClr val="0065BD"/>
        </a:hlink>
        <a:folHlink>
          <a:srgbClr val="002960"/>
        </a:folHlink>
      </a:clrScheme>
      <a:clrMap bg1="lt1" tx1="dk1" bg2="lt2" tx2="dk2" accent1="accent1" accent2="accent2" accent3="accent3" accent4="accent4" accent5="accent5" accent6="accent6" hlink="hlink" folHlink="folHlink"/>
    </a:extraClrScheme>
    <a:extraClrScheme>
      <a:clrScheme name="McKinsey Cyan-Blue">
        <a:dk1>
          <a:srgbClr val="000000"/>
        </a:dk1>
        <a:lt1>
          <a:srgbClr val="FFFFFF"/>
        </a:lt1>
        <a:dk2>
          <a:srgbClr val="002960"/>
        </a:dk2>
        <a:lt2>
          <a:srgbClr val="FFFFFF"/>
        </a:lt2>
        <a:accent1>
          <a:srgbClr val="C9F0FF"/>
        </a:accent1>
        <a:accent2>
          <a:srgbClr val="00ADEF"/>
        </a:accent2>
        <a:accent3>
          <a:srgbClr val="0065BD"/>
        </a:accent3>
        <a:accent4>
          <a:srgbClr val="002960"/>
        </a:accent4>
        <a:accent5>
          <a:srgbClr val="F27F00"/>
        </a:accent5>
        <a:accent6>
          <a:srgbClr val="808080"/>
        </a:accent6>
        <a:hlink>
          <a:srgbClr val="006983"/>
        </a:hlink>
        <a:folHlink>
          <a:srgbClr val="333333"/>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Firm Format - template - LOP - normal" id="{884107A2-67B5-4728-A2AA-FBFCDAA11846}" vid="{53DAF64C-D014-47FF-AB08-CB280DF65A38}"/>
    </a:ext>
  </a:extLst>
</a:theme>
</file>

<file path=ppt/theme/theme7.xml><?xml version="1.0" encoding="utf-8"?>
<a:theme xmlns:a="http://schemas.openxmlformats.org/drawingml/2006/main" name="8_Firm Format - template">
  <a:themeElements>
    <a:clrScheme name="Cyan_blue">
      <a:dk1>
        <a:srgbClr val="000000"/>
      </a:dk1>
      <a:lt1>
        <a:srgbClr val="FFFFFF"/>
      </a:lt1>
      <a:dk2>
        <a:srgbClr val="002960"/>
      </a:dk2>
      <a:lt2>
        <a:srgbClr val="FFFFFF"/>
      </a:lt2>
      <a:accent1>
        <a:srgbClr val="C5C5C5"/>
      </a:accent1>
      <a:accent2>
        <a:srgbClr val="00ADEF"/>
      </a:accent2>
      <a:accent3>
        <a:srgbClr val="0065BD"/>
      </a:accent3>
      <a:accent4>
        <a:srgbClr val="002960"/>
      </a:accent4>
      <a:accent5>
        <a:srgbClr val="F27F00"/>
      </a:accent5>
      <a:accent6>
        <a:srgbClr val="808080"/>
      </a:accent6>
      <a:hlink>
        <a:srgbClr val="0065BD"/>
      </a:hlink>
      <a:folHlink>
        <a:srgbClr val="002960"/>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McKinsey Grey-Blue">
        <a:dk1>
          <a:srgbClr val="000000"/>
        </a:dk1>
        <a:lt1>
          <a:srgbClr val="FFFFFF"/>
        </a:lt1>
        <a:dk2>
          <a:srgbClr val="002960"/>
        </a:dk2>
        <a:lt2>
          <a:srgbClr val="FFFFFF"/>
        </a:lt2>
        <a:accent1>
          <a:srgbClr val="C5C5C5"/>
        </a:accent1>
        <a:accent2>
          <a:srgbClr val="00ADEF"/>
        </a:accent2>
        <a:accent3>
          <a:srgbClr val="0065BD"/>
        </a:accent3>
        <a:accent4>
          <a:srgbClr val="002960"/>
        </a:accent4>
        <a:accent5>
          <a:srgbClr val="F27F00"/>
        </a:accent5>
        <a:accent6>
          <a:srgbClr val="808080"/>
        </a:accent6>
        <a:hlink>
          <a:srgbClr val="0065BD"/>
        </a:hlink>
        <a:folHlink>
          <a:srgbClr val="002960"/>
        </a:folHlink>
      </a:clrScheme>
      <a:clrMap bg1="lt1" tx1="dk1" bg2="lt2" tx2="dk2" accent1="accent1" accent2="accent2" accent3="accent3" accent4="accent4" accent5="accent5" accent6="accent6" hlink="hlink" folHlink="folHlink"/>
    </a:extraClrScheme>
    <a:extraClrScheme>
      <a:clrScheme name="McKinsey Cyan-Blue">
        <a:dk1>
          <a:srgbClr val="000000"/>
        </a:dk1>
        <a:lt1>
          <a:srgbClr val="FFFFFF"/>
        </a:lt1>
        <a:dk2>
          <a:srgbClr val="002960"/>
        </a:dk2>
        <a:lt2>
          <a:srgbClr val="FFFFFF"/>
        </a:lt2>
        <a:accent1>
          <a:srgbClr val="C9F0FF"/>
        </a:accent1>
        <a:accent2>
          <a:srgbClr val="00ADEF"/>
        </a:accent2>
        <a:accent3>
          <a:srgbClr val="0065BD"/>
        </a:accent3>
        <a:accent4>
          <a:srgbClr val="002960"/>
        </a:accent4>
        <a:accent5>
          <a:srgbClr val="F27F00"/>
        </a:accent5>
        <a:accent6>
          <a:srgbClr val="808080"/>
        </a:accent6>
        <a:hlink>
          <a:srgbClr val="006983"/>
        </a:hlink>
        <a:folHlink>
          <a:srgbClr val="333333"/>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Firm Format - template - LOP - normal" id="{884107A2-67B5-4728-A2AA-FBFCDAA11846}" vid="{53DAF64C-D014-47FF-AB08-CB280DF65A38}"/>
    </a:ext>
  </a:extLst>
</a:theme>
</file>

<file path=ppt/theme/theme8.xml><?xml version="1.0" encoding="utf-8"?>
<a:theme xmlns:a="http://schemas.openxmlformats.org/drawingml/2006/main" name="9_Firm Format - template">
  <a:themeElements>
    <a:clrScheme name="Cyan_blue">
      <a:dk1>
        <a:srgbClr val="000000"/>
      </a:dk1>
      <a:lt1>
        <a:srgbClr val="FFFFFF"/>
      </a:lt1>
      <a:dk2>
        <a:srgbClr val="002960"/>
      </a:dk2>
      <a:lt2>
        <a:srgbClr val="FFFFFF"/>
      </a:lt2>
      <a:accent1>
        <a:srgbClr val="C5C5C5"/>
      </a:accent1>
      <a:accent2>
        <a:srgbClr val="00ADEF"/>
      </a:accent2>
      <a:accent3>
        <a:srgbClr val="0065BD"/>
      </a:accent3>
      <a:accent4>
        <a:srgbClr val="002960"/>
      </a:accent4>
      <a:accent5>
        <a:srgbClr val="F27F00"/>
      </a:accent5>
      <a:accent6>
        <a:srgbClr val="808080"/>
      </a:accent6>
      <a:hlink>
        <a:srgbClr val="0065BD"/>
      </a:hlink>
      <a:folHlink>
        <a:srgbClr val="002960"/>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McKinsey Grey-Blue">
        <a:dk1>
          <a:srgbClr val="000000"/>
        </a:dk1>
        <a:lt1>
          <a:srgbClr val="FFFFFF"/>
        </a:lt1>
        <a:dk2>
          <a:srgbClr val="002960"/>
        </a:dk2>
        <a:lt2>
          <a:srgbClr val="FFFFFF"/>
        </a:lt2>
        <a:accent1>
          <a:srgbClr val="C5C5C5"/>
        </a:accent1>
        <a:accent2>
          <a:srgbClr val="00ADEF"/>
        </a:accent2>
        <a:accent3>
          <a:srgbClr val="0065BD"/>
        </a:accent3>
        <a:accent4>
          <a:srgbClr val="002960"/>
        </a:accent4>
        <a:accent5>
          <a:srgbClr val="F27F00"/>
        </a:accent5>
        <a:accent6>
          <a:srgbClr val="808080"/>
        </a:accent6>
        <a:hlink>
          <a:srgbClr val="0065BD"/>
        </a:hlink>
        <a:folHlink>
          <a:srgbClr val="002960"/>
        </a:folHlink>
      </a:clrScheme>
      <a:clrMap bg1="lt1" tx1="dk1" bg2="lt2" tx2="dk2" accent1="accent1" accent2="accent2" accent3="accent3" accent4="accent4" accent5="accent5" accent6="accent6" hlink="hlink" folHlink="folHlink"/>
    </a:extraClrScheme>
    <a:extraClrScheme>
      <a:clrScheme name="McKinsey Cyan-Blue">
        <a:dk1>
          <a:srgbClr val="000000"/>
        </a:dk1>
        <a:lt1>
          <a:srgbClr val="FFFFFF"/>
        </a:lt1>
        <a:dk2>
          <a:srgbClr val="002960"/>
        </a:dk2>
        <a:lt2>
          <a:srgbClr val="FFFFFF"/>
        </a:lt2>
        <a:accent1>
          <a:srgbClr val="C9F0FF"/>
        </a:accent1>
        <a:accent2>
          <a:srgbClr val="00ADEF"/>
        </a:accent2>
        <a:accent3>
          <a:srgbClr val="0065BD"/>
        </a:accent3>
        <a:accent4>
          <a:srgbClr val="002960"/>
        </a:accent4>
        <a:accent5>
          <a:srgbClr val="F27F00"/>
        </a:accent5>
        <a:accent6>
          <a:srgbClr val="808080"/>
        </a:accent6>
        <a:hlink>
          <a:srgbClr val="006983"/>
        </a:hlink>
        <a:folHlink>
          <a:srgbClr val="333333"/>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Firm Format - template - LOP - normal" id="{884107A2-67B5-4728-A2AA-FBFCDAA11846}" vid="{53DAF64C-D014-47FF-AB08-CB280DF65A38}"/>
    </a:ext>
  </a:extLst>
</a:theme>
</file>

<file path=ppt/theme/theme9.xml><?xml version="1.0" encoding="utf-8"?>
<a:theme xmlns:a="http://schemas.openxmlformats.org/drawingml/2006/main" name="10_Firm Format - template">
  <a:themeElements>
    <a:clrScheme name="Cyan_blue">
      <a:dk1>
        <a:srgbClr val="000000"/>
      </a:dk1>
      <a:lt1>
        <a:srgbClr val="FFFFFF"/>
      </a:lt1>
      <a:dk2>
        <a:srgbClr val="002960"/>
      </a:dk2>
      <a:lt2>
        <a:srgbClr val="FFFFFF"/>
      </a:lt2>
      <a:accent1>
        <a:srgbClr val="C5C5C5"/>
      </a:accent1>
      <a:accent2>
        <a:srgbClr val="00ADEF"/>
      </a:accent2>
      <a:accent3>
        <a:srgbClr val="0065BD"/>
      </a:accent3>
      <a:accent4>
        <a:srgbClr val="002960"/>
      </a:accent4>
      <a:accent5>
        <a:srgbClr val="F27F00"/>
      </a:accent5>
      <a:accent6>
        <a:srgbClr val="808080"/>
      </a:accent6>
      <a:hlink>
        <a:srgbClr val="0065BD"/>
      </a:hlink>
      <a:folHlink>
        <a:srgbClr val="002960"/>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McKinsey Grey-Blue">
        <a:dk1>
          <a:srgbClr val="000000"/>
        </a:dk1>
        <a:lt1>
          <a:srgbClr val="FFFFFF"/>
        </a:lt1>
        <a:dk2>
          <a:srgbClr val="002960"/>
        </a:dk2>
        <a:lt2>
          <a:srgbClr val="FFFFFF"/>
        </a:lt2>
        <a:accent1>
          <a:srgbClr val="C5C5C5"/>
        </a:accent1>
        <a:accent2>
          <a:srgbClr val="00ADEF"/>
        </a:accent2>
        <a:accent3>
          <a:srgbClr val="0065BD"/>
        </a:accent3>
        <a:accent4>
          <a:srgbClr val="002960"/>
        </a:accent4>
        <a:accent5>
          <a:srgbClr val="F27F00"/>
        </a:accent5>
        <a:accent6>
          <a:srgbClr val="808080"/>
        </a:accent6>
        <a:hlink>
          <a:srgbClr val="0065BD"/>
        </a:hlink>
        <a:folHlink>
          <a:srgbClr val="002960"/>
        </a:folHlink>
      </a:clrScheme>
      <a:clrMap bg1="lt1" tx1="dk1" bg2="lt2" tx2="dk2" accent1="accent1" accent2="accent2" accent3="accent3" accent4="accent4" accent5="accent5" accent6="accent6" hlink="hlink" folHlink="folHlink"/>
    </a:extraClrScheme>
    <a:extraClrScheme>
      <a:clrScheme name="McKinsey Cyan-Blue">
        <a:dk1>
          <a:srgbClr val="000000"/>
        </a:dk1>
        <a:lt1>
          <a:srgbClr val="FFFFFF"/>
        </a:lt1>
        <a:dk2>
          <a:srgbClr val="002960"/>
        </a:dk2>
        <a:lt2>
          <a:srgbClr val="FFFFFF"/>
        </a:lt2>
        <a:accent1>
          <a:srgbClr val="C9F0FF"/>
        </a:accent1>
        <a:accent2>
          <a:srgbClr val="00ADEF"/>
        </a:accent2>
        <a:accent3>
          <a:srgbClr val="0065BD"/>
        </a:accent3>
        <a:accent4>
          <a:srgbClr val="002960"/>
        </a:accent4>
        <a:accent5>
          <a:srgbClr val="F27F00"/>
        </a:accent5>
        <a:accent6>
          <a:srgbClr val="808080"/>
        </a:accent6>
        <a:hlink>
          <a:srgbClr val="006983"/>
        </a:hlink>
        <a:folHlink>
          <a:srgbClr val="333333"/>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Firm Format - template - LOP - normal" id="{884107A2-67B5-4728-A2AA-FBFCDAA11846}" vid="{53DAF64C-D014-47FF-AB08-CB280DF65A38}"/>
    </a:ext>
  </a:extLst>
</a:theme>
</file>

<file path=docProps/app.xml><?xml version="1.0" encoding="utf-8"?>
<Properties xmlns="http://schemas.openxmlformats.org/officeDocument/2006/extended-properties" xmlns:vt="http://schemas.openxmlformats.org/officeDocument/2006/docPropsVTypes">
  <Template/>
  <TotalTime>369</TotalTime>
  <Words>8703</Words>
  <Application>Microsoft Office PowerPoint</Application>
  <PresentationFormat>Custom</PresentationFormat>
  <Paragraphs>1537</Paragraphs>
  <Slides>58</Slides>
  <Notes>46</Notes>
  <HiddenSlides>0</HiddenSlides>
  <MMClips>0</MMClips>
  <ScaleCrop>false</ScaleCrop>
  <HeadingPairs>
    <vt:vector size="8" baseType="variant">
      <vt:variant>
        <vt:lpstr>Fonts Used</vt:lpstr>
      </vt:variant>
      <vt:variant>
        <vt:i4>14</vt:i4>
      </vt:variant>
      <vt:variant>
        <vt:lpstr>Theme</vt:lpstr>
      </vt:variant>
      <vt:variant>
        <vt:i4>52</vt:i4>
      </vt:variant>
      <vt:variant>
        <vt:lpstr>Embedded OLE Servers</vt:lpstr>
      </vt:variant>
      <vt:variant>
        <vt:i4>4</vt:i4>
      </vt:variant>
      <vt:variant>
        <vt:lpstr>Slide Titles</vt:lpstr>
      </vt:variant>
      <vt:variant>
        <vt:i4>58</vt:i4>
      </vt:variant>
    </vt:vector>
  </HeadingPairs>
  <TitlesOfParts>
    <vt:vector size="128" baseType="lpstr">
      <vt:lpstr>Gulim</vt:lpstr>
      <vt:lpstr>MS PGothic</vt:lpstr>
      <vt:lpstr>MS PGothic</vt:lpstr>
      <vt:lpstr>MS UI Gothic</vt:lpstr>
      <vt:lpstr>SimSun</vt:lpstr>
      <vt:lpstr>STKaiti</vt:lpstr>
      <vt:lpstr>游ゴシック</vt:lpstr>
      <vt:lpstr>Arial</vt:lpstr>
      <vt:lpstr>Arial Narrow</vt:lpstr>
      <vt:lpstr>Arial Unicode MS</vt:lpstr>
      <vt:lpstr>Calibri</vt:lpstr>
      <vt:lpstr>Georgia</vt:lpstr>
      <vt:lpstr>Times New Roman</vt:lpstr>
      <vt:lpstr>Wingdings</vt:lpstr>
      <vt:lpstr>2_Firm Format - template</vt:lpstr>
      <vt:lpstr>3_Firm Format - template</vt:lpstr>
      <vt:lpstr>4_Firm Format - template</vt:lpstr>
      <vt:lpstr>5_Firm Format - template</vt:lpstr>
      <vt:lpstr>6_Firm Format - template</vt:lpstr>
      <vt:lpstr>7_Firm Format - template</vt:lpstr>
      <vt:lpstr>8_Firm Format - template</vt:lpstr>
      <vt:lpstr>9_Firm Format - template</vt:lpstr>
      <vt:lpstr>10_Firm Format - template</vt:lpstr>
      <vt:lpstr>11_Firm Format - template</vt:lpstr>
      <vt:lpstr>12_Firm Format - template</vt:lpstr>
      <vt:lpstr>13_Firm Format - template</vt:lpstr>
      <vt:lpstr>14_Firm Format - template</vt:lpstr>
      <vt:lpstr>15_Firm Format - template</vt:lpstr>
      <vt:lpstr>16_Firm Format - template</vt:lpstr>
      <vt:lpstr>17_Firm Format - template</vt:lpstr>
      <vt:lpstr>18_Firm Format - template</vt:lpstr>
      <vt:lpstr>19_Firm Format - template</vt:lpstr>
      <vt:lpstr>20_Firm Format - template</vt:lpstr>
      <vt:lpstr>21_Firm Format - template</vt:lpstr>
      <vt:lpstr>22_Firm Format - template</vt:lpstr>
      <vt:lpstr>23_Firm Format - template</vt:lpstr>
      <vt:lpstr>24_Firm Format - template</vt:lpstr>
      <vt:lpstr>25_Firm Format - template</vt:lpstr>
      <vt:lpstr>26_Firm Format - template</vt:lpstr>
      <vt:lpstr>27_Firm Format - template</vt:lpstr>
      <vt:lpstr>28_Firm Format - template</vt:lpstr>
      <vt:lpstr>29_Firm Format - template</vt:lpstr>
      <vt:lpstr>30_Firm Format - template</vt:lpstr>
      <vt:lpstr>31_Firm Format - template</vt:lpstr>
      <vt:lpstr>32_Firm Format - template</vt:lpstr>
      <vt:lpstr>33_Firm Format - template</vt:lpstr>
      <vt:lpstr>34_Firm Format - template</vt:lpstr>
      <vt:lpstr>35_Firm Format - template</vt:lpstr>
      <vt:lpstr>36_Firm Format - template</vt:lpstr>
      <vt:lpstr>37_Firm Format - template</vt:lpstr>
      <vt:lpstr>38_Firm Format - template</vt:lpstr>
      <vt:lpstr>39_Firm Format - template</vt:lpstr>
      <vt:lpstr>40_Firm Format - template</vt:lpstr>
      <vt:lpstr>41_Firm Format - template</vt:lpstr>
      <vt:lpstr>42_Firm Format - template</vt:lpstr>
      <vt:lpstr>43_Firm Format - template</vt:lpstr>
      <vt:lpstr>44_Firm Format - template</vt:lpstr>
      <vt:lpstr>45_Firm Format - template</vt:lpstr>
      <vt:lpstr>46_Firm Format - template</vt:lpstr>
      <vt:lpstr>47_Firm Format - template</vt:lpstr>
      <vt:lpstr>48_Firm Format - template</vt:lpstr>
      <vt:lpstr>49_Firm Format - template</vt:lpstr>
      <vt:lpstr>50_Firm Format - template</vt:lpstr>
      <vt:lpstr>51_Firm Format - template</vt:lpstr>
      <vt:lpstr>52_Firm Format - template</vt:lpstr>
      <vt:lpstr>53_Firm Format - template</vt:lpstr>
      <vt:lpstr>think-cell Slide</vt:lpstr>
      <vt:lpstr>Chart</vt:lpstr>
      <vt:lpstr>Document</vt:lpstr>
      <vt:lpstr>Slide</vt:lpstr>
      <vt:lpstr>McKinsey’s qualifications for merger management</vt:lpstr>
      <vt:lpstr>We bring experience, knowledge, and capabilities to integrations</vt:lpstr>
      <vt:lpstr>We have supported more complex acquisitions and mergers across industries and geographies than any other firm</vt:lpstr>
      <vt:lpstr>Selected, relevant reference cases</vt:lpstr>
      <vt:lpstr>We bring a proprietary set of tools, approaches, and frameworks proven to drive impact throughout the integration</vt:lpstr>
      <vt:lpstr>Tata Steel UK: recovery and transformation services (RTS) impact</vt:lpstr>
      <vt:lpstr>We have deep experience in transforming functions, including proprietary functional expertise and a deep focus on capability building</vt:lpstr>
      <vt:lpstr>The Steel Practice at a glance</vt:lpstr>
      <vt:lpstr>Contents</vt:lpstr>
      <vt:lpstr>McKinsey has global integration expertise and a track record of success</vt:lpstr>
      <vt:lpstr>McKinsey is a global Firm supporting the largest and most complex mergers across all regions and geographies</vt:lpstr>
      <vt:lpstr>McKinsey supported more than 2,500 integrations in the past 5 years, and delivered superior results</vt:lpstr>
      <vt:lpstr>Example integrations in the material sector</vt:lpstr>
      <vt:lpstr>Case study: Merger of two global steel producers</vt:lpstr>
      <vt:lpstr>Case study: Merger of two global metal producer companies </vt:lpstr>
      <vt:lpstr>Case study: Merger of two global building material companies </vt:lpstr>
      <vt:lpstr>Case study: India merger of 2 Pharma cos to create global leader</vt:lpstr>
      <vt:lpstr>Case study: Merger to create a large private sector bank in India</vt:lpstr>
      <vt:lpstr>Contents</vt:lpstr>
      <vt:lpstr>In our experience, successful integrations adhere to 12 merger management best practices</vt:lpstr>
      <vt:lpstr>The merger can serve as a catalyst for transformation, unlocking sources of value beyond typical deal focus</vt:lpstr>
      <vt:lpstr>Integration Management Office (IMO) should support 3 key objectives</vt:lpstr>
      <vt:lpstr>Empower an integration management office (IMO) that can make  decisions that stick with CEO support</vt:lpstr>
      <vt:lpstr>Culture is a critical enabler for retaining and capturing value during a merger</vt:lpstr>
      <vt:lpstr>Merger communications are timed and targeted to specific  phases in the deal cycle</vt:lpstr>
      <vt:lpstr>To deliver on this, we bring a complete set of proven merger management tools and intellectual property</vt:lpstr>
      <vt:lpstr>Toolbox: Value capture approach/methodology</vt:lpstr>
      <vt:lpstr>Toolbox: IMO set-up tools</vt:lpstr>
      <vt:lpstr>Toolbox: Organizational health and compatibility diagnostic tools</vt:lpstr>
      <vt:lpstr>Toolbox: Functional integration team charters</vt:lpstr>
      <vt:lpstr>Toolbox: Day 1 dashboard </vt:lpstr>
      <vt:lpstr>Toolbox: Day 1/Day 100 deliverables by function</vt:lpstr>
      <vt:lpstr>Toolbox: WAVE for Merger Management</vt:lpstr>
      <vt:lpstr>Toolbox: Communication plans</vt:lpstr>
      <vt:lpstr>Toolbox: Merger Management Bootcamp</vt:lpstr>
      <vt:lpstr>Contents</vt:lpstr>
      <vt:lpstr>Our integration council includes seasoned integration executives that can serve as your sounding board during this integration journey</vt:lpstr>
      <vt:lpstr>Selected profiles of merger management experts in the energy and materials sectors</vt:lpstr>
      <vt:lpstr>Contents</vt:lpstr>
      <vt:lpstr>McKinsey RTS – We do performance partnerships to accelerate turnaround of companies</vt:lpstr>
      <vt:lpstr>RTS programs have verifiable success that can be seen in share prices</vt:lpstr>
      <vt:lpstr>Our RTS approach finds and delivers more value than expected by management teams</vt:lpstr>
      <vt:lpstr>PowerPoint Presentation</vt:lpstr>
      <vt:lpstr>We apply a “proven recipe” that is focused on how to turnaround</vt:lpstr>
      <vt:lpstr>Case study: McKinsey RTS has been successfully deployed at Tata Steel Europe, for the Strip UK business</vt:lpstr>
      <vt:lpstr>Case study: Key levers for the Strip UK business</vt:lpstr>
      <vt:lpstr>Case study: RTS program at a large mining client in India delivered $400m</vt:lpstr>
      <vt:lpstr>Contents</vt:lpstr>
      <vt:lpstr>Merger management capabilities need to be complemented by functional expertise for value extraction</vt:lpstr>
      <vt:lpstr>Proprietary methodologies, assets/databases, and tools  in operations to identify areas for value capture</vt:lpstr>
      <vt:lpstr>Proprietary commercial diagnostic suite</vt:lpstr>
      <vt:lpstr>Shared services/business function design: Proprietary and tested methodologies, benchmarks, and tools</vt:lpstr>
      <vt:lpstr>Contents</vt:lpstr>
      <vt:lpstr>McKinsey’s steel practice is largest amongst its competitors</vt:lpstr>
      <vt:lpstr>We partnered with major Indian steel clients across 60+ assignments in India over the last 10 years</vt:lpstr>
      <vt:lpstr>McKinsey has worked on 10 engagements in the Indian steel sector in the last 6 months, of which 6 are for stressed companies</vt:lpstr>
      <vt:lpstr>Basic Materials Institute (BMI) is the Practice's "think tank" providing deep industry knowledge and insights</vt:lpstr>
      <vt:lpstr>Our strategic and investment-oriented capabilities in steel through BMI</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cKinsey’s qualifications for merger management</dc:title>
  <dc:creator>Rohit Sharma-DEL</dc:creator>
  <cp:lastModifiedBy>Aditya Sriram</cp:lastModifiedBy>
  <cp:revision>160</cp:revision>
  <dcterms:created xsi:type="dcterms:W3CDTF">2018-03-16T07:48:55Z</dcterms:created>
  <dcterms:modified xsi:type="dcterms:W3CDTF">2018-05-21T12:14:35Z</dcterms:modified>
</cp:coreProperties>
</file>